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7.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0.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11.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2.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13.xml" ContentType="application/vnd.openxmlformats-officedocument.theme+xml"/>
  <Override PartName="/ppt/tags/tag10.xml" ContentType="application/vnd.openxmlformats-officedocument.presentationml.tags+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14.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15.xml" ContentType="application/vnd.openxmlformats-officedocument.theme+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16.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17.xml" ContentType="application/vnd.openxmlformats-officedocument.theme+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18.xml" ContentType="application/vnd.openxmlformats-officedocument.theme+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19.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theme/theme20.xml" ContentType="application/vnd.openxmlformats-officedocument.theme+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theme/theme21.xml" ContentType="application/vnd.openxmlformats-officedocument.theme+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22.xml" ContentType="application/vnd.openxmlformats-officedocument.theme+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theme/theme23.xml" ContentType="application/vnd.openxmlformats-officedocument.theme+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theme/theme24.xml" ContentType="application/vnd.openxmlformats-officedocument.theme+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theme/theme25.xml" ContentType="application/vnd.openxmlformats-officedocument.theme+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theme/theme26.xml" ContentType="application/vnd.openxmlformats-officedocument.theme+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theme/theme27.xml" ContentType="application/vnd.openxmlformats-officedocument.theme+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28.xml" ContentType="application/vnd.openxmlformats-officedocument.theme+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theme/theme29.xml" ContentType="application/vnd.openxmlformats-officedocument.theme+xml"/>
  <Override PartName="/ppt/theme/theme30.xml" ContentType="application/vnd.openxmlformats-officedocument.theme+xml"/>
  <Override PartName="/ppt/theme/theme31.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22.xml" ContentType="application/vnd.openxmlformats-officedocument.presentationml.tags+xml"/>
  <Override PartName="/ppt/notesSlides/notesSlide36.xml" ContentType="application/vnd.openxmlformats-officedocument.presentationml.notesSlide+xml"/>
  <Override PartName="/ppt/tags/tag23.xml" ContentType="application/vnd.openxmlformats-officedocument.presentationml.tags+xml"/>
  <Override PartName="/ppt/notesSlides/notesSlide37.xml" ContentType="application/vnd.openxmlformats-officedocument.presentationml.notesSlide+xml"/>
  <Override PartName="/ppt/tags/tag24.xml" ContentType="application/vnd.openxmlformats-officedocument.presentationml.tags+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508" r:id="rId49"/>
    <p:sldMasterId id="2147484591" r:id="rId50"/>
    <p:sldMasterId id="2147484617" r:id="rId51"/>
    <p:sldMasterId id="2147484734" r:id="rId52"/>
    <p:sldMasterId id="2147484778" r:id="rId53"/>
    <p:sldMasterId id="2147484804" r:id="rId54"/>
    <p:sldMasterId id="2147484836" r:id="rId55"/>
    <p:sldMasterId id="2147485032" r:id="rId56"/>
    <p:sldMasterId id="2147485058" r:id="rId57"/>
    <p:sldMasterId id="2147485183" r:id="rId58"/>
    <p:sldMasterId id="2147485197" r:id="rId59"/>
    <p:sldMasterId id="2147485251" r:id="rId60"/>
    <p:sldMasterId id="2147485264" r:id="rId61"/>
    <p:sldMasterId id="2147485374" r:id="rId62"/>
    <p:sldMasterId id="2147485386" r:id="rId63"/>
    <p:sldMasterId id="2147485396" r:id="rId64"/>
    <p:sldMasterId id="2147485406" r:id="rId65"/>
    <p:sldMasterId id="2147485427" r:id="rId66"/>
    <p:sldMasterId id="2147485442" r:id="rId67"/>
    <p:sldMasterId id="2147485489" r:id="rId68"/>
    <p:sldMasterId id="2147485497" r:id="rId69"/>
    <p:sldMasterId id="2147485505" r:id="rId70"/>
    <p:sldMasterId id="2147485520" r:id="rId71"/>
    <p:sldMasterId id="2147485532" r:id="rId72"/>
    <p:sldMasterId id="2147485546" r:id="rId73"/>
    <p:sldMasterId id="2147485560" r:id="rId74"/>
    <p:sldMasterId id="2147485574" r:id="rId75"/>
    <p:sldMasterId id="2147485580" r:id="rId76"/>
    <p:sldMasterId id="2147485599" r:id="rId77"/>
  </p:sldMasterIdLst>
  <p:notesMasterIdLst>
    <p:notesMasterId r:id="rId219"/>
  </p:notesMasterIdLst>
  <p:handoutMasterIdLst>
    <p:handoutMasterId r:id="rId220"/>
  </p:handoutMasterIdLst>
  <p:sldIdLst>
    <p:sldId id="260" r:id="rId78"/>
    <p:sldId id="2147480008" r:id="rId79"/>
    <p:sldId id="258" r:id="rId80"/>
    <p:sldId id="2147483573" r:id="rId81"/>
    <p:sldId id="256" r:id="rId82"/>
    <p:sldId id="262" r:id="rId83"/>
    <p:sldId id="263" r:id="rId84"/>
    <p:sldId id="2147471659" r:id="rId85"/>
    <p:sldId id="13407" r:id="rId86"/>
    <p:sldId id="2147483567" r:id="rId87"/>
    <p:sldId id="2147472720" r:id="rId88"/>
    <p:sldId id="2147483539" r:id="rId89"/>
    <p:sldId id="2147483594" r:id="rId90"/>
    <p:sldId id="2147480097" r:id="rId91"/>
    <p:sldId id="261" r:id="rId92"/>
    <p:sldId id="300" r:id="rId93"/>
    <p:sldId id="2147483642" r:id="rId94"/>
    <p:sldId id="257" r:id="rId95"/>
    <p:sldId id="2147376739" r:id="rId96"/>
    <p:sldId id="2135714616" r:id="rId97"/>
    <p:sldId id="2135714477" r:id="rId98"/>
    <p:sldId id="2135714478" r:id="rId99"/>
    <p:sldId id="2135714479" r:id="rId100"/>
    <p:sldId id="2147483605" r:id="rId101"/>
    <p:sldId id="2135714507" r:id="rId102"/>
    <p:sldId id="2135714633" r:id="rId103"/>
    <p:sldId id="2147483554" r:id="rId104"/>
    <p:sldId id="2147483563" r:id="rId105"/>
    <p:sldId id="278" r:id="rId106"/>
    <p:sldId id="2135714528" r:id="rId107"/>
    <p:sldId id="2147482062" r:id="rId108"/>
    <p:sldId id="2147483566" r:id="rId109"/>
    <p:sldId id="2147483582" r:id="rId110"/>
    <p:sldId id="2147483579" r:id="rId111"/>
    <p:sldId id="2135714491" r:id="rId112"/>
    <p:sldId id="2135714493" r:id="rId113"/>
    <p:sldId id="2147374151" r:id="rId114"/>
    <p:sldId id="2147483575" r:id="rId115"/>
    <p:sldId id="2147483583" r:id="rId116"/>
    <p:sldId id="2147483574" r:id="rId117"/>
    <p:sldId id="287" r:id="rId118"/>
    <p:sldId id="288" r:id="rId119"/>
    <p:sldId id="2147483553" r:id="rId120"/>
    <p:sldId id="289" r:id="rId121"/>
    <p:sldId id="2147483647" r:id="rId122"/>
    <p:sldId id="2147483465" r:id="rId123"/>
    <p:sldId id="269" r:id="rId124"/>
    <p:sldId id="2147483458" r:id="rId125"/>
    <p:sldId id="5566" r:id="rId126"/>
    <p:sldId id="2147483459" r:id="rId127"/>
    <p:sldId id="2147471148" r:id="rId128"/>
    <p:sldId id="2147471151" r:id="rId129"/>
    <p:sldId id="735" r:id="rId130"/>
    <p:sldId id="2147471153" r:id="rId131"/>
    <p:sldId id="2147483461" r:id="rId132"/>
    <p:sldId id="270" r:id="rId133"/>
    <p:sldId id="310" r:id="rId134"/>
    <p:sldId id="760" r:id="rId135"/>
    <p:sldId id="294" r:id="rId136"/>
    <p:sldId id="295" r:id="rId137"/>
    <p:sldId id="2145706234" r:id="rId138"/>
    <p:sldId id="2147471160" r:id="rId139"/>
    <p:sldId id="2147483552" r:id="rId140"/>
    <p:sldId id="2147483462" r:id="rId141"/>
    <p:sldId id="2147483463" r:id="rId142"/>
    <p:sldId id="2147483555" r:id="rId143"/>
    <p:sldId id="297" r:id="rId144"/>
    <p:sldId id="2147483464" r:id="rId145"/>
    <p:sldId id="290" r:id="rId146"/>
    <p:sldId id="2147483576" r:id="rId147"/>
    <p:sldId id="2147483556" r:id="rId148"/>
    <p:sldId id="2147483577" r:id="rId149"/>
    <p:sldId id="2147483578" r:id="rId150"/>
    <p:sldId id="291" r:id="rId151"/>
    <p:sldId id="264" r:id="rId152"/>
    <p:sldId id="2147483627" r:id="rId153"/>
    <p:sldId id="271" r:id="rId154"/>
    <p:sldId id="2147483630" r:id="rId155"/>
    <p:sldId id="2147483633" r:id="rId156"/>
    <p:sldId id="272" r:id="rId157"/>
    <p:sldId id="273" r:id="rId158"/>
    <p:sldId id="2147483641" r:id="rId159"/>
    <p:sldId id="2147483624" r:id="rId160"/>
    <p:sldId id="274" r:id="rId161"/>
    <p:sldId id="275" r:id="rId162"/>
    <p:sldId id="2147483643" r:id="rId163"/>
    <p:sldId id="276" r:id="rId164"/>
    <p:sldId id="277" r:id="rId165"/>
    <p:sldId id="2147483570" r:id="rId166"/>
    <p:sldId id="2147483560" r:id="rId167"/>
    <p:sldId id="2147483558" r:id="rId168"/>
    <p:sldId id="265" r:id="rId169"/>
    <p:sldId id="279" r:id="rId170"/>
    <p:sldId id="327" r:id="rId171"/>
    <p:sldId id="2147469657" r:id="rId172"/>
    <p:sldId id="2134959019" r:id="rId173"/>
    <p:sldId id="2147469687" r:id="rId174"/>
    <p:sldId id="2147469689" r:id="rId175"/>
    <p:sldId id="2147471475" r:id="rId176"/>
    <p:sldId id="2147469787" r:id="rId177"/>
    <p:sldId id="2147469776" r:id="rId178"/>
    <p:sldId id="2134959022" r:id="rId179"/>
    <p:sldId id="2147471460" r:id="rId180"/>
    <p:sldId id="2147471476" r:id="rId181"/>
    <p:sldId id="2147471477" r:id="rId182"/>
    <p:sldId id="2147471468" r:id="rId183"/>
    <p:sldId id="2147471478" r:id="rId184"/>
    <p:sldId id="2147471465" r:id="rId185"/>
    <p:sldId id="2147471467" r:id="rId186"/>
    <p:sldId id="2147471469" r:id="rId187"/>
    <p:sldId id="2147471471" r:id="rId188"/>
    <p:sldId id="2147471472" r:id="rId189"/>
    <p:sldId id="2147471473" r:id="rId190"/>
    <p:sldId id="2147471474" r:id="rId191"/>
    <p:sldId id="740" r:id="rId192"/>
    <p:sldId id="2147471479" r:id="rId193"/>
    <p:sldId id="2147471480" r:id="rId194"/>
    <p:sldId id="296" r:id="rId195"/>
    <p:sldId id="2147471470" r:id="rId196"/>
    <p:sldId id="2147483572" r:id="rId197"/>
    <p:sldId id="2147483562" r:id="rId198"/>
    <p:sldId id="2147483580" r:id="rId199"/>
    <p:sldId id="266" r:id="rId200"/>
    <p:sldId id="280" r:id="rId201"/>
    <p:sldId id="281" r:id="rId202"/>
    <p:sldId id="2135714563" r:id="rId203"/>
    <p:sldId id="282" r:id="rId204"/>
    <p:sldId id="2135714553" r:id="rId205"/>
    <p:sldId id="2135714554" r:id="rId206"/>
    <p:sldId id="2135714555" r:id="rId207"/>
    <p:sldId id="283" r:id="rId208"/>
    <p:sldId id="2135714564" r:id="rId209"/>
    <p:sldId id="285" r:id="rId210"/>
    <p:sldId id="284" r:id="rId211"/>
    <p:sldId id="292" r:id="rId212"/>
    <p:sldId id="2147483568" r:id="rId213"/>
    <p:sldId id="293" r:id="rId214"/>
    <p:sldId id="267" r:id="rId215"/>
    <p:sldId id="259" r:id="rId216"/>
    <p:sldId id="268" r:id="rId217"/>
    <p:sldId id="2147483646" r:id="rId218"/>
  </p:sldIdLst>
  <p:sldSz cx="12192000" cy="6858000"/>
  <p:notesSz cx="7772400" cy="10058400"/>
  <p:custDataLst>
    <p:tags r:id="rId221"/>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0FF"/>
    <a:srgbClr val="002AFA"/>
    <a:srgbClr val="0432FF"/>
    <a:srgbClr val="2D2DB2"/>
    <a:srgbClr val="000000"/>
    <a:srgbClr val="002B4E"/>
    <a:srgbClr val="002B50"/>
    <a:srgbClr val="E2ECF1"/>
    <a:srgbClr val="E0E9F2"/>
    <a:srgbClr val="ECF4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798" autoAdjust="0"/>
    <p:restoredTop sz="96301" autoAdjust="0"/>
  </p:normalViewPr>
  <p:slideViewPr>
    <p:cSldViewPr>
      <p:cViewPr varScale="1">
        <p:scale>
          <a:sx n="177" d="100"/>
          <a:sy n="177" d="100"/>
        </p:scale>
        <p:origin x="208" y="248"/>
      </p:cViewPr>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50" d="100"/>
        <a:sy n="150" d="100"/>
      </p:scale>
      <p:origin x="0" y="0"/>
    </p:cViewPr>
  </p:sorterViewPr>
  <p:notesViewPr>
    <p:cSldViewPr>
      <p:cViewPr varScale="1">
        <p:scale>
          <a:sx n="129" d="100"/>
          <a:sy n="129" d="100"/>
        </p:scale>
        <p:origin x="5096" y="2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40.xml"/><Relationship Id="rId21" Type="http://schemas.openxmlformats.org/officeDocument/2006/relationships/customXml" Target="../customXml/item21.xml"/><Relationship Id="rId42" Type="http://schemas.openxmlformats.org/officeDocument/2006/relationships/customXml" Target="../customXml/item42.xml"/><Relationship Id="rId63" Type="http://schemas.openxmlformats.org/officeDocument/2006/relationships/slideMaster" Target="slideMasters/slideMaster15.xml"/><Relationship Id="rId84" Type="http://schemas.openxmlformats.org/officeDocument/2006/relationships/slide" Target="slides/slide7.xml"/><Relationship Id="rId138" Type="http://schemas.openxmlformats.org/officeDocument/2006/relationships/slide" Target="slides/slide61.xml"/><Relationship Id="rId159" Type="http://schemas.openxmlformats.org/officeDocument/2006/relationships/slide" Target="slides/slide82.xml"/><Relationship Id="rId170" Type="http://schemas.openxmlformats.org/officeDocument/2006/relationships/slide" Target="slides/slide93.xml"/><Relationship Id="rId191" Type="http://schemas.openxmlformats.org/officeDocument/2006/relationships/slide" Target="slides/slide114.xml"/><Relationship Id="rId205" Type="http://schemas.openxmlformats.org/officeDocument/2006/relationships/slide" Target="slides/slide128.xml"/><Relationship Id="rId226" Type="http://schemas.openxmlformats.org/officeDocument/2006/relationships/tableStyles" Target="tableStyles.xml"/><Relationship Id="rId107" Type="http://schemas.openxmlformats.org/officeDocument/2006/relationships/slide" Target="slides/slide30.xml"/><Relationship Id="rId11" Type="http://schemas.openxmlformats.org/officeDocument/2006/relationships/customXml" Target="../customXml/item11.xml"/><Relationship Id="rId32" Type="http://schemas.openxmlformats.org/officeDocument/2006/relationships/customXml" Target="../customXml/item32.xml"/><Relationship Id="rId53" Type="http://schemas.openxmlformats.org/officeDocument/2006/relationships/slideMaster" Target="slideMasters/slideMaster5.xml"/><Relationship Id="rId74" Type="http://schemas.openxmlformats.org/officeDocument/2006/relationships/slideMaster" Target="slideMasters/slideMaster26.xml"/><Relationship Id="rId128" Type="http://schemas.openxmlformats.org/officeDocument/2006/relationships/slide" Target="slides/slide51.xml"/><Relationship Id="rId149" Type="http://schemas.openxmlformats.org/officeDocument/2006/relationships/slide" Target="slides/slide72.xml"/><Relationship Id="rId5" Type="http://schemas.openxmlformats.org/officeDocument/2006/relationships/customXml" Target="../customXml/item5.xml"/><Relationship Id="rId95" Type="http://schemas.openxmlformats.org/officeDocument/2006/relationships/slide" Target="slides/slide18.xml"/><Relationship Id="rId160" Type="http://schemas.openxmlformats.org/officeDocument/2006/relationships/slide" Target="slides/slide83.xml"/><Relationship Id="rId181" Type="http://schemas.openxmlformats.org/officeDocument/2006/relationships/slide" Target="slides/slide104.xml"/><Relationship Id="rId216" Type="http://schemas.openxmlformats.org/officeDocument/2006/relationships/slide" Target="slides/slide139.xml"/><Relationship Id="rId22" Type="http://schemas.openxmlformats.org/officeDocument/2006/relationships/customXml" Target="../customXml/item22.xml"/><Relationship Id="rId43" Type="http://schemas.openxmlformats.org/officeDocument/2006/relationships/customXml" Target="../customXml/item43.xml"/><Relationship Id="rId64" Type="http://schemas.openxmlformats.org/officeDocument/2006/relationships/slideMaster" Target="slideMasters/slideMaster16.xml"/><Relationship Id="rId118" Type="http://schemas.openxmlformats.org/officeDocument/2006/relationships/slide" Target="slides/slide41.xml"/><Relationship Id="rId139" Type="http://schemas.openxmlformats.org/officeDocument/2006/relationships/slide" Target="slides/slide62.xml"/><Relationship Id="rId85" Type="http://schemas.openxmlformats.org/officeDocument/2006/relationships/slide" Target="slides/slide8.xml"/><Relationship Id="rId150" Type="http://schemas.openxmlformats.org/officeDocument/2006/relationships/slide" Target="slides/slide73.xml"/><Relationship Id="rId171" Type="http://schemas.openxmlformats.org/officeDocument/2006/relationships/slide" Target="slides/slide94.xml"/><Relationship Id="rId192" Type="http://schemas.openxmlformats.org/officeDocument/2006/relationships/slide" Target="slides/slide115.xml"/><Relationship Id="rId206" Type="http://schemas.openxmlformats.org/officeDocument/2006/relationships/slide" Target="slides/slide129.xml"/><Relationship Id="rId12" Type="http://schemas.openxmlformats.org/officeDocument/2006/relationships/customXml" Target="../customXml/item12.xml"/><Relationship Id="rId33" Type="http://schemas.openxmlformats.org/officeDocument/2006/relationships/customXml" Target="../customXml/item33.xml"/><Relationship Id="rId108" Type="http://schemas.openxmlformats.org/officeDocument/2006/relationships/slide" Target="slides/slide31.xml"/><Relationship Id="rId129" Type="http://schemas.openxmlformats.org/officeDocument/2006/relationships/slide" Target="slides/slide52.xml"/><Relationship Id="rId54" Type="http://schemas.openxmlformats.org/officeDocument/2006/relationships/slideMaster" Target="slideMasters/slideMaster6.xml"/><Relationship Id="rId75" Type="http://schemas.openxmlformats.org/officeDocument/2006/relationships/slideMaster" Target="slideMasters/slideMaster27.xml"/><Relationship Id="rId96" Type="http://schemas.openxmlformats.org/officeDocument/2006/relationships/slide" Target="slides/slide19.xml"/><Relationship Id="rId140" Type="http://schemas.openxmlformats.org/officeDocument/2006/relationships/slide" Target="slides/slide63.xml"/><Relationship Id="rId161" Type="http://schemas.openxmlformats.org/officeDocument/2006/relationships/slide" Target="slides/slide84.xml"/><Relationship Id="rId182" Type="http://schemas.openxmlformats.org/officeDocument/2006/relationships/slide" Target="slides/slide105.xml"/><Relationship Id="rId217" Type="http://schemas.openxmlformats.org/officeDocument/2006/relationships/slide" Target="slides/slide140.xml"/><Relationship Id="rId6" Type="http://schemas.openxmlformats.org/officeDocument/2006/relationships/customXml" Target="../customXml/item6.xml"/><Relationship Id="rId23" Type="http://schemas.openxmlformats.org/officeDocument/2006/relationships/customXml" Target="../customXml/item23.xml"/><Relationship Id="rId119" Type="http://schemas.openxmlformats.org/officeDocument/2006/relationships/slide" Target="slides/slide42.xml"/><Relationship Id="rId44" Type="http://schemas.openxmlformats.org/officeDocument/2006/relationships/customXml" Target="../customXml/item44.xml"/><Relationship Id="rId65" Type="http://schemas.openxmlformats.org/officeDocument/2006/relationships/slideMaster" Target="slideMasters/slideMaster17.xml"/><Relationship Id="rId86" Type="http://schemas.openxmlformats.org/officeDocument/2006/relationships/slide" Target="slides/slide9.xml"/><Relationship Id="rId130" Type="http://schemas.openxmlformats.org/officeDocument/2006/relationships/slide" Target="slides/slide53.xml"/><Relationship Id="rId151" Type="http://schemas.openxmlformats.org/officeDocument/2006/relationships/slide" Target="slides/slide74.xml"/><Relationship Id="rId172" Type="http://schemas.openxmlformats.org/officeDocument/2006/relationships/slide" Target="slides/slide95.xml"/><Relationship Id="rId193" Type="http://schemas.openxmlformats.org/officeDocument/2006/relationships/slide" Target="slides/slide116.xml"/><Relationship Id="rId207" Type="http://schemas.openxmlformats.org/officeDocument/2006/relationships/slide" Target="slides/slide130.xml"/><Relationship Id="rId13" Type="http://schemas.openxmlformats.org/officeDocument/2006/relationships/customXml" Target="../customXml/item13.xml"/><Relationship Id="rId109" Type="http://schemas.openxmlformats.org/officeDocument/2006/relationships/slide" Target="slides/slide32.xml"/><Relationship Id="rId34" Type="http://schemas.openxmlformats.org/officeDocument/2006/relationships/customXml" Target="../customXml/item34.xml"/><Relationship Id="rId55" Type="http://schemas.openxmlformats.org/officeDocument/2006/relationships/slideMaster" Target="slideMasters/slideMaster7.xml"/><Relationship Id="rId76" Type="http://schemas.openxmlformats.org/officeDocument/2006/relationships/slideMaster" Target="slideMasters/slideMaster28.xml"/><Relationship Id="rId97" Type="http://schemas.openxmlformats.org/officeDocument/2006/relationships/slide" Target="slides/slide20.xml"/><Relationship Id="rId120" Type="http://schemas.openxmlformats.org/officeDocument/2006/relationships/slide" Target="slides/slide43.xml"/><Relationship Id="rId141" Type="http://schemas.openxmlformats.org/officeDocument/2006/relationships/slide" Target="slides/slide64.xml"/><Relationship Id="rId7" Type="http://schemas.openxmlformats.org/officeDocument/2006/relationships/customXml" Target="../customXml/item7.xml"/><Relationship Id="rId162" Type="http://schemas.openxmlformats.org/officeDocument/2006/relationships/slide" Target="slides/slide85.xml"/><Relationship Id="rId183" Type="http://schemas.openxmlformats.org/officeDocument/2006/relationships/slide" Target="slides/slide106.xml"/><Relationship Id="rId218" Type="http://schemas.openxmlformats.org/officeDocument/2006/relationships/slide" Target="slides/slide141.xml"/><Relationship Id="rId24" Type="http://schemas.openxmlformats.org/officeDocument/2006/relationships/customXml" Target="../customXml/item24.xml"/><Relationship Id="rId45" Type="http://schemas.openxmlformats.org/officeDocument/2006/relationships/customXml" Target="../customXml/item45.xml"/><Relationship Id="rId66" Type="http://schemas.openxmlformats.org/officeDocument/2006/relationships/slideMaster" Target="slideMasters/slideMaster18.xml"/><Relationship Id="rId87" Type="http://schemas.openxmlformats.org/officeDocument/2006/relationships/slide" Target="slides/slide10.xml"/><Relationship Id="rId110" Type="http://schemas.openxmlformats.org/officeDocument/2006/relationships/slide" Target="slides/slide33.xml"/><Relationship Id="rId131" Type="http://schemas.openxmlformats.org/officeDocument/2006/relationships/slide" Target="slides/slide54.xml"/><Relationship Id="rId152" Type="http://schemas.openxmlformats.org/officeDocument/2006/relationships/slide" Target="slides/slide75.xml"/><Relationship Id="rId173" Type="http://schemas.openxmlformats.org/officeDocument/2006/relationships/slide" Target="slides/slide96.xml"/><Relationship Id="rId194" Type="http://schemas.openxmlformats.org/officeDocument/2006/relationships/slide" Target="slides/slide117.xml"/><Relationship Id="rId208" Type="http://schemas.openxmlformats.org/officeDocument/2006/relationships/slide" Target="slides/slide131.xml"/><Relationship Id="rId14" Type="http://schemas.openxmlformats.org/officeDocument/2006/relationships/customXml" Target="../customXml/item14.xml"/><Relationship Id="rId35" Type="http://schemas.openxmlformats.org/officeDocument/2006/relationships/customXml" Target="../customXml/item35.xml"/><Relationship Id="rId56" Type="http://schemas.openxmlformats.org/officeDocument/2006/relationships/slideMaster" Target="slideMasters/slideMaster8.xml"/><Relationship Id="rId77" Type="http://schemas.openxmlformats.org/officeDocument/2006/relationships/slideMaster" Target="slideMasters/slideMaster29.xml"/><Relationship Id="rId100" Type="http://schemas.openxmlformats.org/officeDocument/2006/relationships/slide" Target="slides/slide23.xml"/><Relationship Id="rId8" Type="http://schemas.openxmlformats.org/officeDocument/2006/relationships/customXml" Target="../customXml/item8.xml"/><Relationship Id="rId98" Type="http://schemas.openxmlformats.org/officeDocument/2006/relationships/slide" Target="slides/slide21.xml"/><Relationship Id="rId121" Type="http://schemas.openxmlformats.org/officeDocument/2006/relationships/slide" Target="slides/slide44.xml"/><Relationship Id="rId142" Type="http://schemas.openxmlformats.org/officeDocument/2006/relationships/slide" Target="slides/slide65.xml"/><Relationship Id="rId163" Type="http://schemas.openxmlformats.org/officeDocument/2006/relationships/slide" Target="slides/slide86.xml"/><Relationship Id="rId184" Type="http://schemas.openxmlformats.org/officeDocument/2006/relationships/slide" Target="slides/slide107.xml"/><Relationship Id="rId219" Type="http://schemas.openxmlformats.org/officeDocument/2006/relationships/notesMaster" Target="notesMasters/notesMaster1.xml"/><Relationship Id="rId3" Type="http://schemas.openxmlformats.org/officeDocument/2006/relationships/customXml" Target="../customXml/item3.xml"/><Relationship Id="rId214" Type="http://schemas.openxmlformats.org/officeDocument/2006/relationships/slide" Target="slides/slide137.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slideMaster" Target="slideMasters/slideMaster19.xml"/><Relationship Id="rId116" Type="http://schemas.openxmlformats.org/officeDocument/2006/relationships/slide" Target="slides/slide39.xml"/><Relationship Id="rId137" Type="http://schemas.openxmlformats.org/officeDocument/2006/relationships/slide" Target="slides/slide60.xml"/><Relationship Id="rId158" Type="http://schemas.openxmlformats.org/officeDocument/2006/relationships/slide" Target="slides/slide81.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slideMaster" Target="slideMasters/slideMaster14.xml"/><Relationship Id="rId83" Type="http://schemas.openxmlformats.org/officeDocument/2006/relationships/slide" Target="slides/slide6.xml"/><Relationship Id="rId88" Type="http://schemas.openxmlformats.org/officeDocument/2006/relationships/slide" Target="slides/slide11.xml"/><Relationship Id="rId111" Type="http://schemas.openxmlformats.org/officeDocument/2006/relationships/slide" Target="slides/slide34.xml"/><Relationship Id="rId132" Type="http://schemas.openxmlformats.org/officeDocument/2006/relationships/slide" Target="slides/slide55.xml"/><Relationship Id="rId153" Type="http://schemas.openxmlformats.org/officeDocument/2006/relationships/slide" Target="slides/slide76.xml"/><Relationship Id="rId174" Type="http://schemas.openxmlformats.org/officeDocument/2006/relationships/slide" Target="slides/slide97.xml"/><Relationship Id="rId179" Type="http://schemas.openxmlformats.org/officeDocument/2006/relationships/slide" Target="slides/slide102.xml"/><Relationship Id="rId195" Type="http://schemas.openxmlformats.org/officeDocument/2006/relationships/slide" Target="slides/slide118.xml"/><Relationship Id="rId209" Type="http://schemas.openxmlformats.org/officeDocument/2006/relationships/slide" Target="slides/slide132.xml"/><Relationship Id="rId190" Type="http://schemas.openxmlformats.org/officeDocument/2006/relationships/slide" Target="slides/slide113.xml"/><Relationship Id="rId204" Type="http://schemas.openxmlformats.org/officeDocument/2006/relationships/slide" Target="slides/slide127.xml"/><Relationship Id="rId220" Type="http://schemas.openxmlformats.org/officeDocument/2006/relationships/handoutMaster" Target="handoutMasters/handoutMaster1.xml"/><Relationship Id="rId225" Type="http://schemas.openxmlformats.org/officeDocument/2006/relationships/theme" Target="theme/theme1.xml"/><Relationship Id="rId15" Type="http://schemas.openxmlformats.org/officeDocument/2006/relationships/customXml" Target="../customXml/item15.xml"/><Relationship Id="rId36" Type="http://schemas.openxmlformats.org/officeDocument/2006/relationships/customXml" Target="../customXml/item36.xml"/><Relationship Id="rId57" Type="http://schemas.openxmlformats.org/officeDocument/2006/relationships/slideMaster" Target="slideMasters/slideMaster9.xml"/><Relationship Id="rId106" Type="http://schemas.openxmlformats.org/officeDocument/2006/relationships/slide" Target="slides/slide29.xml"/><Relationship Id="rId127" Type="http://schemas.openxmlformats.org/officeDocument/2006/relationships/slide" Target="slides/slide50.xml"/><Relationship Id="rId10" Type="http://schemas.openxmlformats.org/officeDocument/2006/relationships/customXml" Target="../customXml/item10.xml"/><Relationship Id="rId31" Type="http://schemas.openxmlformats.org/officeDocument/2006/relationships/customXml" Target="../customXml/item31.xml"/><Relationship Id="rId52" Type="http://schemas.openxmlformats.org/officeDocument/2006/relationships/slideMaster" Target="slideMasters/slideMaster4.xml"/><Relationship Id="rId73" Type="http://schemas.openxmlformats.org/officeDocument/2006/relationships/slideMaster" Target="slideMasters/slideMaster25.xml"/><Relationship Id="rId78" Type="http://schemas.openxmlformats.org/officeDocument/2006/relationships/slide" Target="slides/slide1.xml"/><Relationship Id="rId94" Type="http://schemas.openxmlformats.org/officeDocument/2006/relationships/slide" Target="slides/slide17.xml"/><Relationship Id="rId99" Type="http://schemas.openxmlformats.org/officeDocument/2006/relationships/slide" Target="slides/slide22.xml"/><Relationship Id="rId101" Type="http://schemas.openxmlformats.org/officeDocument/2006/relationships/slide" Target="slides/slide24.xml"/><Relationship Id="rId122" Type="http://schemas.openxmlformats.org/officeDocument/2006/relationships/slide" Target="slides/slide45.xml"/><Relationship Id="rId143" Type="http://schemas.openxmlformats.org/officeDocument/2006/relationships/slide" Target="slides/slide66.xml"/><Relationship Id="rId148" Type="http://schemas.openxmlformats.org/officeDocument/2006/relationships/slide" Target="slides/slide71.xml"/><Relationship Id="rId164" Type="http://schemas.openxmlformats.org/officeDocument/2006/relationships/slide" Target="slides/slide87.xml"/><Relationship Id="rId169" Type="http://schemas.openxmlformats.org/officeDocument/2006/relationships/slide" Target="slides/slide92.xml"/><Relationship Id="rId185" Type="http://schemas.openxmlformats.org/officeDocument/2006/relationships/slide" Target="slides/slide108.xml"/><Relationship Id="rId4" Type="http://schemas.openxmlformats.org/officeDocument/2006/relationships/customXml" Target="../customXml/item4.xml"/><Relationship Id="rId9" Type="http://schemas.openxmlformats.org/officeDocument/2006/relationships/customXml" Target="../customXml/item9.xml"/><Relationship Id="rId180" Type="http://schemas.openxmlformats.org/officeDocument/2006/relationships/slide" Target="slides/slide103.xml"/><Relationship Id="rId210" Type="http://schemas.openxmlformats.org/officeDocument/2006/relationships/slide" Target="slides/slide133.xml"/><Relationship Id="rId215" Type="http://schemas.openxmlformats.org/officeDocument/2006/relationships/slide" Target="slides/slide138.xml"/><Relationship Id="rId26" Type="http://schemas.openxmlformats.org/officeDocument/2006/relationships/customXml" Target="../customXml/item26.xml"/><Relationship Id="rId47" Type="http://schemas.openxmlformats.org/officeDocument/2006/relationships/customXml" Target="../customXml/item47.xml"/><Relationship Id="rId68" Type="http://schemas.openxmlformats.org/officeDocument/2006/relationships/slideMaster" Target="slideMasters/slideMaster20.xml"/><Relationship Id="rId89" Type="http://schemas.openxmlformats.org/officeDocument/2006/relationships/slide" Target="slides/slide12.xml"/><Relationship Id="rId112" Type="http://schemas.openxmlformats.org/officeDocument/2006/relationships/slide" Target="slides/slide35.xml"/><Relationship Id="rId133" Type="http://schemas.openxmlformats.org/officeDocument/2006/relationships/slide" Target="slides/slide56.xml"/><Relationship Id="rId154" Type="http://schemas.openxmlformats.org/officeDocument/2006/relationships/slide" Target="slides/slide77.xml"/><Relationship Id="rId175" Type="http://schemas.openxmlformats.org/officeDocument/2006/relationships/slide" Target="slides/slide98.xml"/><Relationship Id="rId196" Type="http://schemas.openxmlformats.org/officeDocument/2006/relationships/slide" Target="slides/slide119.xml"/><Relationship Id="rId200" Type="http://schemas.openxmlformats.org/officeDocument/2006/relationships/slide" Target="slides/slide123.xml"/><Relationship Id="rId16" Type="http://schemas.openxmlformats.org/officeDocument/2006/relationships/customXml" Target="../customXml/item16.xml"/><Relationship Id="rId221" Type="http://schemas.openxmlformats.org/officeDocument/2006/relationships/tags" Target="tags/tag1.xml"/><Relationship Id="rId37" Type="http://schemas.openxmlformats.org/officeDocument/2006/relationships/customXml" Target="../customXml/item37.xml"/><Relationship Id="rId58" Type="http://schemas.openxmlformats.org/officeDocument/2006/relationships/slideMaster" Target="slideMasters/slideMaster10.xml"/><Relationship Id="rId79" Type="http://schemas.openxmlformats.org/officeDocument/2006/relationships/slide" Target="slides/slide2.xml"/><Relationship Id="rId102" Type="http://schemas.openxmlformats.org/officeDocument/2006/relationships/slide" Target="slides/slide25.xml"/><Relationship Id="rId123" Type="http://schemas.openxmlformats.org/officeDocument/2006/relationships/slide" Target="slides/slide46.xml"/><Relationship Id="rId144" Type="http://schemas.openxmlformats.org/officeDocument/2006/relationships/slide" Target="slides/slide67.xml"/><Relationship Id="rId90" Type="http://schemas.openxmlformats.org/officeDocument/2006/relationships/slide" Target="slides/slide13.xml"/><Relationship Id="rId165" Type="http://schemas.openxmlformats.org/officeDocument/2006/relationships/slide" Target="slides/slide88.xml"/><Relationship Id="rId186" Type="http://schemas.openxmlformats.org/officeDocument/2006/relationships/slide" Target="slides/slide109.xml"/><Relationship Id="rId211" Type="http://schemas.openxmlformats.org/officeDocument/2006/relationships/slide" Target="slides/slide134.xml"/><Relationship Id="rId27" Type="http://schemas.openxmlformats.org/officeDocument/2006/relationships/customXml" Target="../customXml/item27.xml"/><Relationship Id="rId48" Type="http://schemas.openxmlformats.org/officeDocument/2006/relationships/customXml" Target="../customXml/item48.xml"/><Relationship Id="rId69" Type="http://schemas.openxmlformats.org/officeDocument/2006/relationships/slideMaster" Target="slideMasters/slideMaster21.xml"/><Relationship Id="rId113" Type="http://schemas.openxmlformats.org/officeDocument/2006/relationships/slide" Target="slides/slide36.xml"/><Relationship Id="rId134" Type="http://schemas.openxmlformats.org/officeDocument/2006/relationships/slide" Target="slides/slide57.xml"/><Relationship Id="rId80" Type="http://schemas.openxmlformats.org/officeDocument/2006/relationships/slide" Target="slides/slide3.xml"/><Relationship Id="rId155" Type="http://schemas.openxmlformats.org/officeDocument/2006/relationships/slide" Target="slides/slide78.xml"/><Relationship Id="rId176" Type="http://schemas.openxmlformats.org/officeDocument/2006/relationships/slide" Target="slides/slide99.xml"/><Relationship Id="rId197" Type="http://schemas.openxmlformats.org/officeDocument/2006/relationships/slide" Target="slides/slide120.xml"/><Relationship Id="rId201" Type="http://schemas.openxmlformats.org/officeDocument/2006/relationships/slide" Target="slides/slide124.xml"/><Relationship Id="rId222" Type="http://schemas.openxmlformats.org/officeDocument/2006/relationships/commentAuthors" Target="commentAuthors.xml"/><Relationship Id="rId17" Type="http://schemas.openxmlformats.org/officeDocument/2006/relationships/customXml" Target="../customXml/item17.xml"/><Relationship Id="rId38" Type="http://schemas.openxmlformats.org/officeDocument/2006/relationships/customXml" Target="../customXml/item38.xml"/><Relationship Id="rId59" Type="http://schemas.openxmlformats.org/officeDocument/2006/relationships/slideMaster" Target="slideMasters/slideMaster11.xml"/><Relationship Id="rId103" Type="http://schemas.openxmlformats.org/officeDocument/2006/relationships/slide" Target="slides/slide26.xml"/><Relationship Id="rId124" Type="http://schemas.openxmlformats.org/officeDocument/2006/relationships/slide" Target="slides/slide47.xml"/><Relationship Id="rId70" Type="http://schemas.openxmlformats.org/officeDocument/2006/relationships/slideMaster" Target="slideMasters/slideMaster22.xml"/><Relationship Id="rId91" Type="http://schemas.openxmlformats.org/officeDocument/2006/relationships/slide" Target="slides/slide14.xml"/><Relationship Id="rId145" Type="http://schemas.openxmlformats.org/officeDocument/2006/relationships/slide" Target="slides/slide68.xml"/><Relationship Id="rId166" Type="http://schemas.openxmlformats.org/officeDocument/2006/relationships/slide" Target="slides/slide89.xml"/><Relationship Id="rId187" Type="http://schemas.openxmlformats.org/officeDocument/2006/relationships/slide" Target="slides/slide110.xml"/><Relationship Id="rId1" Type="http://schemas.openxmlformats.org/officeDocument/2006/relationships/customXml" Target="../customXml/item1.xml"/><Relationship Id="rId212" Type="http://schemas.openxmlformats.org/officeDocument/2006/relationships/slide" Target="slides/slide135.xml"/><Relationship Id="rId28" Type="http://schemas.openxmlformats.org/officeDocument/2006/relationships/customXml" Target="../customXml/item28.xml"/><Relationship Id="rId49" Type="http://schemas.openxmlformats.org/officeDocument/2006/relationships/slideMaster" Target="slideMasters/slideMaster1.xml"/><Relationship Id="rId114" Type="http://schemas.openxmlformats.org/officeDocument/2006/relationships/slide" Target="slides/slide37.xml"/><Relationship Id="rId60" Type="http://schemas.openxmlformats.org/officeDocument/2006/relationships/slideMaster" Target="slideMasters/slideMaster12.xml"/><Relationship Id="rId81" Type="http://schemas.openxmlformats.org/officeDocument/2006/relationships/slide" Target="slides/slide4.xml"/><Relationship Id="rId135" Type="http://schemas.openxmlformats.org/officeDocument/2006/relationships/slide" Target="slides/slide58.xml"/><Relationship Id="rId156" Type="http://schemas.openxmlformats.org/officeDocument/2006/relationships/slide" Target="slides/slide79.xml"/><Relationship Id="rId177" Type="http://schemas.openxmlformats.org/officeDocument/2006/relationships/slide" Target="slides/slide100.xml"/><Relationship Id="rId198" Type="http://schemas.openxmlformats.org/officeDocument/2006/relationships/slide" Target="slides/slide121.xml"/><Relationship Id="rId202" Type="http://schemas.openxmlformats.org/officeDocument/2006/relationships/slide" Target="slides/slide125.xml"/><Relationship Id="rId223" Type="http://schemas.openxmlformats.org/officeDocument/2006/relationships/presProps" Target="presProps.xml"/><Relationship Id="rId18" Type="http://schemas.openxmlformats.org/officeDocument/2006/relationships/customXml" Target="../customXml/item18.xml"/><Relationship Id="rId39" Type="http://schemas.openxmlformats.org/officeDocument/2006/relationships/customXml" Target="../customXml/item39.xml"/><Relationship Id="rId50" Type="http://schemas.openxmlformats.org/officeDocument/2006/relationships/slideMaster" Target="slideMasters/slideMaster2.xml"/><Relationship Id="rId104" Type="http://schemas.openxmlformats.org/officeDocument/2006/relationships/slide" Target="slides/slide27.xml"/><Relationship Id="rId125" Type="http://schemas.openxmlformats.org/officeDocument/2006/relationships/slide" Target="slides/slide48.xml"/><Relationship Id="rId146" Type="http://schemas.openxmlformats.org/officeDocument/2006/relationships/slide" Target="slides/slide69.xml"/><Relationship Id="rId167" Type="http://schemas.openxmlformats.org/officeDocument/2006/relationships/slide" Target="slides/slide90.xml"/><Relationship Id="rId188" Type="http://schemas.openxmlformats.org/officeDocument/2006/relationships/slide" Target="slides/slide111.xml"/><Relationship Id="rId71" Type="http://schemas.openxmlformats.org/officeDocument/2006/relationships/slideMaster" Target="slideMasters/slideMaster23.xml"/><Relationship Id="rId92" Type="http://schemas.openxmlformats.org/officeDocument/2006/relationships/slide" Target="slides/slide15.xml"/><Relationship Id="rId213" Type="http://schemas.openxmlformats.org/officeDocument/2006/relationships/slide" Target="slides/slide136.xml"/><Relationship Id="rId2" Type="http://schemas.openxmlformats.org/officeDocument/2006/relationships/customXml" Target="../customXml/item2.xml"/><Relationship Id="rId29" Type="http://schemas.openxmlformats.org/officeDocument/2006/relationships/customXml" Target="../customXml/item29.xml"/><Relationship Id="rId40" Type="http://schemas.openxmlformats.org/officeDocument/2006/relationships/customXml" Target="../customXml/item40.xml"/><Relationship Id="rId115" Type="http://schemas.openxmlformats.org/officeDocument/2006/relationships/slide" Target="slides/slide38.xml"/><Relationship Id="rId136" Type="http://schemas.openxmlformats.org/officeDocument/2006/relationships/slide" Target="slides/slide59.xml"/><Relationship Id="rId157" Type="http://schemas.openxmlformats.org/officeDocument/2006/relationships/slide" Target="slides/slide80.xml"/><Relationship Id="rId178" Type="http://schemas.openxmlformats.org/officeDocument/2006/relationships/slide" Target="slides/slide101.xml"/><Relationship Id="rId61" Type="http://schemas.openxmlformats.org/officeDocument/2006/relationships/slideMaster" Target="slideMasters/slideMaster13.xml"/><Relationship Id="rId82" Type="http://schemas.openxmlformats.org/officeDocument/2006/relationships/slide" Target="slides/slide5.xml"/><Relationship Id="rId199" Type="http://schemas.openxmlformats.org/officeDocument/2006/relationships/slide" Target="slides/slide122.xml"/><Relationship Id="rId203" Type="http://schemas.openxmlformats.org/officeDocument/2006/relationships/slide" Target="slides/slide126.xml"/><Relationship Id="rId19" Type="http://schemas.openxmlformats.org/officeDocument/2006/relationships/customXml" Target="../customXml/item19.xml"/><Relationship Id="rId224" Type="http://schemas.openxmlformats.org/officeDocument/2006/relationships/viewProps" Target="viewProps.xml"/><Relationship Id="rId30" Type="http://schemas.openxmlformats.org/officeDocument/2006/relationships/customXml" Target="../customXml/item30.xml"/><Relationship Id="rId105" Type="http://schemas.openxmlformats.org/officeDocument/2006/relationships/slide" Target="slides/slide28.xml"/><Relationship Id="rId126" Type="http://schemas.openxmlformats.org/officeDocument/2006/relationships/slide" Target="slides/slide49.xml"/><Relationship Id="rId147" Type="http://schemas.openxmlformats.org/officeDocument/2006/relationships/slide" Target="slides/slide70.xml"/><Relationship Id="rId168" Type="http://schemas.openxmlformats.org/officeDocument/2006/relationships/slide" Target="slides/slide91.xml"/><Relationship Id="rId51" Type="http://schemas.openxmlformats.org/officeDocument/2006/relationships/slideMaster" Target="slideMasters/slideMaster3.xml"/><Relationship Id="rId72" Type="http://schemas.openxmlformats.org/officeDocument/2006/relationships/slideMaster" Target="slideMasters/slideMaster24.xml"/><Relationship Id="rId93" Type="http://schemas.openxmlformats.org/officeDocument/2006/relationships/slide" Target="slides/slide16.xml"/><Relationship Id="rId189" Type="http://schemas.openxmlformats.org/officeDocument/2006/relationships/slide" Target="slides/slide11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31213359266643E-2"/>
          <c:y val="3.5163777463206203E-2"/>
          <c:w val="0.89936444814396066"/>
          <c:h val="0.71971195342466676"/>
        </c:manualLayout>
      </c:layout>
      <c:scatterChart>
        <c:scatterStyle val="lineMarker"/>
        <c:varyColors val="0"/>
        <c:ser>
          <c:idx val="0"/>
          <c:order val="0"/>
          <c:tx>
            <c:strRef>
              <c:f>Sheet1!$B$1</c:f>
              <c:strCache>
                <c:ptCount val="1"/>
                <c:pt idx="0">
                  <c:v>Y-Values</c:v>
                </c:pt>
              </c:strCache>
            </c:strRef>
          </c:tx>
          <c:spPr>
            <a:ln w="28575" cap="rnd">
              <a:noFill/>
              <a:round/>
            </a:ln>
            <a:effectLst/>
          </c:spPr>
          <c:marker>
            <c:symbol val="circle"/>
            <c:size val="5"/>
            <c:spPr>
              <a:solidFill>
                <a:schemeClr val="accent1"/>
              </a:solidFill>
              <a:ln w="9525">
                <a:noFill/>
              </a:ln>
              <a:effectLst/>
            </c:spPr>
          </c:marker>
          <c:dPt>
            <c:idx val="0"/>
            <c:marker>
              <c:symbol val="circle"/>
              <c:size val="5"/>
              <c:spPr>
                <a:noFill/>
                <a:ln w="9525">
                  <a:noFill/>
                </a:ln>
                <a:effectLst/>
              </c:spPr>
            </c:marker>
            <c:bubble3D val="0"/>
            <c:extLst>
              <c:ext xmlns:c16="http://schemas.microsoft.com/office/drawing/2014/chart" uri="{C3380CC4-5D6E-409C-BE32-E72D297353CC}">
                <c16:uniqueId val="{00000000-6486-4A89-B6D5-E47F7F707760}"/>
              </c:ext>
            </c:extLst>
          </c:dPt>
          <c:xVal>
            <c:numRef>
              <c:f>Sheet1!$A$2:$A$22</c:f>
              <c:numCache>
                <c:formatCode>General</c:formatCode>
                <c:ptCount val="21"/>
                <c:pt idx="0">
                  <c:v>-2</c:v>
                </c:pt>
                <c:pt idx="1">
                  <c:v>0</c:v>
                </c:pt>
                <c:pt idx="2">
                  <c:v>2</c:v>
                </c:pt>
                <c:pt idx="3">
                  <c:v>4</c:v>
                </c:pt>
                <c:pt idx="4">
                  <c:v>6</c:v>
                </c:pt>
                <c:pt idx="5">
                  <c:v>8</c:v>
                </c:pt>
                <c:pt idx="6">
                  <c:v>10</c:v>
                </c:pt>
                <c:pt idx="7">
                  <c:v>12</c:v>
                </c:pt>
                <c:pt idx="8">
                  <c:v>14</c:v>
                </c:pt>
                <c:pt idx="9">
                  <c:v>16</c:v>
                </c:pt>
                <c:pt idx="10">
                  <c:v>18</c:v>
                </c:pt>
                <c:pt idx="11">
                  <c:v>20</c:v>
                </c:pt>
                <c:pt idx="12">
                  <c:v>22</c:v>
                </c:pt>
                <c:pt idx="13">
                  <c:v>24</c:v>
                </c:pt>
                <c:pt idx="14">
                  <c:v>26</c:v>
                </c:pt>
                <c:pt idx="15">
                  <c:v>28</c:v>
                </c:pt>
                <c:pt idx="16">
                  <c:v>30</c:v>
                </c:pt>
                <c:pt idx="17">
                  <c:v>32</c:v>
                </c:pt>
                <c:pt idx="18">
                  <c:v>34</c:v>
                </c:pt>
                <c:pt idx="19">
                  <c:v>36</c:v>
                </c:pt>
                <c:pt idx="20">
                  <c:v>38</c:v>
                </c:pt>
              </c:numCache>
            </c:numRef>
          </c:xVal>
          <c:yVal>
            <c:numRef>
              <c:f>Sheet1!$B$2:$B$22</c:f>
              <c:numCache>
                <c:formatCode>General</c:formatCode>
                <c:ptCount val="21"/>
                <c:pt idx="0">
                  <c:v>0</c:v>
                </c:pt>
              </c:numCache>
            </c:numRef>
          </c:yVal>
          <c:smooth val="0"/>
          <c:extLst>
            <c:ext xmlns:c16="http://schemas.microsoft.com/office/drawing/2014/chart" uri="{C3380CC4-5D6E-409C-BE32-E72D297353CC}">
              <c16:uniqueId val="{00000001-6486-4A89-B6D5-E47F7F707760}"/>
            </c:ext>
          </c:extLst>
        </c:ser>
        <c:dLbls>
          <c:showLegendKey val="0"/>
          <c:showVal val="0"/>
          <c:showCatName val="0"/>
          <c:showSerName val="0"/>
          <c:showPercent val="0"/>
          <c:showBubbleSize val="0"/>
        </c:dLbls>
        <c:axId val="1740655680"/>
        <c:axId val="1740648192"/>
      </c:scatterChart>
      <c:valAx>
        <c:axId val="1740655680"/>
        <c:scaling>
          <c:orientation val="minMax"/>
          <c:max val="54"/>
          <c:min val="0"/>
        </c:scaling>
        <c:delete val="0"/>
        <c:axPos val="b"/>
        <c:title>
          <c:tx>
            <c:rich>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r>
                  <a:rPr lang="en-US" b="1"/>
                  <a:t>Time, months</a:t>
                </a:r>
              </a:p>
            </c:rich>
          </c:tx>
          <c:layout>
            <c:manualLayout>
              <c:xMode val="edge"/>
              <c:yMode val="edge"/>
              <c:x val="0.45696654936815512"/>
              <c:y val="0.9031860580592056"/>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740648192"/>
        <c:crosses val="autoZero"/>
        <c:crossBetween val="midCat"/>
        <c:majorUnit val="3"/>
      </c:valAx>
      <c:valAx>
        <c:axId val="1740648192"/>
        <c:scaling>
          <c:orientation val="minMax"/>
          <c:max val="100"/>
        </c:scaling>
        <c:delete val="0"/>
        <c:axPos val="l"/>
        <c:title>
          <c:tx>
            <c:rich>
              <a:bodyPr rot="-5400000" spcFirstLastPara="1" vertOverflow="ellipsis" vert="horz" wrap="square" anchor="ctr" anchorCtr="1"/>
              <a:lstStyle/>
              <a:p>
                <a:pPr>
                  <a:defRPr sz="1100" b="1" i="0" u="none" strike="noStrike" kern="1200" baseline="0">
                    <a:solidFill>
                      <a:schemeClr val="tx1"/>
                    </a:solidFill>
                    <a:latin typeface="+mn-lt"/>
                    <a:ea typeface="+mn-ea"/>
                    <a:cs typeface="+mn-cs"/>
                  </a:defRPr>
                </a:pPr>
                <a:r>
                  <a:rPr lang="en-US" b="1" dirty="0"/>
                  <a:t>Overall survival, %</a:t>
                </a:r>
              </a:p>
            </c:rich>
          </c:tx>
          <c:layout>
            <c:manualLayout>
              <c:xMode val="edge"/>
              <c:yMode val="edge"/>
              <c:x val="2.6897207524788105E-2"/>
              <c:y val="0.10275105804215939"/>
            </c:manualLayout>
          </c:layout>
          <c:overlay val="0"/>
          <c:spPr>
            <a:noFill/>
            <a:ln>
              <a:noFill/>
            </a:ln>
            <a:effectLst/>
          </c:spPr>
          <c:txPr>
            <a:bodyPr rot="-54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low"/>
        <c:spPr>
          <a:noFill/>
          <a:ln w="9525" cap="flat" cmpd="sng" algn="ctr">
            <a:solidFill>
              <a:srgbClr val="BFBFBF"/>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740655680"/>
        <c:crossesAt val="-2"/>
        <c:crossBetween val="midCat"/>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31213359266643E-2"/>
          <c:y val="3.5163777463206203E-2"/>
          <c:w val="0.89936444814396066"/>
          <c:h val="0.71971195342466676"/>
        </c:manualLayout>
      </c:layout>
      <c:scatterChart>
        <c:scatterStyle val="lineMarker"/>
        <c:varyColors val="0"/>
        <c:ser>
          <c:idx val="0"/>
          <c:order val="0"/>
          <c:tx>
            <c:strRef>
              <c:f>Sheet1!$B$1</c:f>
              <c:strCache>
                <c:ptCount val="1"/>
                <c:pt idx="0">
                  <c:v>Y-Values</c:v>
                </c:pt>
              </c:strCache>
            </c:strRef>
          </c:tx>
          <c:spPr>
            <a:ln w="28575" cap="rnd">
              <a:noFill/>
              <a:round/>
            </a:ln>
            <a:effectLst/>
          </c:spPr>
          <c:marker>
            <c:symbol val="circle"/>
            <c:size val="5"/>
            <c:spPr>
              <a:solidFill>
                <a:schemeClr val="accent1"/>
              </a:solidFill>
              <a:ln w="9525">
                <a:noFill/>
              </a:ln>
              <a:effectLst/>
            </c:spPr>
          </c:marker>
          <c:dPt>
            <c:idx val="0"/>
            <c:marker>
              <c:symbol val="circle"/>
              <c:size val="5"/>
              <c:spPr>
                <a:noFill/>
                <a:ln w="9525">
                  <a:noFill/>
                </a:ln>
                <a:effectLst/>
              </c:spPr>
            </c:marker>
            <c:bubble3D val="0"/>
            <c:extLst>
              <c:ext xmlns:c16="http://schemas.microsoft.com/office/drawing/2014/chart" uri="{C3380CC4-5D6E-409C-BE32-E72D297353CC}">
                <c16:uniqueId val="{00000000-6486-4A89-B6D5-E47F7F707760}"/>
              </c:ext>
            </c:extLst>
          </c:dPt>
          <c:xVal>
            <c:numRef>
              <c:f>Sheet1!$A$2:$A$22</c:f>
              <c:numCache>
                <c:formatCode>General</c:formatCode>
                <c:ptCount val="21"/>
                <c:pt idx="0">
                  <c:v>-2</c:v>
                </c:pt>
                <c:pt idx="1">
                  <c:v>0</c:v>
                </c:pt>
                <c:pt idx="2">
                  <c:v>2</c:v>
                </c:pt>
                <c:pt idx="3">
                  <c:v>4</c:v>
                </c:pt>
                <c:pt idx="4">
                  <c:v>6</c:v>
                </c:pt>
                <c:pt idx="5">
                  <c:v>8</c:v>
                </c:pt>
                <c:pt idx="6">
                  <c:v>10</c:v>
                </c:pt>
                <c:pt idx="7">
                  <c:v>12</c:v>
                </c:pt>
                <c:pt idx="8">
                  <c:v>14</c:v>
                </c:pt>
                <c:pt idx="9">
                  <c:v>16</c:v>
                </c:pt>
                <c:pt idx="10">
                  <c:v>18</c:v>
                </c:pt>
                <c:pt idx="11">
                  <c:v>20</c:v>
                </c:pt>
                <c:pt idx="12">
                  <c:v>22</c:v>
                </c:pt>
                <c:pt idx="13">
                  <c:v>24</c:v>
                </c:pt>
                <c:pt idx="14">
                  <c:v>26</c:v>
                </c:pt>
                <c:pt idx="15">
                  <c:v>28</c:v>
                </c:pt>
                <c:pt idx="16">
                  <c:v>30</c:v>
                </c:pt>
                <c:pt idx="17">
                  <c:v>32</c:v>
                </c:pt>
                <c:pt idx="18">
                  <c:v>34</c:v>
                </c:pt>
                <c:pt idx="19">
                  <c:v>36</c:v>
                </c:pt>
                <c:pt idx="20">
                  <c:v>38</c:v>
                </c:pt>
              </c:numCache>
            </c:numRef>
          </c:xVal>
          <c:yVal>
            <c:numRef>
              <c:f>Sheet1!$B$2:$B$22</c:f>
              <c:numCache>
                <c:formatCode>General</c:formatCode>
                <c:ptCount val="21"/>
                <c:pt idx="0">
                  <c:v>0</c:v>
                </c:pt>
              </c:numCache>
            </c:numRef>
          </c:yVal>
          <c:smooth val="0"/>
          <c:extLst>
            <c:ext xmlns:c16="http://schemas.microsoft.com/office/drawing/2014/chart" uri="{C3380CC4-5D6E-409C-BE32-E72D297353CC}">
              <c16:uniqueId val="{00000001-6486-4A89-B6D5-E47F7F707760}"/>
            </c:ext>
          </c:extLst>
        </c:ser>
        <c:dLbls>
          <c:showLegendKey val="0"/>
          <c:showVal val="0"/>
          <c:showCatName val="0"/>
          <c:showSerName val="0"/>
          <c:showPercent val="0"/>
          <c:showBubbleSize val="0"/>
        </c:dLbls>
        <c:axId val="1740655680"/>
        <c:axId val="1740648192"/>
      </c:scatterChart>
      <c:valAx>
        <c:axId val="1740655680"/>
        <c:scaling>
          <c:orientation val="minMax"/>
          <c:max val="54"/>
          <c:min val="0"/>
        </c:scaling>
        <c:delete val="0"/>
        <c:axPos val="b"/>
        <c:title>
          <c:tx>
            <c:rich>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r>
                  <a:rPr lang="en-US" b="1"/>
                  <a:t>Time, months</a:t>
                </a:r>
              </a:p>
            </c:rich>
          </c:tx>
          <c:layout>
            <c:manualLayout>
              <c:xMode val="edge"/>
              <c:yMode val="edge"/>
              <c:x val="0.45696654936815512"/>
              <c:y val="0.9031860580592056"/>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740648192"/>
        <c:crosses val="autoZero"/>
        <c:crossBetween val="midCat"/>
        <c:majorUnit val="3"/>
      </c:valAx>
      <c:valAx>
        <c:axId val="1740648192"/>
        <c:scaling>
          <c:orientation val="minMax"/>
          <c:max val="100"/>
        </c:scaling>
        <c:delete val="0"/>
        <c:axPos val="l"/>
        <c:title>
          <c:tx>
            <c:rich>
              <a:bodyPr rot="-5400000" spcFirstLastPara="1" vertOverflow="ellipsis" vert="horz" wrap="square" anchor="ctr" anchorCtr="1"/>
              <a:lstStyle/>
              <a:p>
                <a:pPr>
                  <a:defRPr sz="1100" b="1" i="0" u="none" strike="noStrike" kern="1200" baseline="0">
                    <a:solidFill>
                      <a:schemeClr val="tx1"/>
                    </a:solidFill>
                    <a:latin typeface="+mn-lt"/>
                    <a:ea typeface="+mn-ea"/>
                    <a:cs typeface="+mn-cs"/>
                  </a:defRPr>
                </a:pPr>
                <a:r>
                  <a:rPr lang="en-US" b="1" dirty="0"/>
                  <a:t>Overall survival, %</a:t>
                </a:r>
              </a:p>
            </c:rich>
          </c:tx>
          <c:layout>
            <c:manualLayout>
              <c:xMode val="edge"/>
              <c:yMode val="edge"/>
              <c:x val="2.6897207524788105E-2"/>
              <c:y val="0.10275105804215939"/>
            </c:manualLayout>
          </c:layout>
          <c:overlay val="0"/>
          <c:spPr>
            <a:noFill/>
            <a:ln>
              <a:noFill/>
            </a:ln>
            <a:effectLst/>
          </c:spPr>
          <c:txPr>
            <a:bodyPr rot="-54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low"/>
        <c:spPr>
          <a:noFill/>
          <a:ln w="9525" cap="flat" cmpd="sng" algn="ctr">
            <a:solidFill>
              <a:srgbClr val="BFBFBF"/>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740655680"/>
        <c:crossesAt val="-2"/>
        <c:crossBetween val="midCat"/>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E35BEE-62A9-4A7B-9EB3-EA5A07C1A68A}"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de-DE"/>
        </a:p>
      </dgm:t>
    </dgm:pt>
    <dgm:pt modelId="{EC45CD25-B489-45B7-AF61-82C7E76D6BF6}">
      <dgm:prSet custT="1"/>
      <dgm:spPr>
        <a:solidFill>
          <a:srgbClr val="4F81BD">
            <a:lumMod val="40000"/>
            <a:lumOff val="60000"/>
          </a:srgbClr>
        </a:solidFill>
        <a:ln w="25400" cap="flat" cmpd="sng" algn="ctr">
          <a:solidFill>
            <a:prstClr val="white">
              <a:hueOff val="0"/>
              <a:satOff val="0"/>
              <a:lumOff val="0"/>
              <a:alphaOff val="0"/>
            </a:prstClr>
          </a:solidFill>
          <a:prstDash val="solid"/>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de-DE" sz="1400" kern="1200" dirty="0">
              <a:solidFill>
                <a:prstClr val="white"/>
              </a:solidFill>
              <a:latin typeface="Open Sans" panose="020B0606030504020204" pitchFamily="34" charset="0"/>
              <a:ea typeface="Open Sans" panose="020B0606030504020204" pitchFamily="34" charset="0"/>
              <a:cs typeface="Open Sans" panose="020B0606030504020204" pitchFamily="34" charset="0"/>
            </a:rPr>
            <a:t>Cycle 1</a:t>
          </a:r>
        </a:p>
      </dgm:t>
    </dgm:pt>
    <dgm:pt modelId="{C1FD59F4-C830-44AA-AAAD-0CD83E7C9773}" type="parTrans" cxnId="{DE5522E5-E570-4B6D-9684-46DE875C5FA7}">
      <dgm:prSet/>
      <dgm:spPr/>
      <dgm:t>
        <a:bodyPr/>
        <a:lstStyle/>
        <a:p>
          <a:endParaRPr lang="de-DE"/>
        </a:p>
      </dgm:t>
    </dgm:pt>
    <dgm:pt modelId="{781930BC-A8F1-43A5-ACDD-4A2B9C31B7F1}" type="sibTrans" cxnId="{DE5522E5-E570-4B6D-9684-46DE875C5FA7}">
      <dgm:prSet/>
      <dgm:spPr>
        <a:solidFill>
          <a:schemeClr val="bg1">
            <a:lumMod val="85000"/>
          </a:schemeClr>
        </a:solidFill>
      </dgm:spPr>
      <dgm:t>
        <a:bodyPr/>
        <a:lstStyle/>
        <a:p>
          <a:endParaRPr lang="de-DE"/>
        </a:p>
      </dgm:t>
    </dgm:pt>
    <dgm:pt modelId="{A09429CF-4D42-4ED4-BBE8-DDFDEF1BB084}">
      <dgm:prSet custT="1"/>
      <dgm:spPr>
        <a:solidFill>
          <a:srgbClr val="4F81BD">
            <a:lumMod val="60000"/>
            <a:lumOff val="40000"/>
          </a:srgbClr>
        </a:solidFill>
        <a:ln w="25400" cap="flat" cmpd="sng" algn="ctr">
          <a:solidFill>
            <a:prstClr val="white">
              <a:hueOff val="0"/>
              <a:satOff val="0"/>
              <a:lumOff val="0"/>
              <a:alphaOff val="0"/>
            </a:prstClr>
          </a:solidFill>
          <a:prstDash val="solid"/>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de-DE" sz="1400" kern="1200" dirty="0">
              <a:solidFill>
                <a:prstClr val="white"/>
              </a:solidFill>
              <a:latin typeface="Open Sans" panose="020B0606030504020204" pitchFamily="34" charset="0"/>
              <a:ea typeface="Open Sans" panose="020B0606030504020204" pitchFamily="34" charset="0"/>
              <a:cs typeface="Open Sans" panose="020B0606030504020204" pitchFamily="34" charset="0"/>
            </a:rPr>
            <a:t>Cycle 2-6</a:t>
          </a:r>
        </a:p>
      </dgm:t>
    </dgm:pt>
    <dgm:pt modelId="{D9369E13-9703-466B-89AD-BBFBB35EF3FC}" type="parTrans" cxnId="{54D03156-9A29-43DF-882F-7A53741CFE0D}">
      <dgm:prSet/>
      <dgm:spPr/>
      <dgm:t>
        <a:bodyPr/>
        <a:lstStyle/>
        <a:p>
          <a:endParaRPr lang="de-DE"/>
        </a:p>
      </dgm:t>
    </dgm:pt>
    <dgm:pt modelId="{E06377C6-8927-4EF1-977F-C259EA1D2D1D}" type="sibTrans" cxnId="{54D03156-9A29-43DF-882F-7A53741CFE0D}">
      <dgm:prSet/>
      <dgm:spPr>
        <a:solidFill>
          <a:schemeClr val="bg1">
            <a:lumMod val="85000"/>
          </a:schemeClr>
        </a:solidFill>
      </dgm:spPr>
      <dgm:t>
        <a:bodyPr/>
        <a:lstStyle/>
        <a:p>
          <a:endParaRPr lang="de-DE"/>
        </a:p>
      </dgm:t>
    </dgm:pt>
    <dgm:pt modelId="{11C8F85B-774E-42B7-9B54-FADF28708625}">
      <dgm:prSet custT="1"/>
      <dgm:spPr>
        <a:solidFill>
          <a:srgbClr val="4F81BD">
            <a:lumMod val="75000"/>
          </a:srgbClr>
        </a:solidFill>
        <a:ln w="25400" cap="flat" cmpd="sng" algn="ctr">
          <a:solidFill>
            <a:prstClr val="white">
              <a:hueOff val="0"/>
              <a:satOff val="0"/>
              <a:lumOff val="0"/>
              <a:alphaOff val="0"/>
            </a:prstClr>
          </a:solidFill>
          <a:prstDash val="solid"/>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de-DE" sz="1400" kern="1200" dirty="0">
              <a:solidFill>
                <a:prstClr val="white"/>
              </a:solidFill>
              <a:latin typeface="Open Sans" panose="020B0606030504020204" pitchFamily="34" charset="0"/>
              <a:ea typeface="Open Sans" panose="020B0606030504020204" pitchFamily="34" charset="0"/>
              <a:cs typeface="Open Sans" panose="020B0606030504020204" pitchFamily="34" charset="0"/>
            </a:rPr>
            <a:t>Cycle 7-12</a:t>
          </a:r>
        </a:p>
      </dgm:t>
    </dgm:pt>
    <dgm:pt modelId="{63F2003D-9A74-46C6-B75C-F3E37CB1F617}" type="parTrans" cxnId="{5CCDABB4-13A0-47E8-BE89-4F01E0D2F2EE}">
      <dgm:prSet/>
      <dgm:spPr/>
      <dgm:t>
        <a:bodyPr/>
        <a:lstStyle/>
        <a:p>
          <a:endParaRPr lang="de-DE"/>
        </a:p>
      </dgm:t>
    </dgm:pt>
    <dgm:pt modelId="{9FA07014-7DE9-43BC-BABF-D4699E18C000}" type="sibTrans" cxnId="{5CCDABB4-13A0-47E8-BE89-4F01E0D2F2EE}">
      <dgm:prSet/>
      <dgm:spPr/>
      <dgm:t>
        <a:bodyPr/>
        <a:lstStyle/>
        <a:p>
          <a:endParaRPr lang="de-DE"/>
        </a:p>
      </dgm:t>
    </dgm:pt>
    <dgm:pt modelId="{CD64CE3C-D3DA-4047-8319-E1F8B0F3E89F}">
      <dgm:prSet custT="1"/>
      <dgm:spPr>
        <a:solidFill>
          <a:srgbClr val="4F81BD">
            <a:lumMod val="20000"/>
            <a:lumOff val="80000"/>
          </a:srgbClr>
        </a:solidFill>
        <a:ln w="25400" cap="flat" cmpd="sng" algn="ctr">
          <a:solidFill>
            <a:prstClr val="white">
              <a:hueOff val="0"/>
              <a:satOff val="0"/>
              <a:lumOff val="0"/>
              <a:alphaOff val="0"/>
            </a:prstClr>
          </a:solidFill>
          <a:prstDash val="solid"/>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de-DE" sz="1400" kern="1200" dirty="0" err="1">
              <a:solidFill>
                <a:prstClr val="black"/>
              </a:solidFill>
              <a:latin typeface="Open Sans" panose="020B0606030504020204" pitchFamily="34" charset="0"/>
              <a:ea typeface="Open Sans" panose="020B0606030504020204" pitchFamily="34" charset="0"/>
              <a:cs typeface="Open Sans" panose="020B0606030504020204" pitchFamily="34" charset="0"/>
            </a:rPr>
            <a:t>Prephase</a:t>
          </a:r>
          <a:endParaRPr lang="de-DE" sz="1400" kern="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dgm:t>
    </dgm:pt>
    <dgm:pt modelId="{7FF21FF4-6ECD-487F-B953-DD8988743E59}" type="parTrans" cxnId="{06C9DC6C-CF8E-4A61-A6F8-32A9625177FD}">
      <dgm:prSet/>
      <dgm:spPr/>
      <dgm:t>
        <a:bodyPr/>
        <a:lstStyle/>
        <a:p>
          <a:endParaRPr lang="de-DE"/>
        </a:p>
      </dgm:t>
    </dgm:pt>
    <dgm:pt modelId="{6DF63A5E-3126-45CE-8507-EF23D618D60D}" type="sibTrans" cxnId="{06C9DC6C-CF8E-4A61-A6F8-32A9625177FD}">
      <dgm:prSet/>
      <dgm:spPr>
        <a:solidFill>
          <a:schemeClr val="bg1">
            <a:lumMod val="85000"/>
          </a:schemeClr>
        </a:solidFill>
      </dgm:spPr>
      <dgm:t>
        <a:bodyPr/>
        <a:lstStyle/>
        <a:p>
          <a:endParaRPr lang="de-DE"/>
        </a:p>
      </dgm:t>
    </dgm:pt>
    <dgm:pt modelId="{D51709DD-DFAE-434B-893F-EB805398C9AF}" type="pres">
      <dgm:prSet presAssocID="{97E35BEE-62A9-4A7B-9EB3-EA5A07C1A68A}" presName="Name0" presStyleCnt="0">
        <dgm:presLayoutVars>
          <dgm:dir/>
          <dgm:resizeHandles val="exact"/>
        </dgm:presLayoutVars>
      </dgm:prSet>
      <dgm:spPr/>
    </dgm:pt>
    <dgm:pt modelId="{E151BE0A-58A2-4A86-80B2-0A236EFB7FF5}" type="pres">
      <dgm:prSet presAssocID="{CD64CE3C-D3DA-4047-8319-E1F8B0F3E89F}" presName="node" presStyleLbl="node1" presStyleIdx="0" presStyleCnt="4">
        <dgm:presLayoutVars>
          <dgm:bulletEnabled val="1"/>
        </dgm:presLayoutVars>
      </dgm:prSet>
      <dgm:spPr>
        <a:xfrm>
          <a:off x="3778" y="0"/>
          <a:ext cx="1652180" cy="466210"/>
        </a:xfrm>
        <a:prstGeom prst="roundRect">
          <a:avLst>
            <a:gd name="adj" fmla="val 10000"/>
          </a:avLst>
        </a:prstGeom>
      </dgm:spPr>
    </dgm:pt>
    <dgm:pt modelId="{C1EAB953-DA6D-47BD-8766-8D371F0FF9BF}" type="pres">
      <dgm:prSet presAssocID="{6DF63A5E-3126-45CE-8507-EF23D618D60D}" presName="sibTrans" presStyleLbl="sibTrans2D1" presStyleIdx="0" presStyleCnt="3"/>
      <dgm:spPr/>
    </dgm:pt>
    <dgm:pt modelId="{DA84E86B-43D9-4308-96F4-7A8A0C6EDFB3}" type="pres">
      <dgm:prSet presAssocID="{6DF63A5E-3126-45CE-8507-EF23D618D60D}" presName="connectorText" presStyleLbl="sibTrans2D1" presStyleIdx="0" presStyleCnt="3"/>
      <dgm:spPr/>
    </dgm:pt>
    <dgm:pt modelId="{FC9F2713-5D84-4AC2-8A32-E687A4443BEB}" type="pres">
      <dgm:prSet presAssocID="{EC45CD25-B489-45B7-AF61-82C7E76D6BF6}" presName="node" presStyleLbl="node1" presStyleIdx="1" presStyleCnt="4">
        <dgm:presLayoutVars>
          <dgm:bulletEnabled val="1"/>
        </dgm:presLayoutVars>
      </dgm:prSet>
      <dgm:spPr>
        <a:xfrm>
          <a:off x="2316831" y="0"/>
          <a:ext cx="1652180" cy="466210"/>
        </a:xfrm>
        <a:prstGeom prst="roundRect">
          <a:avLst>
            <a:gd name="adj" fmla="val 10000"/>
          </a:avLst>
        </a:prstGeom>
      </dgm:spPr>
    </dgm:pt>
    <dgm:pt modelId="{FA56B6FF-90DA-4CAC-8969-7A1210A6E4C5}" type="pres">
      <dgm:prSet presAssocID="{781930BC-A8F1-43A5-ACDD-4A2B9C31B7F1}" presName="sibTrans" presStyleLbl="sibTrans2D1" presStyleIdx="1" presStyleCnt="3"/>
      <dgm:spPr/>
    </dgm:pt>
    <dgm:pt modelId="{E6BCBC46-443B-4010-91AE-8F05B2768308}" type="pres">
      <dgm:prSet presAssocID="{781930BC-A8F1-43A5-ACDD-4A2B9C31B7F1}" presName="connectorText" presStyleLbl="sibTrans2D1" presStyleIdx="1" presStyleCnt="3"/>
      <dgm:spPr/>
    </dgm:pt>
    <dgm:pt modelId="{E01D8883-069D-4327-BEE8-4C81AC16FF38}" type="pres">
      <dgm:prSet presAssocID="{A09429CF-4D42-4ED4-BBE8-DDFDEF1BB084}" presName="node" presStyleLbl="node1" presStyleIdx="2" presStyleCnt="4">
        <dgm:presLayoutVars>
          <dgm:bulletEnabled val="1"/>
        </dgm:presLayoutVars>
      </dgm:prSet>
      <dgm:spPr>
        <a:xfrm>
          <a:off x="4629883" y="0"/>
          <a:ext cx="1652180" cy="466210"/>
        </a:xfrm>
        <a:prstGeom prst="roundRect">
          <a:avLst>
            <a:gd name="adj" fmla="val 10000"/>
          </a:avLst>
        </a:prstGeom>
      </dgm:spPr>
    </dgm:pt>
    <dgm:pt modelId="{536CFEA4-90FB-4E88-BE12-8855FC49F61D}" type="pres">
      <dgm:prSet presAssocID="{E06377C6-8927-4EF1-977F-C259EA1D2D1D}" presName="sibTrans" presStyleLbl="sibTrans2D1" presStyleIdx="2" presStyleCnt="3"/>
      <dgm:spPr/>
    </dgm:pt>
    <dgm:pt modelId="{318A989E-656C-49CF-9BC0-C443D56406DF}" type="pres">
      <dgm:prSet presAssocID="{E06377C6-8927-4EF1-977F-C259EA1D2D1D}" presName="connectorText" presStyleLbl="sibTrans2D1" presStyleIdx="2" presStyleCnt="3"/>
      <dgm:spPr/>
    </dgm:pt>
    <dgm:pt modelId="{6AB4503A-FB31-4647-9343-BD66142915D8}" type="pres">
      <dgm:prSet presAssocID="{11C8F85B-774E-42B7-9B54-FADF28708625}" presName="node" presStyleLbl="node1" presStyleIdx="3" presStyleCnt="4">
        <dgm:presLayoutVars>
          <dgm:bulletEnabled val="1"/>
        </dgm:presLayoutVars>
      </dgm:prSet>
      <dgm:spPr>
        <a:xfrm>
          <a:off x="6942935" y="0"/>
          <a:ext cx="1652180" cy="466210"/>
        </a:xfrm>
        <a:prstGeom prst="roundRect">
          <a:avLst>
            <a:gd name="adj" fmla="val 10000"/>
          </a:avLst>
        </a:prstGeom>
      </dgm:spPr>
    </dgm:pt>
  </dgm:ptLst>
  <dgm:cxnLst>
    <dgm:cxn modelId="{66FA3C05-FE16-48B3-AD48-2710D6E5EBD1}" type="presOf" srcId="{CD64CE3C-D3DA-4047-8319-E1F8B0F3E89F}" destId="{E151BE0A-58A2-4A86-80B2-0A236EFB7FF5}" srcOrd="0" destOrd="0" presId="urn:microsoft.com/office/officeart/2005/8/layout/process1"/>
    <dgm:cxn modelId="{3AEB3B22-04B6-4F22-B451-1D9FA1DC525F}" type="presOf" srcId="{6DF63A5E-3126-45CE-8507-EF23D618D60D}" destId="{DA84E86B-43D9-4308-96F4-7A8A0C6EDFB3}" srcOrd="1" destOrd="0" presId="urn:microsoft.com/office/officeart/2005/8/layout/process1"/>
    <dgm:cxn modelId="{76ECAD28-6D26-4253-825D-9FB8566E959A}" type="presOf" srcId="{97E35BEE-62A9-4A7B-9EB3-EA5A07C1A68A}" destId="{D51709DD-DFAE-434B-893F-EB805398C9AF}" srcOrd="0" destOrd="0" presId="urn:microsoft.com/office/officeart/2005/8/layout/process1"/>
    <dgm:cxn modelId="{54D03156-9A29-43DF-882F-7A53741CFE0D}" srcId="{97E35BEE-62A9-4A7B-9EB3-EA5A07C1A68A}" destId="{A09429CF-4D42-4ED4-BBE8-DDFDEF1BB084}" srcOrd="2" destOrd="0" parTransId="{D9369E13-9703-466B-89AD-BBFBB35EF3FC}" sibTransId="{E06377C6-8927-4EF1-977F-C259EA1D2D1D}"/>
    <dgm:cxn modelId="{06C9DC6C-CF8E-4A61-A6F8-32A9625177FD}" srcId="{97E35BEE-62A9-4A7B-9EB3-EA5A07C1A68A}" destId="{CD64CE3C-D3DA-4047-8319-E1F8B0F3E89F}" srcOrd="0" destOrd="0" parTransId="{7FF21FF4-6ECD-487F-B953-DD8988743E59}" sibTransId="{6DF63A5E-3126-45CE-8507-EF23D618D60D}"/>
    <dgm:cxn modelId="{3F15F480-5C98-4869-8F97-2F5C1FD3E526}" type="presOf" srcId="{781930BC-A8F1-43A5-ACDD-4A2B9C31B7F1}" destId="{E6BCBC46-443B-4010-91AE-8F05B2768308}" srcOrd="1" destOrd="0" presId="urn:microsoft.com/office/officeart/2005/8/layout/process1"/>
    <dgm:cxn modelId="{D4338297-A4E2-4763-A47A-45C58A22101D}" type="presOf" srcId="{6DF63A5E-3126-45CE-8507-EF23D618D60D}" destId="{C1EAB953-DA6D-47BD-8766-8D371F0FF9BF}" srcOrd="0" destOrd="0" presId="urn:microsoft.com/office/officeart/2005/8/layout/process1"/>
    <dgm:cxn modelId="{8468D197-00BA-4650-BBCE-A73D5C6B64FC}" type="presOf" srcId="{11C8F85B-774E-42B7-9B54-FADF28708625}" destId="{6AB4503A-FB31-4647-9343-BD66142915D8}" srcOrd="0" destOrd="0" presId="urn:microsoft.com/office/officeart/2005/8/layout/process1"/>
    <dgm:cxn modelId="{7743DA9E-49E8-4777-86D3-14E0C902D2D6}" type="presOf" srcId="{A09429CF-4D42-4ED4-BBE8-DDFDEF1BB084}" destId="{E01D8883-069D-4327-BEE8-4C81AC16FF38}" srcOrd="0" destOrd="0" presId="urn:microsoft.com/office/officeart/2005/8/layout/process1"/>
    <dgm:cxn modelId="{F1A282A8-DDBC-4119-A145-1DFB03394D07}" type="presOf" srcId="{E06377C6-8927-4EF1-977F-C259EA1D2D1D}" destId="{318A989E-656C-49CF-9BC0-C443D56406DF}" srcOrd="1" destOrd="0" presId="urn:microsoft.com/office/officeart/2005/8/layout/process1"/>
    <dgm:cxn modelId="{C21E49B0-B004-43B6-93A1-11E2C6716900}" type="presOf" srcId="{EC45CD25-B489-45B7-AF61-82C7E76D6BF6}" destId="{FC9F2713-5D84-4AC2-8A32-E687A4443BEB}" srcOrd="0" destOrd="0" presId="urn:microsoft.com/office/officeart/2005/8/layout/process1"/>
    <dgm:cxn modelId="{5CCDABB4-13A0-47E8-BE89-4F01E0D2F2EE}" srcId="{97E35BEE-62A9-4A7B-9EB3-EA5A07C1A68A}" destId="{11C8F85B-774E-42B7-9B54-FADF28708625}" srcOrd="3" destOrd="0" parTransId="{63F2003D-9A74-46C6-B75C-F3E37CB1F617}" sibTransId="{9FA07014-7DE9-43BC-BABF-D4699E18C000}"/>
    <dgm:cxn modelId="{1072F2B9-D761-475B-B56C-CE9C66ADF031}" type="presOf" srcId="{781930BC-A8F1-43A5-ACDD-4A2B9C31B7F1}" destId="{FA56B6FF-90DA-4CAC-8969-7A1210A6E4C5}" srcOrd="0" destOrd="0" presId="urn:microsoft.com/office/officeart/2005/8/layout/process1"/>
    <dgm:cxn modelId="{9C0D2CCE-64FD-4D00-98F8-05E4D1C5E997}" type="presOf" srcId="{E06377C6-8927-4EF1-977F-C259EA1D2D1D}" destId="{536CFEA4-90FB-4E88-BE12-8855FC49F61D}" srcOrd="0" destOrd="0" presId="urn:microsoft.com/office/officeart/2005/8/layout/process1"/>
    <dgm:cxn modelId="{DE5522E5-E570-4B6D-9684-46DE875C5FA7}" srcId="{97E35BEE-62A9-4A7B-9EB3-EA5A07C1A68A}" destId="{EC45CD25-B489-45B7-AF61-82C7E76D6BF6}" srcOrd="1" destOrd="0" parTransId="{C1FD59F4-C830-44AA-AAAD-0CD83E7C9773}" sibTransId="{781930BC-A8F1-43A5-ACDD-4A2B9C31B7F1}"/>
    <dgm:cxn modelId="{A4671CA6-9B74-4B29-95C8-A204B2E6324D}" type="presParOf" srcId="{D51709DD-DFAE-434B-893F-EB805398C9AF}" destId="{E151BE0A-58A2-4A86-80B2-0A236EFB7FF5}" srcOrd="0" destOrd="0" presId="urn:microsoft.com/office/officeart/2005/8/layout/process1"/>
    <dgm:cxn modelId="{425276F3-E8E4-4EAB-B910-75A3C6F0C6CC}" type="presParOf" srcId="{D51709DD-DFAE-434B-893F-EB805398C9AF}" destId="{C1EAB953-DA6D-47BD-8766-8D371F0FF9BF}" srcOrd="1" destOrd="0" presId="urn:microsoft.com/office/officeart/2005/8/layout/process1"/>
    <dgm:cxn modelId="{5C93BD7E-9848-42B3-81E3-13547EAD3D94}" type="presParOf" srcId="{C1EAB953-DA6D-47BD-8766-8D371F0FF9BF}" destId="{DA84E86B-43D9-4308-96F4-7A8A0C6EDFB3}" srcOrd="0" destOrd="0" presId="urn:microsoft.com/office/officeart/2005/8/layout/process1"/>
    <dgm:cxn modelId="{453E9304-A989-4A64-96EA-8AF6F0ADC9E7}" type="presParOf" srcId="{D51709DD-DFAE-434B-893F-EB805398C9AF}" destId="{FC9F2713-5D84-4AC2-8A32-E687A4443BEB}" srcOrd="2" destOrd="0" presId="urn:microsoft.com/office/officeart/2005/8/layout/process1"/>
    <dgm:cxn modelId="{42A037E3-61B4-4535-BF0D-F923151D0AE3}" type="presParOf" srcId="{D51709DD-DFAE-434B-893F-EB805398C9AF}" destId="{FA56B6FF-90DA-4CAC-8969-7A1210A6E4C5}" srcOrd="3" destOrd="0" presId="urn:microsoft.com/office/officeart/2005/8/layout/process1"/>
    <dgm:cxn modelId="{1BA32760-24B8-4098-A19A-2D9FC64F26DB}" type="presParOf" srcId="{FA56B6FF-90DA-4CAC-8969-7A1210A6E4C5}" destId="{E6BCBC46-443B-4010-91AE-8F05B2768308}" srcOrd="0" destOrd="0" presId="urn:microsoft.com/office/officeart/2005/8/layout/process1"/>
    <dgm:cxn modelId="{325AEA0E-17E9-4140-95EF-14033E761755}" type="presParOf" srcId="{D51709DD-DFAE-434B-893F-EB805398C9AF}" destId="{E01D8883-069D-4327-BEE8-4C81AC16FF38}" srcOrd="4" destOrd="0" presId="urn:microsoft.com/office/officeart/2005/8/layout/process1"/>
    <dgm:cxn modelId="{925281F5-8162-483C-975C-6CF5BA59CAE7}" type="presParOf" srcId="{D51709DD-DFAE-434B-893F-EB805398C9AF}" destId="{536CFEA4-90FB-4E88-BE12-8855FC49F61D}" srcOrd="5" destOrd="0" presId="urn:microsoft.com/office/officeart/2005/8/layout/process1"/>
    <dgm:cxn modelId="{32B9DF18-4D24-4517-AAD0-AB122907D968}" type="presParOf" srcId="{536CFEA4-90FB-4E88-BE12-8855FC49F61D}" destId="{318A989E-656C-49CF-9BC0-C443D56406DF}" srcOrd="0" destOrd="0" presId="urn:microsoft.com/office/officeart/2005/8/layout/process1"/>
    <dgm:cxn modelId="{9A8E0B98-2F41-4198-A50F-45FE01179342}" type="presParOf" srcId="{D51709DD-DFAE-434B-893F-EB805398C9AF}" destId="{6AB4503A-FB31-4647-9343-BD66142915D8}" srcOrd="6"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51BE0A-58A2-4A86-80B2-0A236EFB7FF5}">
      <dsp:nvSpPr>
        <dsp:cNvPr id="0" name=""/>
        <dsp:cNvSpPr/>
      </dsp:nvSpPr>
      <dsp:spPr>
        <a:xfrm>
          <a:off x="3778" y="0"/>
          <a:ext cx="1652180" cy="466210"/>
        </a:xfrm>
        <a:prstGeom prst="roundRect">
          <a:avLst>
            <a:gd name="adj" fmla="val 10000"/>
          </a:avLst>
        </a:prstGeom>
        <a:solidFill>
          <a:srgbClr val="4F81BD">
            <a:lumMod val="20000"/>
            <a:lumOff val="80000"/>
          </a:srgbClr>
        </a:solidFill>
        <a:ln w="254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dirty="0" err="1">
              <a:solidFill>
                <a:prstClr val="black"/>
              </a:solidFill>
              <a:latin typeface="Open Sans" panose="020B0606030504020204" pitchFamily="34" charset="0"/>
              <a:ea typeface="Open Sans" panose="020B0606030504020204" pitchFamily="34" charset="0"/>
              <a:cs typeface="Open Sans" panose="020B0606030504020204" pitchFamily="34" charset="0"/>
            </a:rPr>
            <a:t>Prephase</a:t>
          </a:r>
          <a:endParaRPr lang="de-DE" sz="1400" kern="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dsp:txBody>
      <dsp:txXfrm>
        <a:off x="17433" y="13655"/>
        <a:ext cx="1624870" cy="438900"/>
      </dsp:txXfrm>
    </dsp:sp>
    <dsp:sp modelId="{C1EAB953-DA6D-47BD-8766-8D371F0FF9BF}">
      <dsp:nvSpPr>
        <dsp:cNvPr id="0" name=""/>
        <dsp:cNvSpPr/>
      </dsp:nvSpPr>
      <dsp:spPr>
        <a:xfrm>
          <a:off x="1821177" y="28234"/>
          <a:ext cx="350262" cy="409740"/>
        </a:xfrm>
        <a:prstGeom prst="rightArrow">
          <a:avLst>
            <a:gd name="adj1" fmla="val 60000"/>
            <a:gd name="adj2" fmla="val 50000"/>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de-DE" sz="1700" kern="1200"/>
        </a:p>
      </dsp:txBody>
      <dsp:txXfrm>
        <a:off x="1821177" y="110182"/>
        <a:ext cx="245183" cy="245844"/>
      </dsp:txXfrm>
    </dsp:sp>
    <dsp:sp modelId="{FC9F2713-5D84-4AC2-8A32-E687A4443BEB}">
      <dsp:nvSpPr>
        <dsp:cNvPr id="0" name=""/>
        <dsp:cNvSpPr/>
      </dsp:nvSpPr>
      <dsp:spPr>
        <a:xfrm>
          <a:off x="2316831" y="0"/>
          <a:ext cx="1652180" cy="466210"/>
        </a:xfrm>
        <a:prstGeom prst="roundRect">
          <a:avLst>
            <a:gd name="adj" fmla="val 10000"/>
          </a:avLst>
        </a:prstGeom>
        <a:solidFill>
          <a:srgbClr val="4F81BD">
            <a:lumMod val="40000"/>
            <a:lumOff val="60000"/>
          </a:srgbClr>
        </a:solidFill>
        <a:ln w="254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dirty="0">
              <a:solidFill>
                <a:prstClr val="white"/>
              </a:solidFill>
              <a:latin typeface="Open Sans" panose="020B0606030504020204" pitchFamily="34" charset="0"/>
              <a:ea typeface="Open Sans" panose="020B0606030504020204" pitchFamily="34" charset="0"/>
              <a:cs typeface="Open Sans" panose="020B0606030504020204" pitchFamily="34" charset="0"/>
            </a:rPr>
            <a:t>Cycle 1</a:t>
          </a:r>
        </a:p>
      </dsp:txBody>
      <dsp:txXfrm>
        <a:off x="2330486" y="13655"/>
        <a:ext cx="1624870" cy="438900"/>
      </dsp:txXfrm>
    </dsp:sp>
    <dsp:sp modelId="{FA56B6FF-90DA-4CAC-8969-7A1210A6E4C5}">
      <dsp:nvSpPr>
        <dsp:cNvPr id="0" name=""/>
        <dsp:cNvSpPr/>
      </dsp:nvSpPr>
      <dsp:spPr>
        <a:xfrm>
          <a:off x="4134229" y="28234"/>
          <a:ext cx="350262" cy="409740"/>
        </a:xfrm>
        <a:prstGeom prst="rightArrow">
          <a:avLst>
            <a:gd name="adj1" fmla="val 60000"/>
            <a:gd name="adj2" fmla="val 50000"/>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de-DE" sz="1700" kern="1200"/>
        </a:p>
      </dsp:txBody>
      <dsp:txXfrm>
        <a:off x="4134229" y="110182"/>
        <a:ext cx="245183" cy="245844"/>
      </dsp:txXfrm>
    </dsp:sp>
    <dsp:sp modelId="{E01D8883-069D-4327-BEE8-4C81AC16FF38}">
      <dsp:nvSpPr>
        <dsp:cNvPr id="0" name=""/>
        <dsp:cNvSpPr/>
      </dsp:nvSpPr>
      <dsp:spPr>
        <a:xfrm>
          <a:off x="4629883" y="0"/>
          <a:ext cx="1652180" cy="466210"/>
        </a:xfrm>
        <a:prstGeom prst="roundRect">
          <a:avLst>
            <a:gd name="adj" fmla="val 10000"/>
          </a:avLst>
        </a:prstGeom>
        <a:solidFill>
          <a:srgbClr val="4F81BD">
            <a:lumMod val="60000"/>
            <a:lumOff val="40000"/>
          </a:srgbClr>
        </a:solidFill>
        <a:ln w="254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dirty="0">
              <a:solidFill>
                <a:prstClr val="white"/>
              </a:solidFill>
              <a:latin typeface="Open Sans" panose="020B0606030504020204" pitchFamily="34" charset="0"/>
              <a:ea typeface="Open Sans" panose="020B0606030504020204" pitchFamily="34" charset="0"/>
              <a:cs typeface="Open Sans" panose="020B0606030504020204" pitchFamily="34" charset="0"/>
            </a:rPr>
            <a:t>Cycle 2-6</a:t>
          </a:r>
        </a:p>
      </dsp:txBody>
      <dsp:txXfrm>
        <a:off x="4643538" y="13655"/>
        <a:ext cx="1624870" cy="438900"/>
      </dsp:txXfrm>
    </dsp:sp>
    <dsp:sp modelId="{536CFEA4-90FB-4E88-BE12-8855FC49F61D}">
      <dsp:nvSpPr>
        <dsp:cNvPr id="0" name=""/>
        <dsp:cNvSpPr/>
      </dsp:nvSpPr>
      <dsp:spPr>
        <a:xfrm>
          <a:off x="6447281" y="28234"/>
          <a:ext cx="350262" cy="409740"/>
        </a:xfrm>
        <a:prstGeom prst="rightArrow">
          <a:avLst>
            <a:gd name="adj1" fmla="val 60000"/>
            <a:gd name="adj2" fmla="val 50000"/>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de-DE" sz="1700" kern="1200"/>
        </a:p>
      </dsp:txBody>
      <dsp:txXfrm>
        <a:off x="6447281" y="110182"/>
        <a:ext cx="245183" cy="245844"/>
      </dsp:txXfrm>
    </dsp:sp>
    <dsp:sp modelId="{6AB4503A-FB31-4647-9343-BD66142915D8}">
      <dsp:nvSpPr>
        <dsp:cNvPr id="0" name=""/>
        <dsp:cNvSpPr/>
      </dsp:nvSpPr>
      <dsp:spPr>
        <a:xfrm>
          <a:off x="6942935" y="0"/>
          <a:ext cx="1652180" cy="466210"/>
        </a:xfrm>
        <a:prstGeom prst="roundRect">
          <a:avLst>
            <a:gd name="adj" fmla="val 10000"/>
          </a:avLst>
        </a:prstGeom>
        <a:solidFill>
          <a:srgbClr val="4F81BD">
            <a:lumMod val="75000"/>
          </a:srgbClr>
        </a:solidFill>
        <a:ln w="254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dirty="0">
              <a:solidFill>
                <a:prstClr val="white"/>
              </a:solidFill>
              <a:latin typeface="Open Sans" panose="020B0606030504020204" pitchFamily="34" charset="0"/>
              <a:ea typeface="Open Sans" panose="020B0606030504020204" pitchFamily="34" charset="0"/>
              <a:cs typeface="Open Sans" panose="020B0606030504020204" pitchFamily="34" charset="0"/>
            </a:rPr>
            <a:t>Cycle 7-12</a:t>
          </a:r>
        </a:p>
      </dsp:txBody>
      <dsp:txXfrm>
        <a:off x="6956590" y="13655"/>
        <a:ext cx="1624870" cy="438900"/>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5/31/26</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68" userDrawn="1">
          <p15:clr>
            <a:srgbClr val="F26B43"/>
          </p15:clr>
        </p15:guide>
        <p15:guide id="2" pos="2448"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C4C7AD-376F-0753-0FCA-4CC59E06D17D}"/>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ADBE954E-0FEA-CA67-004D-A53916299485}"/>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2B6090D8-D162-471F-4E61-A76FE7FD9606}"/>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F69CCAE9-C646-555D-2D2B-5FDE935427A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9371847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690563"/>
            <a:ext cx="6143625" cy="34559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3B81B8-344C-459C-8F4B-74DF3AC04C2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403321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709613"/>
            <a:ext cx="6143625" cy="34559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3B81B8-344C-459C-8F4B-74DF3AC04C2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5" name="Group 4">
            <a:extLst>
              <a:ext uri="{FF2B5EF4-FFF2-40B4-BE49-F238E27FC236}">
                <a16:creationId xmlns:a16="http://schemas.microsoft.com/office/drawing/2014/main" id="{E5B7A227-6411-A2B0-9A17-5D18E66FA085}"/>
              </a:ext>
            </a:extLst>
          </p:cNvPr>
          <p:cNvGrpSpPr/>
          <p:nvPr/>
        </p:nvGrpSpPr>
        <p:grpSpPr>
          <a:xfrm>
            <a:off x="4424172" y="436647"/>
            <a:ext cx="1892681" cy="3235240"/>
            <a:chOff x="357187" y="618080"/>
            <a:chExt cx="1367173" cy="2112046"/>
          </a:xfrm>
        </p:grpSpPr>
        <p:sp>
          <p:nvSpPr>
            <p:cNvPr id="6" name="Rectangle 5">
              <a:extLst>
                <a:ext uri="{FF2B5EF4-FFF2-40B4-BE49-F238E27FC236}">
                  <a16:creationId xmlns:a16="http://schemas.microsoft.com/office/drawing/2014/main" id="{B72D9EF0-7A60-E033-4DFB-0A7EC00E13A4}"/>
                </a:ext>
              </a:extLst>
            </p:cNvPr>
            <p:cNvSpPr/>
            <p:nvPr/>
          </p:nvSpPr>
          <p:spPr>
            <a:xfrm>
              <a:off x="357187" y="1376363"/>
              <a:ext cx="1367173" cy="1353763"/>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7" name="Straight Arrow Connector 6">
              <a:extLst>
                <a:ext uri="{FF2B5EF4-FFF2-40B4-BE49-F238E27FC236}">
                  <a16:creationId xmlns:a16="http://schemas.microsoft.com/office/drawing/2014/main" id="{7E9371F6-8AA6-0CA2-C13A-ABA3BEE0117A}"/>
                </a:ext>
              </a:extLst>
            </p:cNvPr>
            <p:cNvCxnSpPr>
              <a:cxnSpLocks/>
            </p:cNvCxnSpPr>
            <p:nvPr/>
          </p:nvCxnSpPr>
          <p:spPr>
            <a:xfrm flipV="1">
              <a:off x="968116" y="965321"/>
              <a:ext cx="0" cy="411043"/>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C0B4D600-4088-B27B-ECC0-0A0884703D09}"/>
                </a:ext>
              </a:extLst>
            </p:cNvPr>
            <p:cNvSpPr txBox="1"/>
            <p:nvPr/>
          </p:nvSpPr>
          <p:spPr>
            <a:xfrm>
              <a:off x="401138" y="618080"/>
              <a:ext cx="1133955" cy="331525"/>
            </a:xfrm>
            <a:prstGeom prst="rect">
              <a:avLst/>
            </a:prstGeom>
            <a:solidFill>
              <a:srgbClr val="FFFFFF"/>
            </a:solidFill>
            <a:ln>
              <a:solidFill>
                <a:srgbClr val="FF0000"/>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Garamond" pitchFamily="18" charset="0"/>
                  <a:ea typeface="+mn-ea"/>
                  <a:cs typeface="+mn-cs"/>
                </a:rPr>
                <a:t>Schuster Lancet 2021, P1408 Figure 1C citation A; P1410 citation B</a:t>
              </a:r>
            </a:p>
          </p:txBody>
        </p:sp>
      </p:grpSp>
      <p:grpSp>
        <p:nvGrpSpPr>
          <p:cNvPr id="9" name="Group 8">
            <a:extLst>
              <a:ext uri="{FF2B5EF4-FFF2-40B4-BE49-F238E27FC236}">
                <a16:creationId xmlns:a16="http://schemas.microsoft.com/office/drawing/2014/main" id="{9108C587-E9CB-F360-FF84-3200BE0CDC4D}"/>
              </a:ext>
            </a:extLst>
          </p:cNvPr>
          <p:cNvGrpSpPr/>
          <p:nvPr/>
        </p:nvGrpSpPr>
        <p:grpSpPr>
          <a:xfrm>
            <a:off x="465906" y="1678463"/>
            <a:ext cx="2010590" cy="2985673"/>
            <a:chOff x="357187" y="1655724"/>
            <a:chExt cx="1452344" cy="2985673"/>
          </a:xfrm>
        </p:grpSpPr>
        <p:sp>
          <p:nvSpPr>
            <p:cNvPr id="10" name="Rectangle 9">
              <a:extLst>
                <a:ext uri="{FF2B5EF4-FFF2-40B4-BE49-F238E27FC236}">
                  <a16:creationId xmlns:a16="http://schemas.microsoft.com/office/drawing/2014/main" id="{E187B56C-BC46-82A6-E41D-E7234EB96C06}"/>
                </a:ext>
              </a:extLst>
            </p:cNvPr>
            <p:cNvSpPr/>
            <p:nvPr/>
          </p:nvSpPr>
          <p:spPr>
            <a:xfrm>
              <a:off x="357187" y="1655724"/>
              <a:ext cx="1452344" cy="1993424"/>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11" name="Straight Arrow Connector 10">
              <a:extLst>
                <a:ext uri="{FF2B5EF4-FFF2-40B4-BE49-F238E27FC236}">
                  <a16:creationId xmlns:a16="http://schemas.microsoft.com/office/drawing/2014/main" id="{012F7972-F26B-F0E3-1ED7-F5E7E2EE37F1}"/>
                </a:ext>
              </a:extLst>
            </p:cNvPr>
            <p:cNvCxnSpPr>
              <a:cxnSpLocks/>
            </p:cNvCxnSpPr>
            <p:nvPr/>
          </p:nvCxnSpPr>
          <p:spPr>
            <a:xfrm>
              <a:off x="1557982" y="3485478"/>
              <a:ext cx="0" cy="509588"/>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B829D8B6-2B9C-47DC-CADC-E7FCA03C85CF}"/>
                </a:ext>
              </a:extLst>
            </p:cNvPr>
            <p:cNvSpPr txBox="1"/>
            <p:nvPr/>
          </p:nvSpPr>
          <p:spPr>
            <a:xfrm>
              <a:off x="608614" y="3995066"/>
              <a:ext cx="949489" cy="646331"/>
            </a:xfrm>
            <a:prstGeom prst="rect">
              <a:avLst/>
            </a:prstGeom>
            <a:solidFill>
              <a:srgbClr val="FFFFFF"/>
            </a:solidFill>
            <a:ln>
              <a:solidFill>
                <a:srgbClr val="FF0000"/>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Garamond" pitchFamily="18" charset="0"/>
                  <a:ea typeface="+mn-ea"/>
                  <a:cs typeface="+mn-cs"/>
                </a:rPr>
                <a:t>Neelapu Blood 2023 P2311 citation A Figure 2A; P2312 citation A (discussion)</a:t>
              </a:r>
            </a:p>
          </p:txBody>
        </p:sp>
      </p:grpSp>
      <p:grpSp>
        <p:nvGrpSpPr>
          <p:cNvPr id="13" name="Group 12">
            <a:extLst>
              <a:ext uri="{FF2B5EF4-FFF2-40B4-BE49-F238E27FC236}">
                <a16:creationId xmlns:a16="http://schemas.microsoft.com/office/drawing/2014/main" id="{9C94BE4B-0E02-C673-4F86-0F9DFFA83864}"/>
              </a:ext>
            </a:extLst>
          </p:cNvPr>
          <p:cNvGrpSpPr/>
          <p:nvPr/>
        </p:nvGrpSpPr>
        <p:grpSpPr>
          <a:xfrm>
            <a:off x="2576176" y="1730851"/>
            <a:ext cx="1805329" cy="2847173"/>
            <a:chOff x="357187" y="1655724"/>
            <a:chExt cx="1452344" cy="2847173"/>
          </a:xfrm>
        </p:grpSpPr>
        <p:sp>
          <p:nvSpPr>
            <p:cNvPr id="14" name="Rectangle 13">
              <a:extLst>
                <a:ext uri="{FF2B5EF4-FFF2-40B4-BE49-F238E27FC236}">
                  <a16:creationId xmlns:a16="http://schemas.microsoft.com/office/drawing/2014/main" id="{F700A35A-0FE7-3245-F712-1807F215A2D2}"/>
                </a:ext>
              </a:extLst>
            </p:cNvPr>
            <p:cNvSpPr/>
            <p:nvPr/>
          </p:nvSpPr>
          <p:spPr>
            <a:xfrm>
              <a:off x="357187" y="1655724"/>
              <a:ext cx="1452344" cy="1925034"/>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15" name="Straight Arrow Connector 14">
              <a:extLst>
                <a:ext uri="{FF2B5EF4-FFF2-40B4-BE49-F238E27FC236}">
                  <a16:creationId xmlns:a16="http://schemas.microsoft.com/office/drawing/2014/main" id="{D0821967-44D7-0FBC-501D-E25868887FDC}"/>
                </a:ext>
              </a:extLst>
            </p:cNvPr>
            <p:cNvCxnSpPr>
              <a:cxnSpLocks/>
            </p:cNvCxnSpPr>
            <p:nvPr/>
          </p:nvCxnSpPr>
          <p:spPr>
            <a:xfrm>
              <a:off x="1486214" y="3485478"/>
              <a:ext cx="0" cy="509588"/>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FFDF1899-E30E-65E5-2DD3-88F01491C1A4}"/>
                </a:ext>
              </a:extLst>
            </p:cNvPr>
            <p:cNvSpPr txBox="1"/>
            <p:nvPr/>
          </p:nvSpPr>
          <p:spPr>
            <a:xfrm>
              <a:off x="608614" y="3995066"/>
              <a:ext cx="949489" cy="507831"/>
            </a:xfrm>
            <a:prstGeom prst="rect">
              <a:avLst/>
            </a:prstGeom>
            <a:solidFill>
              <a:srgbClr val="FFFFFF"/>
            </a:solidFill>
            <a:ln>
              <a:solidFill>
                <a:srgbClr val="FF0000"/>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Garamond" pitchFamily="18" charset="0"/>
                  <a:ea typeface="+mn-ea"/>
                  <a:cs typeface="+mn-cs"/>
                </a:rPr>
                <a:t>Abramson ASH 2024 Abst 3125 citation A Figure 3A</a:t>
              </a:r>
            </a:p>
          </p:txBody>
        </p:sp>
      </p:grpSp>
    </p:spTree>
    <p:extLst>
      <p:ext uri="{BB962C8B-B14F-4D97-AF65-F5344CB8AC3E}">
        <p14:creationId xmlns:p14="http://schemas.microsoft.com/office/powerpoint/2010/main" val="27951983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690563"/>
            <a:ext cx="6143625" cy="34559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3B81B8-344C-459C-8F4B-74DF3AC04C2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409308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CC71D1-015A-4BF2-EA6A-31A2C9B90B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939547-FB09-54CF-8C7C-A8575051862C}"/>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1B835B94-3901-2F81-6135-25A02FA7304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01029AB-94EC-16B3-A297-772607B424B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BC6615-C4BF-4EC9-8F05-DFEFE2841F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9096011B-C168-7A14-C410-F29D98AAD1CF}"/>
              </a:ext>
            </a:extLst>
          </p:cNvPr>
          <p:cNvSpPr/>
          <p:nvPr/>
        </p:nvSpPr>
        <p:spPr>
          <a:xfrm>
            <a:off x="374127" y="1356617"/>
            <a:ext cx="1141226" cy="1782234"/>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65839FC7-97E6-C9D0-7FEF-77722C0EAF43}"/>
              </a:ext>
            </a:extLst>
          </p:cNvPr>
          <p:cNvSpPr/>
          <p:nvPr/>
        </p:nvSpPr>
        <p:spPr>
          <a:xfrm>
            <a:off x="1605469" y="1357254"/>
            <a:ext cx="3086304" cy="1955261"/>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95A74B38-A05F-A50E-A38E-82DAB8A7965C}"/>
              </a:ext>
            </a:extLst>
          </p:cNvPr>
          <p:cNvSpPr/>
          <p:nvPr/>
        </p:nvSpPr>
        <p:spPr>
          <a:xfrm>
            <a:off x="688025" y="3406682"/>
            <a:ext cx="5549048" cy="269240"/>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CAC4E7A6-18EE-3A07-CEDD-C2C741D90965}"/>
              </a:ext>
            </a:extLst>
          </p:cNvPr>
          <p:cNvSpPr/>
          <p:nvPr/>
        </p:nvSpPr>
        <p:spPr>
          <a:xfrm>
            <a:off x="773853" y="848013"/>
            <a:ext cx="5230707" cy="444555"/>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2" name="Straight Arrow Connector 11">
            <a:extLst>
              <a:ext uri="{FF2B5EF4-FFF2-40B4-BE49-F238E27FC236}">
                <a16:creationId xmlns:a16="http://schemas.microsoft.com/office/drawing/2014/main" id="{1766E0AF-14EB-06C1-2F5D-FC5BC92B357B}"/>
              </a:ext>
            </a:extLst>
          </p:cNvPr>
          <p:cNvCxnSpPr>
            <a:cxnSpLocks/>
          </p:cNvCxnSpPr>
          <p:nvPr/>
        </p:nvCxnSpPr>
        <p:spPr>
          <a:xfrm flipH="1">
            <a:off x="91440" y="3620187"/>
            <a:ext cx="589280" cy="278184"/>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03544244-76C1-590A-74B9-872DD15D2DE5}"/>
              </a:ext>
            </a:extLst>
          </p:cNvPr>
          <p:cNvCxnSpPr>
            <a:cxnSpLocks/>
          </p:cNvCxnSpPr>
          <p:nvPr/>
        </p:nvCxnSpPr>
        <p:spPr>
          <a:xfrm flipH="1">
            <a:off x="16467" y="2495297"/>
            <a:ext cx="357660" cy="144816"/>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5D842576-1A9A-C1C6-F5DE-AFB183DFBA2F}"/>
              </a:ext>
            </a:extLst>
          </p:cNvPr>
          <p:cNvCxnSpPr>
            <a:cxnSpLocks/>
          </p:cNvCxnSpPr>
          <p:nvPr/>
        </p:nvCxnSpPr>
        <p:spPr>
          <a:xfrm flipH="1">
            <a:off x="336397" y="948248"/>
            <a:ext cx="402903"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5B40D87C-A7E6-AB6D-276D-079CFBBFE830}"/>
              </a:ext>
            </a:extLst>
          </p:cNvPr>
          <p:cNvSpPr/>
          <p:nvPr/>
        </p:nvSpPr>
        <p:spPr>
          <a:xfrm>
            <a:off x="-1229517" y="733754"/>
            <a:ext cx="1552152" cy="400847"/>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Westin NEJM 2023 P148 citation B</a:t>
            </a:r>
          </a:p>
        </p:txBody>
      </p:sp>
      <p:cxnSp>
        <p:nvCxnSpPr>
          <p:cNvPr id="22" name="Straight Arrow Connector 21">
            <a:extLst>
              <a:ext uri="{FF2B5EF4-FFF2-40B4-BE49-F238E27FC236}">
                <a16:creationId xmlns:a16="http://schemas.microsoft.com/office/drawing/2014/main" id="{E9C847BF-0C0A-A90D-C7DB-DC2EF3A788D9}"/>
              </a:ext>
            </a:extLst>
          </p:cNvPr>
          <p:cNvCxnSpPr>
            <a:cxnSpLocks/>
          </p:cNvCxnSpPr>
          <p:nvPr/>
        </p:nvCxnSpPr>
        <p:spPr>
          <a:xfrm flipV="1">
            <a:off x="4040295" y="733754"/>
            <a:ext cx="0" cy="932215"/>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9" name="Right Brace 28">
            <a:extLst>
              <a:ext uri="{FF2B5EF4-FFF2-40B4-BE49-F238E27FC236}">
                <a16:creationId xmlns:a16="http://schemas.microsoft.com/office/drawing/2014/main" id="{4966BF4D-DA8A-160D-218E-F05826550AE5}"/>
              </a:ext>
            </a:extLst>
          </p:cNvPr>
          <p:cNvSpPr/>
          <p:nvPr/>
        </p:nvSpPr>
        <p:spPr>
          <a:xfrm>
            <a:off x="6283375" y="2150726"/>
            <a:ext cx="328505" cy="753190"/>
          </a:xfrm>
          <a:prstGeom prst="rightBrace">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36" name="Straight Arrow Connector 35">
            <a:extLst>
              <a:ext uri="{FF2B5EF4-FFF2-40B4-BE49-F238E27FC236}">
                <a16:creationId xmlns:a16="http://schemas.microsoft.com/office/drawing/2014/main" id="{113BE528-8A52-C278-ED2B-2B9445806945}"/>
              </a:ext>
            </a:extLst>
          </p:cNvPr>
          <p:cNvCxnSpPr>
            <a:cxnSpLocks/>
          </p:cNvCxnSpPr>
          <p:nvPr/>
        </p:nvCxnSpPr>
        <p:spPr>
          <a:xfrm flipV="1">
            <a:off x="5969578" y="1079517"/>
            <a:ext cx="337269" cy="324351"/>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04FC61D7-069C-C217-6504-B350F1A4678C}"/>
              </a:ext>
            </a:extLst>
          </p:cNvPr>
          <p:cNvCxnSpPr>
            <a:cxnSpLocks/>
            <a:endCxn id="33" idx="1"/>
          </p:cNvCxnSpPr>
          <p:nvPr/>
        </p:nvCxnSpPr>
        <p:spPr>
          <a:xfrm flipV="1">
            <a:off x="6237073" y="1714638"/>
            <a:ext cx="543076" cy="207301"/>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DDF3B66C-0623-0145-2DE1-A3B9D5664DA0}"/>
              </a:ext>
            </a:extLst>
          </p:cNvPr>
          <p:cNvSpPr/>
          <p:nvPr/>
        </p:nvSpPr>
        <p:spPr>
          <a:xfrm>
            <a:off x="-1703294" y="2672136"/>
            <a:ext cx="1728647" cy="734545"/>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Westin NEJM 2023 P148 citation A; Locke NEJM 2022 P641 citation A; P646 citation A &amp; B table 1</a:t>
            </a:r>
          </a:p>
        </p:txBody>
      </p:sp>
      <p:sp>
        <p:nvSpPr>
          <p:cNvPr id="26" name="Rectangle 25">
            <a:extLst>
              <a:ext uri="{FF2B5EF4-FFF2-40B4-BE49-F238E27FC236}">
                <a16:creationId xmlns:a16="http://schemas.microsoft.com/office/drawing/2014/main" id="{E85F67E7-7750-C5CB-5E41-5082D0C9D30F}"/>
              </a:ext>
            </a:extLst>
          </p:cNvPr>
          <p:cNvSpPr/>
          <p:nvPr/>
        </p:nvSpPr>
        <p:spPr>
          <a:xfrm>
            <a:off x="3389206" y="300564"/>
            <a:ext cx="1552152" cy="400847"/>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Westin NEJM 2023 P150 citation C figure 1</a:t>
            </a:r>
          </a:p>
        </p:txBody>
      </p:sp>
      <p:sp>
        <p:nvSpPr>
          <p:cNvPr id="27" name="Rectangle 26">
            <a:extLst>
              <a:ext uri="{FF2B5EF4-FFF2-40B4-BE49-F238E27FC236}">
                <a16:creationId xmlns:a16="http://schemas.microsoft.com/office/drawing/2014/main" id="{8F6C98C4-ABC7-75DD-C4B4-3CFAC2FEB9A2}"/>
              </a:ext>
            </a:extLst>
          </p:cNvPr>
          <p:cNvSpPr/>
          <p:nvPr/>
        </p:nvSpPr>
        <p:spPr>
          <a:xfrm>
            <a:off x="-1014304" y="3918501"/>
            <a:ext cx="1552152" cy="400847"/>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Westin NEJM 2023 P153 citation A</a:t>
            </a:r>
          </a:p>
        </p:txBody>
      </p:sp>
      <p:sp>
        <p:nvSpPr>
          <p:cNvPr id="28" name="Rectangle 27">
            <a:extLst>
              <a:ext uri="{FF2B5EF4-FFF2-40B4-BE49-F238E27FC236}">
                <a16:creationId xmlns:a16="http://schemas.microsoft.com/office/drawing/2014/main" id="{CD9A971C-F1F0-DEDC-6C4A-36D24061306F}"/>
              </a:ext>
            </a:extLst>
          </p:cNvPr>
          <p:cNvSpPr/>
          <p:nvPr/>
        </p:nvSpPr>
        <p:spPr>
          <a:xfrm>
            <a:off x="6334961" y="782746"/>
            <a:ext cx="1384093" cy="438745"/>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Locke NEJM 2022 P646 citation B table 1</a:t>
            </a:r>
          </a:p>
        </p:txBody>
      </p:sp>
      <p:cxnSp>
        <p:nvCxnSpPr>
          <p:cNvPr id="31" name="Straight Arrow Connector 30">
            <a:extLst>
              <a:ext uri="{FF2B5EF4-FFF2-40B4-BE49-F238E27FC236}">
                <a16:creationId xmlns:a16="http://schemas.microsoft.com/office/drawing/2014/main" id="{67D5D7A2-8A63-51D3-56D8-EFDAC43E1F4A}"/>
              </a:ext>
            </a:extLst>
          </p:cNvPr>
          <p:cNvCxnSpPr>
            <a:cxnSpLocks/>
          </p:cNvCxnSpPr>
          <p:nvPr/>
        </p:nvCxnSpPr>
        <p:spPr>
          <a:xfrm flipV="1">
            <a:off x="6349117" y="1608871"/>
            <a:ext cx="417444" cy="9540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FD88F222-920B-270E-5E0D-8FF685698D59}"/>
              </a:ext>
            </a:extLst>
          </p:cNvPr>
          <p:cNvSpPr/>
          <p:nvPr/>
        </p:nvSpPr>
        <p:spPr>
          <a:xfrm>
            <a:off x="6780149" y="1495265"/>
            <a:ext cx="1384093" cy="438745"/>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Westin NEJM 2023 P149 citation A</a:t>
            </a:r>
          </a:p>
        </p:txBody>
      </p:sp>
      <p:sp>
        <p:nvSpPr>
          <p:cNvPr id="40" name="Rectangle 39">
            <a:extLst>
              <a:ext uri="{FF2B5EF4-FFF2-40B4-BE49-F238E27FC236}">
                <a16:creationId xmlns:a16="http://schemas.microsoft.com/office/drawing/2014/main" id="{DAFC988C-9477-5913-87C3-FD483AF8350A}"/>
              </a:ext>
            </a:extLst>
          </p:cNvPr>
          <p:cNvSpPr/>
          <p:nvPr/>
        </p:nvSpPr>
        <p:spPr>
          <a:xfrm>
            <a:off x="6637438" y="2323125"/>
            <a:ext cx="1384093" cy="753190"/>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Westin NEJM 2023 P152 citation A figure 2B, P152 citation B Figure 2A</a:t>
            </a:r>
          </a:p>
        </p:txBody>
      </p:sp>
    </p:spTree>
    <p:extLst>
      <p:ext uri="{BB962C8B-B14F-4D97-AF65-F5344CB8AC3E}">
        <p14:creationId xmlns:p14="http://schemas.microsoft.com/office/powerpoint/2010/main" val="25316280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D3F3D8-41CE-D5F7-41ED-2B62A34F8C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E5B79A-525C-9466-5FCC-98FF06BA87AB}"/>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09DAD547-C078-2961-2C3F-37D7FC24C43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13529D1-5319-4263-F895-E58E8950F66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BC6615-C4BF-4EC9-8F05-DFEFE2841F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6262AF49-024F-88E0-CFAD-46A3BC6E7CF4}"/>
              </a:ext>
            </a:extLst>
          </p:cNvPr>
          <p:cNvSpPr/>
          <p:nvPr/>
        </p:nvSpPr>
        <p:spPr>
          <a:xfrm>
            <a:off x="366720" y="1343126"/>
            <a:ext cx="1136949" cy="1782234"/>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4FC6F1BA-81BE-061B-EC82-1D3F700AC10F}"/>
              </a:ext>
            </a:extLst>
          </p:cNvPr>
          <p:cNvSpPr/>
          <p:nvPr/>
        </p:nvSpPr>
        <p:spPr>
          <a:xfrm>
            <a:off x="1685407" y="1539081"/>
            <a:ext cx="3004069" cy="1782234"/>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6BA8A47C-4A02-EE56-0902-7E4124944848}"/>
              </a:ext>
            </a:extLst>
          </p:cNvPr>
          <p:cNvSpPr/>
          <p:nvPr/>
        </p:nvSpPr>
        <p:spPr>
          <a:xfrm>
            <a:off x="849843" y="3350947"/>
            <a:ext cx="5549048" cy="269240"/>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DF359708-6643-54AE-557C-BD4E589ABD86}"/>
              </a:ext>
            </a:extLst>
          </p:cNvPr>
          <p:cNvSpPr/>
          <p:nvPr/>
        </p:nvSpPr>
        <p:spPr>
          <a:xfrm>
            <a:off x="728665" y="833300"/>
            <a:ext cx="5230707" cy="444555"/>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2" name="Straight Arrow Connector 11">
            <a:extLst>
              <a:ext uri="{FF2B5EF4-FFF2-40B4-BE49-F238E27FC236}">
                <a16:creationId xmlns:a16="http://schemas.microsoft.com/office/drawing/2014/main" id="{D912EBD4-71D9-6835-17FB-C55DC0557D9B}"/>
              </a:ext>
            </a:extLst>
          </p:cNvPr>
          <p:cNvCxnSpPr>
            <a:cxnSpLocks/>
          </p:cNvCxnSpPr>
          <p:nvPr/>
        </p:nvCxnSpPr>
        <p:spPr>
          <a:xfrm flipH="1">
            <a:off x="289350" y="3427835"/>
            <a:ext cx="589280" cy="278184"/>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60B13D96-BAA4-FE25-9EFF-3A1A9A940270}"/>
              </a:ext>
            </a:extLst>
          </p:cNvPr>
          <p:cNvCxnSpPr>
            <a:cxnSpLocks/>
          </p:cNvCxnSpPr>
          <p:nvPr/>
        </p:nvCxnSpPr>
        <p:spPr>
          <a:xfrm flipH="1" flipV="1">
            <a:off x="-62485" y="2322753"/>
            <a:ext cx="351835" cy="12434"/>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95380EA3-A310-729F-3F67-BC669044E43D}"/>
              </a:ext>
            </a:extLst>
          </p:cNvPr>
          <p:cNvCxnSpPr>
            <a:cxnSpLocks/>
          </p:cNvCxnSpPr>
          <p:nvPr/>
        </p:nvCxnSpPr>
        <p:spPr>
          <a:xfrm flipH="1" flipV="1">
            <a:off x="406730" y="841964"/>
            <a:ext cx="326389" cy="12434"/>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B8155D55-6925-FD90-2C26-A3BEF4522158}"/>
              </a:ext>
            </a:extLst>
          </p:cNvPr>
          <p:cNvSpPr/>
          <p:nvPr/>
        </p:nvSpPr>
        <p:spPr>
          <a:xfrm>
            <a:off x="-1187747" y="541402"/>
            <a:ext cx="1552152" cy="400847"/>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Kamdar ASCO 2024; Slide 11 citation A</a:t>
            </a:r>
          </a:p>
        </p:txBody>
      </p:sp>
      <p:sp>
        <p:nvSpPr>
          <p:cNvPr id="13" name="Rectangle 12">
            <a:extLst>
              <a:ext uri="{FF2B5EF4-FFF2-40B4-BE49-F238E27FC236}">
                <a16:creationId xmlns:a16="http://schemas.microsoft.com/office/drawing/2014/main" id="{112C0C76-A3A8-5DB5-B986-C0D41614C742}"/>
              </a:ext>
            </a:extLst>
          </p:cNvPr>
          <p:cNvSpPr/>
          <p:nvPr/>
        </p:nvSpPr>
        <p:spPr>
          <a:xfrm>
            <a:off x="-1634694" y="2052083"/>
            <a:ext cx="1593428" cy="585127"/>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Abramson_EHA</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2024 Slide 3, 5; Kamdar ASCO 2024, Slide 4, slide 5 citation A</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9771281F-3A22-7025-70F9-C0DBA4E18704}"/>
              </a:ext>
            </a:extLst>
          </p:cNvPr>
          <p:cNvSpPr/>
          <p:nvPr/>
        </p:nvSpPr>
        <p:spPr>
          <a:xfrm>
            <a:off x="-1443989" y="3321315"/>
            <a:ext cx="1593428" cy="585127"/>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Kamdar ASCO 2024, slide 11 citation A; </a:t>
            </a:r>
            <a:r>
              <a:rPr kumimoji="0" lang="en-US" sz="900" b="0" i="0" u="none" strike="noStrike" kern="1200" cap="none" spc="0" normalizeH="0" baseline="0" noProof="0" err="1">
                <a:ln>
                  <a:noFill/>
                </a:ln>
                <a:solidFill>
                  <a:prstClr val="black"/>
                </a:solidFill>
                <a:effectLst/>
                <a:uLnTx/>
                <a:uFillTx/>
                <a:latin typeface="Calibri" panose="020F0502020204030204"/>
                <a:ea typeface="+mn-ea"/>
                <a:cs typeface="+mn-cs"/>
              </a:rPr>
              <a:t>Abramson_EHA</a:t>
            </a: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 2024 Slide 10 (KM curve right), slide 14 citation A</a:t>
            </a:r>
          </a:p>
        </p:txBody>
      </p:sp>
      <p:sp>
        <p:nvSpPr>
          <p:cNvPr id="21" name="Rectangle 20">
            <a:extLst>
              <a:ext uri="{FF2B5EF4-FFF2-40B4-BE49-F238E27FC236}">
                <a16:creationId xmlns:a16="http://schemas.microsoft.com/office/drawing/2014/main" id="{E15B4C2C-1584-34AD-8001-1A6FAC1FC32E}"/>
              </a:ext>
            </a:extLst>
          </p:cNvPr>
          <p:cNvSpPr/>
          <p:nvPr/>
        </p:nvSpPr>
        <p:spPr>
          <a:xfrm>
            <a:off x="2644777" y="276457"/>
            <a:ext cx="1593428" cy="400847"/>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Abramson_EHA</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2024 Slide 10 (KM curve right)</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Arrow Connector 21">
            <a:extLst>
              <a:ext uri="{FF2B5EF4-FFF2-40B4-BE49-F238E27FC236}">
                <a16:creationId xmlns:a16="http://schemas.microsoft.com/office/drawing/2014/main" id="{B2755399-F379-EEBC-E9E0-EB2814941DA4}"/>
              </a:ext>
            </a:extLst>
          </p:cNvPr>
          <p:cNvCxnSpPr>
            <a:cxnSpLocks/>
          </p:cNvCxnSpPr>
          <p:nvPr/>
        </p:nvCxnSpPr>
        <p:spPr>
          <a:xfrm flipV="1">
            <a:off x="3453771" y="741826"/>
            <a:ext cx="0" cy="772471"/>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9" name="Right Brace 28">
            <a:extLst>
              <a:ext uri="{FF2B5EF4-FFF2-40B4-BE49-F238E27FC236}">
                <a16:creationId xmlns:a16="http://schemas.microsoft.com/office/drawing/2014/main" id="{72650AF7-8BA0-FBA8-56C8-52F050BAEA8D}"/>
              </a:ext>
            </a:extLst>
          </p:cNvPr>
          <p:cNvSpPr/>
          <p:nvPr/>
        </p:nvSpPr>
        <p:spPr>
          <a:xfrm>
            <a:off x="6274173" y="2146582"/>
            <a:ext cx="328505" cy="753190"/>
          </a:xfrm>
          <a:prstGeom prst="rightBrace">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82DCB570-3635-C48C-24EC-ED59AB1039DA}"/>
              </a:ext>
            </a:extLst>
          </p:cNvPr>
          <p:cNvSpPr/>
          <p:nvPr/>
        </p:nvSpPr>
        <p:spPr>
          <a:xfrm>
            <a:off x="6728567" y="1184524"/>
            <a:ext cx="1593428" cy="438745"/>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Kamdar ASCO 2024; Slide 6 citation A</a:t>
            </a:r>
          </a:p>
        </p:txBody>
      </p:sp>
      <p:sp>
        <p:nvSpPr>
          <p:cNvPr id="35" name="Rectangle 34">
            <a:extLst>
              <a:ext uri="{FF2B5EF4-FFF2-40B4-BE49-F238E27FC236}">
                <a16:creationId xmlns:a16="http://schemas.microsoft.com/office/drawing/2014/main" id="{64D492A9-4E77-A77D-74F0-92F6220E2FD3}"/>
              </a:ext>
            </a:extLst>
          </p:cNvPr>
          <p:cNvSpPr/>
          <p:nvPr/>
        </p:nvSpPr>
        <p:spPr>
          <a:xfrm>
            <a:off x="6654695" y="2322753"/>
            <a:ext cx="1593428" cy="400847"/>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Abramson_EHA</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2024 Slide 6, slide 9</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36" name="Straight Arrow Connector 35">
            <a:extLst>
              <a:ext uri="{FF2B5EF4-FFF2-40B4-BE49-F238E27FC236}">
                <a16:creationId xmlns:a16="http://schemas.microsoft.com/office/drawing/2014/main" id="{9C0434CF-F905-5CE9-7F18-B654E101F4D6}"/>
              </a:ext>
            </a:extLst>
          </p:cNvPr>
          <p:cNvCxnSpPr>
            <a:cxnSpLocks/>
          </p:cNvCxnSpPr>
          <p:nvPr/>
        </p:nvCxnSpPr>
        <p:spPr>
          <a:xfrm flipV="1">
            <a:off x="6356371" y="1192469"/>
            <a:ext cx="478049" cy="438745"/>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1C5C323D-4B65-FD89-F37F-EDF7762D86D9}"/>
              </a:ext>
            </a:extLst>
          </p:cNvPr>
          <p:cNvCxnSpPr>
            <a:cxnSpLocks/>
          </p:cNvCxnSpPr>
          <p:nvPr/>
        </p:nvCxnSpPr>
        <p:spPr>
          <a:xfrm flipV="1">
            <a:off x="6341191" y="1596050"/>
            <a:ext cx="448188" cy="392839"/>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9EA05A8A-32AF-8A6C-A019-2B810161D7FB}"/>
              </a:ext>
            </a:extLst>
          </p:cNvPr>
          <p:cNvSpPr/>
          <p:nvPr/>
        </p:nvSpPr>
        <p:spPr>
          <a:xfrm>
            <a:off x="6543138" y="676485"/>
            <a:ext cx="1593428" cy="400847"/>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Abramson_EHA</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2024 Slide 4, citation C</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25" name="Straight Arrow Connector 24">
            <a:extLst>
              <a:ext uri="{FF2B5EF4-FFF2-40B4-BE49-F238E27FC236}">
                <a16:creationId xmlns:a16="http://schemas.microsoft.com/office/drawing/2014/main" id="{3F4407A6-FA12-D961-F944-B077C12F41F4}"/>
              </a:ext>
            </a:extLst>
          </p:cNvPr>
          <p:cNvCxnSpPr>
            <a:cxnSpLocks/>
          </p:cNvCxnSpPr>
          <p:nvPr/>
        </p:nvCxnSpPr>
        <p:spPr>
          <a:xfrm flipV="1">
            <a:off x="6015051" y="962136"/>
            <a:ext cx="478049" cy="438745"/>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3086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690563"/>
            <a:ext cx="6143625" cy="3455987"/>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877EDC-565C-49E0-865E-00E707249E24}"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075231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690563"/>
            <a:ext cx="6143625" cy="34559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3B81B8-344C-459C-8F4B-74DF3AC04C2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F835F04E-4EAF-7BA5-D171-754B9A60A34B}"/>
              </a:ext>
            </a:extLst>
          </p:cNvPr>
          <p:cNvSpPr/>
          <p:nvPr/>
        </p:nvSpPr>
        <p:spPr>
          <a:xfrm>
            <a:off x="905076" y="2655458"/>
            <a:ext cx="5267124" cy="378360"/>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 name="Straight Arrow Connector 5">
            <a:extLst>
              <a:ext uri="{FF2B5EF4-FFF2-40B4-BE49-F238E27FC236}">
                <a16:creationId xmlns:a16="http://schemas.microsoft.com/office/drawing/2014/main" id="{91E93E21-F70F-F36D-DDBC-C7BDA9279365}"/>
              </a:ext>
            </a:extLst>
          </p:cNvPr>
          <p:cNvCxnSpPr>
            <a:cxnSpLocks/>
          </p:cNvCxnSpPr>
          <p:nvPr/>
        </p:nvCxnSpPr>
        <p:spPr>
          <a:xfrm flipH="1" flipV="1">
            <a:off x="576462" y="2655458"/>
            <a:ext cx="328613" cy="178091"/>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C694883C-BA05-1C02-1683-4DD6EC24CB7F}"/>
              </a:ext>
            </a:extLst>
          </p:cNvPr>
          <p:cNvSpPr/>
          <p:nvPr/>
        </p:nvSpPr>
        <p:spPr>
          <a:xfrm>
            <a:off x="-1152184" y="2437760"/>
            <a:ext cx="1728647" cy="378360"/>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Abramson Blood Adv 2022 p5977 citation A</a:t>
            </a:r>
          </a:p>
        </p:txBody>
      </p:sp>
      <p:sp>
        <p:nvSpPr>
          <p:cNvPr id="11" name="Rectangle 10">
            <a:extLst>
              <a:ext uri="{FF2B5EF4-FFF2-40B4-BE49-F238E27FC236}">
                <a16:creationId xmlns:a16="http://schemas.microsoft.com/office/drawing/2014/main" id="{21F69A49-3827-D553-EC72-E059C6D3DA9B}"/>
              </a:ext>
            </a:extLst>
          </p:cNvPr>
          <p:cNvSpPr/>
          <p:nvPr/>
        </p:nvSpPr>
        <p:spPr>
          <a:xfrm>
            <a:off x="5042429" y="459780"/>
            <a:ext cx="1622162" cy="645866"/>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Abramson Blood Adv 2022 p5969 citation A (title)</a:t>
            </a:r>
          </a:p>
        </p:txBody>
      </p:sp>
      <p:cxnSp>
        <p:nvCxnSpPr>
          <p:cNvPr id="12" name="Straight Arrow Connector 11">
            <a:extLst>
              <a:ext uri="{FF2B5EF4-FFF2-40B4-BE49-F238E27FC236}">
                <a16:creationId xmlns:a16="http://schemas.microsoft.com/office/drawing/2014/main" id="{52DA5858-4DE9-82EA-5155-60CE0DF0AAEF}"/>
              </a:ext>
            </a:extLst>
          </p:cNvPr>
          <p:cNvCxnSpPr>
            <a:cxnSpLocks/>
          </p:cNvCxnSpPr>
          <p:nvPr/>
        </p:nvCxnSpPr>
        <p:spPr>
          <a:xfrm flipV="1">
            <a:off x="5206206" y="1010857"/>
            <a:ext cx="0" cy="339825"/>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B4B575A5-3560-3BC4-3CBC-9A9F1163E4E7}"/>
              </a:ext>
            </a:extLst>
          </p:cNvPr>
          <p:cNvSpPr/>
          <p:nvPr/>
        </p:nvSpPr>
        <p:spPr>
          <a:xfrm>
            <a:off x="1201970" y="459780"/>
            <a:ext cx="1728647" cy="556453"/>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Elsawy Blood 2022 p1 citation A (title)</a:t>
            </a:r>
          </a:p>
        </p:txBody>
      </p:sp>
      <p:cxnSp>
        <p:nvCxnSpPr>
          <p:cNvPr id="15" name="Straight Arrow Connector 14">
            <a:extLst>
              <a:ext uri="{FF2B5EF4-FFF2-40B4-BE49-F238E27FC236}">
                <a16:creationId xmlns:a16="http://schemas.microsoft.com/office/drawing/2014/main" id="{9A8F78CD-D5F7-BA5D-E07D-361B2DFA60B2}"/>
              </a:ext>
            </a:extLst>
          </p:cNvPr>
          <p:cNvCxnSpPr>
            <a:cxnSpLocks/>
          </p:cNvCxnSpPr>
          <p:nvPr/>
        </p:nvCxnSpPr>
        <p:spPr>
          <a:xfrm flipV="1">
            <a:off x="1365748" y="1010857"/>
            <a:ext cx="0" cy="339825"/>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C57293FE-EE78-5693-2D4B-1735B3E75A50}"/>
              </a:ext>
            </a:extLst>
          </p:cNvPr>
          <p:cNvSpPr/>
          <p:nvPr/>
        </p:nvSpPr>
        <p:spPr>
          <a:xfrm>
            <a:off x="-1152185" y="2900488"/>
            <a:ext cx="1728647" cy="378360"/>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Elsawy Blood 2022 p2 citation A (key points)</a:t>
            </a:r>
          </a:p>
        </p:txBody>
      </p:sp>
      <p:sp>
        <p:nvSpPr>
          <p:cNvPr id="18" name="Rectangle 17">
            <a:extLst>
              <a:ext uri="{FF2B5EF4-FFF2-40B4-BE49-F238E27FC236}">
                <a16:creationId xmlns:a16="http://schemas.microsoft.com/office/drawing/2014/main" id="{4BA03293-B546-DCBE-40B0-EDD36DFAACFF}"/>
              </a:ext>
            </a:extLst>
          </p:cNvPr>
          <p:cNvSpPr/>
          <p:nvPr/>
        </p:nvSpPr>
        <p:spPr>
          <a:xfrm>
            <a:off x="905075" y="3086400"/>
            <a:ext cx="5267124" cy="272376"/>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9" name="Straight Arrow Connector 18">
            <a:extLst>
              <a:ext uri="{FF2B5EF4-FFF2-40B4-BE49-F238E27FC236}">
                <a16:creationId xmlns:a16="http://schemas.microsoft.com/office/drawing/2014/main" id="{75772B15-25E8-3225-83D5-39530EA8BC88}"/>
              </a:ext>
            </a:extLst>
          </p:cNvPr>
          <p:cNvCxnSpPr>
            <a:cxnSpLocks/>
            <a:stCxn id="5" idx="1"/>
          </p:cNvCxnSpPr>
          <p:nvPr/>
        </p:nvCxnSpPr>
        <p:spPr>
          <a:xfrm flipH="1">
            <a:off x="544692" y="2844638"/>
            <a:ext cx="360384" cy="152716"/>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D0B7B3F-C301-98C2-F052-6D9F04397489}"/>
              </a:ext>
            </a:extLst>
          </p:cNvPr>
          <p:cNvCxnSpPr>
            <a:cxnSpLocks/>
          </p:cNvCxnSpPr>
          <p:nvPr/>
        </p:nvCxnSpPr>
        <p:spPr>
          <a:xfrm>
            <a:off x="6172200" y="3222588"/>
            <a:ext cx="377642"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FDBF02AE-1EA7-9438-89FE-64CA92908FE0}"/>
              </a:ext>
            </a:extLst>
          </p:cNvPr>
          <p:cNvSpPr/>
          <p:nvPr/>
        </p:nvSpPr>
        <p:spPr>
          <a:xfrm>
            <a:off x="6564484" y="2832277"/>
            <a:ext cx="1766715" cy="645866"/>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Breyanzi</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SmPC p3 citation 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Yescarta</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SmPC p2 citation A</a:t>
            </a:r>
          </a:p>
        </p:txBody>
      </p:sp>
    </p:spTree>
    <p:extLst>
      <p:ext uri="{BB962C8B-B14F-4D97-AF65-F5344CB8AC3E}">
        <p14:creationId xmlns:p14="http://schemas.microsoft.com/office/powerpoint/2010/main" val="32825703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690563"/>
            <a:ext cx="6143625" cy="34559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3B81B8-344C-459C-8F4B-74DF3AC04C2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3D602961-F4C2-4D38-5C64-A9A83DD7E3F6}"/>
              </a:ext>
            </a:extLst>
          </p:cNvPr>
          <p:cNvSpPr/>
          <p:nvPr/>
        </p:nvSpPr>
        <p:spPr>
          <a:xfrm>
            <a:off x="-1042847" y="2845629"/>
            <a:ext cx="1728647" cy="378360"/>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Seghal</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SH 2023, slide 6, citation A</a:t>
            </a:r>
          </a:p>
        </p:txBody>
      </p:sp>
      <p:cxnSp>
        <p:nvCxnSpPr>
          <p:cNvPr id="6" name="Straight Arrow Connector 5">
            <a:extLst>
              <a:ext uri="{FF2B5EF4-FFF2-40B4-BE49-F238E27FC236}">
                <a16:creationId xmlns:a16="http://schemas.microsoft.com/office/drawing/2014/main" id="{427DC1F2-45F8-30DD-01E9-26B905D2CAD2}"/>
              </a:ext>
            </a:extLst>
          </p:cNvPr>
          <p:cNvCxnSpPr>
            <a:cxnSpLocks/>
          </p:cNvCxnSpPr>
          <p:nvPr/>
        </p:nvCxnSpPr>
        <p:spPr>
          <a:xfrm flipH="1">
            <a:off x="657624" y="3014933"/>
            <a:ext cx="190101"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033C4381-2FEB-8DC7-0628-89B717004A1E}"/>
              </a:ext>
            </a:extLst>
          </p:cNvPr>
          <p:cNvSpPr/>
          <p:nvPr/>
        </p:nvSpPr>
        <p:spPr>
          <a:xfrm>
            <a:off x="4924766" y="1759302"/>
            <a:ext cx="1247434" cy="1464687"/>
          </a:xfrm>
          <a:prstGeom prst="rect">
            <a:avLst/>
          </a:prstGeom>
          <a:no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C8ADC6F4-FE24-02F3-2DD1-620BEC142C5C}"/>
              </a:ext>
            </a:extLst>
          </p:cNvPr>
          <p:cNvSpPr/>
          <p:nvPr/>
        </p:nvSpPr>
        <p:spPr>
          <a:xfrm>
            <a:off x="6219965" y="1854902"/>
            <a:ext cx="1728647" cy="460772"/>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Seghal</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SH 2023, slide 11 citation A, Slide 12 citation A</a:t>
            </a:r>
          </a:p>
        </p:txBody>
      </p:sp>
      <p:sp>
        <p:nvSpPr>
          <p:cNvPr id="9" name="Rectangle 8">
            <a:extLst>
              <a:ext uri="{FF2B5EF4-FFF2-40B4-BE49-F238E27FC236}">
                <a16:creationId xmlns:a16="http://schemas.microsoft.com/office/drawing/2014/main" id="{FE7DF943-B555-C48C-426D-58216653DF98}"/>
              </a:ext>
            </a:extLst>
          </p:cNvPr>
          <p:cNvSpPr/>
          <p:nvPr/>
        </p:nvSpPr>
        <p:spPr>
          <a:xfrm>
            <a:off x="576686" y="1589078"/>
            <a:ext cx="1104478" cy="1195069"/>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10" name="Straight Arrow Connector 9">
            <a:extLst>
              <a:ext uri="{FF2B5EF4-FFF2-40B4-BE49-F238E27FC236}">
                <a16:creationId xmlns:a16="http://schemas.microsoft.com/office/drawing/2014/main" id="{3CE5714B-641D-9AF8-C69A-FE8F657791CC}"/>
              </a:ext>
            </a:extLst>
          </p:cNvPr>
          <p:cNvCxnSpPr>
            <a:cxnSpLocks/>
          </p:cNvCxnSpPr>
          <p:nvPr/>
        </p:nvCxnSpPr>
        <p:spPr>
          <a:xfrm flipH="1">
            <a:off x="438972" y="1810021"/>
            <a:ext cx="190101"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DBD8A206-B15F-68B1-EFC5-A0452C84B254}"/>
              </a:ext>
            </a:extLst>
          </p:cNvPr>
          <p:cNvSpPr/>
          <p:nvPr/>
        </p:nvSpPr>
        <p:spPr>
          <a:xfrm>
            <a:off x="-1289675" y="1665722"/>
            <a:ext cx="1728647" cy="567540"/>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Seghal</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SH 2023, slide 2, citation A, Slide 3 citation A; slide 4 citation A</a:t>
            </a:r>
          </a:p>
        </p:txBody>
      </p:sp>
      <p:sp>
        <p:nvSpPr>
          <p:cNvPr id="12" name="Rectangle 11">
            <a:extLst>
              <a:ext uri="{FF2B5EF4-FFF2-40B4-BE49-F238E27FC236}">
                <a16:creationId xmlns:a16="http://schemas.microsoft.com/office/drawing/2014/main" id="{3BF48928-21B5-A561-9AE8-43287B1DF668}"/>
              </a:ext>
            </a:extLst>
          </p:cNvPr>
          <p:cNvSpPr/>
          <p:nvPr/>
        </p:nvSpPr>
        <p:spPr>
          <a:xfrm>
            <a:off x="1723697" y="1589077"/>
            <a:ext cx="1357502" cy="1463685"/>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12">
            <a:extLst>
              <a:ext uri="{FF2B5EF4-FFF2-40B4-BE49-F238E27FC236}">
                <a16:creationId xmlns:a16="http://schemas.microsoft.com/office/drawing/2014/main" id="{ABC4618F-D37B-BE0F-79E0-913150F63F3C}"/>
              </a:ext>
            </a:extLst>
          </p:cNvPr>
          <p:cNvSpPr/>
          <p:nvPr/>
        </p:nvSpPr>
        <p:spPr>
          <a:xfrm>
            <a:off x="1240703" y="332082"/>
            <a:ext cx="2469285" cy="243089"/>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Seghal</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SH 2023, slide 5, citation A</a:t>
            </a:r>
          </a:p>
        </p:txBody>
      </p:sp>
      <p:cxnSp>
        <p:nvCxnSpPr>
          <p:cNvPr id="14" name="Straight Arrow Connector 13">
            <a:extLst>
              <a:ext uri="{FF2B5EF4-FFF2-40B4-BE49-F238E27FC236}">
                <a16:creationId xmlns:a16="http://schemas.microsoft.com/office/drawing/2014/main" id="{5043D8EF-D555-9BCF-A4AB-0D8020B8038F}"/>
              </a:ext>
            </a:extLst>
          </p:cNvPr>
          <p:cNvCxnSpPr>
            <a:cxnSpLocks/>
          </p:cNvCxnSpPr>
          <p:nvPr/>
        </p:nvCxnSpPr>
        <p:spPr>
          <a:xfrm flipV="1">
            <a:off x="2307397" y="580204"/>
            <a:ext cx="0" cy="1008873"/>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D0DA3240-3174-8EA1-596C-1D2C93F0608C}"/>
              </a:ext>
            </a:extLst>
          </p:cNvPr>
          <p:cNvSpPr/>
          <p:nvPr/>
        </p:nvSpPr>
        <p:spPr>
          <a:xfrm>
            <a:off x="3912358" y="130056"/>
            <a:ext cx="1728647" cy="460772"/>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Seghal</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SH 2023, slide 9 citation A</a:t>
            </a:r>
          </a:p>
        </p:txBody>
      </p:sp>
      <p:cxnSp>
        <p:nvCxnSpPr>
          <p:cNvPr id="16" name="Straight Arrow Connector 15">
            <a:extLst>
              <a:ext uri="{FF2B5EF4-FFF2-40B4-BE49-F238E27FC236}">
                <a16:creationId xmlns:a16="http://schemas.microsoft.com/office/drawing/2014/main" id="{CC0D4B53-EFBA-0609-8226-637D0C320D3D}"/>
              </a:ext>
            </a:extLst>
          </p:cNvPr>
          <p:cNvCxnSpPr>
            <a:cxnSpLocks/>
          </p:cNvCxnSpPr>
          <p:nvPr/>
        </p:nvCxnSpPr>
        <p:spPr>
          <a:xfrm flipV="1">
            <a:off x="4550534" y="590828"/>
            <a:ext cx="0" cy="1008873"/>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2C29505A-C27F-C11B-9C4E-976762FE0015}"/>
              </a:ext>
            </a:extLst>
          </p:cNvPr>
          <p:cNvSpPr/>
          <p:nvPr/>
        </p:nvSpPr>
        <p:spPr>
          <a:xfrm>
            <a:off x="3148023" y="1546485"/>
            <a:ext cx="1728977" cy="1768215"/>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69B9A49F-73D2-046C-5270-FBC2613E0658}"/>
              </a:ext>
            </a:extLst>
          </p:cNvPr>
          <p:cNvSpPr/>
          <p:nvPr/>
        </p:nvSpPr>
        <p:spPr>
          <a:xfrm>
            <a:off x="606959" y="3323724"/>
            <a:ext cx="5689065" cy="311421"/>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D2CCB885-9B78-1EA2-D3B7-A89B78D83D16}"/>
              </a:ext>
            </a:extLst>
          </p:cNvPr>
          <p:cNvSpPr/>
          <p:nvPr/>
        </p:nvSpPr>
        <p:spPr>
          <a:xfrm>
            <a:off x="6360389" y="3333655"/>
            <a:ext cx="1728647" cy="301490"/>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Seghal</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SH 2023, slide 9 citation A</a:t>
            </a:r>
          </a:p>
        </p:txBody>
      </p:sp>
      <p:sp>
        <p:nvSpPr>
          <p:cNvPr id="20" name="Rectangle 19">
            <a:extLst>
              <a:ext uri="{FF2B5EF4-FFF2-40B4-BE49-F238E27FC236}">
                <a16:creationId xmlns:a16="http://schemas.microsoft.com/office/drawing/2014/main" id="{7EA6DDCC-94DD-A59C-4EEA-4EA305B27FCF}"/>
              </a:ext>
            </a:extLst>
          </p:cNvPr>
          <p:cNvSpPr/>
          <p:nvPr/>
        </p:nvSpPr>
        <p:spPr>
          <a:xfrm>
            <a:off x="629074" y="869967"/>
            <a:ext cx="4538240" cy="467463"/>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21" name="Straight Arrow Connector 20">
            <a:extLst>
              <a:ext uri="{FF2B5EF4-FFF2-40B4-BE49-F238E27FC236}">
                <a16:creationId xmlns:a16="http://schemas.microsoft.com/office/drawing/2014/main" id="{FA007AAB-1EB7-CD37-4FA8-0DF6DAEFCB20}"/>
              </a:ext>
            </a:extLst>
          </p:cNvPr>
          <p:cNvCxnSpPr>
            <a:cxnSpLocks/>
          </p:cNvCxnSpPr>
          <p:nvPr/>
        </p:nvCxnSpPr>
        <p:spPr>
          <a:xfrm>
            <a:off x="5167314" y="1090884"/>
            <a:ext cx="523592"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3D00815E-CB1F-A48E-B007-2A91ED55B111}"/>
              </a:ext>
            </a:extLst>
          </p:cNvPr>
          <p:cNvSpPr/>
          <p:nvPr/>
        </p:nvSpPr>
        <p:spPr>
          <a:xfrm>
            <a:off x="5697981" y="963095"/>
            <a:ext cx="2469285" cy="243089"/>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Seghal</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Lancet Oncol 2022, p1067 citation A</a:t>
            </a:r>
          </a:p>
        </p:txBody>
      </p:sp>
    </p:spTree>
    <p:extLst>
      <p:ext uri="{BB962C8B-B14F-4D97-AF65-F5344CB8AC3E}">
        <p14:creationId xmlns:p14="http://schemas.microsoft.com/office/powerpoint/2010/main" val="10813226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690563"/>
            <a:ext cx="6143625" cy="34559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ACD9265-B43B-41E6-86ED-68E0F896AFC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44246534-B4D1-73A3-ECA7-D0BECB726B1E}"/>
              </a:ext>
            </a:extLst>
          </p:cNvPr>
          <p:cNvSpPr/>
          <p:nvPr/>
        </p:nvSpPr>
        <p:spPr>
          <a:xfrm>
            <a:off x="-962024" y="2418557"/>
            <a:ext cx="2295526" cy="324644"/>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Beaupierre</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t>
            </a:r>
            <a:b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J Adv </a:t>
            </a: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Prac</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Oncol 2019); p32 citation A</a:t>
            </a:r>
          </a:p>
        </p:txBody>
      </p:sp>
      <p:sp>
        <p:nvSpPr>
          <p:cNvPr id="6" name="Rectangle 5">
            <a:extLst>
              <a:ext uri="{FF2B5EF4-FFF2-40B4-BE49-F238E27FC236}">
                <a16:creationId xmlns:a16="http://schemas.microsoft.com/office/drawing/2014/main" id="{30282543-B480-779B-3A8A-C6E915B5EDAB}"/>
              </a:ext>
            </a:extLst>
          </p:cNvPr>
          <p:cNvSpPr/>
          <p:nvPr/>
        </p:nvSpPr>
        <p:spPr>
          <a:xfrm>
            <a:off x="-962024" y="2743201"/>
            <a:ext cx="2295526" cy="324644"/>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Beaupierre</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t>
            </a:r>
            <a:b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Clin J Oncol </a:t>
            </a: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Nurs</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2019); p29 citation A</a:t>
            </a:r>
          </a:p>
        </p:txBody>
      </p:sp>
      <p:sp>
        <p:nvSpPr>
          <p:cNvPr id="7" name="Rectangle 6">
            <a:extLst>
              <a:ext uri="{FF2B5EF4-FFF2-40B4-BE49-F238E27FC236}">
                <a16:creationId xmlns:a16="http://schemas.microsoft.com/office/drawing/2014/main" id="{463EFD88-3443-95AC-90C6-F28A36F9075E}"/>
              </a:ext>
            </a:extLst>
          </p:cNvPr>
          <p:cNvSpPr/>
          <p:nvPr/>
        </p:nvSpPr>
        <p:spPr>
          <a:xfrm>
            <a:off x="-962024" y="3106738"/>
            <a:ext cx="2295526" cy="324644"/>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McGuirk 2017</a:t>
            </a:r>
            <a:b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a:t>
            </a: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Cytotherapy</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p1017 citation A</a:t>
            </a:r>
          </a:p>
        </p:txBody>
      </p:sp>
      <p:sp>
        <p:nvSpPr>
          <p:cNvPr id="8" name="Rectangle 7">
            <a:extLst>
              <a:ext uri="{FF2B5EF4-FFF2-40B4-BE49-F238E27FC236}">
                <a16:creationId xmlns:a16="http://schemas.microsoft.com/office/drawing/2014/main" id="{0E3D6563-22DF-9FDA-BE60-1452854CA93D}"/>
              </a:ext>
            </a:extLst>
          </p:cNvPr>
          <p:cNvSpPr/>
          <p:nvPr/>
        </p:nvSpPr>
        <p:spPr>
          <a:xfrm>
            <a:off x="2209801" y="3571082"/>
            <a:ext cx="2295526" cy="324644"/>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Beaupierre</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t>
            </a:r>
            <a:b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J Adv </a:t>
            </a: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Prac</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Oncol 2019); p33 citation A</a:t>
            </a:r>
          </a:p>
        </p:txBody>
      </p:sp>
      <p:sp>
        <p:nvSpPr>
          <p:cNvPr id="9" name="Rectangle 8">
            <a:extLst>
              <a:ext uri="{FF2B5EF4-FFF2-40B4-BE49-F238E27FC236}">
                <a16:creationId xmlns:a16="http://schemas.microsoft.com/office/drawing/2014/main" id="{40A6E590-3EAA-6111-19F2-1D8E5BFEDF3F}"/>
              </a:ext>
            </a:extLst>
          </p:cNvPr>
          <p:cNvSpPr/>
          <p:nvPr/>
        </p:nvSpPr>
        <p:spPr>
          <a:xfrm>
            <a:off x="2209801" y="3895725"/>
            <a:ext cx="2295526" cy="481607"/>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McGuirk 2017</a:t>
            </a:r>
            <a:b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a:t>
            </a: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Cytotherapy</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p1020 citation A (column 2 (bridging therapy)</a:t>
            </a:r>
          </a:p>
        </p:txBody>
      </p:sp>
      <p:sp>
        <p:nvSpPr>
          <p:cNvPr id="10" name="Rectangle 9">
            <a:extLst>
              <a:ext uri="{FF2B5EF4-FFF2-40B4-BE49-F238E27FC236}">
                <a16:creationId xmlns:a16="http://schemas.microsoft.com/office/drawing/2014/main" id="{8D1DB6C9-1BD5-1A9C-E0C6-65177CE5898B}"/>
              </a:ext>
            </a:extLst>
          </p:cNvPr>
          <p:cNvSpPr/>
          <p:nvPr/>
        </p:nvSpPr>
        <p:spPr>
          <a:xfrm>
            <a:off x="5370513" y="2418556"/>
            <a:ext cx="2295526" cy="324644"/>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Beaupierre</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t>
            </a:r>
            <a:b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J Adv </a:t>
            </a: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Prac</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Oncol 2019); p34 citation A</a:t>
            </a:r>
          </a:p>
        </p:txBody>
      </p:sp>
      <p:sp>
        <p:nvSpPr>
          <p:cNvPr id="11" name="Rectangle 10">
            <a:extLst>
              <a:ext uri="{FF2B5EF4-FFF2-40B4-BE49-F238E27FC236}">
                <a16:creationId xmlns:a16="http://schemas.microsoft.com/office/drawing/2014/main" id="{9A17C28E-6C67-5BDB-7A57-D164F7B8ED42}"/>
              </a:ext>
            </a:extLst>
          </p:cNvPr>
          <p:cNvSpPr/>
          <p:nvPr/>
        </p:nvSpPr>
        <p:spPr>
          <a:xfrm>
            <a:off x="3640137" y="1435702"/>
            <a:ext cx="2295526" cy="324644"/>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Beaupierre</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t>
            </a:r>
            <a:b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Clin J Oncol </a:t>
            </a: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Nurs</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2019); p29 citation B</a:t>
            </a:r>
          </a:p>
        </p:txBody>
      </p:sp>
      <p:sp>
        <p:nvSpPr>
          <p:cNvPr id="12" name="Rectangle 11">
            <a:extLst>
              <a:ext uri="{FF2B5EF4-FFF2-40B4-BE49-F238E27FC236}">
                <a16:creationId xmlns:a16="http://schemas.microsoft.com/office/drawing/2014/main" id="{A7A293DF-2415-8F49-8FF7-FD4F605110F7}"/>
              </a:ext>
            </a:extLst>
          </p:cNvPr>
          <p:cNvSpPr/>
          <p:nvPr/>
        </p:nvSpPr>
        <p:spPr>
          <a:xfrm>
            <a:off x="2209801" y="4390418"/>
            <a:ext cx="2295526" cy="714981"/>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Beaupierre</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t>
            </a:r>
            <a:b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Clin J Oncol </a:t>
            </a: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Nurs</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2019); p30 citation A (column 1 – bridging); citation B (column 2, par 1 &amp; par 2)</a:t>
            </a:r>
          </a:p>
        </p:txBody>
      </p:sp>
      <p:sp>
        <p:nvSpPr>
          <p:cNvPr id="13" name="Rectangle 12">
            <a:extLst>
              <a:ext uri="{FF2B5EF4-FFF2-40B4-BE49-F238E27FC236}">
                <a16:creationId xmlns:a16="http://schemas.microsoft.com/office/drawing/2014/main" id="{87941543-EF55-1F4F-1AB5-3DB801D821FB}"/>
              </a:ext>
            </a:extLst>
          </p:cNvPr>
          <p:cNvSpPr/>
          <p:nvPr/>
        </p:nvSpPr>
        <p:spPr>
          <a:xfrm>
            <a:off x="5370514" y="2791126"/>
            <a:ext cx="2295526" cy="324644"/>
          </a:xfrm>
          <a:prstGeom prst="rect">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Beaupierre</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t>
            </a:r>
            <a:b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Clin J Oncol </a:t>
            </a: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Nurs</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2019); P30 citation A</a:t>
            </a:r>
          </a:p>
        </p:txBody>
      </p:sp>
    </p:spTree>
    <p:extLst>
      <p:ext uri="{BB962C8B-B14F-4D97-AF65-F5344CB8AC3E}">
        <p14:creationId xmlns:p14="http://schemas.microsoft.com/office/powerpoint/2010/main" val="38060319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F9842A-C5C8-7A2B-0045-E758F5C562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56E7D7-6D91-131B-E7A0-1B56593E4542}"/>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6548E133-2F6D-B867-6CE7-0667A3CF404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CAA12E5-5882-B54B-62B4-BAEA729327B1}"/>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3B81B8-344C-459C-8F4B-74DF3AC04C2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265389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126339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690563"/>
            <a:ext cx="6143625" cy="34559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D5D54-0181-4E15-B8E4-C6EF6E94A0B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347616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690563"/>
            <a:ext cx="6143625" cy="34559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D5D54-0181-4E15-B8E4-C6EF6E94A0B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301818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40D509-F9F6-8413-BCD9-FB2B9976F5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27DD08-06FB-FDA0-478C-83B22B617C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F9205B-17BD-7678-8737-82E1E1BC01D0}"/>
              </a:ext>
            </a:extLst>
          </p:cNvPr>
          <p:cNvSpPr>
            <a:spLocks noGrp="1"/>
          </p:cNvSpPr>
          <p:nvPr>
            <p:ph type="body" idx="1"/>
          </p:nvPr>
        </p:nvSpPr>
        <p:spPr/>
        <p:txBody>
          <a:bodyPr/>
          <a:lstStyle/>
          <a:p>
            <a:r>
              <a:rPr lang="en-US" dirty="0"/>
              <a:t>Another 103 pt Phase 2 study of Epcor + Gem Ox with the green curve showing all pts regardless of line of therapy with a 12 </a:t>
            </a:r>
            <a:r>
              <a:rPr lang="en-US" dirty="0" err="1"/>
              <a:t>mo</a:t>
            </a:r>
            <a:r>
              <a:rPr lang="en-US" dirty="0"/>
              <a:t> PFS of 44%. For pts with only 1 prior line of therapy, 12 </a:t>
            </a:r>
            <a:r>
              <a:rPr lang="en-US" dirty="0" err="1"/>
              <a:t>mo</a:t>
            </a:r>
            <a:r>
              <a:rPr lang="en-US" dirty="0"/>
              <a:t> PFS 63%, this trend was also seen in the </a:t>
            </a:r>
            <a:r>
              <a:rPr lang="en-US" dirty="0" err="1"/>
              <a:t>Starglo</a:t>
            </a:r>
            <a:r>
              <a:rPr lang="en-US" dirty="0"/>
              <a:t> study with Glofit/</a:t>
            </a:r>
            <a:r>
              <a:rPr lang="en-US" dirty="0" err="1"/>
              <a:t>GemOx</a:t>
            </a:r>
            <a:r>
              <a:rPr lang="en-US" dirty="0"/>
              <a:t>…</a:t>
            </a:r>
          </a:p>
        </p:txBody>
      </p:sp>
      <p:sp>
        <p:nvSpPr>
          <p:cNvPr id="4" name="Slide Number Placeholder 3">
            <a:extLst>
              <a:ext uri="{FF2B5EF4-FFF2-40B4-BE49-F238E27FC236}">
                <a16:creationId xmlns:a16="http://schemas.microsoft.com/office/drawing/2014/main" id="{47AB233D-2386-549B-7648-F310D0B72A02}"/>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848814CF-4536-4D9F-B3F6-E04A494CB1B1}" type="slidenum">
              <a:rPr kumimoji="0" lang="en-US" altLang="en-US" sz="1200" b="0"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56</a:t>
            </a:fld>
            <a:endParaRPr kumimoji="0" lang="en-US" altLang="en-US" sz="1200" b="0" i="0" u="none" strike="noStrike" kern="1200" cap="none" spc="0" normalizeH="0" baseline="0" noProof="0">
              <a:ln>
                <a:noFill/>
              </a:ln>
              <a:solidFill>
                <a:srgbClr val="00000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32454013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other 103 pt Phase 2 study of Epcor + Gem Ox with the green curve showing all pts regardless of line of therapy with a 12 </a:t>
            </a:r>
            <a:r>
              <a:rPr lang="en-US" dirty="0" err="1"/>
              <a:t>mo</a:t>
            </a:r>
            <a:r>
              <a:rPr lang="en-US" dirty="0"/>
              <a:t> PFS of 44%. For pts with only 1 prior line of therapy, 12 </a:t>
            </a:r>
            <a:r>
              <a:rPr lang="en-US" dirty="0" err="1"/>
              <a:t>mo</a:t>
            </a:r>
            <a:r>
              <a:rPr lang="en-US" dirty="0"/>
              <a:t> PFS 63%, this trend was also seen in the </a:t>
            </a:r>
            <a:r>
              <a:rPr lang="en-US" dirty="0" err="1"/>
              <a:t>Starglo</a:t>
            </a:r>
            <a:r>
              <a:rPr lang="en-US" dirty="0"/>
              <a:t> study with Glofit/</a:t>
            </a:r>
            <a:r>
              <a:rPr lang="en-US" dirty="0" err="1"/>
              <a:t>GemOx</a:t>
            </a:r>
            <a:r>
              <a:rPr lang="en-US" dirty="0"/>
              <a:t>…</a:t>
            </a:r>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848814CF-4536-4D9F-B3F6-E04A494CB1B1}" type="slidenum">
              <a:rPr kumimoji="0" lang="en-US" altLang="en-US" sz="1200" b="0"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57</a:t>
            </a:fld>
            <a:endParaRPr kumimoji="0" lang="en-US" altLang="en-US" sz="1200" b="0" i="0" u="none" strike="noStrike" kern="1200" cap="none" spc="0" normalizeH="0" baseline="0" noProof="0">
              <a:ln>
                <a:noFill/>
              </a:ln>
              <a:solidFill>
                <a:srgbClr val="00000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35924577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A54E9-7AAC-5643-A565-EDB0869471E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657252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85511B-D8F1-66BE-4959-318DBB60B9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4F9DF2-6B62-9135-19A8-7BCE33ECC2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E2FB73-C5CE-3674-A6F8-5F8E89A54BD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F5EFF8E-2721-6877-8D0A-079042D715F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2DA16-A138-4EB5-995A-B4B2CDF0F92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25953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BA01D7-CDD6-EE8E-6E74-D7C8AF9A8D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A40454-D8C8-6D87-4261-E4E10F471E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00ECF2-77A4-9FA1-9F6C-A99910E72D2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74B296F-6983-0375-404F-741C7F0C1DD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A62D3-769D-F349-A3F8-B6F214D63D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61904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B7E79C-8F50-998E-94D8-34299B4CF9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F485D1-E860-5A29-1EA0-87EC517D4DD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8DE27BEF-6009-8999-E998-C21631F4A5A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DD916E8-76DC-6F56-88E3-C1F4A6C736C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A62D3-769D-F349-A3F8-B6F214D63D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29305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13F08-EDAA-6335-187F-93D1C03D97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66825E-07F5-B90B-C9E7-CAD56B9D2C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718C35-C2F9-D29B-ADE3-63DE480BA68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800DE23-80A7-9BCB-4ECC-ECB3D70DED1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A62D3-769D-F349-A3F8-B6F214D63D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DCCFD550-D03D-61E3-44F3-03C3BCDEFD58}"/>
              </a:ext>
            </a:extLst>
          </p:cNvPr>
          <p:cNvSpPr txBox="1"/>
          <p:nvPr/>
        </p:nvSpPr>
        <p:spPr>
          <a:xfrm>
            <a:off x="-573088" y="2250191"/>
            <a:ext cx="1258888" cy="577081"/>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a:ln>
                  <a:noFill/>
                </a:ln>
                <a:solidFill>
                  <a:srgbClr val="FF0000"/>
                </a:solidFill>
                <a:effectLst/>
                <a:uLnTx/>
                <a:uFillTx/>
                <a:latin typeface="Calibri" panose="020F0502020204030204"/>
                <a:ea typeface="+mn-ea"/>
                <a:cs typeface="Trebuchet MS"/>
              </a:rPr>
              <a:t>Wang M, et al. ASTCT 2025. Poster 240. E,G</a:t>
            </a:r>
            <a:endParaRPr kumimoji="0" lang="en-GB" sz="1050" b="0" i="0" u="none" strike="noStrike" kern="1200" cap="none" spc="0" normalizeH="0" baseline="0" noProof="0">
              <a:ln>
                <a:noFill/>
              </a:ln>
              <a:solidFill>
                <a:srgbClr val="FF0000"/>
              </a:solidFill>
              <a:effectLst/>
              <a:uLnTx/>
              <a:uFillTx/>
              <a:latin typeface="Calibri" panose="020F0502020204030204"/>
              <a:ea typeface="+mn-ea"/>
              <a:cs typeface="+mn-cs"/>
            </a:endParaRPr>
          </a:p>
        </p:txBody>
      </p:sp>
      <p:cxnSp>
        <p:nvCxnSpPr>
          <p:cNvPr id="6" name="Straight Arrow Connector 5">
            <a:extLst>
              <a:ext uri="{FF2B5EF4-FFF2-40B4-BE49-F238E27FC236}">
                <a16:creationId xmlns:a16="http://schemas.microsoft.com/office/drawing/2014/main" id="{A99E4BFD-F4AD-A053-81D5-59F739D98E12}"/>
              </a:ext>
            </a:extLst>
          </p:cNvPr>
          <p:cNvCxnSpPr>
            <a:cxnSpLocks/>
          </p:cNvCxnSpPr>
          <p:nvPr/>
        </p:nvCxnSpPr>
        <p:spPr>
          <a:xfrm>
            <a:off x="692150" y="2555309"/>
            <a:ext cx="250825" cy="64066"/>
          </a:xfrm>
          <a:prstGeom prst="straightConnector1">
            <a:avLst/>
          </a:prstGeom>
          <a:ln w="95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A001C83-30B5-FC44-49B3-BDC80395F15C}"/>
              </a:ext>
            </a:extLst>
          </p:cNvPr>
          <p:cNvSpPr txBox="1"/>
          <p:nvPr/>
        </p:nvSpPr>
        <p:spPr>
          <a:xfrm>
            <a:off x="5376862" y="1748968"/>
            <a:ext cx="1208088" cy="577081"/>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a:ln>
                  <a:noFill/>
                </a:ln>
                <a:solidFill>
                  <a:srgbClr val="FF0000"/>
                </a:solidFill>
                <a:effectLst/>
                <a:uLnTx/>
                <a:uFillTx/>
                <a:latin typeface="Calibri" panose="020F0502020204030204"/>
                <a:ea typeface="+mn-ea"/>
                <a:cs typeface="Trebuchet MS"/>
              </a:rPr>
              <a:t>Wang M, et al. ASTCT 2025. Poster 240. E</a:t>
            </a:r>
            <a:endParaRPr kumimoji="0" lang="en-GB" sz="1050" b="0" i="0" u="none" strike="noStrike" kern="1200" cap="none" spc="0" normalizeH="0" baseline="0" noProof="0">
              <a:ln>
                <a:noFill/>
              </a:ln>
              <a:solidFill>
                <a:srgbClr val="FF0000"/>
              </a:solidFill>
              <a:effectLst/>
              <a:uLnTx/>
              <a:uFillTx/>
              <a:latin typeface="Calibri" panose="020F0502020204030204"/>
              <a:ea typeface="+mn-ea"/>
              <a:cs typeface="+mn-cs"/>
            </a:endParaRPr>
          </a:p>
        </p:txBody>
      </p:sp>
      <p:cxnSp>
        <p:nvCxnSpPr>
          <p:cNvPr id="8" name="Straight Arrow Connector 7">
            <a:extLst>
              <a:ext uri="{FF2B5EF4-FFF2-40B4-BE49-F238E27FC236}">
                <a16:creationId xmlns:a16="http://schemas.microsoft.com/office/drawing/2014/main" id="{4150E348-3D33-B1B4-2274-3941E4A2C2E6}"/>
              </a:ext>
            </a:extLst>
          </p:cNvPr>
          <p:cNvCxnSpPr>
            <a:cxnSpLocks/>
            <a:stCxn id="7" idx="2"/>
          </p:cNvCxnSpPr>
          <p:nvPr/>
        </p:nvCxnSpPr>
        <p:spPr>
          <a:xfrm flipH="1">
            <a:off x="5219700" y="2326049"/>
            <a:ext cx="761206" cy="9867"/>
          </a:xfrm>
          <a:prstGeom prst="straightConnector1">
            <a:avLst/>
          </a:prstGeom>
          <a:ln w="95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77211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B7C5BE-2B17-17BD-F18B-AFABDE0C07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50D9E4-7447-2A0C-0079-6CD8C60183FC}"/>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8E29462F-18A8-9405-1FCB-964254DA482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FA214D3-6A46-EA90-F2F7-F5861F490FC1}"/>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5115B13-A16F-4DA7-908C-6865393046F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S PGothic" panose="020B0600070205080204" pitchFamily="34"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dirty="0">
              <a:ln>
                <a:noFill/>
              </a:ln>
              <a:solidFill>
                <a:prstClr val="black"/>
              </a:solidFill>
              <a:effectLst/>
              <a:uLnTx/>
              <a:uFillTx/>
              <a:latin typeface="Aptos" panose="02110004020202020204"/>
              <a:ea typeface="MS PGothic" panose="020B0600070205080204" pitchFamily="34" charset="-128"/>
              <a:cs typeface="+mn-cs"/>
            </a:endParaRPr>
          </a:p>
        </p:txBody>
      </p:sp>
    </p:spTree>
    <p:extLst>
      <p:ext uri="{BB962C8B-B14F-4D97-AF65-F5344CB8AC3E}">
        <p14:creationId xmlns:p14="http://schemas.microsoft.com/office/powerpoint/2010/main" val="40181903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5E62E1-B5B3-9ABF-BD72-6D94D169E6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742799-B84A-D46F-FCFF-9F6232E37CF9}"/>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3E4F6621-8636-4FC7-3C24-B8060904914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FC29CAB-0A9B-1159-EA3B-3804BD4A1726}"/>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05115B13-A16F-4DA7-908C-6865393046F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1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198594987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3D004E-3484-A787-F68D-49F91E1C93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E694AD-6222-AF25-CEC9-8A93CE7EC29D}"/>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D9E76ACE-E734-5486-51D1-1654D3DB445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10DA055-2531-B02D-FBAC-B4A79AEDFC9E}"/>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05115B13-A16F-4DA7-908C-6865393046F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1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10723989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05115B13-A16F-4DA7-908C-6865393046F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1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22955911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50AEE-EF14-470D-AF56-2187C231676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GB" sz="1200" b="0" i="0" u="none" strike="noStrike" kern="1200" cap="none" spc="0" normalizeH="0" baseline="0" noProof="0">
              <a:ln>
                <a:noFill/>
              </a:ln>
              <a:solidFill>
                <a:prstClr val="black"/>
              </a:solidFill>
              <a:effectLst/>
              <a:uLnTx/>
              <a:uFillTx/>
              <a:latin typeface="Aptos" panose="02110004020202020204"/>
              <a:ea typeface="MS PGothic" panose="020B0600070205080204" pitchFamily="34" charset="-128"/>
              <a:cs typeface="+mn-cs"/>
            </a:endParaRPr>
          </a:p>
        </p:txBody>
      </p:sp>
    </p:spTree>
    <p:extLst>
      <p:ext uri="{BB962C8B-B14F-4D97-AF65-F5344CB8AC3E}">
        <p14:creationId xmlns:p14="http://schemas.microsoft.com/office/powerpoint/2010/main" val="37512415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 </a:t>
            </a:r>
            <a:r>
              <a:rPr lang="en-US" sz="1200" dirty="0"/>
              <a:t>Comparative frequency and severity of  (CRS) and   (ICANS) with available anti-CD19 CAR T-cell constructs in various NHL subtypes</a:t>
            </a:r>
            <a:endParaRPr lang="en-US" dirty="0"/>
          </a:p>
          <a:p>
            <a:pPr algn="l"/>
            <a:r>
              <a:rPr lang="en-US" dirty="0"/>
              <a:t>· Guideline-endorsed approaches for mitigation, monitoring and management of CRS and ICANS; role of corticosteroids, tocilizumab and other supportive care interventions</a:t>
            </a:r>
          </a:p>
          <a:p>
            <a:pPr algn="l"/>
            <a:r>
              <a:rPr lang="en-US" dirty="0"/>
              <a:t>· Rationale for and implications of the recent elimination of the (REMS) for patients receiving CAR T </a:t>
            </a:r>
          </a:p>
          <a:p>
            <a:pPr algn="l"/>
            <a:r>
              <a:rPr lang="en-US" dirty="0"/>
              <a:t>· Long-term tolerability/toxicity considerations (</a:t>
            </a:r>
            <a:r>
              <a:rPr lang="en-US" dirty="0" err="1"/>
              <a:t>eg</a:t>
            </a:r>
            <a:r>
              <a:rPr lang="en-US" dirty="0"/>
              <a:t>, delayed neurotoxicity, cytopenias, hypogammaglobulinemia, infection, secondary malignancy) with CAR T  </a:t>
            </a:r>
          </a:p>
          <a:p>
            <a:pPr algn="l"/>
            <a:r>
              <a:rPr lang="en-US" dirty="0"/>
              <a:t>· Incidence, severity and time course of CRS and ICANS with bispecific antibody therapy in NHL</a:t>
            </a:r>
          </a:p>
          <a:p>
            <a:pPr algn="l"/>
            <a:r>
              <a:rPr lang="en-US" dirty="0"/>
              <a:t>· Other tolerability concerns with bispecific antibodies in patients with NHL; recommended mitigation and management protocols</a:t>
            </a:r>
          </a:p>
          <a:p>
            <a:pPr algn="l"/>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2D92EE-E3C1-4EDD-B8BC-70AAE11D82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09054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Risk Evaluation and Mitigation Strateg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mplication is that toxicity-management responsibility may shift more heavily from regulatory structures to professional societies and institutional standards. In practice, major centers are unlikely to abandon stringent monitoring protocols simply because REMS disappeared. Instead, best practices will increasingly be governed by ASTCT, NCCN, EBMT, and institutional SOPs rather than FDA-mandated certific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ducts with intrinsically lower CRS/ICANS profiles may gain commercial advantages because community deployment becomes more feasible without specialized REMS infrastruct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2D92EE-E3C1-4EDD-B8BC-70AAE11D82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284422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C10422-9551-6545-7E6F-0E85491332DD}"/>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B6687B23-AC9F-C890-BC85-ABB35FBBA5B9}"/>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38</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B53F81D4-3E53-EA0D-8E9B-6760773F6AE6}"/>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95C0D1E-AF33-743D-2395-94EAF9129FCA}"/>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6319614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02E972-3800-366F-AB08-CB6AF693776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AE800BF0-0A3D-37FC-224A-D95B6D1F33A3}"/>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39</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4FCC7638-85FA-4F98-7F9C-BE2EFA3C9B8F}"/>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63F24D12-D339-F851-F5D3-BA1BD31F9C2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78929568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10BD1D-BED7-2F7B-F639-0F0A84E92CE7}"/>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ED995411-F4CA-0D12-55D0-25676A24A90A}"/>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40</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4F57C3B3-9927-EC31-1D07-AB499CC4F83C}"/>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B6E143EC-2F94-9CB2-2870-4FD91BF601C8}"/>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41050604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1</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39142722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2</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477544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455613" rtl="0" eaLnBrk="1" fontAlgn="base" latinLnBrk="0" hangingPunct="1">
              <a:lnSpc>
                <a:spcPct val="100000"/>
              </a:lnSpc>
              <a:spcBef>
                <a:spcPct val="0"/>
              </a:spcBef>
              <a:spcAft>
                <a:spcPct val="0"/>
              </a:spcAft>
              <a:buClrTx/>
              <a:buSzTx/>
              <a:buFontTx/>
              <a:buNone/>
              <a:tabLst/>
              <a:defRPr/>
            </a:pPr>
            <a:fld id="{F8083F44-652A-8340-B985-A6316E606BB9}" type="slidenum">
              <a:rPr kumimoji="0" lang="en-US" sz="1200" b="1" i="0" u="none" strike="noStrike" kern="1200" cap="none" spc="0" normalizeH="0" baseline="0" noProof="0">
                <a:ln>
                  <a:noFill/>
                </a:ln>
                <a:solidFill>
                  <a:srgbClr val="000000"/>
                </a:solidFill>
                <a:effectLst/>
                <a:uLnTx/>
                <a:uFillTx/>
                <a:latin typeface="Arial" charset="0"/>
                <a:ea typeface="ＭＳ Ｐゴシック" charset="0"/>
              </a:rPr>
              <a:pPr marL="0" marR="0" lvl="0" indent="0" algn="l" defTabSz="455613" rtl="0" eaLnBrk="1" fontAlgn="base" latinLnBrk="0" hangingPunct="1">
                <a:lnSpc>
                  <a:spcPct val="100000"/>
                </a:lnSpc>
                <a:spcBef>
                  <a:spcPct val="0"/>
                </a:spcBef>
                <a:spcAft>
                  <a:spcPct val="0"/>
                </a:spcAft>
                <a:buClrTx/>
                <a:buSzTx/>
                <a:buFontTx/>
                <a:buNone/>
                <a:tabLst/>
                <a:defRPr/>
              </a:pPr>
              <a:t>13</a:t>
            </a:fld>
            <a:endParaRPr kumimoji="0" lang="en-US" sz="1200" b="1"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6386"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12AA5DB0-B10D-C947-94BF-35AC4EBB75FA}"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3</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7"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26A25546-B503-9E4B-9435-4FFE16C82FF4}"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3</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8" name="Rectangle 2"/>
          <p:cNvSpPr>
            <a:spLocks noGrp="1" noRot="1" noChangeAspect="1" noChangeArrowheads="1" noTextEdit="1"/>
          </p:cNvSpPr>
          <p:nvPr>
            <p:ph type="sldImg"/>
          </p:nvPr>
        </p:nvSpPr>
        <p:spPr>
          <a:solidFill>
            <a:srgbClr val="FFFFFF"/>
          </a:solidFill>
          <a:ln/>
        </p:spPr>
      </p:sp>
      <p:sp>
        <p:nvSpPr>
          <p:cNvPr id="16389" name="Rectangle 3"/>
          <p:cNvSpPr>
            <a:spLocks noGrp="1" noChangeArrowheads="1"/>
          </p:cNvSpPr>
          <p:nvPr>
            <p:ph type="body" idx="1"/>
          </p:nvPr>
        </p:nvSpPr>
        <p:spPr>
          <a:solidFill>
            <a:srgbClr val="FFFFFF"/>
          </a:solidFill>
          <a:ln>
            <a:solidFill>
              <a:srgbClr val="000000"/>
            </a:solidFill>
            <a:miter lim="800000"/>
            <a:headEnd/>
            <a:tailEnd/>
          </a:ln>
          <a:extLst>
            <a:ext uri="{FAA26D3D-D897-4be2-8F04-BA451C77F1D7}">
              <ma14:placeholderFlag xmlns="" xmlns:ma14="http://schemas.microsoft.com/office/mac/drawingml/2011/main" val="1"/>
            </a:ext>
          </a:extLst>
        </p:spPr>
        <p:txBody>
          <a:bodyPr/>
          <a:lstStyle/>
          <a:p>
            <a:pPr eaLnBrk="1" hangingPunct="1"/>
            <a:endParaRPr lang="en-US">
              <a:ea typeface="ヒラギノ角ゴ Pro W3" charset="0"/>
              <a:cs typeface="ヒラギノ角ゴ Pro W3" charset="0"/>
            </a:endParaRPr>
          </a:p>
        </p:txBody>
      </p:sp>
    </p:spTree>
    <p:extLst>
      <p:ext uri="{BB962C8B-B14F-4D97-AF65-F5344CB8AC3E}">
        <p14:creationId xmlns:p14="http://schemas.microsoft.com/office/powerpoint/2010/main" val="27431887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Rectangle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23F6CC57-9CAB-A740-BA1A-EEF972F71E78}" type="slidenum">
              <a:rPr kumimoji="0" lang="en-US" sz="1200" b="0" i="0" u="none" strike="noStrike" kern="1200" cap="none" spc="0" normalizeH="0" baseline="0" noProof="0">
                <a:ln>
                  <a:noFill/>
                </a:ln>
                <a:solidFill>
                  <a:srgbClr val="000000"/>
                </a:solidFill>
                <a:effectLst/>
                <a:uLnTx/>
                <a:uFillTx/>
                <a:latin typeface="Arial" charset="0"/>
                <a:ea typeface="ＭＳ Ｐゴシック" charset="0"/>
              </a:rPr>
              <a:pPr marL="0" marR="0" lvl="0" indent="0" algn="r" defTabSz="914400" rtl="0" eaLnBrk="0" fontAlgn="base" latinLnBrk="0" hangingPunct="0">
                <a:lnSpc>
                  <a:spcPct val="100000"/>
                </a:lnSpc>
                <a:spcBef>
                  <a:spcPct val="0"/>
                </a:spcBef>
                <a:spcAft>
                  <a:spcPct val="0"/>
                </a:spcAft>
                <a:buClrTx/>
                <a:buSzTx/>
                <a:buFontTx/>
                <a:buNone/>
                <a:tabLst/>
                <a:defRPr/>
              </a:pPr>
              <a:t>14</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1266" name="Rectangle 2"/>
          <p:cNvSpPr>
            <a:spLocks noGrp="1" noRot="1" noChangeAspect="1" noChangeArrowheads="1" noTextEdit="1"/>
          </p:cNvSpPr>
          <p:nvPr>
            <p:ph type="sldImg"/>
          </p:nvPr>
        </p:nvSpPr>
        <p:spPr>
          <a:xfrm>
            <a:off x="381000" y="685800"/>
            <a:ext cx="6096000" cy="3429000"/>
          </a:xfrm>
          <a:ln/>
        </p:spPr>
      </p:sp>
      <p:sp>
        <p:nvSpPr>
          <p:cNvPr id="11267" name="Rectangle 3"/>
          <p:cNvSpPr>
            <a:spLocks noGrp="1" noChangeArrowheads="1"/>
          </p:cNvSpPr>
          <p:nvPr>
            <p:ph type="body" idx="1"/>
          </p:nvPr>
        </p:nvSpPr>
        <p:spPr>
          <a:noFill/>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a:p>
        </p:txBody>
      </p:sp>
      <p:sp>
        <p:nvSpPr>
          <p:cNvPr id="2" name="Footer Placeholder 1"/>
          <p:cNvSpPr>
            <a:spLocks noGrp="1"/>
          </p:cNvSpPr>
          <p:nvPr>
            <p:ph type="ftr" sz="quarter"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00A_ONS-Breast-17-NL-Intro-Slides_v34fr</a:t>
            </a:r>
          </a:p>
        </p:txBody>
      </p:sp>
      <p:sp>
        <p:nvSpPr>
          <p:cNvPr id="3" name="Header Placeholder 2"/>
          <p:cNvSpPr>
            <a:spLocks noGrp="1"/>
          </p:cNvSpPr>
          <p:nvPr>
            <p:ph type="hdr" sz="quarter" idx="1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Breast Cancer</a:t>
            </a:r>
          </a:p>
        </p:txBody>
      </p:sp>
    </p:spTree>
    <p:extLst>
      <p:ext uri="{BB962C8B-B14F-4D97-AF65-F5344CB8AC3E}">
        <p14:creationId xmlns:p14="http://schemas.microsoft.com/office/powerpoint/2010/main" val="12397387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12C6D1-B78E-8C17-3351-ABD7B36AB2B1}"/>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8E6F1EFC-9D07-0089-8BAF-CF2B93680B7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5</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AE767C02-08C4-F7D7-5187-B43BCE397E81}"/>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2CBD5F14-1342-3900-7E0B-4DEBACE4D7C8}"/>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4198177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7.sv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1.jpg"/><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2.jpg"/><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jpg"/><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6.jpg"/><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7.jpg"/><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1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Master" Target="../slideMasters/slideMaster17.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Master" Target="../slideMasters/slideMaster17.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17.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Master" Target="../slideMasters/slideMaster1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1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6.svg"/><Relationship Id="rId1"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47.svg"/><Relationship Id="rId1"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46.svg"/><Relationship Id="rId1" Type="http://schemas.openxmlformats.org/officeDocument/2006/relationships/slideMaster" Target="../slideMasters/slideMaster18.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47.svg"/><Relationship Id="rId1" Type="http://schemas.openxmlformats.org/officeDocument/2006/relationships/slideMaster" Target="../slideMasters/slideMaster1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svg"/><Relationship Id="rId1" Type="http://schemas.openxmlformats.org/officeDocument/2006/relationships/slideMaster" Target="../slideMasters/slideMaster19.xml"/></Relationships>
</file>

<file path=ppt/slideLayouts/_rels/slideLayout28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9.xml"/><Relationship Id="rId1" Type="http://schemas.openxmlformats.org/officeDocument/2006/relationships/tags" Target="../tags/tag13.xml"/><Relationship Id="rId4" Type="http://schemas.openxmlformats.org/officeDocument/2006/relationships/image" Target="../media/image52.emf"/></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53.svg"/><Relationship Id="rId1" Type="http://schemas.openxmlformats.org/officeDocument/2006/relationships/slideMaster" Target="../slideMasters/slideMaster1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2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Master" Target="../slideMasters/slideMaster2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22.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2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2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2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24.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25.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2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27.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emf"/><Relationship Id="rId1" Type="http://schemas.openxmlformats.org/officeDocument/2006/relationships/slideMaster" Target="../slideMasters/slideMaster4.xml"/><Relationship Id="rId5" Type="http://schemas.openxmlformats.org/officeDocument/2006/relationships/image" Target="../media/image7.jpg"/><Relationship Id="rId4" Type="http://schemas.openxmlformats.org/officeDocument/2006/relationships/image" Target="../media/image6.jp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jpeg"/><Relationship Id="rId1" Type="http://schemas.openxmlformats.org/officeDocument/2006/relationships/slideMaster" Target="../slideMasters/slideMaster4.xml"/><Relationship Id="rId5" Type="http://schemas.openxmlformats.org/officeDocument/2006/relationships/image" Target="../media/image4.emf"/><Relationship Id="rId4" Type="http://schemas.microsoft.com/office/2007/relationships/hdphoto" Target="../media/hdphoto1.wdp"/></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1.sv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3988328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15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Nabs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665B39-5A65-20DC-416D-D7106520AEB9}"/>
              </a:ext>
            </a:extLst>
          </p:cNvPr>
          <p:cNvSpPr/>
          <p:nvPr/>
        </p:nvSpPr>
        <p:spPr>
          <a:xfrm>
            <a:off x="0" y="1669775"/>
            <a:ext cx="12192000" cy="3766930"/>
          </a:xfrm>
          <a:prstGeom prst="rect">
            <a:avLst/>
          </a:prstGeom>
          <a:solidFill>
            <a:schemeClr val="bg1">
              <a:alpha val="87619"/>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 name="Right Triangle 1">
            <a:extLst>
              <a:ext uri="{FF2B5EF4-FFF2-40B4-BE49-F238E27FC236}">
                <a16:creationId xmlns:a16="http://schemas.microsoft.com/office/drawing/2014/main" id="{6181DB09-2547-7198-4AA8-746B7585D9AD}"/>
              </a:ext>
            </a:extLst>
          </p:cNvPr>
          <p:cNvSpPr/>
          <p:nvPr/>
        </p:nvSpPr>
        <p:spPr>
          <a:xfrm>
            <a:off x="-16909" y="-9111"/>
            <a:ext cx="5615608" cy="6906870"/>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 name="connsiteX0" fmla="*/ 0 w 8716618"/>
              <a:gd name="connsiteY0" fmla="*/ 6907696 h 6907696"/>
              <a:gd name="connsiteX1" fmla="*/ 1470992 w 8716618"/>
              <a:gd name="connsiteY1" fmla="*/ 168965 h 6907696"/>
              <a:gd name="connsiteX2" fmla="*/ 4472610 w 8716618"/>
              <a:gd name="connsiteY2" fmla="*/ 0 h 6907696"/>
              <a:gd name="connsiteX3" fmla="*/ 8716618 w 8716618"/>
              <a:gd name="connsiteY3" fmla="*/ 6858000 h 6907696"/>
              <a:gd name="connsiteX4" fmla="*/ 0 w 8716618"/>
              <a:gd name="connsiteY4" fmla="*/ 6907696 h 6907696"/>
              <a:gd name="connsiteX0" fmla="*/ 0 w 8716618"/>
              <a:gd name="connsiteY0" fmla="*/ 6907696 h 6907696"/>
              <a:gd name="connsiteX1" fmla="*/ 3110949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0 w 5724940"/>
              <a:gd name="connsiteY0" fmla="*/ 6907696 h 6907696"/>
              <a:gd name="connsiteX1" fmla="*/ 119271 w 5724940"/>
              <a:gd name="connsiteY1" fmla="*/ 9939 h 6907696"/>
              <a:gd name="connsiteX2" fmla="*/ 1480932 w 5724940"/>
              <a:gd name="connsiteY2" fmla="*/ 0 h 6907696"/>
              <a:gd name="connsiteX3" fmla="*/ 5724940 w 5724940"/>
              <a:gd name="connsiteY3" fmla="*/ 6858000 h 6907696"/>
              <a:gd name="connsiteX4" fmla="*/ 0 w 5724940"/>
              <a:gd name="connsiteY4" fmla="*/ 6907696 h 6907696"/>
              <a:gd name="connsiteX0" fmla="*/ 29816 w 5605669"/>
              <a:gd name="connsiteY0" fmla="*/ 6907696 h 6907696"/>
              <a:gd name="connsiteX1" fmla="*/ 0 w 5605669"/>
              <a:gd name="connsiteY1" fmla="*/ 9939 h 6907696"/>
              <a:gd name="connsiteX2" fmla="*/ 1361661 w 5605669"/>
              <a:gd name="connsiteY2" fmla="*/ 0 h 6907696"/>
              <a:gd name="connsiteX3" fmla="*/ 5605669 w 5605669"/>
              <a:gd name="connsiteY3" fmla="*/ 6858000 h 6907696"/>
              <a:gd name="connsiteX4" fmla="*/ 29816 w 5605669"/>
              <a:gd name="connsiteY4" fmla="*/ 6907696 h 6907696"/>
              <a:gd name="connsiteX0" fmla="*/ 69573 w 5605669"/>
              <a:gd name="connsiteY0" fmla="*/ 6937513 h 6937513"/>
              <a:gd name="connsiteX1" fmla="*/ 0 w 5605669"/>
              <a:gd name="connsiteY1" fmla="*/ 9939 h 6937513"/>
              <a:gd name="connsiteX2" fmla="*/ 1361661 w 5605669"/>
              <a:gd name="connsiteY2" fmla="*/ 0 h 6937513"/>
              <a:gd name="connsiteX3" fmla="*/ 5605669 w 5605669"/>
              <a:gd name="connsiteY3" fmla="*/ 6858000 h 6937513"/>
              <a:gd name="connsiteX4" fmla="*/ 69573 w 5605669"/>
              <a:gd name="connsiteY4" fmla="*/ 6937513 h 6937513"/>
              <a:gd name="connsiteX0" fmla="*/ 0 w 5605670"/>
              <a:gd name="connsiteY0" fmla="*/ 6897757 h 6897757"/>
              <a:gd name="connsiteX1" fmla="*/ 1 w 5605670"/>
              <a:gd name="connsiteY1" fmla="*/ 9939 h 6897757"/>
              <a:gd name="connsiteX2" fmla="*/ 1361662 w 5605670"/>
              <a:gd name="connsiteY2" fmla="*/ 0 h 6897757"/>
              <a:gd name="connsiteX3" fmla="*/ 5605670 w 5605670"/>
              <a:gd name="connsiteY3" fmla="*/ 6858000 h 6897757"/>
              <a:gd name="connsiteX4" fmla="*/ 0 w 5605670"/>
              <a:gd name="connsiteY4" fmla="*/ 6897757 h 6897757"/>
              <a:gd name="connsiteX0" fmla="*/ 9938 w 5615608"/>
              <a:gd name="connsiteY0" fmla="*/ 6897757 h 6897757"/>
              <a:gd name="connsiteX1" fmla="*/ 0 w 5615608"/>
              <a:gd name="connsiteY1" fmla="*/ 9939 h 6897757"/>
              <a:gd name="connsiteX2" fmla="*/ 1371600 w 5615608"/>
              <a:gd name="connsiteY2" fmla="*/ 0 h 6897757"/>
              <a:gd name="connsiteX3" fmla="*/ 5615608 w 5615608"/>
              <a:gd name="connsiteY3" fmla="*/ 6858000 h 6897757"/>
              <a:gd name="connsiteX4" fmla="*/ 9938 w 5615608"/>
              <a:gd name="connsiteY4" fmla="*/ 6897757 h 6897757"/>
              <a:gd name="connsiteX0" fmla="*/ 9938 w 5615608"/>
              <a:gd name="connsiteY0" fmla="*/ 6906868 h 6906868"/>
              <a:gd name="connsiteX1" fmla="*/ 0 w 5615608"/>
              <a:gd name="connsiteY1" fmla="*/ 0 h 6906868"/>
              <a:gd name="connsiteX2" fmla="*/ 1371600 w 5615608"/>
              <a:gd name="connsiteY2" fmla="*/ 9111 h 6906868"/>
              <a:gd name="connsiteX3" fmla="*/ 5615608 w 5615608"/>
              <a:gd name="connsiteY3" fmla="*/ 6867111 h 6906868"/>
              <a:gd name="connsiteX4" fmla="*/ 9938 w 5615608"/>
              <a:gd name="connsiteY4" fmla="*/ 6906868 h 690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5608" h="6906868">
                <a:moveTo>
                  <a:pt x="9938" y="6906868"/>
                </a:moveTo>
                <a:cubicBezTo>
                  <a:pt x="9938" y="4962111"/>
                  <a:pt x="14908" y="3438939"/>
                  <a:pt x="0" y="0"/>
                </a:cubicBezTo>
                <a:lnTo>
                  <a:pt x="1371600" y="9111"/>
                </a:lnTo>
                <a:lnTo>
                  <a:pt x="5615608" y="6867111"/>
                </a:lnTo>
                <a:lnTo>
                  <a:pt x="9938" y="6906868"/>
                </a:lnTo>
                <a:close/>
              </a:path>
            </a:pathLst>
          </a:custGeom>
          <a:solidFill>
            <a:schemeClr val="bg1"/>
          </a:solidFill>
          <a:ln w="12700" cap="flat">
            <a:noFill/>
            <a:miter lim="400000"/>
          </a:ln>
          <a:effectLst>
            <a:outerShdw blurRad="267942" dist="38100" algn="l" rotWithShape="0">
              <a:srgbClr val="063958">
                <a:alpha val="56121"/>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pic>
        <p:nvPicPr>
          <p:cNvPr id="7" name="Picture 6">
            <a:extLst>
              <a:ext uri="{FF2B5EF4-FFF2-40B4-BE49-F238E27FC236}">
                <a16:creationId xmlns:a16="http://schemas.microsoft.com/office/drawing/2014/main" id="{C911EF92-FB4D-FDCE-E79B-83AF9AF151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78394" y="2690592"/>
            <a:ext cx="1737725" cy="1132108"/>
          </a:xfrm>
          <a:prstGeom prst="rect">
            <a:avLst/>
          </a:prstGeom>
        </p:spPr>
      </p:pic>
      <p:sp>
        <p:nvSpPr>
          <p:cNvPr id="3" name="Title 2">
            <a:extLst>
              <a:ext uri="{FF2B5EF4-FFF2-40B4-BE49-F238E27FC236}">
                <a16:creationId xmlns:a16="http://schemas.microsoft.com/office/drawing/2014/main" id="{2B2A4150-9DA6-42D1-284D-733A65D0B695}"/>
              </a:ext>
            </a:extLst>
          </p:cNvPr>
          <p:cNvSpPr>
            <a:spLocks noGrp="1"/>
          </p:cNvSpPr>
          <p:nvPr>
            <p:ph type="title"/>
          </p:nvPr>
        </p:nvSpPr>
        <p:spPr>
          <a:xfrm>
            <a:off x="4297680" y="3172968"/>
            <a:ext cx="7911229" cy="808138"/>
          </a:xfrm>
        </p:spPr>
        <p:txBody>
          <a:bodyPr/>
          <a:lstStyle>
            <a:lvl1pPr>
              <a:defRPr sz="3200">
                <a:solidFill>
                  <a:schemeClr val="accent4"/>
                </a:solidFill>
              </a:defRPr>
            </a:lvl1pPr>
          </a:lstStyle>
          <a:p>
            <a:r>
              <a:rPr lang="en-US"/>
              <a:t>Click to edit Master title style</a:t>
            </a:r>
          </a:p>
        </p:txBody>
      </p:sp>
    </p:spTree>
    <p:extLst>
      <p:ext uri="{BB962C8B-B14F-4D97-AF65-F5344CB8AC3E}">
        <p14:creationId xmlns:p14="http://schemas.microsoft.com/office/powerpoint/2010/main" val="2938500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256">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2A693616-0248-8133-F288-F4E37CFA4D70}"/>
              </a:ext>
            </a:extLst>
          </p:cNvPr>
          <p:cNvSpPr>
            <a:spLocks noGrp="1"/>
          </p:cNvSpPr>
          <p:nvPr>
            <p:ph type="ftr" sz="quarter" idx="11"/>
          </p:nvPr>
        </p:nvSpPr>
        <p:spPr/>
        <p:txBody>
          <a:bodyPr/>
          <a:lstStyle/>
          <a:p>
            <a:r>
              <a:rPr lang="da-DK"/>
              <a:t>NET-202 SIV Slides Final v2.0 31-Aug-2023</a:t>
            </a:r>
            <a:endParaRPr lang="en-US"/>
          </a:p>
        </p:txBody>
      </p:sp>
      <p:pic>
        <p:nvPicPr>
          <p:cNvPr id="6" name="Graphic 5">
            <a:extLst>
              <a:ext uri="{FF2B5EF4-FFF2-40B4-BE49-F238E27FC236}">
                <a16:creationId xmlns:a16="http://schemas.microsoft.com/office/drawing/2014/main" id="{941C4976-5EEE-5BBB-1599-66DDC3F78103}"/>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7530752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2592024F-B541-0A44-89A0-3BEC1DFF4FE2}"/>
              </a:ext>
            </a:extLst>
          </p:cNvPr>
          <p:cNvSpPr/>
          <p:nvPr userDrawn="1"/>
        </p:nvSpPr>
        <p:spPr>
          <a:xfrm>
            <a:off x="0" y="111611"/>
            <a:ext cx="2936081" cy="907076"/>
          </a:xfrm>
          <a:custGeom>
            <a:avLst/>
            <a:gdLst>
              <a:gd name="connsiteX0" fmla="*/ 0 w 3083597"/>
              <a:gd name="connsiteY0" fmla="*/ 0 h 907076"/>
              <a:gd name="connsiteX1" fmla="*/ 3083597 w 3083597"/>
              <a:gd name="connsiteY1" fmla="*/ 0 h 907076"/>
              <a:gd name="connsiteX2" fmla="*/ 2856828 w 3083597"/>
              <a:gd name="connsiteY2" fmla="*/ 907076 h 907076"/>
              <a:gd name="connsiteX3" fmla="*/ 0 w 3083597"/>
              <a:gd name="connsiteY3" fmla="*/ 907076 h 907076"/>
            </a:gdLst>
            <a:ahLst/>
            <a:cxnLst>
              <a:cxn ang="0">
                <a:pos x="connsiteX0" y="connsiteY0"/>
              </a:cxn>
              <a:cxn ang="0">
                <a:pos x="connsiteX1" y="connsiteY1"/>
              </a:cxn>
              <a:cxn ang="0">
                <a:pos x="connsiteX2" y="connsiteY2"/>
              </a:cxn>
              <a:cxn ang="0">
                <a:pos x="connsiteX3" y="connsiteY3"/>
              </a:cxn>
            </a:cxnLst>
            <a:rect l="l" t="t" r="r" b="b"/>
            <a:pathLst>
              <a:path w="3083597" h="907076">
                <a:moveTo>
                  <a:pt x="0" y="0"/>
                </a:moveTo>
                <a:lnTo>
                  <a:pt x="3083597" y="0"/>
                </a:lnTo>
                <a:lnTo>
                  <a:pt x="2856828" y="907076"/>
                </a:lnTo>
                <a:lnTo>
                  <a:pt x="0" y="907076"/>
                </a:lnTo>
                <a:close/>
              </a:path>
            </a:pathLst>
          </a:custGeom>
          <a:gradFill>
            <a:gsLst>
              <a:gs pos="0">
                <a:schemeClr val="accent6">
                  <a:alpha val="69000"/>
                </a:schemeClr>
              </a:gs>
              <a:gs pos="95000">
                <a:schemeClr val="bg2"/>
              </a:gs>
            </a:gsLst>
            <a:lin ang="16200000" scaled="1"/>
          </a:gradFill>
          <a:ln w="12700" cap="flat">
            <a:noFill/>
            <a:miter lim="400000"/>
          </a:ln>
          <a:effectLst>
            <a:outerShdw blurRad="50800" dist="76200" dir="5400000" algn="t"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TextBox 19">
            <a:extLst>
              <a:ext uri="{FF2B5EF4-FFF2-40B4-BE49-F238E27FC236}">
                <a16:creationId xmlns:a16="http://schemas.microsoft.com/office/drawing/2014/main" id="{8562EA17-5103-1436-26DC-A25B566787C2}"/>
              </a:ext>
            </a:extLst>
          </p:cNvPr>
          <p:cNvSpPr txBox="1"/>
          <p:nvPr userDrawn="1"/>
        </p:nvSpPr>
        <p:spPr>
          <a:xfrm>
            <a:off x="618500" y="473266"/>
            <a:ext cx="2112464" cy="492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2600" b="1" i="0" u="none" strike="noStrike" kern="0" cap="none" spc="0" normalizeH="0" baseline="0" noProof="0">
                <a:ln>
                  <a:noFill/>
                </a:ln>
                <a:solidFill>
                  <a:schemeClr val="bg1"/>
                </a:solidFill>
                <a:effectLst/>
                <a:uLnTx/>
                <a:uFillTx/>
                <a:latin typeface="Arial" panose="020B0604020202020204"/>
                <a:cs typeface="Arial" panose="020B0604020202020204" pitchFamily="34" charset="0"/>
                <a:sym typeface="Avenir Black"/>
              </a:rPr>
              <a:t>Discussion:</a:t>
            </a:r>
            <a:endParaRPr lang="en-US">
              <a:solidFill>
                <a:schemeClr val="bg1"/>
              </a:solidFill>
            </a:endParaRPr>
          </a:p>
        </p:txBody>
      </p:sp>
      <p:grpSp>
        <p:nvGrpSpPr>
          <p:cNvPr id="28" name="Group 27">
            <a:extLst>
              <a:ext uri="{FF2B5EF4-FFF2-40B4-BE49-F238E27FC236}">
                <a16:creationId xmlns:a16="http://schemas.microsoft.com/office/drawing/2014/main" id="{A415C8F3-D355-FD7E-C46F-F2ABCE9468D4}"/>
              </a:ext>
            </a:extLst>
          </p:cNvPr>
          <p:cNvGrpSpPr/>
          <p:nvPr userDrawn="1"/>
        </p:nvGrpSpPr>
        <p:grpSpPr>
          <a:xfrm>
            <a:off x="347472" y="176365"/>
            <a:ext cx="691477" cy="492443"/>
            <a:chOff x="156053" y="271462"/>
            <a:chExt cx="864815" cy="615888"/>
          </a:xfrm>
        </p:grpSpPr>
        <p:sp>
          <p:nvSpPr>
            <p:cNvPr id="26" name="Freeform: Shape 25">
              <a:extLst>
                <a:ext uri="{FF2B5EF4-FFF2-40B4-BE49-F238E27FC236}">
                  <a16:creationId xmlns:a16="http://schemas.microsoft.com/office/drawing/2014/main" id="{F495D400-CA0D-F7FD-9985-BA5E7B74E279}"/>
                </a:ext>
              </a:extLst>
            </p:cNvPr>
            <p:cNvSpPr/>
            <p:nvPr/>
          </p:nvSpPr>
          <p:spPr>
            <a:xfrm>
              <a:off x="584047" y="271462"/>
              <a:ext cx="436821" cy="487666"/>
            </a:xfrm>
            <a:custGeom>
              <a:avLst/>
              <a:gdLst>
                <a:gd name="connsiteX0" fmla="*/ 358681 w 436821"/>
                <a:gd name="connsiteY0" fmla="*/ 367516 h 487666"/>
                <a:gd name="connsiteX1" fmla="*/ 436822 w 436821"/>
                <a:gd name="connsiteY1" fmla="*/ 213719 h 487666"/>
                <a:gd name="connsiteX2" fmla="*/ 182519 w 436821"/>
                <a:gd name="connsiteY2" fmla="*/ 0 h 487666"/>
                <a:gd name="connsiteX3" fmla="*/ 0 w 436821"/>
                <a:gd name="connsiteY3" fmla="*/ 64892 h 487666"/>
                <a:gd name="connsiteX4" fmla="*/ 179752 w 436821"/>
                <a:gd name="connsiteY4" fmla="*/ 325552 h 487666"/>
                <a:gd name="connsiteX5" fmla="*/ 159598 w 436821"/>
                <a:gd name="connsiteY5" fmla="*/ 426333 h 487666"/>
                <a:gd name="connsiteX6" fmla="*/ 182512 w 436821"/>
                <a:gd name="connsiteY6" fmla="*/ 427163 h 487666"/>
                <a:gd name="connsiteX7" fmla="*/ 242983 w 436821"/>
                <a:gd name="connsiteY7" fmla="*/ 420814 h 487666"/>
                <a:gd name="connsiteX8" fmla="*/ 400095 w 436821"/>
                <a:gd name="connsiteY8" fmla="*/ 487635 h 487666"/>
                <a:gd name="connsiteX9" fmla="*/ 412246 w 436821"/>
                <a:gd name="connsiteY9" fmla="*/ 462785 h 487666"/>
                <a:gd name="connsiteX10" fmla="*/ 358681 w 436821"/>
                <a:gd name="connsiteY10" fmla="*/ 367523 h 48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821" h="487666">
                  <a:moveTo>
                    <a:pt x="358681" y="367516"/>
                  </a:moveTo>
                  <a:cubicBezTo>
                    <a:pt x="406727" y="328586"/>
                    <a:pt x="436822" y="274190"/>
                    <a:pt x="436822" y="213719"/>
                  </a:cubicBezTo>
                  <a:cubicBezTo>
                    <a:pt x="436829" y="95536"/>
                    <a:pt x="323067" y="0"/>
                    <a:pt x="182519" y="0"/>
                  </a:cubicBezTo>
                  <a:cubicBezTo>
                    <a:pt x="111002" y="0"/>
                    <a:pt x="46118" y="24850"/>
                    <a:pt x="0" y="64892"/>
                  </a:cubicBezTo>
                  <a:cubicBezTo>
                    <a:pt x="106856" y="114593"/>
                    <a:pt x="179752" y="212614"/>
                    <a:pt x="179752" y="325552"/>
                  </a:cubicBezTo>
                  <a:cubicBezTo>
                    <a:pt x="179752" y="360891"/>
                    <a:pt x="172572" y="394858"/>
                    <a:pt x="159598" y="426333"/>
                  </a:cubicBezTo>
                  <a:cubicBezTo>
                    <a:pt x="167053" y="426889"/>
                    <a:pt x="174782" y="427163"/>
                    <a:pt x="182512" y="427163"/>
                  </a:cubicBezTo>
                  <a:cubicBezTo>
                    <a:pt x="203497" y="427163"/>
                    <a:pt x="223652" y="424953"/>
                    <a:pt x="242983" y="420814"/>
                  </a:cubicBezTo>
                  <a:cubicBezTo>
                    <a:pt x="270044" y="446495"/>
                    <a:pt x="321955" y="483214"/>
                    <a:pt x="400095" y="487635"/>
                  </a:cubicBezTo>
                  <a:cubicBezTo>
                    <a:pt x="413351" y="488466"/>
                    <a:pt x="421355" y="472725"/>
                    <a:pt x="412246" y="462785"/>
                  </a:cubicBezTo>
                  <a:cubicBezTo>
                    <a:pt x="387945" y="435724"/>
                    <a:pt x="369444" y="395689"/>
                    <a:pt x="358681" y="367523"/>
                  </a:cubicBezTo>
                  <a:close/>
                </a:path>
              </a:pathLst>
            </a:custGeom>
            <a:solidFill>
              <a:schemeClr val="accent2"/>
            </a:solidFill>
            <a:ln w="73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35D4B08A-8E82-31E4-B33E-5946E6447062}"/>
                </a:ext>
              </a:extLst>
            </p:cNvPr>
            <p:cNvSpPr/>
            <p:nvPr/>
          </p:nvSpPr>
          <p:spPr>
            <a:xfrm>
              <a:off x="156053" y="370751"/>
              <a:ext cx="538663" cy="516599"/>
            </a:xfrm>
            <a:custGeom>
              <a:avLst/>
              <a:gdLst>
                <a:gd name="connsiteX0" fmla="*/ 269332 w 538663"/>
                <a:gd name="connsiteY0" fmla="*/ 7 h 516599"/>
                <a:gd name="connsiteX1" fmla="*/ 0 w 538663"/>
                <a:gd name="connsiteY1" fmla="*/ 226233 h 516599"/>
                <a:gd name="connsiteX2" fmla="*/ 82851 w 538663"/>
                <a:gd name="connsiteY2" fmla="*/ 389228 h 516599"/>
                <a:gd name="connsiteX3" fmla="*/ 26096 w 538663"/>
                <a:gd name="connsiteY3" fmla="*/ 490172 h 516599"/>
                <a:gd name="connsiteX4" fmla="*/ 38967 w 538663"/>
                <a:gd name="connsiteY4" fmla="*/ 516572 h 516599"/>
                <a:gd name="connsiteX5" fmla="*/ 205292 w 538663"/>
                <a:gd name="connsiteY5" fmla="*/ 445753 h 516599"/>
                <a:gd name="connsiteX6" fmla="*/ 269332 w 538663"/>
                <a:gd name="connsiteY6" fmla="*/ 452459 h 516599"/>
                <a:gd name="connsiteX7" fmla="*/ 538663 w 538663"/>
                <a:gd name="connsiteY7" fmla="*/ 226233 h 516599"/>
                <a:gd name="connsiteX8" fmla="*/ 269332 w 538663"/>
                <a:gd name="connsiteY8" fmla="*/ 0 h 516599"/>
                <a:gd name="connsiteX9" fmla="*/ 137596 w 538663"/>
                <a:gd name="connsiteY9" fmla="*/ 270585 h 516599"/>
                <a:gd name="connsiteX10" fmla="*/ 92910 w 538663"/>
                <a:gd name="connsiteY10" fmla="*/ 225907 h 516599"/>
                <a:gd name="connsiteX11" fmla="*/ 137596 w 538663"/>
                <a:gd name="connsiteY11" fmla="*/ 181221 h 516599"/>
                <a:gd name="connsiteX12" fmla="*/ 182274 w 538663"/>
                <a:gd name="connsiteY12" fmla="*/ 225907 h 516599"/>
                <a:gd name="connsiteX13" fmla="*/ 137596 w 538663"/>
                <a:gd name="connsiteY13" fmla="*/ 270585 h 516599"/>
                <a:gd name="connsiteX14" fmla="*/ 269332 w 538663"/>
                <a:gd name="connsiteY14" fmla="*/ 270585 h 516599"/>
                <a:gd name="connsiteX15" fmla="*/ 224646 w 538663"/>
                <a:gd name="connsiteY15" fmla="*/ 225907 h 516599"/>
                <a:gd name="connsiteX16" fmla="*/ 269332 w 538663"/>
                <a:gd name="connsiteY16" fmla="*/ 181221 h 516599"/>
                <a:gd name="connsiteX17" fmla="*/ 314010 w 538663"/>
                <a:gd name="connsiteY17" fmla="*/ 225907 h 516599"/>
                <a:gd name="connsiteX18" fmla="*/ 269332 w 538663"/>
                <a:gd name="connsiteY18" fmla="*/ 270585 h 516599"/>
                <a:gd name="connsiteX19" fmla="*/ 401067 w 538663"/>
                <a:gd name="connsiteY19" fmla="*/ 270585 h 516599"/>
                <a:gd name="connsiteX20" fmla="*/ 356389 w 538663"/>
                <a:gd name="connsiteY20" fmla="*/ 225907 h 516599"/>
                <a:gd name="connsiteX21" fmla="*/ 401067 w 538663"/>
                <a:gd name="connsiteY21" fmla="*/ 181221 h 516599"/>
                <a:gd name="connsiteX22" fmla="*/ 445753 w 538663"/>
                <a:gd name="connsiteY22" fmla="*/ 225907 h 516599"/>
                <a:gd name="connsiteX23" fmla="*/ 401067 w 538663"/>
                <a:gd name="connsiteY23" fmla="*/ 270585 h 5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8663" h="516599">
                  <a:moveTo>
                    <a:pt x="269332" y="7"/>
                  </a:moveTo>
                  <a:cubicBezTo>
                    <a:pt x="120586" y="7"/>
                    <a:pt x="0" y="101292"/>
                    <a:pt x="0" y="226233"/>
                  </a:cubicBezTo>
                  <a:cubicBezTo>
                    <a:pt x="0" y="290324"/>
                    <a:pt x="31868" y="348066"/>
                    <a:pt x="82851" y="389228"/>
                  </a:cubicBezTo>
                  <a:cubicBezTo>
                    <a:pt x="71391" y="418952"/>
                    <a:pt x="52000" y="461538"/>
                    <a:pt x="26096" y="490172"/>
                  </a:cubicBezTo>
                  <a:cubicBezTo>
                    <a:pt x="16594" y="500675"/>
                    <a:pt x="24828" y="517373"/>
                    <a:pt x="38967" y="516572"/>
                  </a:cubicBezTo>
                  <a:cubicBezTo>
                    <a:pt x="121810" y="511891"/>
                    <a:pt x="176644" y="472947"/>
                    <a:pt x="205292" y="445753"/>
                  </a:cubicBezTo>
                  <a:cubicBezTo>
                    <a:pt x="225855" y="449974"/>
                    <a:pt x="247219" y="452459"/>
                    <a:pt x="269332" y="452459"/>
                  </a:cubicBezTo>
                  <a:cubicBezTo>
                    <a:pt x="418077" y="452459"/>
                    <a:pt x="538663" y="351174"/>
                    <a:pt x="538663" y="226233"/>
                  </a:cubicBezTo>
                  <a:cubicBezTo>
                    <a:pt x="538663" y="101292"/>
                    <a:pt x="418077" y="0"/>
                    <a:pt x="269332" y="0"/>
                  </a:cubicBezTo>
                  <a:close/>
                  <a:moveTo>
                    <a:pt x="137596" y="270585"/>
                  </a:moveTo>
                  <a:cubicBezTo>
                    <a:pt x="112916" y="270585"/>
                    <a:pt x="92910" y="250579"/>
                    <a:pt x="92910" y="225907"/>
                  </a:cubicBezTo>
                  <a:cubicBezTo>
                    <a:pt x="92910" y="201235"/>
                    <a:pt x="112916" y="181221"/>
                    <a:pt x="137596" y="181221"/>
                  </a:cubicBezTo>
                  <a:cubicBezTo>
                    <a:pt x="162275" y="181221"/>
                    <a:pt x="182274" y="201227"/>
                    <a:pt x="182274" y="225907"/>
                  </a:cubicBezTo>
                  <a:cubicBezTo>
                    <a:pt x="182274" y="250586"/>
                    <a:pt x="162268" y="270585"/>
                    <a:pt x="137596" y="270585"/>
                  </a:cubicBezTo>
                  <a:close/>
                  <a:moveTo>
                    <a:pt x="269332" y="270585"/>
                  </a:moveTo>
                  <a:cubicBezTo>
                    <a:pt x="244652" y="270585"/>
                    <a:pt x="224646" y="250579"/>
                    <a:pt x="224646" y="225907"/>
                  </a:cubicBezTo>
                  <a:cubicBezTo>
                    <a:pt x="224646" y="201235"/>
                    <a:pt x="244652" y="181221"/>
                    <a:pt x="269332" y="181221"/>
                  </a:cubicBezTo>
                  <a:cubicBezTo>
                    <a:pt x="294011" y="181221"/>
                    <a:pt x="314010" y="201227"/>
                    <a:pt x="314010" y="225907"/>
                  </a:cubicBezTo>
                  <a:cubicBezTo>
                    <a:pt x="314010" y="250586"/>
                    <a:pt x="294004" y="270585"/>
                    <a:pt x="269332" y="270585"/>
                  </a:cubicBezTo>
                  <a:close/>
                  <a:moveTo>
                    <a:pt x="401067" y="270585"/>
                  </a:moveTo>
                  <a:cubicBezTo>
                    <a:pt x="376388" y="270585"/>
                    <a:pt x="356389" y="250579"/>
                    <a:pt x="356389" y="225907"/>
                  </a:cubicBezTo>
                  <a:cubicBezTo>
                    <a:pt x="356389" y="201235"/>
                    <a:pt x="376395" y="181221"/>
                    <a:pt x="401067" y="181221"/>
                  </a:cubicBezTo>
                  <a:cubicBezTo>
                    <a:pt x="425739" y="181221"/>
                    <a:pt x="445753" y="201227"/>
                    <a:pt x="445753" y="225907"/>
                  </a:cubicBezTo>
                  <a:cubicBezTo>
                    <a:pt x="445753" y="250586"/>
                    <a:pt x="425747" y="270585"/>
                    <a:pt x="401067" y="270585"/>
                  </a:cubicBezTo>
                  <a:close/>
                </a:path>
              </a:pathLst>
            </a:custGeom>
            <a:solidFill>
              <a:schemeClr val="bg1"/>
            </a:solidFill>
            <a:ln w="735" cap="flat">
              <a:noFill/>
              <a:prstDash val="solid"/>
              <a:miter/>
            </a:ln>
          </p:spPr>
          <p:txBody>
            <a:bodyPr rtlCol="0" anchor="ctr"/>
            <a:lstStyle/>
            <a:p>
              <a:endParaRPr lang="en-US"/>
            </a:p>
          </p:txBody>
        </p:sp>
      </p:grpSp>
      <p:sp>
        <p:nvSpPr>
          <p:cNvPr id="29" name="Oval 28">
            <a:extLst>
              <a:ext uri="{FF2B5EF4-FFF2-40B4-BE49-F238E27FC236}">
                <a16:creationId xmlns:a16="http://schemas.microsoft.com/office/drawing/2014/main" id="{990D8477-73C7-0834-474F-C35DBD40A0CD}"/>
              </a:ext>
            </a:extLst>
          </p:cNvPr>
          <p:cNvSpPr/>
          <p:nvPr userDrawn="1"/>
        </p:nvSpPr>
        <p:spPr>
          <a:xfrm>
            <a:off x="962025" y="588961"/>
            <a:ext cx="65891" cy="65891"/>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0" name="Oval 29">
            <a:extLst>
              <a:ext uri="{FF2B5EF4-FFF2-40B4-BE49-F238E27FC236}">
                <a16:creationId xmlns:a16="http://schemas.microsoft.com/office/drawing/2014/main" id="{40E5AEB1-4975-5026-ED5B-FB89D9F28386}"/>
              </a:ext>
            </a:extLst>
          </p:cNvPr>
          <p:cNvSpPr/>
          <p:nvPr userDrawn="1"/>
        </p:nvSpPr>
        <p:spPr>
          <a:xfrm>
            <a:off x="2497931" y="660399"/>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1" name="Oval 30">
            <a:extLst>
              <a:ext uri="{FF2B5EF4-FFF2-40B4-BE49-F238E27FC236}">
                <a16:creationId xmlns:a16="http://schemas.microsoft.com/office/drawing/2014/main" id="{3AE0633A-1834-6916-0831-8DB8D480A1C5}"/>
              </a:ext>
            </a:extLst>
          </p:cNvPr>
          <p:cNvSpPr/>
          <p:nvPr userDrawn="1"/>
        </p:nvSpPr>
        <p:spPr>
          <a:xfrm>
            <a:off x="2497931" y="786605"/>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pic>
        <p:nvPicPr>
          <p:cNvPr id="2" name="Graphic 1">
            <a:extLst>
              <a:ext uri="{FF2B5EF4-FFF2-40B4-BE49-F238E27FC236}">
                <a16:creationId xmlns:a16="http://schemas.microsoft.com/office/drawing/2014/main" id="{4BC41C69-C653-0D29-0773-B533BB76DB6B}"/>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88531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Content w/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522128" cy="435133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5">
            <a:extLst>
              <a:ext uri="{FF2B5EF4-FFF2-40B4-BE49-F238E27FC236}">
                <a16:creationId xmlns:a16="http://schemas.microsoft.com/office/drawing/2014/main" id="{4CB08785-6C13-4F42-AEB0-A7E31B949AD0}"/>
              </a:ext>
            </a:extLst>
          </p:cNvPr>
          <p:cNvSpPr>
            <a:spLocks noGrp="1"/>
          </p:cNvSpPr>
          <p:nvPr>
            <p:ph type="body" sz="quarter" idx="11" hasCustomPrompt="1"/>
          </p:nvPr>
        </p:nvSpPr>
        <p:spPr>
          <a:xfrm>
            <a:off x="272233" y="6036177"/>
            <a:ext cx="10070406" cy="365125"/>
          </a:xfrm>
        </p:spPr>
        <p:txBody>
          <a:bodyPr lIns="91440" anchor="b">
            <a:noAutofit/>
          </a:bodyPr>
          <a:lstStyle>
            <a:lvl1pPr marL="0" indent="0">
              <a:buNone/>
              <a:defRPr sz="900">
                <a:solidFill>
                  <a:schemeClr val="tx1">
                    <a:lumMod val="50000"/>
                    <a:lumOff val="50000"/>
                  </a:schemeClr>
                </a:solidFill>
              </a:defRPr>
            </a:lvl1pPr>
          </a:lstStyle>
          <a:p>
            <a:pPr lvl="0"/>
            <a:r>
              <a:rPr lang="en-US"/>
              <a:t>Footnotes</a:t>
            </a:r>
          </a:p>
        </p:txBody>
      </p:sp>
      <p:sp>
        <p:nvSpPr>
          <p:cNvPr id="6" name="Footer Placeholder 5">
            <a:extLst>
              <a:ext uri="{FF2B5EF4-FFF2-40B4-BE49-F238E27FC236}">
                <a16:creationId xmlns:a16="http://schemas.microsoft.com/office/drawing/2014/main" id="{A861A535-BA79-05B3-5AF6-6BE830EA6687}"/>
              </a:ext>
            </a:extLst>
          </p:cNvPr>
          <p:cNvSpPr>
            <a:spLocks noGrp="1"/>
          </p:cNvSpPr>
          <p:nvPr>
            <p:ph type="ftr" sz="quarter" idx="12"/>
          </p:nvPr>
        </p:nvSpPr>
        <p:spPr/>
        <p:txBody>
          <a:bodyPr/>
          <a:lstStyle/>
          <a:p>
            <a:r>
              <a:rPr lang="da-DK"/>
              <a:t>NET-202 SIV Slides Final v2.0 31-Aug-2023</a:t>
            </a:r>
            <a:endParaRPr lang="en-US"/>
          </a:p>
        </p:txBody>
      </p:sp>
      <p:sp>
        <p:nvSpPr>
          <p:cNvPr id="7" name="Slide Number Placeholder 6">
            <a:extLst>
              <a:ext uri="{FF2B5EF4-FFF2-40B4-BE49-F238E27FC236}">
                <a16:creationId xmlns:a16="http://schemas.microsoft.com/office/drawing/2014/main" id="{B3BC38D2-B36B-D29F-9AA7-994F07556DE1}"/>
              </a:ext>
            </a:extLst>
          </p:cNvPr>
          <p:cNvSpPr>
            <a:spLocks noGrp="1"/>
          </p:cNvSpPr>
          <p:nvPr>
            <p:ph type="sldNum" sz="quarter" idx="13"/>
          </p:nvPr>
        </p:nvSpPr>
        <p:spPr/>
        <p:txBody>
          <a:bodyPr/>
          <a:lstStyle/>
          <a:p>
            <a:fld id="{2B143D1D-9801-49CA-88C0-178C03B6937F}" type="slidenum">
              <a:rPr lang="en-US" smtClean="0"/>
              <a:t>‹#›</a:t>
            </a:fld>
            <a:endParaRPr lang="en-US"/>
          </a:p>
        </p:txBody>
      </p:sp>
      <p:pic>
        <p:nvPicPr>
          <p:cNvPr id="3" name="Graphic 2">
            <a:extLst>
              <a:ext uri="{FF2B5EF4-FFF2-40B4-BE49-F238E27FC236}">
                <a16:creationId xmlns:a16="http://schemas.microsoft.com/office/drawing/2014/main" id="{6877CDFC-DFB0-D0DE-01C5-7DE4B4FDADE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9939562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0" y="6492875"/>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36195802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22339342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Title Only Dark">
    <p:bg>
      <p:bgPr>
        <a:gradFill>
          <a:gsLst>
            <a:gs pos="1000">
              <a:schemeClr val="accent6"/>
            </a:gs>
            <a:gs pos="100000">
              <a:srgbClr val="000738"/>
            </a:gs>
            <a:gs pos="42000">
              <a:srgbClr val="063958"/>
            </a:gs>
          </a:gsLst>
          <a:path path="circle">
            <a:fillToRect l="100000" t="100000"/>
          </a:path>
        </a:gradFill>
        <a:effectLst/>
      </p:bgPr>
    </p:bg>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solidFill>
                  <a:schemeClr val="bg1"/>
                </a:solidFill>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lvl1pPr>
              <a:defRPr>
                <a:solidFill>
                  <a:schemeClr val="bg1"/>
                </a:solidFill>
              </a:defRPr>
            </a:lvl1pPr>
          </a:lstStyle>
          <a:p>
            <a:fld id="{2B143D1D-9801-49CA-88C0-178C03B6937F}" type="slidenum">
              <a:rPr lang="en-US" smtClean="0"/>
              <a:pPr/>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lvl1pPr>
              <a:defRPr>
                <a:solidFill>
                  <a:schemeClr val="bg1"/>
                </a:solidFill>
              </a:defRPr>
            </a:lvl1pPr>
          </a:lstStyle>
          <a:p>
            <a:r>
              <a:rPr lang="da-DK"/>
              <a:t>NET-202 SIV Slides Final v2.0 31-Aug-2023</a:t>
            </a:r>
            <a:endParaRPr lang="en-US"/>
          </a:p>
        </p:txBody>
      </p:sp>
      <p:pic>
        <p:nvPicPr>
          <p:cNvPr id="5" name="Graphic 4">
            <a:extLst>
              <a:ext uri="{FF2B5EF4-FFF2-40B4-BE49-F238E27FC236}">
                <a16:creationId xmlns:a16="http://schemas.microsoft.com/office/drawing/2014/main" id="{C1F8C85C-BFAA-DC82-25E9-742DA6EB15A1}"/>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10806884" y="6082764"/>
            <a:ext cx="1082711" cy="721807"/>
          </a:xfrm>
          <a:prstGeom prst="rect">
            <a:avLst/>
          </a:prstGeom>
        </p:spPr>
      </p:pic>
    </p:spTree>
    <p:extLst>
      <p:ext uri="{BB962C8B-B14F-4D97-AF65-F5344CB8AC3E}">
        <p14:creationId xmlns:p14="http://schemas.microsoft.com/office/powerpoint/2010/main" val="20216707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Lef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a:blip r:embed="rId2">
            <a:extLst>
              <a:ext uri="{28A0092B-C50C-407E-A947-70E740481C1C}">
                <a14:useLocalDpi xmlns:a14="http://schemas.microsoft.com/office/drawing/2010/main" val="0"/>
              </a:ext>
            </a:extLst>
          </a:blip>
          <a:srcRect l="28718" r="28718"/>
          <a:stretch/>
        </p:blipFill>
        <p:spPr>
          <a:xfrm>
            <a:off x="-3810" y="0"/>
            <a:ext cx="5176311" cy="6858000"/>
          </a:xfrm>
          <a:prstGeom prst="rect">
            <a:avLst/>
          </a:prstGeom>
        </p:spPr>
      </p:pic>
      <p:sp>
        <p:nvSpPr>
          <p:cNvPr id="8" name="Rectangle 7">
            <a:extLst>
              <a:ext uri="{FF2B5EF4-FFF2-40B4-BE49-F238E27FC236}">
                <a16:creationId xmlns:a16="http://schemas.microsoft.com/office/drawing/2014/main" id="{945E0678-FA16-AB81-99E1-753A53DF58AD}"/>
              </a:ext>
            </a:extLst>
          </p:cNvPr>
          <p:cNvSpPr/>
          <p:nvPr userDrawn="1"/>
        </p:nvSpPr>
        <p:spPr>
          <a:xfrm>
            <a:off x="0" y="0"/>
            <a:ext cx="5176311" cy="5880539"/>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a:xfrm>
            <a:off x="272233" y="317212"/>
            <a:ext cx="4518131" cy="1892587"/>
          </a:xfr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lvl1pPr>
              <a:defRPr>
                <a:solidFill>
                  <a:schemeClr val="bg1"/>
                </a:solidFill>
              </a:defRPr>
            </a:lvl1p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5581933" y="560356"/>
            <a:ext cx="6398195" cy="551659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D1649BBA-C546-F173-EE3F-1CF65B3DB20A}"/>
              </a:ext>
            </a:extLst>
          </p:cNvPr>
          <p:cNvSpPr>
            <a:spLocks noGrp="1"/>
          </p:cNvSpPr>
          <p:nvPr>
            <p:ph type="ftr" sz="quarter" idx="11"/>
          </p:nvPr>
        </p:nvSpPr>
        <p:spPr/>
        <p:txBody>
          <a:bodyPr/>
          <a:lstStyle>
            <a:lvl1pPr>
              <a:defRPr>
                <a:solidFill>
                  <a:schemeClr val="bg1"/>
                </a:solidFill>
              </a:defRPr>
            </a:lvl1pPr>
          </a:lstStyle>
          <a:p>
            <a:r>
              <a:rPr lang="da-DK"/>
              <a:t>NET-202 SIV Slides Final v2.0 31-Aug-2023</a:t>
            </a:r>
            <a:endParaRPr lang="en-US"/>
          </a:p>
        </p:txBody>
      </p:sp>
    </p:spTree>
    <p:extLst>
      <p:ext uri="{BB962C8B-B14F-4D97-AF65-F5344CB8AC3E}">
        <p14:creationId xmlns:p14="http://schemas.microsoft.com/office/powerpoint/2010/main" val="30347384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Righ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rotWithShape="1">
          <a:blip r:embed="rId2">
            <a:extLst>
              <a:ext uri="{28A0092B-C50C-407E-A947-70E740481C1C}">
                <a14:useLocalDpi xmlns:a14="http://schemas.microsoft.com/office/drawing/2010/main" val="0"/>
              </a:ext>
            </a:extLst>
          </a:blip>
          <a:srcRect l="26689" r="30747"/>
          <a:stretch/>
        </p:blipFill>
        <p:spPr>
          <a:xfrm flipH="1" flipV="1">
            <a:off x="7015689" y="0"/>
            <a:ext cx="5176311" cy="6858000"/>
          </a:xfrm>
          <a:prstGeom prst="rect">
            <a:avLst/>
          </a:prstGeom>
        </p:spPr>
      </p:pic>
      <p:sp>
        <p:nvSpPr>
          <p:cNvPr id="7" name="Rectangle 6">
            <a:extLst>
              <a:ext uri="{FF2B5EF4-FFF2-40B4-BE49-F238E27FC236}">
                <a16:creationId xmlns:a16="http://schemas.microsoft.com/office/drawing/2014/main" id="{F06027A1-0D62-16F7-30CE-41BFE8B26C7C}"/>
              </a:ext>
            </a:extLst>
          </p:cNvPr>
          <p:cNvSpPr/>
          <p:nvPr/>
        </p:nvSpPr>
        <p:spPr>
          <a:xfrm>
            <a:off x="7015689" y="-1"/>
            <a:ext cx="5176311" cy="6777874"/>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42203"/>
            <a:ext cx="6398195" cy="49680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Title 7">
            <a:extLst>
              <a:ext uri="{FF2B5EF4-FFF2-40B4-BE49-F238E27FC236}">
                <a16:creationId xmlns:a16="http://schemas.microsoft.com/office/drawing/2014/main" id="{0FB071E8-809B-6890-C6B9-812E8369D165}"/>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3B21BB59-32EF-F98A-2990-317BB5943E8A}"/>
              </a:ext>
            </a:extLst>
          </p:cNvPr>
          <p:cNvSpPr>
            <a:spLocks noGrp="1"/>
          </p:cNvSpPr>
          <p:nvPr>
            <p:ph type="ftr" sz="quarter" idx="10"/>
          </p:nvPr>
        </p:nvSpPr>
        <p:spPr/>
        <p:txBody>
          <a:bodyPr/>
          <a:lstStyle/>
          <a:p>
            <a:r>
              <a:rPr lang="da-DK"/>
              <a:t>NET-202 SIV Slides Final v2.0 31-Aug-2023</a:t>
            </a:r>
            <a:endParaRPr lang="en-US"/>
          </a:p>
        </p:txBody>
      </p:sp>
      <p:sp>
        <p:nvSpPr>
          <p:cNvPr id="10" name="Slide Number Placeholder 9">
            <a:extLst>
              <a:ext uri="{FF2B5EF4-FFF2-40B4-BE49-F238E27FC236}">
                <a16:creationId xmlns:a16="http://schemas.microsoft.com/office/drawing/2014/main" id="{5B7AFE7E-7CB0-FD25-F78E-7DA5692308E7}"/>
              </a:ext>
            </a:extLst>
          </p:cNvPr>
          <p:cNvSpPr>
            <a:spLocks noGrp="1"/>
          </p:cNvSpPr>
          <p:nvPr>
            <p:ph type="sldNum" sz="quarter" idx="11"/>
          </p:nvPr>
        </p:nvSpPr>
        <p:spPr/>
        <p:txBody>
          <a:bodyPr/>
          <a:lstStyle/>
          <a:p>
            <a:fld id="{2B143D1D-9801-49CA-88C0-178C03B6937F}" type="slidenum">
              <a:rPr lang="en-US" smtClean="0"/>
              <a:t>‹#›</a:t>
            </a:fld>
            <a:endParaRPr lang="en-US"/>
          </a:p>
        </p:txBody>
      </p:sp>
      <p:pic>
        <p:nvPicPr>
          <p:cNvPr id="3" name="Picture 2">
            <a:extLst>
              <a:ext uri="{FF2B5EF4-FFF2-40B4-BE49-F238E27FC236}">
                <a16:creationId xmlns:a16="http://schemas.microsoft.com/office/drawing/2014/main" id="{7424F124-A258-66DC-3AAE-6DDE6D9BAB50}"/>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886330" y="6126042"/>
            <a:ext cx="934494" cy="620833"/>
          </a:xfrm>
          <a:prstGeom prst="rect">
            <a:avLst/>
          </a:prstGeom>
          <a:effectLst/>
        </p:spPr>
      </p:pic>
    </p:spTree>
    <p:extLst>
      <p:ext uri="{BB962C8B-B14F-4D97-AF65-F5344CB8AC3E}">
        <p14:creationId xmlns:p14="http://schemas.microsoft.com/office/powerpoint/2010/main" val="7779529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83004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75465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Cat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1" cy="548640"/>
          </a:xfrm>
        </p:spPr>
        <p:txBody>
          <a:bodyPr anchor="t">
            <a:normAutofit/>
          </a:bodyPr>
          <a:lstStyle>
            <a:lvl1pPr>
              <a:defRPr sz="27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5815F094-B6C5-A142-A62A-559E55F0190F}"/>
              </a:ext>
            </a:extLst>
          </p:cNvPr>
          <p:cNvSpPr>
            <a:spLocks noGrp="1"/>
          </p:cNvSpPr>
          <p:nvPr>
            <p:ph type="sldNum" sz="quarter" idx="4"/>
          </p:nvPr>
        </p:nvSpPr>
        <p:spPr>
          <a:xfrm>
            <a:off x="0" y="6178548"/>
            <a:ext cx="12192000" cy="365125"/>
          </a:xfrm>
          <a:prstGeom prst="rect">
            <a:avLst/>
          </a:prstGeom>
        </p:spPr>
        <p:txBody>
          <a:bodyPr vert="horz" lIns="91440" tIns="45720" rIns="91440" bIns="45720" rtlCol="0" anchor="ctr"/>
          <a:lstStyle>
            <a:lvl1pPr algn="ctr">
              <a:defRPr sz="788">
                <a:solidFill>
                  <a:schemeClr val="accent3"/>
                </a:solidFill>
              </a:defRPr>
            </a:lvl1pPr>
          </a:lstStyle>
          <a:p>
            <a:fld id="{8085FCFD-660D-C14C-AAFF-D6EEBF7DDB9E}" type="slidenum">
              <a:rPr lang="en-US" smtClean="0"/>
              <a:pPr/>
              <a:t>‹#›</a:t>
            </a:fld>
            <a:endParaRPr lang="en-US"/>
          </a:p>
        </p:txBody>
      </p:sp>
    </p:spTree>
    <p:extLst>
      <p:ext uri="{BB962C8B-B14F-4D97-AF65-F5344CB8AC3E}">
        <p14:creationId xmlns:p14="http://schemas.microsoft.com/office/powerpoint/2010/main" val="10548372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Onc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0" cy="548640"/>
          </a:xfrm>
        </p:spPr>
        <p:txBody>
          <a:bodyPr anchor="t">
            <a:normAutofit/>
          </a:bodyPr>
          <a:lstStyle>
            <a:lvl1pPr>
              <a:defRPr sz="36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2194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9855004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44357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0927749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9349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33943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61246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1928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0010416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5535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9131363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95100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4275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13657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2341175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9155921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7041141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7694439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3658625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31/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35373339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453246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113479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13793630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6431081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9475965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42225779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2282526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65705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5086529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81863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4125400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214766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01936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24910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68174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02696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2326359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5605772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34186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56996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09807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5769275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3862613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360591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6450717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4675157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0805600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31/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5240875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1023135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9394224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0891467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29190359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1603365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289828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15333648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36051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Bullets">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429257" y="1608673"/>
            <a:ext cx="11352109" cy="4028153"/>
          </a:xfrm>
        </p:spPr>
        <p:txBody>
          <a:bodyPr lIns="0" tIns="0" rIns="0" bIns="0"/>
          <a:lstStyle>
            <a:lvl1pPr>
              <a:spcBef>
                <a:spcPts val="600"/>
              </a:spcBef>
              <a:spcAft>
                <a:spcPts val="800"/>
              </a:spcAft>
              <a:buClr>
                <a:srgbClr val="007DBA"/>
              </a:buClr>
              <a:defRPr sz="2000">
                <a:solidFill>
                  <a:srgbClr val="101D3A"/>
                </a:solidFill>
              </a:defRPr>
            </a:lvl1pPr>
            <a:lvl2pPr>
              <a:spcBef>
                <a:spcPts val="600"/>
              </a:spcBef>
              <a:spcAft>
                <a:spcPts val="800"/>
              </a:spcAft>
              <a:buClr>
                <a:srgbClr val="007DBA"/>
              </a:buClr>
              <a:defRPr sz="2000">
                <a:solidFill>
                  <a:srgbClr val="101D3A"/>
                </a:solidFill>
              </a:defRPr>
            </a:lvl2pPr>
            <a:lvl3pPr>
              <a:spcBef>
                <a:spcPts val="600"/>
              </a:spcBef>
              <a:spcAft>
                <a:spcPts val="800"/>
              </a:spcAft>
              <a:buClr>
                <a:srgbClr val="007DBA"/>
              </a:buClr>
              <a:defRPr sz="1800">
                <a:solidFill>
                  <a:srgbClr val="101D3A"/>
                </a:solidFill>
              </a:defRPr>
            </a:lvl3pPr>
            <a:lvl4pPr>
              <a:spcBef>
                <a:spcPts val="600"/>
              </a:spcBef>
              <a:spcAft>
                <a:spcPts val="800"/>
              </a:spcAft>
              <a:buClr>
                <a:srgbClr val="007DBA"/>
              </a:buClr>
              <a:defRPr sz="1600">
                <a:solidFill>
                  <a:srgbClr val="101D3A"/>
                </a:solidFill>
              </a:defRPr>
            </a:lvl4pPr>
            <a:lvl5pPr>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1"/>
          </p:nvPr>
        </p:nvSpPr>
        <p:spPr/>
        <p:txBody>
          <a:bodyPr/>
          <a:lstStyle>
            <a:lvl1pPr>
              <a:defRPr>
                <a:solidFill>
                  <a:srgbClr val="13294B"/>
                </a:solidFill>
              </a:defRPr>
            </a:lvl1pPr>
          </a:lstStyle>
          <a:p>
            <a:fld id="{23750D03-48AD-2741-AECD-41D901562598}" type="slidenum">
              <a:rPr lang="en-US" smtClean="0"/>
              <a:pPr/>
              <a:t>‹#›</a:t>
            </a:fld>
            <a:endParaRPr lang="en-US" dirty="0"/>
          </a:p>
        </p:txBody>
      </p:sp>
      <p:sp>
        <p:nvSpPr>
          <p:cNvPr id="7" name="Title 6"/>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1031192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Content+PhotoLeft">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6972300" y="1608673"/>
            <a:ext cx="4809067" cy="4028153"/>
          </a:xfrm>
        </p:spPr>
        <p:txBody>
          <a:bodyPr lIns="0" tIns="0" rIns="0" bIns="0"/>
          <a:lstStyle>
            <a:lvl1pPr marL="287331" indent="-287331">
              <a:lnSpc>
                <a:spcPct val="90000"/>
              </a:lnSpc>
              <a:spcBef>
                <a:spcPts val="600"/>
              </a:spcBef>
              <a:spcAft>
                <a:spcPts val="800"/>
              </a:spcAft>
              <a:buClr>
                <a:srgbClr val="0C68AC"/>
              </a:buClr>
              <a:defRPr sz="2000">
                <a:solidFill>
                  <a:srgbClr val="101D3A"/>
                </a:solidFill>
              </a:defRPr>
            </a:lvl1pPr>
            <a:lvl2pPr>
              <a:lnSpc>
                <a:spcPct val="90000"/>
              </a:lnSpc>
              <a:spcBef>
                <a:spcPts val="600"/>
              </a:spcBef>
              <a:spcAft>
                <a:spcPts val="800"/>
              </a:spcAft>
              <a:buClr>
                <a:srgbClr val="0C68AC"/>
              </a:buClr>
              <a:defRPr sz="2000">
                <a:solidFill>
                  <a:srgbClr val="101D3A"/>
                </a:solidFill>
              </a:defRPr>
            </a:lvl2pPr>
            <a:lvl3pPr>
              <a:lnSpc>
                <a:spcPct val="90000"/>
              </a:lnSpc>
              <a:spcBef>
                <a:spcPts val="600"/>
              </a:spcBef>
              <a:spcAft>
                <a:spcPts val="800"/>
              </a:spcAft>
              <a:buClr>
                <a:srgbClr val="0C68AC"/>
              </a:buClr>
              <a:defRPr sz="1800">
                <a:solidFill>
                  <a:srgbClr val="101D3A"/>
                </a:solidFill>
              </a:defRPr>
            </a:lvl3pPr>
            <a:lvl4pPr>
              <a:lnSpc>
                <a:spcPct val="90000"/>
              </a:lnSpc>
              <a:spcBef>
                <a:spcPts val="600"/>
              </a:spcBef>
              <a:spcAft>
                <a:spcPts val="800"/>
              </a:spcAft>
              <a:buClr>
                <a:srgbClr val="0C68AC"/>
              </a:buClr>
              <a:defRPr sz="1600">
                <a:solidFill>
                  <a:srgbClr val="101D3A"/>
                </a:solidFill>
              </a:defRPr>
            </a:lvl4pPr>
            <a:lvl5pPr>
              <a:lnSpc>
                <a:spcPct val="90000"/>
              </a:lnSpc>
              <a:spcBef>
                <a:spcPts val="600"/>
              </a:spcBef>
              <a:spcAft>
                <a:spcPts val="800"/>
              </a:spcAft>
              <a:buClr>
                <a:srgbClr val="0C68AC"/>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2"/>
          <p:cNvSpPr>
            <a:spLocks noGrp="1"/>
          </p:cNvSpPr>
          <p:nvPr>
            <p:ph type="pic" idx="14" hasCustomPrompt="1"/>
          </p:nvPr>
        </p:nvSpPr>
        <p:spPr>
          <a:xfrm>
            <a:off x="423333" y="1624471"/>
            <a:ext cx="6267451" cy="4012353"/>
          </a:xfrm>
        </p:spPr>
        <p:txBody>
          <a:bodyPr anchor="ctr" anchorCtr="1"/>
          <a:lstStyle>
            <a:lvl1pPr marL="0" indent="0" algn="ctr">
              <a:buNone/>
              <a:defRPr sz="1400"/>
            </a:lvl1pPr>
            <a:lvl2pPr marL="511807" indent="0">
              <a:buNone/>
              <a:defRPr sz="3100"/>
            </a:lvl2pPr>
            <a:lvl3pPr marL="1023613" indent="0">
              <a:buNone/>
              <a:defRPr sz="2700"/>
            </a:lvl3pPr>
            <a:lvl4pPr marL="1535420" indent="0">
              <a:buNone/>
              <a:defRPr sz="2200"/>
            </a:lvl4pPr>
            <a:lvl5pPr marL="2047227" indent="0">
              <a:buNone/>
              <a:defRPr sz="2200"/>
            </a:lvl5pPr>
            <a:lvl6pPr marL="2559035" indent="0">
              <a:buNone/>
              <a:defRPr sz="2200"/>
            </a:lvl6pPr>
            <a:lvl7pPr marL="3070842" indent="0">
              <a:buNone/>
              <a:defRPr sz="2200"/>
            </a:lvl7pPr>
            <a:lvl8pPr marL="3582649" indent="0">
              <a:buNone/>
              <a:defRPr sz="2200"/>
            </a:lvl8pPr>
            <a:lvl9pPr marL="4094456" indent="0">
              <a:buNone/>
              <a:defRPr sz="2200"/>
            </a:lvl9pPr>
          </a:lstStyle>
          <a:p>
            <a:r>
              <a:rPr lang="en-US" dirty="0"/>
              <a:t>Drag picture to placeholder </a:t>
            </a:r>
            <a:br>
              <a:rPr lang="en-US" dirty="0"/>
            </a:br>
            <a:r>
              <a:rPr lang="en-US" dirty="0"/>
              <a:t>or click icon to add</a:t>
            </a:r>
            <a:br>
              <a:rPr lang="en-US" dirty="0"/>
            </a:br>
            <a:r>
              <a:rPr lang="en-US" dirty="0"/>
              <a:t>(150 DPI </a:t>
            </a:r>
            <a:r>
              <a:rPr lang="en-US" dirty="0" err="1"/>
              <a:t>PNG</a:t>
            </a:r>
            <a:r>
              <a:rPr lang="en-US" dirty="0"/>
              <a:t> file recommended)</a:t>
            </a:r>
          </a:p>
        </p:txBody>
      </p:sp>
      <p:sp>
        <p:nvSpPr>
          <p:cNvPr id="5" name="Slide Number Placeholder 4"/>
          <p:cNvSpPr>
            <a:spLocks noGrp="1"/>
          </p:cNvSpPr>
          <p:nvPr>
            <p:ph type="sldNum" sz="quarter" idx="16"/>
          </p:nvPr>
        </p:nvSpPr>
        <p:spPr/>
        <p:txBody>
          <a:bodyPr/>
          <a:lstStyle/>
          <a:p>
            <a:fld id="{23750D03-48AD-2741-AECD-41D901562598}" type="slidenum">
              <a:rPr lang="en-US" smtClean="0"/>
              <a:pPr/>
              <a:t>‹#›</a:t>
            </a:fld>
            <a:endParaRPr lang="en-US" dirty="0"/>
          </a:p>
        </p:txBody>
      </p:sp>
      <p:sp>
        <p:nvSpPr>
          <p:cNvPr id="3" name="Title 2"/>
          <p:cNvSpPr>
            <a:spLocks noGrp="1"/>
          </p:cNvSpPr>
          <p:nvPr>
            <p:ph type="title"/>
          </p:nvPr>
        </p:nvSpPr>
        <p:spPr/>
        <p:txBody>
          <a:bodyPr/>
          <a:lstStyle/>
          <a:p>
            <a:r>
              <a:rPr lang="en-US"/>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8103314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2 Content">
    <p:spTree>
      <p:nvGrpSpPr>
        <p:cNvPr id="1" name=""/>
        <p:cNvGrpSpPr/>
        <p:nvPr/>
      </p:nvGrpSpPr>
      <p:grpSpPr>
        <a:xfrm>
          <a:off x="0" y="0"/>
          <a:ext cx="0" cy="0"/>
          <a:chOff x="0" y="0"/>
          <a:chExt cx="0" cy="0"/>
        </a:xfrm>
      </p:grpSpPr>
      <p:sp>
        <p:nvSpPr>
          <p:cNvPr id="8" name="Content Placeholder 2"/>
          <p:cNvSpPr>
            <a:spLocks noGrp="1"/>
          </p:cNvSpPr>
          <p:nvPr>
            <p:ph sz="half" idx="1" hasCustomPrompt="1"/>
          </p:nvPr>
        </p:nvSpPr>
        <p:spPr>
          <a:xfrm>
            <a:off x="429257" y="1608673"/>
            <a:ext cx="3846883" cy="4028153"/>
          </a:xfrm>
        </p:spPr>
        <p:txBody>
          <a:bodyPr lIns="0" tIns="0" rIns="0" bIns="0">
            <a:noAutofit/>
          </a:bodyPr>
          <a:lstStyle>
            <a:lvl1pPr marL="0" indent="0">
              <a:lnSpc>
                <a:spcPts val="2400"/>
              </a:lnSpc>
              <a:spcAft>
                <a:spcPts val="800"/>
              </a:spcAft>
              <a:buNone/>
              <a:defRPr sz="1600">
                <a:solidFill>
                  <a:srgbClr val="007DBA"/>
                </a:solidFill>
              </a:defRPr>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dirty="0"/>
              <a:t>Click to add text</a:t>
            </a:r>
          </a:p>
        </p:txBody>
      </p:sp>
      <p:sp>
        <p:nvSpPr>
          <p:cNvPr id="14" name="Content Placeholder 2"/>
          <p:cNvSpPr>
            <a:spLocks noGrp="1"/>
          </p:cNvSpPr>
          <p:nvPr>
            <p:ph idx="14" hasCustomPrompt="1"/>
          </p:nvPr>
        </p:nvSpPr>
        <p:spPr>
          <a:xfrm>
            <a:off x="4536030" y="1608673"/>
            <a:ext cx="7245343" cy="4028153"/>
          </a:xfrm>
        </p:spPr>
        <p:txBody>
          <a:bodyPr lIns="0" tIns="0" rIns="0" bIns="0">
            <a:noAutofit/>
          </a:bodyPr>
          <a:lstStyle>
            <a:lvl1pPr>
              <a:spcAft>
                <a:spcPts val="576"/>
              </a:spcAft>
              <a:buClr>
                <a:srgbClr val="007DBA"/>
              </a:buClr>
              <a:defRPr sz="2000">
                <a:solidFill>
                  <a:srgbClr val="101D3A"/>
                </a:solidFill>
              </a:defRPr>
            </a:lvl1pPr>
            <a:lvl2pPr>
              <a:spcAft>
                <a:spcPts val="576"/>
              </a:spcAft>
              <a:buClr>
                <a:srgbClr val="007DBA"/>
              </a:buClr>
              <a:defRPr sz="2000">
                <a:solidFill>
                  <a:srgbClr val="101D3A"/>
                </a:solidFill>
              </a:defRPr>
            </a:lvl2pPr>
            <a:lvl3pPr>
              <a:spcAft>
                <a:spcPts val="576"/>
              </a:spcAft>
              <a:buClr>
                <a:srgbClr val="007DBA"/>
              </a:buClr>
              <a:defRPr sz="1800">
                <a:solidFill>
                  <a:srgbClr val="101D3A"/>
                </a:solidFill>
              </a:defRPr>
            </a:lvl3pPr>
            <a:lvl4pPr>
              <a:spcAft>
                <a:spcPts val="576"/>
              </a:spcAft>
              <a:buClr>
                <a:srgbClr val="007DBA"/>
              </a:buClr>
              <a:defRPr sz="1600">
                <a:solidFill>
                  <a:srgbClr val="101D3A"/>
                </a:solidFill>
              </a:defRPr>
            </a:lvl4pPr>
            <a:lvl5pPr>
              <a:spcAft>
                <a:spcPts val="576"/>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6"/>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42083263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Content+Photo">
    <p:spTree>
      <p:nvGrpSpPr>
        <p:cNvPr id="1" name=""/>
        <p:cNvGrpSpPr/>
        <p:nvPr/>
      </p:nvGrpSpPr>
      <p:grpSpPr>
        <a:xfrm>
          <a:off x="0" y="0"/>
          <a:ext cx="0" cy="0"/>
          <a:chOff x="0" y="0"/>
          <a:chExt cx="0" cy="0"/>
        </a:xfrm>
      </p:grpSpPr>
      <p:sp>
        <p:nvSpPr>
          <p:cNvPr id="12" name="Content Placeholder 2"/>
          <p:cNvSpPr>
            <a:spLocks noGrp="1"/>
          </p:cNvSpPr>
          <p:nvPr>
            <p:ph idx="1" hasCustomPrompt="1"/>
          </p:nvPr>
        </p:nvSpPr>
        <p:spPr>
          <a:xfrm>
            <a:off x="429259" y="1608673"/>
            <a:ext cx="6272155" cy="4028153"/>
          </a:xfrm>
        </p:spPr>
        <p:txBody>
          <a:bodyPr lIns="0" tIns="0" rIns="0" bIns="0"/>
          <a:lstStyle>
            <a:lvl1pPr>
              <a:lnSpc>
                <a:spcPct val="90000"/>
              </a:lnSpc>
              <a:spcBef>
                <a:spcPts val="600"/>
              </a:spcBef>
              <a:spcAft>
                <a:spcPts val="800"/>
              </a:spcAft>
              <a:buClr>
                <a:srgbClr val="007DBA"/>
              </a:buClr>
              <a:defRPr sz="2000">
                <a:solidFill>
                  <a:srgbClr val="101D3A"/>
                </a:solidFill>
              </a:defRPr>
            </a:lvl1pPr>
            <a:lvl2pPr>
              <a:lnSpc>
                <a:spcPct val="90000"/>
              </a:lnSpc>
              <a:spcBef>
                <a:spcPts val="600"/>
              </a:spcBef>
              <a:spcAft>
                <a:spcPts val="800"/>
              </a:spcAft>
              <a:buClr>
                <a:srgbClr val="007DBA"/>
              </a:buClr>
              <a:defRPr sz="2000">
                <a:solidFill>
                  <a:srgbClr val="101D3A"/>
                </a:solidFill>
              </a:defRPr>
            </a:lvl2pPr>
            <a:lvl3pPr>
              <a:lnSpc>
                <a:spcPct val="90000"/>
              </a:lnSpc>
              <a:spcBef>
                <a:spcPts val="600"/>
              </a:spcBef>
              <a:spcAft>
                <a:spcPts val="800"/>
              </a:spcAft>
              <a:buClr>
                <a:srgbClr val="007DBA"/>
              </a:buClr>
              <a:defRPr sz="1800">
                <a:solidFill>
                  <a:srgbClr val="101D3A"/>
                </a:solidFill>
              </a:defRPr>
            </a:lvl3pPr>
            <a:lvl4pPr>
              <a:lnSpc>
                <a:spcPct val="90000"/>
              </a:lnSpc>
              <a:spcBef>
                <a:spcPts val="600"/>
              </a:spcBef>
              <a:spcAft>
                <a:spcPts val="800"/>
              </a:spcAft>
              <a:buClr>
                <a:srgbClr val="007DBA"/>
              </a:buClr>
              <a:defRPr sz="1600">
                <a:solidFill>
                  <a:srgbClr val="101D3A"/>
                </a:solidFill>
              </a:defRPr>
            </a:lvl4pPr>
            <a:lvl5pPr>
              <a:lnSpc>
                <a:spcPct val="90000"/>
              </a:lnSpc>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Picture Placeholder 2"/>
          <p:cNvSpPr>
            <a:spLocks noGrp="1"/>
          </p:cNvSpPr>
          <p:nvPr>
            <p:ph type="pic" idx="14" hasCustomPrompt="1"/>
          </p:nvPr>
        </p:nvSpPr>
        <p:spPr>
          <a:xfrm>
            <a:off x="6980500" y="1624471"/>
            <a:ext cx="4800873" cy="4012353"/>
          </a:xfrm>
        </p:spPr>
        <p:txBody>
          <a:bodyPr anchor="ctr" anchorCtr="1"/>
          <a:lstStyle>
            <a:lvl1pPr marL="0" indent="0" algn="ctr">
              <a:buNone/>
              <a:defRPr sz="1400"/>
            </a:lvl1pPr>
            <a:lvl2pPr marL="511807" indent="0">
              <a:buNone/>
              <a:defRPr sz="3100"/>
            </a:lvl2pPr>
            <a:lvl3pPr marL="1023613" indent="0">
              <a:buNone/>
              <a:defRPr sz="2700"/>
            </a:lvl3pPr>
            <a:lvl4pPr marL="1535420" indent="0">
              <a:buNone/>
              <a:defRPr sz="2200"/>
            </a:lvl4pPr>
            <a:lvl5pPr marL="2047227" indent="0">
              <a:buNone/>
              <a:defRPr sz="2200"/>
            </a:lvl5pPr>
            <a:lvl6pPr marL="2559035" indent="0">
              <a:buNone/>
              <a:defRPr sz="2200"/>
            </a:lvl6pPr>
            <a:lvl7pPr marL="3070842" indent="0">
              <a:buNone/>
              <a:defRPr sz="2200"/>
            </a:lvl7pPr>
            <a:lvl8pPr marL="3582649" indent="0">
              <a:buNone/>
              <a:defRPr sz="2200"/>
            </a:lvl8pPr>
            <a:lvl9pPr marL="4094456" indent="0">
              <a:buNone/>
              <a:defRPr sz="2200"/>
            </a:lvl9pPr>
          </a:lstStyle>
          <a:p>
            <a:r>
              <a:rPr lang="en-US" dirty="0"/>
              <a:t>Drag picture to placeholder </a:t>
            </a:r>
            <a:br>
              <a:rPr lang="en-US" dirty="0"/>
            </a:br>
            <a:r>
              <a:rPr lang="en-US" dirty="0"/>
              <a:t>or click icon to add</a:t>
            </a:r>
            <a:br>
              <a:rPr lang="en-US" dirty="0"/>
            </a:br>
            <a:r>
              <a:rPr lang="en-US" dirty="0"/>
              <a:t>(150 DPI </a:t>
            </a:r>
            <a:r>
              <a:rPr lang="en-US" dirty="0" err="1"/>
              <a:t>PNG</a:t>
            </a:r>
            <a:r>
              <a:rPr lang="en-US" dirty="0"/>
              <a:t> file recommended)</a:t>
            </a:r>
          </a:p>
        </p:txBody>
      </p:sp>
      <p:sp>
        <p:nvSpPr>
          <p:cNvPr id="3" name="Slide Number Placeholder 2"/>
          <p:cNvSpPr>
            <a:spLocks noGrp="1"/>
          </p:cNvSpPr>
          <p:nvPr>
            <p:ph type="sldNum" sz="quarter" idx="16"/>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0580995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Content+Graph">
    <p:spTree>
      <p:nvGrpSpPr>
        <p:cNvPr id="1" name=""/>
        <p:cNvGrpSpPr/>
        <p:nvPr/>
      </p:nvGrpSpPr>
      <p:grpSpPr>
        <a:xfrm>
          <a:off x="0" y="0"/>
          <a:ext cx="0" cy="0"/>
          <a:chOff x="0" y="0"/>
          <a:chExt cx="0" cy="0"/>
        </a:xfrm>
      </p:grpSpPr>
      <p:sp>
        <p:nvSpPr>
          <p:cNvPr id="13" name="Content Placeholder 2"/>
          <p:cNvSpPr>
            <a:spLocks noGrp="1"/>
          </p:cNvSpPr>
          <p:nvPr>
            <p:ph idx="13" hasCustomPrompt="1"/>
          </p:nvPr>
        </p:nvSpPr>
        <p:spPr>
          <a:xfrm>
            <a:off x="6980495" y="1608673"/>
            <a:ext cx="4894808" cy="4028153"/>
          </a:xfrm>
        </p:spPr>
        <p:txBody>
          <a:bodyPr/>
          <a:lstStyle>
            <a:lvl1pPr marL="0" indent="0">
              <a:spcAft>
                <a:spcPts val="800"/>
              </a:spcAft>
              <a:buNone/>
              <a:defRPr>
                <a:solidFill>
                  <a:srgbClr val="101D3A"/>
                </a:solidFill>
              </a:defRPr>
            </a:lvl1pPr>
            <a:lvl2pPr>
              <a:defRPr>
                <a:solidFill>
                  <a:srgbClr val="101D3A"/>
                </a:solidFill>
              </a:defRPr>
            </a:lvl2pPr>
            <a:lvl3pPr>
              <a:defRPr>
                <a:solidFill>
                  <a:srgbClr val="101D3A"/>
                </a:solidFill>
              </a:defRPr>
            </a:lvl3pPr>
            <a:lvl4pPr>
              <a:defRPr>
                <a:solidFill>
                  <a:srgbClr val="101D3A"/>
                </a:solidFill>
              </a:defRPr>
            </a:lvl4pPr>
            <a:lvl5pPr>
              <a:defRPr>
                <a:solidFill>
                  <a:srgbClr val="101D3A"/>
                </a:solidFill>
              </a:defRPr>
            </a:lvl5pPr>
          </a:lstStyle>
          <a:p>
            <a:pPr lvl="0"/>
            <a:r>
              <a:rPr lang="en-US" dirty="0"/>
              <a:t>Click to add text</a:t>
            </a:r>
          </a:p>
        </p:txBody>
      </p:sp>
      <p:sp>
        <p:nvSpPr>
          <p:cNvPr id="8" name="Content Placeholder 2"/>
          <p:cNvSpPr>
            <a:spLocks noGrp="1"/>
          </p:cNvSpPr>
          <p:nvPr>
            <p:ph idx="1" hasCustomPrompt="1"/>
          </p:nvPr>
        </p:nvSpPr>
        <p:spPr>
          <a:xfrm>
            <a:off x="429259" y="1608673"/>
            <a:ext cx="6272155" cy="4028153"/>
          </a:xfrm>
        </p:spPr>
        <p:txBody>
          <a:bodyPr lIns="0" tIns="0" rIns="0" bIns="0"/>
          <a:lstStyle>
            <a:lvl1pPr>
              <a:lnSpc>
                <a:spcPct val="90000"/>
              </a:lnSpc>
              <a:spcBef>
                <a:spcPts val="600"/>
              </a:spcBef>
              <a:spcAft>
                <a:spcPts val="800"/>
              </a:spcAft>
              <a:buClr>
                <a:srgbClr val="007DBA"/>
              </a:buClr>
              <a:defRPr sz="2000">
                <a:solidFill>
                  <a:srgbClr val="101D3A"/>
                </a:solidFill>
              </a:defRPr>
            </a:lvl1pPr>
            <a:lvl2pPr>
              <a:lnSpc>
                <a:spcPct val="90000"/>
              </a:lnSpc>
              <a:spcBef>
                <a:spcPts val="600"/>
              </a:spcBef>
              <a:spcAft>
                <a:spcPts val="800"/>
              </a:spcAft>
              <a:buClr>
                <a:srgbClr val="007DBA"/>
              </a:buClr>
              <a:defRPr sz="2000">
                <a:solidFill>
                  <a:srgbClr val="101D3A"/>
                </a:solidFill>
              </a:defRPr>
            </a:lvl2pPr>
            <a:lvl3pPr>
              <a:lnSpc>
                <a:spcPct val="90000"/>
              </a:lnSpc>
              <a:spcBef>
                <a:spcPts val="600"/>
              </a:spcBef>
              <a:spcAft>
                <a:spcPts val="800"/>
              </a:spcAft>
              <a:buClr>
                <a:srgbClr val="007DBA"/>
              </a:buClr>
              <a:defRPr sz="1800">
                <a:solidFill>
                  <a:srgbClr val="101D3A"/>
                </a:solidFill>
              </a:defRPr>
            </a:lvl3pPr>
            <a:lvl4pPr>
              <a:lnSpc>
                <a:spcPct val="90000"/>
              </a:lnSpc>
              <a:spcBef>
                <a:spcPts val="600"/>
              </a:spcBef>
              <a:spcAft>
                <a:spcPts val="800"/>
              </a:spcAft>
              <a:buClr>
                <a:srgbClr val="007DBA"/>
              </a:buClr>
              <a:defRPr sz="1600">
                <a:solidFill>
                  <a:srgbClr val="101D3A"/>
                </a:solidFill>
              </a:defRPr>
            </a:lvl4pPr>
            <a:lvl5pPr>
              <a:lnSpc>
                <a:spcPct val="90000"/>
              </a:lnSpc>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5"/>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159639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3 Content">
    <p:spTree>
      <p:nvGrpSpPr>
        <p:cNvPr id="1" name=""/>
        <p:cNvGrpSpPr/>
        <p:nvPr/>
      </p:nvGrpSpPr>
      <p:grpSpPr>
        <a:xfrm>
          <a:off x="0" y="0"/>
          <a:ext cx="0" cy="0"/>
          <a:chOff x="0" y="0"/>
          <a:chExt cx="0" cy="0"/>
        </a:xfrm>
      </p:grpSpPr>
      <p:sp>
        <p:nvSpPr>
          <p:cNvPr id="29" name="Content Placeholder 3"/>
          <p:cNvSpPr>
            <a:spLocks noGrp="1"/>
          </p:cNvSpPr>
          <p:nvPr>
            <p:ph sz="half" idx="2" hasCustomPrompt="1"/>
          </p:nvPr>
        </p:nvSpPr>
        <p:spPr>
          <a:xfrm>
            <a:off x="429257" y="1605796"/>
            <a:ext cx="11352109" cy="646544"/>
          </a:xfrm>
        </p:spPr>
        <p:txBody>
          <a:bodyPr>
            <a:normAutofit/>
          </a:bodyPr>
          <a:lstStyle>
            <a:lvl1pPr marL="0" indent="0">
              <a:buNone/>
              <a:defRPr sz="1800">
                <a:solidFill>
                  <a:schemeClr val="tx2"/>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0" name="Content Placeholder 3"/>
          <p:cNvSpPr>
            <a:spLocks noGrp="1"/>
          </p:cNvSpPr>
          <p:nvPr>
            <p:ph sz="half" idx="13" hasCustomPrompt="1"/>
          </p:nvPr>
        </p:nvSpPr>
        <p:spPr>
          <a:xfrm>
            <a:off x="429263" y="2290754"/>
            <a:ext cx="3540772"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3" name="Content Placeholder 3"/>
          <p:cNvSpPr>
            <a:spLocks noGrp="1"/>
          </p:cNvSpPr>
          <p:nvPr>
            <p:ph sz="half" idx="14" hasCustomPrompt="1"/>
          </p:nvPr>
        </p:nvSpPr>
        <p:spPr>
          <a:xfrm>
            <a:off x="4349757" y="2290754"/>
            <a:ext cx="3525948"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4" name="Content Placeholder 3"/>
          <p:cNvSpPr>
            <a:spLocks noGrp="1"/>
          </p:cNvSpPr>
          <p:nvPr>
            <p:ph sz="half" idx="15" hasCustomPrompt="1"/>
          </p:nvPr>
        </p:nvSpPr>
        <p:spPr>
          <a:xfrm>
            <a:off x="8255425" y="2290754"/>
            <a:ext cx="3525948"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 name="Slide Number Placeholder 2"/>
          <p:cNvSpPr>
            <a:spLocks noGrp="1"/>
          </p:cNvSpPr>
          <p:nvPr>
            <p:ph type="sldNum" sz="quarter" idx="17"/>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7461747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2765195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3750D03-48AD-2741-AECD-41D901562598}" type="slidenum">
              <a:rPr lang="en-US" smtClean="0"/>
              <a:pPr/>
              <a:t>‹#›</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40550644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35213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3">
    <p:bg>
      <p:bgPr>
        <a:solidFill>
          <a:srgbClr val="13294B"/>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a:defRPr>
                <a:solidFill>
                  <a:schemeClr val="bg1"/>
                </a:solidFill>
              </a:defRPr>
            </a:lvl1pPr>
          </a:lstStyle>
          <a:p>
            <a:fld id="{23750D03-48AD-2741-AECD-41D901562598}" type="slidenum">
              <a:rPr lang="en-US" smtClean="0"/>
              <a:pPr/>
              <a:t>‹#›</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199"/>
          </a:xfrm>
          <a:prstGeom prst="rect">
            <a:avLst/>
          </a:prstGeom>
        </p:spPr>
      </p:pic>
    </p:spTree>
    <p:extLst>
      <p:ext uri="{BB962C8B-B14F-4D97-AF65-F5344CB8AC3E}">
        <p14:creationId xmlns:p14="http://schemas.microsoft.com/office/powerpoint/2010/main" val="38875057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497840" y="451413"/>
            <a:ext cx="11226800" cy="1139881"/>
          </a:xfrm>
        </p:spPr>
        <p:txBody>
          <a:bodyPr/>
          <a:lstStyle>
            <a:lvl1pPr>
              <a:defRPr sz="26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497840" y="1816924"/>
            <a:ext cx="5477792" cy="4004755"/>
          </a:xfrm>
        </p:spPr>
        <p:txBody>
          <a:bodyPr>
            <a:noAutofit/>
          </a:bodyPr>
          <a:lstStyle>
            <a:lvl1pPr>
              <a:buFont typeface="+mj-lt"/>
              <a:buAutoNum type="arabicPeriod"/>
              <a:defRPr/>
            </a:lvl1pPr>
          </a:lstStyle>
          <a:p>
            <a:pPr lvl="0"/>
            <a:r>
              <a:rPr lang="en-US" dirty="0"/>
              <a:t>Edit Master text styles</a:t>
            </a:r>
          </a:p>
        </p:txBody>
      </p:sp>
      <p:sp>
        <p:nvSpPr>
          <p:cNvPr id="5" name="Slide Number Placeholder 3">
            <a:extLst>
              <a:ext uri="{FF2B5EF4-FFF2-40B4-BE49-F238E27FC236}">
                <a16:creationId xmlns:a16="http://schemas.microsoft.com/office/drawing/2014/main" id="{C5F94200-7FC0-9A4E-A413-F6E00934AD12}"/>
              </a:ext>
            </a:extLst>
          </p:cNvPr>
          <p:cNvSpPr>
            <a:spLocks noGrp="1"/>
          </p:cNvSpPr>
          <p:nvPr>
            <p:ph type="sldNum" sz="quarter" idx="4"/>
          </p:nvPr>
        </p:nvSpPr>
        <p:spPr>
          <a:xfrm>
            <a:off x="11715213" y="6568291"/>
            <a:ext cx="467360" cy="284997"/>
          </a:xfrm>
          <a:prstGeom prst="rect">
            <a:avLst/>
          </a:prstGeom>
        </p:spPr>
        <p:txBody>
          <a:bodyPr vert="horz" lIns="91440" tIns="45720" rIns="91440" bIns="45720" rtlCol="0" anchor="ctr"/>
          <a:lstStyle>
            <a:lvl1pPr algn="r">
              <a:defRPr sz="1100">
                <a:solidFill>
                  <a:schemeClr val="tx1">
                    <a:tint val="75000"/>
                  </a:schemeClr>
                </a:solidFill>
              </a:defRPr>
            </a:lvl1pPr>
          </a:lstStyle>
          <a:p>
            <a:fld id="{1904728E-9179-7340-B99F-8A5623059787}" type="slidenum">
              <a:rPr lang="en-US" smtClean="0"/>
              <a:pPr/>
              <a:t>‹#›</a:t>
            </a:fld>
            <a:endParaRPr lang="en-US" sz="1100" dirty="0"/>
          </a:p>
        </p:txBody>
      </p:sp>
      <p:sp>
        <p:nvSpPr>
          <p:cNvPr id="7" name="Text Placeholder 5">
            <a:extLst>
              <a:ext uri="{FF2B5EF4-FFF2-40B4-BE49-F238E27FC236}">
                <a16:creationId xmlns:a16="http://schemas.microsoft.com/office/drawing/2014/main" id="{957D897E-3A74-704A-9640-6EBF4A423268}"/>
              </a:ext>
            </a:extLst>
          </p:cNvPr>
          <p:cNvSpPr>
            <a:spLocks noGrp="1"/>
          </p:cNvSpPr>
          <p:nvPr>
            <p:ph type="body" sz="quarter" idx="11"/>
          </p:nvPr>
        </p:nvSpPr>
        <p:spPr>
          <a:xfrm>
            <a:off x="497840" y="6061724"/>
            <a:ext cx="6909435" cy="716147"/>
          </a:xfrm>
        </p:spPr>
        <p:txBody>
          <a:bodyPr anchor="b"/>
          <a:lstStyle>
            <a:lvl1pPr>
              <a:spcBef>
                <a:spcPts val="0"/>
              </a:spcBef>
              <a:spcAft>
                <a:spcPts val="0"/>
              </a:spcAft>
              <a:buNone/>
              <a:defRPr sz="1000"/>
            </a:lvl1pPr>
            <a:lvl2pPr>
              <a:buNone/>
              <a:defRPr sz="1000"/>
            </a:lvl2pPr>
            <a:lvl3pPr>
              <a:buNone/>
              <a:defRPr sz="1000"/>
            </a:lvl3pPr>
            <a:lvl4pPr>
              <a:buNone/>
              <a:defRPr sz="1000"/>
            </a:lvl4pPr>
            <a:lvl5pPr>
              <a:buNone/>
              <a:defRPr sz="1000"/>
            </a:lvl5pPr>
          </a:lstStyle>
          <a:p>
            <a:pPr lvl="0"/>
            <a:r>
              <a:rPr lang="en-US" dirty="0"/>
              <a:t>Click to edit Master text styles</a:t>
            </a:r>
          </a:p>
        </p:txBody>
      </p:sp>
    </p:spTree>
    <p:extLst>
      <p:ext uri="{BB962C8B-B14F-4D97-AF65-F5344CB8AC3E}">
        <p14:creationId xmlns:p14="http://schemas.microsoft.com/office/powerpoint/2010/main" val="1344870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rgbClr val="B34D59"/>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92455"/>
            <a:ext cx="6774777" cy="555473"/>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720380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8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41239128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7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33952094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30203193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5043371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583610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6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20122027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7539419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975066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07612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4" hasCustomPrompt="1"/>
          </p:nvPr>
        </p:nvSpPr>
        <p:spPr>
          <a:xfrm>
            <a:off x="0" y="1671637"/>
            <a:ext cx="12192000" cy="2138363"/>
          </a:xfrm>
          <a:prstGeom prst="rect">
            <a:avLst/>
          </a:prstGeom>
          <a:solidFill>
            <a:srgbClr val="449AAC"/>
          </a:solidFill>
        </p:spPr>
        <p:txBody>
          <a:bodyPr anchor="ctr"/>
          <a:lstStyle>
            <a:lvl1pPr marL="0" indent="0" algn="ctr">
              <a:buNone/>
              <a:defRPr sz="4000">
                <a:solidFill>
                  <a:schemeClr val="accent6"/>
                </a:solidFill>
              </a:defRPr>
            </a:lvl1pPr>
          </a:lstStyle>
          <a:p>
            <a:r>
              <a:rPr lang="en-US" dirty="0"/>
              <a:t>Presentation Title Here</a:t>
            </a:r>
          </a:p>
        </p:txBody>
      </p:sp>
      <p:sp>
        <p:nvSpPr>
          <p:cNvPr id="7" name="Subtitle 3"/>
          <p:cNvSpPr>
            <a:spLocks noGrp="1"/>
          </p:cNvSpPr>
          <p:nvPr>
            <p:ph type="subTitle" idx="1" hasCustomPrompt="1"/>
          </p:nvPr>
        </p:nvSpPr>
        <p:spPr>
          <a:xfrm>
            <a:off x="609600" y="4189445"/>
            <a:ext cx="10972800" cy="431108"/>
          </a:xfrm>
          <a:prstGeom prst="rect">
            <a:avLst/>
          </a:prstGeom>
        </p:spPr>
        <p:txBody>
          <a:bodyPr anchor="ctr"/>
          <a:lstStyle>
            <a:lvl1pPr marL="0" indent="0">
              <a:buNone/>
              <a:defRPr b="1">
                <a:solidFill>
                  <a:srgbClr val="449AAC"/>
                </a:solidFill>
              </a:defRPr>
            </a:lvl1pPr>
          </a:lstStyle>
          <a:p>
            <a:r>
              <a:rPr lang="en-US" dirty="0"/>
              <a:t>Presenter’s Name Here</a:t>
            </a:r>
          </a:p>
        </p:txBody>
      </p:sp>
      <p:sp>
        <p:nvSpPr>
          <p:cNvPr id="8" name="Text Placeholder 4"/>
          <p:cNvSpPr>
            <a:spLocks noGrp="1"/>
          </p:cNvSpPr>
          <p:nvPr>
            <p:ph type="body" sz="quarter" idx="13" hasCustomPrompt="1"/>
          </p:nvPr>
        </p:nvSpPr>
        <p:spPr>
          <a:xfrm>
            <a:off x="609600" y="4620552"/>
            <a:ext cx="10972800" cy="1295400"/>
          </a:xfrm>
          <a:prstGeom prst="rect">
            <a:avLst/>
          </a:prstGeom>
        </p:spPr>
        <p:txBody>
          <a:bodyPr/>
          <a:lstStyle>
            <a:lvl1pPr marL="0" indent="0">
              <a:buNone/>
              <a:defRPr sz="2200" i="1">
                <a:solidFill>
                  <a:schemeClr val="tx1"/>
                </a:solidFill>
              </a:defRPr>
            </a:lvl1pPr>
          </a:lstStyle>
          <a:p>
            <a:r>
              <a:rPr lang="en-US" dirty="0"/>
              <a:t>Presenter’s Affiliation Here</a:t>
            </a:r>
          </a:p>
        </p:txBody>
      </p:sp>
      <p:pic>
        <p:nvPicPr>
          <p:cNvPr id="3" name="Picture 2" descr="A close up of a sign&#10;&#10;Description automatically generated">
            <a:extLst>
              <a:ext uri="{FF2B5EF4-FFF2-40B4-BE49-F238E27FC236}">
                <a16:creationId xmlns:a16="http://schemas.microsoft.com/office/drawing/2014/main" id="{19CDB3E9-C9E2-B84A-A04E-91A6B20A03D6}"/>
              </a:ext>
            </a:extLst>
          </p:cNvPr>
          <p:cNvPicPr>
            <a:picLocks noChangeAspect="1"/>
          </p:cNvPicPr>
          <p:nvPr userDrawn="1"/>
        </p:nvPicPr>
        <p:blipFill>
          <a:blip r:embed="rId2"/>
          <a:stretch>
            <a:fillRect/>
          </a:stretch>
        </p:blipFill>
        <p:spPr>
          <a:xfrm>
            <a:off x="8566727" y="376238"/>
            <a:ext cx="3096768" cy="778423"/>
          </a:xfrm>
          <a:prstGeom prst="rect">
            <a:avLst/>
          </a:prstGeom>
        </p:spPr>
      </p:pic>
    </p:spTree>
    <p:extLst>
      <p:ext uri="{BB962C8B-B14F-4D97-AF65-F5344CB8AC3E}">
        <p14:creationId xmlns:p14="http://schemas.microsoft.com/office/powerpoint/2010/main" val="39380537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ontent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347959"/>
            <a:ext cx="12192000" cy="1069680"/>
          </a:xfrm>
          <a:prstGeom prst="rect">
            <a:avLst/>
          </a:prstGeom>
        </p:spPr>
        <p:txBody>
          <a:bodyPr anchor="ctr"/>
          <a:lstStyle>
            <a:lvl1pPr algn="ctr">
              <a:defRPr sz="4000">
                <a:solidFill>
                  <a:schemeClr val="bg1"/>
                </a:solidFill>
              </a:defRPr>
            </a:lvl1pPr>
          </a:lstStyle>
          <a:p>
            <a:r>
              <a:rPr lang="en-US" dirty="0"/>
              <a:t>Click to add title</a:t>
            </a:r>
          </a:p>
        </p:txBody>
      </p:sp>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8" name="Content Placeholder 3"/>
          <p:cNvSpPr>
            <a:spLocks noGrp="1"/>
          </p:cNvSpPr>
          <p:nvPr>
            <p:ph sz="quarter" idx="14"/>
          </p:nvPr>
        </p:nvSpPr>
        <p:spPr>
          <a:xfrm>
            <a:off x="609600" y="1566751"/>
            <a:ext cx="10972800" cy="463984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82429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endParaRPr>
          </a:p>
        </p:txBody>
      </p:sp>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Tree>
    <p:extLst>
      <p:ext uri="{BB962C8B-B14F-4D97-AF65-F5344CB8AC3E}">
        <p14:creationId xmlns:p14="http://schemas.microsoft.com/office/powerpoint/2010/main" val="36073902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Bullets">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429257" y="1608674"/>
            <a:ext cx="11352109" cy="4028153"/>
          </a:xfrm>
        </p:spPr>
        <p:txBody>
          <a:bodyPr lIns="0" tIns="0" rIns="0" bIns="0"/>
          <a:lstStyle>
            <a:lvl1pPr>
              <a:spcBef>
                <a:spcPts val="600"/>
              </a:spcBef>
              <a:spcAft>
                <a:spcPts val="800"/>
              </a:spcAft>
              <a:buClr>
                <a:srgbClr val="007DBA"/>
              </a:buClr>
              <a:defRPr sz="2000">
                <a:solidFill>
                  <a:srgbClr val="101D3A"/>
                </a:solidFill>
              </a:defRPr>
            </a:lvl1pPr>
            <a:lvl2pPr>
              <a:spcBef>
                <a:spcPts val="600"/>
              </a:spcBef>
              <a:spcAft>
                <a:spcPts val="800"/>
              </a:spcAft>
              <a:buClr>
                <a:srgbClr val="007DBA"/>
              </a:buClr>
              <a:defRPr sz="2000">
                <a:solidFill>
                  <a:srgbClr val="101D3A"/>
                </a:solidFill>
              </a:defRPr>
            </a:lvl2pPr>
            <a:lvl3pPr>
              <a:spcBef>
                <a:spcPts val="600"/>
              </a:spcBef>
              <a:spcAft>
                <a:spcPts val="800"/>
              </a:spcAft>
              <a:buClr>
                <a:srgbClr val="007DBA"/>
              </a:buClr>
              <a:defRPr sz="1800">
                <a:solidFill>
                  <a:srgbClr val="101D3A"/>
                </a:solidFill>
              </a:defRPr>
            </a:lvl3pPr>
            <a:lvl4pPr>
              <a:spcBef>
                <a:spcPts val="600"/>
              </a:spcBef>
              <a:spcAft>
                <a:spcPts val="800"/>
              </a:spcAft>
              <a:buClr>
                <a:srgbClr val="007DBA"/>
              </a:buClr>
              <a:defRPr sz="1600">
                <a:solidFill>
                  <a:srgbClr val="101D3A"/>
                </a:solidFill>
              </a:defRPr>
            </a:lvl4pPr>
            <a:lvl5pPr>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1"/>
          </p:nvPr>
        </p:nvSpPr>
        <p:spPr/>
        <p:txBody>
          <a:bodyPr/>
          <a:lstStyle>
            <a:lvl1pPr>
              <a:defRPr>
                <a:solidFill>
                  <a:srgbClr val="13294B"/>
                </a:solidFill>
              </a:defRPr>
            </a:lvl1pPr>
          </a:lstStyle>
          <a:p>
            <a:fld id="{23750D03-48AD-2741-AECD-41D901562598}" type="slidenum">
              <a:rPr lang="en-US" smtClean="0"/>
              <a:pPr/>
              <a:t>‹#›</a:t>
            </a:fld>
            <a:endParaRPr lang="en-US" dirty="0"/>
          </a:p>
        </p:txBody>
      </p:sp>
      <p:sp>
        <p:nvSpPr>
          <p:cNvPr id="7" name="Title 6"/>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9" y="6066551"/>
            <a:ext cx="1532659" cy="457200"/>
          </a:xfrm>
          <a:prstGeom prst="rect">
            <a:avLst/>
          </a:prstGeom>
        </p:spPr>
      </p:pic>
    </p:spTree>
    <p:extLst>
      <p:ext uri="{BB962C8B-B14F-4D97-AF65-F5344CB8AC3E}">
        <p14:creationId xmlns:p14="http://schemas.microsoft.com/office/powerpoint/2010/main" val="35938289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Bullets">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429257" y="1608673"/>
            <a:ext cx="11352109" cy="4028153"/>
          </a:xfrm>
        </p:spPr>
        <p:txBody>
          <a:bodyPr lIns="0" tIns="0" rIns="0" bIns="0"/>
          <a:lstStyle>
            <a:lvl1pPr>
              <a:spcBef>
                <a:spcPts val="600"/>
              </a:spcBef>
              <a:spcAft>
                <a:spcPts val="800"/>
              </a:spcAft>
              <a:buClr>
                <a:srgbClr val="007DBA"/>
              </a:buClr>
              <a:defRPr sz="2000">
                <a:solidFill>
                  <a:srgbClr val="101D3A"/>
                </a:solidFill>
              </a:defRPr>
            </a:lvl1pPr>
            <a:lvl2pPr>
              <a:spcBef>
                <a:spcPts val="600"/>
              </a:spcBef>
              <a:spcAft>
                <a:spcPts val="800"/>
              </a:spcAft>
              <a:buClr>
                <a:srgbClr val="007DBA"/>
              </a:buClr>
              <a:defRPr sz="2000">
                <a:solidFill>
                  <a:srgbClr val="101D3A"/>
                </a:solidFill>
              </a:defRPr>
            </a:lvl2pPr>
            <a:lvl3pPr>
              <a:spcBef>
                <a:spcPts val="600"/>
              </a:spcBef>
              <a:spcAft>
                <a:spcPts val="800"/>
              </a:spcAft>
              <a:buClr>
                <a:srgbClr val="007DBA"/>
              </a:buClr>
              <a:defRPr sz="1800">
                <a:solidFill>
                  <a:srgbClr val="101D3A"/>
                </a:solidFill>
              </a:defRPr>
            </a:lvl3pPr>
            <a:lvl4pPr>
              <a:spcBef>
                <a:spcPts val="600"/>
              </a:spcBef>
              <a:spcAft>
                <a:spcPts val="800"/>
              </a:spcAft>
              <a:buClr>
                <a:srgbClr val="007DBA"/>
              </a:buClr>
              <a:defRPr sz="1600">
                <a:solidFill>
                  <a:srgbClr val="101D3A"/>
                </a:solidFill>
              </a:defRPr>
            </a:lvl4pPr>
            <a:lvl5pPr>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1"/>
          </p:nvPr>
        </p:nvSpPr>
        <p:spPr/>
        <p:txBody>
          <a:bodyPr/>
          <a:lstStyle>
            <a:lvl1pPr>
              <a:defRPr>
                <a:solidFill>
                  <a:srgbClr val="13294B"/>
                </a:solidFill>
              </a:defRPr>
            </a:lvl1pPr>
          </a:lstStyle>
          <a:p>
            <a:fld id="{23750D03-48AD-2741-AECD-41D901562598}" type="slidenum">
              <a:rPr lang="en-US" smtClean="0"/>
              <a:pPr/>
              <a:t>‹#›</a:t>
            </a:fld>
            <a:endParaRPr lang="en-US" dirty="0"/>
          </a:p>
        </p:txBody>
      </p:sp>
      <p:sp>
        <p:nvSpPr>
          <p:cNvPr id="7" name="Title 6"/>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6663514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Content+PhotoLeft">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6972300" y="1608673"/>
            <a:ext cx="4809067" cy="4028153"/>
          </a:xfrm>
        </p:spPr>
        <p:txBody>
          <a:bodyPr lIns="0" tIns="0" rIns="0" bIns="0"/>
          <a:lstStyle>
            <a:lvl1pPr marL="287331" indent="-287331">
              <a:lnSpc>
                <a:spcPct val="90000"/>
              </a:lnSpc>
              <a:spcBef>
                <a:spcPts val="600"/>
              </a:spcBef>
              <a:spcAft>
                <a:spcPts val="800"/>
              </a:spcAft>
              <a:buClr>
                <a:srgbClr val="0C68AC"/>
              </a:buClr>
              <a:defRPr sz="2000">
                <a:solidFill>
                  <a:srgbClr val="101D3A"/>
                </a:solidFill>
              </a:defRPr>
            </a:lvl1pPr>
            <a:lvl2pPr>
              <a:lnSpc>
                <a:spcPct val="90000"/>
              </a:lnSpc>
              <a:spcBef>
                <a:spcPts val="600"/>
              </a:spcBef>
              <a:spcAft>
                <a:spcPts val="800"/>
              </a:spcAft>
              <a:buClr>
                <a:srgbClr val="0C68AC"/>
              </a:buClr>
              <a:defRPr sz="2000">
                <a:solidFill>
                  <a:srgbClr val="101D3A"/>
                </a:solidFill>
              </a:defRPr>
            </a:lvl2pPr>
            <a:lvl3pPr>
              <a:lnSpc>
                <a:spcPct val="90000"/>
              </a:lnSpc>
              <a:spcBef>
                <a:spcPts val="600"/>
              </a:spcBef>
              <a:spcAft>
                <a:spcPts val="800"/>
              </a:spcAft>
              <a:buClr>
                <a:srgbClr val="0C68AC"/>
              </a:buClr>
              <a:defRPr sz="1800">
                <a:solidFill>
                  <a:srgbClr val="101D3A"/>
                </a:solidFill>
              </a:defRPr>
            </a:lvl3pPr>
            <a:lvl4pPr>
              <a:lnSpc>
                <a:spcPct val="90000"/>
              </a:lnSpc>
              <a:spcBef>
                <a:spcPts val="600"/>
              </a:spcBef>
              <a:spcAft>
                <a:spcPts val="800"/>
              </a:spcAft>
              <a:buClr>
                <a:srgbClr val="0C68AC"/>
              </a:buClr>
              <a:defRPr sz="1600">
                <a:solidFill>
                  <a:srgbClr val="101D3A"/>
                </a:solidFill>
              </a:defRPr>
            </a:lvl4pPr>
            <a:lvl5pPr>
              <a:lnSpc>
                <a:spcPct val="90000"/>
              </a:lnSpc>
              <a:spcBef>
                <a:spcPts val="600"/>
              </a:spcBef>
              <a:spcAft>
                <a:spcPts val="800"/>
              </a:spcAft>
              <a:buClr>
                <a:srgbClr val="0C68AC"/>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2"/>
          <p:cNvSpPr>
            <a:spLocks noGrp="1"/>
          </p:cNvSpPr>
          <p:nvPr>
            <p:ph type="pic" idx="14" hasCustomPrompt="1"/>
          </p:nvPr>
        </p:nvSpPr>
        <p:spPr>
          <a:xfrm>
            <a:off x="423333" y="1624471"/>
            <a:ext cx="6267451" cy="4012353"/>
          </a:xfrm>
        </p:spPr>
        <p:txBody>
          <a:bodyPr anchor="ctr" anchorCtr="1"/>
          <a:lstStyle>
            <a:lvl1pPr marL="0" indent="0" algn="ctr">
              <a:buNone/>
              <a:defRPr sz="1400"/>
            </a:lvl1pPr>
            <a:lvl2pPr marL="511807" indent="0">
              <a:buNone/>
              <a:defRPr sz="3100"/>
            </a:lvl2pPr>
            <a:lvl3pPr marL="1023613" indent="0">
              <a:buNone/>
              <a:defRPr sz="2700"/>
            </a:lvl3pPr>
            <a:lvl4pPr marL="1535420" indent="0">
              <a:buNone/>
              <a:defRPr sz="2200"/>
            </a:lvl4pPr>
            <a:lvl5pPr marL="2047227" indent="0">
              <a:buNone/>
              <a:defRPr sz="2200"/>
            </a:lvl5pPr>
            <a:lvl6pPr marL="2559035" indent="0">
              <a:buNone/>
              <a:defRPr sz="2200"/>
            </a:lvl6pPr>
            <a:lvl7pPr marL="3070842" indent="0">
              <a:buNone/>
              <a:defRPr sz="2200"/>
            </a:lvl7pPr>
            <a:lvl8pPr marL="3582649" indent="0">
              <a:buNone/>
              <a:defRPr sz="2200"/>
            </a:lvl8pPr>
            <a:lvl9pPr marL="4094456" indent="0">
              <a:buNone/>
              <a:defRPr sz="2200"/>
            </a:lvl9pPr>
          </a:lstStyle>
          <a:p>
            <a:r>
              <a:rPr lang="en-US" dirty="0"/>
              <a:t>Drag picture to placeholder </a:t>
            </a:r>
            <a:br>
              <a:rPr lang="en-US" dirty="0"/>
            </a:br>
            <a:r>
              <a:rPr lang="en-US" dirty="0"/>
              <a:t>or click icon to add</a:t>
            </a:r>
            <a:br>
              <a:rPr lang="en-US" dirty="0"/>
            </a:br>
            <a:r>
              <a:rPr lang="en-US" dirty="0"/>
              <a:t>(150 DPI </a:t>
            </a:r>
            <a:r>
              <a:rPr lang="en-US" dirty="0" err="1"/>
              <a:t>PNG</a:t>
            </a:r>
            <a:r>
              <a:rPr lang="en-US" dirty="0"/>
              <a:t> file recommended)</a:t>
            </a:r>
          </a:p>
        </p:txBody>
      </p:sp>
      <p:sp>
        <p:nvSpPr>
          <p:cNvPr id="5" name="Slide Number Placeholder 4"/>
          <p:cNvSpPr>
            <a:spLocks noGrp="1"/>
          </p:cNvSpPr>
          <p:nvPr>
            <p:ph type="sldNum" sz="quarter" idx="16"/>
          </p:nvPr>
        </p:nvSpPr>
        <p:spPr/>
        <p:txBody>
          <a:bodyPr/>
          <a:lstStyle/>
          <a:p>
            <a:fld id="{23750D03-48AD-2741-AECD-41D901562598}" type="slidenum">
              <a:rPr lang="en-US" smtClean="0"/>
              <a:pPr/>
              <a:t>‹#›</a:t>
            </a:fld>
            <a:endParaRPr lang="en-US" dirty="0"/>
          </a:p>
        </p:txBody>
      </p:sp>
      <p:sp>
        <p:nvSpPr>
          <p:cNvPr id="3" name="Title 2"/>
          <p:cNvSpPr>
            <a:spLocks noGrp="1"/>
          </p:cNvSpPr>
          <p:nvPr>
            <p:ph type="title"/>
          </p:nvPr>
        </p:nvSpPr>
        <p:spPr/>
        <p:txBody>
          <a:bodyPr/>
          <a:lstStyle/>
          <a:p>
            <a:r>
              <a:rPr lang="en-US"/>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20706249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2 Content">
    <p:spTree>
      <p:nvGrpSpPr>
        <p:cNvPr id="1" name=""/>
        <p:cNvGrpSpPr/>
        <p:nvPr/>
      </p:nvGrpSpPr>
      <p:grpSpPr>
        <a:xfrm>
          <a:off x="0" y="0"/>
          <a:ext cx="0" cy="0"/>
          <a:chOff x="0" y="0"/>
          <a:chExt cx="0" cy="0"/>
        </a:xfrm>
      </p:grpSpPr>
      <p:sp>
        <p:nvSpPr>
          <p:cNvPr id="8" name="Content Placeholder 2"/>
          <p:cNvSpPr>
            <a:spLocks noGrp="1"/>
          </p:cNvSpPr>
          <p:nvPr>
            <p:ph sz="half" idx="1" hasCustomPrompt="1"/>
          </p:nvPr>
        </p:nvSpPr>
        <p:spPr>
          <a:xfrm>
            <a:off x="429257" y="1608673"/>
            <a:ext cx="3846883" cy="4028153"/>
          </a:xfrm>
        </p:spPr>
        <p:txBody>
          <a:bodyPr lIns="0" tIns="0" rIns="0" bIns="0">
            <a:noAutofit/>
          </a:bodyPr>
          <a:lstStyle>
            <a:lvl1pPr marL="0" indent="0">
              <a:lnSpc>
                <a:spcPts val="2400"/>
              </a:lnSpc>
              <a:spcAft>
                <a:spcPts val="800"/>
              </a:spcAft>
              <a:buNone/>
              <a:defRPr sz="1600">
                <a:solidFill>
                  <a:srgbClr val="007DBA"/>
                </a:solidFill>
              </a:defRPr>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dirty="0"/>
              <a:t>Click to add text</a:t>
            </a:r>
          </a:p>
        </p:txBody>
      </p:sp>
      <p:sp>
        <p:nvSpPr>
          <p:cNvPr id="14" name="Content Placeholder 2"/>
          <p:cNvSpPr>
            <a:spLocks noGrp="1"/>
          </p:cNvSpPr>
          <p:nvPr>
            <p:ph idx="14" hasCustomPrompt="1"/>
          </p:nvPr>
        </p:nvSpPr>
        <p:spPr>
          <a:xfrm>
            <a:off x="4536030" y="1608673"/>
            <a:ext cx="7245343" cy="4028153"/>
          </a:xfrm>
        </p:spPr>
        <p:txBody>
          <a:bodyPr lIns="0" tIns="0" rIns="0" bIns="0">
            <a:noAutofit/>
          </a:bodyPr>
          <a:lstStyle>
            <a:lvl1pPr>
              <a:spcAft>
                <a:spcPts val="576"/>
              </a:spcAft>
              <a:buClr>
                <a:srgbClr val="007DBA"/>
              </a:buClr>
              <a:defRPr sz="2000">
                <a:solidFill>
                  <a:srgbClr val="101D3A"/>
                </a:solidFill>
              </a:defRPr>
            </a:lvl1pPr>
            <a:lvl2pPr>
              <a:spcAft>
                <a:spcPts val="576"/>
              </a:spcAft>
              <a:buClr>
                <a:srgbClr val="007DBA"/>
              </a:buClr>
              <a:defRPr sz="2000">
                <a:solidFill>
                  <a:srgbClr val="101D3A"/>
                </a:solidFill>
              </a:defRPr>
            </a:lvl2pPr>
            <a:lvl3pPr>
              <a:spcAft>
                <a:spcPts val="576"/>
              </a:spcAft>
              <a:buClr>
                <a:srgbClr val="007DBA"/>
              </a:buClr>
              <a:defRPr sz="1800">
                <a:solidFill>
                  <a:srgbClr val="101D3A"/>
                </a:solidFill>
              </a:defRPr>
            </a:lvl3pPr>
            <a:lvl4pPr>
              <a:spcAft>
                <a:spcPts val="576"/>
              </a:spcAft>
              <a:buClr>
                <a:srgbClr val="007DBA"/>
              </a:buClr>
              <a:defRPr sz="1600">
                <a:solidFill>
                  <a:srgbClr val="101D3A"/>
                </a:solidFill>
              </a:defRPr>
            </a:lvl4pPr>
            <a:lvl5pPr>
              <a:spcAft>
                <a:spcPts val="576"/>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6"/>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24255330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Content+Photo">
    <p:spTree>
      <p:nvGrpSpPr>
        <p:cNvPr id="1" name=""/>
        <p:cNvGrpSpPr/>
        <p:nvPr/>
      </p:nvGrpSpPr>
      <p:grpSpPr>
        <a:xfrm>
          <a:off x="0" y="0"/>
          <a:ext cx="0" cy="0"/>
          <a:chOff x="0" y="0"/>
          <a:chExt cx="0" cy="0"/>
        </a:xfrm>
      </p:grpSpPr>
      <p:sp>
        <p:nvSpPr>
          <p:cNvPr id="12" name="Content Placeholder 2"/>
          <p:cNvSpPr>
            <a:spLocks noGrp="1"/>
          </p:cNvSpPr>
          <p:nvPr>
            <p:ph idx="1" hasCustomPrompt="1"/>
          </p:nvPr>
        </p:nvSpPr>
        <p:spPr>
          <a:xfrm>
            <a:off x="429259" y="1608673"/>
            <a:ext cx="6272155" cy="4028153"/>
          </a:xfrm>
        </p:spPr>
        <p:txBody>
          <a:bodyPr lIns="0" tIns="0" rIns="0" bIns="0"/>
          <a:lstStyle>
            <a:lvl1pPr>
              <a:lnSpc>
                <a:spcPct val="90000"/>
              </a:lnSpc>
              <a:spcBef>
                <a:spcPts val="600"/>
              </a:spcBef>
              <a:spcAft>
                <a:spcPts val="800"/>
              </a:spcAft>
              <a:buClr>
                <a:srgbClr val="007DBA"/>
              </a:buClr>
              <a:defRPr sz="2000">
                <a:solidFill>
                  <a:srgbClr val="101D3A"/>
                </a:solidFill>
              </a:defRPr>
            </a:lvl1pPr>
            <a:lvl2pPr>
              <a:lnSpc>
                <a:spcPct val="90000"/>
              </a:lnSpc>
              <a:spcBef>
                <a:spcPts val="600"/>
              </a:spcBef>
              <a:spcAft>
                <a:spcPts val="800"/>
              </a:spcAft>
              <a:buClr>
                <a:srgbClr val="007DBA"/>
              </a:buClr>
              <a:defRPr sz="2000">
                <a:solidFill>
                  <a:srgbClr val="101D3A"/>
                </a:solidFill>
              </a:defRPr>
            </a:lvl2pPr>
            <a:lvl3pPr>
              <a:lnSpc>
                <a:spcPct val="90000"/>
              </a:lnSpc>
              <a:spcBef>
                <a:spcPts val="600"/>
              </a:spcBef>
              <a:spcAft>
                <a:spcPts val="800"/>
              </a:spcAft>
              <a:buClr>
                <a:srgbClr val="007DBA"/>
              </a:buClr>
              <a:defRPr sz="1800">
                <a:solidFill>
                  <a:srgbClr val="101D3A"/>
                </a:solidFill>
              </a:defRPr>
            </a:lvl3pPr>
            <a:lvl4pPr>
              <a:lnSpc>
                <a:spcPct val="90000"/>
              </a:lnSpc>
              <a:spcBef>
                <a:spcPts val="600"/>
              </a:spcBef>
              <a:spcAft>
                <a:spcPts val="800"/>
              </a:spcAft>
              <a:buClr>
                <a:srgbClr val="007DBA"/>
              </a:buClr>
              <a:defRPr sz="1600">
                <a:solidFill>
                  <a:srgbClr val="101D3A"/>
                </a:solidFill>
              </a:defRPr>
            </a:lvl4pPr>
            <a:lvl5pPr>
              <a:lnSpc>
                <a:spcPct val="90000"/>
              </a:lnSpc>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Picture Placeholder 2"/>
          <p:cNvSpPr>
            <a:spLocks noGrp="1"/>
          </p:cNvSpPr>
          <p:nvPr>
            <p:ph type="pic" idx="14" hasCustomPrompt="1"/>
          </p:nvPr>
        </p:nvSpPr>
        <p:spPr>
          <a:xfrm>
            <a:off x="6980500" y="1624471"/>
            <a:ext cx="4800873" cy="4012353"/>
          </a:xfrm>
        </p:spPr>
        <p:txBody>
          <a:bodyPr anchor="ctr" anchorCtr="1"/>
          <a:lstStyle>
            <a:lvl1pPr marL="0" indent="0" algn="ctr">
              <a:buNone/>
              <a:defRPr sz="1400"/>
            </a:lvl1pPr>
            <a:lvl2pPr marL="511807" indent="0">
              <a:buNone/>
              <a:defRPr sz="3100"/>
            </a:lvl2pPr>
            <a:lvl3pPr marL="1023613" indent="0">
              <a:buNone/>
              <a:defRPr sz="2700"/>
            </a:lvl3pPr>
            <a:lvl4pPr marL="1535420" indent="0">
              <a:buNone/>
              <a:defRPr sz="2200"/>
            </a:lvl4pPr>
            <a:lvl5pPr marL="2047227" indent="0">
              <a:buNone/>
              <a:defRPr sz="2200"/>
            </a:lvl5pPr>
            <a:lvl6pPr marL="2559035" indent="0">
              <a:buNone/>
              <a:defRPr sz="2200"/>
            </a:lvl6pPr>
            <a:lvl7pPr marL="3070842" indent="0">
              <a:buNone/>
              <a:defRPr sz="2200"/>
            </a:lvl7pPr>
            <a:lvl8pPr marL="3582649" indent="0">
              <a:buNone/>
              <a:defRPr sz="2200"/>
            </a:lvl8pPr>
            <a:lvl9pPr marL="4094456" indent="0">
              <a:buNone/>
              <a:defRPr sz="2200"/>
            </a:lvl9pPr>
          </a:lstStyle>
          <a:p>
            <a:r>
              <a:rPr lang="en-US" dirty="0"/>
              <a:t>Drag picture to placeholder </a:t>
            </a:r>
            <a:br>
              <a:rPr lang="en-US" dirty="0"/>
            </a:br>
            <a:r>
              <a:rPr lang="en-US" dirty="0"/>
              <a:t>or click icon to add</a:t>
            </a:r>
            <a:br>
              <a:rPr lang="en-US" dirty="0"/>
            </a:br>
            <a:r>
              <a:rPr lang="en-US" dirty="0"/>
              <a:t>(150 DPI </a:t>
            </a:r>
            <a:r>
              <a:rPr lang="en-US" dirty="0" err="1"/>
              <a:t>PNG</a:t>
            </a:r>
            <a:r>
              <a:rPr lang="en-US" dirty="0"/>
              <a:t> file recommended)</a:t>
            </a:r>
          </a:p>
        </p:txBody>
      </p:sp>
      <p:sp>
        <p:nvSpPr>
          <p:cNvPr id="3" name="Slide Number Placeholder 2"/>
          <p:cNvSpPr>
            <a:spLocks noGrp="1"/>
          </p:cNvSpPr>
          <p:nvPr>
            <p:ph type="sldNum" sz="quarter" idx="16"/>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484824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Content+Graph">
    <p:spTree>
      <p:nvGrpSpPr>
        <p:cNvPr id="1" name=""/>
        <p:cNvGrpSpPr/>
        <p:nvPr/>
      </p:nvGrpSpPr>
      <p:grpSpPr>
        <a:xfrm>
          <a:off x="0" y="0"/>
          <a:ext cx="0" cy="0"/>
          <a:chOff x="0" y="0"/>
          <a:chExt cx="0" cy="0"/>
        </a:xfrm>
      </p:grpSpPr>
      <p:sp>
        <p:nvSpPr>
          <p:cNvPr id="13" name="Content Placeholder 2"/>
          <p:cNvSpPr>
            <a:spLocks noGrp="1"/>
          </p:cNvSpPr>
          <p:nvPr>
            <p:ph idx="13" hasCustomPrompt="1"/>
          </p:nvPr>
        </p:nvSpPr>
        <p:spPr>
          <a:xfrm>
            <a:off x="6980495" y="1608673"/>
            <a:ext cx="4894808" cy="4028153"/>
          </a:xfrm>
        </p:spPr>
        <p:txBody>
          <a:bodyPr/>
          <a:lstStyle>
            <a:lvl1pPr marL="0" indent="0">
              <a:spcAft>
                <a:spcPts val="800"/>
              </a:spcAft>
              <a:buNone/>
              <a:defRPr>
                <a:solidFill>
                  <a:srgbClr val="101D3A"/>
                </a:solidFill>
              </a:defRPr>
            </a:lvl1pPr>
            <a:lvl2pPr>
              <a:defRPr>
                <a:solidFill>
                  <a:srgbClr val="101D3A"/>
                </a:solidFill>
              </a:defRPr>
            </a:lvl2pPr>
            <a:lvl3pPr>
              <a:defRPr>
                <a:solidFill>
                  <a:srgbClr val="101D3A"/>
                </a:solidFill>
              </a:defRPr>
            </a:lvl3pPr>
            <a:lvl4pPr>
              <a:defRPr>
                <a:solidFill>
                  <a:srgbClr val="101D3A"/>
                </a:solidFill>
              </a:defRPr>
            </a:lvl4pPr>
            <a:lvl5pPr>
              <a:defRPr>
                <a:solidFill>
                  <a:srgbClr val="101D3A"/>
                </a:solidFill>
              </a:defRPr>
            </a:lvl5pPr>
          </a:lstStyle>
          <a:p>
            <a:pPr lvl="0"/>
            <a:r>
              <a:rPr lang="en-US" dirty="0"/>
              <a:t>Click to add text</a:t>
            </a:r>
          </a:p>
        </p:txBody>
      </p:sp>
      <p:sp>
        <p:nvSpPr>
          <p:cNvPr id="8" name="Content Placeholder 2"/>
          <p:cNvSpPr>
            <a:spLocks noGrp="1"/>
          </p:cNvSpPr>
          <p:nvPr>
            <p:ph idx="1" hasCustomPrompt="1"/>
          </p:nvPr>
        </p:nvSpPr>
        <p:spPr>
          <a:xfrm>
            <a:off x="429259" y="1608673"/>
            <a:ext cx="6272155" cy="4028153"/>
          </a:xfrm>
        </p:spPr>
        <p:txBody>
          <a:bodyPr lIns="0" tIns="0" rIns="0" bIns="0"/>
          <a:lstStyle>
            <a:lvl1pPr>
              <a:lnSpc>
                <a:spcPct val="90000"/>
              </a:lnSpc>
              <a:spcBef>
                <a:spcPts val="600"/>
              </a:spcBef>
              <a:spcAft>
                <a:spcPts val="800"/>
              </a:spcAft>
              <a:buClr>
                <a:srgbClr val="007DBA"/>
              </a:buClr>
              <a:defRPr sz="2000">
                <a:solidFill>
                  <a:srgbClr val="101D3A"/>
                </a:solidFill>
              </a:defRPr>
            </a:lvl1pPr>
            <a:lvl2pPr>
              <a:lnSpc>
                <a:spcPct val="90000"/>
              </a:lnSpc>
              <a:spcBef>
                <a:spcPts val="600"/>
              </a:spcBef>
              <a:spcAft>
                <a:spcPts val="800"/>
              </a:spcAft>
              <a:buClr>
                <a:srgbClr val="007DBA"/>
              </a:buClr>
              <a:defRPr sz="2000">
                <a:solidFill>
                  <a:srgbClr val="101D3A"/>
                </a:solidFill>
              </a:defRPr>
            </a:lvl2pPr>
            <a:lvl3pPr>
              <a:lnSpc>
                <a:spcPct val="90000"/>
              </a:lnSpc>
              <a:spcBef>
                <a:spcPts val="600"/>
              </a:spcBef>
              <a:spcAft>
                <a:spcPts val="800"/>
              </a:spcAft>
              <a:buClr>
                <a:srgbClr val="007DBA"/>
              </a:buClr>
              <a:defRPr sz="1800">
                <a:solidFill>
                  <a:srgbClr val="101D3A"/>
                </a:solidFill>
              </a:defRPr>
            </a:lvl3pPr>
            <a:lvl4pPr>
              <a:lnSpc>
                <a:spcPct val="90000"/>
              </a:lnSpc>
              <a:spcBef>
                <a:spcPts val="600"/>
              </a:spcBef>
              <a:spcAft>
                <a:spcPts val="800"/>
              </a:spcAft>
              <a:buClr>
                <a:srgbClr val="007DBA"/>
              </a:buClr>
              <a:defRPr sz="1600">
                <a:solidFill>
                  <a:srgbClr val="101D3A"/>
                </a:solidFill>
              </a:defRPr>
            </a:lvl4pPr>
            <a:lvl5pPr>
              <a:lnSpc>
                <a:spcPct val="90000"/>
              </a:lnSpc>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5"/>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4676815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723519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3 Content">
    <p:spTree>
      <p:nvGrpSpPr>
        <p:cNvPr id="1" name=""/>
        <p:cNvGrpSpPr/>
        <p:nvPr/>
      </p:nvGrpSpPr>
      <p:grpSpPr>
        <a:xfrm>
          <a:off x="0" y="0"/>
          <a:ext cx="0" cy="0"/>
          <a:chOff x="0" y="0"/>
          <a:chExt cx="0" cy="0"/>
        </a:xfrm>
      </p:grpSpPr>
      <p:sp>
        <p:nvSpPr>
          <p:cNvPr id="29" name="Content Placeholder 3"/>
          <p:cNvSpPr>
            <a:spLocks noGrp="1"/>
          </p:cNvSpPr>
          <p:nvPr>
            <p:ph sz="half" idx="2" hasCustomPrompt="1"/>
          </p:nvPr>
        </p:nvSpPr>
        <p:spPr>
          <a:xfrm>
            <a:off x="429257" y="1605796"/>
            <a:ext cx="11352109" cy="646544"/>
          </a:xfrm>
        </p:spPr>
        <p:txBody>
          <a:bodyPr>
            <a:normAutofit/>
          </a:bodyPr>
          <a:lstStyle>
            <a:lvl1pPr marL="0" indent="0">
              <a:buNone/>
              <a:defRPr sz="1800">
                <a:solidFill>
                  <a:schemeClr val="tx2"/>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0" name="Content Placeholder 3"/>
          <p:cNvSpPr>
            <a:spLocks noGrp="1"/>
          </p:cNvSpPr>
          <p:nvPr>
            <p:ph sz="half" idx="13" hasCustomPrompt="1"/>
          </p:nvPr>
        </p:nvSpPr>
        <p:spPr>
          <a:xfrm>
            <a:off x="429263" y="2290754"/>
            <a:ext cx="3540772"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3" name="Content Placeholder 3"/>
          <p:cNvSpPr>
            <a:spLocks noGrp="1"/>
          </p:cNvSpPr>
          <p:nvPr>
            <p:ph sz="half" idx="14" hasCustomPrompt="1"/>
          </p:nvPr>
        </p:nvSpPr>
        <p:spPr>
          <a:xfrm>
            <a:off x="4349757" y="2290754"/>
            <a:ext cx="3525948"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4" name="Content Placeholder 3"/>
          <p:cNvSpPr>
            <a:spLocks noGrp="1"/>
          </p:cNvSpPr>
          <p:nvPr>
            <p:ph sz="half" idx="15" hasCustomPrompt="1"/>
          </p:nvPr>
        </p:nvSpPr>
        <p:spPr>
          <a:xfrm>
            <a:off x="8255425" y="2290754"/>
            <a:ext cx="3525948"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 name="Slide Number Placeholder 2"/>
          <p:cNvSpPr>
            <a:spLocks noGrp="1"/>
          </p:cNvSpPr>
          <p:nvPr>
            <p:ph type="sldNum" sz="quarter" idx="17"/>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7978439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0946296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3750D03-48AD-2741-AECD-41D901562598}" type="slidenum">
              <a:rPr lang="en-US" smtClean="0"/>
              <a:pPr/>
              <a:t>‹#›</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20201185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reserve="1">
  <p:cSld name="Blank 3">
    <p:bg>
      <p:bgPr>
        <a:solidFill>
          <a:srgbClr val="13294B"/>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a:defRPr>
                <a:solidFill>
                  <a:schemeClr val="bg1"/>
                </a:solidFill>
              </a:defRPr>
            </a:lvl1pPr>
          </a:lstStyle>
          <a:p>
            <a:fld id="{23750D03-48AD-2741-AECD-41D901562598}" type="slidenum">
              <a:rPr lang="en-US" smtClean="0"/>
              <a:pPr/>
              <a:t>‹#›</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199"/>
          </a:xfrm>
          <a:prstGeom prst="rect">
            <a:avLst/>
          </a:prstGeom>
        </p:spPr>
      </p:pic>
    </p:spTree>
    <p:extLst>
      <p:ext uri="{BB962C8B-B14F-4D97-AF65-F5344CB8AC3E}">
        <p14:creationId xmlns:p14="http://schemas.microsoft.com/office/powerpoint/2010/main" val="14967086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497840" y="451413"/>
            <a:ext cx="11226800" cy="1139881"/>
          </a:xfrm>
        </p:spPr>
        <p:txBody>
          <a:bodyPr/>
          <a:lstStyle>
            <a:lvl1pPr>
              <a:defRPr sz="26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497840" y="1816924"/>
            <a:ext cx="5477792" cy="4004755"/>
          </a:xfrm>
        </p:spPr>
        <p:txBody>
          <a:bodyPr>
            <a:noAutofit/>
          </a:bodyPr>
          <a:lstStyle>
            <a:lvl1pPr>
              <a:buFont typeface="+mj-lt"/>
              <a:buAutoNum type="arabicPeriod"/>
              <a:defRPr/>
            </a:lvl1pPr>
          </a:lstStyle>
          <a:p>
            <a:pPr lvl="0"/>
            <a:r>
              <a:rPr lang="en-US" dirty="0"/>
              <a:t>Edit Master text styles</a:t>
            </a:r>
          </a:p>
        </p:txBody>
      </p:sp>
      <p:sp>
        <p:nvSpPr>
          <p:cNvPr id="5" name="Slide Number Placeholder 3">
            <a:extLst>
              <a:ext uri="{FF2B5EF4-FFF2-40B4-BE49-F238E27FC236}">
                <a16:creationId xmlns:a16="http://schemas.microsoft.com/office/drawing/2014/main" id="{C5F94200-7FC0-9A4E-A413-F6E00934AD12}"/>
              </a:ext>
            </a:extLst>
          </p:cNvPr>
          <p:cNvSpPr>
            <a:spLocks noGrp="1"/>
          </p:cNvSpPr>
          <p:nvPr>
            <p:ph type="sldNum" sz="quarter" idx="4"/>
          </p:nvPr>
        </p:nvSpPr>
        <p:spPr>
          <a:xfrm>
            <a:off x="11715213" y="6568291"/>
            <a:ext cx="467360" cy="284997"/>
          </a:xfrm>
          <a:prstGeom prst="rect">
            <a:avLst/>
          </a:prstGeom>
        </p:spPr>
        <p:txBody>
          <a:bodyPr vert="horz" lIns="91440" tIns="45720" rIns="91440" bIns="45720" rtlCol="0" anchor="ctr"/>
          <a:lstStyle>
            <a:lvl1pPr algn="r">
              <a:defRPr sz="1100">
                <a:solidFill>
                  <a:schemeClr val="tx1">
                    <a:tint val="75000"/>
                  </a:schemeClr>
                </a:solidFill>
              </a:defRPr>
            </a:lvl1pPr>
          </a:lstStyle>
          <a:p>
            <a:fld id="{1904728E-9179-7340-B99F-8A5623059787}" type="slidenum">
              <a:rPr lang="en-US" smtClean="0"/>
              <a:pPr/>
              <a:t>‹#›</a:t>
            </a:fld>
            <a:endParaRPr lang="en-US" sz="1100" dirty="0"/>
          </a:p>
        </p:txBody>
      </p:sp>
      <p:sp>
        <p:nvSpPr>
          <p:cNvPr id="7" name="Text Placeholder 5">
            <a:extLst>
              <a:ext uri="{FF2B5EF4-FFF2-40B4-BE49-F238E27FC236}">
                <a16:creationId xmlns:a16="http://schemas.microsoft.com/office/drawing/2014/main" id="{957D897E-3A74-704A-9640-6EBF4A423268}"/>
              </a:ext>
            </a:extLst>
          </p:cNvPr>
          <p:cNvSpPr>
            <a:spLocks noGrp="1"/>
          </p:cNvSpPr>
          <p:nvPr>
            <p:ph type="body" sz="quarter" idx="11"/>
          </p:nvPr>
        </p:nvSpPr>
        <p:spPr>
          <a:xfrm>
            <a:off x="497840" y="6061724"/>
            <a:ext cx="6909435" cy="716147"/>
          </a:xfrm>
        </p:spPr>
        <p:txBody>
          <a:bodyPr anchor="b"/>
          <a:lstStyle>
            <a:lvl1pPr>
              <a:spcBef>
                <a:spcPts val="0"/>
              </a:spcBef>
              <a:spcAft>
                <a:spcPts val="0"/>
              </a:spcAft>
              <a:buNone/>
              <a:defRPr sz="1000"/>
            </a:lvl1pPr>
            <a:lvl2pPr>
              <a:buNone/>
              <a:defRPr sz="1000"/>
            </a:lvl2pPr>
            <a:lvl3pPr>
              <a:buNone/>
              <a:defRPr sz="1000"/>
            </a:lvl3pPr>
            <a:lvl4pPr>
              <a:buNone/>
              <a:defRPr sz="1000"/>
            </a:lvl4pPr>
            <a:lvl5pPr>
              <a:buNone/>
              <a:defRPr sz="1000"/>
            </a:lvl5pPr>
          </a:lstStyle>
          <a:p>
            <a:pPr lvl="0"/>
            <a:r>
              <a:rPr lang="en-US" dirty="0"/>
              <a:t>Click to edit Master text styles</a:t>
            </a:r>
          </a:p>
        </p:txBody>
      </p:sp>
    </p:spTree>
    <p:extLst>
      <p:ext uri="{BB962C8B-B14F-4D97-AF65-F5344CB8AC3E}">
        <p14:creationId xmlns:p14="http://schemas.microsoft.com/office/powerpoint/2010/main" val="541635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rgbClr val="B34D59"/>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92455"/>
            <a:ext cx="6774777" cy="555473"/>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10538034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1518122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02912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7544445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83123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44917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15229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42631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72412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24180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2341825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0224476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42964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83126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45835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4684895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125350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13765746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680338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9314329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1854614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8894103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336303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8611640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694296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9742290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19943579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65735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563764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F39E8C4-2711-D94C-9B20-22FCC3F02C0A}" type="datetimeFigureOut">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06E6151-551B-BB4A-9FDE-7ECB025EF441}" type="slidenum">
              <a:rPr lang="en-US" smtClean="0"/>
              <a:t>‹#›</a:t>
            </a:fld>
            <a:endParaRPr lang="en-US"/>
          </a:p>
        </p:txBody>
      </p:sp>
    </p:spTree>
    <p:extLst>
      <p:ext uri="{BB962C8B-B14F-4D97-AF65-F5344CB8AC3E}">
        <p14:creationId xmlns:p14="http://schemas.microsoft.com/office/powerpoint/2010/main" val="13781752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F39E8C4-2711-D94C-9B20-22FCC3F02C0A}" type="datetimeFigureOut">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06E6151-551B-BB4A-9FDE-7ECB025EF441}" type="slidenum">
              <a:rPr lang="en-US" smtClean="0"/>
              <a:t>‹#›</a:t>
            </a:fld>
            <a:endParaRPr lang="en-US"/>
          </a:p>
        </p:txBody>
      </p:sp>
    </p:spTree>
    <p:extLst>
      <p:ext uri="{BB962C8B-B14F-4D97-AF65-F5344CB8AC3E}">
        <p14:creationId xmlns:p14="http://schemas.microsoft.com/office/powerpoint/2010/main" val="25947258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49"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49" y="4589464"/>
            <a:ext cx="10515600" cy="1500187"/>
          </a:xfrm>
        </p:spPr>
        <p:txBody>
          <a:bodyPr/>
          <a:lstStyle>
            <a:lvl1pPr marL="0" indent="0">
              <a:buNone/>
              <a:defRPr sz="2400">
                <a:solidFill>
                  <a:schemeClr val="tx1">
                    <a:tint val="82000"/>
                  </a:schemeClr>
                </a:solidFill>
              </a:defRPr>
            </a:lvl1pPr>
            <a:lvl2pPr marL="457189" indent="0">
              <a:buNone/>
              <a:defRPr sz="2000">
                <a:solidFill>
                  <a:schemeClr val="tx1">
                    <a:tint val="82000"/>
                  </a:schemeClr>
                </a:solidFill>
              </a:defRPr>
            </a:lvl2pPr>
            <a:lvl3pPr marL="914377" indent="0">
              <a:buNone/>
              <a:defRPr sz="1800">
                <a:solidFill>
                  <a:schemeClr val="tx1">
                    <a:tint val="82000"/>
                  </a:schemeClr>
                </a:solidFill>
              </a:defRPr>
            </a:lvl3pPr>
            <a:lvl4pPr marL="1371566" indent="0">
              <a:buNone/>
              <a:defRPr sz="1600">
                <a:solidFill>
                  <a:schemeClr val="tx1">
                    <a:tint val="82000"/>
                  </a:schemeClr>
                </a:solidFill>
              </a:defRPr>
            </a:lvl4pPr>
            <a:lvl5pPr marL="1828754" indent="0">
              <a:buNone/>
              <a:defRPr sz="1600">
                <a:solidFill>
                  <a:schemeClr val="tx1">
                    <a:tint val="82000"/>
                  </a:schemeClr>
                </a:solidFill>
              </a:defRPr>
            </a:lvl5pPr>
            <a:lvl6pPr marL="2285943" indent="0">
              <a:buNone/>
              <a:defRPr sz="1600">
                <a:solidFill>
                  <a:schemeClr val="tx1">
                    <a:tint val="82000"/>
                  </a:schemeClr>
                </a:solidFill>
              </a:defRPr>
            </a:lvl6pPr>
            <a:lvl7pPr marL="2743131" indent="0">
              <a:buNone/>
              <a:defRPr sz="1600">
                <a:solidFill>
                  <a:schemeClr val="tx1">
                    <a:tint val="82000"/>
                  </a:schemeClr>
                </a:solidFill>
              </a:defRPr>
            </a:lvl7pPr>
            <a:lvl8pPr marL="3200320" indent="0">
              <a:buNone/>
              <a:defRPr sz="1600">
                <a:solidFill>
                  <a:schemeClr val="tx1">
                    <a:tint val="82000"/>
                  </a:schemeClr>
                </a:solidFill>
              </a:defRPr>
            </a:lvl8pPr>
            <a:lvl9pPr marL="3657509"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F39E8C4-2711-D94C-9B20-22FCC3F02C0A}" type="datetimeFigureOut">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06E6151-551B-BB4A-9FDE-7ECB025EF441}" type="slidenum">
              <a:rPr lang="en-US" smtClean="0"/>
              <a:t>‹#›</a:t>
            </a:fld>
            <a:endParaRPr lang="en-US"/>
          </a:p>
        </p:txBody>
      </p:sp>
    </p:spTree>
    <p:extLst>
      <p:ext uri="{BB962C8B-B14F-4D97-AF65-F5344CB8AC3E}">
        <p14:creationId xmlns:p14="http://schemas.microsoft.com/office/powerpoint/2010/main" val="18435496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4"/>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4"/>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F39E8C4-2711-D94C-9B20-22FCC3F02C0A}" type="datetimeFigureOut">
              <a:rPr lang="en-US" smtClean="0"/>
              <a:t>5/31/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06E6151-551B-BB4A-9FDE-7ECB025EF441}" type="slidenum">
              <a:rPr lang="en-US" smtClean="0"/>
              <a:t>‹#›</a:t>
            </a:fld>
            <a:endParaRPr lang="en-US"/>
          </a:p>
        </p:txBody>
      </p:sp>
    </p:spTree>
    <p:extLst>
      <p:ext uri="{BB962C8B-B14F-4D97-AF65-F5344CB8AC3E}">
        <p14:creationId xmlns:p14="http://schemas.microsoft.com/office/powerpoint/2010/main" val="323677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F39E8C4-2711-D94C-9B20-22FCC3F02C0A}" type="datetimeFigureOut">
              <a:rPr lang="en-US" smtClean="0"/>
              <a:t>5/31/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06E6151-551B-BB4A-9FDE-7ECB025EF441}" type="slidenum">
              <a:rPr lang="en-US" smtClean="0"/>
              <a:t>‹#›</a:t>
            </a:fld>
            <a:endParaRPr lang="en-US"/>
          </a:p>
        </p:txBody>
      </p:sp>
    </p:spTree>
    <p:extLst>
      <p:ext uri="{BB962C8B-B14F-4D97-AF65-F5344CB8AC3E}">
        <p14:creationId xmlns:p14="http://schemas.microsoft.com/office/powerpoint/2010/main" val="39918000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F39E8C4-2711-D94C-9B20-22FCC3F02C0A}" type="datetimeFigureOut">
              <a:rPr lang="en-US" smtClean="0"/>
              <a:t>5/31/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06E6151-551B-BB4A-9FDE-7ECB025EF441}" type="slidenum">
              <a:rPr lang="en-US" smtClean="0"/>
              <a:t>‹#›</a:t>
            </a:fld>
            <a:endParaRPr lang="en-US"/>
          </a:p>
        </p:txBody>
      </p:sp>
    </p:spTree>
    <p:extLst>
      <p:ext uri="{BB962C8B-B14F-4D97-AF65-F5344CB8AC3E}">
        <p14:creationId xmlns:p14="http://schemas.microsoft.com/office/powerpoint/2010/main" val="29637249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39E8C4-2711-D94C-9B20-22FCC3F02C0A}" type="datetimeFigureOut">
              <a:rPr lang="en-US" smtClean="0"/>
              <a:t>5/31/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06E6151-551B-BB4A-9FDE-7ECB025EF441}" type="slidenum">
              <a:rPr lang="en-US" smtClean="0"/>
              <a:t>‹#›</a:t>
            </a:fld>
            <a:endParaRPr lang="en-US"/>
          </a:p>
        </p:txBody>
      </p:sp>
    </p:spTree>
    <p:extLst>
      <p:ext uri="{BB962C8B-B14F-4D97-AF65-F5344CB8AC3E}">
        <p14:creationId xmlns:p14="http://schemas.microsoft.com/office/powerpoint/2010/main" val="39570232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F39E8C4-2711-D94C-9B20-22FCC3F02C0A}" type="datetimeFigureOut">
              <a:rPr lang="en-US" smtClean="0"/>
              <a:t>5/31/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06E6151-551B-BB4A-9FDE-7ECB025EF441}" type="slidenum">
              <a:rPr lang="en-US" smtClean="0"/>
              <a:t>‹#›</a:t>
            </a:fld>
            <a:endParaRPr lang="en-US"/>
          </a:p>
        </p:txBody>
      </p:sp>
    </p:spTree>
    <p:extLst>
      <p:ext uri="{BB962C8B-B14F-4D97-AF65-F5344CB8AC3E}">
        <p14:creationId xmlns:p14="http://schemas.microsoft.com/office/powerpoint/2010/main" val="32053834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F39E8C4-2711-D94C-9B20-22FCC3F02C0A}" type="datetimeFigureOut">
              <a:rPr lang="en-US" smtClean="0"/>
              <a:t>5/31/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06E6151-551B-BB4A-9FDE-7ECB025EF441}" type="slidenum">
              <a:rPr lang="en-US" smtClean="0"/>
              <a:t>‹#›</a:t>
            </a:fld>
            <a:endParaRPr lang="en-US"/>
          </a:p>
        </p:txBody>
      </p:sp>
    </p:spTree>
    <p:extLst>
      <p:ext uri="{BB962C8B-B14F-4D97-AF65-F5344CB8AC3E}">
        <p14:creationId xmlns:p14="http://schemas.microsoft.com/office/powerpoint/2010/main" val="12066835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F39E8C4-2711-D94C-9B20-22FCC3F02C0A}" type="datetimeFigureOut">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06E6151-551B-BB4A-9FDE-7ECB025EF441}" type="slidenum">
              <a:rPr lang="en-US" smtClean="0"/>
              <a:t>‹#›</a:t>
            </a:fld>
            <a:endParaRPr lang="en-US"/>
          </a:p>
        </p:txBody>
      </p:sp>
    </p:spTree>
    <p:extLst>
      <p:ext uri="{BB962C8B-B14F-4D97-AF65-F5344CB8AC3E}">
        <p14:creationId xmlns:p14="http://schemas.microsoft.com/office/powerpoint/2010/main" val="32237002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9466833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F39E8C4-2711-D94C-9B20-22FCC3F02C0A}" type="datetimeFigureOut">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06E6151-551B-BB4A-9FDE-7ECB025EF441}" type="slidenum">
              <a:rPr lang="en-US" smtClean="0"/>
              <a:t>‹#›</a:t>
            </a:fld>
            <a:endParaRPr lang="en-US"/>
          </a:p>
        </p:txBody>
      </p:sp>
    </p:spTree>
    <p:extLst>
      <p:ext uri="{BB962C8B-B14F-4D97-AF65-F5344CB8AC3E}">
        <p14:creationId xmlns:p14="http://schemas.microsoft.com/office/powerpoint/2010/main" val="3346719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32884"/>
            <a:ext cx="10363200" cy="1300163"/>
          </a:xfrm>
        </p:spPr>
        <p:txBody>
          <a:bodyPr lIns="90000" tIns="46800" rIns="90000" bIns="46800"/>
          <a:lstStyle>
            <a:lvl1pPr algn="l">
              <a:defRPr sz="3732" spc="0" baseline="0">
                <a:solidFill>
                  <a:schemeClr val="tx2"/>
                </a:solidFill>
                <a:latin typeface="+mn-lt"/>
              </a:defRPr>
            </a:lvl1pPr>
          </a:lstStyle>
          <a:p>
            <a:r>
              <a:rPr lang="en-US" dirty="0"/>
              <a:t>Click to edit Master title style</a:t>
            </a:r>
            <a:endParaRPr lang="en-GB" dirty="0"/>
          </a:p>
        </p:txBody>
      </p:sp>
      <p:cxnSp>
        <p:nvCxnSpPr>
          <p:cNvPr id="5" name="Straight Connector 4"/>
          <p:cNvCxnSpPr/>
          <p:nvPr userDrawn="1"/>
        </p:nvCxnSpPr>
        <p:spPr>
          <a:xfrm flipV="1">
            <a:off x="528323" y="3325460"/>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ubtitle 2">
            <a:extLst>
              <a:ext uri="{FF2B5EF4-FFF2-40B4-BE49-F238E27FC236}">
                <a16:creationId xmlns:a16="http://schemas.microsoft.com/office/drawing/2014/main" id="{CB92EBC5-026D-4287-AF7F-3A7743A12C26}"/>
              </a:ext>
            </a:extLst>
          </p:cNvPr>
          <p:cNvSpPr>
            <a:spLocks noGrp="1"/>
          </p:cNvSpPr>
          <p:nvPr>
            <p:ph type="subTitle" idx="1"/>
          </p:nvPr>
        </p:nvSpPr>
        <p:spPr>
          <a:xfrm>
            <a:off x="914400" y="3624953"/>
            <a:ext cx="10363200" cy="693059"/>
          </a:xfrm>
          <a:prstGeom prst="rect">
            <a:avLst/>
          </a:prstGeom>
        </p:spPr>
        <p:txBody>
          <a:bodyPr/>
          <a:lstStyle>
            <a:lvl1pPr marL="0" indent="0">
              <a:buNone/>
              <a:defRPr sz="2133">
                <a:solidFill>
                  <a:schemeClr val="tx1"/>
                </a:solidFill>
                <a:latin typeface="+mn-lt"/>
              </a:defRPr>
            </a:lvl1pPr>
          </a:lstStyle>
          <a:p>
            <a:r>
              <a:rPr lang="en-GB" sz="2160" dirty="0"/>
              <a:t>Author names</a:t>
            </a:r>
            <a:r>
              <a:rPr lang="en-GB" sz="2160" baseline="30000" dirty="0"/>
              <a:t>1,2 </a:t>
            </a:r>
            <a:r>
              <a:rPr lang="en-GB" sz="2160" dirty="0"/>
              <a:t>(Arial 18 </a:t>
            </a:r>
            <a:r>
              <a:rPr lang="en-GB" sz="2160" dirty="0" err="1"/>
              <a:t>pt</a:t>
            </a:r>
            <a:r>
              <a:rPr lang="en-GB" sz="2160" dirty="0"/>
              <a:t>)</a:t>
            </a:r>
          </a:p>
        </p:txBody>
      </p:sp>
      <p:sp>
        <p:nvSpPr>
          <p:cNvPr id="12" name="Text Placeholder 3">
            <a:extLst>
              <a:ext uri="{FF2B5EF4-FFF2-40B4-BE49-F238E27FC236}">
                <a16:creationId xmlns:a16="http://schemas.microsoft.com/office/drawing/2014/main" id="{1E894BEA-76D2-43AC-BECE-7FE25863A859}"/>
              </a:ext>
            </a:extLst>
          </p:cNvPr>
          <p:cNvSpPr>
            <a:spLocks noGrp="1"/>
          </p:cNvSpPr>
          <p:nvPr>
            <p:ph type="body" sz="quarter" idx="10"/>
          </p:nvPr>
        </p:nvSpPr>
        <p:spPr>
          <a:xfrm>
            <a:off x="914400" y="5063066"/>
            <a:ext cx="10363200" cy="571500"/>
          </a:xfrm>
          <a:prstGeom prst="rect">
            <a:avLst/>
          </a:prstGeom>
        </p:spPr>
        <p:txBody>
          <a:bodyPr/>
          <a:lstStyle>
            <a:lvl1pPr marL="0" indent="0">
              <a:buNone/>
              <a:defRPr sz="1400" i="1">
                <a:solidFill>
                  <a:schemeClr val="tx1"/>
                </a:solidFill>
                <a:latin typeface="+mn-lt"/>
              </a:defRPr>
            </a:lvl1pPr>
          </a:lstStyle>
          <a:p>
            <a:r>
              <a:rPr lang="en-GB" sz="1440" baseline="30000" dirty="0"/>
              <a:t>1</a:t>
            </a:r>
            <a:r>
              <a:rPr lang="en-GB" sz="1440" dirty="0"/>
              <a:t>Affiliations (Arial 11 </a:t>
            </a:r>
            <a:r>
              <a:rPr lang="en-GB" sz="1440" dirty="0" err="1"/>
              <a:t>pt</a:t>
            </a:r>
            <a:r>
              <a:rPr lang="en-GB" sz="1440" dirty="0"/>
              <a:t> </a:t>
            </a:r>
            <a:r>
              <a:rPr lang="en-GB" sz="1440" dirty="0" err="1"/>
              <a:t>itals</a:t>
            </a:r>
            <a:r>
              <a:rPr lang="en-GB" sz="1440" dirty="0"/>
              <a:t>)</a:t>
            </a:r>
          </a:p>
        </p:txBody>
      </p:sp>
      <p:cxnSp>
        <p:nvCxnSpPr>
          <p:cNvPr id="13" name="Straight Connector 12">
            <a:extLst>
              <a:ext uri="{FF2B5EF4-FFF2-40B4-BE49-F238E27FC236}">
                <a16:creationId xmlns:a16="http://schemas.microsoft.com/office/drawing/2014/main" id="{2EF12FC8-6320-4F30-BC04-DA9B9FFDAA1B}"/>
              </a:ext>
            </a:extLst>
          </p:cNvPr>
          <p:cNvCxnSpPr>
            <a:cxnSpLocks/>
          </p:cNvCxnSpPr>
          <p:nvPr userDrawn="1"/>
        </p:nvCxnSpPr>
        <p:spPr>
          <a:xfrm flipH="1">
            <a:off x="910590" y="3736965"/>
            <a:ext cx="3811" cy="1242204"/>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4A27C4D8-49BE-4F9F-8201-7490DEA848F6}"/>
              </a:ext>
            </a:extLst>
          </p:cNvPr>
          <p:cNvSpPr>
            <a:spLocks noGrp="1"/>
          </p:cNvSpPr>
          <p:nvPr>
            <p:ph type="body" sz="quarter" idx="13" hasCustomPrompt="1"/>
          </p:nvPr>
        </p:nvSpPr>
        <p:spPr>
          <a:xfrm>
            <a:off x="9659802" y="104288"/>
            <a:ext cx="2427877" cy="1343043"/>
          </a:xfrm>
          <a:prstGeom prst="rect">
            <a:avLst/>
          </a:prstGeom>
          <a:noFill/>
        </p:spPr>
        <p:txBody>
          <a:bodyPr anchor="ctr"/>
          <a:lstStyle>
            <a:lvl1pPr marL="0" indent="0">
              <a:buNone/>
              <a:defRPr sz="2133">
                <a:latin typeface="+mn-lt"/>
              </a:defRPr>
            </a:lvl1pPr>
          </a:lstStyle>
          <a:p>
            <a:pPr algn="ctr"/>
            <a:r>
              <a:rPr lang="en-GB" sz="2399" i="1" dirty="0">
                <a:solidFill>
                  <a:schemeClr val="tx2"/>
                </a:solidFill>
              </a:rPr>
              <a:t>Video location</a:t>
            </a:r>
          </a:p>
        </p:txBody>
      </p:sp>
    </p:spTree>
    <p:extLst>
      <p:ext uri="{BB962C8B-B14F-4D97-AF65-F5344CB8AC3E}">
        <p14:creationId xmlns:p14="http://schemas.microsoft.com/office/powerpoint/2010/main" val="9071134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3"/>
            <a:ext cx="10363200" cy="1300163"/>
          </a:xfrm>
        </p:spPr>
        <p:txBody>
          <a:bodyPr lIns="360000"/>
          <a:lstStyle>
            <a:lvl1pPr algn="l">
              <a:defRPr sz="4265" spc="0" baseline="0">
                <a:solidFill>
                  <a:schemeClr val="bg1"/>
                </a:solidFill>
                <a:latin typeface="+mn-lt"/>
              </a:defRPr>
            </a:lvl1pPr>
          </a:lstStyle>
          <a:p>
            <a:r>
              <a:rPr lang="en-US" dirty="0"/>
              <a:t>Click to edit Master title style</a:t>
            </a:r>
            <a:endParaRPr lang="en-GB" dirty="0"/>
          </a:p>
        </p:txBody>
      </p:sp>
      <p:sp>
        <p:nvSpPr>
          <p:cNvPr id="3" name="Subtitle 2"/>
          <p:cNvSpPr>
            <a:spLocks noGrp="1"/>
          </p:cNvSpPr>
          <p:nvPr>
            <p:ph type="subTitle" idx="1"/>
          </p:nvPr>
        </p:nvSpPr>
        <p:spPr>
          <a:xfrm>
            <a:off x="914400" y="3624953"/>
            <a:ext cx="10363200" cy="693059"/>
          </a:xfrm>
          <a:prstGeom prst="rect">
            <a:avLst/>
          </a:prstGeom>
        </p:spPr>
        <p:txBody>
          <a:bodyPr lIns="360000" tIns="45640" rIns="91280" bIns="45640"/>
          <a:lstStyle>
            <a:lvl1pPr marL="0" indent="0" algn="l">
              <a:spcBef>
                <a:spcPts val="0"/>
              </a:spcBef>
              <a:spcAft>
                <a:spcPts val="0"/>
              </a:spcAft>
              <a:buNone/>
              <a:defRPr sz="2133" i="1">
                <a:solidFill>
                  <a:schemeClr val="bg1"/>
                </a:solidFill>
                <a:latin typeface="+mn-lt"/>
              </a:defRPr>
            </a:lvl1pPr>
            <a:lvl2pPr marL="456226" indent="0" algn="ctr">
              <a:buNone/>
              <a:defRPr>
                <a:solidFill>
                  <a:schemeClr val="tx1">
                    <a:tint val="75000"/>
                  </a:schemeClr>
                </a:solidFill>
              </a:defRPr>
            </a:lvl2pPr>
            <a:lvl3pPr marL="912451" indent="0" algn="ctr">
              <a:buNone/>
              <a:defRPr>
                <a:solidFill>
                  <a:schemeClr val="tx1">
                    <a:tint val="75000"/>
                  </a:schemeClr>
                </a:solidFill>
              </a:defRPr>
            </a:lvl3pPr>
            <a:lvl4pPr marL="1368676" indent="0" algn="ctr">
              <a:buNone/>
              <a:defRPr>
                <a:solidFill>
                  <a:schemeClr val="tx1">
                    <a:tint val="75000"/>
                  </a:schemeClr>
                </a:solidFill>
              </a:defRPr>
            </a:lvl4pPr>
            <a:lvl5pPr marL="1824901" indent="0" algn="ctr">
              <a:buNone/>
              <a:defRPr>
                <a:solidFill>
                  <a:schemeClr val="tx1">
                    <a:tint val="75000"/>
                  </a:schemeClr>
                </a:solidFill>
              </a:defRPr>
            </a:lvl5pPr>
            <a:lvl6pPr marL="2281126" indent="0" algn="ctr">
              <a:buNone/>
              <a:defRPr>
                <a:solidFill>
                  <a:schemeClr val="tx1">
                    <a:tint val="75000"/>
                  </a:schemeClr>
                </a:solidFill>
              </a:defRPr>
            </a:lvl6pPr>
            <a:lvl7pPr marL="2737353" indent="0" algn="ctr">
              <a:buNone/>
              <a:defRPr>
                <a:solidFill>
                  <a:schemeClr val="tx1">
                    <a:tint val="75000"/>
                  </a:schemeClr>
                </a:solidFill>
              </a:defRPr>
            </a:lvl7pPr>
            <a:lvl8pPr marL="3193576" indent="0" algn="ctr">
              <a:buNone/>
              <a:defRPr>
                <a:solidFill>
                  <a:schemeClr val="tx1">
                    <a:tint val="75000"/>
                  </a:schemeClr>
                </a:solidFill>
              </a:defRPr>
            </a:lvl8pPr>
            <a:lvl9pPr marL="3649798" indent="0" algn="ctr">
              <a:buNone/>
              <a:defRPr>
                <a:solidFill>
                  <a:schemeClr val="tx1">
                    <a:tint val="75000"/>
                  </a:schemeClr>
                </a:solidFill>
              </a:defRPr>
            </a:lvl9pPr>
          </a:lstStyle>
          <a:p>
            <a:r>
              <a:rPr lang="en-US" dirty="0"/>
              <a:t>Click to edit Master subtitle style</a:t>
            </a:r>
            <a:endParaRPr lang="en-GB" dirty="0"/>
          </a:p>
        </p:txBody>
      </p:sp>
      <p:cxnSp>
        <p:nvCxnSpPr>
          <p:cNvPr id="5" name="Straight Connector 4">
            <a:extLst>
              <a:ext uri="{FF2B5EF4-FFF2-40B4-BE49-F238E27FC236}">
                <a16:creationId xmlns:a16="http://schemas.microsoft.com/office/drawing/2014/main" id="{1C4B9F0A-2668-7142-8307-4E6DEED2A492}"/>
              </a:ext>
            </a:extLst>
          </p:cNvPr>
          <p:cNvCxnSpPr/>
          <p:nvPr userDrawn="1"/>
        </p:nvCxnSpPr>
        <p:spPr>
          <a:xfrm>
            <a:off x="914400" y="2130433"/>
            <a:ext cx="0" cy="2187579"/>
          </a:xfrm>
          <a:prstGeom prst="line">
            <a:avLst/>
          </a:prstGeom>
          <a:ln w="635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72756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1" y="241925"/>
            <a:ext cx="8246376"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3" y="1268964"/>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49" y="6259600"/>
            <a:ext cx="4800000" cy="360000"/>
          </a:xfrm>
          <a:prstGeom prst="rect">
            <a:avLst/>
          </a:prstGeom>
        </p:spPr>
        <p:txBody>
          <a:bodyPr lIns="0" tIns="0" rIns="0" bIns="0" anchor="b"/>
          <a:lstStyle>
            <a:lvl1pPr marL="0" indent="0">
              <a:buNone/>
              <a:tabLst/>
              <a:defRPr sz="108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1" y="6259600"/>
            <a:ext cx="4800000" cy="360000"/>
          </a:xfrm>
          <a:prstGeom prst="rect">
            <a:avLst/>
          </a:prstGeom>
        </p:spPr>
        <p:txBody>
          <a:bodyPr lIns="0" tIns="0" rIns="0" bIns="0" anchor="b"/>
          <a:lstStyle>
            <a:lvl1pPr marL="212273" indent="-212273" algn="r">
              <a:buNone/>
              <a:defRPr lang="en-GB" sz="108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9659802" y="104288"/>
            <a:ext cx="2427877" cy="1343043"/>
          </a:xfrm>
          <a:prstGeom prst="rect">
            <a:avLst/>
          </a:prstGeom>
          <a:noFill/>
        </p:spPr>
        <p:txBody>
          <a:bodyPr anchor="ctr"/>
          <a:lstStyle>
            <a:lvl1pPr marL="0" indent="0">
              <a:buNone/>
              <a:defRPr sz="2133">
                <a:latin typeface="+mn-lt"/>
              </a:defRPr>
            </a:lvl1pPr>
          </a:lstStyle>
          <a:p>
            <a:pPr algn="ctr"/>
            <a:r>
              <a:rPr lang="en-GB" sz="2399" i="1" dirty="0">
                <a:solidFill>
                  <a:schemeClr val="tx2"/>
                </a:solidFill>
              </a:rPr>
              <a:t>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58" y="1735944"/>
            <a:ext cx="11137900" cy="4155315"/>
          </a:xfrm>
          <a:prstGeom prst="rect">
            <a:avLst/>
          </a:prstGeom>
        </p:spPr>
        <p:txBody>
          <a:bodyPr lIns="72000" tIns="0" rIns="72000" bIns="0"/>
          <a:lstStyle>
            <a:lvl1pPr>
              <a:spcAft>
                <a:spcPts val="720"/>
              </a:spcAft>
              <a:buClr>
                <a:schemeClr val="tx2"/>
              </a:buClr>
              <a:defRPr sz="2133">
                <a:solidFill>
                  <a:schemeClr val="tx1"/>
                </a:solidFill>
                <a:latin typeface="+mn-lt"/>
              </a:defRPr>
            </a:lvl1pPr>
            <a:lvl2pPr>
              <a:spcAft>
                <a:spcPts val="720"/>
              </a:spcAft>
              <a:buClr>
                <a:schemeClr val="tx2"/>
              </a:buClr>
              <a:defRPr sz="1867">
                <a:solidFill>
                  <a:schemeClr val="tx1"/>
                </a:solidFill>
                <a:latin typeface="+mn-lt"/>
              </a:defRPr>
            </a:lvl2pPr>
            <a:lvl3pPr>
              <a:spcAft>
                <a:spcPts val="720"/>
              </a:spcAft>
              <a:buClr>
                <a:schemeClr val="tx2"/>
              </a:buClr>
              <a:defRPr sz="160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9196034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1" y="241925"/>
            <a:ext cx="8246376"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3" y="1268964"/>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49" y="6259600"/>
            <a:ext cx="4800000" cy="360000"/>
          </a:xfrm>
          <a:prstGeom prst="rect">
            <a:avLst/>
          </a:prstGeom>
        </p:spPr>
        <p:txBody>
          <a:bodyPr lIns="0" tIns="0" rIns="0" bIns="0" anchor="b"/>
          <a:lstStyle>
            <a:lvl1pPr marL="0" indent="0">
              <a:buNone/>
              <a:tabLst/>
              <a:defRPr sz="108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1" y="6259600"/>
            <a:ext cx="4800000" cy="360000"/>
          </a:xfrm>
          <a:prstGeom prst="rect">
            <a:avLst/>
          </a:prstGeom>
        </p:spPr>
        <p:txBody>
          <a:bodyPr lIns="0" tIns="0" rIns="0" bIns="0" anchor="b"/>
          <a:lstStyle>
            <a:lvl1pPr marL="212273" indent="-212273" algn="r">
              <a:buNone/>
              <a:defRPr lang="en-GB" sz="108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9659802" y="104288"/>
            <a:ext cx="2427877" cy="1343043"/>
          </a:xfrm>
          <a:prstGeom prst="rect">
            <a:avLst/>
          </a:prstGeom>
          <a:noFill/>
        </p:spPr>
        <p:txBody>
          <a:bodyPr anchor="ctr"/>
          <a:lstStyle>
            <a:lvl1pPr marL="0" indent="0">
              <a:buNone/>
              <a:defRPr sz="2133">
                <a:latin typeface="+mn-lt"/>
              </a:defRPr>
            </a:lvl1pPr>
          </a:lstStyle>
          <a:p>
            <a:pPr algn="ctr"/>
            <a:r>
              <a:rPr lang="en-GB" sz="2399" i="1" dirty="0">
                <a:solidFill>
                  <a:schemeClr val="tx2"/>
                </a:solidFill>
              </a:rPr>
              <a:t>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58" y="1754318"/>
            <a:ext cx="11137900" cy="1186717"/>
          </a:xfrm>
          <a:prstGeom prst="round1Rect">
            <a:avLst>
              <a:gd name="adj" fmla="val 11105"/>
            </a:avLst>
          </a:prstGeom>
          <a:solidFill>
            <a:schemeClr val="accent3">
              <a:lumMod val="20000"/>
              <a:lumOff val="80000"/>
              <a:alpha val="70000"/>
            </a:schemeClr>
          </a:solidFill>
          <a:effectLst/>
        </p:spPr>
        <p:txBody>
          <a:bodyPr lIns="72000" tIns="72000" rIns="72000" bIns="72000" anchor="ctr">
            <a:spAutoFit/>
          </a:bodyPr>
          <a:lstStyle>
            <a:lvl1pPr>
              <a:spcAft>
                <a:spcPts val="720"/>
              </a:spcAft>
              <a:buClr>
                <a:schemeClr val="tx2"/>
              </a:buClr>
              <a:defRPr sz="2133">
                <a:solidFill>
                  <a:schemeClr val="tx1"/>
                </a:solidFill>
                <a:latin typeface="+mn-lt"/>
              </a:defRPr>
            </a:lvl1pPr>
            <a:lvl2pPr>
              <a:spcAft>
                <a:spcPts val="720"/>
              </a:spcAft>
              <a:buClr>
                <a:schemeClr val="tx2"/>
              </a:buClr>
              <a:defRPr sz="1867">
                <a:solidFill>
                  <a:schemeClr val="tx1"/>
                </a:solidFill>
                <a:latin typeface="+mn-lt"/>
              </a:defRPr>
            </a:lvl2pPr>
            <a:lvl3pPr>
              <a:spcAft>
                <a:spcPts val="0"/>
              </a:spcAft>
              <a:buClr>
                <a:schemeClr val="tx2"/>
              </a:buClr>
              <a:defRPr sz="160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7624016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60" y="241934"/>
            <a:ext cx="8247641"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3" y="1268964"/>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49" y="6259600"/>
            <a:ext cx="4800000" cy="360000"/>
          </a:xfrm>
          <a:prstGeom prst="rect">
            <a:avLst/>
          </a:prstGeom>
        </p:spPr>
        <p:txBody>
          <a:bodyPr lIns="0" tIns="0" rIns="0" bIns="0" anchor="b"/>
          <a:lstStyle>
            <a:lvl1pPr marL="0" indent="0">
              <a:buNone/>
              <a:defRPr sz="1067">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1" y="6259600"/>
            <a:ext cx="4800000" cy="360000"/>
          </a:xfrm>
          <a:prstGeom prst="rect">
            <a:avLst/>
          </a:prstGeom>
        </p:spPr>
        <p:txBody>
          <a:bodyPr lIns="0" tIns="0" rIns="0" bIns="0" anchor="b"/>
          <a:lstStyle>
            <a:lvl1pPr marL="212273" indent="-212273" algn="r">
              <a:buNone/>
              <a:defRPr lang="en-GB" sz="1067"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9659802" y="104288"/>
            <a:ext cx="2427877" cy="1343043"/>
          </a:xfrm>
          <a:prstGeom prst="rect">
            <a:avLst/>
          </a:prstGeom>
          <a:noFill/>
        </p:spPr>
        <p:txBody>
          <a:bodyPr anchor="ctr"/>
          <a:lstStyle>
            <a:lvl1pPr marL="0" indent="0">
              <a:buNone/>
              <a:defRPr sz="2133">
                <a:latin typeface="+mn-lt"/>
              </a:defRPr>
            </a:lvl1pPr>
          </a:lstStyle>
          <a:p>
            <a:pPr algn="ctr"/>
            <a:r>
              <a:rPr lang="en-GB" sz="2399" i="1" dirty="0">
                <a:solidFill>
                  <a:schemeClr val="tx2"/>
                </a:solidFill>
              </a:rPr>
              <a:t>Video location</a:t>
            </a:r>
          </a:p>
        </p:txBody>
      </p:sp>
      <p:sp>
        <p:nvSpPr>
          <p:cNvPr id="12" name="Text Placeholder 13">
            <a:extLst>
              <a:ext uri="{FF2B5EF4-FFF2-40B4-BE49-F238E27FC236}">
                <a16:creationId xmlns:a16="http://schemas.microsoft.com/office/drawing/2014/main" id="{8A8F6F41-E4E2-4CF5-B3F3-601469C45B3B}"/>
              </a:ext>
            </a:extLst>
          </p:cNvPr>
          <p:cNvSpPr>
            <a:spLocks noGrp="1"/>
          </p:cNvSpPr>
          <p:nvPr>
            <p:ph type="body" sz="quarter" idx="10"/>
          </p:nvPr>
        </p:nvSpPr>
        <p:spPr>
          <a:xfrm>
            <a:off x="527058" y="1735944"/>
            <a:ext cx="5482535" cy="4155315"/>
          </a:xfrm>
          <a:prstGeom prst="rect">
            <a:avLst/>
          </a:prstGeom>
        </p:spPr>
        <p:txBody>
          <a:bodyPr lIns="72000" tIns="0" rIns="72000" bIns="0"/>
          <a:lstStyle>
            <a:lvl1pPr>
              <a:spcAft>
                <a:spcPts val="720"/>
              </a:spcAft>
              <a:buClr>
                <a:schemeClr val="tx2"/>
              </a:buClr>
              <a:defRPr sz="2133">
                <a:solidFill>
                  <a:schemeClr val="tx1"/>
                </a:solidFill>
                <a:latin typeface="+mn-lt"/>
              </a:defRPr>
            </a:lvl1pPr>
            <a:lvl2pPr>
              <a:spcAft>
                <a:spcPts val="720"/>
              </a:spcAft>
              <a:buClr>
                <a:schemeClr val="tx2"/>
              </a:buClr>
              <a:defRPr sz="1867">
                <a:solidFill>
                  <a:schemeClr val="tx1"/>
                </a:solidFill>
                <a:latin typeface="+mn-lt"/>
              </a:defRPr>
            </a:lvl2pPr>
            <a:lvl3pPr>
              <a:spcAft>
                <a:spcPts val="720"/>
              </a:spcAft>
              <a:buClr>
                <a:schemeClr val="tx2"/>
              </a:buClr>
              <a:defRPr sz="160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35944"/>
            <a:ext cx="5482539" cy="4155315"/>
          </a:xfrm>
          <a:prstGeom prst="rect">
            <a:avLst/>
          </a:prstGeom>
        </p:spPr>
        <p:txBody>
          <a:bodyPr lIns="72000" tIns="0" rIns="72000" bIns="0"/>
          <a:lstStyle>
            <a:lvl1pPr>
              <a:spcAft>
                <a:spcPts val="720"/>
              </a:spcAft>
              <a:buClr>
                <a:schemeClr val="tx2"/>
              </a:buClr>
              <a:defRPr sz="2133">
                <a:solidFill>
                  <a:schemeClr val="tx1"/>
                </a:solidFill>
                <a:latin typeface="+mn-lt"/>
              </a:defRPr>
            </a:lvl1pPr>
            <a:lvl2pPr>
              <a:spcAft>
                <a:spcPts val="720"/>
              </a:spcAft>
              <a:buClr>
                <a:schemeClr val="tx2"/>
              </a:buClr>
              <a:defRPr sz="1867">
                <a:solidFill>
                  <a:schemeClr val="tx1"/>
                </a:solidFill>
                <a:latin typeface="+mn-lt"/>
              </a:defRPr>
            </a:lvl2pPr>
            <a:lvl3pPr>
              <a:spcAft>
                <a:spcPts val="720"/>
              </a:spcAft>
              <a:buClr>
                <a:schemeClr val="tx2"/>
              </a:buClr>
              <a:defRPr sz="160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2134215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7060" y="241934"/>
            <a:ext cx="8247641"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3" y="1268964"/>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49" y="6259600"/>
            <a:ext cx="4800000" cy="360000"/>
          </a:xfrm>
          <a:prstGeom prst="rect">
            <a:avLst/>
          </a:prstGeom>
        </p:spPr>
        <p:txBody>
          <a:bodyPr lIns="0" tIns="0" rIns="0" bIns="0" anchor="b"/>
          <a:lstStyle>
            <a:lvl1pPr marL="0" indent="0">
              <a:buNone/>
              <a:defRPr sz="1067">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1" y="6259600"/>
            <a:ext cx="4800000" cy="360000"/>
          </a:xfrm>
          <a:prstGeom prst="rect">
            <a:avLst/>
          </a:prstGeom>
        </p:spPr>
        <p:txBody>
          <a:bodyPr lIns="0" tIns="0" rIns="0" bIns="0" anchor="b"/>
          <a:lstStyle>
            <a:lvl1pPr marL="212273" indent="-212273" algn="r">
              <a:buNone/>
              <a:defRPr lang="en-GB" sz="1067"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9659802" y="104288"/>
            <a:ext cx="2427877" cy="1343043"/>
          </a:xfrm>
          <a:prstGeom prst="rect">
            <a:avLst/>
          </a:prstGeom>
          <a:noFill/>
        </p:spPr>
        <p:txBody>
          <a:bodyPr anchor="ctr"/>
          <a:lstStyle>
            <a:lvl1pPr marL="0" indent="0">
              <a:buNone/>
              <a:defRPr sz="2133">
                <a:latin typeface="+mn-lt"/>
              </a:defRPr>
            </a:lvl1pPr>
          </a:lstStyle>
          <a:p>
            <a:pPr algn="ctr"/>
            <a:r>
              <a:rPr lang="en-GB" sz="2399" i="1" dirty="0">
                <a:solidFill>
                  <a:schemeClr val="tx2"/>
                </a:solidFill>
              </a:rPr>
              <a:t>Video location</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54318"/>
            <a:ext cx="5482539" cy="1186717"/>
          </a:xfrm>
          <a:prstGeom prst="round1Rect">
            <a:avLst>
              <a:gd name="adj" fmla="val 7629"/>
            </a:avLst>
          </a:prstGeom>
          <a:solidFill>
            <a:schemeClr val="accent3">
              <a:lumMod val="20000"/>
              <a:lumOff val="80000"/>
              <a:alpha val="70000"/>
            </a:schemeClr>
          </a:solidFill>
          <a:effectLst/>
        </p:spPr>
        <p:txBody>
          <a:bodyPr lIns="72000" tIns="72000" rIns="72000" bIns="72000" anchor="ctr">
            <a:spAutoFit/>
          </a:bodyPr>
          <a:lstStyle>
            <a:lvl1pPr>
              <a:spcAft>
                <a:spcPts val="720"/>
              </a:spcAft>
              <a:buClr>
                <a:schemeClr val="tx2"/>
              </a:buClr>
              <a:defRPr sz="2133">
                <a:solidFill>
                  <a:schemeClr val="tx1"/>
                </a:solidFill>
                <a:latin typeface="+mn-lt"/>
              </a:defRPr>
            </a:lvl1pPr>
            <a:lvl2pPr>
              <a:spcAft>
                <a:spcPts val="720"/>
              </a:spcAft>
              <a:buClr>
                <a:schemeClr val="tx2"/>
              </a:buClr>
              <a:defRPr sz="1867">
                <a:solidFill>
                  <a:schemeClr val="tx1"/>
                </a:solidFill>
                <a:latin typeface="+mn-lt"/>
              </a:defRPr>
            </a:lvl2pPr>
            <a:lvl3pPr>
              <a:spcAft>
                <a:spcPts val="0"/>
              </a:spcAft>
              <a:buClr>
                <a:schemeClr val="tx2"/>
              </a:buClr>
              <a:defRPr sz="160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4" name="Text Placeholder 13">
            <a:extLst>
              <a:ext uri="{FF2B5EF4-FFF2-40B4-BE49-F238E27FC236}">
                <a16:creationId xmlns:a16="http://schemas.microsoft.com/office/drawing/2014/main" id="{CD6AABCE-79A0-4BD1-8518-A40974D9AEEF}"/>
              </a:ext>
            </a:extLst>
          </p:cNvPr>
          <p:cNvSpPr>
            <a:spLocks noGrp="1"/>
          </p:cNvSpPr>
          <p:nvPr>
            <p:ph type="body" sz="quarter" idx="16"/>
          </p:nvPr>
        </p:nvSpPr>
        <p:spPr>
          <a:xfrm>
            <a:off x="528321" y="1754318"/>
            <a:ext cx="5482539" cy="1186717"/>
          </a:xfrm>
          <a:prstGeom prst="round1Rect">
            <a:avLst>
              <a:gd name="adj" fmla="val 9715"/>
            </a:avLst>
          </a:prstGeom>
          <a:solidFill>
            <a:schemeClr val="accent3">
              <a:lumMod val="20000"/>
              <a:lumOff val="80000"/>
              <a:alpha val="70000"/>
            </a:schemeClr>
          </a:solidFill>
          <a:effectLst/>
        </p:spPr>
        <p:txBody>
          <a:bodyPr lIns="72000" tIns="72000" rIns="72000" bIns="72000" anchor="ctr">
            <a:spAutoFit/>
          </a:bodyPr>
          <a:lstStyle>
            <a:lvl1pPr>
              <a:spcAft>
                <a:spcPts val="720"/>
              </a:spcAft>
              <a:buClr>
                <a:schemeClr val="tx2"/>
              </a:buClr>
              <a:defRPr sz="2133">
                <a:solidFill>
                  <a:schemeClr val="tx1"/>
                </a:solidFill>
                <a:latin typeface="+mn-lt"/>
              </a:defRPr>
            </a:lvl1pPr>
            <a:lvl2pPr>
              <a:spcAft>
                <a:spcPts val="720"/>
              </a:spcAft>
              <a:buClr>
                <a:schemeClr val="tx2"/>
              </a:buClr>
              <a:defRPr sz="1867">
                <a:solidFill>
                  <a:schemeClr val="tx1"/>
                </a:solidFill>
                <a:latin typeface="+mn-lt"/>
              </a:defRPr>
            </a:lvl2pPr>
            <a:lvl3pPr>
              <a:spcAft>
                <a:spcPts val="0"/>
              </a:spcAft>
              <a:buClr>
                <a:schemeClr val="tx2"/>
              </a:buClr>
              <a:defRPr sz="160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2467084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7058" y="241934"/>
            <a:ext cx="8247641" cy="907252"/>
          </a:xfrm>
        </p:spPr>
        <p:txBody>
          <a:bodyPr/>
          <a:lstStyle>
            <a:lvl1pPr>
              <a:lnSpc>
                <a:spcPts val="3839"/>
              </a:lnSpc>
              <a:defRPr sz="3732">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3" y="1268964"/>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 Placeholder 15">
            <a:extLst>
              <a:ext uri="{FF2B5EF4-FFF2-40B4-BE49-F238E27FC236}">
                <a16:creationId xmlns:a16="http://schemas.microsoft.com/office/drawing/2014/main" id="{CCA7112D-5416-4F9D-98ED-11F5D963980E}"/>
              </a:ext>
            </a:extLst>
          </p:cNvPr>
          <p:cNvSpPr>
            <a:spLocks noGrp="1"/>
          </p:cNvSpPr>
          <p:nvPr>
            <p:ph type="body" sz="quarter" idx="11" hasCustomPrompt="1"/>
          </p:nvPr>
        </p:nvSpPr>
        <p:spPr>
          <a:xfrm>
            <a:off x="527049" y="6259600"/>
            <a:ext cx="4800000" cy="360000"/>
          </a:xfrm>
          <a:prstGeom prst="rect">
            <a:avLst/>
          </a:prstGeom>
        </p:spPr>
        <p:txBody>
          <a:bodyPr lIns="0" tIns="0" rIns="0" bIns="0" anchor="b"/>
          <a:lstStyle>
            <a:lvl1pPr marL="0" indent="0">
              <a:buNone/>
              <a:defRPr sz="1067">
                <a:solidFill>
                  <a:schemeClr val="tx1"/>
                </a:solidFill>
                <a:latin typeface="+mn-lt"/>
                <a:cs typeface="Arial" panose="020B0604020202020204" pitchFamily="34" charset="0"/>
              </a:defRPr>
            </a:lvl1pPr>
          </a:lstStyle>
          <a:p>
            <a:pPr lvl="0"/>
            <a:r>
              <a:rPr lang="en-US" dirty="0"/>
              <a:t>Footnotes</a:t>
            </a:r>
          </a:p>
        </p:txBody>
      </p:sp>
      <p:sp>
        <p:nvSpPr>
          <p:cNvPr id="7" name="Text Placeholder 17">
            <a:extLst>
              <a:ext uri="{FF2B5EF4-FFF2-40B4-BE49-F238E27FC236}">
                <a16:creationId xmlns:a16="http://schemas.microsoft.com/office/drawing/2014/main" id="{CD206B1E-413B-495E-8F38-977C209B7D33}"/>
              </a:ext>
            </a:extLst>
          </p:cNvPr>
          <p:cNvSpPr>
            <a:spLocks noGrp="1"/>
          </p:cNvSpPr>
          <p:nvPr>
            <p:ph type="body" sz="quarter" idx="12" hasCustomPrompt="1"/>
          </p:nvPr>
        </p:nvSpPr>
        <p:spPr>
          <a:xfrm>
            <a:off x="6864951" y="6259600"/>
            <a:ext cx="4800000" cy="360000"/>
          </a:xfrm>
          <a:prstGeom prst="rect">
            <a:avLst/>
          </a:prstGeom>
        </p:spPr>
        <p:txBody>
          <a:bodyPr lIns="0" tIns="0" rIns="0" bIns="0" anchor="b"/>
          <a:lstStyle>
            <a:lvl1pPr marL="212273" indent="-212273" algn="r">
              <a:buNone/>
              <a:defRPr lang="en-GB" sz="1067" dirty="0">
                <a:solidFill>
                  <a:schemeClr val="tx1"/>
                </a:solidFill>
                <a:latin typeface="+mn-lt"/>
              </a:defRPr>
            </a:lvl1pPr>
          </a:lstStyle>
          <a:p>
            <a:pPr marL="0" lvl="0" indent="0"/>
            <a:r>
              <a:rPr lang="en-GB" dirty="0"/>
              <a:t>References</a:t>
            </a:r>
          </a:p>
        </p:txBody>
      </p:sp>
      <p:sp>
        <p:nvSpPr>
          <p:cNvPr id="8" name="Text Placeholder 3">
            <a:extLst>
              <a:ext uri="{FF2B5EF4-FFF2-40B4-BE49-F238E27FC236}">
                <a16:creationId xmlns:a16="http://schemas.microsoft.com/office/drawing/2014/main" id="{A8D61146-BEBD-4D85-8FF5-0615F15509F8}"/>
              </a:ext>
            </a:extLst>
          </p:cNvPr>
          <p:cNvSpPr>
            <a:spLocks noGrp="1"/>
          </p:cNvSpPr>
          <p:nvPr>
            <p:ph type="body" sz="quarter" idx="13" hasCustomPrompt="1"/>
          </p:nvPr>
        </p:nvSpPr>
        <p:spPr>
          <a:xfrm>
            <a:off x="9659802" y="104288"/>
            <a:ext cx="2427877" cy="1343043"/>
          </a:xfrm>
          <a:prstGeom prst="rect">
            <a:avLst/>
          </a:prstGeom>
          <a:noFill/>
        </p:spPr>
        <p:txBody>
          <a:bodyPr anchor="ctr"/>
          <a:lstStyle>
            <a:lvl1pPr marL="0" indent="0">
              <a:buNone/>
              <a:defRPr sz="2133">
                <a:latin typeface="+mn-lt"/>
              </a:defRPr>
            </a:lvl1pPr>
          </a:lstStyle>
          <a:p>
            <a:pPr algn="ctr"/>
            <a:r>
              <a:rPr lang="en-GB" sz="2399" i="1" dirty="0">
                <a:solidFill>
                  <a:schemeClr val="tx2"/>
                </a:solidFill>
              </a:rPr>
              <a:t>Video location</a:t>
            </a:r>
          </a:p>
        </p:txBody>
      </p:sp>
    </p:spTree>
    <p:extLst>
      <p:ext uri="{BB962C8B-B14F-4D97-AF65-F5344CB8AC3E}">
        <p14:creationId xmlns:p14="http://schemas.microsoft.com/office/powerpoint/2010/main" val="3682430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1B5D3B9-E31F-431A-A0B0-A4436CBD6EC8}"/>
              </a:ext>
            </a:extLst>
          </p:cNvPr>
          <p:cNvSpPr/>
          <p:nvPr userDrawn="1"/>
        </p:nvSpPr>
        <p:spPr>
          <a:xfrm>
            <a:off x="2" y="-3"/>
            <a:ext cx="6095999" cy="68580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2834121">
              <a:spcBef>
                <a:spcPts val="7438"/>
              </a:spcBef>
              <a:spcAft>
                <a:spcPts val="1860"/>
              </a:spcAft>
              <a:buClrTx/>
            </a:pPr>
            <a:endParaRPr lang="en-GB" sz="1240" kern="1200" dirty="0">
              <a:solidFill>
                <a:prstClr val="white"/>
              </a:solidFill>
              <a:latin typeface="+mj-lt"/>
              <a:cs typeface="Arial" panose="020B0604020202020204" pitchFamily="34" charset="0"/>
            </a:endParaRPr>
          </a:p>
        </p:txBody>
      </p:sp>
      <p:sp>
        <p:nvSpPr>
          <p:cNvPr id="2" name="Title 1"/>
          <p:cNvSpPr>
            <a:spLocks noGrp="1"/>
          </p:cNvSpPr>
          <p:nvPr>
            <p:ph type="ctrTitle" hasCustomPrompt="1"/>
          </p:nvPr>
        </p:nvSpPr>
        <p:spPr>
          <a:xfrm>
            <a:off x="400053" y="1585928"/>
            <a:ext cx="4137660" cy="1300163"/>
          </a:xfrm>
        </p:spPr>
        <p:txBody>
          <a:bodyPr lIns="0" anchor="b"/>
          <a:lstStyle>
            <a:lvl1pPr algn="l">
              <a:defRPr sz="2879" spc="0" baseline="0">
                <a:solidFill>
                  <a:schemeClr val="bg1"/>
                </a:solidFill>
                <a:latin typeface="+mn-lt"/>
              </a:defRPr>
            </a:lvl1pPr>
          </a:lstStyle>
          <a:p>
            <a:r>
              <a:rPr lang="en-US" dirty="0"/>
              <a:t>Poster title</a:t>
            </a:r>
            <a:endParaRPr lang="en-GB" dirty="0"/>
          </a:p>
        </p:txBody>
      </p:sp>
      <p:sp>
        <p:nvSpPr>
          <p:cNvPr id="3" name="Subtitle 2"/>
          <p:cNvSpPr>
            <a:spLocks noGrp="1"/>
          </p:cNvSpPr>
          <p:nvPr>
            <p:ph type="subTitle" idx="1" hasCustomPrompt="1"/>
          </p:nvPr>
        </p:nvSpPr>
        <p:spPr>
          <a:xfrm>
            <a:off x="400053" y="3254654"/>
            <a:ext cx="4137660" cy="693059"/>
          </a:xfrm>
          <a:prstGeom prst="rect">
            <a:avLst/>
          </a:prstGeom>
        </p:spPr>
        <p:txBody>
          <a:bodyPr lIns="0" tIns="45640" rIns="91280" bIns="45640"/>
          <a:lstStyle>
            <a:lvl1pPr marL="0" indent="0" algn="l">
              <a:spcBef>
                <a:spcPts val="0"/>
              </a:spcBef>
              <a:spcAft>
                <a:spcPts val="0"/>
              </a:spcAft>
              <a:buNone/>
              <a:defRPr sz="2160">
                <a:solidFill>
                  <a:schemeClr val="bg1"/>
                </a:solidFill>
                <a:latin typeface="+mn-lt"/>
              </a:defRPr>
            </a:lvl1pPr>
            <a:lvl2pPr marL="456226" indent="0" algn="ctr">
              <a:buNone/>
              <a:defRPr>
                <a:solidFill>
                  <a:schemeClr val="tx1">
                    <a:tint val="75000"/>
                  </a:schemeClr>
                </a:solidFill>
              </a:defRPr>
            </a:lvl2pPr>
            <a:lvl3pPr marL="912451" indent="0" algn="ctr">
              <a:buNone/>
              <a:defRPr>
                <a:solidFill>
                  <a:schemeClr val="tx1">
                    <a:tint val="75000"/>
                  </a:schemeClr>
                </a:solidFill>
              </a:defRPr>
            </a:lvl3pPr>
            <a:lvl4pPr marL="1368676" indent="0" algn="ctr">
              <a:buNone/>
              <a:defRPr>
                <a:solidFill>
                  <a:schemeClr val="tx1">
                    <a:tint val="75000"/>
                  </a:schemeClr>
                </a:solidFill>
              </a:defRPr>
            </a:lvl4pPr>
            <a:lvl5pPr marL="1824901" indent="0" algn="ctr">
              <a:buNone/>
              <a:defRPr>
                <a:solidFill>
                  <a:schemeClr val="tx1">
                    <a:tint val="75000"/>
                  </a:schemeClr>
                </a:solidFill>
              </a:defRPr>
            </a:lvl5pPr>
            <a:lvl6pPr marL="2281126" indent="0" algn="ctr">
              <a:buNone/>
              <a:defRPr>
                <a:solidFill>
                  <a:schemeClr val="tx1">
                    <a:tint val="75000"/>
                  </a:schemeClr>
                </a:solidFill>
              </a:defRPr>
            </a:lvl6pPr>
            <a:lvl7pPr marL="2737353" indent="0" algn="ctr">
              <a:buNone/>
              <a:defRPr>
                <a:solidFill>
                  <a:schemeClr val="tx1">
                    <a:tint val="75000"/>
                  </a:schemeClr>
                </a:solidFill>
              </a:defRPr>
            </a:lvl7pPr>
            <a:lvl8pPr marL="3193576" indent="0" algn="ctr">
              <a:buNone/>
              <a:defRPr>
                <a:solidFill>
                  <a:schemeClr val="tx1">
                    <a:tint val="75000"/>
                  </a:schemeClr>
                </a:solidFill>
              </a:defRPr>
            </a:lvl8pPr>
            <a:lvl9pPr marL="3649798" indent="0" algn="ctr">
              <a:buNone/>
              <a:defRPr>
                <a:solidFill>
                  <a:schemeClr val="tx1">
                    <a:tint val="75000"/>
                  </a:schemeClr>
                </a:solidFill>
              </a:defRPr>
            </a:lvl9pPr>
          </a:lstStyle>
          <a:p>
            <a:r>
              <a:rPr lang="en-US" dirty="0"/>
              <a:t>Authors</a:t>
            </a:r>
            <a:r>
              <a:rPr lang="en-GB" baseline="30000" dirty="0"/>
              <a:t>1,2</a:t>
            </a:r>
            <a:endParaRPr lang="en-GB" dirty="0"/>
          </a:p>
        </p:txBody>
      </p:sp>
      <p:sp>
        <p:nvSpPr>
          <p:cNvPr id="7" name="Text Placeholder 6"/>
          <p:cNvSpPr>
            <a:spLocks noGrp="1"/>
          </p:cNvSpPr>
          <p:nvPr>
            <p:ph type="body" sz="quarter" idx="10" hasCustomPrompt="1"/>
          </p:nvPr>
        </p:nvSpPr>
        <p:spPr>
          <a:xfrm>
            <a:off x="400053" y="4174846"/>
            <a:ext cx="4137660" cy="571500"/>
          </a:xfrm>
          <a:prstGeom prst="rect">
            <a:avLst/>
          </a:prstGeom>
        </p:spPr>
        <p:txBody>
          <a:bodyPr lIns="0" tIns="45640" rIns="91280" bIns="45640"/>
          <a:lstStyle>
            <a:lvl1pPr marL="0" indent="0" algn="l">
              <a:buNone/>
              <a:defRPr sz="1320" i="1">
                <a:solidFill>
                  <a:schemeClr val="bg1"/>
                </a:solidFill>
                <a:latin typeface="+mn-lt"/>
              </a:defRPr>
            </a:lvl1pPr>
          </a:lstStyle>
          <a:p>
            <a:pPr lvl="0"/>
            <a:r>
              <a:rPr lang="en-US" dirty="0"/>
              <a:t>Affiliations</a:t>
            </a:r>
          </a:p>
        </p:txBody>
      </p:sp>
      <p:cxnSp>
        <p:nvCxnSpPr>
          <p:cNvPr id="9" name="Straight Connector 8">
            <a:extLst>
              <a:ext uri="{FF2B5EF4-FFF2-40B4-BE49-F238E27FC236}">
                <a16:creationId xmlns:a16="http://schemas.microsoft.com/office/drawing/2014/main" id="{419D4472-FAAC-4C84-A1F6-1BC5ECD7E56C}"/>
              </a:ext>
            </a:extLst>
          </p:cNvPr>
          <p:cNvCxnSpPr>
            <a:cxnSpLocks/>
          </p:cNvCxnSpPr>
          <p:nvPr userDrawn="1"/>
        </p:nvCxnSpPr>
        <p:spPr>
          <a:xfrm>
            <a:off x="400053" y="987963"/>
            <a:ext cx="98869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15">
            <a:extLst>
              <a:ext uri="{FF2B5EF4-FFF2-40B4-BE49-F238E27FC236}">
                <a16:creationId xmlns:a16="http://schemas.microsoft.com/office/drawing/2014/main" id="{C787081B-3704-4712-8A0A-400B4B3EB31F}"/>
              </a:ext>
            </a:extLst>
          </p:cNvPr>
          <p:cNvSpPr>
            <a:spLocks noGrp="1"/>
          </p:cNvSpPr>
          <p:nvPr>
            <p:ph type="body" sz="quarter" idx="13" hasCustomPrompt="1"/>
          </p:nvPr>
        </p:nvSpPr>
        <p:spPr>
          <a:xfrm>
            <a:off x="400054" y="255271"/>
            <a:ext cx="1767415" cy="554356"/>
          </a:xfrm>
          <a:prstGeom prst="rect">
            <a:avLst/>
          </a:prstGeom>
        </p:spPr>
        <p:txBody>
          <a:bodyPr lIns="0" anchor="ctr">
            <a:noAutofit/>
          </a:bodyPr>
          <a:lstStyle>
            <a:lvl1pPr marL="0" indent="0">
              <a:lnSpc>
                <a:spcPct val="100000"/>
              </a:lnSpc>
              <a:buNone/>
              <a:defRPr lang="en-US" sz="2160" b="1" i="0" u="none" strike="noStrike" cap="none" dirty="0">
                <a:solidFill>
                  <a:schemeClr val="bg1"/>
                </a:solidFill>
                <a:latin typeface="Arial"/>
                <a:ea typeface="Arial"/>
                <a:cs typeface="Arial"/>
                <a:sym typeface="Arial"/>
              </a:defRPr>
            </a:lvl1pPr>
          </a:lstStyle>
          <a:p>
            <a:pPr lvl="0"/>
            <a:r>
              <a:rPr lang="en-GB" dirty="0"/>
              <a:t>0000</a:t>
            </a:r>
            <a:endParaRPr lang="en-US" dirty="0"/>
          </a:p>
        </p:txBody>
      </p:sp>
      <p:sp>
        <p:nvSpPr>
          <p:cNvPr id="12" name="Text Placeholder 3">
            <a:extLst>
              <a:ext uri="{FF2B5EF4-FFF2-40B4-BE49-F238E27FC236}">
                <a16:creationId xmlns:a16="http://schemas.microsoft.com/office/drawing/2014/main" id="{3A335B1D-3D8C-4849-935C-D8120F956858}"/>
              </a:ext>
            </a:extLst>
          </p:cNvPr>
          <p:cNvSpPr>
            <a:spLocks noGrp="1"/>
          </p:cNvSpPr>
          <p:nvPr>
            <p:ph type="body" sz="quarter" idx="14" hasCustomPrompt="1"/>
          </p:nvPr>
        </p:nvSpPr>
        <p:spPr>
          <a:xfrm>
            <a:off x="9659802" y="104288"/>
            <a:ext cx="2427877" cy="1343043"/>
          </a:xfrm>
          <a:prstGeom prst="rect">
            <a:avLst/>
          </a:prstGeom>
          <a:noFill/>
        </p:spPr>
        <p:txBody>
          <a:bodyPr anchor="ctr"/>
          <a:lstStyle>
            <a:lvl1pPr marL="0" indent="0">
              <a:buNone/>
              <a:defRPr sz="2133">
                <a:latin typeface="+mn-lt"/>
              </a:defRPr>
            </a:lvl1pPr>
          </a:lstStyle>
          <a:p>
            <a:pPr algn="ctr"/>
            <a:r>
              <a:rPr lang="en-GB" sz="2399" i="1" dirty="0">
                <a:solidFill>
                  <a:schemeClr val="tx2"/>
                </a:solidFill>
              </a:rPr>
              <a:t>Video location</a:t>
            </a:r>
          </a:p>
        </p:txBody>
      </p:sp>
    </p:spTree>
    <p:extLst>
      <p:ext uri="{BB962C8B-B14F-4D97-AF65-F5344CB8AC3E}">
        <p14:creationId xmlns:p14="http://schemas.microsoft.com/office/powerpoint/2010/main" val="4771705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05582"/>
            <a:ext cx="10972800" cy="1143000"/>
          </a:xfrm>
          <a:prstGeom prst="rect">
            <a:avLst/>
          </a:prstGeom>
        </p:spPr>
        <p:txBody>
          <a:bodyPr vert="horz"/>
          <a:lstStyle>
            <a:lvl1pPr>
              <a:defRPr sz="3600">
                <a:solidFill>
                  <a:srgbClr val="075596"/>
                </a:solidFill>
              </a:defRPr>
            </a:lvl1pPr>
          </a:lstStyle>
          <a:p>
            <a:r>
              <a:rPr lang="en-US" dirty="0"/>
              <a:t>Click to edit Master title style</a:t>
            </a:r>
          </a:p>
        </p:txBody>
      </p:sp>
      <p:sp>
        <p:nvSpPr>
          <p:cNvPr id="3" name="Content Placeholder 2"/>
          <p:cNvSpPr>
            <a:spLocks noGrp="1"/>
          </p:cNvSpPr>
          <p:nvPr>
            <p:ph idx="1"/>
          </p:nvPr>
        </p:nvSpPr>
        <p:spPr>
          <a:xfrm>
            <a:off x="609600" y="1905000"/>
            <a:ext cx="10972800" cy="4221163"/>
          </a:xfrm>
          <a:prstGeom prst="rect">
            <a:avLst/>
          </a:prstGeom>
        </p:spPr>
        <p:txBody>
          <a:bodyPr vert="horz"/>
          <a:lstStyle>
            <a:lvl1pPr>
              <a:buClr>
                <a:srgbClr val="075596"/>
              </a:buClr>
              <a:defRPr>
                <a:latin typeface="+mn-lt"/>
                <a:cs typeface="Times"/>
              </a:defRPr>
            </a:lvl1pPr>
            <a:lvl2pPr>
              <a:buClr>
                <a:srgbClr val="075596"/>
              </a:buClr>
              <a:defRPr>
                <a:latin typeface="+mn-lt"/>
                <a:cs typeface="Times"/>
              </a:defRPr>
            </a:lvl2pPr>
            <a:lvl3pPr>
              <a:buClr>
                <a:srgbClr val="075596"/>
              </a:buClr>
              <a:defRPr>
                <a:latin typeface="+mn-lt"/>
                <a:cs typeface="Times"/>
              </a:defRPr>
            </a:lvl3pPr>
            <a:lvl4pPr>
              <a:buClr>
                <a:srgbClr val="075596"/>
              </a:buClr>
              <a:defRPr>
                <a:latin typeface="+mn-lt"/>
                <a:cs typeface="Times"/>
              </a:defRPr>
            </a:lvl4pPr>
            <a:lvl5pPr>
              <a:buClr>
                <a:srgbClr val="075596"/>
              </a:buClr>
              <a:defRPr>
                <a:latin typeface="+mn-lt"/>
                <a:cs typeface="Time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6"/>
          <p:cNvSpPr>
            <a:spLocks noGrp="1" noChangeArrowheads="1"/>
          </p:cNvSpPr>
          <p:nvPr>
            <p:ph type="sldNum" sz="quarter" idx="12"/>
          </p:nvPr>
        </p:nvSpPr>
        <p:spPr>
          <a:ln/>
        </p:spPr>
        <p:txBody>
          <a:bodyPr/>
          <a:lstStyle>
            <a:lvl1pPr>
              <a:defRPr/>
            </a:lvl1pPr>
          </a:lstStyle>
          <a:p>
            <a:pPr>
              <a:defRPr/>
            </a:pPr>
            <a:fld id="{EC9828B1-8DE8-40A3-9CCF-80DA5E3FCF34}" type="slidenum">
              <a:rPr lang="en-US" altLang="en-US"/>
              <a:pPr>
                <a:defRPr/>
              </a:pPr>
              <a:t>‹#›</a:t>
            </a:fld>
            <a:endParaRPr lang="en-US" altLang="en-US"/>
          </a:p>
        </p:txBody>
      </p:sp>
    </p:spTree>
    <p:extLst>
      <p:ext uri="{BB962C8B-B14F-4D97-AF65-F5344CB8AC3E}">
        <p14:creationId xmlns:p14="http://schemas.microsoft.com/office/powerpoint/2010/main" val="16822388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965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32885"/>
            <a:ext cx="10363200" cy="1300163"/>
          </a:xfrm>
        </p:spPr>
        <p:txBody>
          <a:bodyPr lIns="90000" tIns="46800" rIns="90000" bIns="46800"/>
          <a:lstStyle>
            <a:lvl1pPr algn="l">
              <a:defRPr sz="3733" spc="0" baseline="0">
                <a:solidFill>
                  <a:schemeClr val="tx2"/>
                </a:solidFill>
                <a:latin typeface="+mn-lt"/>
              </a:defRPr>
            </a:lvl1pPr>
          </a:lstStyle>
          <a:p>
            <a:r>
              <a:rPr lang="en-US" dirty="0"/>
              <a:t>Click to edit Master title style</a:t>
            </a:r>
            <a:endParaRPr lang="en-GB" dirty="0"/>
          </a:p>
        </p:txBody>
      </p:sp>
      <p:cxnSp>
        <p:nvCxnSpPr>
          <p:cNvPr id="5" name="Straight Connector 4"/>
          <p:cNvCxnSpPr/>
          <p:nvPr userDrawn="1"/>
        </p:nvCxnSpPr>
        <p:spPr>
          <a:xfrm flipV="1">
            <a:off x="528323" y="3325460"/>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ubtitle 2">
            <a:extLst>
              <a:ext uri="{FF2B5EF4-FFF2-40B4-BE49-F238E27FC236}">
                <a16:creationId xmlns:a16="http://schemas.microsoft.com/office/drawing/2014/main" id="{CB92EBC5-026D-4287-AF7F-3A7743A12C26}"/>
              </a:ext>
            </a:extLst>
          </p:cNvPr>
          <p:cNvSpPr>
            <a:spLocks noGrp="1"/>
          </p:cNvSpPr>
          <p:nvPr>
            <p:ph type="subTitle" idx="1"/>
          </p:nvPr>
        </p:nvSpPr>
        <p:spPr>
          <a:xfrm>
            <a:off x="914400" y="3624953"/>
            <a:ext cx="10363200" cy="693059"/>
          </a:xfrm>
          <a:prstGeom prst="rect">
            <a:avLst/>
          </a:prstGeom>
        </p:spPr>
        <p:txBody>
          <a:bodyPr/>
          <a:lstStyle>
            <a:lvl1pPr marL="0" indent="0">
              <a:buNone/>
              <a:defRPr sz="2133">
                <a:solidFill>
                  <a:schemeClr val="tx1"/>
                </a:solidFill>
                <a:latin typeface="+mn-lt"/>
              </a:defRPr>
            </a:lvl1pPr>
          </a:lstStyle>
          <a:p>
            <a:r>
              <a:rPr lang="en-GB" sz="2160" dirty="0"/>
              <a:t>Author names</a:t>
            </a:r>
            <a:r>
              <a:rPr lang="en-GB" sz="2160" baseline="30000" dirty="0"/>
              <a:t>1,2 </a:t>
            </a:r>
            <a:r>
              <a:rPr lang="en-GB" sz="2160" dirty="0"/>
              <a:t>(Arial 18 </a:t>
            </a:r>
            <a:r>
              <a:rPr lang="en-GB" sz="2160" dirty="0" err="1"/>
              <a:t>pt</a:t>
            </a:r>
            <a:r>
              <a:rPr lang="en-GB" sz="2160" dirty="0"/>
              <a:t>)</a:t>
            </a:r>
          </a:p>
        </p:txBody>
      </p:sp>
      <p:sp>
        <p:nvSpPr>
          <p:cNvPr id="12" name="Text Placeholder 3">
            <a:extLst>
              <a:ext uri="{FF2B5EF4-FFF2-40B4-BE49-F238E27FC236}">
                <a16:creationId xmlns:a16="http://schemas.microsoft.com/office/drawing/2014/main" id="{1E894BEA-76D2-43AC-BECE-7FE25863A859}"/>
              </a:ext>
            </a:extLst>
          </p:cNvPr>
          <p:cNvSpPr>
            <a:spLocks noGrp="1"/>
          </p:cNvSpPr>
          <p:nvPr>
            <p:ph type="body" sz="quarter" idx="10"/>
          </p:nvPr>
        </p:nvSpPr>
        <p:spPr>
          <a:xfrm>
            <a:off x="914400" y="5063067"/>
            <a:ext cx="10363200" cy="571500"/>
          </a:xfrm>
          <a:prstGeom prst="rect">
            <a:avLst/>
          </a:prstGeom>
        </p:spPr>
        <p:txBody>
          <a:bodyPr/>
          <a:lstStyle>
            <a:lvl1pPr marL="0" indent="0">
              <a:buNone/>
              <a:defRPr sz="1400" i="1">
                <a:solidFill>
                  <a:schemeClr val="tx1"/>
                </a:solidFill>
                <a:latin typeface="+mn-lt"/>
              </a:defRPr>
            </a:lvl1pPr>
          </a:lstStyle>
          <a:p>
            <a:r>
              <a:rPr lang="en-GB" sz="1440" baseline="30000" dirty="0"/>
              <a:t>1</a:t>
            </a:r>
            <a:r>
              <a:rPr lang="en-GB" sz="1440" dirty="0"/>
              <a:t>Affiliations (Arial 11 </a:t>
            </a:r>
            <a:r>
              <a:rPr lang="en-GB" sz="1440" dirty="0" err="1"/>
              <a:t>pt</a:t>
            </a:r>
            <a:r>
              <a:rPr lang="en-GB" sz="1440" dirty="0"/>
              <a:t> </a:t>
            </a:r>
            <a:r>
              <a:rPr lang="en-GB" sz="1440" dirty="0" err="1"/>
              <a:t>itals</a:t>
            </a:r>
            <a:r>
              <a:rPr lang="en-GB" sz="1440" dirty="0"/>
              <a:t>)</a:t>
            </a:r>
          </a:p>
        </p:txBody>
      </p:sp>
      <p:cxnSp>
        <p:nvCxnSpPr>
          <p:cNvPr id="13" name="Straight Connector 12">
            <a:extLst>
              <a:ext uri="{FF2B5EF4-FFF2-40B4-BE49-F238E27FC236}">
                <a16:creationId xmlns:a16="http://schemas.microsoft.com/office/drawing/2014/main" id="{2EF12FC8-6320-4F30-BC04-DA9B9FFDAA1B}"/>
              </a:ext>
            </a:extLst>
          </p:cNvPr>
          <p:cNvCxnSpPr>
            <a:cxnSpLocks/>
          </p:cNvCxnSpPr>
          <p:nvPr userDrawn="1"/>
        </p:nvCxnSpPr>
        <p:spPr>
          <a:xfrm flipH="1">
            <a:off x="910590" y="3736966"/>
            <a:ext cx="3811" cy="1242204"/>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4A27C4D8-49BE-4F9F-8201-7490DEA848F6}"/>
              </a:ext>
            </a:extLst>
          </p:cNvPr>
          <p:cNvSpPr>
            <a:spLocks noGrp="1"/>
          </p:cNvSpPr>
          <p:nvPr>
            <p:ph type="body" sz="quarter" idx="13" hasCustomPrompt="1"/>
          </p:nvPr>
        </p:nvSpPr>
        <p:spPr>
          <a:xfrm>
            <a:off x="9659802" y="104289"/>
            <a:ext cx="2427877" cy="1343043"/>
          </a:xfrm>
          <a:prstGeom prst="rect">
            <a:avLst/>
          </a:prstGeom>
          <a:noFill/>
        </p:spPr>
        <p:txBody>
          <a:bodyPr anchor="ctr"/>
          <a:lstStyle>
            <a:lvl1pPr marL="0" indent="0">
              <a:buNone/>
              <a:defRPr sz="2133">
                <a:latin typeface="+mn-lt"/>
              </a:defRPr>
            </a:lvl1pPr>
          </a:lstStyle>
          <a:p>
            <a:pPr algn="ctr"/>
            <a:r>
              <a:rPr lang="en-GB" sz="2400" i="1" dirty="0">
                <a:solidFill>
                  <a:schemeClr val="tx2"/>
                </a:solidFill>
              </a:rPr>
              <a:t>Video location</a:t>
            </a:r>
          </a:p>
        </p:txBody>
      </p:sp>
    </p:spTree>
    <p:extLst>
      <p:ext uri="{BB962C8B-B14F-4D97-AF65-F5344CB8AC3E}">
        <p14:creationId xmlns:p14="http://schemas.microsoft.com/office/powerpoint/2010/main" val="34407388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ectio">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5"/>
            <a:ext cx="10363200" cy="1300163"/>
          </a:xfrm>
        </p:spPr>
        <p:txBody>
          <a:bodyPr lIns="360000"/>
          <a:lstStyle>
            <a:lvl1pPr algn="l">
              <a:defRPr sz="4267" spc="0" baseline="0">
                <a:solidFill>
                  <a:schemeClr val="bg1"/>
                </a:solidFill>
                <a:latin typeface="+mn-lt"/>
              </a:defRPr>
            </a:lvl1pPr>
          </a:lstStyle>
          <a:p>
            <a:r>
              <a:rPr lang="en-US" dirty="0"/>
              <a:t>Click to edit Master title style</a:t>
            </a:r>
            <a:endParaRPr lang="en-GB" dirty="0"/>
          </a:p>
        </p:txBody>
      </p:sp>
      <p:sp>
        <p:nvSpPr>
          <p:cNvPr id="3" name="Subtitle 2"/>
          <p:cNvSpPr>
            <a:spLocks noGrp="1"/>
          </p:cNvSpPr>
          <p:nvPr>
            <p:ph type="subTitle" idx="1"/>
          </p:nvPr>
        </p:nvSpPr>
        <p:spPr>
          <a:xfrm>
            <a:off x="914400" y="3624953"/>
            <a:ext cx="10363200" cy="693059"/>
          </a:xfrm>
          <a:prstGeom prst="rect">
            <a:avLst/>
          </a:prstGeom>
        </p:spPr>
        <p:txBody>
          <a:bodyPr lIns="360000" tIns="45640" rIns="91280" bIns="45640"/>
          <a:lstStyle>
            <a:lvl1pPr marL="0" indent="0" algn="l">
              <a:spcBef>
                <a:spcPts val="0"/>
              </a:spcBef>
              <a:spcAft>
                <a:spcPts val="0"/>
              </a:spcAft>
              <a:buNone/>
              <a:defRPr sz="2133" i="1">
                <a:solidFill>
                  <a:schemeClr val="bg1"/>
                </a:solidFill>
                <a:latin typeface="+mn-lt"/>
              </a:defRPr>
            </a:lvl1pPr>
            <a:lvl2pPr marL="456363" indent="0" algn="ctr">
              <a:buNone/>
              <a:defRPr>
                <a:solidFill>
                  <a:schemeClr val="tx1">
                    <a:tint val="75000"/>
                  </a:schemeClr>
                </a:solidFill>
              </a:defRPr>
            </a:lvl2pPr>
            <a:lvl3pPr marL="912724" indent="0" algn="ctr">
              <a:buNone/>
              <a:defRPr>
                <a:solidFill>
                  <a:schemeClr val="tx1">
                    <a:tint val="75000"/>
                  </a:schemeClr>
                </a:solidFill>
              </a:defRPr>
            </a:lvl3pPr>
            <a:lvl4pPr marL="1369087" indent="0" algn="ctr">
              <a:buNone/>
              <a:defRPr>
                <a:solidFill>
                  <a:schemeClr val="tx1">
                    <a:tint val="75000"/>
                  </a:schemeClr>
                </a:solidFill>
              </a:defRPr>
            </a:lvl4pPr>
            <a:lvl5pPr marL="1825449" indent="0" algn="ctr">
              <a:buNone/>
              <a:defRPr>
                <a:solidFill>
                  <a:schemeClr val="tx1">
                    <a:tint val="75000"/>
                  </a:schemeClr>
                </a:solidFill>
              </a:defRPr>
            </a:lvl5pPr>
            <a:lvl6pPr marL="2281808" indent="0" algn="ctr">
              <a:buNone/>
              <a:defRPr>
                <a:solidFill>
                  <a:schemeClr val="tx1">
                    <a:tint val="75000"/>
                  </a:schemeClr>
                </a:solidFill>
              </a:defRPr>
            </a:lvl6pPr>
            <a:lvl7pPr marL="2738174" indent="0" algn="ctr">
              <a:buNone/>
              <a:defRPr>
                <a:solidFill>
                  <a:schemeClr val="tx1">
                    <a:tint val="75000"/>
                  </a:schemeClr>
                </a:solidFill>
              </a:defRPr>
            </a:lvl7pPr>
            <a:lvl8pPr marL="3194535" indent="0" algn="ctr">
              <a:buNone/>
              <a:defRPr>
                <a:solidFill>
                  <a:schemeClr val="tx1">
                    <a:tint val="75000"/>
                  </a:schemeClr>
                </a:solidFill>
              </a:defRPr>
            </a:lvl8pPr>
            <a:lvl9pPr marL="3650891" indent="0" algn="ctr">
              <a:buNone/>
              <a:defRPr>
                <a:solidFill>
                  <a:schemeClr val="tx1">
                    <a:tint val="75000"/>
                  </a:schemeClr>
                </a:solidFill>
              </a:defRPr>
            </a:lvl9pPr>
          </a:lstStyle>
          <a:p>
            <a:r>
              <a:rPr lang="en-US" dirty="0"/>
              <a:t>Click to edit Master subtitle style</a:t>
            </a:r>
            <a:endParaRPr lang="en-GB" dirty="0"/>
          </a:p>
        </p:txBody>
      </p:sp>
      <p:cxnSp>
        <p:nvCxnSpPr>
          <p:cNvPr id="5" name="Straight Connector 4">
            <a:extLst>
              <a:ext uri="{FF2B5EF4-FFF2-40B4-BE49-F238E27FC236}">
                <a16:creationId xmlns:a16="http://schemas.microsoft.com/office/drawing/2014/main" id="{1C4B9F0A-2668-7142-8307-4E6DEED2A492}"/>
              </a:ext>
            </a:extLst>
          </p:cNvPr>
          <p:cNvCxnSpPr/>
          <p:nvPr userDrawn="1"/>
        </p:nvCxnSpPr>
        <p:spPr>
          <a:xfrm>
            <a:off x="914400" y="2130435"/>
            <a:ext cx="0" cy="2187579"/>
          </a:xfrm>
          <a:prstGeom prst="line">
            <a:avLst/>
          </a:prstGeom>
          <a:ln w="635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31339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3" y="241926"/>
            <a:ext cx="8246376" cy="907252"/>
          </a:xfrm>
        </p:spPr>
        <p:txBody>
          <a:bodyPr/>
          <a:lstStyle>
            <a:lvl1pPr>
              <a:lnSpc>
                <a:spcPts val="3840"/>
              </a:lnSpc>
              <a:defRPr sz="3733"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3" y="1268964"/>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49" y="6259601"/>
            <a:ext cx="4800000" cy="360000"/>
          </a:xfrm>
          <a:prstGeom prst="rect">
            <a:avLst/>
          </a:prstGeom>
        </p:spPr>
        <p:txBody>
          <a:bodyPr lIns="0" tIns="0" rIns="0" bIns="0" anchor="b"/>
          <a:lstStyle>
            <a:lvl1pPr marL="0" indent="0">
              <a:buNone/>
              <a:tabLst/>
              <a:defRPr sz="108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1" y="6259601"/>
            <a:ext cx="4800000" cy="360000"/>
          </a:xfrm>
          <a:prstGeom prst="rect">
            <a:avLst/>
          </a:prstGeom>
        </p:spPr>
        <p:txBody>
          <a:bodyPr lIns="0" tIns="0" rIns="0" bIns="0" anchor="b"/>
          <a:lstStyle>
            <a:lvl1pPr marL="212337" indent="-212337" algn="r">
              <a:buNone/>
              <a:defRPr lang="en-GB" sz="108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9659802" y="104289"/>
            <a:ext cx="2427877" cy="1343043"/>
          </a:xfrm>
          <a:prstGeom prst="rect">
            <a:avLst/>
          </a:prstGeom>
          <a:noFill/>
        </p:spPr>
        <p:txBody>
          <a:bodyPr anchor="ctr"/>
          <a:lstStyle>
            <a:lvl1pPr marL="0" indent="0">
              <a:buNone/>
              <a:defRPr sz="2133">
                <a:latin typeface="+mn-lt"/>
              </a:defRPr>
            </a:lvl1pPr>
          </a:lstStyle>
          <a:p>
            <a:pPr algn="ctr"/>
            <a:r>
              <a:rPr lang="en-GB" sz="2400" i="1" dirty="0">
                <a:solidFill>
                  <a:schemeClr val="tx2"/>
                </a:solidFill>
              </a:rPr>
              <a:t>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58" y="1735944"/>
            <a:ext cx="11137900" cy="4155315"/>
          </a:xfrm>
          <a:prstGeom prst="rect">
            <a:avLst/>
          </a:prstGeom>
        </p:spPr>
        <p:txBody>
          <a:bodyPr lIns="72000" tIns="0" rIns="72000" bIns="0"/>
          <a:lstStyle>
            <a:lvl1pPr>
              <a:spcAft>
                <a:spcPts val="720"/>
              </a:spcAft>
              <a:buClr>
                <a:schemeClr val="tx2"/>
              </a:buClr>
              <a:defRPr sz="2133">
                <a:solidFill>
                  <a:schemeClr val="tx1"/>
                </a:solidFill>
                <a:latin typeface="+mn-lt"/>
              </a:defRPr>
            </a:lvl1pPr>
            <a:lvl2pPr>
              <a:spcAft>
                <a:spcPts val="720"/>
              </a:spcAft>
              <a:buClr>
                <a:schemeClr val="tx2"/>
              </a:buClr>
              <a:defRPr sz="1867">
                <a:solidFill>
                  <a:schemeClr val="tx1"/>
                </a:solidFill>
                <a:latin typeface="+mn-lt"/>
              </a:defRPr>
            </a:lvl2pPr>
            <a:lvl3pPr>
              <a:spcAft>
                <a:spcPts val="720"/>
              </a:spcAft>
              <a:buClr>
                <a:schemeClr val="tx2"/>
              </a:buClr>
              <a:defRPr sz="160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182556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3" y="241926"/>
            <a:ext cx="8246376" cy="907252"/>
          </a:xfrm>
        </p:spPr>
        <p:txBody>
          <a:bodyPr/>
          <a:lstStyle>
            <a:lvl1pPr>
              <a:lnSpc>
                <a:spcPts val="3840"/>
              </a:lnSpc>
              <a:defRPr sz="3733"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3" y="1268964"/>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49" y="6259601"/>
            <a:ext cx="4800000" cy="360000"/>
          </a:xfrm>
          <a:prstGeom prst="rect">
            <a:avLst/>
          </a:prstGeom>
        </p:spPr>
        <p:txBody>
          <a:bodyPr lIns="0" tIns="0" rIns="0" bIns="0" anchor="b"/>
          <a:lstStyle>
            <a:lvl1pPr marL="0" indent="0">
              <a:buNone/>
              <a:tabLst/>
              <a:defRPr sz="108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1" y="6259601"/>
            <a:ext cx="4800000" cy="360000"/>
          </a:xfrm>
          <a:prstGeom prst="rect">
            <a:avLst/>
          </a:prstGeom>
        </p:spPr>
        <p:txBody>
          <a:bodyPr lIns="0" tIns="0" rIns="0" bIns="0" anchor="b"/>
          <a:lstStyle>
            <a:lvl1pPr marL="212337" indent="-212337" algn="r">
              <a:buNone/>
              <a:defRPr lang="en-GB" sz="108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9659802" y="104289"/>
            <a:ext cx="2427877" cy="1343043"/>
          </a:xfrm>
          <a:prstGeom prst="rect">
            <a:avLst/>
          </a:prstGeom>
          <a:noFill/>
        </p:spPr>
        <p:txBody>
          <a:bodyPr anchor="ctr"/>
          <a:lstStyle>
            <a:lvl1pPr marL="0" indent="0">
              <a:buNone/>
              <a:defRPr sz="2133">
                <a:latin typeface="+mn-lt"/>
              </a:defRPr>
            </a:lvl1pPr>
          </a:lstStyle>
          <a:p>
            <a:pPr algn="ctr"/>
            <a:r>
              <a:rPr lang="en-GB" sz="2400" i="1" dirty="0">
                <a:solidFill>
                  <a:schemeClr val="tx2"/>
                </a:solidFill>
              </a:rPr>
              <a:t>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58" y="1754319"/>
            <a:ext cx="11137900" cy="1186717"/>
          </a:xfrm>
          <a:prstGeom prst="round1Rect">
            <a:avLst>
              <a:gd name="adj" fmla="val 11105"/>
            </a:avLst>
          </a:prstGeom>
          <a:solidFill>
            <a:schemeClr val="accent3">
              <a:lumMod val="20000"/>
              <a:lumOff val="80000"/>
              <a:alpha val="70000"/>
            </a:schemeClr>
          </a:solidFill>
          <a:effectLst/>
        </p:spPr>
        <p:txBody>
          <a:bodyPr lIns="72000" tIns="72000" rIns="72000" bIns="72000" anchor="ctr">
            <a:spAutoFit/>
          </a:bodyPr>
          <a:lstStyle>
            <a:lvl1pPr>
              <a:spcAft>
                <a:spcPts val="720"/>
              </a:spcAft>
              <a:buClr>
                <a:schemeClr val="tx2"/>
              </a:buClr>
              <a:defRPr sz="2133">
                <a:solidFill>
                  <a:schemeClr val="tx1"/>
                </a:solidFill>
                <a:latin typeface="+mn-lt"/>
              </a:defRPr>
            </a:lvl1pPr>
            <a:lvl2pPr>
              <a:spcAft>
                <a:spcPts val="720"/>
              </a:spcAft>
              <a:buClr>
                <a:schemeClr val="tx2"/>
              </a:buClr>
              <a:defRPr sz="1867">
                <a:solidFill>
                  <a:schemeClr val="tx1"/>
                </a:solidFill>
                <a:latin typeface="+mn-lt"/>
              </a:defRPr>
            </a:lvl2pPr>
            <a:lvl3pPr>
              <a:spcAft>
                <a:spcPts val="0"/>
              </a:spcAft>
              <a:buClr>
                <a:schemeClr val="tx2"/>
              </a:buClr>
              <a:defRPr sz="160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6167574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60" y="241935"/>
            <a:ext cx="8247641" cy="907252"/>
          </a:xfrm>
        </p:spPr>
        <p:txBody>
          <a:bodyPr/>
          <a:lstStyle>
            <a:lvl1pPr>
              <a:lnSpc>
                <a:spcPts val="3840"/>
              </a:lnSpc>
              <a:defRPr sz="3733"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3" y="1268964"/>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49" y="6259601"/>
            <a:ext cx="4800000" cy="360000"/>
          </a:xfrm>
          <a:prstGeom prst="rect">
            <a:avLst/>
          </a:prstGeom>
        </p:spPr>
        <p:txBody>
          <a:bodyPr lIns="0" tIns="0" rIns="0" bIns="0" anchor="b"/>
          <a:lstStyle>
            <a:lvl1pPr marL="0" indent="0">
              <a:buNone/>
              <a:defRPr sz="1067">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1" y="6259601"/>
            <a:ext cx="4800000" cy="360000"/>
          </a:xfrm>
          <a:prstGeom prst="rect">
            <a:avLst/>
          </a:prstGeom>
        </p:spPr>
        <p:txBody>
          <a:bodyPr lIns="0" tIns="0" rIns="0" bIns="0" anchor="b"/>
          <a:lstStyle>
            <a:lvl1pPr marL="212337" indent="-212337" algn="r">
              <a:buNone/>
              <a:defRPr lang="en-GB" sz="1067"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9659802" y="104289"/>
            <a:ext cx="2427877" cy="1343043"/>
          </a:xfrm>
          <a:prstGeom prst="rect">
            <a:avLst/>
          </a:prstGeom>
          <a:noFill/>
        </p:spPr>
        <p:txBody>
          <a:bodyPr anchor="ctr"/>
          <a:lstStyle>
            <a:lvl1pPr marL="0" indent="0">
              <a:buNone/>
              <a:defRPr sz="2133">
                <a:latin typeface="+mn-lt"/>
              </a:defRPr>
            </a:lvl1pPr>
          </a:lstStyle>
          <a:p>
            <a:pPr algn="ctr"/>
            <a:r>
              <a:rPr lang="en-GB" sz="2400" i="1" dirty="0">
                <a:solidFill>
                  <a:schemeClr val="tx2"/>
                </a:solidFill>
              </a:rPr>
              <a:t>Video location</a:t>
            </a:r>
          </a:p>
        </p:txBody>
      </p:sp>
      <p:sp>
        <p:nvSpPr>
          <p:cNvPr id="12" name="Text Placeholder 13">
            <a:extLst>
              <a:ext uri="{FF2B5EF4-FFF2-40B4-BE49-F238E27FC236}">
                <a16:creationId xmlns:a16="http://schemas.microsoft.com/office/drawing/2014/main" id="{8A8F6F41-E4E2-4CF5-B3F3-601469C45B3B}"/>
              </a:ext>
            </a:extLst>
          </p:cNvPr>
          <p:cNvSpPr>
            <a:spLocks noGrp="1"/>
          </p:cNvSpPr>
          <p:nvPr>
            <p:ph type="body" sz="quarter" idx="10"/>
          </p:nvPr>
        </p:nvSpPr>
        <p:spPr>
          <a:xfrm>
            <a:off x="527058" y="1735944"/>
            <a:ext cx="5482535" cy="4155315"/>
          </a:xfrm>
          <a:prstGeom prst="rect">
            <a:avLst/>
          </a:prstGeom>
        </p:spPr>
        <p:txBody>
          <a:bodyPr lIns="72000" tIns="0" rIns="72000" bIns="0"/>
          <a:lstStyle>
            <a:lvl1pPr>
              <a:spcAft>
                <a:spcPts val="720"/>
              </a:spcAft>
              <a:buClr>
                <a:schemeClr val="tx2"/>
              </a:buClr>
              <a:defRPr sz="2133">
                <a:solidFill>
                  <a:schemeClr val="tx1"/>
                </a:solidFill>
                <a:latin typeface="+mn-lt"/>
              </a:defRPr>
            </a:lvl1pPr>
            <a:lvl2pPr>
              <a:spcAft>
                <a:spcPts val="720"/>
              </a:spcAft>
              <a:buClr>
                <a:schemeClr val="tx2"/>
              </a:buClr>
              <a:defRPr sz="1867">
                <a:solidFill>
                  <a:schemeClr val="tx1"/>
                </a:solidFill>
                <a:latin typeface="+mn-lt"/>
              </a:defRPr>
            </a:lvl2pPr>
            <a:lvl3pPr>
              <a:spcAft>
                <a:spcPts val="720"/>
              </a:spcAft>
              <a:buClr>
                <a:schemeClr val="tx2"/>
              </a:buClr>
              <a:defRPr sz="160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35944"/>
            <a:ext cx="5482539" cy="4155315"/>
          </a:xfrm>
          <a:prstGeom prst="rect">
            <a:avLst/>
          </a:prstGeom>
        </p:spPr>
        <p:txBody>
          <a:bodyPr lIns="72000" tIns="0" rIns="72000" bIns="0"/>
          <a:lstStyle>
            <a:lvl1pPr>
              <a:spcAft>
                <a:spcPts val="720"/>
              </a:spcAft>
              <a:buClr>
                <a:schemeClr val="tx2"/>
              </a:buClr>
              <a:defRPr sz="2133">
                <a:solidFill>
                  <a:schemeClr val="tx1"/>
                </a:solidFill>
                <a:latin typeface="+mn-lt"/>
              </a:defRPr>
            </a:lvl1pPr>
            <a:lvl2pPr>
              <a:spcAft>
                <a:spcPts val="720"/>
              </a:spcAft>
              <a:buClr>
                <a:schemeClr val="tx2"/>
              </a:buClr>
              <a:defRPr sz="1867">
                <a:solidFill>
                  <a:schemeClr val="tx1"/>
                </a:solidFill>
                <a:latin typeface="+mn-lt"/>
              </a:defRPr>
            </a:lvl2pPr>
            <a:lvl3pPr>
              <a:spcAft>
                <a:spcPts val="720"/>
              </a:spcAft>
              <a:buClr>
                <a:schemeClr val="tx2"/>
              </a:buClr>
              <a:defRPr sz="160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0122339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7060" y="241935"/>
            <a:ext cx="8247641" cy="907252"/>
          </a:xfrm>
        </p:spPr>
        <p:txBody>
          <a:bodyPr/>
          <a:lstStyle>
            <a:lvl1pPr>
              <a:lnSpc>
                <a:spcPts val="3840"/>
              </a:lnSpc>
              <a:defRPr sz="3733"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3" y="1268964"/>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49" y="6259601"/>
            <a:ext cx="4800000" cy="360000"/>
          </a:xfrm>
          <a:prstGeom prst="rect">
            <a:avLst/>
          </a:prstGeom>
        </p:spPr>
        <p:txBody>
          <a:bodyPr lIns="0" tIns="0" rIns="0" bIns="0" anchor="b"/>
          <a:lstStyle>
            <a:lvl1pPr marL="0" indent="0">
              <a:buNone/>
              <a:defRPr sz="1067">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1" y="6259601"/>
            <a:ext cx="4800000" cy="360000"/>
          </a:xfrm>
          <a:prstGeom prst="rect">
            <a:avLst/>
          </a:prstGeom>
        </p:spPr>
        <p:txBody>
          <a:bodyPr lIns="0" tIns="0" rIns="0" bIns="0" anchor="b"/>
          <a:lstStyle>
            <a:lvl1pPr marL="212337" indent="-212337" algn="r">
              <a:buNone/>
              <a:defRPr lang="en-GB" sz="1067"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9659802" y="104289"/>
            <a:ext cx="2427877" cy="1343043"/>
          </a:xfrm>
          <a:prstGeom prst="rect">
            <a:avLst/>
          </a:prstGeom>
          <a:noFill/>
        </p:spPr>
        <p:txBody>
          <a:bodyPr anchor="ctr"/>
          <a:lstStyle>
            <a:lvl1pPr marL="0" indent="0">
              <a:buNone/>
              <a:defRPr sz="2133">
                <a:latin typeface="+mn-lt"/>
              </a:defRPr>
            </a:lvl1pPr>
          </a:lstStyle>
          <a:p>
            <a:pPr algn="ctr"/>
            <a:r>
              <a:rPr lang="en-GB" sz="2400" i="1" dirty="0">
                <a:solidFill>
                  <a:schemeClr val="tx2"/>
                </a:solidFill>
              </a:rPr>
              <a:t>Video location</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54319"/>
            <a:ext cx="5482539" cy="1186717"/>
          </a:xfrm>
          <a:prstGeom prst="round1Rect">
            <a:avLst>
              <a:gd name="adj" fmla="val 7629"/>
            </a:avLst>
          </a:prstGeom>
          <a:solidFill>
            <a:schemeClr val="accent3">
              <a:lumMod val="20000"/>
              <a:lumOff val="80000"/>
              <a:alpha val="70000"/>
            </a:schemeClr>
          </a:solidFill>
          <a:effectLst/>
        </p:spPr>
        <p:txBody>
          <a:bodyPr lIns="72000" tIns="72000" rIns="72000" bIns="72000" anchor="ctr">
            <a:spAutoFit/>
          </a:bodyPr>
          <a:lstStyle>
            <a:lvl1pPr>
              <a:spcAft>
                <a:spcPts val="720"/>
              </a:spcAft>
              <a:buClr>
                <a:schemeClr val="tx2"/>
              </a:buClr>
              <a:defRPr sz="2133">
                <a:solidFill>
                  <a:schemeClr val="tx1"/>
                </a:solidFill>
                <a:latin typeface="+mn-lt"/>
              </a:defRPr>
            </a:lvl1pPr>
            <a:lvl2pPr>
              <a:spcAft>
                <a:spcPts val="720"/>
              </a:spcAft>
              <a:buClr>
                <a:schemeClr val="tx2"/>
              </a:buClr>
              <a:defRPr sz="1867">
                <a:solidFill>
                  <a:schemeClr val="tx1"/>
                </a:solidFill>
                <a:latin typeface="+mn-lt"/>
              </a:defRPr>
            </a:lvl2pPr>
            <a:lvl3pPr>
              <a:spcAft>
                <a:spcPts val="0"/>
              </a:spcAft>
              <a:buClr>
                <a:schemeClr val="tx2"/>
              </a:buClr>
              <a:defRPr sz="160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4" name="Text Placeholder 13">
            <a:extLst>
              <a:ext uri="{FF2B5EF4-FFF2-40B4-BE49-F238E27FC236}">
                <a16:creationId xmlns:a16="http://schemas.microsoft.com/office/drawing/2014/main" id="{CD6AABCE-79A0-4BD1-8518-A40974D9AEEF}"/>
              </a:ext>
            </a:extLst>
          </p:cNvPr>
          <p:cNvSpPr>
            <a:spLocks noGrp="1"/>
          </p:cNvSpPr>
          <p:nvPr>
            <p:ph type="body" sz="quarter" idx="16"/>
          </p:nvPr>
        </p:nvSpPr>
        <p:spPr>
          <a:xfrm>
            <a:off x="528321" y="1754319"/>
            <a:ext cx="5482539" cy="1186717"/>
          </a:xfrm>
          <a:prstGeom prst="round1Rect">
            <a:avLst>
              <a:gd name="adj" fmla="val 9715"/>
            </a:avLst>
          </a:prstGeom>
          <a:solidFill>
            <a:schemeClr val="accent3">
              <a:lumMod val="20000"/>
              <a:lumOff val="80000"/>
              <a:alpha val="70000"/>
            </a:schemeClr>
          </a:solidFill>
          <a:effectLst/>
        </p:spPr>
        <p:txBody>
          <a:bodyPr lIns="72000" tIns="72000" rIns="72000" bIns="72000" anchor="ctr">
            <a:spAutoFit/>
          </a:bodyPr>
          <a:lstStyle>
            <a:lvl1pPr>
              <a:spcAft>
                <a:spcPts val="720"/>
              </a:spcAft>
              <a:buClr>
                <a:schemeClr val="tx2"/>
              </a:buClr>
              <a:defRPr sz="2133">
                <a:solidFill>
                  <a:schemeClr val="tx1"/>
                </a:solidFill>
                <a:latin typeface="+mn-lt"/>
              </a:defRPr>
            </a:lvl1pPr>
            <a:lvl2pPr>
              <a:spcAft>
                <a:spcPts val="720"/>
              </a:spcAft>
              <a:buClr>
                <a:schemeClr val="tx2"/>
              </a:buClr>
              <a:defRPr sz="1867">
                <a:solidFill>
                  <a:schemeClr val="tx1"/>
                </a:solidFill>
                <a:latin typeface="+mn-lt"/>
              </a:defRPr>
            </a:lvl2pPr>
            <a:lvl3pPr>
              <a:spcAft>
                <a:spcPts val="0"/>
              </a:spcAft>
              <a:buClr>
                <a:schemeClr val="tx2"/>
              </a:buClr>
              <a:defRPr sz="160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0523241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extLst>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7058" y="241935"/>
            <a:ext cx="8247641" cy="907252"/>
          </a:xfrm>
        </p:spPr>
        <p:txBody>
          <a:bodyPr/>
          <a:lstStyle>
            <a:lvl1pPr>
              <a:lnSpc>
                <a:spcPts val="3840"/>
              </a:lnSpc>
              <a:defRPr sz="3733">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3" y="1268964"/>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 Placeholder 15">
            <a:extLst>
              <a:ext uri="{FF2B5EF4-FFF2-40B4-BE49-F238E27FC236}">
                <a16:creationId xmlns:a16="http://schemas.microsoft.com/office/drawing/2014/main" id="{CCA7112D-5416-4F9D-98ED-11F5D963980E}"/>
              </a:ext>
            </a:extLst>
          </p:cNvPr>
          <p:cNvSpPr>
            <a:spLocks noGrp="1"/>
          </p:cNvSpPr>
          <p:nvPr>
            <p:ph type="body" sz="quarter" idx="11" hasCustomPrompt="1"/>
          </p:nvPr>
        </p:nvSpPr>
        <p:spPr>
          <a:xfrm>
            <a:off x="527049" y="6259601"/>
            <a:ext cx="4800000" cy="360000"/>
          </a:xfrm>
          <a:prstGeom prst="rect">
            <a:avLst/>
          </a:prstGeom>
        </p:spPr>
        <p:txBody>
          <a:bodyPr lIns="0" tIns="0" rIns="0" bIns="0" anchor="b"/>
          <a:lstStyle>
            <a:lvl1pPr marL="0" indent="0">
              <a:buNone/>
              <a:defRPr sz="1067">
                <a:solidFill>
                  <a:schemeClr val="tx1"/>
                </a:solidFill>
                <a:latin typeface="+mn-lt"/>
                <a:cs typeface="Arial" panose="020B0604020202020204" pitchFamily="34" charset="0"/>
              </a:defRPr>
            </a:lvl1pPr>
          </a:lstStyle>
          <a:p>
            <a:pPr lvl="0"/>
            <a:r>
              <a:rPr lang="en-US" dirty="0"/>
              <a:t>Footnotes</a:t>
            </a:r>
          </a:p>
        </p:txBody>
      </p:sp>
      <p:sp>
        <p:nvSpPr>
          <p:cNvPr id="7" name="Text Placeholder 17">
            <a:extLst>
              <a:ext uri="{FF2B5EF4-FFF2-40B4-BE49-F238E27FC236}">
                <a16:creationId xmlns:a16="http://schemas.microsoft.com/office/drawing/2014/main" id="{CD206B1E-413B-495E-8F38-977C209B7D33}"/>
              </a:ext>
            </a:extLst>
          </p:cNvPr>
          <p:cNvSpPr>
            <a:spLocks noGrp="1"/>
          </p:cNvSpPr>
          <p:nvPr>
            <p:ph type="body" sz="quarter" idx="12" hasCustomPrompt="1"/>
          </p:nvPr>
        </p:nvSpPr>
        <p:spPr>
          <a:xfrm>
            <a:off x="6864951" y="6259601"/>
            <a:ext cx="4800000" cy="360000"/>
          </a:xfrm>
          <a:prstGeom prst="rect">
            <a:avLst/>
          </a:prstGeom>
        </p:spPr>
        <p:txBody>
          <a:bodyPr lIns="0" tIns="0" rIns="0" bIns="0" anchor="b"/>
          <a:lstStyle>
            <a:lvl1pPr marL="212337" indent="-212337" algn="r">
              <a:buNone/>
              <a:defRPr lang="en-GB" sz="1067" dirty="0">
                <a:solidFill>
                  <a:schemeClr val="tx1"/>
                </a:solidFill>
                <a:latin typeface="+mn-lt"/>
              </a:defRPr>
            </a:lvl1pPr>
          </a:lstStyle>
          <a:p>
            <a:pPr marL="0" lvl="0" indent="0"/>
            <a:r>
              <a:rPr lang="en-GB" dirty="0"/>
              <a:t>References</a:t>
            </a:r>
          </a:p>
        </p:txBody>
      </p:sp>
      <p:sp>
        <p:nvSpPr>
          <p:cNvPr id="8" name="Text Placeholder 3">
            <a:extLst>
              <a:ext uri="{FF2B5EF4-FFF2-40B4-BE49-F238E27FC236}">
                <a16:creationId xmlns:a16="http://schemas.microsoft.com/office/drawing/2014/main" id="{A8D61146-BEBD-4D85-8FF5-0615F15509F8}"/>
              </a:ext>
            </a:extLst>
          </p:cNvPr>
          <p:cNvSpPr>
            <a:spLocks noGrp="1"/>
          </p:cNvSpPr>
          <p:nvPr>
            <p:ph type="body" sz="quarter" idx="13" hasCustomPrompt="1"/>
          </p:nvPr>
        </p:nvSpPr>
        <p:spPr>
          <a:xfrm>
            <a:off x="9659802" y="104289"/>
            <a:ext cx="2427877" cy="1343043"/>
          </a:xfrm>
          <a:prstGeom prst="rect">
            <a:avLst/>
          </a:prstGeom>
          <a:noFill/>
        </p:spPr>
        <p:txBody>
          <a:bodyPr anchor="ctr"/>
          <a:lstStyle>
            <a:lvl1pPr marL="0" indent="0">
              <a:buNone/>
              <a:defRPr sz="2133">
                <a:latin typeface="+mn-lt"/>
              </a:defRPr>
            </a:lvl1pPr>
          </a:lstStyle>
          <a:p>
            <a:pPr algn="ctr"/>
            <a:r>
              <a:rPr lang="en-GB" sz="2400" i="1" dirty="0">
                <a:solidFill>
                  <a:schemeClr val="tx2"/>
                </a:solidFill>
              </a:rPr>
              <a:t>Video location</a:t>
            </a:r>
          </a:p>
        </p:txBody>
      </p:sp>
    </p:spTree>
    <p:extLst>
      <p:ext uri="{BB962C8B-B14F-4D97-AF65-F5344CB8AC3E}">
        <p14:creationId xmlns:p14="http://schemas.microsoft.com/office/powerpoint/2010/main" val="22163885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5"/>
        <p:cNvGrpSpPr/>
        <p:nvPr/>
      </p:nvGrpSpPr>
      <p:grpSpPr>
        <a:xfrm>
          <a:off x="0" y="0"/>
          <a:ext cx="0" cy="0"/>
          <a:chOff x="0" y="0"/>
          <a:chExt cx="0" cy="0"/>
        </a:xfrm>
      </p:grpSpPr>
      <p:sp>
        <p:nvSpPr>
          <p:cNvPr id="26" name="Google Shape;26;p4"/>
          <p:cNvSpPr txBox="1">
            <a:spLocks noGrp="1"/>
          </p:cNvSpPr>
          <p:nvPr>
            <p:ph type="title"/>
          </p:nvPr>
        </p:nvSpPr>
        <p:spPr>
          <a:xfrm>
            <a:off x="528323" y="241927"/>
            <a:ext cx="8246376" cy="907255"/>
          </a:xfrm>
          <a:prstGeom prst="rect">
            <a:avLst/>
          </a:prstGeom>
          <a:noFill/>
          <a:ln>
            <a:noFill/>
          </a:ln>
        </p:spPr>
        <p:txBody>
          <a:bodyPr spcFirstLastPara="1" wrap="square" lIns="0" tIns="0" rIns="0" bIns="0" anchor="b" anchorCtr="0">
            <a:noAutofit/>
          </a:bodyPr>
          <a:lstStyle>
            <a:lvl1pPr lvl="0" algn="l">
              <a:lnSpc>
                <a:spcPct val="102857"/>
              </a:lnSpc>
              <a:spcBef>
                <a:spcPts val="0"/>
              </a:spcBef>
              <a:spcAft>
                <a:spcPts val="0"/>
              </a:spcAft>
              <a:buClr>
                <a:schemeClr val="dk2"/>
              </a:buClr>
              <a:buSzPts val="1400"/>
              <a:buFont typeface="Arial"/>
              <a:buNone/>
              <a:defRPr sz="3732" b="1">
                <a:solidFill>
                  <a:schemeClr val="dk2"/>
                </a:solidFill>
                <a:latin typeface="Arial"/>
                <a:ea typeface="Arial"/>
                <a:cs typeface="Arial"/>
                <a:sym typeface="Arial"/>
              </a:defRPr>
            </a:lvl1pPr>
            <a:lvl2pPr lvl="1" algn="l">
              <a:lnSpc>
                <a:spcPct val="100000"/>
              </a:lnSpc>
              <a:spcBef>
                <a:spcPts val="0"/>
              </a:spcBef>
              <a:spcAft>
                <a:spcPts val="0"/>
              </a:spcAft>
              <a:buClr>
                <a:srgbClr val="00B0F0"/>
              </a:buClr>
              <a:buSzPts val="1400"/>
              <a:buFont typeface="Arial"/>
              <a:buNone/>
              <a:defRPr/>
            </a:lvl2pPr>
            <a:lvl3pPr lvl="2" algn="l">
              <a:lnSpc>
                <a:spcPct val="100000"/>
              </a:lnSpc>
              <a:spcBef>
                <a:spcPts val="0"/>
              </a:spcBef>
              <a:spcAft>
                <a:spcPts val="0"/>
              </a:spcAft>
              <a:buClr>
                <a:srgbClr val="00B0F0"/>
              </a:buClr>
              <a:buSzPts val="1400"/>
              <a:buFont typeface="Arial"/>
              <a:buNone/>
              <a:defRPr/>
            </a:lvl3pPr>
            <a:lvl4pPr lvl="3" algn="l">
              <a:lnSpc>
                <a:spcPct val="100000"/>
              </a:lnSpc>
              <a:spcBef>
                <a:spcPts val="0"/>
              </a:spcBef>
              <a:spcAft>
                <a:spcPts val="0"/>
              </a:spcAft>
              <a:buClr>
                <a:srgbClr val="00B0F0"/>
              </a:buClr>
              <a:buSzPts val="1400"/>
              <a:buFont typeface="Arial"/>
              <a:buNone/>
              <a:defRPr/>
            </a:lvl4pPr>
            <a:lvl5pPr lvl="4" algn="l">
              <a:lnSpc>
                <a:spcPct val="100000"/>
              </a:lnSpc>
              <a:spcBef>
                <a:spcPts val="0"/>
              </a:spcBef>
              <a:spcAft>
                <a:spcPts val="0"/>
              </a:spcAft>
              <a:buClr>
                <a:srgbClr val="00B0F0"/>
              </a:buClr>
              <a:buSzPts val="1400"/>
              <a:buFont typeface="Arial"/>
              <a:buNone/>
              <a:defRPr/>
            </a:lvl5pPr>
            <a:lvl6pPr lvl="5" algn="l">
              <a:lnSpc>
                <a:spcPct val="100000"/>
              </a:lnSpc>
              <a:spcBef>
                <a:spcPts val="0"/>
              </a:spcBef>
              <a:spcAft>
                <a:spcPts val="0"/>
              </a:spcAft>
              <a:buClr>
                <a:srgbClr val="00B0F0"/>
              </a:buClr>
              <a:buSzPts val="1400"/>
              <a:buFont typeface="Arial"/>
              <a:buNone/>
              <a:defRPr/>
            </a:lvl6pPr>
            <a:lvl7pPr lvl="6" algn="l">
              <a:lnSpc>
                <a:spcPct val="100000"/>
              </a:lnSpc>
              <a:spcBef>
                <a:spcPts val="0"/>
              </a:spcBef>
              <a:spcAft>
                <a:spcPts val="0"/>
              </a:spcAft>
              <a:buClr>
                <a:srgbClr val="00B0F0"/>
              </a:buClr>
              <a:buSzPts val="1400"/>
              <a:buFont typeface="Arial"/>
              <a:buNone/>
              <a:defRPr/>
            </a:lvl7pPr>
            <a:lvl8pPr lvl="7" algn="l">
              <a:lnSpc>
                <a:spcPct val="100000"/>
              </a:lnSpc>
              <a:spcBef>
                <a:spcPts val="0"/>
              </a:spcBef>
              <a:spcAft>
                <a:spcPts val="0"/>
              </a:spcAft>
              <a:buClr>
                <a:srgbClr val="00B0F0"/>
              </a:buClr>
              <a:buSzPts val="1400"/>
              <a:buFont typeface="Arial"/>
              <a:buNone/>
              <a:defRPr/>
            </a:lvl8pPr>
            <a:lvl9pPr lvl="8" algn="l">
              <a:lnSpc>
                <a:spcPct val="100000"/>
              </a:lnSpc>
              <a:spcBef>
                <a:spcPts val="0"/>
              </a:spcBef>
              <a:spcAft>
                <a:spcPts val="0"/>
              </a:spcAft>
              <a:buClr>
                <a:srgbClr val="00B0F0"/>
              </a:buClr>
              <a:buSzPts val="1400"/>
              <a:buFont typeface="Arial"/>
              <a:buNone/>
              <a:defRPr/>
            </a:lvl9pPr>
          </a:lstStyle>
          <a:p>
            <a:endParaRPr/>
          </a:p>
        </p:txBody>
      </p:sp>
      <p:cxnSp>
        <p:nvCxnSpPr>
          <p:cNvPr id="27" name="Google Shape;27;p4"/>
          <p:cNvCxnSpPr/>
          <p:nvPr/>
        </p:nvCxnSpPr>
        <p:spPr>
          <a:xfrm rot="10800000" flipH="1">
            <a:off x="528323" y="1268968"/>
            <a:ext cx="11135360" cy="9525"/>
          </a:xfrm>
          <a:prstGeom prst="straightConnector1">
            <a:avLst/>
          </a:prstGeom>
          <a:noFill/>
          <a:ln w="28575" cap="flat" cmpd="sng">
            <a:solidFill>
              <a:schemeClr val="dk2"/>
            </a:solidFill>
            <a:prstDash val="solid"/>
            <a:round/>
            <a:headEnd type="none" w="sm" len="sm"/>
            <a:tailEnd type="none" w="sm" len="sm"/>
          </a:ln>
        </p:spPr>
      </p:cxnSp>
      <p:sp>
        <p:nvSpPr>
          <p:cNvPr id="28" name="Google Shape;28;p4"/>
          <p:cNvSpPr txBox="1">
            <a:spLocks noGrp="1"/>
          </p:cNvSpPr>
          <p:nvPr>
            <p:ph type="body" idx="1"/>
          </p:nvPr>
        </p:nvSpPr>
        <p:spPr>
          <a:xfrm>
            <a:off x="527049" y="6259617"/>
            <a:ext cx="4800000" cy="360000"/>
          </a:xfrm>
          <a:prstGeom prst="rect">
            <a:avLst/>
          </a:prstGeom>
          <a:noFill/>
          <a:ln>
            <a:noFill/>
          </a:ln>
        </p:spPr>
        <p:txBody>
          <a:bodyPr spcFirstLastPara="1" wrap="square" lIns="0" tIns="0" rIns="0" bIns="0" anchor="b" anchorCtr="0">
            <a:noAutofit/>
          </a:bodyPr>
          <a:lstStyle>
            <a:lvl1pPr marL="609402" marR="0" lvl="0" indent="-304700" algn="l" rtl="0">
              <a:lnSpc>
                <a:spcPct val="100000"/>
              </a:lnSpc>
              <a:spcBef>
                <a:spcPts val="0"/>
              </a:spcBef>
              <a:spcAft>
                <a:spcPts val="0"/>
              </a:spcAft>
              <a:buClr>
                <a:srgbClr val="F9B49B"/>
              </a:buClr>
              <a:buSzPts val="810"/>
              <a:buFont typeface="Arial"/>
              <a:buNone/>
              <a:defRPr sz="1080" b="0" i="0" u="none" strike="noStrike" cap="none">
                <a:solidFill>
                  <a:schemeClr val="dk1"/>
                </a:solidFill>
                <a:latin typeface="Arial"/>
                <a:ea typeface="Arial"/>
                <a:cs typeface="Arial"/>
                <a:sym typeface="Arial"/>
              </a:defRPr>
            </a:lvl1pPr>
            <a:lvl2pPr marL="1218804" marR="0" lvl="1" indent="-431660" algn="l" rtl="0">
              <a:lnSpc>
                <a:spcPct val="100000"/>
              </a:lnSpc>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8206" marR="0" lvl="2" indent="-431660" algn="l" rtl="0">
              <a:lnSpc>
                <a:spcPct val="100000"/>
              </a:lnSpc>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7607" marR="0" lvl="3" indent="-431660" algn="l" rtl="0">
              <a:lnSpc>
                <a:spcPct val="100000"/>
              </a:lnSpc>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7009" marR="0" lvl="4" indent="-431660" algn="l" rtl="0">
              <a:lnSpc>
                <a:spcPct val="100000"/>
              </a:lnSpc>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6411" marR="0" lvl="5" indent="-431660" algn="l" rtl="0">
              <a:lnSpc>
                <a:spcPct val="100000"/>
              </a:lnSpc>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5813" marR="0" lvl="6" indent="-431660" algn="l" rtl="0">
              <a:lnSpc>
                <a:spcPct val="100000"/>
              </a:lnSpc>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5215" marR="0" lvl="7" indent="-431660" algn="l" rtl="0">
              <a:lnSpc>
                <a:spcPct val="100000"/>
              </a:lnSpc>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4618" marR="0" lvl="8" indent="-431660" algn="l" rtl="0">
              <a:lnSpc>
                <a:spcPct val="100000"/>
              </a:lnSpc>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29" name="Google Shape;29;p4"/>
          <p:cNvSpPr txBox="1">
            <a:spLocks noGrp="1"/>
          </p:cNvSpPr>
          <p:nvPr>
            <p:ph type="body" idx="2"/>
          </p:nvPr>
        </p:nvSpPr>
        <p:spPr>
          <a:xfrm>
            <a:off x="6864951" y="6259617"/>
            <a:ext cx="4800000" cy="360000"/>
          </a:xfrm>
          <a:prstGeom prst="rect">
            <a:avLst/>
          </a:prstGeom>
          <a:noFill/>
          <a:ln>
            <a:noFill/>
          </a:ln>
        </p:spPr>
        <p:txBody>
          <a:bodyPr spcFirstLastPara="1" wrap="square" lIns="0" tIns="0" rIns="0" bIns="0" anchor="b" anchorCtr="0">
            <a:noAutofit/>
          </a:bodyPr>
          <a:lstStyle>
            <a:lvl1pPr marL="609402" marR="0" lvl="0" indent="-304700" algn="r" rtl="0">
              <a:lnSpc>
                <a:spcPct val="100000"/>
              </a:lnSpc>
              <a:spcBef>
                <a:spcPts val="0"/>
              </a:spcBef>
              <a:spcAft>
                <a:spcPts val="0"/>
              </a:spcAft>
              <a:buClr>
                <a:srgbClr val="F9B49B"/>
              </a:buClr>
              <a:buSzPts val="810"/>
              <a:buFont typeface="Arial"/>
              <a:buNone/>
              <a:defRPr sz="1080" b="0" i="0" u="none" strike="noStrike" cap="none">
                <a:solidFill>
                  <a:schemeClr val="dk1"/>
                </a:solidFill>
                <a:latin typeface="Arial"/>
                <a:ea typeface="Arial"/>
                <a:cs typeface="Arial"/>
                <a:sym typeface="Arial"/>
              </a:defRPr>
            </a:lvl1pPr>
            <a:lvl2pPr marL="1218804" marR="0" lvl="1" indent="-431660" algn="l" rtl="0">
              <a:lnSpc>
                <a:spcPct val="100000"/>
              </a:lnSpc>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8206" marR="0" lvl="2" indent="-431660" algn="l" rtl="0">
              <a:lnSpc>
                <a:spcPct val="100000"/>
              </a:lnSpc>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7607" marR="0" lvl="3" indent="-431660" algn="l" rtl="0">
              <a:lnSpc>
                <a:spcPct val="100000"/>
              </a:lnSpc>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7009" marR="0" lvl="4" indent="-431660" algn="l" rtl="0">
              <a:lnSpc>
                <a:spcPct val="100000"/>
              </a:lnSpc>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6411" marR="0" lvl="5" indent="-431660" algn="l" rtl="0">
              <a:lnSpc>
                <a:spcPct val="100000"/>
              </a:lnSpc>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5813" marR="0" lvl="6" indent="-431660" algn="l" rtl="0">
              <a:lnSpc>
                <a:spcPct val="100000"/>
              </a:lnSpc>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5215" marR="0" lvl="7" indent="-431660" algn="l" rtl="0">
              <a:lnSpc>
                <a:spcPct val="100000"/>
              </a:lnSpc>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4618" marR="0" lvl="8" indent="-431660" algn="l" rtl="0">
              <a:lnSpc>
                <a:spcPct val="100000"/>
              </a:lnSpc>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0" name="Google Shape;30;p4"/>
          <p:cNvSpPr txBox="1">
            <a:spLocks noGrp="1"/>
          </p:cNvSpPr>
          <p:nvPr>
            <p:ph type="body" idx="3"/>
          </p:nvPr>
        </p:nvSpPr>
        <p:spPr>
          <a:xfrm>
            <a:off x="527059" y="1735948"/>
            <a:ext cx="11137900" cy="4155325"/>
          </a:xfrm>
          <a:prstGeom prst="rect">
            <a:avLst/>
          </a:prstGeom>
          <a:noFill/>
          <a:ln>
            <a:noFill/>
          </a:ln>
        </p:spPr>
        <p:txBody>
          <a:bodyPr spcFirstLastPara="1" wrap="square" lIns="72000" tIns="0" rIns="72000" bIns="0" anchor="t" anchorCtr="0">
            <a:noAutofit/>
          </a:bodyPr>
          <a:lstStyle>
            <a:lvl1pPr marL="609402" marR="0" lvl="0" indent="-440124" algn="l" rtl="0">
              <a:lnSpc>
                <a:spcPct val="100000"/>
              </a:lnSpc>
              <a:spcBef>
                <a:spcPts val="0"/>
              </a:spcBef>
              <a:spcAft>
                <a:spcPts val="0"/>
              </a:spcAft>
              <a:buClr>
                <a:schemeClr val="dk2"/>
              </a:buClr>
              <a:buSzPts val="1600"/>
              <a:buFont typeface="Arial"/>
              <a:buChar char="•"/>
              <a:defRPr sz="2133" b="0" i="0" u="none" strike="noStrike" cap="none">
                <a:solidFill>
                  <a:schemeClr val="dk1"/>
                </a:solidFill>
                <a:latin typeface="Arial"/>
                <a:ea typeface="Arial"/>
                <a:cs typeface="Arial"/>
                <a:sym typeface="Arial"/>
              </a:defRPr>
            </a:lvl1pPr>
            <a:lvl2pPr marL="1218804" marR="0" lvl="1" indent="-423196" algn="l" rtl="0">
              <a:lnSpc>
                <a:spcPct val="100000"/>
              </a:lnSpc>
              <a:spcBef>
                <a:spcPts val="720"/>
              </a:spcBef>
              <a:spcAft>
                <a:spcPts val="0"/>
              </a:spcAft>
              <a:buClr>
                <a:schemeClr val="dk2"/>
              </a:buClr>
              <a:buSzPts val="1400"/>
              <a:buFont typeface="Arial"/>
              <a:buChar char="–"/>
              <a:defRPr sz="1867" b="0" i="0" u="none" strike="noStrike" cap="none">
                <a:solidFill>
                  <a:schemeClr val="dk1"/>
                </a:solidFill>
                <a:latin typeface="Arial"/>
                <a:ea typeface="Arial"/>
                <a:cs typeface="Arial"/>
                <a:sym typeface="Arial"/>
              </a:defRPr>
            </a:lvl2pPr>
            <a:lvl3pPr marL="1828206" marR="0" lvl="2" indent="-406269" algn="l" rtl="0">
              <a:lnSpc>
                <a:spcPct val="100000"/>
              </a:lnSpc>
              <a:spcBef>
                <a:spcPts val="720"/>
              </a:spcBef>
              <a:spcAft>
                <a:spcPts val="0"/>
              </a:spcAft>
              <a:buClr>
                <a:schemeClr val="dk2"/>
              </a:buClr>
              <a:buSzPts val="1200"/>
              <a:buFont typeface="Arial"/>
              <a:buChar char="•"/>
              <a:defRPr sz="1600" b="0" i="0" u="none" strike="noStrike" cap="none">
                <a:solidFill>
                  <a:schemeClr val="dk1"/>
                </a:solidFill>
                <a:latin typeface="Arial"/>
                <a:ea typeface="Arial"/>
                <a:cs typeface="Arial"/>
                <a:sym typeface="Arial"/>
              </a:defRPr>
            </a:lvl3pPr>
            <a:lvl4pPr marL="2437607" marR="0" lvl="3" indent="-411346" algn="l" rtl="0">
              <a:lnSpc>
                <a:spcPct val="100000"/>
              </a:lnSpc>
              <a:spcBef>
                <a:spcPts val="720"/>
              </a:spcBef>
              <a:spcAft>
                <a:spcPts val="0"/>
              </a:spcAft>
              <a:buClr>
                <a:schemeClr val="accent6"/>
              </a:buClr>
              <a:buSzPts val="1260"/>
              <a:buFont typeface="Arial"/>
              <a:buChar char="•"/>
              <a:defRPr sz="1680" b="0" i="0" u="none" strike="noStrike" cap="none">
                <a:solidFill>
                  <a:schemeClr val="dk1"/>
                </a:solidFill>
                <a:latin typeface="Arial"/>
                <a:ea typeface="Arial"/>
                <a:cs typeface="Arial"/>
                <a:sym typeface="Arial"/>
              </a:defRPr>
            </a:lvl4pPr>
            <a:lvl5pPr marL="3047009" marR="0" lvl="4" indent="-431660" algn="l" rtl="0">
              <a:lnSpc>
                <a:spcPct val="100000"/>
              </a:lnSpc>
              <a:spcBef>
                <a:spcPts val="72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6411" marR="0" lvl="5" indent="-431660" algn="l" rtl="0">
              <a:lnSpc>
                <a:spcPct val="100000"/>
              </a:lnSpc>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5813" marR="0" lvl="6" indent="-431660" algn="l" rtl="0">
              <a:lnSpc>
                <a:spcPct val="100000"/>
              </a:lnSpc>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5215" marR="0" lvl="7" indent="-431660" algn="l" rtl="0">
              <a:lnSpc>
                <a:spcPct val="100000"/>
              </a:lnSpc>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4618" marR="0" lvl="8" indent="-431660" algn="l" rtl="0">
              <a:lnSpc>
                <a:spcPct val="100000"/>
              </a:lnSpc>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4772154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8"/>
        <p:cNvGrpSpPr/>
        <p:nvPr/>
      </p:nvGrpSpPr>
      <p:grpSpPr>
        <a:xfrm>
          <a:off x="0" y="0"/>
          <a:ext cx="0" cy="0"/>
          <a:chOff x="0" y="0"/>
          <a:chExt cx="0" cy="0"/>
        </a:xfrm>
      </p:grpSpPr>
      <p:sp>
        <p:nvSpPr>
          <p:cNvPr id="19" name="Google Shape;19;p3"/>
          <p:cNvSpPr txBox="1">
            <a:spLocks noGrp="1"/>
          </p:cNvSpPr>
          <p:nvPr>
            <p:ph type="title"/>
          </p:nvPr>
        </p:nvSpPr>
        <p:spPr>
          <a:xfrm>
            <a:off x="528323" y="241926"/>
            <a:ext cx="8246376" cy="907252"/>
          </a:xfrm>
          <a:prstGeom prst="rect">
            <a:avLst/>
          </a:prstGeom>
          <a:noFill/>
          <a:ln>
            <a:noFill/>
          </a:ln>
        </p:spPr>
        <p:txBody>
          <a:bodyPr spcFirstLastPara="1" wrap="square" lIns="0" tIns="0" rIns="0" bIns="0" anchor="b" anchorCtr="0">
            <a:noAutofit/>
          </a:bodyPr>
          <a:lstStyle>
            <a:lvl1pPr lvl="0" algn="l">
              <a:lnSpc>
                <a:spcPct val="102856"/>
              </a:lnSpc>
              <a:spcBef>
                <a:spcPts val="0"/>
              </a:spcBef>
              <a:spcAft>
                <a:spcPts val="0"/>
              </a:spcAft>
              <a:buSzPts val="1400"/>
              <a:buNone/>
              <a:defRPr sz="3733" b="1">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20" name="Google Shape;20;p3"/>
          <p:cNvCxnSpPr/>
          <p:nvPr/>
        </p:nvCxnSpPr>
        <p:spPr>
          <a:xfrm rot="10800000" flipH="1">
            <a:off x="528323" y="1268964"/>
            <a:ext cx="11135360" cy="9525"/>
          </a:xfrm>
          <a:prstGeom prst="straightConnector1">
            <a:avLst/>
          </a:prstGeom>
          <a:noFill/>
          <a:ln w="28575" cap="flat" cmpd="sng">
            <a:solidFill>
              <a:schemeClr val="dk2"/>
            </a:solidFill>
            <a:prstDash val="solid"/>
            <a:round/>
            <a:headEnd type="none" w="sm" len="sm"/>
            <a:tailEnd type="none" w="sm" len="sm"/>
          </a:ln>
        </p:spPr>
      </p:cxnSp>
      <p:sp>
        <p:nvSpPr>
          <p:cNvPr id="21" name="Google Shape;21;p3"/>
          <p:cNvSpPr txBox="1">
            <a:spLocks noGrp="1"/>
          </p:cNvSpPr>
          <p:nvPr>
            <p:ph type="body" idx="1"/>
          </p:nvPr>
        </p:nvSpPr>
        <p:spPr>
          <a:xfrm>
            <a:off x="527049" y="6259601"/>
            <a:ext cx="4800000" cy="360000"/>
          </a:xfrm>
          <a:prstGeom prst="rect">
            <a:avLst/>
          </a:prstGeom>
          <a:noFill/>
          <a:ln>
            <a:noFill/>
          </a:ln>
        </p:spPr>
        <p:txBody>
          <a:bodyPr spcFirstLastPara="1" wrap="square" lIns="0" tIns="0" rIns="0" bIns="0" anchor="b" anchorCtr="0">
            <a:noAutofit/>
          </a:bodyPr>
          <a:lstStyle>
            <a:lvl1pPr marL="609402" marR="0" lvl="0" indent="-304700" algn="l" rtl="0">
              <a:spcBef>
                <a:spcPts val="0"/>
              </a:spcBef>
              <a:spcAft>
                <a:spcPts val="0"/>
              </a:spcAft>
              <a:buClr>
                <a:srgbClr val="F9B49B"/>
              </a:buClr>
              <a:buSzPts val="810"/>
              <a:buFont typeface="Arial"/>
              <a:buNone/>
              <a:defRPr sz="1080" b="0" i="0" u="none" strike="noStrike" cap="none">
                <a:solidFill>
                  <a:schemeClr val="dk1"/>
                </a:solidFill>
                <a:latin typeface="Arial"/>
                <a:ea typeface="Arial"/>
                <a:cs typeface="Arial"/>
                <a:sym typeface="Arial"/>
              </a:defRPr>
            </a:lvl1pPr>
            <a:lvl2pPr marL="1218804" marR="0" lvl="1" indent="-431660"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8206" marR="0" lvl="2" indent="-431660"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7607" marR="0" lvl="3" indent="-431660"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7009" marR="0" lvl="4" indent="-431660"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6411" marR="0" lvl="5" indent="-431660"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5813" marR="0" lvl="6" indent="-431660"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5215" marR="0" lvl="7" indent="-431660"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4618" marR="0" lvl="8" indent="-431660"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22" name="Google Shape;22;p3"/>
          <p:cNvSpPr txBox="1">
            <a:spLocks noGrp="1"/>
          </p:cNvSpPr>
          <p:nvPr>
            <p:ph type="body" idx="2"/>
          </p:nvPr>
        </p:nvSpPr>
        <p:spPr>
          <a:xfrm>
            <a:off x="6864951" y="6259601"/>
            <a:ext cx="4800000" cy="360000"/>
          </a:xfrm>
          <a:prstGeom prst="rect">
            <a:avLst/>
          </a:prstGeom>
          <a:noFill/>
          <a:ln>
            <a:noFill/>
          </a:ln>
        </p:spPr>
        <p:txBody>
          <a:bodyPr spcFirstLastPara="1" wrap="square" lIns="0" tIns="0" rIns="0" bIns="0" anchor="b" anchorCtr="0">
            <a:noAutofit/>
          </a:bodyPr>
          <a:lstStyle>
            <a:lvl1pPr marL="609402" marR="0" lvl="0" indent="-304700" algn="r" rtl="0">
              <a:spcBef>
                <a:spcPts val="0"/>
              </a:spcBef>
              <a:spcAft>
                <a:spcPts val="0"/>
              </a:spcAft>
              <a:buClr>
                <a:srgbClr val="F9B49B"/>
              </a:buClr>
              <a:buSzPts val="810"/>
              <a:buFont typeface="Arial"/>
              <a:buNone/>
              <a:defRPr sz="1080" b="0" i="0" u="none" strike="noStrike" cap="none">
                <a:solidFill>
                  <a:schemeClr val="dk1"/>
                </a:solidFill>
                <a:latin typeface="Arial"/>
                <a:ea typeface="Arial"/>
                <a:cs typeface="Arial"/>
                <a:sym typeface="Arial"/>
              </a:defRPr>
            </a:lvl1pPr>
            <a:lvl2pPr marL="1218804" marR="0" lvl="1" indent="-431660"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8206" marR="0" lvl="2" indent="-431660"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7607" marR="0" lvl="3" indent="-431660"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7009" marR="0" lvl="4" indent="-431660"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6411" marR="0" lvl="5" indent="-431660"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5813" marR="0" lvl="6" indent="-431660"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5215" marR="0" lvl="7" indent="-431660"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4618" marR="0" lvl="8" indent="-431660"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23" name="Google Shape;23;p3"/>
          <p:cNvSpPr txBox="1">
            <a:spLocks noGrp="1"/>
          </p:cNvSpPr>
          <p:nvPr>
            <p:ph type="body" idx="3"/>
          </p:nvPr>
        </p:nvSpPr>
        <p:spPr>
          <a:xfrm>
            <a:off x="9659802" y="104289"/>
            <a:ext cx="2427877" cy="1343043"/>
          </a:xfrm>
          <a:prstGeom prst="rect">
            <a:avLst/>
          </a:prstGeom>
          <a:noFill/>
          <a:ln>
            <a:noFill/>
          </a:ln>
        </p:spPr>
        <p:txBody>
          <a:bodyPr spcFirstLastPara="1" wrap="square" lIns="91425" tIns="45700" rIns="91425" bIns="45700" anchor="ctr" anchorCtr="0">
            <a:noAutofit/>
          </a:bodyPr>
          <a:lstStyle>
            <a:lvl1pPr marL="609402" marR="0" lvl="0" indent="-304700" algn="l" rtl="0">
              <a:spcBef>
                <a:spcPts val="0"/>
              </a:spcBef>
              <a:spcAft>
                <a:spcPts val="0"/>
              </a:spcAft>
              <a:buClr>
                <a:srgbClr val="F9B49B"/>
              </a:buClr>
              <a:buSzPts val="1600"/>
              <a:buFont typeface="Arial"/>
              <a:buNone/>
              <a:defRPr sz="2133" b="0" i="0" u="none" strike="noStrike" cap="none">
                <a:solidFill>
                  <a:srgbClr val="052066"/>
                </a:solidFill>
                <a:latin typeface="Arial"/>
                <a:ea typeface="Arial"/>
                <a:cs typeface="Arial"/>
                <a:sym typeface="Arial"/>
              </a:defRPr>
            </a:lvl1pPr>
            <a:lvl2pPr marL="1218804" marR="0" lvl="1" indent="-431660"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8206" marR="0" lvl="2" indent="-431660"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7607" marR="0" lvl="3" indent="-431660"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7009" marR="0" lvl="4" indent="-431660"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6411" marR="0" lvl="5" indent="-431660"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5813" marR="0" lvl="6" indent="-431660"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5215" marR="0" lvl="7" indent="-431660"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4618" marR="0" lvl="8" indent="-431660"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24" name="Google Shape;24;p3"/>
          <p:cNvSpPr txBox="1">
            <a:spLocks noGrp="1"/>
          </p:cNvSpPr>
          <p:nvPr>
            <p:ph type="body" idx="4"/>
          </p:nvPr>
        </p:nvSpPr>
        <p:spPr>
          <a:xfrm>
            <a:off x="527058" y="1735944"/>
            <a:ext cx="11137900" cy="4155315"/>
          </a:xfrm>
          <a:prstGeom prst="rect">
            <a:avLst/>
          </a:prstGeom>
          <a:noFill/>
          <a:ln>
            <a:noFill/>
          </a:ln>
        </p:spPr>
        <p:txBody>
          <a:bodyPr spcFirstLastPara="1" wrap="square" lIns="72000" tIns="0" rIns="72000" bIns="0" anchor="t" anchorCtr="0">
            <a:noAutofit/>
          </a:bodyPr>
          <a:lstStyle>
            <a:lvl1pPr marL="609402" marR="0" lvl="0" indent="-440124" algn="l" rtl="0">
              <a:spcBef>
                <a:spcPts val="0"/>
              </a:spcBef>
              <a:spcAft>
                <a:spcPts val="0"/>
              </a:spcAft>
              <a:buClr>
                <a:schemeClr val="dk2"/>
              </a:buClr>
              <a:buSzPts val="1600"/>
              <a:buFont typeface="Arial"/>
              <a:buChar char="•"/>
              <a:defRPr sz="2133" b="0" i="0" u="none" strike="noStrike" cap="none">
                <a:solidFill>
                  <a:schemeClr val="dk1"/>
                </a:solidFill>
                <a:latin typeface="Arial"/>
                <a:ea typeface="Arial"/>
                <a:cs typeface="Arial"/>
                <a:sym typeface="Arial"/>
              </a:defRPr>
            </a:lvl1pPr>
            <a:lvl2pPr marL="1218804" marR="0" lvl="1" indent="-423196" algn="l" rtl="0">
              <a:spcBef>
                <a:spcPts val="720"/>
              </a:spcBef>
              <a:spcAft>
                <a:spcPts val="0"/>
              </a:spcAft>
              <a:buClr>
                <a:schemeClr val="dk2"/>
              </a:buClr>
              <a:buSzPts val="1400"/>
              <a:buFont typeface="Arial"/>
              <a:buChar char="–"/>
              <a:defRPr sz="1867" b="0" i="0" u="none" strike="noStrike" cap="none">
                <a:solidFill>
                  <a:schemeClr val="dk1"/>
                </a:solidFill>
                <a:latin typeface="Arial"/>
                <a:ea typeface="Arial"/>
                <a:cs typeface="Arial"/>
                <a:sym typeface="Arial"/>
              </a:defRPr>
            </a:lvl2pPr>
            <a:lvl3pPr marL="1828206" marR="0" lvl="2" indent="-406269" algn="l" rtl="0">
              <a:spcBef>
                <a:spcPts val="720"/>
              </a:spcBef>
              <a:spcAft>
                <a:spcPts val="0"/>
              </a:spcAft>
              <a:buClr>
                <a:schemeClr val="dk2"/>
              </a:buClr>
              <a:buSzPts val="1200"/>
              <a:buFont typeface="Arial"/>
              <a:buChar char="•"/>
              <a:defRPr sz="1600" b="0" i="0" u="none" strike="noStrike" cap="none">
                <a:solidFill>
                  <a:schemeClr val="dk1"/>
                </a:solidFill>
                <a:latin typeface="Arial"/>
                <a:ea typeface="Arial"/>
                <a:cs typeface="Arial"/>
                <a:sym typeface="Arial"/>
              </a:defRPr>
            </a:lvl3pPr>
            <a:lvl4pPr marL="2437607" marR="0" lvl="3" indent="-411346" algn="l" rtl="0">
              <a:spcBef>
                <a:spcPts val="720"/>
              </a:spcBef>
              <a:spcAft>
                <a:spcPts val="0"/>
              </a:spcAft>
              <a:buClr>
                <a:schemeClr val="accent6"/>
              </a:buClr>
              <a:buSzPts val="1260"/>
              <a:buFont typeface="Arial"/>
              <a:buChar char="•"/>
              <a:defRPr sz="1680" b="0" i="0" u="none" strike="noStrike" cap="none">
                <a:solidFill>
                  <a:schemeClr val="dk1"/>
                </a:solidFill>
                <a:latin typeface="Arial"/>
                <a:ea typeface="Arial"/>
                <a:cs typeface="Arial"/>
                <a:sym typeface="Arial"/>
              </a:defRPr>
            </a:lvl4pPr>
            <a:lvl5pPr marL="3047009" marR="0" lvl="4" indent="-431660" algn="l" rtl="0">
              <a:spcBef>
                <a:spcPts val="72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6411" marR="0" lvl="5" indent="-431660"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5813" marR="0" lvl="6" indent="-431660"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5215" marR="0" lvl="7" indent="-431660"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4618" marR="0" lvl="8" indent="-431660"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3973554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_Re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5855E14-48BC-BA32-A303-15591189A5EA}"/>
              </a:ext>
            </a:extLst>
          </p:cNvPr>
          <p:cNvSpPr/>
          <p:nvPr userDrawn="1"/>
        </p:nvSpPr>
        <p:spPr>
          <a:xfrm>
            <a:off x="0" y="0"/>
            <a:ext cx="12192000" cy="6858000"/>
          </a:xfrm>
          <a:prstGeom prst="rect">
            <a:avLst/>
          </a:prstGeom>
          <a:solidFill>
            <a:srgbClr val="98101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14A99D49-8EFD-0EE0-22E5-91184ED70F15}"/>
              </a:ext>
            </a:extLst>
          </p:cNvPr>
          <p:cNvSpPr>
            <a:spLocks noGrp="1"/>
          </p:cNvSpPr>
          <p:nvPr>
            <p:ph type="ctrTitle"/>
          </p:nvPr>
        </p:nvSpPr>
        <p:spPr>
          <a:xfrm>
            <a:off x="838200" y="2610921"/>
            <a:ext cx="9144000" cy="2387600"/>
          </a:xfrm>
        </p:spPr>
        <p:txBody>
          <a:bodyPr anchor="b"/>
          <a:lstStyle>
            <a:lvl1pPr algn="l">
              <a:defRPr sz="6000">
                <a:solidFill>
                  <a:schemeClr val="bg1"/>
                </a:solidFill>
              </a:defRPr>
            </a:lvl1pPr>
          </a:lstStyle>
          <a:p>
            <a:r>
              <a:rPr lang="de-DE"/>
              <a:t>Mastertitelformat bearbeiten</a:t>
            </a:r>
            <a:endParaRPr lang="en-US"/>
          </a:p>
        </p:txBody>
      </p:sp>
      <p:sp>
        <p:nvSpPr>
          <p:cNvPr id="3" name="Subtitle 2">
            <a:extLst>
              <a:ext uri="{FF2B5EF4-FFF2-40B4-BE49-F238E27FC236}">
                <a16:creationId xmlns:a16="http://schemas.microsoft.com/office/drawing/2014/main" id="{63837146-C674-6088-E61F-631D1907D7A3}"/>
              </a:ext>
            </a:extLst>
          </p:cNvPr>
          <p:cNvSpPr>
            <a:spLocks noGrp="1"/>
          </p:cNvSpPr>
          <p:nvPr>
            <p:ph type="subTitle" idx="1" hasCustomPrompt="1"/>
          </p:nvPr>
        </p:nvSpPr>
        <p:spPr>
          <a:xfrm>
            <a:off x="838200" y="5589449"/>
            <a:ext cx="9144000" cy="719907"/>
          </a:xfrm>
        </p:spPr>
        <p:txBody>
          <a:bodyPr tIns="0">
            <a:normAutofit/>
          </a:bodyPr>
          <a:lstStyle>
            <a:lvl1pPr marL="0" indent="0" algn="l">
              <a:lnSpc>
                <a:spcPct val="120000"/>
              </a:lnSpc>
              <a:buNone/>
              <a:defRPr sz="1400" b="0" i="0" spc="100" baseline="0">
                <a:solidFill>
                  <a:schemeClr val="bg1"/>
                </a:solidFill>
                <a:latin typeface="Open Sans Medium" panose="020B0606030504020204" pitchFamily="34" charset="0"/>
                <a:ea typeface="Open Sans Medium" panose="020B0606030504020204" pitchFamily="34" charset="0"/>
                <a:cs typeface="Open Sans Medium" panose="020B06060305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cxnSp>
        <p:nvCxnSpPr>
          <p:cNvPr id="11" name="Straight Connector 10">
            <a:extLst>
              <a:ext uri="{FF2B5EF4-FFF2-40B4-BE49-F238E27FC236}">
                <a16:creationId xmlns:a16="http://schemas.microsoft.com/office/drawing/2014/main" id="{B7AA1F1D-8ECA-BE29-DA55-D2C13F9985A4}"/>
              </a:ext>
            </a:extLst>
          </p:cNvPr>
          <p:cNvCxnSpPr/>
          <p:nvPr userDrawn="1"/>
        </p:nvCxnSpPr>
        <p:spPr>
          <a:xfrm>
            <a:off x="838200" y="5340457"/>
            <a:ext cx="11353800" cy="0"/>
          </a:xfrm>
          <a:prstGeom prst="line">
            <a:avLst/>
          </a:prstGeom>
          <a:ln w="12700">
            <a:solidFill>
              <a:srgbClr val="D32232"/>
            </a:solidFill>
          </a:ln>
        </p:spPr>
        <p:style>
          <a:lnRef idx="2">
            <a:schemeClr val="accent1"/>
          </a:lnRef>
          <a:fillRef idx="0">
            <a:schemeClr val="accent1"/>
          </a:fillRef>
          <a:effectRef idx="1">
            <a:schemeClr val="accent1"/>
          </a:effectRef>
          <a:fontRef idx="minor">
            <a:schemeClr val="tx1"/>
          </a:fontRef>
        </p:style>
      </p:cxnSp>
      <p:sp>
        <p:nvSpPr>
          <p:cNvPr id="13" name="Date Placeholder 3">
            <a:extLst>
              <a:ext uri="{FF2B5EF4-FFF2-40B4-BE49-F238E27FC236}">
                <a16:creationId xmlns:a16="http://schemas.microsoft.com/office/drawing/2014/main" id="{07EE37FD-7AD0-A3D4-8DE4-378118102FA1}"/>
              </a:ext>
            </a:extLst>
          </p:cNvPr>
          <p:cNvSpPr>
            <a:spLocks noGrp="1"/>
          </p:cNvSpPr>
          <p:nvPr>
            <p:ph type="dt" sz="half" idx="10"/>
          </p:nvPr>
        </p:nvSpPr>
        <p:spPr>
          <a:xfrm>
            <a:off x="838201" y="6309360"/>
            <a:ext cx="1695409" cy="365125"/>
          </a:xfrm>
        </p:spPr>
        <p:txBody>
          <a:bodyPr anchor="t" anchorCtr="0"/>
          <a:lstStyle>
            <a:lvl1pPr>
              <a:defRPr sz="10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fld id="{18076DFF-49C0-7A4A-9846-573D532F4A62}" type="datetime4">
              <a:t>May 31, 2026</a:t>
            </a:fld>
            <a:endParaRPr lang="en-US"/>
          </a:p>
        </p:txBody>
      </p:sp>
      <p:sp>
        <p:nvSpPr>
          <p:cNvPr id="32" name="Freeform 31">
            <a:extLst>
              <a:ext uri="{FF2B5EF4-FFF2-40B4-BE49-F238E27FC236}">
                <a16:creationId xmlns:a16="http://schemas.microsoft.com/office/drawing/2014/main" id="{1F9D0B51-AD84-2596-4076-BA60786E34FF}"/>
              </a:ext>
            </a:extLst>
          </p:cNvPr>
          <p:cNvSpPr/>
          <p:nvPr userDrawn="1"/>
        </p:nvSpPr>
        <p:spPr>
          <a:xfrm>
            <a:off x="6096000" y="1554481"/>
            <a:ext cx="6096000" cy="639097"/>
          </a:xfrm>
          <a:custGeom>
            <a:avLst/>
            <a:gdLst>
              <a:gd name="connsiteX0" fmla="*/ 303162 w 6096000"/>
              <a:gd name="connsiteY0" fmla="*/ 0 h 639097"/>
              <a:gd name="connsiteX1" fmla="*/ 4451498 w 6096000"/>
              <a:gd name="connsiteY1" fmla="*/ 0 h 639097"/>
              <a:gd name="connsiteX2" fmla="*/ 5576528 w 6096000"/>
              <a:gd name="connsiteY2" fmla="*/ 0 h 639097"/>
              <a:gd name="connsiteX3" fmla="*/ 6096000 w 6096000"/>
              <a:gd name="connsiteY3" fmla="*/ 0 h 639097"/>
              <a:gd name="connsiteX4" fmla="*/ 6096000 w 6096000"/>
              <a:gd name="connsiteY4" fmla="*/ 639097 h 639097"/>
              <a:gd name="connsiteX5" fmla="*/ 5576528 w 6096000"/>
              <a:gd name="connsiteY5" fmla="*/ 639097 h 639097"/>
              <a:gd name="connsiteX6" fmla="*/ 4451498 w 6096000"/>
              <a:gd name="connsiteY6" fmla="*/ 639097 h 639097"/>
              <a:gd name="connsiteX7" fmla="*/ 303162 w 6096000"/>
              <a:gd name="connsiteY7" fmla="*/ 639097 h 639097"/>
              <a:gd name="connsiteX8" fmla="*/ 0 w 6096000"/>
              <a:gd name="connsiteY8" fmla="*/ 335935 h 639097"/>
              <a:gd name="connsiteX9" fmla="*/ 0 w 6096000"/>
              <a:gd name="connsiteY9" fmla="*/ 303162 h 639097"/>
              <a:gd name="connsiteX10" fmla="*/ 303162 w 6096000"/>
              <a:gd name="connsiteY10" fmla="*/ 0 h 63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00" h="639097">
                <a:moveTo>
                  <a:pt x="303162" y="0"/>
                </a:moveTo>
                <a:lnTo>
                  <a:pt x="4451498" y="0"/>
                </a:lnTo>
                <a:lnTo>
                  <a:pt x="5576528" y="0"/>
                </a:lnTo>
                <a:lnTo>
                  <a:pt x="6096000" y="0"/>
                </a:lnTo>
                <a:lnTo>
                  <a:pt x="6096000" y="639097"/>
                </a:lnTo>
                <a:lnTo>
                  <a:pt x="5576528" y="639097"/>
                </a:lnTo>
                <a:lnTo>
                  <a:pt x="4451498" y="639097"/>
                </a:lnTo>
                <a:lnTo>
                  <a:pt x="303162" y="639097"/>
                </a:lnTo>
                <a:cubicBezTo>
                  <a:pt x="135730" y="639097"/>
                  <a:pt x="0" y="503367"/>
                  <a:pt x="0" y="335935"/>
                </a:cubicBezTo>
                <a:lnTo>
                  <a:pt x="0" y="303162"/>
                </a:lnTo>
                <a:cubicBezTo>
                  <a:pt x="0" y="135730"/>
                  <a:pt x="135730" y="0"/>
                  <a:pt x="303162" y="0"/>
                </a:cubicBezTo>
                <a:close/>
              </a:path>
            </a:pathLst>
          </a:custGeom>
          <a:solidFill>
            <a:srgbClr val="D3223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Picture Placeholder 19">
            <a:extLst>
              <a:ext uri="{FF2B5EF4-FFF2-40B4-BE49-F238E27FC236}">
                <a16:creationId xmlns:a16="http://schemas.microsoft.com/office/drawing/2014/main" id="{B3D8BAD8-77D4-E7D3-9281-A1F1400F3D4C}"/>
              </a:ext>
            </a:extLst>
          </p:cNvPr>
          <p:cNvSpPr>
            <a:spLocks noGrp="1"/>
          </p:cNvSpPr>
          <p:nvPr>
            <p:ph type="pic" sz="quarter" idx="13"/>
          </p:nvPr>
        </p:nvSpPr>
        <p:spPr>
          <a:xfrm>
            <a:off x="4723904" y="-1196"/>
            <a:ext cx="7480795" cy="1890429"/>
          </a:xfrm>
          <a:custGeom>
            <a:avLst/>
            <a:gdLst>
              <a:gd name="connsiteX0" fmla="*/ 0 w 7462684"/>
              <a:gd name="connsiteY0" fmla="*/ 0 h 2610922"/>
              <a:gd name="connsiteX1" fmla="*/ 7462684 w 7462684"/>
              <a:gd name="connsiteY1" fmla="*/ 0 h 2610922"/>
              <a:gd name="connsiteX2" fmla="*/ 7462684 w 7462684"/>
              <a:gd name="connsiteY2" fmla="*/ 1823808 h 2610922"/>
              <a:gd name="connsiteX3" fmla="*/ 6675570 w 7462684"/>
              <a:gd name="connsiteY3" fmla="*/ 2610922 h 2610922"/>
              <a:gd name="connsiteX4" fmla="*/ 787114 w 7462684"/>
              <a:gd name="connsiteY4" fmla="*/ 2610922 h 2610922"/>
              <a:gd name="connsiteX5" fmla="*/ 0 w 7462684"/>
              <a:gd name="connsiteY5" fmla="*/ 1823808 h 2610922"/>
              <a:gd name="connsiteX0" fmla="*/ 0 w 7462684"/>
              <a:gd name="connsiteY0" fmla="*/ 0 h 2610922"/>
              <a:gd name="connsiteX1" fmla="*/ 7462684 w 7462684"/>
              <a:gd name="connsiteY1" fmla="*/ 0 h 2610922"/>
              <a:gd name="connsiteX2" fmla="*/ 7462684 w 7462684"/>
              <a:gd name="connsiteY2" fmla="*/ 1823808 h 2610922"/>
              <a:gd name="connsiteX3" fmla="*/ 6675570 w 7462684"/>
              <a:gd name="connsiteY3" fmla="*/ 2610922 h 2610922"/>
              <a:gd name="connsiteX4" fmla="*/ 787114 w 7462684"/>
              <a:gd name="connsiteY4" fmla="*/ 2610922 h 2610922"/>
              <a:gd name="connsiteX5" fmla="*/ 0 w 7462684"/>
              <a:gd name="connsiteY5" fmla="*/ 1823808 h 2610922"/>
              <a:gd name="connsiteX6" fmla="*/ 0 w 7462684"/>
              <a:gd name="connsiteY6" fmla="*/ 0 h 2610922"/>
              <a:gd name="connsiteX0" fmla="*/ 0 w 7462684"/>
              <a:gd name="connsiteY0" fmla="*/ 0 h 2610922"/>
              <a:gd name="connsiteX1" fmla="*/ 6093722 w 7462684"/>
              <a:gd name="connsiteY1" fmla="*/ 812800 h 2610922"/>
              <a:gd name="connsiteX2" fmla="*/ 7462684 w 7462684"/>
              <a:gd name="connsiteY2" fmla="*/ 1823808 h 2610922"/>
              <a:gd name="connsiteX3" fmla="*/ 6675570 w 7462684"/>
              <a:gd name="connsiteY3" fmla="*/ 2610922 h 2610922"/>
              <a:gd name="connsiteX4" fmla="*/ 787114 w 7462684"/>
              <a:gd name="connsiteY4" fmla="*/ 2610922 h 2610922"/>
              <a:gd name="connsiteX5" fmla="*/ 0 w 7462684"/>
              <a:gd name="connsiteY5" fmla="*/ 1823808 h 2610922"/>
              <a:gd name="connsiteX6" fmla="*/ 0 w 7462684"/>
              <a:gd name="connsiteY6" fmla="*/ 0 h 2610922"/>
              <a:gd name="connsiteX0" fmla="*/ 0 w 7462684"/>
              <a:gd name="connsiteY0" fmla="*/ 0 h 2610922"/>
              <a:gd name="connsiteX1" fmla="*/ 6648095 w 7462684"/>
              <a:gd name="connsiteY1" fmla="*/ 0 h 2610922"/>
              <a:gd name="connsiteX2" fmla="*/ 7462684 w 7462684"/>
              <a:gd name="connsiteY2" fmla="*/ 1823808 h 2610922"/>
              <a:gd name="connsiteX3" fmla="*/ 6675570 w 7462684"/>
              <a:gd name="connsiteY3" fmla="*/ 2610922 h 2610922"/>
              <a:gd name="connsiteX4" fmla="*/ 787114 w 7462684"/>
              <a:gd name="connsiteY4" fmla="*/ 2610922 h 2610922"/>
              <a:gd name="connsiteX5" fmla="*/ 0 w 7462684"/>
              <a:gd name="connsiteY5" fmla="*/ 1823808 h 2610922"/>
              <a:gd name="connsiteX6" fmla="*/ 0 w 7462684"/>
              <a:gd name="connsiteY6" fmla="*/ 0 h 2610922"/>
              <a:gd name="connsiteX0" fmla="*/ 0 w 6675570"/>
              <a:gd name="connsiteY0" fmla="*/ 0 h 2610922"/>
              <a:gd name="connsiteX1" fmla="*/ 6648095 w 6675570"/>
              <a:gd name="connsiteY1" fmla="*/ 0 h 2610922"/>
              <a:gd name="connsiteX2" fmla="*/ 6659409 w 6675570"/>
              <a:gd name="connsiteY2" fmla="*/ 1404708 h 2610922"/>
              <a:gd name="connsiteX3" fmla="*/ 6675570 w 6675570"/>
              <a:gd name="connsiteY3" fmla="*/ 2610922 h 2610922"/>
              <a:gd name="connsiteX4" fmla="*/ 787114 w 6675570"/>
              <a:gd name="connsiteY4" fmla="*/ 2610922 h 2610922"/>
              <a:gd name="connsiteX5" fmla="*/ 0 w 6675570"/>
              <a:gd name="connsiteY5" fmla="*/ 1823808 h 2610922"/>
              <a:gd name="connsiteX6" fmla="*/ 0 w 6675570"/>
              <a:gd name="connsiteY6" fmla="*/ 0 h 2610922"/>
              <a:gd name="connsiteX0" fmla="*/ 0 w 6659409"/>
              <a:gd name="connsiteY0" fmla="*/ 0 h 2620754"/>
              <a:gd name="connsiteX1" fmla="*/ 6648095 w 6659409"/>
              <a:gd name="connsiteY1" fmla="*/ 0 h 2620754"/>
              <a:gd name="connsiteX2" fmla="*/ 6659409 w 6659409"/>
              <a:gd name="connsiteY2" fmla="*/ 1404708 h 2620754"/>
              <a:gd name="connsiteX3" fmla="*/ 6649293 w 6659409"/>
              <a:gd name="connsiteY3" fmla="*/ 2620754 h 2620754"/>
              <a:gd name="connsiteX4" fmla="*/ 787114 w 6659409"/>
              <a:gd name="connsiteY4" fmla="*/ 2610922 h 2620754"/>
              <a:gd name="connsiteX5" fmla="*/ 0 w 6659409"/>
              <a:gd name="connsiteY5" fmla="*/ 1823808 h 2620754"/>
              <a:gd name="connsiteX6" fmla="*/ 0 w 6659409"/>
              <a:gd name="connsiteY6" fmla="*/ 0 h 2620754"/>
              <a:gd name="connsiteX0" fmla="*/ 0 w 6659409"/>
              <a:gd name="connsiteY0" fmla="*/ 741146 h 2620754"/>
              <a:gd name="connsiteX1" fmla="*/ 6648095 w 6659409"/>
              <a:gd name="connsiteY1" fmla="*/ 0 h 2620754"/>
              <a:gd name="connsiteX2" fmla="*/ 6659409 w 6659409"/>
              <a:gd name="connsiteY2" fmla="*/ 1404708 h 2620754"/>
              <a:gd name="connsiteX3" fmla="*/ 6649293 w 6659409"/>
              <a:gd name="connsiteY3" fmla="*/ 2620754 h 2620754"/>
              <a:gd name="connsiteX4" fmla="*/ 787114 w 6659409"/>
              <a:gd name="connsiteY4" fmla="*/ 2610922 h 2620754"/>
              <a:gd name="connsiteX5" fmla="*/ 0 w 6659409"/>
              <a:gd name="connsiteY5" fmla="*/ 1823808 h 2620754"/>
              <a:gd name="connsiteX6" fmla="*/ 0 w 6659409"/>
              <a:gd name="connsiteY6" fmla="*/ 741146 h 2620754"/>
              <a:gd name="connsiteX0" fmla="*/ 0 w 6659409"/>
              <a:gd name="connsiteY0" fmla="*/ 0 h 1879608"/>
              <a:gd name="connsiteX1" fmla="*/ 6656671 w 6659409"/>
              <a:gd name="connsiteY1" fmla="*/ 202130 h 1879608"/>
              <a:gd name="connsiteX2" fmla="*/ 6659409 w 6659409"/>
              <a:gd name="connsiteY2" fmla="*/ 663562 h 1879608"/>
              <a:gd name="connsiteX3" fmla="*/ 6649293 w 6659409"/>
              <a:gd name="connsiteY3" fmla="*/ 1879608 h 1879608"/>
              <a:gd name="connsiteX4" fmla="*/ 787114 w 6659409"/>
              <a:gd name="connsiteY4" fmla="*/ 1869776 h 1879608"/>
              <a:gd name="connsiteX5" fmla="*/ 0 w 6659409"/>
              <a:gd name="connsiteY5" fmla="*/ 1082662 h 1879608"/>
              <a:gd name="connsiteX6" fmla="*/ 0 w 6659409"/>
              <a:gd name="connsiteY6" fmla="*/ 0 h 1879608"/>
              <a:gd name="connsiteX0" fmla="*/ 0 w 6659409"/>
              <a:gd name="connsiteY0" fmla="*/ 9626 h 1889234"/>
              <a:gd name="connsiteX1" fmla="*/ 6656671 w 6659409"/>
              <a:gd name="connsiteY1" fmla="*/ 0 h 1889234"/>
              <a:gd name="connsiteX2" fmla="*/ 6659409 w 6659409"/>
              <a:gd name="connsiteY2" fmla="*/ 673188 h 1889234"/>
              <a:gd name="connsiteX3" fmla="*/ 6649293 w 6659409"/>
              <a:gd name="connsiteY3" fmla="*/ 1889234 h 1889234"/>
              <a:gd name="connsiteX4" fmla="*/ 787114 w 6659409"/>
              <a:gd name="connsiteY4" fmla="*/ 1879402 h 1889234"/>
              <a:gd name="connsiteX5" fmla="*/ 0 w 6659409"/>
              <a:gd name="connsiteY5" fmla="*/ 1092288 h 1889234"/>
              <a:gd name="connsiteX6" fmla="*/ 0 w 6659409"/>
              <a:gd name="connsiteY6" fmla="*/ 9626 h 1889234"/>
              <a:gd name="connsiteX0" fmla="*/ 0 w 6659409"/>
              <a:gd name="connsiteY0" fmla="*/ 220642 h 1889234"/>
              <a:gd name="connsiteX1" fmla="*/ 6656671 w 6659409"/>
              <a:gd name="connsiteY1" fmla="*/ 0 h 1889234"/>
              <a:gd name="connsiteX2" fmla="*/ 6659409 w 6659409"/>
              <a:gd name="connsiteY2" fmla="*/ 673188 h 1889234"/>
              <a:gd name="connsiteX3" fmla="*/ 6649293 w 6659409"/>
              <a:gd name="connsiteY3" fmla="*/ 1889234 h 1889234"/>
              <a:gd name="connsiteX4" fmla="*/ 787114 w 6659409"/>
              <a:gd name="connsiteY4" fmla="*/ 1879402 h 1889234"/>
              <a:gd name="connsiteX5" fmla="*/ 0 w 6659409"/>
              <a:gd name="connsiteY5" fmla="*/ 1092288 h 1889234"/>
              <a:gd name="connsiteX6" fmla="*/ 0 w 6659409"/>
              <a:gd name="connsiteY6" fmla="*/ 220642 h 1889234"/>
              <a:gd name="connsiteX0" fmla="*/ 0 w 6664229"/>
              <a:gd name="connsiteY0" fmla="*/ 0 h 1890429"/>
              <a:gd name="connsiteX1" fmla="*/ 6661491 w 6664229"/>
              <a:gd name="connsiteY1" fmla="*/ 1195 h 1890429"/>
              <a:gd name="connsiteX2" fmla="*/ 6664229 w 6664229"/>
              <a:gd name="connsiteY2" fmla="*/ 674383 h 1890429"/>
              <a:gd name="connsiteX3" fmla="*/ 6654113 w 6664229"/>
              <a:gd name="connsiteY3" fmla="*/ 1890429 h 1890429"/>
              <a:gd name="connsiteX4" fmla="*/ 791934 w 6664229"/>
              <a:gd name="connsiteY4" fmla="*/ 1880597 h 1890429"/>
              <a:gd name="connsiteX5" fmla="*/ 4820 w 6664229"/>
              <a:gd name="connsiteY5" fmla="*/ 1093483 h 1890429"/>
              <a:gd name="connsiteX6" fmla="*/ 0 w 6664229"/>
              <a:gd name="connsiteY6" fmla="*/ 0 h 1890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4229" h="1890429">
                <a:moveTo>
                  <a:pt x="0" y="0"/>
                </a:moveTo>
                <a:lnTo>
                  <a:pt x="6661491" y="1195"/>
                </a:lnTo>
                <a:cubicBezTo>
                  <a:pt x="6665262" y="469431"/>
                  <a:pt x="6660458" y="206147"/>
                  <a:pt x="6664229" y="674383"/>
                </a:cubicBezTo>
                <a:lnTo>
                  <a:pt x="6654113" y="1890429"/>
                </a:lnTo>
                <a:lnTo>
                  <a:pt x="791934" y="1880597"/>
                </a:lnTo>
                <a:cubicBezTo>
                  <a:pt x="357223" y="1880597"/>
                  <a:pt x="4820" y="1528194"/>
                  <a:pt x="4820" y="1093483"/>
                </a:cubicBezTo>
                <a:cubicBezTo>
                  <a:pt x="3213" y="728989"/>
                  <a:pt x="1607" y="364494"/>
                  <a:pt x="0" y="0"/>
                </a:cubicBezTo>
                <a:close/>
              </a:path>
            </a:pathLst>
          </a:custGeom>
          <a:solidFill>
            <a:schemeClr val="bg1"/>
          </a:solidFill>
        </p:spPr>
        <p:txBody>
          <a:bodyPr wrap="square">
            <a:noAutofit/>
          </a:bodyPr>
          <a:lstStyle>
            <a:lvl1pPr marL="0" indent="0">
              <a:buNone/>
              <a:defRPr/>
            </a:lvl1pPr>
          </a:lstStyle>
          <a:p>
            <a:r>
              <a:rPr lang="de-DE"/>
              <a:t>Bild durch Klicken auf Symbol hinzufügen</a:t>
            </a:r>
            <a:endParaRPr lang="en-US"/>
          </a:p>
        </p:txBody>
      </p:sp>
      <p:pic>
        <p:nvPicPr>
          <p:cNvPr id="34" name="Picture 33">
            <a:extLst>
              <a:ext uri="{FF2B5EF4-FFF2-40B4-BE49-F238E27FC236}">
                <a16:creationId xmlns:a16="http://schemas.microsoft.com/office/drawing/2014/main" id="{DD7C3ACE-9A12-3C4A-5DAA-D9565B81F776}"/>
              </a:ext>
            </a:extLst>
          </p:cNvPr>
          <p:cNvPicPr>
            <a:picLocks noChangeAspect="1"/>
          </p:cNvPicPr>
          <p:nvPr userDrawn="1"/>
        </p:nvPicPr>
        <p:blipFill>
          <a:blip r:embed="rId2"/>
          <a:stretch>
            <a:fillRect/>
          </a:stretch>
        </p:blipFill>
        <p:spPr>
          <a:xfrm>
            <a:off x="530736" y="491663"/>
            <a:ext cx="3584448" cy="554117"/>
          </a:xfrm>
          <a:prstGeom prst="rect">
            <a:avLst/>
          </a:prstGeom>
        </p:spPr>
      </p:pic>
      <p:sp>
        <p:nvSpPr>
          <p:cNvPr id="4" name="Rectangle 3">
            <a:extLst>
              <a:ext uri="{FF2B5EF4-FFF2-40B4-BE49-F238E27FC236}">
                <a16:creationId xmlns:a16="http://schemas.microsoft.com/office/drawing/2014/main" id="{7FB29599-EEC6-DF8C-4D2A-4D9F2DFE1604}"/>
              </a:ext>
            </a:extLst>
          </p:cNvPr>
          <p:cNvSpPr/>
          <p:nvPr userDrawn="1"/>
        </p:nvSpPr>
        <p:spPr>
          <a:xfrm>
            <a:off x="9601200" y="-1196"/>
            <a:ext cx="2603499" cy="1890429"/>
          </a:xfrm>
          <a:prstGeom prst="rect">
            <a:avLst/>
          </a:prstGeom>
          <a:gradFill>
            <a:gsLst>
              <a:gs pos="0">
                <a:srgbClr val="D32232">
                  <a:alpha val="0"/>
                </a:srgbClr>
              </a:gs>
              <a:gs pos="100000">
                <a:srgbClr val="D32232"/>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41077134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1041958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_Gra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5855E14-48BC-BA32-A303-15591189A5EA}"/>
              </a:ext>
            </a:extLst>
          </p:cNvPr>
          <p:cNvSpPr/>
          <p:nvPr userDrawn="1"/>
        </p:nvSpPr>
        <p:spPr>
          <a:xfrm>
            <a:off x="0" y="0"/>
            <a:ext cx="12192000" cy="6858000"/>
          </a:xfrm>
          <a:prstGeom prst="rect">
            <a:avLst/>
          </a:prstGeom>
          <a:solidFill>
            <a:srgbClr val="E6E7E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14A99D49-8EFD-0EE0-22E5-91184ED70F15}"/>
              </a:ext>
            </a:extLst>
          </p:cNvPr>
          <p:cNvSpPr>
            <a:spLocks noGrp="1"/>
          </p:cNvSpPr>
          <p:nvPr>
            <p:ph type="ctrTitle"/>
          </p:nvPr>
        </p:nvSpPr>
        <p:spPr>
          <a:xfrm>
            <a:off x="838200" y="2610921"/>
            <a:ext cx="9144000" cy="2387600"/>
          </a:xfrm>
        </p:spPr>
        <p:txBody>
          <a:bodyPr anchor="b"/>
          <a:lstStyle>
            <a:lvl1pPr algn="l">
              <a:defRPr sz="6000">
                <a:solidFill>
                  <a:srgbClr val="98101F"/>
                </a:solidFill>
              </a:defRPr>
            </a:lvl1pPr>
          </a:lstStyle>
          <a:p>
            <a:r>
              <a:rPr lang="de-DE"/>
              <a:t>Mastertitelformat bearbeiten</a:t>
            </a:r>
            <a:endParaRPr lang="en-US"/>
          </a:p>
        </p:txBody>
      </p:sp>
      <p:sp>
        <p:nvSpPr>
          <p:cNvPr id="3" name="Subtitle 2">
            <a:extLst>
              <a:ext uri="{FF2B5EF4-FFF2-40B4-BE49-F238E27FC236}">
                <a16:creationId xmlns:a16="http://schemas.microsoft.com/office/drawing/2014/main" id="{63837146-C674-6088-E61F-631D1907D7A3}"/>
              </a:ext>
            </a:extLst>
          </p:cNvPr>
          <p:cNvSpPr>
            <a:spLocks noGrp="1"/>
          </p:cNvSpPr>
          <p:nvPr>
            <p:ph type="subTitle" idx="1" hasCustomPrompt="1"/>
          </p:nvPr>
        </p:nvSpPr>
        <p:spPr>
          <a:xfrm>
            <a:off x="838200" y="5589450"/>
            <a:ext cx="9144000" cy="719908"/>
          </a:xfrm>
        </p:spPr>
        <p:txBody>
          <a:bodyPr>
            <a:normAutofit/>
          </a:bodyPr>
          <a:lstStyle>
            <a:lvl1pPr marL="0" indent="0" algn="l">
              <a:buNone/>
              <a:defRPr sz="1400" b="0" i="0" spc="100" baseline="0">
                <a:solidFill>
                  <a:srgbClr val="7E8083"/>
                </a:solidFill>
                <a:latin typeface="Open Sans Medium" panose="020B0606030504020204" pitchFamily="34" charset="0"/>
                <a:ea typeface="Open Sans Medium" panose="020B0606030504020204" pitchFamily="34" charset="0"/>
                <a:cs typeface="Open Sans Medium" panose="020B06060305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cxnSp>
        <p:nvCxnSpPr>
          <p:cNvPr id="11" name="Straight Connector 10">
            <a:extLst>
              <a:ext uri="{FF2B5EF4-FFF2-40B4-BE49-F238E27FC236}">
                <a16:creationId xmlns:a16="http://schemas.microsoft.com/office/drawing/2014/main" id="{B7AA1F1D-8ECA-BE29-DA55-D2C13F9985A4}"/>
              </a:ext>
            </a:extLst>
          </p:cNvPr>
          <p:cNvCxnSpPr/>
          <p:nvPr userDrawn="1"/>
        </p:nvCxnSpPr>
        <p:spPr>
          <a:xfrm>
            <a:off x="838200" y="5340457"/>
            <a:ext cx="11353800" cy="0"/>
          </a:xfrm>
          <a:prstGeom prst="line">
            <a:avLst/>
          </a:prstGeom>
          <a:ln w="12700">
            <a:solidFill>
              <a:srgbClr val="A6A6A6"/>
            </a:solidFill>
          </a:ln>
        </p:spPr>
        <p:style>
          <a:lnRef idx="2">
            <a:schemeClr val="accent1"/>
          </a:lnRef>
          <a:fillRef idx="0">
            <a:schemeClr val="accent1"/>
          </a:fillRef>
          <a:effectRef idx="1">
            <a:schemeClr val="accent1"/>
          </a:effectRef>
          <a:fontRef idx="minor">
            <a:schemeClr val="tx1"/>
          </a:fontRef>
        </p:style>
      </p:cxnSp>
      <p:sp>
        <p:nvSpPr>
          <p:cNvPr id="13" name="Date Placeholder 3">
            <a:extLst>
              <a:ext uri="{FF2B5EF4-FFF2-40B4-BE49-F238E27FC236}">
                <a16:creationId xmlns:a16="http://schemas.microsoft.com/office/drawing/2014/main" id="{07EE37FD-7AD0-A3D4-8DE4-378118102FA1}"/>
              </a:ext>
            </a:extLst>
          </p:cNvPr>
          <p:cNvSpPr>
            <a:spLocks noGrp="1"/>
          </p:cNvSpPr>
          <p:nvPr>
            <p:ph type="dt" sz="half" idx="10"/>
          </p:nvPr>
        </p:nvSpPr>
        <p:spPr>
          <a:xfrm>
            <a:off x="838201" y="6309360"/>
            <a:ext cx="1695409" cy="365125"/>
          </a:xfrm>
        </p:spPr>
        <p:txBody>
          <a:bodyPr anchor="t" anchorCtr="0"/>
          <a:lstStyle>
            <a:lvl1pPr>
              <a:defRPr sz="1000" b="1" i="0">
                <a:solidFill>
                  <a:srgbClr val="98101F"/>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fld id="{D9D95FBD-4492-8542-8864-A29968E5F7BB}" type="datetime4">
              <a:t>May 31, 2026</a:t>
            </a:fld>
            <a:endParaRPr lang="en-US"/>
          </a:p>
        </p:txBody>
      </p:sp>
      <p:sp>
        <p:nvSpPr>
          <p:cNvPr id="32" name="Freeform 31">
            <a:extLst>
              <a:ext uri="{FF2B5EF4-FFF2-40B4-BE49-F238E27FC236}">
                <a16:creationId xmlns:a16="http://schemas.microsoft.com/office/drawing/2014/main" id="{1F9D0B51-AD84-2596-4076-BA60786E34FF}"/>
              </a:ext>
            </a:extLst>
          </p:cNvPr>
          <p:cNvSpPr/>
          <p:nvPr userDrawn="1"/>
        </p:nvSpPr>
        <p:spPr>
          <a:xfrm>
            <a:off x="6096000" y="1554481"/>
            <a:ext cx="6096000" cy="639097"/>
          </a:xfrm>
          <a:custGeom>
            <a:avLst/>
            <a:gdLst>
              <a:gd name="connsiteX0" fmla="*/ 303162 w 6096000"/>
              <a:gd name="connsiteY0" fmla="*/ 0 h 639097"/>
              <a:gd name="connsiteX1" fmla="*/ 4451498 w 6096000"/>
              <a:gd name="connsiteY1" fmla="*/ 0 h 639097"/>
              <a:gd name="connsiteX2" fmla="*/ 5576528 w 6096000"/>
              <a:gd name="connsiteY2" fmla="*/ 0 h 639097"/>
              <a:gd name="connsiteX3" fmla="*/ 6096000 w 6096000"/>
              <a:gd name="connsiteY3" fmla="*/ 0 h 639097"/>
              <a:gd name="connsiteX4" fmla="*/ 6096000 w 6096000"/>
              <a:gd name="connsiteY4" fmla="*/ 639097 h 639097"/>
              <a:gd name="connsiteX5" fmla="*/ 5576528 w 6096000"/>
              <a:gd name="connsiteY5" fmla="*/ 639097 h 639097"/>
              <a:gd name="connsiteX6" fmla="*/ 4451498 w 6096000"/>
              <a:gd name="connsiteY6" fmla="*/ 639097 h 639097"/>
              <a:gd name="connsiteX7" fmla="*/ 303162 w 6096000"/>
              <a:gd name="connsiteY7" fmla="*/ 639097 h 639097"/>
              <a:gd name="connsiteX8" fmla="*/ 0 w 6096000"/>
              <a:gd name="connsiteY8" fmla="*/ 335935 h 639097"/>
              <a:gd name="connsiteX9" fmla="*/ 0 w 6096000"/>
              <a:gd name="connsiteY9" fmla="*/ 303162 h 639097"/>
              <a:gd name="connsiteX10" fmla="*/ 303162 w 6096000"/>
              <a:gd name="connsiteY10" fmla="*/ 0 h 63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00" h="639097">
                <a:moveTo>
                  <a:pt x="303162" y="0"/>
                </a:moveTo>
                <a:lnTo>
                  <a:pt x="4451498" y="0"/>
                </a:lnTo>
                <a:lnTo>
                  <a:pt x="5576528" y="0"/>
                </a:lnTo>
                <a:lnTo>
                  <a:pt x="6096000" y="0"/>
                </a:lnTo>
                <a:lnTo>
                  <a:pt x="6096000" y="639097"/>
                </a:lnTo>
                <a:lnTo>
                  <a:pt x="5576528" y="639097"/>
                </a:lnTo>
                <a:lnTo>
                  <a:pt x="4451498" y="639097"/>
                </a:lnTo>
                <a:lnTo>
                  <a:pt x="303162" y="639097"/>
                </a:lnTo>
                <a:cubicBezTo>
                  <a:pt x="135730" y="639097"/>
                  <a:pt x="0" y="503367"/>
                  <a:pt x="0" y="335935"/>
                </a:cubicBezTo>
                <a:lnTo>
                  <a:pt x="0" y="303162"/>
                </a:lnTo>
                <a:cubicBezTo>
                  <a:pt x="0" y="135730"/>
                  <a:pt x="135730" y="0"/>
                  <a:pt x="303162" y="0"/>
                </a:cubicBezTo>
                <a:close/>
              </a:path>
            </a:pathLst>
          </a:cu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4" name="Picture 3">
            <a:extLst>
              <a:ext uri="{FF2B5EF4-FFF2-40B4-BE49-F238E27FC236}">
                <a16:creationId xmlns:a16="http://schemas.microsoft.com/office/drawing/2014/main" id="{E6A6D950-1B32-0D45-BCE6-8A16C5337529}"/>
              </a:ext>
            </a:extLst>
          </p:cNvPr>
          <p:cNvPicPr>
            <a:picLocks noChangeAspect="1"/>
          </p:cNvPicPr>
          <p:nvPr userDrawn="1"/>
        </p:nvPicPr>
        <p:blipFill>
          <a:blip r:embed="rId2"/>
          <a:stretch>
            <a:fillRect/>
          </a:stretch>
        </p:blipFill>
        <p:spPr>
          <a:xfrm>
            <a:off x="528682" y="491345"/>
            <a:ext cx="3586503" cy="554435"/>
          </a:xfrm>
          <a:prstGeom prst="rect">
            <a:avLst/>
          </a:prstGeom>
        </p:spPr>
      </p:pic>
      <p:sp>
        <p:nvSpPr>
          <p:cNvPr id="5" name="Picture Placeholder 19">
            <a:extLst>
              <a:ext uri="{FF2B5EF4-FFF2-40B4-BE49-F238E27FC236}">
                <a16:creationId xmlns:a16="http://schemas.microsoft.com/office/drawing/2014/main" id="{532732ED-AA36-77D9-976E-909E51B42B10}"/>
              </a:ext>
            </a:extLst>
          </p:cNvPr>
          <p:cNvSpPr>
            <a:spLocks noGrp="1"/>
          </p:cNvSpPr>
          <p:nvPr>
            <p:ph type="pic" sz="quarter" idx="13"/>
          </p:nvPr>
        </p:nvSpPr>
        <p:spPr>
          <a:xfrm>
            <a:off x="4723904" y="-1196"/>
            <a:ext cx="7480795" cy="1890429"/>
          </a:xfrm>
          <a:custGeom>
            <a:avLst/>
            <a:gdLst>
              <a:gd name="connsiteX0" fmla="*/ 0 w 7462684"/>
              <a:gd name="connsiteY0" fmla="*/ 0 h 2610922"/>
              <a:gd name="connsiteX1" fmla="*/ 7462684 w 7462684"/>
              <a:gd name="connsiteY1" fmla="*/ 0 h 2610922"/>
              <a:gd name="connsiteX2" fmla="*/ 7462684 w 7462684"/>
              <a:gd name="connsiteY2" fmla="*/ 1823808 h 2610922"/>
              <a:gd name="connsiteX3" fmla="*/ 6675570 w 7462684"/>
              <a:gd name="connsiteY3" fmla="*/ 2610922 h 2610922"/>
              <a:gd name="connsiteX4" fmla="*/ 787114 w 7462684"/>
              <a:gd name="connsiteY4" fmla="*/ 2610922 h 2610922"/>
              <a:gd name="connsiteX5" fmla="*/ 0 w 7462684"/>
              <a:gd name="connsiteY5" fmla="*/ 1823808 h 2610922"/>
              <a:gd name="connsiteX0" fmla="*/ 0 w 7462684"/>
              <a:gd name="connsiteY0" fmla="*/ 0 h 2610922"/>
              <a:gd name="connsiteX1" fmla="*/ 7462684 w 7462684"/>
              <a:gd name="connsiteY1" fmla="*/ 0 h 2610922"/>
              <a:gd name="connsiteX2" fmla="*/ 7462684 w 7462684"/>
              <a:gd name="connsiteY2" fmla="*/ 1823808 h 2610922"/>
              <a:gd name="connsiteX3" fmla="*/ 6675570 w 7462684"/>
              <a:gd name="connsiteY3" fmla="*/ 2610922 h 2610922"/>
              <a:gd name="connsiteX4" fmla="*/ 787114 w 7462684"/>
              <a:gd name="connsiteY4" fmla="*/ 2610922 h 2610922"/>
              <a:gd name="connsiteX5" fmla="*/ 0 w 7462684"/>
              <a:gd name="connsiteY5" fmla="*/ 1823808 h 2610922"/>
              <a:gd name="connsiteX6" fmla="*/ 0 w 7462684"/>
              <a:gd name="connsiteY6" fmla="*/ 0 h 2610922"/>
              <a:gd name="connsiteX0" fmla="*/ 0 w 7462684"/>
              <a:gd name="connsiteY0" fmla="*/ 0 h 2610922"/>
              <a:gd name="connsiteX1" fmla="*/ 6093722 w 7462684"/>
              <a:gd name="connsiteY1" fmla="*/ 812800 h 2610922"/>
              <a:gd name="connsiteX2" fmla="*/ 7462684 w 7462684"/>
              <a:gd name="connsiteY2" fmla="*/ 1823808 h 2610922"/>
              <a:gd name="connsiteX3" fmla="*/ 6675570 w 7462684"/>
              <a:gd name="connsiteY3" fmla="*/ 2610922 h 2610922"/>
              <a:gd name="connsiteX4" fmla="*/ 787114 w 7462684"/>
              <a:gd name="connsiteY4" fmla="*/ 2610922 h 2610922"/>
              <a:gd name="connsiteX5" fmla="*/ 0 w 7462684"/>
              <a:gd name="connsiteY5" fmla="*/ 1823808 h 2610922"/>
              <a:gd name="connsiteX6" fmla="*/ 0 w 7462684"/>
              <a:gd name="connsiteY6" fmla="*/ 0 h 2610922"/>
              <a:gd name="connsiteX0" fmla="*/ 0 w 7462684"/>
              <a:gd name="connsiteY0" fmla="*/ 0 h 2610922"/>
              <a:gd name="connsiteX1" fmla="*/ 6648095 w 7462684"/>
              <a:gd name="connsiteY1" fmla="*/ 0 h 2610922"/>
              <a:gd name="connsiteX2" fmla="*/ 7462684 w 7462684"/>
              <a:gd name="connsiteY2" fmla="*/ 1823808 h 2610922"/>
              <a:gd name="connsiteX3" fmla="*/ 6675570 w 7462684"/>
              <a:gd name="connsiteY3" fmla="*/ 2610922 h 2610922"/>
              <a:gd name="connsiteX4" fmla="*/ 787114 w 7462684"/>
              <a:gd name="connsiteY4" fmla="*/ 2610922 h 2610922"/>
              <a:gd name="connsiteX5" fmla="*/ 0 w 7462684"/>
              <a:gd name="connsiteY5" fmla="*/ 1823808 h 2610922"/>
              <a:gd name="connsiteX6" fmla="*/ 0 w 7462684"/>
              <a:gd name="connsiteY6" fmla="*/ 0 h 2610922"/>
              <a:gd name="connsiteX0" fmla="*/ 0 w 6675570"/>
              <a:gd name="connsiteY0" fmla="*/ 0 h 2610922"/>
              <a:gd name="connsiteX1" fmla="*/ 6648095 w 6675570"/>
              <a:gd name="connsiteY1" fmla="*/ 0 h 2610922"/>
              <a:gd name="connsiteX2" fmla="*/ 6659409 w 6675570"/>
              <a:gd name="connsiteY2" fmla="*/ 1404708 h 2610922"/>
              <a:gd name="connsiteX3" fmla="*/ 6675570 w 6675570"/>
              <a:gd name="connsiteY3" fmla="*/ 2610922 h 2610922"/>
              <a:gd name="connsiteX4" fmla="*/ 787114 w 6675570"/>
              <a:gd name="connsiteY4" fmla="*/ 2610922 h 2610922"/>
              <a:gd name="connsiteX5" fmla="*/ 0 w 6675570"/>
              <a:gd name="connsiteY5" fmla="*/ 1823808 h 2610922"/>
              <a:gd name="connsiteX6" fmla="*/ 0 w 6675570"/>
              <a:gd name="connsiteY6" fmla="*/ 0 h 2610922"/>
              <a:gd name="connsiteX0" fmla="*/ 0 w 6659409"/>
              <a:gd name="connsiteY0" fmla="*/ 0 h 2620754"/>
              <a:gd name="connsiteX1" fmla="*/ 6648095 w 6659409"/>
              <a:gd name="connsiteY1" fmla="*/ 0 h 2620754"/>
              <a:gd name="connsiteX2" fmla="*/ 6659409 w 6659409"/>
              <a:gd name="connsiteY2" fmla="*/ 1404708 h 2620754"/>
              <a:gd name="connsiteX3" fmla="*/ 6649293 w 6659409"/>
              <a:gd name="connsiteY3" fmla="*/ 2620754 h 2620754"/>
              <a:gd name="connsiteX4" fmla="*/ 787114 w 6659409"/>
              <a:gd name="connsiteY4" fmla="*/ 2610922 h 2620754"/>
              <a:gd name="connsiteX5" fmla="*/ 0 w 6659409"/>
              <a:gd name="connsiteY5" fmla="*/ 1823808 h 2620754"/>
              <a:gd name="connsiteX6" fmla="*/ 0 w 6659409"/>
              <a:gd name="connsiteY6" fmla="*/ 0 h 2620754"/>
              <a:gd name="connsiteX0" fmla="*/ 0 w 6659409"/>
              <a:gd name="connsiteY0" fmla="*/ 741146 h 2620754"/>
              <a:gd name="connsiteX1" fmla="*/ 6648095 w 6659409"/>
              <a:gd name="connsiteY1" fmla="*/ 0 h 2620754"/>
              <a:gd name="connsiteX2" fmla="*/ 6659409 w 6659409"/>
              <a:gd name="connsiteY2" fmla="*/ 1404708 h 2620754"/>
              <a:gd name="connsiteX3" fmla="*/ 6649293 w 6659409"/>
              <a:gd name="connsiteY3" fmla="*/ 2620754 h 2620754"/>
              <a:gd name="connsiteX4" fmla="*/ 787114 w 6659409"/>
              <a:gd name="connsiteY4" fmla="*/ 2610922 h 2620754"/>
              <a:gd name="connsiteX5" fmla="*/ 0 w 6659409"/>
              <a:gd name="connsiteY5" fmla="*/ 1823808 h 2620754"/>
              <a:gd name="connsiteX6" fmla="*/ 0 w 6659409"/>
              <a:gd name="connsiteY6" fmla="*/ 741146 h 2620754"/>
              <a:gd name="connsiteX0" fmla="*/ 0 w 6659409"/>
              <a:gd name="connsiteY0" fmla="*/ 0 h 1879608"/>
              <a:gd name="connsiteX1" fmla="*/ 6656671 w 6659409"/>
              <a:gd name="connsiteY1" fmla="*/ 202130 h 1879608"/>
              <a:gd name="connsiteX2" fmla="*/ 6659409 w 6659409"/>
              <a:gd name="connsiteY2" fmla="*/ 663562 h 1879608"/>
              <a:gd name="connsiteX3" fmla="*/ 6649293 w 6659409"/>
              <a:gd name="connsiteY3" fmla="*/ 1879608 h 1879608"/>
              <a:gd name="connsiteX4" fmla="*/ 787114 w 6659409"/>
              <a:gd name="connsiteY4" fmla="*/ 1869776 h 1879608"/>
              <a:gd name="connsiteX5" fmla="*/ 0 w 6659409"/>
              <a:gd name="connsiteY5" fmla="*/ 1082662 h 1879608"/>
              <a:gd name="connsiteX6" fmla="*/ 0 w 6659409"/>
              <a:gd name="connsiteY6" fmla="*/ 0 h 1879608"/>
              <a:gd name="connsiteX0" fmla="*/ 0 w 6659409"/>
              <a:gd name="connsiteY0" fmla="*/ 9626 h 1889234"/>
              <a:gd name="connsiteX1" fmla="*/ 6656671 w 6659409"/>
              <a:gd name="connsiteY1" fmla="*/ 0 h 1889234"/>
              <a:gd name="connsiteX2" fmla="*/ 6659409 w 6659409"/>
              <a:gd name="connsiteY2" fmla="*/ 673188 h 1889234"/>
              <a:gd name="connsiteX3" fmla="*/ 6649293 w 6659409"/>
              <a:gd name="connsiteY3" fmla="*/ 1889234 h 1889234"/>
              <a:gd name="connsiteX4" fmla="*/ 787114 w 6659409"/>
              <a:gd name="connsiteY4" fmla="*/ 1879402 h 1889234"/>
              <a:gd name="connsiteX5" fmla="*/ 0 w 6659409"/>
              <a:gd name="connsiteY5" fmla="*/ 1092288 h 1889234"/>
              <a:gd name="connsiteX6" fmla="*/ 0 w 6659409"/>
              <a:gd name="connsiteY6" fmla="*/ 9626 h 1889234"/>
              <a:gd name="connsiteX0" fmla="*/ 0 w 6659409"/>
              <a:gd name="connsiteY0" fmla="*/ 220642 h 1889234"/>
              <a:gd name="connsiteX1" fmla="*/ 6656671 w 6659409"/>
              <a:gd name="connsiteY1" fmla="*/ 0 h 1889234"/>
              <a:gd name="connsiteX2" fmla="*/ 6659409 w 6659409"/>
              <a:gd name="connsiteY2" fmla="*/ 673188 h 1889234"/>
              <a:gd name="connsiteX3" fmla="*/ 6649293 w 6659409"/>
              <a:gd name="connsiteY3" fmla="*/ 1889234 h 1889234"/>
              <a:gd name="connsiteX4" fmla="*/ 787114 w 6659409"/>
              <a:gd name="connsiteY4" fmla="*/ 1879402 h 1889234"/>
              <a:gd name="connsiteX5" fmla="*/ 0 w 6659409"/>
              <a:gd name="connsiteY5" fmla="*/ 1092288 h 1889234"/>
              <a:gd name="connsiteX6" fmla="*/ 0 w 6659409"/>
              <a:gd name="connsiteY6" fmla="*/ 220642 h 1889234"/>
              <a:gd name="connsiteX0" fmla="*/ 0 w 6664229"/>
              <a:gd name="connsiteY0" fmla="*/ 0 h 1890429"/>
              <a:gd name="connsiteX1" fmla="*/ 6661491 w 6664229"/>
              <a:gd name="connsiteY1" fmla="*/ 1195 h 1890429"/>
              <a:gd name="connsiteX2" fmla="*/ 6664229 w 6664229"/>
              <a:gd name="connsiteY2" fmla="*/ 674383 h 1890429"/>
              <a:gd name="connsiteX3" fmla="*/ 6654113 w 6664229"/>
              <a:gd name="connsiteY3" fmla="*/ 1890429 h 1890429"/>
              <a:gd name="connsiteX4" fmla="*/ 791934 w 6664229"/>
              <a:gd name="connsiteY4" fmla="*/ 1880597 h 1890429"/>
              <a:gd name="connsiteX5" fmla="*/ 4820 w 6664229"/>
              <a:gd name="connsiteY5" fmla="*/ 1093483 h 1890429"/>
              <a:gd name="connsiteX6" fmla="*/ 0 w 6664229"/>
              <a:gd name="connsiteY6" fmla="*/ 0 h 1890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4229" h="1890429">
                <a:moveTo>
                  <a:pt x="0" y="0"/>
                </a:moveTo>
                <a:lnTo>
                  <a:pt x="6661491" y="1195"/>
                </a:lnTo>
                <a:cubicBezTo>
                  <a:pt x="6665262" y="469431"/>
                  <a:pt x="6660458" y="206147"/>
                  <a:pt x="6664229" y="674383"/>
                </a:cubicBezTo>
                <a:lnTo>
                  <a:pt x="6654113" y="1890429"/>
                </a:lnTo>
                <a:lnTo>
                  <a:pt x="791934" y="1880597"/>
                </a:lnTo>
                <a:cubicBezTo>
                  <a:pt x="357223" y="1880597"/>
                  <a:pt x="4820" y="1528194"/>
                  <a:pt x="4820" y="1093483"/>
                </a:cubicBezTo>
                <a:cubicBezTo>
                  <a:pt x="3213" y="728989"/>
                  <a:pt x="1607" y="364494"/>
                  <a:pt x="0" y="0"/>
                </a:cubicBezTo>
                <a:close/>
              </a:path>
            </a:pathLst>
          </a:custGeom>
          <a:solidFill>
            <a:schemeClr val="bg1"/>
          </a:solidFill>
        </p:spPr>
        <p:txBody>
          <a:bodyPr wrap="square">
            <a:noAutofit/>
          </a:bodyPr>
          <a:lstStyle>
            <a:lvl1pPr marL="0" indent="0">
              <a:buNone/>
              <a:defRPr/>
            </a:lvl1pPr>
          </a:lstStyle>
          <a:p>
            <a:r>
              <a:rPr lang="de-DE"/>
              <a:t>Bild durch Klicken auf Symbol hinzufügen</a:t>
            </a:r>
            <a:endParaRPr lang="en-US"/>
          </a:p>
        </p:txBody>
      </p:sp>
      <p:sp>
        <p:nvSpPr>
          <p:cNvPr id="6" name="Rectangle 5">
            <a:extLst>
              <a:ext uri="{FF2B5EF4-FFF2-40B4-BE49-F238E27FC236}">
                <a16:creationId xmlns:a16="http://schemas.microsoft.com/office/drawing/2014/main" id="{B63FBA56-5067-0D3E-18ED-B41C13A7AB86}"/>
              </a:ext>
            </a:extLst>
          </p:cNvPr>
          <p:cNvSpPr/>
          <p:nvPr userDrawn="1"/>
        </p:nvSpPr>
        <p:spPr>
          <a:xfrm>
            <a:off x="9601200" y="-1196"/>
            <a:ext cx="2603499" cy="1890429"/>
          </a:xfrm>
          <a:prstGeom prst="rect">
            <a:avLst/>
          </a:prstGeom>
          <a:gradFill>
            <a:gsLst>
              <a:gs pos="0">
                <a:srgbClr val="D32232">
                  <a:alpha val="0"/>
                </a:srgbClr>
              </a:gs>
              <a:gs pos="100000">
                <a:srgbClr val="D32232"/>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9656344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_Whit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5855E14-48BC-BA32-A303-15591189A5EA}"/>
              </a:ext>
            </a:extLst>
          </p:cNvPr>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14A99D49-8EFD-0EE0-22E5-91184ED70F15}"/>
              </a:ext>
            </a:extLst>
          </p:cNvPr>
          <p:cNvSpPr>
            <a:spLocks noGrp="1"/>
          </p:cNvSpPr>
          <p:nvPr>
            <p:ph type="ctrTitle"/>
          </p:nvPr>
        </p:nvSpPr>
        <p:spPr>
          <a:xfrm>
            <a:off x="838200" y="2610921"/>
            <a:ext cx="9144000" cy="2387600"/>
          </a:xfrm>
        </p:spPr>
        <p:txBody>
          <a:bodyPr anchor="b"/>
          <a:lstStyle>
            <a:lvl1pPr algn="l">
              <a:defRPr sz="6000">
                <a:solidFill>
                  <a:srgbClr val="D32232"/>
                </a:solidFill>
              </a:defRPr>
            </a:lvl1pPr>
          </a:lstStyle>
          <a:p>
            <a:r>
              <a:rPr lang="de-DE"/>
              <a:t>Mastertitelformat bearbeiten</a:t>
            </a:r>
            <a:endParaRPr lang="en-US"/>
          </a:p>
        </p:txBody>
      </p:sp>
      <p:sp>
        <p:nvSpPr>
          <p:cNvPr id="3" name="Subtitle 2">
            <a:extLst>
              <a:ext uri="{FF2B5EF4-FFF2-40B4-BE49-F238E27FC236}">
                <a16:creationId xmlns:a16="http://schemas.microsoft.com/office/drawing/2014/main" id="{63837146-C674-6088-E61F-631D1907D7A3}"/>
              </a:ext>
            </a:extLst>
          </p:cNvPr>
          <p:cNvSpPr>
            <a:spLocks noGrp="1"/>
          </p:cNvSpPr>
          <p:nvPr>
            <p:ph type="subTitle" idx="1" hasCustomPrompt="1"/>
          </p:nvPr>
        </p:nvSpPr>
        <p:spPr>
          <a:xfrm>
            <a:off x="838200" y="5589450"/>
            <a:ext cx="9144000" cy="719911"/>
          </a:xfrm>
        </p:spPr>
        <p:txBody>
          <a:bodyPr>
            <a:normAutofit/>
          </a:bodyPr>
          <a:lstStyle>
            <a:lvl1pPr marL="0" indent="0" algn="l">
              <a:buNone/>
              <a:defRPr sz="1400" b="0" i="0" spc="100" baseline="0">
                <a:solidFill>
                  <a:srgbClr val="7E8083"/>
                </a:solidFill>
                <a:latin typeface="Open Sans Medium" panose="020B0606030504020204" pitchFamily="34" charset="0"/>
                <a:ea typeface="Open Sans Medium" panose="020B0606030504020204" pitchFamily="34" charset="0"/>
                <a:cs typeface="Open Sans Medium" panose="020B06060305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cxnSp>
        <p:nvCxnSpPr>
          <p:cNvPr id="11" name="Straight Connector 10">
            <a:extLst>
              <a:ext uri="{FF2B5EF4-FFF2-40B4-BE49-F238E27FC236}">
                <a16:creationId xmlns:a16="http://schemas.microsoft.com/office/drawing/2014/main" id="{B7AA1F1D-8ECA-BE29-DA55-D2C13F9985A4}"/>
              </a:ext>
            </a:extLst>
          </p:cNvPr>
          <p:cNvCxnSpPr/>
          <p:nvPr userDrawn="1"/>
        </p:nvCxnSpPr>
        <p:spPr>
          <a:xfrm>
            <a:off x="838200" y="5340457"/>
            <a:ext cx="11353800" cy="0"/>
          </a:xfrm>
          <a:prstGeom prst="line">
            <a:avLst/>
          </a:prstGeom>
          <a:ln w="12700">
            <a:solidFill>
              <a:srgbClr val="E6E7E8"/>
            </a:solidFill>
          </a:ln>
        </p:spPr>
        <p:style>
          <a:lnRef idx="2">
            <a:schemeClr val="accent1"/>
          </a:lnRef>
          <a:fillRef idx="0">
            <a:schemeClr val="accent1"/>
          </a:fillRef>
          <a:effectRef idx="1">
            <a:schemeClr val="accent1"/>
          </a:effectRef>
          <a:fontRef idx="minor">
            <a:schemeClr val="tx1"/>
          </a:fontRef>
        </p:style>
      </p:cxnSp>
      <p:sp>
        <p:nvSpPr>
          <p:cNvPr id="13" name="Date Placeholder 3">
            <a:extLst>
              <a:ext uri="{FF2B5EF4-FFF2-40B4-BE49-F238E27FC236}">
                <a16:creationId xmlns:a16="http://schemas.microsoft.com/office/drawing/2014/main" id="{07EE37FD-7AD0-A3D4-8DE4-378118102FA1}"/>
              </a:ext>
            </a:extLst>
          </p:cNvPr>
          <p:cNvSpPr>
            <a:spLocks noGrp="1"/>
          </p:cNvSpPr>
          <p:nvPr>
            <p:ph type="dt" sz="half" idx="10"/>
          </p:nvPr>
        </p:nvSpPr>
        <p:spPr>
          <a:xfrm>
            <a:off x="838201" y="6309360"/>
            <a:ext cx="1695409" cy="365125"/>
          </a:xfrm>
        </p:spPr>
        <p:txBody>
          <a:bodyPr anchor="t" anchorCtr="0"/>
          <a:lstStyle>
            <a:lvl1pPr>
              <a:defRPr sz="1000" b="1" i="0">
                <a:solidFill>
                  <a:srgbClr val="D32232"/>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fld id="{B9689A45-6373-C140-86B1-3C3025A92CF0}" type="datetime4">
              <a:t>May 31, 2026</a:t>
            </a:fld>
            <a:endParaRPr lang="en-US"/>
          </a:p>
        </p:txBody>
      </p:sp>
      <p:sp>
        <p:nvSpPr>
          <p:cNvPr id="32" name="Freeform 31">
            <a:extLst>
              <a:ext uri="{FF2B5EF4-FFF2-40B4-BE49-F238E27FC236}">
                <a16:creationId xmlns:a16="http://schemas.microsoft.com/office/drawing/2014/main" id="{1F9D0B51-AD84-2596-4076-BA60786E34FF}"/>
              </a:ext>
            </a:extLst>
          </p:cNvPr>
          <p:cNvSpPr/>
          <p:nvPr userDrawn="1"/>
        </p:nvSpPr>
        <p:spPr>
          <a:xfrm>
            <a:off x="6096000" y="1554481"/>
            <a:ext cx="6096000" cy="639097"/>
          </a:xfrm>
          <a:custGeom>
            <a:avLst/>
            <a:gdLst>
              <a:gd name="connsiteX0" fmla="*/ 303162 w 6096000"/>
              <a:gd name="connsiteY0" fmla="*/ 0 h 639097"/>
              <a:gd name="connsiteX1" fmla="*/ 4451498 w 6096000"/>
              <a:gd name="connsiteY1" fmla="*/ 0 h 639097"/>
              <a:gd name="connsiteX2" fmla="*/ 5576528 w 6096000"/>
              <a:gd name="connsiteY2" fmla="*/ 0 h 639097"/>
              <a:gd name="connsiteX3" fmla="*/ 6096000 w 6096000"/>
              <a:gd name="connsiteY3" fmla="*/ 0 h 639097"/>
              <a:gd name="connsiteX4" fmla="*/ 6096000 w 6096000"/>
              <a:gd name="connsiteY4" fmla="*/ 639097 h 639097"/>
              <a:gd name="connsiteX5" fmla="*/ 5576528 w 6096000"/>
              <a:gd name="connsiteY5" fmla="*/ 639097 h 639097"/>
              <a:gd name="connsiteX6" fmla="*/ 4451498 w 6096000"/>
              <a:gd name="connsiteY6" fmla="*/ 639097 h 639097"/>
              <a:gd name="connsiteX7" fmla="*/ 303162 w 6096000"/>
              <a:gd name="connsiteY7" fmla="*/ 639097 h 639097"/>
              <a:gd name="connsiteX8" fmla="*/ 0 w 6096000"/>
              <a:gd name="connsiteY8" fmla="*/ 335935 h 639097"/>
              <a:gd name="connsiteX9" fmla="*/ 0 w 6096000"/>
              <a:gd name="connsiteY9" fmla="*/ 303162 h 639097"/>
              <a:gd name="connsiteX10" fmla="*/ 303162 w 6096000"/>
              <a:gd name="connsiteY10" fmla="*/ 0 h 63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00" h="639097">
                <a:moveTo>
                  <a:pt x="303162" y="0"/>
                </a:moveTo>
                <a:lnTo>
                  <a:pt x="4451498" y="0"/>
                </a:lnTo>
                <a:lnTo>
                  <a:pt x="5576528" y="0"/>
                </a:lnTo>
                <a:lnTo>
                  <a:pt x="6096000" y="0"/>
                </a:lnTo>
                <a:lnTo>
                  <a:pt x="6096000" y="639097"/>
                </a:lnTo>
                <a:lnTo>
                  <a:pt x="5576528" y="639097"/>
                </a:lnTo>
                <a:lnTo>
                  <a:pt x="4451498" y="639097"/>
                </a:lnTo>
                <a:lnTo>
                  <a:pt x="303162" y="639097"/>
                </a:lnTo>
                <a:cubicBezTo>
                  <a:pt x="135730" y="639097"/>
                  <a:pt x="0" y="503367"/>
                  <a:pt x="0" y="335935"/>
                </a:cubicBezTo>
                <a:lnTo>
                  <a:pt x="0" y="303162"/>
                </a:lnTo>
                <a:cubicBezTo>
                  <a:pt x="0" y="135730"/>
                  <a:pt x="135730" y="0"/>
                  <a:pt x="303162" y="0"/>
                </a:cubicBezTo>
                <a:close/>
              </a:path>
            </a:pathLst>
          </a:custGeom>
          <a:solidFill>
            <a:srgbClr val="E6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6" name="Picture 5">
            <a:extLst>
              <a:ext uri="{FF2B5EF4-FFF2-40B4-BE49-F238E27FC236}">
                <a16:creationId xmlns:a16="http://schemas.microsoft.com/office/drawing/2014/main" id="{0C3BA638-11F7-75FE-4035-26A89A8A0149}"/>
              </a:ext>
            </a:extLst>
          </p:cNvPr>
          <p:cNvPicPr>
            <a:picLocks noChangeAspect="1"/>
          </p:cNvPicPr>
          <p:nvPr userDrawn="1"/>
        </p:nvPicPr>
        <p:blipFill>
          <a:blip r:embed="rId2"/>
          <a:stretch>
            <a:fillRect/>
          </a:stretch>
        </p:blipFill>
        <p:spPr>
          <a:xfrm>
            <a:off x="528682" y="491345"/>
            <a:ext cx="3586503" cy="554435"/>
          </a:xfrm>
          <a:prstGeom prst="rect">
            <a:avLst/>
          </a:prstGeom>
        </p:spPr>
      </p:pic>
      <p:sp>
        <p:nvSpPr>
          <p:cNvPr id="4" name="Picture Placeholder 19">
            <a:extLst>
              <a:ext uri="{FF2B5EF4-FFF2-40B4-BE49-F238E27FC236}">
                <a16:creationId xmlns:a16="http://schemas.microsoft.com/office/drawing/2014/main" id="{D3E4AC31-4E7A-676B-ECF3-6913B368A549}"/>
              </a:ext>
            </a:extLst>
          </p:cNvPr>
          <p:cNvSpPr>
            <a:spLocks noGrp="1"/>
          </p:cNvSpPr>
          <p:nvPr>
            <p:ph type="pic" sz="quarter" idx="13"/>
          </p:nvPr>
        </p:nvSpPr>
        <p:spPr>
          <a:xfrm>
            <a:off x="4723904" y="-1196"/>
            <a:ext cx="7480795" cy="1890429"/>
          </a:xfrm>
          <a:custGeom>
            <a:avLst/>
            <a:gdLst>
              <a:gd name="connsiteX0" fmla="*/ 0 w 7462684"/>
              <a:gd name="connsiteY0" fmla="*/ 0 h 2610922"/>
              <a:gd name="connsiteX1" fmla="*/ 7462684 w 7462684"/>
              <a:gd name="connsiteY1" fmla="*/ 0 h 2610922"/>
              <a:gd name="connsiteX2" fmla="*/ 7462684 w 7462684"/>
              <a:gd name="connsiteY2" fmla="*/ 1823808 h 2610922"/>
              <a:gd name="connsiteX3" fmla="*/ 6675570 w 7462684"/>
              <a:gd name="connsiteY3" fmla="*/ 2610922 h 2610922"/>
              <a:gd name="connsiteX4" fmla="*/ 787114 w 7462684"/>
              <a:gd name="connsiteY4" fmla="*/ 2610922 h 2610922"/>
              <a:gd name="connsiteX5" fmla="*/ 0 w 7462684"/>
              <a:gd name="connsiteY5" fmla="*/ 1823808 h 2610922"/>
              <a:gd name="connsiteX0" fmla="*/ 0 w 7462684"/>
              <a:gd name="connsiteY0" fmla="*/ 0 h 2610922"/>
              <a:gd name="connsiteX1" fmla="*/ 7462684 w 7462684"/>
              <a:gd name="connsiteY1" fmla="*/ 0 h 2610922"/>
              <a:gd name="connsiteX2" fmla="*/ 7462684 w 7462684"/>
              <a:gd name="connsiteY2" fmla="*/ 1823808 h 2610922"/>
              <a:gd name="connsiteX3" fmla="*/ 6675570 w 7462684"/>
              <a:gd name="connsiteY3" fmla="*/ 2610922 h 2610922"/>
              <a:gd name="connsiteX4" fmla="*/ 787114 w 7462684"/>
              <a:gd name="connsiteY4" fmla="*/ 2610922 h 2610922"/>
              <a:gd name="connsiteX5" fmla="*/ 0 w 7462684"/>
              <a:gd name="connsiteY5" fmla="*/ 1823808 h 2610922"/>
              <a:gd name="connsiteX6" fmla="*/ 0 w 7462684"/>
              <a:gd name="connsiteY6" fmla="*/ 0 h 2610922"/>
              <a:gd name="connsiteX0" fmla="*/ 0 w 7462684"/>
              <a:gd name="connsiteY0" fmla="*/ 0 h 2610922"/>
              <a:gd name="connsiteX1" fmla="*/ 6093722 w 7462684"/>
              <a:gd name="connsiteY1" fmla="*/ 812800 h 2610922"/>
              <a:gd name="connsiteX2" fmla="*/ 7462684 w 7462684"/>
              <a:gd name="connsiteY2" fmla="*/ 1823808 h 2610922"/>
              <a:gd name="connsiteX3" fmla="*/ 6675570 w 7462684"/>
              <a:gd name="connsiteY3" fmla="*/ 2610922 h 2610922"/>
              <a:gd name="connsiteX4" fmla="*/ 787114 w 7462684"/>
              <a:gd name="connsiteY4" fmla="*/ 2610922 h 2610922"/>
              <a:gd name="connsiteX5" fmla="*/ 0 w 7462684"/>
              <a:gd name="connsiteY5" fmla="*/ 1823808 h 2610922"/>
              <a:gd name="connsiteX6" fmla="*/ 0 w 7462684"/>
              <a:gd name="connsiteY6" fmla="*/ 0 h 2610922"/>
              <a:gd name="connsiteX0" fmla="*/ 0 w 7462684"/>
              <a:gd name="connsiteY0" fmla="*/ 0 h 2610922"/>
              <a:gd name="connsiteX1" fmla="*/ 6648095 w 7462684"/>
              <a:gd name="connsiteY1" fmla="*/ 0 h 2610922"/>
              <a:gd name="connsiteX2" fmla="*/ 7462684 w 7462684"/>
              <a:gd name="connsiteY2" fmla="*/ 1823808 h 2610922"/>
              <a:gd name="connsiteX3" fmla="*/ 6675570 w 7462684"/>
              <a:gd name="connsiteY3" fmla="*/ 2610922 h 2610922"/>
              <a:gd name="connsiteX4" fmla="*/ 787114 w 7462684"/>
              <a:gd name="connsiteY4" fmla="*/ 2610922 h 2610922"/>
              <a:gd name="connsiteX5" fmla="*/ 0 w 7462684"/>
              <a:gd name="connsiteY5" fmla="*/ 1823808 h 2610922"/>
              <a:gd name="connsiteX6" fmla="*/ 0 w 7462684"/>
              <a:gd name="connsiteY6" fmla="*/ 0 h 2610922"/>
              <a:gd name="connsiteX0" fmla="*/ 0 w 6675570"/>
              <a:gd name="connsiteY0" fmla="*/ 0 h 2610922"/>
              <a:gd name="connsiteX1" fmla="*/ 6648095 w 6675570"/>
              <a:gd name="connsiteY1" fmla="*/ 0 h 2610922"/>
              <a:gd name="connsiteX2" fmla="*/ 6659409 w 6675570"/>
              <a:gd name="connsiteY2" fmla="*/ 1404708 h 2610922"/>
              <a:gd name="connsiteX3" fmla="*/ 6675570 w 6675570"/>
              <a:gd name="connsiteY3" fmla="*/ 2610922 h 2610922"/>
              <a:gd name="connsiteX4" fmla="*/ 787114 w 6675570"/>
              <a:gd name="connsiteY4" fmla="*/ 2610922 h 2610922"/>
              <a:gd name="connsiteX5" fmla="*/ 0 w 6675570"/>
              <a:gd name="connsiteY5" fmla="*/ 1823808 h 2610922"/>
              <a:gd name="connsiteX6" fmla="*/ 0 w 6675570"/>
              <a:gd name="connsiteY6" fmla="*/ 0 h 2610922"/>
              <a:gd name="connsiteX0" fmla="*/ 0 w 6659409"/>
              <a:gd name="connsiteY0" fmla="*/ 0 h 2620754"/>
              <a:gd name="connsiteX1" fmla="*/ 6648095 w 6659409"/>
              <a:gd name="connsiteY1" fmla="*/ 0 h 2620754"/>
              <a:gd name="connsiteX2" fmla="*/ 6659409 w 6659409"/>
              <a:gd name="connsiteY2" fmla="*/ 1404708 h 2620754"/>
              <a:gd name="connsiteX3" fmla="*/ 6649293 w 6659409"/>
              <a:gd name="connsiteY3" fmla="*/ 2620754 h 2620754"/>
              <a:gd name="connsiteX4" fmla="*/ 787114 w 6659409"/>
              <a:gd name="connsiteY4" fmla="*/ 2610922 h 2620754"/>
              <a:gd name="connsiteX5" fmla="*/ 0 w 6659409"/>
              <a:gd name="connsiteY5" fmla="*/ 1823808 h 2620754"/>
              <a:gd name="connsiteX6" fmla="*/ 0 w 6659409"/>
              <a:gd name="connsiteY6" fmla="*/ 0 h 2620754"/>
              <a:gd name="connsiteX0" fmla="*/ 0 w 6659409"/>
              <a:gd name="connsiteY0" fmla="*/ 741146 h 2620754"/>
              <a:gd name="connsiteX1" fmla="*/ 6648095 w 6659409"/>
              <a:gd name="connsiteY1" fmla="*/ 0 h 2620754"/>
              <a:gd name="connsiteX2" fmla="*/ 6659409 w 6659409"/>
              <a:gd name="connsiteY2" fmla="*/ 1404708 h 2620754"/>
              <a:gd name="connsiteX3" fmla="*/ 6649293 w 6659409"/>
              <a:gd name="connsiteY3" fmla="*/ 2620754 h 2620754"/>
              <a:gd name="connsiteX4" fmla="*/ 787114 w 6659409"/>
              <a:gd name="connsiteY4" fmla="*/ 2610922 h 2620754"/>
              <a:gd name="connsiteX5" fmla="*/ 0 w 6659409"/>
              <a:gd name="connsiteY5" fmla="*/ 1823808 h 2620754"/>
              <a:gd name="connsiteX6" fmla="*/ 0 w 6659409"/>
              <a:gd name="connsiteY6" fmla="*/ 741146 h 2620754"/>
              <a:gd name="connsiteX0" fmla="*/ 0 w 6659409"/>
              <a:gd name="connsiteY0" fmla="*/ 0 h 1879608"/>
              <a:gd name="connsiteX1" fmla="*/ 6656671 w 6659409"/>
              <a:gd name="connsiteY1" fmla="*/ 202130 h 1879608"/>
              <a:gd name="connsiteX2" fmla="*/ 6659409 w 6659409"/>
              <a:gd name="connsiteY2" fmla="*/ 663562 h 1879608"/>
              <a:gd name="connsiteX3" fmla="*/ 6649293 w 6659409"/>
              <a:gd name="connsiteY3" fmla="*/ 1879608 h 1879608"/>
              <a:gd name="connsiteX4" fmla="*/ 787114 w 6659409"/>
              <a:gd name="connsiteY4" fmla="*/ 1869776 h 1879608"/>
              <a:gd name="connsiteX5" fmla="*/ 0 w 6659409"/>
              <a:gd name="connsiteY5" fmla="*/ 1082662 h 1879608"/>
              <a:gd name="connsiteX6" fmla="*/ 0 w 6659409"/>
              <a:gd name="connsiteY6" fmla="*/ 0 h 1879608"/>
              <a:gd name="connsiteX0" fmla="*/ 0 w 6659409"/>
              <a:gd name="connsiteY0" fmla="*/ 9626 h 1889234"/>
              <a:gd name="connsiteX1" fmla="*/ 6656671 w 6659409"/>
              <a:gd name="connsiteY1" fmla="*/ 0 h 1889234"/>
              <a:gd name="connsiteX2" fmla="*/ 6659409 w 6659409"/>
              <a:gd name="connsiteY2" fmla="*/ 673188 h 1889234"/>
              <a:gd name="connsiteX3" fmla="*/ 6649293 w 6659409"/>
              <a:gd name="connsiteY3" fmla="*/ 1889234 h 1889234"/>
              <a:gd name="connsiteX4" fmla="*/ 787114 w 6659409"/>
              <a:gd name="connsiteY4" fmla="*/ 1879402 h 1889234"/>
              <a:gd name="connsiteX5" fmla="*/ 0 w 6659409"/>
              <a:gd name="connsiteY5" fmla="*/ 1092288 h 1889234"/>
              <a:gd name="connsiteX6" fmla="*/ 0 w 6659409"/>
              <a:gd name="connsiteY6" fmla="*/ 9626 h 1889234"/>
              <a:gd name="connsiteX0" fmla="*/ 0 w 6659409"/>
              <a:gd name="connsiteY0" fmla="*/ 220642 h 1889234"/>
              <a:gd name="connsiteX1" fmla="*/ 6656671 w 6659409"/>
              <a:gd name="connsiteY1" fmla="*/ 0 h 1889234"/>
              <a:gd name="connsiteX2" fmla="*/ 6659409 w 6659409"/>
              <a:gd name="connsiteY2" fmla="*/ 673188 h 1889234"/>
              <a:gd name="connsiteX3" fmla="*/ 6649293 w 6659409"/>
              <a:gd name="connsiteY3" fmla="*/ 1889234 h 1889234"/>
              <a:gd name="connsiteX4" fmla="*/ 787114 w 6659409"/>
              <a:gd name="connsiteY4" fmla="*/ 1879402 h 1889234"/>
              <a:gd name="connsiteX5" fmla="*/ 0 w 6659409"/>
              <a:gd name="connsiteY5" fmla="*/ 1092288 h 1889234"/>
              <a:gd name="connsiteX6" fmla="*/ 0 w 6659409"/>
              <a:gd name="connsiteY6" fmla="*/ 220642 h 1889234"/>
              <a:gd name="connsiteX0" fmla="*/ 0 w 6664229"/>
              <a:gd name="connsiteY0" fmla="*/ 0 h 1890429"/>
              <a:gd name="connsiteX1" fmla="*/ 6661491 w 6664229"/>
              <a:gd name="connsiteY1" fmla="*/ 1195 h 1890429"/>
              <a:gd name="connsiteX2" fmla="*/ 6664229 w 6664229"/>
              <a:gd name="connsiteY2" fmla="*/ 674383 h 1890429"/>
              <a:gd name="connsiteX3" fmla="*/ 6654113 w 6664229"/>
              <a:gd name="connsiteY3" fmla="*/ 1890429 h 1890429"/>
              <a:gd name="connsiteX4" fmla="*/ 791934 w 6664229"/>
              <a:gd name="connsiteY4" fmla="*/ 1880597 h 1890429"/>
              <a:gd name="connsiteX5" fmla="*/ 4820 w 6664229"/>
              <a:gd name="connsiteY5" fmla="*/ 1093483 h 1890429"/>
              <a:gd name="connsiteX6" fmla="*/ 0 w 6664229"/>
              <a:gd name="connsiteY6" fmla="*/ 0 h 1890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4229" h="1890429">
                <a:moveTo>
                  <a:pt x="0" y="0"/>
                </a:moveTo>
                <a:lnTo>
                  <a:pt x="6661491" y="1195"/>
                </a:lnTo>
                <a:cubicBezTo>
                  <a:pt x="6665262" y="469431"/>
                  <a:pt x="6660458" y="206147"/>
                  <a:pt x="6664229" y="674383"/>
                </a:cubicBezTo>
                <a:lnTo>
                  <a:pt x="6654113" y="1890429"/>
                </a:lnTo>
                <a:lnTo>
                  <a:pt x="791934" y="1880597"/>
                </a:lnTo>
                <a:cubicBezTo>
                  <a:pt x="357223" y="1880597"/>
                  <a:pt x="4820" y="1528194"/>
                  <a:pt x="4820" y="1093483"/>
                </a:cubicBezTo>
                <a:cubicBezTo>
                  <a:pt x="3213" y="728989"/>
                  <a:pt x="1607" y="364494"/>
                  <a:pt x="0" y="0"/>
                </a:cubicBezTo>
                <a:close/>
              </a:path>
            </a:pathLst>
          </a:custGeom>
          <a:solidFill>
            <a:srgbClr val="D32232"/>
          </a:solidFill>
        </p:spPr>
        <p:txBody>
          <a:bodyPr wrap="square">
            <a:noAutofit/>
          </a:bodyPr>
          <a:lstStyle>
            <a:lvl1pPr marL="0" indent="0">
              <a:buNone/>
              <a:defRPr/>
            </a:lvl1pPr>
          </a:lstStyle>
          <a:p>
            <a:r>
              <a:rPr lang="de-DE"/>
              <a:t>Bild durch Klicken auf Symbol hinzufügen</a:t>
            </a:r>
            <a:endParaRPr lang="en-US"/>
          </a:p>
        </p:txBody>
      </p:sp>
      <p:sp>
        <p:nvSpPr>
          <p:cNvPr id="5" name="Rectangle 4">
            <a:extLst>
              <a:ext uri="{FF2B5EF4-FFF2-40B4-BE49-F238E27FC236}">
                <a16:creationId xmlns:a16="http://schemas.microsoft.com/office/drawing/2014/main" id="{D070DDA6-46BF-B7AD-6596-55751796A3D0}"/>
              </a:ext>
            </a:extLst>
          </p:cNvPr>
          <p:cNvSpPr/>
          <p:nvPr userDrawn="1"/>
        </p:nvSpPr>
        <p:spPr>
          <a:xfrm>
            <a:off x="9601200" y="-1196"/>
            <a:ext cx="2603499" cy="1890429"/>
          </a:xfrm>
          <a:prstGeom prst="rect">
            <a:avLst/>
          </a:prstGeom>
          <a:gradFill>
            <a:gsLst>
              <a:gs pos="0">
                <a:srgbClr val="D32232">
                  <a:alpha val="0"/>
                </a:srgbClr>
              </a:gs>
              <a:gs pos="100000">
                <a:srgbClr val="D32232"/>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7448613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_Abstract_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7F2ABF-43DE-E92F-7076-356E729D4464}"/>
              </a:ext>
            </a:extLst>
          </p:cNvPr>
          <p:cNvSpPr/>
          <p:nvPr userDrawn="1"/>
        </p:nvSpPr>
        <p:spPr>
          <a:xfrm>
            <a:off x="0" y="0"/>
            <a:ext cx="12192000" cy="6858000"/>
          </a:xfrm>
          <a:prstGeom prst="rect">
            <a:avLst/>
          </a:prstGeom>
          <a:solidFill>
            <a:srgbClr val="98101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Freeform 9">
            <a:extLst>
              <a:ext uri="{FF2B5EF4-FFF2-40B4-BE49-F238E27FC236}">
                <a16:creationId xmlns:a16="http://schemas.microsoft.com/office/drawing/2014/main" id="{309BDE9D-75D7-FF83-7049-D8DCE702D523}"/>
              </a:ext>
            </a:extLst>
          </p:cNvPr>
          <p:cNvSpPr/>
          <p:nvPr userDrawn="1"/>
        </p:nvSpPr>
        <p:spPr>
          <a:xfrm>
            <a:off x="6124577" y="1"/>
            <a:ext cx="2591748" cy="176404"/>
          </a:xfrm>
          <a:custGeom>
            <a:avLst/>
            <a:gdLst>
              <a:gd name="connsiteX0" fmla="*/ 0 w 2591748"/>
              <a:gd name="connsiteY0" fmla="*/ 0 h 176404"/>
              <a:gd name="connsiteX1" fmla="*/ 2547476 w 2591748"/>
              <a:gd name="connsiteY1" fmla="*/ 0 h 176404"/>
              <a:gd name="connsiteX2" fmla="*/ 2547476 w 2591748"/>
              <a:gd name="connsiteY2" fmla="*/ 20726 h 176404"/>
              <a:gd name="connsiteX3" fmla="*/ 2571300 w 2591748"/>
              <a:gd name="connsiteY3" fmla="*/ 138730 h 176404"/>
              <a:gd name="connsiteX4" fmla="*/ 2591748 w 2591748"/>
              <a:gd name="connsiteY4" fmla="*/ 176404 h 176404"/>
              <a:gd name="connsiteX5" fmla="*/ 274586 w 2591748"/>
              <a:gd name="connsiteY5" fmla="*/ 176404 h 176404"/>
              <a:gd name="connsiteX6" fmla="*/ 23199 w 2591748"/>
              <a:gd name="connsiteY6" fmla="*/ 42743 h 176404"/>
              <a:gd name="connsiteX7" fmla="*/ 0 w 2591748"/>
              <a:gd name="connsiteY7" fmla="*/ 0 h 176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1748" h="176404">
                <a:moveTo>
                  <a:pt x="0" y="0"/>
                </a:moveTo>
                <a:lnTo>
                  <a:pt x="2547476" y="0"/>
                </a:lnTo>
                <a:lnTo>
                  <a:pt x="2547476" y="20726"/>
                </a:lnTo>
                <a:cubicBezTo>
                  <a:pt x="2547476" y="62584"/>
                  <a:pt x="2555959" y="102461"/>
                  <a:pt x="2571300" y="138730"/>
                </a:cubicBezTo>
                <a:lnTo>
                  <a:pt x="2591748" y="176404"/>
                </a:lnTo>
                <a:lnTo>
                  <a:pt x="274586" y="176404"/>
                </a:lnTo>
                <a:cubicBezTo>
                  <a:pt x="169941" y="176404"/>
                  <a:pt x="77680" y="123384"/>
                  <a:pt x="23199" y="42743"/>
                </a:cubicBezTo>
                <a:lnTo>
                  <a:pt x="0" y="0"/>
                </a:lnTo>
                <a:close/>
              </a:path>
            </a:pathLst>
          </a:custGeom>
          <a:solidFill>
            <a:srgbClr val="A6A6A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2" name="Freeform 11">
            <a:extLst>
              <a:ext uri="{FF2B5EF4-FFF2-40B4-BE49-F238E27FC236}">
                <a16:creationId xmlns:a16="http://schemas.microsoft.com/office/drawing/2014/main" id="{E1EEA8DD-61DE-7F23-A928-3EF0E8D7959E}"/>
              </a:ext>
            </a:extLst>
          </p:cNvPr>
          <p:cNvSpPr/>
          <p:nvPr userDrawn="1"/>
        </p:nvSpPr>
        <p:spPr>
          <a:xfrm>
            <a:off x="8716325" y="176405"/>
            <a:ext cx="3475676" cy="147484"/>
          </a:xfrm>
          <a:custGeom>
            <a:avLst/>
            <a:gdLst>
              <a:gd name="connsiteX0" fmla="*/ 0 w 3475676"/>
              <a:gd name="connsiteY0" fmla="*/ 0 h 147484"/>
              <a:gd name="connsiteX1" fmla="*/ 1831174 w 3475676"/>
              <a:gd name="connsiteY1" fmla="*/ 0 h 147484"/>
              <a:gd name="connsiteX2" fmla="*/ 2956204 w 3475676"/>
              <a:gd name="connsiteY2" fmla="*/ 0 h 147484"/>
              <a:gd name="connsiteX3" fmla="*/ 3475676 w 3475676"/>
              <a:gd name="connsiteY3" fmla="*/ 0 h 147484"/>
              <a:gd name="connsiteX4" fmla="*/ 3475676 w 3475676"/>
              <a:gd name="connsiteY4" fmla="*/ 147484 h 147484"/>
              <a:gd name="connsiteX5" fmla="*/ 258890 w 3475676"/>
              <a:gd name="connsiteY5" fmla="*/ 147484 h 147484"/>
              <a:gd name="connsiteX6" fmla="*/ 7503 w 3475676"/>
              <a:gd name="connsiteY6" fmla="*/ 13823 h 147484"/>
              <a:gd name="connsiteX7" fmla="*/ 0 w 3475676"/>
              <a:gd name="connsiteY7" fmla="*/ 0 h 1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75676" h="147484">
                <a:moveTo>
                  <a:pt x="0" y="0"/>
                </a:moveTo>
                <a:lnTo>
                  <a:pt x="1831174" y="0"/>
                </a:lnTo>
                <a:lnTo>
                  <a:pt x="2956204" y="0"/>
                </a:lnTo>
                <a:lnTo>
                  <a:pt x="3475676" y="0"/>
                </a:lnTo>
                <a:lnTo>
                  <a:pt x="3475676" y="147484"/>
                </a:lnTo>
                <a:lnTo>
                  <a:pt x="258890" y="147484"/>
                </a:lnTo>
                <a:cubicBezTo>
                  <a:pt x="154245" y="147484"/>
                  <a:pt x="61984" y="94464"/>
                  <a:pt x="7503" y="13823"/>
                </a:cubicBezTo>
                <a:lnTo>
                  <a:pt x="0" y="0"/>
                </a:lnTo>
                <a:close/>
              </a:path>
            </a:pathLst>
          </a:custGeom>
          <a:solidFill>
            <a:srgbClr val="D3223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4" name="Freeform 13">
            <a:extLst>
              <a:ext uri="{FF2B5EF4-FFF2-40B4-BE49-F238E27FC236}">
                <a16:creationId xmlns:a16="http://schemas.microsoft.com/office/drawing/2014/main" id="{7A73230B-101C-DBF5-6450-19DFEF8A0EBC}"/>
              </a:ext>
            </a:extLst>
          </p:cNvPr>
          <p:cNvSpPr/>
          <p:nvPr userDrawn="1"/>
        </p:nvSpPr>
        <p:spPr>
          <a:xfrm>
            <a:off x="6938964" y="1"/>
            <a:ext cx="5253037" cy="176404"/>
          </a:xfrm>
          <a:custGeom>
            <a:avLst/>
            <a:gdLst>
              <a:gd name="connsiteX0" fmla="*/ 0 w 5253037"/>
              <a:gd name="connsiteY0" fmla="*/ 0 h 176404"/>
              <a:gd name="connsiteX1" fmla="*/ 2262187 w 5253037"/>
              <a:gd name="connsiteY1" fmla="*/ 0 h 176404"/>
              <a:gd name="connsiteX2" fmla="*/ 2547476 w 5253037"/>
              <a:gd name="connsiteY2" fmla="*/ 0 h 176404"/>
              <a:gd name="connsiteX3" fmla="*/ 5253037 w 5253037"/>
              <a:gd name="connsiteY3" fmla="*/ 0 h 176404"/>
              <a:gd name="connsiteX4" fmla="*/ 5253037 w 5253037"/>
              <a:gd name="connsiteY4" fmla="*/ 176404 h 176404"/>
              <a:gd name="connsiteX5" fmla="*/ 2591748 w 5253037"/>
              <a:gd name="connsiteY5" fmla="*/ 176404 h 176404"/>
              <a:gd name="connsiteX6" fmla="*/ 2262187 w 5253037"/>
              <a:gd name="connsiteY6" fmla="*/ 176404 h 176404"/>
              <a:gd name="connsiteX7" fmla="*/ 274586 w 5253037"/>
              <a:gd name="connsiteY7" fmla="*/ 176404 h 176404"/>
              <a:gd name="connsiteX8" fmla="*/ 23199 w 5253037"/>
              <a:gd name="connsiteY8" fmla="*/ 42743 h 176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53037" h="176404">
                <a:moveTo>
                  <a:pt x="0" y="0"/>
                </a:moveTo>
                <a:lnTo>
                  <a:pt x="2262187" y="0"/>
                </a:lnTo>
                <a:lnTo>
                  <a:pt x="2547476" y="0"/>
                </a:lnTo>
                <a:lnTo>
                  <a:pt x="5253037" y="0"/>
                </a:lnTo>
                <a:lnTo>
                  <a:pt x="5253037" y="176404"/>
                </a:lnTo>
                <a:lnTo>
                  <a:pt x="2591748" y="176404"/>
                </a:lnTo>
                <a:lnTo>
                  <a:pt x="2262187" y="176404"/>
                </a:lnTo>
                <a:lnTo>
                  <a:pt x="274586" y="176404"/>
                </a:lnTo>
                <a:cubicBezTo>
                  <a:pt x="169941" y="176404"/>
                  <a:pt x="77680" y="123384"/>
                  <a:pt x="23199" y="42743"/>
                </a:cubicBez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 name="Title 1">
            <a:extLst>
              <a:ext uri="{FF2B5EF4-FFF2-40B4-BE49-F238E27FC236}">
                <a16:creationId xmlns:a16="http://schemas.microsoft.com/office/drawing/2014/main" id="{14A99D49-8EFD-0EE0-22E5-91184ED70F15}"/>
              </a:ext>
            </a:extLst>
          </p:cNvPr>
          <p:cNvSpPr>
            <a:spLocks noGrp="1"/>
          </p:cNvSpPr>
          <p:nvPr>
            <p:ph type="ctrTitle"/>
          </p:nvPr>
        </p:nvSpPr>
        <p:spPr>
          <a:xfrm>
            <a:off x="838200" y="1765691"/>
            <a:ext cx="9144000" cy="2557908"/>
          </a:xfrm>
        </p:spPr>
        <p:txBody>
          <a:bodyPr anchor="b">
            <a:noAutofit/>
          </a:bodyPr>
          <a:lstStyle>
            <a:lvl1pPr algn="l">
              <a:defRPr sz="3600">
                <a:solidFill>
                  <a:schemeClr val="bg1"/>
                </a:solidFill>
              </a:defRPr>
            </a:lvl1pPr>
          </a:lstStyle>
          <a:p>
            <a:r>
              <a:rPr lang="de-DE"/>
              <a:t>Mastertitelformat bearbeiten</a:t>
            </a:r>
            <a:endParaRPr lang="en-US"/>
          </a:p>
        </p:txBody>
      </p:sp>
      <p:sp>
        <p:nvSpPr>
          <p:cNvPr id="3" name="Subtitle 2">
            <a:extLst>
              <a:ext uri="{FF2B5EF4-FFF2-40B4-BE49-F238E27FC236}">
                <a16:creationId xmlns:a16="http://schemas.microsoft.com/office/drawing/2014/main" id="{63837146-C674-6088-E61F-631D1907D7A3}"/>
              </a:ext>
            </a:extLst>
          </p:cNvPr>
          <p:cNvSpPr>
            <a:spLocks noGrp="1"/>
          </p:cNvSpPr>
          <p:nvPr>
            <p:ph type="subTitle" idx="1" hasCustomPrompt="1"/>
          </p:nvPr>
        </p:nvSpPr>
        <p:spPr>
          <a:xfrm>
            <a:off x="838200" y="4830249"/>
            <a:ext cx="9144000" cy="1479113"/>
          </a:xfrm>
        </p:spPr>
        <p:txBody>
          <a:bodyPr>
            <a:normAutofit/>
          </a:bodyPr>
          <a:lstStyle>
            <a:lvl1pPr marL="0" indent="0" algn="l">
              <a:buNone/>
              <a:defRPr sz="1400" b="0" i="0" spc="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cxnSp>
        <p:nvCxnSpPr>
          <p:cNvPr id="11" name="Straight Connector 10">
            <a:extLst>
              <a:ext uri="{FF2B5EF4-FFF2-40B4-BE49-F238E27FC236}">
                <a16:creationId xmlns:a16="http://schemas.microsoft.com/office/drawing/2014/main" id="{B7AA1F1D-8ECA-BE29-DA55-D2C13F9985A4}"/>
              </a:ext>
            </a:extLst>
          </p:cNvPr>
          <p:cNvCxnSpPr>
            <a:cxnSpLocks/>
          </p:cNvCxnSpPr>
          <p:nvPr userDrawn="1"/>
        </p:nvCxnSpPr>
        <p:spPr>
          <a:xfrm>
            <a:off x="838200" y="4581255"/>
            <a:ext cx="11353800" cy="0"/>
          </a:xfrm>
          <a:prstGeom prst="line">
            <a:avLst/>
          </a:prstGeom>
          <a:ln w="12700">
            <a:solidFill>
              <a:srgbClr val="D32232"/>
            </a:solidFill>
          </a:ln>
        </p:spPr>
        <p:style>
          <a:lnRef idx="2">
            <a:schemeClr val="accent1"/>
          </a:lnRef>
          <a:fillRef idx="0">
            <a:schemeClr val="accent1"/>
          </a:fillRef>
          <a:effectRef idx="1">
            <a:schemeClr val="accent1"/>
          </a:effectRef>
          <a:fontRef idx="minor">
            <a:schemeClr val="tx1"/>
          </a:fontRef>
        </p:style>
      </p:cxnSp>
      <p:sp>
        <p:nvSpPr>
          <p:cNvPr id="13" name="Date Placeholder 3">
            <a:extLst>
              <a:ext uri="{FF2B5EF4-FFF2-40B4-BE49-F238E27FC236}">
                <a16:creationId xmlns:a16="http://schemas.microsoft.com/office/drawing/2014/main" id="{07EE37FD-7AD0-A3D4-8DE4-378118102FA1}"/>
              </a:ext>
            </a:extLst>
          </p:cNvPr>
          <p:cNvSpPr>
            <a:spLocks noGrp="1"/>
          </p:cNvSpPr>
          <p:nvPr>
            <p:ph type="dt" sz="half" idx="10"/>
          </p:nvPr>
        </p:nvSpPr>
        <p:spPr>
          <a:xfrm>
            <a:off x="838201" y="6309360"/>
            <a:ext cx="1695409" cy="365125"/>
          </a:xfrm>
        </p:spPr>
        <p:txBody>
          <a:bodyPr anchor="t" anchorCtr="0"/>
          <a:lstStyle>
            <a:lvl1pPr>
              <a:defRPr sz="10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fld id="{4CF0E3CE-DB6F-4C4A-97AC-FF2A5642C2B3}" type="datetime4">
              <a:t>May 31, 2026</a:t>
            </a:fld>
            <a:endParaRPr lang="en-US"/>
          </a:p>
        </p:txBody>
      </p:sp>
      <p:sp>
        <p:nvSpPr>
          <p:cNvPr id="15" name="Text Placeholder 14">
            <a:extLst>
              <a:ext uri="{FF2B5EF4-FFF2-40B4-BE49-F238E27FC236}">
                <a16:creationId xmlns:a16="http://schemas.microsoft.com/office/drawing/2014/main" id="{3AD18EB7-C97A-2AC8-5228-5C5DB7C2EFE2}"/>
              </a:ext>
            </a:extLst>
          </p:cNvPr>
          <p:cNvSpPr>
            <a:spLocks noGrp="1"/>
          </p:cNvSpPr>
          <p:nvPr>
            <p:ph type="body" sz="quarter" idx="11" hasCustomPrompt="1"/>
          </p:nvPr>
        </p:nvSpPr>
        <p:spPr>
          <a:xfrm>
            <a:off x="6410327" y="713233"/>
            <a:ext cx="5253037" cy="376239"/>
          </a:xfrm>
        </p:spPr>
        <p:txBody>
          <a:bodyPr>
            <a:normAutofit/>
          </a:bodyPr>
          <a:lstStyle>
            <a:lvl1pPr marL="0" indent="0" algn="r">
              <a:buNone/>
              <a:defRPr sz="1400" b="0" i="0" spc="100" baseline="0">
                <a:solidFill>
                  <a:schemeClr val="bg1"/>
                </a:solidFill>
                <a:latin typeface="Open Sans Medium" panose="020B0606030504020204" pitchFamily="34" charset="0"/>
                <a:ea typeface="Open Sans Medium" panose="020B0606030504020204" pitchFamily="34" charset="0"/>
                <a:cs typeface="Open Sans Medium" panose="020B0606030504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MASTER TEXT STYLES</a:t>
            </a:r>
          </a:p>
        </p:txBody>
      </p:sp>
      <p:pic>
        <p:nvPicPr>
          <p:cNvPr id="16" name="Picture 15">
            <a:extLst>
              <a:ext uri="{FF2B5EF4-FFF2-40B4-BE49-F238E27FC236}">
                <a16:creationId xmlns:a16="http://schemas.microsoft.com/office/drawing/2014/main" id="{F4DDDE33-18D0-C843-76A2-721C123C23A3}"/>
              </a:ext>
            </a:extLst>
          </p:cNvPr>
          <p:cNvPicPr>
            <a:picLocks noChangeAspect="1"/>
          </p:cNvPicPr>
          <p:nvPr userDrawn="1"/>
        </p:nvPicPr>
        <p:blipFill>
          <a:blip r:embed="rId2"/>
          <a:stretch>
            <a:fillRect/>
          </a:stretch>
        </p:blipFill>
        <p:spPr>
          <a:xfrm>
            <a:off x="530736" y="491663"/>
            <a:ext cx="3584448" cy="554117"/>
          </a:xfrm>
          <a:prstGeom prst="rect">
            <a:avLst/>
          </a:prstGeom>
        </p:spPr>
      </p:pic>
    </p:spTree>
    <p:extLst>
      <p:ext uri="{BB962C8B-B14F-4D97-AF65-F5344CB8AC3E}">
        <p14:creationId xmlns:p14="http://schemas.microsoft.com/office/powerpoint/2010/main" val="40003099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_Abstract_Whit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5855E14-48BC-BA32-A303-15591189A5EA}"/>
              </a:ext>
            </a:extLst>
          </p:cNvPr>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14A99D49-8EFD-0EE0-22E5-91184ED70F15}"/>
              </a:ext>
            </a:extLst>
          </p:cNvPr>
          <p:cNvSpPr>
            <a:spLocks noGrp="1"/>
          </p:cNvSpPr>
          <p:nvPr>
            <p:ph type="ctrTitle"/>
          </p:nvPr>
        </p:nvSpPr>
        <p:spPr>
          <a:xfrm>
            <a:off x="838200" y="1765691"/>
            <a:ext cx="9144000" cy="2557908"/>
          </a:xfrm>
        </p:spPr>
        <p:txBody>
          <a:bodyPr anchor="b">
            <a:noAutofit/>
          </a:bodyPr>
          <a:lstStyle>
            <a:lvl1pPr algn="l">
              <a:defRPr sz="3600">
                <a:solidFill>
                  <a:srgbClr val="D32232"/>
                </a:solidFill>
              </a:defRPr>
            </a:lvl1pPr>
          </a:lstStyle>
          <a:p>
            <a:r>
              <a:rPr lang="de-DE"/>
              <a:t>Mastertitelformat bearbeiten</a:t>
            </a:r>
            <a:endParaRPr lang="en-US"/>
          </a:p>
        </p:txBody>
      </p:sp>
      <p:sp>
        <p:nvSpPr>
          <p:cNvPr id="3" name="Subtitle 2">
            <a:extLst>
              <a:ext uri="{FF2B5EF4-FFF2-40B4-BE49-F238E27FC236}">
                <a16:creationId xmlns:a16="http://schemas.microsoft.com/office/drawing/2014/main" id="{63837146-C674-6088-E61F-631D1907D7A3}"/>
              </a:ext>
            </a:extLst>
          </p:cNvPr>
          <p:cNvSpPr>
            <a:spLocks noGrp="1"/>
          </p:cNvSpPr>
          <p:nvPr>
            <p:ph type="subTitle" idx="1" hasCustomPrompt="1"/>
          </p:nvPr>
        </p:nvSpPr>
        <p:spPr>
          <a:xfrm>
            <a:off x="838200" y="4830249"/>
            <a:ext cx="9144000" cy="1479113"/>
          </a:xfrm>
        </p:spPr>
        <p:txBody>
          <a:bodyPr>
            <a:normAutofit/>
          </a:bodyPr>
          <a:lstStyle>
            <a:lvl1pPr marL="0" indent="0" algn="l">
              <a:buNone/>
              <a:defRPr sz="1400" b="0" i="0" spc="0" baseline="0">
                <a:solidFill>
                  <a:srgbClr val="7E8083"/>
                </a:solidFill>
                <a:latin typeface="Open Sans" panose="020B0606030504020204" pitchFamily="34" charset="0"/>
                <a:ea typeface="Open Sans" panose="020B0606030504020204" pitchFamily="34" charset="0"/>
                <a:cs typeface="Open Sans" panose="020B06060305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cxnSp>
        <p:nvCxnSpPr>
          <p:cNvPr id="11" name="Straight Connector 10">
            <a:extLst>
              <a:ext uri="{FF2B5EF4-FFF2-40B4-BE49-F238E27FC236}">
                <a16:creationId xmlns:a16="http://schemas.microsoft.com/office/drawing/2014/main" id="{B7AA1F1D-8ECA-BE29-DA55-D2C13F9985A4}"/>
              </a:ext>
            </a:extLst>
          </p:cNvPr>
          <p:cNvCxnSpPr>
            <a:cxnSpLocks/>
          </p:cNvCxnSpPr>
          <p:nvPr userDrawn="1"/>
        </p:nvCxnSpPr>
        <p:spPr>
          <a:xfrm>
            <a:off x="838200" y="4581255"/>
            <a:ext cx="11353800" cy="0"/>
          </a:xfrm>
          <a:prstGeom prst="line">
            <a:avLst/>
          </a:prstGeom>
          <a:ln w="12700">
            <a:solidFill>
              <a:srgbClr val="E6E7E8"/>
            </a:solidFill>
          </a:ln>
        </p:spPr>
        <p:style>
          <a:lnRef idx="2">
            <a:schemeClr val="accent1"/>
          </a:lnRef>
          <a:fillRef idx="0">
            <a:schemeClr val="accent1"/>
          </a:fillRef>
          <a:effectRef idx="1">
            <a:schemeClr val="accent1"/>
          </a:effectRef>
          <a:fontRef idx="minor">
            <a:schemeClr val="tx1"/>
          </a:fontRef>
        </p:style>
      </p:cxnSp>
      <p:sp>
        <p:nvSpPr>
          <p:cNvPr id="13" name="Date Placeholder 3">
            <a:extLst>
              <a:ext uri="{FF2B5EF4-FFF2-40B4-BE49-F238E27FC236}">
                <a16:creationId xmlns:a16="http://schemas.microsoft.com/office/drawing/2014/main" id="{07EE37FD-7AD0-A3D4-8DE4-378118102FA1}"/>
              </a:ext>
            </a:extLst>
          </p:cNvPr>
          <p:cNvSpPr>
            <a:spLocks noGrp="1"/>
          </p:cNvSpPr>
          <p:nvPr>
            <p:ph type="dt" sz="half" idx="10"/>
          </p:nvPr>
        </p:nvSpPr>
        <p:spPr>
          <a:xfrm>
            <a:off x="838201" y="6309360"/>
            <a:ext cx="1695409" cy="365125"/>
          </a:xfrm>
        </p:spPr>
        <p:txBody>
          <a:bodyPr anchor="t" anchorCtr="0"/>
          <a:lstStyle>
            <a:lvl1pPr>
              <a:defRPr sz="1000" b="1" i="0">
                <a:solidFill>
                  <a:srgbClr val="D32232"/>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fld id="{04F8E8AA-866D-C944-B84C-EE26A56D4305}" type="datetime4">
              <a:t>May 31, 2026</a:t>
            </a:fld>
            <a:endParaRPr lang="en-US"/>
          </a:p>
        </p:txBody>
      </p:sp>
      <p:pic>
        <p:nvPicPr>
          <p:cNvPr id="6" name="Picture 5">
            <a:extLst>
              <a:ext uri="{FF2B5EF4-FFF2-40B4-BE49-F238E27FC236}">
                <a16:creationId xmlns:a16="http://schemas.microsoft.com/office/drawing/2014/main" id="{0C3BA638-11F7-75FE-4035-26A89A8A0149}"/>
              </a:ext>
            </a:extLst>
          </p:cNvPr>
          <p:cNvPicPr>
            <a:picLocks noChangeAspect="1"/>
          </p:cNvPicPr>
          <p:nvPr userDrawn="1"/>
        </p:nvPicPr>
        <p:blipFill>
          <a:blip r:embed="rId2"/>
          <a:stretch>
            <a:fillRect/>
          </a:stretch>
        </p:blipFill>
        <p:spPr>
          <a:xfrm>
            <a:off x="528682" y="491345"/>
            <a:ext cx="3586503" cy="554435"/>
          </a:xfrm>
          <a:prstGeom prst="rect">
            <a:avLst/>
          </a:prstGeom>
        </p:spPr>
      </p:pic>
      <p:sp>
        <p:nvSpPr>
          <p:cNvPr id="5" name="Freeform 4">
            <a:extLst>
              <a:ext uri="{FF2B5EF4-FFF2-40B4-BE49-F238E27FC236}">
                <a16:creationId xmlns:a16="http://schemas.microsoft.com/office/drawing/2014/main" id="{4F5F5E58-3521-83A6-5A8A-F24B9E9A885A}"/>
              </a:ext>
            </a:extLst>
          </p:cNvPr>
          <p:cNvSpPr/>
          <p:nvPr userDrawn="1"/>
        </p:nvSpPr>
        <p:spPr>
          <a:xfrm>
            <a:off x="6124577" y="1"/>
            <a:ext cx="2591748" cy="176404"/>
          </a:xfrm>
          <a:custGeom>
            <a:avLst/>
            <a:gdLst>
              <a:gd name="connsiteX0" fmla="*/ 0 w 2591748"/>
              <a:gd name="connsiteY0" fmla="*/ 0 h 176404"/>
              <a:gd name="connsiteX1" fmla="*/ 2547476 w 2591748"/>
              <a:gd name="connsiteY1" fmla="*/ 0 h 176404"/>
              <a:gd name="connsiteX2" fmla="*/ 2547476 w 2591748"/>
              <a:gd name="connsiteY2" fmla="*/ 20726 h 176404"/>
              <a:gd name="connsiteX3" fmla="*/ 2571300 w 2591748"/>
              <a:gd name="connsiteY3" fmla="*/ 138730 h 176404"/>
              <a:gd name="connsiteX4" fmla="*/ 2591748 w 2591748"/>
              <a:gd name="connsiteY4" fmla="*/ 176404 h 176404"/>
              <a:gd name="connsiteX5" fmla="*/ 274586 w 2591748"/>
              <a:gd name="connsiteY5" fmla="*/ 176404 h 176404"/>
              <a:gd name="connsiteX6" fmla="*/ 23199 w 2591748"/>
              <a:gd name="connsiteY6" fmla="*/ 42743 h 176404"/>
              <a:gd name="connsiteX7" fmla="*/ 0 w 2591748"/>
              <a:gd name="connsiteY7" fmla="*/ 0 h 176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1748" h="176404">
                <a:moveTo>
                  <a:pt x="0" y="0"/>
                </a:moveTo>
                <a:lnTo>
                  <a:pt x="2547476" y="0"/>
                </a:lnTo>
                <a:lnTo>
                  <a:pt x="2547476" y="20726"/>
                </a:lnTo>
                <a:cubicBezTo>
                  <a:pt x="2547476" y="62584"/>
                  <a:pt x="2555959" y="102461"/>
                  <a:pt x="2571300" y="138730"/>
                </a:cubicBezTo>
                <a:lnTo>
                  <a:pt x="2591748" y="176404"/>
                </a:lnTo>
                <a:lnTo>
                  <a:pt x="274586" y="176404"/>
                </a:lnTo>
                <a:cubicBezTo>
                  <a:pt x="169941" y="176404"/>
                  <a:pt x="77680" y="123384"/>
                  <a:pt x="23199" y="42743"/>
                </a:cubicBezTo>
                <a:lnTo>
                  <a:pt x="0" y="0"/>
                </a:lnTo>
                <a:close/>
              </a:path>
            </a:pathLst>
          </a:custGeom>
          <a:solidFill>
            <a:srgbClr val="D3223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7" name="Freeform 6">
            <a:extLst>
              <a:ext uri="{FF2B5EF4-FFF2-40B4-BE49-F238E27FC236}">
                <a16:creationId xmlns:a16="http://schemas.microsoft.com/office/drawing/2014/main" id="{419DEDF8-DEF1-D873-5A3E-1E0228FCAD8B}"/>
              </a:ext>
            </a:extLst>
          </p:cNvPr>
          <p:cNvSpPr/>
          <p:nvPr userDrawn="1"/>
        </p:nvSpPr>
        <p:spPr>
          <a:xfrm>
            <a:off x="8716325" y="176405"/>
            <a:ext cx="3475676" cy="147484"/>
          </a:xfrm>
          <a:custGeom>
            <a:avLst/>
            <a:gdLst>
              <a:gd name="connsiteX0" fmla="*/ 0 w 3475676"/>
              <a:gd name="connsiteY0" fmla="*/ 0 h 147484"/>
              <a:gd name="connsiteX1" fmla="*/ 1831174 w 3475676"/>
              <a:gd name="connsiteY1" fmla="*/ 0 h 147484"/>
              <a:gd name="connsiteX2" fmla="*/ 2956204 w 3475676"/>
              <a:gd name="connsiteY2" fmla="*/ 0 h 147484"/>
              <a:gd name="connsiteX3" fmla="*/ 3475676 w 3475676"/>
              <a:gd name="connsiteY3" fmla="*/ 0 h 147484"/>
              <a:gd name="connsiteX4" fmla="*/ 3475676 w 3475676"/>
              <a:gd name="connsiteY4" fmla="*/ 147484 h 147484"/>
              <a:gd name="connsiteX5" fmla="*/ 258890 w 3475676"/>
              <a:gd name="connsiteY5" fmla="*/ 147484 h 147484"/>
              <a:gd name="connsiteX6" fmla="*/ 7503 w 3475676"/>
              <a:gd name="connsiteY6" fmla="*/ 13823 h 147484"/>
              <a:gd name="connsiteX7" fmla="*/ 0 w 3475676"/>
              <a:gd name="connsiteY7" fmla="*/ 0 h 1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75676" h="147484">
                <a:moveTo>
                  <a:pt x="0" y="0"/>
                </a:moveTo>
                <a:lnTo>
                  <a:pt x="1831174" y="0"/>
                </a:lnTo>
                <a:lnTo>
                  <a:pt x="2956204" y="0"/>
                </a:lnTo>
                <a:lnTo>
                  <a:pt x="3475676" y="0"/>
                </a:lnTo>
                <a:lnTo>
                  <a:pt x="3475676" y="147484"/>
                </a:lnTo>
                <a:lnTo>
                  <a:pt x="258890" y="147484"/>
                </a:lnTo>
                <a:cubicBezTo>
                  <a:pt x="154245" y="147484"/>
                  <a:pt x="61984" y="94464"/>
                  <a:pt x="7503" y="13823"/>
                </a:cubicBezTo>
                <a:lnTo>
                  <a:pt x="0" y="0"/>
                </a:lnTo>
                <a:close/>
              </a:path>
            </a:pathLst>
          </a:custGeom>
          <a:solidFill>
            <a:srgbClr val="E6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9" name="Freeform 8">
            <a:extLst>
              <a:ext uri="{FF2B5EF4-FFF2-40B4-BE49-F238E27FC236}">
                <a16:creationId xmlns:a16="http://schemas.microsoft.com/office/drawing/2014/main" id="{16B462D9-0056-4BE9-64A4-7D932B25341E}"/>
              </a:ext>
            </a:extLst>
          </p:cNvPr>
          <p:cNvSpPr/>
          <p:nvPr userDrawn="1"/>
        </p:nvSpPr>
        <p:spPr>
          <a:xfrm>
            <a:off x="6938964" y="1"/>
            <a:ext cx="5253037" cy="176404"/>
          </a:xfrm>
          <a:custGeom>
            <a:avLst/>
            <a:gdLst>
              <a:gd name="connsiteX0" fmla="*/ 0 w 5253037"/>
              <a:gd name="connsiteY0" fmla="*/ 0 h 176404"/>
              <a:gd name="connsiteX1" fmla="*/ 2262187 w 5253037"/>
              <a:gd name="connsiteY1" fmla="*/ 0 h 176404"/>
              <a:gd name="connsiteX2" fmla="*/ 2547476 w 5253037"/>
              <a:gd name="connsiteY2" fmla="*/ 0 h 176404"/>
              <a:gd name="connsiteX3" fmla="*/ 5253037 w 5253037"/>
              <a:gd name="connsiteY3" fmla="*/ 0 h 176404"/>
              <a:gd name="connsiteX4" fmla="*/ 5253037 w 5253037"/>
              <a:gd name="connsiteY4" fmla="*/ 176404 h 176404"/>
              <a:gd name="connsiteX5" fmla="*/ 2591748 w 5253037"/>
              <a:gd name="connsiteY5" fmla="*/ 176404 h 176404"/>
              <a:gd name="connsiteX6" fmla="*/ 2262187 w 5253037"/>
              <a:gd name="connsiteY6" fmla="*/ 176404 h 176404"/>
              <a:gd name="connsiteX7" fmla="*/ 274586 w 5253037"/>
              <a:gd name="connsiteY7" fmla="*/ 176404 h 176404"/>
              <a:gd name="connsiteX8" fmla="*/ 23199 w 5253037"/>
              <a:gd name="connsiteY8" fmla="*/ 42743 h 176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53037" h="176404">
                <a:moveTo>
                  <a:pt x="0" y="0"/>
                </a:moveTo>
                <a:lnTo>
                  <a:pt x="2262187" y="0"/>
                </a:lnTo>
                <a:lnTo>
                  <a:pt x="2547476" y="0"/>
                </a:lnTo>
                <a:lnTo>
                  <a:pt x="5253037" y="0"/>
                </a:lnTo>
                <a:lnTo>
                  <a:pt x="5253037" y="176404"/>
                </a:lnTo>
                <a:lnTo>
                  <a:pt x="2591748" y="176404"/>
                </a:lnTo>
                <a:lnTo>
                  <a:pt x="2262187" y="176404"/>
                </a:lnTo>
                <a:lnTo>
                  <a:pt x="274586" y="176404"/>
                </a:lnTo>
                <a:cubicBezTo>
                  <a:pt x="169941" y="176404"/>
                  <a:pt x="77680" y="123384"/>
                  <a:pt x="23199" y="42743"/>
                </a:cubicBezTo>
                <a:close/>
              </a:path>
            </a:pathLst>
          </a:custGeom>
          <a:solidFill>
            <a:srgbClr val="98101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Text Placeholder 14">
            <a:extLst>
              <a:ext uri="{FF2B5EF4-FFF2-40B4-BE49-F238E27FC236}">
                <a16:creationId xmlns:a16="http://schemas.microsoft.com/office/drawing/2014/main" id="{3AD18EB7-C97A-2AC8-5228-5C5DB7C2EFE2}"/>
              </a:ext>
            </a:extLst>
          </p:cNvPr>
          <p:cNvSpPr>
            <a:spLocks noGrp="1"/>
          </p:cNvSpPr>
          <p:nvPr>
            <p:ph type="body" sz="quarter" idx="11" hasCustomPrompt="1"/>
          </p:nvPr>
        </p:nvSpPr>
        <p:spPr>
          <a:xfrm>
            <a:off x="6410327" y="713233"/>
            <a:ext cx="5253037" cy="376239"/>
          </a:xfrm>
        </p:spPr>
        <p:txBody>
          <a:bodyPr>
            <a:normAutofit/>
          </a:bodyPr>
          <a:lstStyle>
            <a:lvl1pPr marL="0" indent="0" algn="r">
              <a:buNone/>
              <a:defRPr sz="1400" b="0" i="0" spc="100" baseline="0">
                <a:latin typeface="Open Sans Medium" panose="020B0606030504020204" pitchFamily="34" charset="0"/>
                <a:ea typeface="Open Sans Medium" panose="020B0606030504020204" pitchFamily="34" charset="0"/>
                <a:cs typeface="Open Sans Medium" panose="020B0606030504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MASTER TEXT STYLES</a:t>
            </a:r>
          </a:p>
        </p:txBody>
      </p:sp>
    </p:spTree>
    <p:extLst>
      <p:ext uri="{BB962C8B-B14F-4D97-AF65-F5344CB8AC3E}">
        <p14:creationId xmlns:p14="http://schemas.microsoft.com/office/powerpoint/2010/main" val="38684642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08272C-9950-2940-1BE1-DD521EB05A59}"/>
              </a:ext>
            </a:extLst>
          </p:cNvPr>
          <p:cNvSpPr>
            <a:spLocks noGrp="1"/>
          </p:cNvSpPr>
          <p:nvPr>
            <p:ph type="title"/>
          </p:nvPr>
        </p:nvSpPr>
        <p:spPr/>
        <p:txBody>
          <a:bodyPr lIns="0" rIns="0"/>
          <a:lstStyle/>
          <a:p>
            <a:r>
              <a:rPr lang="de-DE"/>
              <a:t>Mastertitelformat bearbeiten</a:t>
            </a:r>
            <a:endParaRPr lang="en-US"/>
          </a:p>
        </p:txBody>
      </p:sp>
      <p:sp>
        <p:nvSpPr>
          <p:cNvPr id="3" name="Content Placeholder 2">
            <a:extLst>
              <a:ext uri="{FF2B5EF4-FFF2-40B4-BE49-F238E27FC236}">
                <a16:creationId xmlns:a16="http://schemas.microsoft.com/office/drawing/2014/main" id="{BF3E47C2-CA3C-F4E3-491B-BE381C89BF08}"/>
              </a:ext>
            </a:extLst>
          </p:cNvPr>
          <p:cNvSpPr>
            <a:spLocks noGrp="1"/>
          </p:cNvSpPr>
          <p:nvPr>
            <p:ph idx="1"/>
          </p:nvPr>
        </p:nvSpPr>
        <p:spPr/>
        <p:txBody>
          <a:bodyPr l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8" name="Footer Placeholder 4">
            <a:extLst>
              <a:ext uri="{FF2B5EF4-FFF2-40B4-BE49-F238E27FC236}">
                <a16:creationId xmlns:a16="http://schemas.microsoft.com/office/drawing/2014/main" id="{F26AC01B-4E96-083E-CB0C-68633F3A41F3}"/>
              </a:ext>
            </a:extLst>
          </p:cNvPr>
          <p:cNvSpPr>
            <a:spLocks noGrp="1"/>
          </p:cNvSpPr>
          <p:nvPr>
            <p:ph type="ftr" sz="quarter" idx="3"/>
          </p:nvPr>
        </p:nvSpPr>
        <p:spPr>
          <a:xfrm>
            <a:off x="2786276" y="6356351"/>
            <a:ext cx="4194627" cy="365125"/>
          </a:xfrm>
          <a:prstGeom prst="rect">
            <a:avLst/>
          </a:prstGeom>
        </p:spPr>
        <p:txBody>
          <a:bodyPr vert="horz" lIns="0" tIns="0" rIns="0" bIns="0" rtlCol="0" anchor="ctr"/>
          <a:lstStyle>
            <a:lvl1pPr algn="l">
              <a:defRPr sz="900" b="0" i="0">
                <a:solidFill>
                  <a:srgbClr val="7E8083"/>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a:p>
        </p:txBody>
      </p:sp>
      <p:sp>
        <p:nvSpPr>
          <p:cNvPr id="9" name="TextBox 8">
            <a:extLst>
              <a:ext uri="{FF2B5EF4-FFF2-40B4-BE49-F238E27FC236}">
                <a16:creationId xmlns:a16="http://schemas.microsoft.com/office/drawing/2014/main" id="{63763530-4CA1-CE46-3577-2C01512AB3A8}"/>
              </a:ext>
            </a:extLst>
          </p:cNvPr>
          <p:cNvSpPr txBox="1"/>
          <p:nvPr userDrawn="1"/>
        </p:nvSpPr>
        <p:spPr>
          <a:xfrm>
            <a:off x="838201" y="6470651"/>
            <a:ext cx="1987404" cy="138499"/>
          </a:xfrm>
          <a:prstGeom prst="rect">
            <a:avLst/>
          </a:prstGeom>
          <a:noFill/>
        </p:spPr>
        <p:txBody>
          <a:bodyPr wrap="square" lIns="0" tIns="0" rIns="0" bIns="0" rtlCol="0">
            <a:spAutoFit/>
          </a:bodyPr>
          <a:lstStyle/>
          <a:p>
            <a:r>
              <a:rPr lang="en-US" sz="900" b="0" i="0">
                <a:latin typeface="Open Sans Medium" panose="020B0606030504020204" pitchFamily="34" charset="0"/>
                <a:ea typeface="Open Sans Medium" panose="020B0606030504020204" pitchFamily="34" charset="0"/>
                <a:cs typeface="Open Sans Medium" panose="020B0606030504020204" pitchFamily="34" charset="0"/>
              </a:rPr>
              <a:t>American Society of Hematology  </a:t>
            </a:r>
            <a:r>
              <a:rPr lang="en-US" sz="900" b="0" i="0">
                <a:solidFill>
                  <a:srgbClr val="7E8083"/>
                </a:solidFill>
                <a:latin typeface="Open Sans Medium" panose="020B0606030504020204" pitchFamily="34" charset="0"/>
                <a:ea typeface="Open Sans Medium" panose="020B0606030504020204" pitchFamily="34" charset="0"/>
                <a:cs typeface="Open Sans Medium" panose="020B0606030504020204" pitchFamily="34" charset="0"/>
              </a:rPr>
              <a:t>|</a:t>
            </a:r>
            <a:r>
              <a:rPr lang="en-US" sz="900" b="0" i="0">
                <a:latin typeface="Open Sans Medium" panose="020B0606030504020204" pitchFamily="34" charset="0"/>
                <a:ea typeface="Open Sans Medium" panose="020B0606030504020204" pitchFamily="34" charset="0"/>
                <a:cs typeface="Open Sans Medium" panose="020B0606030504020204" pitchFamily="34" charset="0"/>
              </a:rPr>
              <a:t>  </a:t>
            </a:r>
          </a:p>
        </p:txBody>
      </p:sp>
    </p:spTree>
    <p:extLst>
      <p:ext uri="{BB962C8B-B14F-4D97-AF65-F5344CB8AC3E}">
        <p14:creationId xmlns:p14="http://schemas.microsoft.com/office/powerpoint/2010/main" val="25509307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EB912-B921-8333-65D6-9156D925586A}"/>
              </a:ext>
            </a:extLst>
          </p:cNvPr>
          <p:cNvSpPr>
            <a:spLocks noGrp="1"/>
          </p:cNvSpPr>
          <p:nvPr>
            <p:ph type="title"/>
          </p:nvPr>
        </p:nvSpPr>
        <p:spPr>
          <a:xfrm>
            <a:off x="831849" y="1709740"/>
            <a:ext cx="10515600" cy="2852737"/>
          </a:xfrm>
        </p:spPr>
        <p:txBody>
          <a:bodyPr anchor="b">
            <a:normAutofit/>
          </a:bodyPr>
          <a:lstStyle>
            <a:lvl1pPr>
              <a:lnSpc>
                <a:spcPct val="110000"/>
              </a:lnSpc>
              <a:defRPr sz="5400"/>
            </a:lvl1pPr>
          </a:lstStyle>
          <a:p>
            <a:r>
              <a:rPr lang="de-DE"/>
              <a:t>Mastertitelformat bearbeiten</a:t>
            </a:r>
            <a:endParaRPr lang="en-US"/>
          </a:p>
        </p:txBody>
      </p:sp>
      <p:sp>
        <p:nvSpPr>
          <p:cNvPr id="3" name="Text Placeholder 2">
            <a:extLst>
              <a:ext uri="{FF2B5EF4-FFF2-40B4-BE49-F238E27FC236}">
                <a16:creationId xmlns:a16="http://schemas.microsoft.com/office/drawing/2014/main" id="{350E1480-8091-42B0-E77F-DBC78E858D57}"/>
              </a:ext>
            </a:extLst>
          </p:cNvPr>
          <p:cNvSpPr>
            <a:spLocks noGrp="1"/>
          </p:cNvSpPr>
          <p:nvPr>
            <p:ph type="body" idx="1"/>
          </p:nvPr>
        </p:nvSpPr>
        <p:spPr>
          <a:xfrm>
            <a:off x="831849" y="4786314"/>
            <a:ext cx="10515600" cy="1303337"/>
          </a:xfrm>
        </p:spPr>
        <p:txBody>
          <a:bodyPr/>
          <a:lstStyle>
            <a:lvl1pPr marL="0" indent="0">
              <a:buNone/>
              <a:defRPr sz="2400" b="0" i="0">
                <a:solidFill>
                  <a:srgbClr val="7E8083"/>
                </a:solidFill>
                <a:latin typeface="Open Sans" panose="020B0606030504020204" pitchFamily="34" charset="0"/>
                <a:ea typeface="Open Sans" panose="020B0606030504020204" pitchFamily="34" charset="0"/>
                <a:cs typeface="Open Sans" panose="020B0606030504020204" pitchFamily="34" charset="0"/>
              </a:defRPr>
            </a:lvl1pPr>
            <a:lvl2pPr marL="457189" indent="0">
              <a:buNone/>
              <a:defRPr sz="2000">
                <a:solidFill>
                  <a:schemeClr val="tx1">
                    <a:tint val="82000"/>
                  </a:schemeClr>
                </a:solidFill>
              </a:defRPr>
            </a:lvl2pPr>
            <a:lvl3pPr marL="914377" indent="0">
              <a:buNone/>
              <a:defRPr sz="1800">
                <a:solidFill>
                  <a:schemeClr val="tx1">
                    <a:tint val="82000"/>
                  </a:schemeClr>
                </a:solidFill>
              </a:defRPr>
            </a:lvl3pPr>
            <a:lvl4pPr marL="1371566" indent="0">
              <a:buNone/>
              <a:defRPr sz="1600">
                <a:solidFill>
                  <a:schemeClr val="tx1">
                    <a:tint val="82000"/>
                  </a:schemeClr>
                </a:solidFill>
              </a:defRPr>
            </a:lvl4pPr>
            <a:lvl5pPr marL="1828754" indent="0">
              <a:buNone/>
              <a:defRPr sz="1600">
                <a:solidFill>
                  <a:schemeClr val="tx1">
                    <a:tint val="82000"/>
                  </a:schemeClr>
                </a:solidFill>
              </a:defRPr>
            </a:lvl5pPr>
            <a:lvl6pPr marL="2285943" indent="0">
              <a:buNone/>
              <a:defRPr sz="1600">
                <a:solidFill>
                  <a:schemeClr val="tx1">
                    <a:tint val="82000"/>
                  </a:schemeClr>
                </a:solidFill>
              </a:defRPr>
            </a:lvl6pPr>
            <a:lvl7pPr marL="2743131" indent="0">
              <a:buNone/>
              <a:defRPr sz="1600">
                <a:solidFill>
                  <a:schemeClr val="tx1">
                    <a:tint val="82000"/>
                  </a:schemeClr>
                </a:solidFill>
              </a:defRPr>
            </a:lvl7pPr>
            <a:lvl8pPr marL="3200320" indent="0">
              <a:buNone/>
              <a:defRPr sz="1600">
                <a:solidFill>
                  <a:schemeClr val="tx1">
                    <a:tint val="82000"/>
                  </a:schemeClr>
                </a:solidFill>
              </a:defRPr>
            </a:lvl8pPr>
            <a:lvl9pPr marL="3657509" indent="0">
              <a:buNone/>
              <a:defRPr sz="1600">
                <a:solidFill>
                  <a:schemeClr val="tx1">
                    <a:tint val="82000"/>
                  </a:schemeClr>
                </a:solidFill>
              </a:defRPr>
            </a:lvl9pPr>
          </a:lstStyle>
          <a:p>
            <a:pPr lvl="0"/>
            <a:r>
              <a:rPr lang="de-DE"/>
              <a:t>Mastertextformat bearbeiten</a:t>
            </a:r>
          </a:p>
        </p:txBody>
      </p:sp>
      <p:sp>
        <p:nvSpPr>
          <p:cNvPr id="5" name="Footer Placeholder 4">
            <a:extLst>
              <a:ext uri="{FF2B5EF4-FFF2-40B4-BE49-F238E27FC236}">
                <a16:creationId xmlns:a16="http://schemas.microsoft.com/office/drawing/2014/main" id="{0CA0769F-A643-978A-7940-6191DB645009}"/>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2046409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778F9A6-FB41-47DB-6A24-43309B569740}"/>
              </a:ext>
            </a:extLst>
          </p:cNvPr>
          <p:cNvSpPr/>
          <p:nvPr userDrawn="1"/>
        </p:nvSpPr>
        <p:spPr>
          <a:xfrm>
            <a:off x="0" y="0"/>
            <a:ext cx="12192000" cy="6858000"/>
          </a:xfrm>
          <a:prstGeom prst="rect">
            <a:avLst/>
          </a:prstGeom>
          <a:solidFill>
            <a:srgbClr val="98101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41BEB912-B921-8333-65D6-9156D925586A}"/>
              </a:ext>
            </a:extLst>
          </p:cNvPr>
          <p:cNvSpPr>
            <a:spLocks noGrp="1"/>
          </p:cNvSpPr>
          <p:nvPr>
            <p:ph type="title"/>
          </p:nvPr>
        </p:nvSpPr>
        <p:spPr>
          <a:xfrm>
            <a:off x="831849" y="1709740"/>
            <a:ext cx="10515600" cy="2852737"/>
          </a:xfrm>
        </p:spPr>
        <p:txBody>
          <a:bodyPr anchor="b">
            <a:normAutofit/>
          </a:bodyPr>
          <a:lstStyle>
            <a:lvl1pPr>
              <a:lnSpc>
                <a:spcPct val="110000"/>
              </a:lnSpc>
              <a:defRPr sz="5400">
                <a:solidFill>
                  <a:schemeClr val="bg1"/>
                </a:solidFill>
              </a:defRPr>
            </a:lvl1pPr>
          </a:lstStyle>
          <a:p>
            <a:r>
              <a:rPr lang="de-DE"/>
              <a:t>Mastertitelformat bearbeiten</a:t>
            </a:r>
            <a:endParaRPr lang="en-US"/>
          </a:p>
        </p:txBody>
      </p:sp>
      <p:sp>
        <p:nvSpPr>
          <p:cNvPr id="3" name="Text Placeholder 2">
            <a:extLst>
              <a:ext uri="{FF2B5EF4-FFF2-40B4-BE49-F238E27FC236}">
                <a16:creationId xmlns:a16="http://schemas.microsoft.com/office/drawing/2014/main" id="{350E1480-8091-42B0-E77F-DBC78E858D57}"/>
              </a:ext>
            </a:extLst>
          </p:cNvPr>
          <p:cNvSpPr>
            <a:spLocks noGrp="1"/>
          </p:cNvSpPr>
          <p:nvPr>
            <p:ph type="body" idx="1"/>
          </p:nvPr>
        </p:nvSpPr>
        <p:spPr>
          <a:xfrm>
            <a:off x="831849" y="4786314"/>
            <a:ext cx="10515600" cy="1303337"/>
          </a:xfrm>
        </p:spPr>
        <p:txBody>
          <a:bodyPr/>
          <a:lstStyle>
            <a:lvl1pPr marL="0" indent="0">
              <a:buNone/>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189" indent="0">
              <a:buNone/>
              <a:defRPr sz="2000">
                <a:solidFill>
                  <a:schemeClr val="tx1">
                    <a:tint val="82000"/>
                  </a:schemeClr>
                </a:solidFill>
              </a:defRPr>
            </a:lvl2pPr>
            <a:lvl3pPr marL="914377" indent="0">
              <a:buNone/>
              <a:defRPr sz="1800">
                <a:solidFill>
                  <a:schemeClr val="tx1">
                    <a:tint val="82000"/>
                  </a:schemeClr>
                </a:solidFill>
              </a:defRPr>
            </a:lvl3pPr>
            <a:lvl4pPr marL="1371566" indent="0">
              <a:buNone/>
              <a:defRPr sz="1600">
                <a:solidFill>
                  <a:schemeClr val="tx1">
                    <a:tint val="82000"/>
                  </a:schemeClr>
                </a:solidFill>
              </a:defRPr>
            </a:lvl4pPr>
            <a:lvl5pPr marL="1828754" indent="0">
              <a:buNone/>
              <a:defRPr sz="1600">
                <a:solidFill>
                  <a:schemeClr val="tx1">
                    <a:tint val="82000"/>
                  </a:schemeClr>
                </a:solidFill>
              </a:defRPr>
            </a:lvl5pPr>
            <a:lvl6pPr marL="2285943" indent="0">
              <a:buNone/>
              <a:defRPr sz="1600">
                <a:solidFill>
                  <a:schemeClr val="tx1">
                    <a:tint val="82000"/>
                  </a:schemeClr>
                </a:solidFill>
              </a:defRPr>
            </a:lvl6pPr>
            <a:lvl7pPr marL="2743131" indent="0">
              <a:buNone/>
              <a:defRPr sz="1600">
                <a:solidFill>
                  <a:schemeClr val="tx1">
                    <a:tint val="82000"/>
                  </a:schemeClr>
                </a:solidFill>
              </a:defRPr>
            </a:lvl7pPr>
            <a:lvl8pPr marL="3200320" indent="0">
              <a:buNone/>
              <a:defRPr sz="1600">
                <a:solidFill>
                  <a:schemeClr val="tx1">
                    <a:tint val="82000"/>
                  </a:schemeClr>
                </a:solidFill>
              </a:defRPr>
            </a:lvl8pPr>
            <a:lvl9pPr marL="3657509" indent="0">
              <a:buNone/>
              <a:defRPr sz="1600">
                <a:solidFill>
                  <a:schemeClr val="tx1">
                    <a:tint val="82000"/>
                  </a:schemeClr>
                </a:solidFill>
              </a:defRPr>
            </a:lvl9pPr>
          </a:lstStyle>
          <a:p>
            <a:pPr lvl="0"/>
            <a:r>
              <a:rPr lang="de-DE"/>
              <a:t>Mastertextformat bearbeiten</a:t>
            </a:r>
          </a:p>
        </p:txBody>
      </p:sp>
      <p:sp>
        <p:nvSpPr>
          <p:cNvPr id="5" name="Footer Placeholder 4">
            <a:extLst>
              <a:ext uri="{FF2B5EF4-FFF2-40B4-BE49-F238E27FC236}">
                <a16:creationId xmlns:a16="http://schemas.microsoft.com/office/drawing/2014/main" id="{0CA0769F-A643-978A-7940-6191DB645009}"/>
              </a:ext>
            </a:extLst>
          </p:cNvPr>
          <p:cNvSpPr>
            <a:spLocks noGrp="1"/>
          </p:cNvSpPr>
          <p:nvPr>
            <p:ph type="ftr" sz="quarter" idx="11"/>
          </p:nvPr>
        </p:nvSpPr>
        <p:spPr/>
        <p:txBody>
          <a:bodyPr/>
          <a:lstStyle>
            <a:lvl1pPr>
              <a:defRPr>
                <a:solidFill>
                  <a:schemeClr val="bg1"/>
                </a:solidFill>
              </a:defRPr>
            </a:lvl1pPr>
          </a:lstStyle>
          <a:p>
            <a:endParaRPr lang="en-US"/>
          </a:p>
        </p:txBody>
      </p:sp>
      <p:sp>
        <p:nvSpPr>
          <p:cNvPr id="8" name="Freeform 7">
            <a:extLst>
              <a:ext uri="{FF2B5EF4-FFF2-40B4-BE49-F238E27FC236}">
                <a16:creationId xmlns:a16="http://schemas.microsoft.com/office/drawing/2014/main" id="{ED8E1C71-6F8B-B946-D56D-282A7ED2BABE}"/>
              </a:ext>
            </a:extLst>
          </p:cNvPr>
          <p:cNvSpPr/>
          <p:nvPr userDrawn="1"/>
        </p:nvSpPr>
        <p:spPr>
          <a:xfrm>
            <a:off x="6124577" y="1"/>
            <a:ext cx="2591748" cy="176404"/>
          </a:xfrm>
          <a:custGeom>
            <a:avLst/>
            <a:gdLst>
              <a:gd name="connsiteX0" fmla="*/ 0 w 2591748"/>
              <a:gd name="connsiteY0" fmla="*/ 0 h 176404"/>
              <a:gd name="connsiteX1" fmla="*/ 2547476 w 2591748"/>
              <a:gd name="connsiteY1" fmla="*/ 0 h 176404"/>
              <a:gd name="connsiteX2" fmla="*/ 2547476 w 2591748"/>
              <a:gd name="connsiteY2" fmla="*/ 20726 h 176404"/>
              <a:gd name="connsiteX3" fmla="*/ 2571300 w 2591748"/>
              <a:gd name="connsiteY3" fmla="*/ 138730 h 176404"/>
              <a:gd name="connsiteX4" fmla="*/ 2591748 w 2591748"/>
              <a:gd name="connsiteY4" fmla="*/ 176404 h 176404"/>
              <a:gd name="connsiteX5" fmla="*/ 274586 w 2591748"/>
              <a:gd name="connsiteY5" fmla="*/ 176404 h 176404"/>
              <a:gd name="connsiteX6" fmla="*/ 23199 w 2591748"/>
              <a:gd name="connsiteY6" fmla="*/ 42743 h 176404"/>
              <a:gd name="connsiteX7" fmla="*/ 0 w 2591748"/>
              <a:gd name="connsiteY7" fmla="*/ 0 h 176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1748" h="176404">
                <a:moveTo>
                  <a:pt x="0" y="0"/>
                </a:moveTo>
                <a:lnTo>
                  <a:pt x="2547476" y="0"/>
                </a:lnTo>
                <a:lnTo>
                  <a:pt x="2547476" y="20726"/>
                </a:lnTo>
                <a:cubicBezTo>
                  <a:pt x="2547476" y="62584"/>
                  <a:pt x="2555959" y="102461"/>
                  <a:pt x="2571300" y="138730"/>
                </a:cubicBezTo>
                <a:lnTo>
                  <a:pt x="2591748" y="176404"/>
                </a:lnTo>
                <a:lnTo>
                  <a:pt x="274586" y="176404"/>
                </a:lnTo>
                <a:cubicBezTo>
                  <a:pt x="169941" y="176404"/>
                  <a:pt x="77680" y="123384"/>
                  <a:pt x="23199" y="42743"/>
                </a:cubicBezTo>
                <a:lnTo>
                  <a:pt x="0" y="0"/>
                </a:lnTo>
                <a:close/>
              </a:path>
            </a:pathLst>
          </a:custGeom>
          <a:solidFill>
            <a:srgbClr val="A6A6A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9" name="Freeform 8">
            <a:extLst>
              <a:ext uri="{FF2B5EF4-FFF2-40B4-BE49-F238E27FC236}">
                <a16:creationId xmlns:a16="http://schemas.microsoft.com/office/drawing/2014/main" id="{C17C8713-ED07-0684-EB33-595A037CADFC}"/>
              </a:ext>
            </a:extLst>
          </p:cNvPr>
          <p:cNvSpPr/>
          <p:nvPr userDrawn="1"/>
        </p:nvSpPr>
        <p:spPr>
          <a:xfrm>
            <a:off x="8716325" y="176405"/>
            <a:ext cx="3475676" cy="147484"/>
          </a:xfrm>
          <a:custGeom>
            <a:avLst/>
            <a:gdLst>
              <a:gd name="connsiteX0" fmla="*/ 0 w 3475676"/>
              <a:gd name="connsiteY0" fmla="*/ 0 h 147484"/>
              <a:gd name="connsiteX1" fmla="*/ 1831174 w 3475676"/>
              <a:gd name="connsiteY1" fmla="*/ 0 h 147484"/>
              <a:gd name="connsiteX2" fmla="*/ 2956204 w 3475676"/>
              <a:gd name="connsiteY2" fmla="*/ 0 h 147484"/>
              <a:gd name="connsiteX3" fmla="*/ 3475676 w 3475676"/>
              <a:gd name="connsiteY3" fmla="*/ 0 h 147484"/>
              <a:gd name="connsiteX4" fmla="*/ 3475676 w 3475676"/>
              <a:gd name="connsiteY4" fmla="*/ 147484 h 147484"/>
              <a:gd name="connsiteX5" fmla="*/ 258890 w 3475676"/>
              <a:gd name="connsiteY5" fmla="*/ 147484 h 147484"/>
              <a:gd name="connsiteX6" fmla="*/ 7503 w 3475676"/>
              <a:gd name="connsiteY6" fmla="*/ 13823 h 147484"/>
              <a:gd name="connsiteX7" fmla="*/ 0 w 3475676"/>
              <a:gd name="connsiteY7" fmla="*/ 0 h 1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75676" h="147484">
                <a:moveTo>
                  <a:pt x="0" y="0"/>
                </a:moveTo>
                <a:lnTo>
                  <a:pt x="1831174" y="0"/>
                </a:lnTo>
                <a:lnTo>
                  <a:pt x="2956204" y="0"/>
                </a:lnTo>
                <a:lnTo>
                  <a:pt x="3475676" y="0"/>
                </a:lnTo>
                <a:lnTo>
                  <a:pt x="3475676" y="147484"/>
                </a:lnTo>
                <a:lnTo>
                  <a:pt x="258890" y="147484"/>
                </a:lnTo>
                <a:cubicBezTo>
                  <a:pt x="154245" y="147484"/>
                  <a:pt x="61984" y="94464"/>
                  <a:pt x="7503" y="13823"/>
                </a:cubicBezTo>
                <a:lnTo>
                  <a:pt x="0" y="0"/>
                </a:lnTo>
                <a:close/>
              </a:path>
            </a:pathLst>
          </a:custGeom>
          <a:solidFill>
            <a:srgbClr val="D3223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0" name="Freeform 9">
            <a:extLst>
              <a:ext uri="{FF2B5EF4-FFF2-40B4-BE49-F238E27FC236}">
                <a16:creationId xmlns:a16="http://schemas.microsoft.com/office/drawing/2014/main" id="{43DC9CF3-1CCB-6F56-25BC-DA6394EF7CB0}"/>
              </a:ext>
            </a:extLst>
          </p:cNvPr>
          <p:cNvSpPr/>
          <p:nvPr userDrawn="1"/>
        </p:nvSpPr>
        <p:spPr>
          <a:xfrm>
            <a:off x="6938964" y="1"/>
            <a:ext cx="5253037" cy="176404"/>
          </a:xfrm>
          <a:custGeom>
            <a:avLst/>
            <a:gdLst>
              <a:gd name="connsiteX0" fmla="*/ 0 w 5253037"/>
              <a:gd name="connsiteY0" fmla="*/ 0 h 176404"/>
              <a:gd name="connsiteX1" fmla="*/ 2262187 w 5253037"/>
              <a:gd name="connsiteY1" fmla="*/ 0 h 176404"/>
              <a:gd name="connsiteX2" fmla="*/ 2547476 w 5253037"/>
              <a:gd name="connsiteY2" fmla="*/ 0 h 176404"/>
              <a:gd name="connsiteX3" fmla="*/ 5253037 w 5253037"/>
              <a:gd name="connsiteY3" fmla="*/ 0 h 176404"/>
              <a:gd name="connsiteX4" fmla="*/ 5253037 w 5253037"/>
              <a:gd name="connsiteY4" fmla="*/ 176404 h 176404"/>
              <a:gd name="connsiteX5" fmla="*/ 2591748 w 5253037"/>
              <a:gd name="connsiteY5" fmla="*/ 176404 h 176404"/>
              <a:gd name="connsiteX6" fmla="*/ 2262187 w 5253037"/>
              <a:gd name="connsiteY6" fmla="*/ 176404 h 176404"/>
              <a:gd name="connsiteX7" fmla="*/ 274586 w 5253037"/>
              <a:gd name="connsiteY7" fmla="*/ 176404 h 176404"/>
              <a:gd name="connsiteX8" fmla="*/ 23199 w 5253037"/>
              <a:gd name="connsiteY8" fmla="*/ 42743 h 176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53037" h="176404">
                <a:moveTo>
                  <a:pt x="0" y="0"/>
                </a:moveTo>
                <a:lnTo>
                  <a:pt x="2262187" y="0"/>
                </a:lnTo>
                <a:lnTo>
                  <a:pt x="2547476" y="0"/>
                </a:lnTo>
                <a:lnTo>
                  <a:pt x="5253037" y="0"/>
                </a:lnTo>
                <a:lnTo>
                  <a:pt x="5253037" y="176404"/>
                </a:lnTo>
                <a:lnTo>
                  <a:pt x="2591748" y="176404"/>
                </a:lnTo>
                <a:lnTo>
                  <a:pt x="2262187" y="176404"/>
                </a:lnTo>
                <a:lnTo>
                  <a:pt x="274586" y="176404"/>
                </a:lnTo>
                <a:cubicBezTo>
                  <a:pt x="169941" y="176404"/>
                  <a:pt x="77680" y="123384"/>
                  <a:pt x="23199" y="42743"/>
                </a:cubicBez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11" name="Picture 10">
            <a:extLst>
              <a:ext uri="{FF2B5EF4-FFF2-40B4-BE49-F238E27FC236}">
                <a16:creationId xmlns:a16="http://schemas.microsoft.com/office/drawing/2014/main" id="{203D8148-BD1F-4097-6959-A9975704764F}"/>
              </a:ext>
            </a:extLst>
          </p:cNvPr>
          <p:cNvPicPr>
            <a:picLocks noChangeAspect="1"/>
          </p:cNvPicPr>
          <p:nvPr userDrawn="1"/>
        </p:nvPicPr>
        <p:blipFill>
          <a:blip r:embed="rId2"/>
          <a:srcRect r="83197"/>
          <a:stretch>
            <a:fillRect/>
          </a:stretch>
        </p:blipFill>
        <p:spPr>
          <a:xfrm>
            <a:off x="217157" y="6316990"/>
            <a:ext cx="438299" cy="403239"/>
          </a:xfrm>
          <a:prstGeom prst="rect">
            <a:avLst/>
          </a:prstGeom>
        </p:spPr>
      </p:pic>
      <p:sp>
        <p:nvSpPr>
          <p:cNvPr id="12" name="TextBox 11">
            <a:extLst>
              <a:ext uri="{FF2B5EF4-FFF2-40B4-BE49-F238E27FC236}">
                <a16:creationId xmlns:a16="http://schemas.microsoft.com/office/drawing/2014/main" id="{3661AA6E-8487-0494-9291-303273F4E67B}"/>
              </a:ext>
            </a:extLst>
          </p:cNvPr>
          <p:cNvSpPr txBox="1"/>
          <p:nvPr userDrawn="1"/>
        </p:nvSpPr>
        <p:spPr>
          <a:xfrm>
            <a:off x="838201" y="6470651"/>
            <a:ext cx="1987404" cy="138499"/>
          </a:xfrm>
          <a:prstGeom prst="rect">
            <a:avLst/>
          </a:prstGeom>
          <a:noFill/>
        </p:spPr>
        <p:txBody>
          <a:bodyPr wrap="square" lIns="0" tIns="0" rIns="0" bIns="0" rtlCol="0">
            <a:spAutoFit/>
          </a:bodyPr>
          <a:lstStyle/>
          <a:p>
            <a:r>
              <a:rPr lang="en-US" sz="900" b="0" i="0">
                <a:solidFill>
                  <a:schemeClr val="bg1"/>
                </a:solidFill>
                <a:latin typeface="Open Sans Medium" panose="020B0606030504020204" pitchFamily="34" charset="0"/>
                <a:ea typeface="Open Sans Medium" panose="020B0606030504020204" pitchFamily="34" charset="0"/>
                <a:cs typeface="Open Sans Medium" panose="020B0606030504020204" pitchFamily="34" charset="0"/>
              </a:rPr>
              <a:t>American Society of Hematology  |  </a:t>
            </a:r>
          </a:p>
        </p:txBody>
      </p:sp>
      <p:cxnSp>
        <p:nvCxnSpPr>
          <p:cNvPr id="13" name="Straight Connector 12">
            <a:extLst>
              <a:ext uri="{FF2B5EF4-FFF2-40B4-BE49-F238E27FC236}">
                <a16:creationId xmlns:a16="http://schemas.microsoft.com/office/drawing/2014/main" id="{3F3A5B58-E9CF-B478-2E35-FD60CD805B54}"/>
              </a:ext>
            </a:extLst>
          </p:cNvPr>
          <p:cNvCxnSpPr/>
          <p:nvPr userDrawn="1"/>
        </p:nvCxnSpPr>
        <p:spPr>
          <a:xfrm>
            <a:off x="838200" y="6281928"/>
            <a:ext cx="11353800" cy="0"/>
          </a:xfrm>
          <a:prstGeom prst="line">
            <a:avLst/>
          </a:prstGeom>
          <a:ln w="6350">
            <a:solidFill>
              <a:srgbClr val="D3223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330361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718EEA-6D99-DB7E-8D2E-60FB3BD24951}"/>
              </a:ext>
            </a:extLst>
          </p:cNvPr>
          <p:cNvSpPr>
            <a:spLocks noGrp="1"/>
          </p:cNvSpPr>
          <p:nvPr>
            <p:ph type="title"/>
          </p:nvPr>
        </p:nvSpPr>
        <p:spPr>
          <a:xfrm>
            <a:off x="838200" y="550869"/>
            <a:ext cx="10515600" cy="1325563"/>
          </a:xfrm>
        </p:spPr>
        <p:txBody>
          <a:bodyPr/>
          <a:lstStyle/>
          <a:p>
            <a:r>
              <a:rPr lang="de-DE"/>
              <a:t>Mastertitelformat bearbeiten</a:t>
            </a:r>
            <a:endParaRPr lang="en-US"/>
          </a:p>
        </p:txBody>
      </p:sp>
      <p:sp>
        <p:nvSpPr>
          <p:cNvPr id="3" name="Content Placeholder 2">
            <a:extLst>
              <a:ext uri="{FF2B5EF4-FFF2-40B4-BE49-F238E27FC236}">
                <a16:creationId xmlns:a16="http://schemas.microsoft.com/office/drawing/2014/main" id="{8711FEF8-1EBD-193D-34C1-6D9FE73BE7A4}"/>
              </a:ext>
            </a:extLst>
          </p:cNvPr>
          <p:cNvSpPr>
            <a:spLocks noGrp="1"/>
          </p:cNvSpPr>
          <p:nvPr>
            <p:ph sz="half" idx="1"/>
          </p:nvPr>
        </p:nvSpPr>
        <p:spPr>
          <a:xfrm>
            <a:off x="838200" y="2011680"/>
            <a:ext cx="5029200" cy="420624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Content Placeholder 3">
            <a:extLst>
              <a:ext uri="{FF2B5EF4-FFF2-40B4-BE49-F238E27FC236}">
                <a16:creationId xmlns:a16="http://schemas.microsoft.com/office/drawing/2014/main" id="{B4AA56F4-4B09-E9E7-B347-9394891683E2}"/>
              </a:ext>
            </a:extLst>
          </p:cNvPr>
          <p:cNvSpPr>
            <a:spLocks noGrp="1"/>
          </p:cNvSpPr>
          <p:nvPr>
            <p:ph sz="half" idx="2"/>
          </p:nvPr>
        </p:nvSpPr>
        <p:spPr>
          <a:xfrm>
            <a:off x="6324600" y="2011680"/>
            <a:ext cx="5029200" cy="420624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ooter Placeholder 5">
            <a:extLst>
              <a:ext uri="{FF2B5EF4-FFF2-40B4-BE49-F238E27FC236}">
                <a16:creationId xmlns:a16="http://schemas.microsoft.com/office/drawing/2014/main" id="{EE89D2DF-A975-5657-8253-A6DDB8980536}"/>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9919409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326BF-43C9-B1B5-AB8D-72656BA03C4F}"/>
              </a:ext>
            </a:extLst>
          </p:cNvPr>
          <p:cNvSpPr>
            <a:spLocks noGrp="1"/>
          </p:cNvSpPr>
          <p:nvPr>
            <p:ph type="title"/>
          </p:nvPr>
        </p:nvSpPr>
        <p:spPr>
          <a:xfrm>
            <a:off x="839788" y="550868"/>
            <a:ext cx="10515600" cy="1325563"/>
          </a:xfrm>
        </p:spPr>
        <p:txBody>
          <a:bodyPr/>
          <a:lstStyle/>
          <a:p>
            <a:r>
              <a:rPr lang="de-DE"/>
              <a:t>Mastertitelformat bearbeiten</a:t>
            </a:r>
            <a:endParaRPr lang="en-US"/>
          </a:p>
        </p:txBody>
      </p:sp>
      <p:sp>
        <p:nvSpPr>
          <p:cNvPr id="3" name="Text Placeholder 2">
            <a:extLst>
              <a:ext uri="{FF2B5EF4-FFF2-40B4-BE49-F238E27FC236}">
                <a16:creationId xmlns:a16="http://schemas.microsoft.com/office/drawing/2014/main" id="{74D1E9F3-65FC-07C1-2B7A-5B8F06432D35}"/>
              </a:ext>
            </a:extLst>
          </p:cNvPr>
          <p:cNvSpPr>
            <a:spLocks noGrp="1"/>
          </p:cNvSpPr>
          <p:nvPr>
            <p:ph type="body" idx="1"/>
          </p:nvPr>
        </p:nvSpPr>
        <p:spPr>
          <a:xfrm>
            <a:off x="839788" y="2011680"/>
            <a:ext cx="5029200" cy="640080"/>
          </a:xfrm>
        </p:spPr>
        <p:txBody>
          <a:bodyPr anchor="b">
            <a:normAutofit/>
          </a:bodyPr>
          <a:lstStyle>
            <a:lvl1pPr marL="0" indent="0">
              <a:buNone/>
              <a:defRPr sz="1800" b="0" i="0">
                <a:latin typeface="Open Sans Medium" panose="020B0606030504020204" pitchFamily="34" charset="0"/>
                <a:ea typeface="Open Sans Medium" panose="020B0606030504020204" pitchFamily="34" charset="0"/>
                <a:cs typeface="Open Sans Medium" panose="020B06060305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de-DE"/>
              <a:t>Mastertextformat bearbeiten</a:t>
            </a:r>
          </a:p>
        </p:txBody>
      </p:sp>
      <p:sp>
        <p:nvSpPr>
          <p:cNvPr id="4" name="Content Placeholder 3">
            <a:extLst>
              <a:ext uri="{FF2B5EF4-FFF2-40B4-BE49-F238E27FC236}">
                <a16:creationId xmlns:a16="http://schemas.microsoft.com/office/drawing/2014/main" id="{47ECA2D7-2738-902E-02C1-77E1E29F51D1}"/>
              </a:ext>
            </a:extLst>
          </p:cNvPr>
          <p:cNvSpPr>
            <a:spLocks noGrp="1"/>
          </p:cNvSpPr>
          <p:nvPr>
            <p:ph sz="half" idx="2"/>
          </p:nvPr>
        </p:nvSpPr>
        <p:spPr>
          <a:xfrm>
            <a:off x="839788" y="2834640"/>
            <a:ext cx="5029200" cy="329184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Text Placeholder 4">
            <a:extLst>
              <a:ext uri="{FF2B5EF4-FFF2-40B4-BE49-F238E27FC236}">
                <a16:creationId xmlns:a16="http://schemas.microsoft.com/office/drawing/2014/main" id="{8FC0C353-1022-5F5F-F6AA-2035698CC6A0}"/>
              </a:ext>
            </a:extLst>
          </p:cNvPr>
          <p:cNvSpPr>
            <a:spLocks noGrp="1"/>
          </p:cNvSpPr>
          <p:nvPr>
            <p:ph type="body" sz="quarter" idx="3"/>
          </p:nvPr>
        </p:nvSpPr>
        <p:spPr>
          <a:xfrm>
            <a:off x="6326188" y="2011680"/>
            <a:ext cx="5029200" cy="640080"/>
          </a:xfrm>
        </p:spPr>
        <p:txBody>
          <a:bodyPr anchor="b">
            <a:normAutofit/>
          </a:bodyPr>
          <a:lstStyle>
            <a:lvl1pPr marL="0" indent="0">
              <a:buNone/>
              <a:defRPr sz="1800" b="0" i="0">
                <a:latin typeface="Open Sans Medium" panose="020B0606030504020204" pitchFamily="34" charset="0"/>
                <a:ea typeface="Open Sans Medium" panose="020B0606030504020204" pitchFamily="34" charset="0"/>
                <a:cs typeface="Open Sans Medium" panose="020B06060305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de-DE"/>
              <a:t>Mastertextformat bearbeiten</a:t>
            </a:r>
          </a:p>
        </p:txBody>
      </p:sp>
      <p:sp>
        <p:nvSpPr>
          <p:cNvPr id="6" name="Content Placeholder 5">
            <a:extLst>
              <a:ext uri="{FF2B5EF4-FFF2-40B4-BE49-F238E27FC236}">
                <a16:creationId xmlns:a16="http://schemas.microsoft.com/office/drawing/2014/main" id="{87BD368C-5EFD-0208-DA08-17EFF3B60E3E}"/>
              </a:ext>
            </a:extLst>
          </p:cNvPr>
          <p:cNvSpPr>
            <a:spLocks noGrp="1"/>
          </p:cNvSpPr>
          <p:nvPr>
            <p:ph sz="quarter" idx="4"/>
          </p:nvPr>
        </p:nvSpPr>
        <p:spPr>
          <a:xfrm>
            <a:off x="6326188" y="2834640"/>
            <a:ext cx="5029200" cy="329184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8" name="Footer Placeholder 7">
            <a:extLst>
              <a:ext uri="{FF2B5EF4-FFF2-40B4-BE49-F238E27FC236}">
                <a16:creationId xmlns:a16="http://schemas.microsoft.com/office/drawing/2014/main" id="{EFE15A43-35E3-828D-14A1-CF512524C778}"/>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2478073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BB289-4809-5BD4-77B1-6438C7AE0FF2}"/>
              </a:ext>
            </a:extLst>
          </p:cNvPr>
          <p:cNvSpPr>
            <a:spLocks noGrp="1"/>
          </p:cNvSpPr>
          <p:nvPr>
            <p:ph type="title"/>
          </p:nvPr>
        </p:nvSpPr>
        <p:spPr/>
        <p:txBody>
          <a:bodyPr>
            <a:normAutofit/>
          </a:bodyPr>
          <a:lstStyle>
            <a:lvl1pPr>
              <a:defRPr sz="3400"/>
            </a:lvl1pPr>
          </a:lstStyle>
          <a:p>
            <a:r>
              <a:rPr lang="de-DE"/>
              <a:t>Mastertitelformat bearbeiten</a:t>
            </a:r>
            <a:endParaRPr lang="en-US"/>
          </a:p>
        </p:txBody>
      </p:sp>
      <p:sp>
        <p:nvSpPr>
          <p:cNvPr id="4" name="Footer Placeholder 3">
            <a:extLst>
              <a:ext uri="{FF2B5EF4-FFF2-40B4-BE49-F238E27FC236}">
                <a16:creationId xmlns:a16="http://schemas.microsoft.com/office/drawing/2014/main" id="{7D2EB78D-FCB0-3640-4674-7EDA7B1EEB7D}"/>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7309958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42119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89718EB-18BC-8199-AE7C-892653394018}"/>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5637525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0EF61-81F1-1956-F712-2E30931206CE}"/>
              </a:ext>
            </a:extLst>
          </p:cNvPr>
          <p:cNvSpPr>
            <a:spLocks noGrp="1"/>
          </p:cNvSpPr>
          <p:nvPr>
            <p:ph type="title"/>
          </p:nvPr>
        </p:nvSpPr>
        <p:spPr>
          <a:xfrm>
            <a:off x="839788" y="457200"/>
            <a:ext cx="3932237" cy="1600200"/>
          </a:xfrm>
        </p:spPr>
        <p:txBody>
          <a:bodyPr anchor="b">
            <a:normAutofit/>
          </a:bodyPr>
          <a:lstStyle>
            <a:lvl1pPr>
              <a:defRPr sz="3000"/>
            </a:lvl1pPr>
          </a:lstStyle>
          <a:p>
            <a:r>
              <a:rPr lang="de-DE"/>
              <a:t>Mastertitelformat bearbeiten</a:t>
            </a:r>
            <a:endParaRPr lang="en-US"/>
          </a:p>
        </p:txBody>
      </p:sp>
      <p:sp>
        <p:nvSpPr>
          <p:cNvPr id="3" name="Content Placeholder 2">
            <a:extLst>
              <a:ext uri="{FF2B5EF4-FFF2-40B4-BE49-F238E27FC236}">
                <a16:creationId xmlns:a16="http://schemas.microsoft.com/office/drawing/2014/main" id="{2E07538A-4571-4284-780A-674DFD7DE6E2}"/>
              </a:ext>
            </a:extLst>
          </p:cNvPr>
          <p:cNvSpPr>
            <a:spLocks noGrp="1"/>
          </p:cNvSpPr>
          <p:nvPr>
            <p:ph idx="1"/>
          </p:nvPr>
        </p:nvSpPr>
        <p:spPr>
          <a:xfrm>
            <a:off x="5183188" y="987426"/>
            <a:ext cx="6172200" cy="4873625"/>
          </a:xfrm>
        </p:spPr>
        <p:txBody>
          <a:bodyPr/>
          <a:lstStyle>
            <a:lvl1pPr>
              <a:defRPr sz="1800"/>
            </a:lvl1pPr>
            <a:lvl2pPr>
              <a:defRPr sz="1600"/>
            </a:lvl2pPr>
            <a:lvl3pPr>
              <a:defRPr sz="1400"/>
            </a:lvl3pPr>
            <a:lvl4pPr>
              <a:defRPr sz="1200"/>
            </a:lvl4pPr>
            <a:lvl5pPr>
              <a:defRPr sz="12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Text Placeholder 3">
            <a:extLst>
              <a:ext uri="{FF2B5EF4-FFF2-40B4-BE49-F238E27FC236}">
                <a16:creationId xmlns:a16="http://schemas.microsoft.com/office/drawing/2014/main" id="{A4FEDD89-41CC-E909-B0FD-19BEDE7446C1}"/>
              </a:ext>
            </a:extLst>
          </p:cNvPr>
          <p:cNvSpPr>
            <a:spLocks noGrp="1"/>
          </p:cNvSpPr>
          <p:nvPr>
            <p:ph type="body" sz="half" idx="2"/>
          </p:nvPr>
        </p:nvSpPr>
        <p:spPr>
          <a:xfrm>
            <a:off x="839788" y="2257425"/>
            <a:ext cx="3932237" cy="3611563"/>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de-DE"/>
              <a:t>Mastertextformat bearbeiten</a:t>
            </a:r>
          </a:p>
        </p:txBody>
      </p:sp>
      <p:sp>
        <p:nvSpPr>
          <p:cNvPr id="6" name="Footer Placeholder 5">
            <a:extLst>
              <a:ext uri="{FF2B5EF4-FFF2-40B4-BE49-F238E27FC236}">
                <a16:creationId xmlns:a16="http://schemas.microsoft.com/office/drawing/2014/main" id="{F286A402-26CA-83F4-F7B0-8FE8CCDC2C3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5542802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BC00C1-0271-EF87-7B8A-9525DC474ECF}"/>
              </a:ext>
            </a:extLst>
          </p:cNvPr>
          <p:cNvSpPr>
            <a:spLocks noGrp="1"/>
          </p:cNvSpPr>
          <p:nvPr>
            <p:ph type="title"/>
          </p:nvPr>
        </p:nvSpPr>
        <p:spPr>
          <a:xfrm>
            <a:off x="839788" y="457200"/>
            <a:ext cx="3932237" cy="1600200"/>
          </a:xfrm>
        </p:spPr>
        <p:txBody>
          <a:bodyPr anchor="b">
            <a:normAutofit/>
          </a:bodyPr>
          <a:lstStyle>
            <a:lvl1pPr>
              <a:defRPr sz="3000"/>
            </a:lvl1pPr>
          </a:lstStyle>
          <a:p>
            <a:r>
              <a:rPr lang="de-DE"/>
              <a:t>Mastertitelformat bearbeiten</a:t>
            </a:r>
            <a:endParaRPr lang="en-US"/>
          </a:p>
        </p:txBody>
      </p:sp>
      <p:sp>
        <p:nvSpPr>
          <p:cNvPr id="3" name="Picture Placeholder 2">
            <a:extLst>
              <a:ext uri="{FF2B5EF4-FFF2-40B4-BE49-F238E27FC236}">
                <a16:creationId xmlns:a16="http://schemas.microsoft.com/office/drawing/2014/main" id="{BE90A198-C72B-31CD-A36C-C894A841DF0E}"/>
              </a:ext>
            </a:extLst>
          </p:cNvPr>
          <p:cNvSpPr>
            <a:spLocks noGrp="1"/>
          </p:cNvSpPr>
          <p:nvPr>
            <p:ph type="pic" idx="1"/>
          </p:nvPr>
        </p:nvSpPr>
        <p:spPr>
          <a:xfrm>
            <a:off x="5183189" y="987426"/>
            <a:ext cx="7008812"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de-DE"/>
              <a:t>Bild durch Klicken auf Symbol hinzufügen</a:t>
            </a:r>
            <a:endParaRPr lang="en-US"/>
          </a:p>
        </p:txBody>
      </p:sp>
      <p:sp>
        <p:nvSpPr>
          <p:cNvPr id="4" name="Text Placeholder 3">
            <a:extLst>
              <a:ext uri="{FF2B5EF4-FFF2-40B4-BE49-F238E27FC236}">
                <a16:creationId xmlns:a16="http://schemas.microsoft.com/office/drawing/2014/main" id="{7FD881B6-A584-D6E5-CA56-DD4187FE5AEC}"/>
              </a:ext>
            </a:extLst>
          </p:cNvPr>
          <p:cNvSpPr>
            <a:spLocks noGrp="1"/>
          </p:cNvSpPr>
          <p:nvPr>
            <p:ph type="body" sz="half" idx="2"/>
          </p:nvPr>
        </p:nvSpPr>
        <p:spPr>
          <a:xfrm>
            <a:off x="839788" y="2258568"/>
            <a:ext cx="3932237" cy="3611880"/>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de-DE"/>
              <a:t>Mastertextformat bearbeiten</a:t>
            </a:r>
          </a:p>
        </p:txBody>
      </p:sp>
      <p:sp>
        <p:nvSpPr>
          <p:cNvPr id="6" name="Footer Placeholder 5">
            <a:extLst>
              <a:ext uri="{FF2B5EF4-FFF2-40B4-BE49-F238E27FC236}">
                <a16:creationId xmlns:a16="http://schemas.microsoft.com/office/drawing/2014/main" id="{75C25785-FBF4-B714-1465-10838037B3CF}"/>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8227683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C25F1ECD-AC6E-BEF6-31CC-64B2077E8934}"/>
              </a:ext>
            </a:extLst>
          </p:cNvPr>
          <p:cNvSpPr/>
          <p:nvPr userDrawn="1"/>
        </p:nvSpPr>
        <p:spPr>
          <a:xfrm>
            <a:off x="5663382" y="2526054"/>
            <a:ext cx="2674375" cy="2674375"/>
          </a:xfrm>
          <a:prstGeom prst="ellipse">
            <a:avLst/>
          </a:prstGeom>
          <a:solidFill>
            <a:srgbClr val="E6E7E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92BC00C1-0271-EF87-7B8A-9525DC474ECF}"/>
              </a:ext>
            </a:extLst>
          </p:cNvPr>
          <p:cNvSpPr>
            <a:spLocks noGrp="1"/>
          </p:cNvSpPr>
          <p:nvPr>
            <p:ph type="title"/>
          </p:nvPr>
        </p:nvSpPr>
        <p:spPr>
          <a:xfrm>
            <a:off x="839788" y="457200"/>
            <a:ext cx="3932237" cy="1600200"/>
          </a:xfrm>
        </p:spPr>
        <p:txBody>
          <a:bodyPr anchor="b">
            <a:normAutofit/>
          </a:bodyPr>
          <a:lstStyle>
            <a:lvl1pPr>
              <a:defRPr sz="3000"/>
            </a:lvl1pPr>
          </a:lstStyle>
          <a:p>
            <a:r>
              <a:rPr lang="de-DE"/>
              <a:t>Mastertitelformat bearbeiten</a:t>
            </a:r>
            <a:endParaRPr lang="en-US"/>
          </a:p>
        </p:txBody>
      </p:sp>
      <p:sp>
        <p:nvSpPr>
          <p:cNvPr id="4" name="Text Placeholder 3">
            <a:extLst>
              <a:ext uri="{FF2B5EF4-FFF2-40B4-BE49-F238E27FC236}">
                <a16:creationId xmlns:a16="http://schemas.microsoft.com/office/drawing/2014/main" id="{7FD881B6-A584-D6E5-CA56-DD4187FE5AEC}"/>
              </a:ext>
            </a:extLst>
          </p:cNvPr>
          <p:cNvSpPr>
            <a:spLocks noGrp="1"/>
          </p:cNvSpPr>
          <p:nvPr>
            <p:ph type="body" sz="half" idx="2"/>
          </p:nvPr>
        </p:nvSpPr>
        <p:spPr>
          <a:xfrm>
            <a:off x="839788" y="2258568"/>
            <a:ext cx="3932237" cy="3611880"/>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de-DE"/>
              <a:t>Mastertextformat bearbeiten</a:t>
            </a:r>
          </a:p>
        </p:txBody>
      </p:sp>
      <p:sp>
        <p:nvSpPr>
          <p:cNvPr id="6" name="Footer Placeholder 5">
            <a:extLst>
              <a:ext uri="{FF2B5EF4-FFF2-40B4-BE49-F238E27FC236}">
                <a16:creationId xmlns:a16="http://schemas.microsoft.com/office/drawing/2014/main" id="{75C25785-FBF4-B714-1465-10838037B3CF}"/>
              </a:ext>
            </a:extLst>
          </p:cNvPr>
          <p:cNvSpPr>
            <a:spLocks noGrp="1"/>
          </p:cNvSpPr>
          <p:nvPr>
            <p:ph type="ftr" sz="quarter" idx="11"/>
          </p:nvPr>
        </p:nvSpPr>
        <p:spPr/>
        <p:txBody>
          <a:bodyPr/>
          <a:lstStyle/>
          <a:p>
            <a:endParaRPr lang="en-US"/>
          </a:p>
        </p:txBody>
      </p:sp>
      <p:sp>
        <p:nvSpPr>
          <p:cNvPr id="9" name="Picture Placeholder 8">
            <a:extLst>
              <a:ext uri="{FF2B5EF4-FFF2-40B4-BE49-F238E27FC236}">
                <a16:creationId xmlns:a16="http://schemas.microsoft.com/office/drawing/2014/main" id="{EE977BEE-2F37-F9E8-E0E8-C1EF0F3215A5}"/>
              </a:ext>
            </a:extLst>
          </p:cNvPr>
          <p:cNvSpPr>
            <a:spLocks noGrp="1"/>
          </p:cNvSpPr>
          <p:nvPr>
            <p:ph type="pic" sz="quarter" idx="13"/>
          </p:nvPr>
        </p:nvSpPr>
        <p:spPr>
          <a:xfrm>
            <a:off x="6371509" y="668851"/>
            <a:ext cx="5289551" cy="5285232"/>
          </a:xfrm>
          <a:prstGeom prst="ellipse">
            <a:avLst/>
          </a:prstGeom>
          <a:solidFill>
            <a:schemeClr val="bg1">
              <a:lumMod val="85000"/>
            </a:schemeClr>
          </a:solidFill>
        </p:spPr>
        <p:txBody>
          <a:bodyPr/>
          <a:lstStyle/>
          <a:p>
            <a:r>
              <a:rPr lang="de-DE"/>
              <a:t>Bild durch Klicken auf Symbol hinzufügen</a:t>
            </a:r>
            <a:endParaRPr lang="en-US"/>
          </a:p>
        </p:txBody>
      </p:sp>
      <p:sp>
        <p:nvSpPr>
          <p:cNvPr id="11" name="Oval 10">
            <a:extLst>
              <a:ext uri="{FF2B5EF4-FFF2-40B4-BE49-F238E27FC236}">
                <a16:creationId xmlns:a16="http://schemas.microsoft.com/office/drawing/2014/main" id="{A50EA3DA-4C62-E85A-1D2F-CDFA11399ED8}"/>
              </a:ext>
            </a:extLst>
          </p:cNvPr>
          <p:cNvSpPr/>
          <p:nvPr userDrawn="1"/>
        </p:nvSpPr>
        <p:spPr>
          <a:xfrm>
            <a:off x="6648761" y="4517590"/>
            <a:ext cx="1365679" cy="1365679"/>
          </a:xfrm>
          <a:prstGeom prst="ellipse">
            <a:avLst/>
          </a:prstGeom>
          <a:solidFill>
            <a:srgbClr val="7E808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7333997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E7EAA8-DB64-1E0E-C1A5-F4BA364EA42E}"/>
              </a:ext>
            </a:extLst>
          </p:cNvPr>
          <p:cNvSpPr>
            <a:spLocks noGrp="1"/>
          </p:cNvSpPr>
          <p:nvPr>
            <p:ph type="title"/>
          </p:nvPr>
        </p:nvSpPr>
        <p:spPr/>
        <p:txBody>
          <a:bodyPr/>
          <a:lstStyle/>
          <a:p>
            <a:r>
              <a:rPr lang="de-DE"/>
              <a:t>Mastertitelformat bearbeiten</a:t>
            </a:r>
            <a:endParaRPr lang="en-US"/>
          </a:p>
        </p:txBody>
      </p:sp>
      <p:sp>
        <p:nvSpPr>
          <p:cNvPr id="3" name="Vertical Text Placeholder 2">
            <a:extLst>
              <a:ext uri="{FF2B5EF4-FFF2-40B4-BE49-F238E27FC236}">
                <a16:creationId xmlns:a16="http://schemas.microsoft.com/office/drawing/2014/main" id="{3177C9C4-F435-F84B-2BD3-B711433A6BBA}"/>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4">
            <a:extLst>
              <a:ext uri="{FF2B5EF4-FFF2-40B4-BE49-F238E27FC236}">
                <a16:creationId xmlns:a16="http://schemas.microsoft.com/office/drawing/2014/main" id="{CDA7B480-F0F2-D671-B2A5-D0D3686C9819}"/>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3845092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5F4B31F-E7C1-C6CA-1640-7809CC90E3C5}"/>
              </a:ext>
            </a:extLst>
          </p:cNvPr>
          <p:cNvSpPr>
            <a:spLocks noGrp="1"/>
          </p:cNvSpPr>
          <p:nvPr>
            <p:ph type="title" orient="vert"/>
          </p:nvPr>
        </p:nvSpPr>
        <p:spPr>
          <a:xfrm>
            <a:off x="8724901" y="548640"/>
            <a:ext cx="2628900" cy="5669280"/>
          </a:xfrm>
        </p:spPr>
        <p:txBody>
          <a:bodyPr vert="eaVert"/>
          <a:lstStyle/>
          <a:p>
            <a:r>
              <a:rPr lang="de-DE"/>
              <a:t>Mastertitelformat bearbeiten</a:t>
            </a:r>
            <a:endParaRPr lang="en-US"/>
          </a:p>
        </p:txBody>
      </p:sp>
      <p:sp>
        <p:nvSpPr>
          <p:cNvPr id="3" name="Vertical Text Placeholder 2">
            <a:extLst>
              <a:ext uri="{FF2B5EF4-FFF2-40B4-BE49-F238E27FC236}">
                <a16:creationId xmlns:a16="http://schemas.microsoft.com/office/drawing/2014/main" id="{774BA789-BF6E-37B9-596C-34C62679C2B0}"/>
              </a:ext>
            </a:extLst>
          </p:cNvPr>
          <p:cNvSpPr>
            <a:spLocks noGrp="1"/>
          </p:cNvSpPr>
          <p:nvPr>
            <p:ph type="body" orient="vert" idx="1"/>
          </p:nvPr>
        </p:nvSpPr>
        <p:spPr>
          <a:xfrm>
            <a:off x="838201" y="548640"/>
            <a:ext cx="7734300" cy="5669280"/>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4">
            <a:extLst>
              <a:ext uri="{FF2B5EF4-FFF2-40B4-BE49-F238E27FC236}">
                <a16:creationId xmlns:a16="http://schemas.microsoft.com/office/drawing/2014/main" id="{2AADD481-9C2D-9A6C-C844-D6346D6ECF95}"/>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2856457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Full-page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010D151E-E291-E59D-23E8-BE654D027155}"/>
              </a:ext>
            </a:extLst>
          </p:cNvPr>
          <p:cNvSpPr>
            <a:spLocks noGrp="1"/>
          </p:cNvSpPr>
          <p:nvPr>
            <p:ph type="pic" sz="quarter" idx="10"/>
          </p:nvPr>
        </p:nvSpPr>
        <p:spPr>
          <a:xfrm>
            <a:off x="0" y="0"/>
            <a:ext cx="12192000" cy="6858000"/>
          </a:xfrm>
          <a:solidFill>
            <a:schemeClr val="bg1"/>
          </a:solidFill>
        </p:spPr>
        <p:txBody>
          <a:bodyPr/>
          <a:lstStyle/>
          <a:p>
            <a:r>
              <a:rPr lang="de-DE"/>
              <a:t>Bild durch Klicken auf Symbol hinzufügen</a:t>
            </a:r>
            <a:endParaRPr lang="en-US"/>
          </a:p>
        </p:txBody>
      </p:sp>
    </p:spTree>
    <p:extLst>
      <p:ext uri="{BB962C8B-B14F-4D97-AF65-F5344CB8AC3E}">
        <p14:creationId xmlns:p14="http://schemas.microsoft.com/office/powerpoint/2010/main" val="14413019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ank - ASH Watermar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7B5BC47-223B-21FC-B104-67F72A5988CD}"/>
              </a:ext>
            </a:extLst>
          </p:cNvPr>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3614194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5/31/26</a:t>
            </a:fld>
            <a:endParaRPr lang="en-US"/>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609600" y="490453"/>
            <a:ext cx="10972800" cy="713539"/>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609600" y="1368923"/>
            <a:ext cx="10972800" cy="4947903"/>
          </a:xfrm>
          <a:prstGeom prst="rect">
            <a:avLst/>
          </a:prstGeom>
        </p:spPr>
        <p:txBody>
          <a:bodyPr/>
          <a:lstStyle>
            <a:lvl1pPr>
              <a:defRPr sz="2667">
                <a:solidFill>
                  <a:schemeClr val="tx1"/>
                </a:solidFill>
              </a:defRPr>
            </a:lvl1pPr>
            <a:lvl2pPr>
              <a:defRPr sz="2400">
                <a:solidFill>
                  <a:schemeClr val="tx1"/>
                </a:solidFill>
              </a:defRPr>
            </a:lvl2pPr>
            <a:lvl3pPr>
              <a:defRPr sz="2133">
                <a:solidFill>
                  <a:schemeClr val="tx1"/>
                </a:solidFill>
              </a:defRPr>
            </a:lvl3pPr>
            <a:lvl4pPr>
              <a:defRPr sz="1867">
                <a:solidFill>
                  <a:schemeClr val="tx1"/>
                </a:solidFill>
              </a:defRPr>
            </a:lvl4pPr>
            <a:lvl5pPr>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02277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97C33BD1-1CD8-F7BF-3761-1CBA9B8CBE2F}"/>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730325" y="4366382"/>
            <a:ext cx="2316480" cy="968367"/>
          </a:xfrm>
          <a:prstGeom prst="rect">
            <a:avLst/>
          </a:prstGeom>
        </p:spPr>
      </p:pic>
      <p:sp>
        <p:nvSpPr>
          <p:cNvPr id="5" name="Picture Placeholder 4"/>
          <p:cNvSpPr>
            <a:spLocks noGrp="1" noChangeAspect="1"/>
          </p:cNvSpPr>
          <p:nvPr>
            <p:ph type="pic" sz="quarter" idx="11" hasCustomPrompt="1"/>
          </p:nvPr>
        </p:nvSpPr>
        <p:spPr>
          <a:xfrm>
            <a:off x="0" y="1"/>
            <a:ext cx="12204192" cy="3955420"/>
          </a:xfrm>
          <a:solidFill>
            <a:schemeClr val="bg1">
              <a:lumMod val="75000"/>
            </a:schemeClr>
          </a:solidFill>
          <a:ln>
            <a:noFill/>
          </a:ln>
          <a:effectLst/>
        </p:spPr>
        <p:txBody>
          <a:bodyPr anchor="ctr" anchorCtr="1">
            <a:noAutofit/>
          </a:bodyPr>
          <a:lstStyle>
            <a:lvl1pPr>
              <a:defRPr sz="2400"/>
            </a:lvl1pPr>
          </a:lstStyle>
          <a:p>
            <a:r>
              <a:rPr lang="en-US" dirty="0"/>
              <a:t>Click to add picture</a:t>
            </a:r>
          </a:p>
        </p:txBody>
      </p:sp>
      <p:sp>
        <p:nvSpPr>
          <p:cNvPr id="3" name="Subtitle 2"/>
          <p:cNvSpPr>
            <a:spLocks noGrp="1"/>
          </p:cNvSpPr>
          <p:nvPr>
            <p:ph type="subTitle" idx="1"/>
          </p:nvPr>
        </p:nvSpPr>
        <p:spPr>
          <a:xfrm>
            <a:off x="4023360" y="5170431"/>
            <a:ext cx="7620000" cy="548640"/>
          </a:xfrm>
          <a:effectLst/>
        </p:spPr>
        <p:txBody>
          <a:bodyPr lIns="0" tIns="0" rIns="0" bIns="0">
            <a:noAutofit/>
          </a:bodyPr>
          <a:lstStyle>
            <a:lvl1pPr marL="0" indent="0" algn="l">
              <a:lnSpc>
                <a:spcPct val="100000"/>
              </a:lnSpc>
              <a:spcBef>
                <a:spcPts val="600"/>
              </a:spcBef>
              <a:buNone/>
              <a:defRPr sz="1867" b="0">
                <a:solidFill>
                  <a:schemeClr val="accent6"/>
                </a:solidFill>
                <a:latin typeface="+mj-lt"/>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5" name="Text Placeholder 14"/>
          <p:cNvSpPr>
            <a:spLocks noGrp="1"/>
          </p:cNvSpPr>
          <p:nvPr>
            <p:ph type="body" sz="quarter" idx="10"/>
          </p:nvPr>
        </p:nvSpPr>
        <p:spPr>
          <a:xfrm>
            <a:off x="4023360" y="5831612"/>
            <a:ext cx="7620000" cy="853440"/>
          </a:xfrm>
          <a:effectLst/>
        </p:spPr>
        <p:txBody>
          <a:bodyPr lIns="0" tIns="0" rIns="0" bIns="0">
            <a:noAutofit/>
          </a:bodyPr>
          <a:lstStyle>
            <a:lvl1pPr marL="0" indent="0">
              <a:lnSpc>
                <a:spcPct val="100000"/>
              </a:lnSpc>
              <a:spcBef>
                <a:spcPts val="0"/>
              </a:spcBef>
              <a:spcAft>
                <a:spcPts val="267"/>
              </a:spcAft>
              <a:buNone/>
              <a:defRPr sz="1733" b="1">
                <a:solidFill>
                  <a:schemeClr val="tx1"/>
                </a:solidFill>
                <a:latin typeface="+mj-lt"/>
                <a:cs typeface="Arial" pitchFamily="34" charset="0"/>
              </a:defRPr>
            </a:lvl1pPr>
            <a:lvl2pPr marL="0" indent="0">
              <a:lnSpc>
                <a:spcPct val="100000"/>
              </a:lnSpc>
              <a:spcBef>
                <a:spcPts val="0"/>
              </a:spcBef>
              <a:spcAft>
                <a:spcPts val="0"/>
              </a:spcAft>
              <a:buNone/>
              <a:defRPr sz="1600">
                <a:solidFill>
                  <a:schemeClr val="accent6"/>
                </a:solidFill>
                <a:latin typeface="+mj-lt"/>
                <a:cs typeface="Arial" pitchFamily="34" charset="0"/>
              </a:defRPr>
            </a:lvl2pPr>
          </a:lstStyle>
          <a:p>
            <a:pPr lvl="0"/>
            <a:r>
              <a:rPr lang="en-US" dirty="0"/>
              <a:t>Click to edit Master text styles</a:t>
            </a:r>
          </a:p>
          <a:p>
            <a:pPr lvl="1"/>
            <a:r>
              <a:rPr lang="en-US" dirty="0"/>
              <a:t>Second level</a:t>
            </a:r>
          </a:p>
        </p:txBody>
      </p:sp>
      <p:sp>
        <p:nvSpPr>
          <p:cNvPr id="2" name="Title 1"/>
          <p:cNvSpPr>
            <a:spLocks noGrp="1"/>
          </p:cNvSpPr>
          <p:nvPr>
            <p:ph type="ctrTitle"/>
          </p:nvPr>
        </p:nvSpPr>
        <p:spPr>
          <a:xfrm>
            <a:off x="4023360" y="4256031"/>
            <a:ext cx="7620000" cy="853440"/>
          </a:xfrm>
          <a:effectLst/>
        </p:spPr>
        <p:txBody>
          <a:bodyPr lIns="0" tIns="0" rIns="0" bIns="0" anchor="t" anchorCtr="0">
            <a:noAutofit/>
          </a:bodyPr>
          <a:lstStyle>
            <a:lvl1pPr algn="l">
              <a:lnSpc>
                <a:spcPct val="90000"/>
              </a:lnSpc>
              <a:defRPr sz="3200" b="1">
                <a:latin typeface="+mj-lt"/>
                <a:cs typeface="Arial"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DB1B5F57-2456-4A01-8807-0000353D3981}"/>
              </a:ext>
            </a:extLst>
          </p:cNvPr>
          <p:cNvCxnSpPr>
            <a:cxnSpLocks/>
          </p:cNvCxnSpPr>
          <p:nvPr userDrawn="1"/>
        </p:nvCxnSpPr>
        <p:spPr bwMode="gray">
          <a:xfrm>
            <a:off x="0" y="5831612"/>
            <a:ext cx="3397624" cy="0"/>
          </a:xfrm>
          <a:prstGeom prst="line">
            <a:avLst/>
          </a:prstGeom>
          <a:ln w="44450" cmpd="sng">
            <a:solidFill>
              <a:schemeClr val="tx2"/>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36765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2552880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accent2"/>
        </a:solidFill>
        <a:effectLst/>
      </p:bgPr>
    </p:bg>
    <p:spTree>
      <p:nvGrpSpPr>
        <p:cNvPr id="1" name=""/>
        <p:cNvGrpSpPr/>
        <p:nvPr/>
      </p:nvGrpSpPr>
      <p:grpSpPr>
        <a:xfrm>
          <a:off x="0" y="0"/>
          <a:ext cx="0" cy="0"/>
          <a:chOff x="0" y="0"/>
          <a:chExt cx="0" cy="0"/>
        </a:xfrm>
      </p:grpSpPr>
      <p:sp>
        <p:nvSpPr>
          <p:cNvPr id="5" name="Picture Placeholder 4"/>
          <p:cNvSpPr>
            <a:spLocks noGrp="1" noChangeAspect="1"/>
          </p:cNvSpPr>
          <p:nvPr>
            <p:ph type="pic" sz="quarter" idx="11" hasCustomPrompt="1"/>
          </p:nvPr>
        </p:nvSpPr>
        <p:spPr>
          <a:xfrm>
            <a:off x="0" y="1"/>
            <a:ext cx="12204192" cy="3955420"/>
          </a:xfrm>
          <a:solidFill>
            <a:schemeClr val="bg1">
              <a:lumMod val="75000"/>
            </a:schemeClr>
          </a:solidFill>
          <a:ln>
            <a:noFill/>
          </a:ln>
          <a:effectLst/>
        </p:spPr>
        <p:txBody>
          <a:bodyPr anchor="ctr" anchorCtr="1">
            <a:noAutofit/>
          </a:bodyPr>
          <a:lstStyle>
            <a:lvl1pPr>
              <a:defRPr sz="2400"/>
            </a:lvl1pPr>
          </a:lstStyle>
          <a:p>
            <a:r>
              <a:rPr lang="en-US" dirty="0"/>
              <a:t>Click to add picture</a:t>
            </a:r>
          </a:p>
        </p:txBody>
      </p:sp>
      <p:sp>
        <p:nvSpPr>
          <p:cNvPr id="3" name="Subtitle 2"/>
          <p:cNvSpPr>
            <a:spLocks noGrp="1"/>
          </p:cNvSpPr>
          <p:nvPr>
            <p:ph type="subTitle" idx="1"/>
          </p:nvPr>
        </p:nvSpPr>
        <p:spPr>
          <a:xfrm>
            <a:off x="4023360" y="5170431"/>
            <a:ext cx="7620000" cy="548640"/>
          </a:xfrm>
          <a:effectLst/>
        </p:spPr>
        <p:txBody>
          <a:bodyPr lIns="0" tIns="0" rIns="0" bIns="0">
            <a:noAutofit/>
          </a:bodyPr>
          <a:lstStyle>
            <a:lvl1pPr marL="0" indent="0" algn="l">
              <a:lnSpc>
                <a:spcPct val="100000"/>
              </a:lnSpc>
              <a:spcBef>
                <a:spcPts val="600"/>
              </a:spcBef>
              <a:buNone/>
              <a:defRPr sz="1867" b="0">
                <a:solidFill>
                  <a:schemeClr val="bg1"/>
                </a:solidFill>
                <a:latin typeface="+mj-lt"/>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5" name="Text Placeholder 14"/>
          <p:cNvSpPr>
            <a:spLocks noGrp="1"/>
          </p:cNvSpPr>
          <p:nvPr>
            <p:ph type="body" sz="quarter" idx="10"/>
          </p:nvPr>
        </p:nvSpPr>
        <p:spPr>
          <a:xfrm>
            <a:off x="4023360" y="5827776"/>
            <a:ext cx="7620000" cy="853440"/>
          </a:xfrm>
          <a:effectLst/>
        </p:spPr>
        <p:txBody>
          <a:bodyPr lIns="0" tIns="0" rIns="0" bIns="0">
            <a:noAutofit/>
          </a:bodyPr>
          <a:lstStyle>
            <a:lvl1pPr marL="0" indent="0">
              <a:lnSpc>
                <a:spcPct val="100000"/>
              </a:lnSpc>
              <a:spcBef>
                <a:spcPts val="0"/>
              </a:spcBef>
              <a:spcAft>
                <a:spcPts val="267"/>
              </a:spcAft>
              <a:buNone/>
              <a:defRPr sz="1733" b="1">
                <a:solidFill>
                  <a:schemeClr val="bg1"/>
                </a:solidFill>
                <a:latin typeface="+mj-lt"/>
                <a:cs typeface="Arial" pitchFamily="34" charset="0"/>
              </a:defRPr>
            </a:lvl1pPr>
            <a:lvl2pPr marL="0" indent="0">
              <a:lnSpc>
                <a:spcPct val="100000"/>
              </a:lnSpc>
              <a:spcBef>
                <a:spcPts val="0"/>
              </a:spcBef>
              <a:spcAft>
                <a:spcPts val="0"/>
              </a:spcAft>
              <a:buNone/>
              <a:defRPr sz="1600">
                <a:solidFill>
                  <a:schemeClr val="bg1"/>
                </a:solidFill>
                <a:latin typeface="+mj-lt"/>
                <a:cs typeface="Arial" pitchFamily="34" charset="0"/>
              </a:defRPr>
            </a:lvl2pPr>
          </a:lstStyle>
          <a:p>
            <a:pPr lvl="0"/>
            <a:r>
              <a:rPr lang="en-US" dirty="0"/>
              <a:t>Click to edit Master text styles</a:t>
            </a:r>
          </a:p>
          <a:p>
            <a:pPr lvl="1"/>
            <a:r>
              <a:rPr lang="en-US" dirty="0"/>
              <a:t>Second level</a:t>
            </a:r>
          </a:p>
        </p:txBody>
      </p:sp>
      <p:sp>
        <p:nvSpPr>
          <p:cNvPr id="2" name="Title 1"/>
          <p:cNvSpPr>
            <a:spLocks noGrp="1"/>
          </p:cNvSpPr>
          <p:nvPr>
            <p:ph type="ctrTitle"/>
          </p:nvPr>
        </p:nvSpPr>
        <p:spPr>
          <a:xfrm>
            <a:off x="4023360" y="4256031"/>
            <a:ext cx="7620000" cy="853440"/>
          </a:xfrm>
          <a:effectLst/>
        </p:spPr>
        <p:txBody>
          <a:bodyPr lIns="0" tIns="0" rIns="0" bIns="0" anchor="t" anchorCtr="0">
            <a:noAutofit/>
          </a:bodyPr>
          <a:lstStyle>
            <a:lvl1pPr algn="l">
              <a:lnSpc>
                <a:spcPct val="90000"/>
              </a:lnSpc>
              <a:defRPr sz="3200" b="1">
                <a:solidFill>
                  <a:schemeClr val="bg1"/>
                </a:solidFill>
                <a:latin typeface="+mj-lt"/>
                <a:cs typeface="Arial" pitchFamily="34" charset="0"/>
              </a:defRPr>
            </a:lvl1pPr>
          </a:lstStyle>
          <a:p>
            <a:r>
              <a:rPr lang="en-US" dirty="0"/>
              <a:t>Click to edit Master title style</a:t>
            </a:r>
          </a:p>
        </p:txBody>
      </p:sp>
      <p:pic>
        <p:nvPicPr>
          <p:cNvPr id="4" name="Graphic 3">
            <a:extLst>
              <a:ext uri="{FF2B5EF4-FFF2-40B4-BE49-F238E27FC236}">
                <a16:creationId xmlns:a16="http://schemas.microsoft.com/office/drawing/2014/main" id="{BBE79FBE-EB0F-4ED8-90DA-31A064FEF883}"/>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730319" y="4366383"/>
            <a:ext cx="2316480" cy="968364"/>
          </a:xfrm>
          <a:prstGeom prst="rect">
            <a:avLst/>
          </a:prstGeom>
        </p:spPr>
      </p:pic>
      <p:cxnSp>
        <p:nvCxnSpPr>
          <p:cNvPr id="7" name="Straight Connector 6">
            <a:extLst>
              <a:ext uri="{FF2B5EF4-FFF2-40B4-BE49-F238E27FC236}">
                <a16:creationId xmlns:a16="http://schemas.microsoft.com/office/drawing/2014/main" id="{80791615-89EB-7CAC-9314-CC212D9C9469}"/>
              </a:ext>
            </a:extLst>
          </p:cNvPr>
          <p:cNvCxnSpPr>
            <a:cxnSpLocks/>
          </p:cNvCxnSpPr>
          <p:nvPr userDrawn="1"/>
        </p:nvCxnSpPr>
        <p:spPr bwMode="gray">
          <a:xfrm>
            <a:off x="0" y="5831612"/>
            <a:ext cx="3397624" cy="0"/>
          </a:xfrm>
          <a:prstGeom prst="line">
            <a:avLst/>
          </a:prstGeom>
          <a:ln w="44450" cmpd="sng">
            <a:solidFill>
              <a:schemeClr val="tx2"/>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47931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pos="3840">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548641" y="1682496"/>
            <a:ext cx="11094720" cy="451104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itle 11"/>
          <p:cNvSpPr>
            <a:spLocks noGrp="1"/>
          </p:cNvSpPr>
          <p:nvPr>
            <p:ph type="title"/>
          </p:nvPr>
        </p:nvSpPr>
        <p:spPr>
          <a:xfrm>
            <a:off x="548640" y="414528"/>
            <a:ext cx="11094723" cy="853440"/>
          </a:xfrm>
        </p:spPr>
        <p:txBody>
          <a:bodyPr/>
          <a:lstStyle>
            <a:lvl1pPr>
              <a:lnSpc>
                <a:spcPct val="90000"/>
              </a:lnSpc>
              <a:defRPr sz="3200"/>
            </a:lvl1pPr>
          </a:lstStyle>
          <a:p>
            <a:r>
              <a:rPr lang="en-US" dirty="0"/>
              <a:t>Click to edit Master title style</a:t>
            </a:r>
          </a:p>
        </p:txBody>
      </p:sp>
      <p:sp>
        <p:nvSpPr>
          <p:cNvPr id="13" name="Slide Number Placeholder 12"/>
          <p:cNvSpPr>
            <a:spLocks noGrp="1"/>
          </p:cNvSpPr>
          <p:nvPr>
            <p:ph type="sldNum" sz="quarter" idx="11"/>
          </p:nvPr>
        </p:nvSpPr>
        <p:spPr/>
        <p:txBody>
          <a:bodyPr/>
          <a:lstStyle>
            <a:lvl1pPr>
              <a:defRPr>
                <a:solidFill>
                  <a:schemeClr val="tx1"/>
                </a:solidFill>
              </a:defRPr>
            </a:lvl1pPr>
          </a:lstStyle>
          <a:p>
            <a:fld id="{CC041753-90EA-4E44-9BB8-633978F3CCC4}" type="slidenum">
              <a:rPr lang="en-US" smtClean="0"/>
              <a:pPr/>
              <a:t>‹#›</a:t>
            </a:fld>
            <a:endParaRPr lang="en-US" dirty="0"/>
          </a:p>
        </p:txBody>
      </p:sp>
      <p:sp>
        <p:nvSpPr>
          <p:cNvPr id="14" name="Footer Placeholder 13"/>
          <p:cNvSpPr>
            <a:spLocks noGrp="1"/>
          </p:cNvSpPr>
          <p:nvPr>
            <p:ph type="ftr" sz="quarter" idx="12"/>
          </p:nvPr>
        </p:nvSpPr>
        <p:spPr/>
        <p:txBody>
          <a:bodyPr/>
          <a:lstStyle>
            <a:lvl1pPr>
              <a:defRPr>
                <a:solidFill>
                  <a:schemeClr val="tx1"/>
                </a:solidFill>
              </a:defRPr>
            </a:lvl1pPr>
          </a:lstStyle>
          <a:p>
            <a:r>
              <a:rPr lang="en-US"/>
              <a:t>Westin - 2026 iwCART Are Bispecifics in 1L inevitable?</a:t>
            </a:r>
            <a:endParaRPr lang="en-US" dirty="0"/>
          </a:p>
        </p:txBody>
      </p:sp>
    </p:spTree>
    <p:extLst>
      <p:ext uri="{BB962C8B-B14F-4D97-AF65-F5344CB8AC3E}">
        <p14:creationId xmlns:p14="http://schemas.microsoft.com/office/powerpoint/2010/main" val="21541452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548642" y="414528"/>
            <a:ext cx="11094271" cy="853440"/>
          </a:xfrm>
        </p:spPr>
        <p:txBody>
          <a:bodyPr anchor="t" anchorCtr="0"/>
          <a:lstStyle>
            <a:lvl1pPr>
              <a:lnSpc>
                <a:spcPct val="90000"/>
              </a:lnSpc>
              <a:defRPr sz="3200"/>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solidFill>
                  <a:schemeClr val="tx1"/>
                </a:solidFill>
              </a:defRPr>
            </a:lvl1pPr>
          </a:lstStyle>
          <a:p>
            <a:r>
              <a:rPr lang="en-US"/>
              <a:t>Westin - 2026 iwCART Are Bispecifics in 1L inevitable?</a:t>
            </a:r>
            <a:endParaRPr lang="en-US" dirty="0"/>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CC041753-90EA-4E44-9BB8-633978F3CCC4}" type="slidenum">
              <a:rPr lang="en-US" smtClean="0"/>
              <a:pPr/>
              <a:t>‹#›</a:t>
            </a:fld>
            <a:endParaRPr lang="en-US" dirty="0"/>
          </a:p>
        </p:txBody>
      </p:sp>
      <p:sp>
        <p:nvSpPr>
          <p:cNvPr id="6" name="Text Placeholder 5"/>
          <p:cNvSpPr>
            <a:spLocks noGrp="1"/>
          </p:cNvSpPr>
          <p:nvPr>
            <p:ph type="body" sz="quarter" idx="12"/>
          </p:nvPr>
        </p:nvSpPr>
        <p:spPr bwMode="gray">
          <a:xfrm>
            <a:off x="548639" y="1770569"/>
            <a:ext cx="3474720" cy="4116165"/>
          </a:xfrm>
        </p:spPr>
        <p:txBody>
          <a:bodyPr/>
          <a:lstStyle>
            <a:lvl1pPr marL="342891" indent="-342891">
              <a:spcAft>
                <a:spcPts val="600"/>
              </a:spcAft>
              <a:buClr>
                <a:schemeClr val="accent6"/>
              </a:buClr>
              <a:buFont typeface="Wingdings" charset="2"/>
              <a:buAutoNum type="arabicPlain"/>
              <a:defRPr sz="1867" b="1" i="0" cap="all">
                <a:solidFill>
                  <a:schemeClr val="tx1"/>
                </a:solidFill>
                <a:latin typeface="+mj-lt"/>
              </a:defRPr>
            </a:lvl1pPr>
            <a:lvl2pPr marL="457189" indent="0">
              <a:spcBef>
                <a:spcPts val="600"/>
              </a:spcBef>
              <a:buNone/>
              <a:defRPr sz="1867">
                <a:solidFill>
                  <a:schemeClr val="tx1"/>
                </a:solidFill>
                <a:latin typeface="+mj-lt"/>
              </a:defRPr>
            </a:lvl2pPr>
          </a:lstStyle>
          <a:p>
            <a:pPr lvl="0"/>
            <a:r>
              <a:rPr lang="en-US" dirty="0"/>
              <a:t>Click to edit Master text styles</a:t>
            </a:r>
          </a:p>
          <a:p>
            <a:pPr lvl="1"/>
            <a:r>
              <a:rPr lang="en-US" dirty="0"/>
              <a:t>Second level</a:t>
            </a:r>
          </a:p>
        </p:txBody>
      </p:sp>
      <p:sp>
        <p:nvSpPr>
          <p:cNvPr id="9" name="Text Placeholder 8"/>
          <p:cNvSpPr>
            <a:spLocks noGrp="1"/>
          </p:cNvSpPr>
          <p:nvPr>
            <p:ph type="body" sz="quarter" idx="13"/>
          </p:nvPr>
        </p:nvSpPr>
        <p:spPr bwMode="gray">
          <a:xfrm>
            <a:off x="4367643" y="1770569"/>
            <a:ext cx="3474720" cy="4116165"/>
          </a:xfrm>
        </p:spPr>
        <p:txBody>
          <a:bodyPr/>
          <a:lstStyle>
            <a:lvl1pPr marL="342891" indent="-342891">
              <a:spcAft>
                <a:spcPts val="600"/>
              </a:spcAft>
              <a:buClr>
                <a:schemeClr val="accent6"/>
              </a:buClr>
              <a:buFont typeface="Wingdings" charset="2"/>
              <a:buAutoNum type="arabicPlain"/>
              <a:defRPr sz="1867" b="1" i="0" cap="all">
                <a:latin typeface="+mj-lt"/>
              </a:defRPr>
            </a:lvl1pPr>
            <a:lvl2pPr marL="457189" indent="0">
              <a:spcBef>
                <a:spcPts val="600"/>
              </a:spcBef>
              <a:buNone/>
              <a:defRPr sz="1867">
                <a:solidFill>
                  <a:srgbClr val="63666A"/>
                </a:solidFill>
                <a:latin typeface="+mj-lt"/>
              </a:defRPr>
            </a:lvl2pPr>
          </a:lstStyle>
          <a:p>
            <a:pPr lvl="0"/>
            <a:r>
              <a:rPr lang="en-US" dirty="0"/>
              <a:t>Click to edit Master text styles</a:t>
            </a:r>
          </a:p>
          <a:p>
            <a:pPr lvl="1"/>
            <a:r>
              <a:rPr lang="en-US" dirty="0"/>
              <a:t>Second level</a:t>
            </a:r>
          </a:p>
        </p:txBody>
      </p:sp>
      <p:sp>
        <p:nvSpPr>
          <p:cNvPr id="11" name="Text Placeholder 10"/>
          <p:cNvSpPr>
            <a:spLocks noGrp="1"/>
          </p:cNvSpPr>
          <p:nvPr>
            <p:ph type="body" sz="quarter" idx="14"/>
          </p:nvPr>
        </p:nvSpPr>
        <p:spPr bwMode="gray">
          <a:xfrm>
            <a:off x="8178433" y="1770569"/>
            <a:ext cx="3474720" cy="4116165"/>
          </a:xfrm>
        </p:spPr>
        <p:txBody>
          <a:bodyPr/>
          <a:lstStyle>
            <a:lvl1pPr marL="342891" indent="-342891">
              <a:spcAft>
                <a:spcPts val="600"/>
              </a:spcAft>
              <a:buClr>
                <a:schemeClr val="accent6"/>
              </a:buClr>
              <a:buFont typeface="Wingdings" charset="2"/>
              <a:buAutoNum type="arabicPlain"/>
              <a:defRPr sz="1867" b="1" i="0" cap="all">
                <a:solidFill>
                  <a:schemeClr val="tx1"/>
                </a:solidFill>
                <a:latin typeface="+mj-lt"/>
              </a:defRPr>
            </a:lvl1pPr>
            <a:lvl2pPr marL="457189" indent="0">
              <a:spcBef>
                <a:spcPts val="600"/>
              </a:spcBef>
              <a:buNone/>
              <a:defRPr sz="1867">
                <a:solidFill>
                  <a:schemeClr val="tx1"/>
                </a:solidFill>
                <a:latin typeface="+mj-lt"/>
              </a:defRPr>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0447670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48642" y="414528"/>
            <a:ext cx="11094271" cy="853440"/>
          </a:xfrm>
        </p:spPr>
        <p:txBody>
          <a:bodyPr/>
          <a:lstStyle>
            <a:lvl1pPr>
              <a:lnSpc>
                <a:spcPct val="90000"/>
              </a:lnSpc>
              <a:defRPr sz="3200"/>
            </a:lvl1pPr>
          </a:lstStyle>
          <a:p>
            <a:r>
              <a:rPr lang="en-US" dirty="0"/>
              <a:t>Click to edit Master title style</a:t>
            </a:r>
          </a:p>
        </p:txBody>
      </p:sp>
      <p:sp>
        <p:nvSpPr>
          <p:cNvPr id="9" name="Slide Number Placeholder 8"/>
          <p:cNvSpPr>
            <a:spLocks noGrp="1"/>
          </p:cNvSpPr>
          <p:nvPr>
            <p:ph type="sldNum" sz="quarter" idx="10"/>
          </p:nvPr>
        </p:nvSpPr>
        <p:spPr/>
        <p:txBody>
          <a:bodyPr/>
          <a:lstStyle>
            <a:lvl1pPr>
              <a:defRPr>
                <a:solidFill>
                  <a:schemeClr val="tx1"/>
                </a:solidFill>
              </a:defRPr>
            </a:lvl1pPr>
          </a:lstStyle>
          <a:p>
            <a:fld id="{CC041753-90EA-4E44-9BB8-633978F3CCC4}" type="slidenum">
              <a:rPr lang="en-US" smtClean="0"/>
              <a:pPr/>
              <a:t>‹#›</a:t>
            </a:fld>
            <a:endParaRPr lang="en-US" dirty="0"/>
          </a:p>
        </p:txBody>
      </p:sp>
      <p:sp>
        <p:nvSpPr>
          <p:cNvPr id="10" name="Footer Placeholder 9"/>
          <p:cNvSpPr>
            <a:spLocks noGrp="1"/>
          </p:cNvSpPr>
          <p:nvPr>
            <p:ph type="ftr" sz="quarter" idx="11"/>
          </p:nvPr>
        </p:nvSpPr>
        <p:spPr/>
        <p:txBody>
          <a:bodyPr/>
          <a:lstStyle>
            <a:lvl1pPr>
              <a:defRPr>
                <a:solidFill>
                  <a:schemeClr val="tx1"/>
                </a:solidFill>
              </a:defRPr>
            </a:lvl1pPr>
          </a:lstStyle>
          <a:p>
            <a:r>
              <a:rPr lang="en-US"/>
              <a:t>Westin - 2026 iwCART Are Bispecifics in 1L inevitable?</a:t>
            </a:r>
            <a:endParaRPr lang="en-US" dirty="0"/>
          </a:p>
        </p:txBody>
      </p:sp>
      <p:sp>
        <p:nvSpPr>
          <p:cNvPr id="6" name="Content Placeholder 5"/>
          <p:cNvSpPr>
            <a:spLocks noGrp="1"/>
          </p:cNvSpPr>
          <p:nvPr>
            <p:ph sz="quarter" idx="12"/>
          </p:nvPr>
        </p:nvSpPr>
        <p:spPr>
          <a:xfrm>
            <a:off x="548639" y="1950720"/>
            <a:ext cx="5242560" cy="4511040"/>
          </a:xfrm>
        </p:spPr>
        <p:txBody>
          <a:bodyPr rIns="137160">
            <a:noAutofit/>
          </a:bodyPr>
          <a:lstStyle>
            <a:lvl1pPr>
              <a:spcBef>
                <a:spcPts val="1600"/>
              </a:spcBef>
              <a:defRPr sz="2400"/>
            </a:lvl1pPr>
            <a:lvl2pPr>
              <a:defRPr sz="2400"/>
            </a:lvl2pPr>
            <a:lvl3pPr>
              <a:defRPr sz="2133"/>
            </a:lvl3pPr>
            <a:lvl4pPr>
              <a:defRPr sz="1867"/>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Content Placeholder 7"/>
          <p:cNvSpPr>
            <a:spLocks noGrp="1"/>
          </p:cNvSpPr>
          <p:nvPr>
            <p:ph sz="quarter" idx="13"/>
          </p:nvPr>
        </p:nvSpPr>
        <p:spPr>
          <a:xfrm>
            <a:off x="6400351" y="1950720"/>
            <a:ext cx="5242560" cy="4511040"/>
          </a:xfrm>
        </p:spPr>
        <p:txBody>
          <a:bodyPr rIns="137160">
            <a:noAutofit/>
          </a:bodyPr>
          <a:lstStyle>
            <a:lvl1pPr>
              <a:spcBef>
                <a:spcPts val="1600"/>
              </a:spcBef>
              <a:defRPr sz="2400">
                <a:solidFill>
                  <a:schemeClr val="tx1"/>
                </a:solidFill>
              </a:defRPr>
            </a:lvl1pPr>
            <a:lvl2pPr>
              <a:defRPr sz="2400">
                <a:solidFill>
                  <a:schemeClr val="tx1"/>
                </a:solidFill>
              </a:defRPr>
            </a:lvl2pPr>
            <a:lvl3pPr>
              <a:defRPr sz="2133">
                <a:solidFill>
                  <a:schemeClr val="tx1"/>
                </a:solidFill>
              </a:defRPr>
            </a:lvl3pPr>
            <a:lvl4pPr>
              <a:defRPr sz="1867">
                <a:solidFill>
                  <a:schemeClr val="tx1"/>
                </a:solidFill>
              </a:defRPr>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46055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90000"/>
              </a:lnSpc>
              <a:defRPr sz="3200">
                <a:solidFill>
                  <a:schemeClr val="tx1"/>
                </a:solidFill>
              </a:defRPr>
            </a:lvl1pPr>
          </a:lstStyle>
          <a:p>
            <a:r>
              <a:rPr lang="en-US" dirty="0"/>
              <a:t>Click to edit Master title style</a:t>
            </a:r>
          </a:p>
        </p:txBody>
      </p:sp>
      <p:sp>
        <p:nvSpPr>
          <p:cNvPr id="6" name="Slide Number Placeholder 5"/>
          <p:cNvSpPr>
            <a:spLocks noGrp="1"/>
          </p:cNvSpPr>
          <p:nvPr>
            <p:ph type="sldNum" sz="quarter" idx="10"/>
          </p:nvPr>
        </p:nvSpPr>
        <p:spPr/>
        <p:txBody>
          <a:bodyPr/>
          <a:lstStyle>
            <a:lvl1pPr>
              <a:defRPr>
                <a:solidFill>
                  <a:schemeClr val="tx1"/>
                </a:solidFill>
              </a:defRPr>
            </a:lvl1pPr>
          </a:lstStyle>
          <a:p>
            <a:fld id="{CC041753-90EA-4E44-9BB8-633978F3CCC4}" type="slidenum">
              <a:rPr lang="en-US" smtClean="0"/>
              <a:pPr/>
              <a:t>‹#›</a:t>
            </a:fld>
            <a:endParaRPr lang="en-US" dirty="0"/>
          </a:p>
        </p:txBody>
      </p:sp>
      <p:sp>
        <p:nvSpPr>
          <p:cNvPr id="7" name="Footer Placeholder 6"/>
          <p:cNvSpPr>
            <a:spLocks noGrp="1"/>
          </p:cNvSpPr>
          <p:nvPr>
            <p:ph type="ftr" sz="quarter" idx="11"/>
          </p:nvPr>
        </p:nvSpPr>
        <p:spPr/>
        <p:txBody>
          <a:bodyPr/>
          <a:lstStyle>
            <a:lvl1pPr>
              <a:defRPr>
                <a:solidFill>
                  <a:schemeClr val="tx1"/>
                </a:solidFill>
              </a:defRPr>
            </a:lvl1pPr>
          </a:lstStyle>
          <a:p>
            <a:r>
              <a:rPr lang="en-US"/>
              <a:t>Westin - 2026 iwCART Are Bispecifics in 1L inevitable?</a:t>
            </a:r>
            <a:endParaRPr lang="en-US" dirty="0"/>
          </a:p>
        </p:txBody>
      </p:sp>
    </p:spTree>
    <p:extLst>
      <p:ext uri="{BB962C8B-B14F-4D97-AF65-F5344CB8AC3E}">
        <p14:creationId xmlns:p14="http://schemas.microsoft.com/office/powerpoint/2010/main" val="17582858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48640" y="3229243"/>
            <a:ext cx="11089301" cy="874184"/>
          </a:xfrm>
        </p:spPr>
        <p:txBody>
          <a:bodyPr anchor="t"/>
          <a:lstStyle>
            <a:lvl1pPr algn="l">
              <a:defRPr sz="3467" b="1" cap="none">
                <a:solidFill>
                  <a:schemeClr val="bg1"/>
                </a:solidFill>
              </a:defRPr>
            </a:lvl1pPr>
          </a:lstStyle>
          <a:p>
            <a:r>
              <a:rPr lang="en-US" dirty="0"/>
              <a:t>Click to Edit Master Title Style</a:t>
            </a:r>
          </a:p>
        </p:txBody>
      </p:sp>
      <p:sp>
        <p:nvSpPr>
          <p:cNvPr id="11" name="Slide Number Placeholder 10"/>
          <p:cNvSpPr>
            <a:spLocks noGrp="1"/>
          </p:cNvSpPr>
          <p:nvPr>
            <p:ph type="sldNum" sz="quarter" idx="10"/>
          </p:nvPr>
        </p:nvSpPr>
        <p:spPr bwMode="gray">
          <a:xfrm>
            <a:off x="11248253" y="327212"/>
            <a:ext cx="395111" cy="143565"/>
          </a:xfrm>
        </p:spPr>
        <p:txBody>
          <a:bodyPr/>
          <a:lstStyle>
            <a:lvl1pPr>
              <a:defRPr>
                <a:solidFill>
                  <a:schemeClr val="bg1"/>
                </a:solidFill>
              </a:defRPr>
            </a:lvl1pPr>
          </a:lstStyle>
          <a:p>
            <a:fld id="{CC041753-90EA-4E44-9BB8-633978F3CCC4}" type="slidenum">
              <a:rPr lang="en-US" smtClean="0">
                <a:solidFill>
                  <a:srgbClr val="FFFFFF"/>
                </a:solidFill>
              </a:rPr>
              <a:pPr/>
              <a:t>‹#›</a:t>
            </a:fld>
            <a:endParaRPr lang="en-US" dirty="0">
              <a:solidFill>
                <a:srgbClr val="FFFFFF"/>
              </a:solidFill>
            </a:endParaRPr>
          </a:p>
        </p:txBody>
      </p:sp>
      <p:sp>
        <p:nvSpPr>
          <p:cNvPr id="15" name="Text Placeholder 14"/>
          <p:cNvSpPr>
            <a:spLocks noGrp="1"/>
          </p:cNvSpPr>
          <p:nvPr>
            <p:ph type="body" sz="quarter" idx="12"/>
          </p:nvPr>
        </p:nvSpPr>
        <p:spPr bwMode="gray">
          <a:xfrm>
            <a:off x="548639" y="4402587"/>
            <a:ext cx="6096000" cy="1645920"/>
          </a:xfrm>
        </p:spPr>
        <p:txBody>
          <a:bodyPr>
            <a:noAutofit/>
          </a:bodyPr>
          <a:lstStyle>
            <a:lvl1pPr>
              <a:lnSpc>
                <a:spcPct val="100000"/>
              </a:lnSpc>
              <a:spcBef>
                <a:spcPts val="1600"/>
              </a:spcBef>
              <a:spcAft>
                <a:spcPts val="600"/>
              </a:spcAft>
              <a:defRPr sz="2667" b="1">
                <a:solidFill>
                  <a:schemeClr val="bg1"/>
                </a:solidFill>
                <a:latin typeface="+mj-lt"/>
                <a:cs typeface="Arial" pitchFamily="34" charset="0"/>
              </a:defRPr>
            </a:lvl1pPr>
            <a:lvl2pPr marL="0" indent="0">
              <a:lnSpc>
                <a:spcPct val="100000"/>
              </a:lnSpc>
              <a:spcBef>
                <a:spcPts val="400"/>
              </a:spcBef>
              <a:spcAft>
                <a:spcPts val="0"/>
              </a:spcAft>
              <a:buNone/>
              <a:defRPr sz="2400">
                <a:solidFill>
                  <a:schemeClr val="bg1"/>
                </a:solidFill>
              </a:defRPr>
            </a:lvl2pPr>
            <a:lvl3pPr marL="0" indent="0">
              <a:lnSpc>
                <a:spcPct val="90000"/>
              </a:lnSpc>
              <a:spcAft>
                <a:spcPts val="300"/>
              </a:spcAft>
              <a:buNone/>
              <a:defRPr>
                <a:solidFill>
                  <a:schemeClr val="bg1"/>
                </a:solidFill>
              </a:defRPr>
            </a:lvl3pPr>
          </a:lstStyle>
          <a:p>
            <a:pPr lvl="0"/>
            <a:r>
              <a:rPr lang="en-US" dirty="0"/>
              <a:t>Click to edit Master text styles</a:t>
            </a:r>
          </a:p>
          <a:p>
            <a:pPr lvl="1"/>
            <a:r>
              <a:rPr lang="en-US" dirty="0"/>
              <a:t>Second level</a:t>
            </a:r>
          </a:p>
        </p:txBody>
      </p:sp>
      <p:sp>
        <p:nvSpPr>
          <p:cNvPr id="3" name="Footer Placeholder 9">
            <a:extLst>
              <a:ext uri="{FF2B5EF4-FFF2-40B4-BE49-F238E27FC236}">
                <a16:creationId xmlns:a16="http://schemas.microsoft.com/office/drawing/2014/main" id="{F4FFF972-1615-F3C4-41D5-D76DDB6B7813}"/>
              </a:ext>
            </a:extLst>
          </p:cNvPr>
          <p:cNvSpPr txBox="1">
            <a:spLocks/>
          </p:cNvSpPr>
          <p:nvPr userDrawn="1"/>
        </p:nvSpPr>
        <p:spPr bwMode="gray">
          <a:xfrm>
            <a:off x="2193479" y="6479958"/>
            <a:ext cx="7950344" cy="215444"/>
          </a:xfrm>
          <a:prstGeom prst="rect">
            <a:avLst/>
          </a:prstGeom>
        </p:spPr>
        <p:txBody>
          <a:bodyPr vert="horz" wrap="square" lIns="0" tIns="0" rIns="0" bIns="0" rtlCol="0" anchor="ctr">
            <a:spAutoFit/>
          </a:bodyPr>
          <a:lstStyle>
            <a:defPPr>
              <a:defRPr lang="en-US"/>
            </a:defPPr>
            <a:lvl1pPr marL="0" algn="l" defTabSz="685800" rtl="0" eaLnBrk="1" latinLnBrk="0" hangingPunct="1">
              <a:defRPr sz="1050" kern="1200">
                <a:solidFill>
                  <a:schemeClr val="tx1"/>
                </a:solidFill>
                <a:latin typeface="+mj-lt"/>
                <a:ea typeface="+mn-ea"/>
                <a:cs typeface="Arial" pitchFamily="34" charset="0"/>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a:lstStyle>
          <a:p>
            <a:r>
              <a:rPr lang="en-US" sz="1400" dirty="0">
                <a:solidFill>
                  <a:schemeClr val="bg1"/>
                </a:solidFill>
              </a:rPr>
              <a:t>Enter Presentation Title in Footer Placeholder&gt;Apply to All</a:t>
            </a:r>
          </a:p>
        </p:txBody>
      </p:sp>
      <p:cxnSp>
        <p:nvCxnSpPr>
          <p:cNvPr id="4" name="Straight Connector 3">
            <a:extLst>
              <a:ext uri="{FF2B5EF4-FFF2-40B4-BE49-F238E27FC236}">
                <a16:creationId xmlns:a16="http://schemas.microsoft.com/office/drawing/2014/main" id="{6E9D8F39-714C-B7B6-395C-38E41B55C877}"/>
              </a:ext>
            </a:extLst>
          </p:cNvPr>
          <p:cNvCxnSpPr/>
          <p:nvPr userDrawn="1"/>
        </p:nvCxnSpPr>
        <p:spPr bwMode="gray">
          <a:xfrm>
            <a:off x="2" y="6587676"/>
            <a:ext cx="361244" cy="0"/>
          </a:xfrm>
          <a:prstGeom prst="line">
            <a:avLst/>
          </a:prstGeom>
          <a:ln w="4445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821BF96-2FD3-F13E-D857-6A7D8FC19C0E}"/>
              </a:ext>
            </a:extLst>
          </p:cNvPr>
          <p:cNvSpPr txBox="1"/>
          <p:nvPr userDrawn="1"/>
        </p:nvSpPr>
        <p:spPr bwMode="gray">
          <a:xfrm>
            <a:off x="553148" y="6479958"/>
            <a:ext cx="1428641" cy="215444"/>
          </a:xfrm>
          <a:prstGeom prst="rect">
            <a:avLst/>
          </a:prstGeom>
          <a:noFill/>
        </p:spPr>
        <p:txBody>
          <a:bodyPr wrap="square" lIns="0" tIns="0" rIns="0" bIns="0" rtlCol="0" anchor="ctr" anchorCtr="0">
            <a:spAutoFit/>
          </a:bodyPr>
          <a:lstStyle/>
          <a:p>
            <a:r>
              <a:rPr lang="en-US" sz="1400" dirty="0">
                <a:solidFill>
                  <a:schemeClr val="bg1"/>
                </a:solidFill>
                <a:latin typeface="+mj-lt"/>
                <a:cs typeface="Arial" pitchFamily="34" charset="0"/>
              </a:rPr>
              <a:t>UT MD Anderson</a:t>
            </a:r>
          </a:p>
        </p:txBody>
      </p:sp>
      <p:cxnSp>
        <p:nvCxnSpPr>
          <p:cNvPr id="6" name="Straight Connector 5">
            <a:extLst>
              <a:ext uri="{FF2B5EF4-FFF2-40B4-BE49-F238E27FC236}">
                <a16:creationId xmlns:a16="http://schemas.microsoft.com/office/drawing/2014/main" id="{3AD73622-2DEA-4A65-368B-05F9113862DF}"/>
              </a:ext>
            </a:extLst>
          </p:cNvPr>
          <p:cNvCxnSpPr/>
          <p:nvPr userDrawn="1"/>
        </p:nvCxnSpPr>
        <p:spPr bwMode="gray">
          <a:xfrm>
            <a:off x="2058944" y="6479957"/>
            <a:ext cx="0" cy="21945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86151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type="blank" preserve="1">
  <p:cSld name="1_Blank">
    <p:bg>
      <p:bgPr>
        <a:solidFill>
          <a:schemeClr val="bg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FD701788-5C44-F187-B05E-DB9443315205}"/>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352060" y="2698951"/>
            <a:ext cx="3499813" cy="1463040"/>
          </a:xfrm>
          <a:prstGeom prst="rect">
            <a:avLst/>
          </a:prstGeom>
        </p:spPr>
      </p:pic>
    </p:spTree>
    <p:extLst>
      <p:ext uri="{BB962C8B-B14F-4D97-AF65-F5344CB8AC3E}">
        <p14:creationId xmlns:p14="http://schemas.microsoft.com/office/powerpoint/2010/main" val="23879172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type="blank" preserve="1">
  <p:cSld name="2_Blank">
    <p:bg>
      <p:bgPr>
        <a:solidFill>
          <a:schemeClr val="accent2"/>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B687FAB8-735D-E8AB-A9FB-F6AAA7E52A19}"/>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4352060" y="2698953"/>
            <a:ext cx="3499813" cy="1463036"/>
          </a:xfrm>
          <a:prstGeom prst="rect">
            <a:avLst/>
          </a:prstGeom>
        </p:spPr>
      </p:pic>
    </p:spTree>
    <p:extLst>
      <p:ext uri="{BB962C8B-B14F-4D97-AF65-F5344CB8AC3E}">
        <p14:creationId xmlns:p14="http://schemas.microsoft.com/office/powerpoint/2010/main" val="24326168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B3D99E-58D8-4EA6-9027-7A11309981E5}"/>
              </a:ext>
            </a:extLst>
          </p:cNvPr>
          <p:cNvSpPr>
            <a:spLocks noGrp="1"/>
          </p:cNvSpPr>
          <p:nvPr>
            <p:ph type="title"/>
          </p:nvPr>
        </p:nvSpPr>
        <p:spPr>
          <a:xfrm>
            <a:off x="548640" y="1002665"/>
            <a:ext cx="11082528" cy="822960"/>
          </a:xfrm>
          <a:solidFill>
            <a:schemeClr val="bg1"/>
          </a:solidFill>
        </p:spPr>
        <p:txBody>
          <a:bodyPr anchor="ctr"/>
          <a:lstStyle>
            <a:lvl1pPr>
              <a:defRPr>
                <a:solidFill>
                  <a:schemeClr val="tx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F4AEFD56-79E0-47D3-8C8E-24F40C99D624}"/>
              </a:ext>
            </a:extLst>
          </p:cNvPr>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B1DC7564-9283-4D00-9E19-265C170686FA}"/>
              </a:ext>
            </a:extLst>
          </p:cNvPr>
          <p:cNvSpPr>
            <a:spLocks noGrp="1"/>
          </p:cNvSpPr>
          <p:nvPr>
            <p:ph type="ftr" sz="quarter" idx="11"/>
          </p:nvPr>
        </p:nvSpPr>
        <p:spPr/>
        <p:txBody>
          <a:bodyPr/>
          <a:lstStyle/>
          <a:p>
            <a:r>
              <a:rPr lang="en-US"/>
              <a:t>Westin - 2026 iwCART Are Bispecifics in 1L inevitable?</a:t>
            </a:r>
            <a:endParaRPr lang="en-US" dirty="0"/>
          </a:p>
        </p:txBody>
      </p:sp>
      <p:sp>
        <p:nvSpPr>
          <p:cNvPr id="6" name="Slide Number Placeholder 5">
            <a:extLst>
              <a:ext uri="{FF2B5EF4-FFF2-40B4-BE49-F238E27FC236}">
                <a16:creationId xmlns:a16="http://schemas.microsoft.com/office/drawing/2014/main" id="{F8DBD96E-38EE-4702-9BE3-91849825B714}"/>
              </a:ext>
            </a:extLst>
          </p:cNvPr>
          <p:cNvSpPr>
            <a:spLocks noGrp="1"/>
          </p:cNvSpPr>
          <p:nvPr>
            <p:ph type="sldNum" sz="quarter" idx="12"/>
          </p:nvPr>
        </p:nvSpPr>
        <p:spPr/>
        <p:txBody>
          <a:bodyPr/>
          <a:lstStyle/>
          <a:p>
            <a:fld id="{425F4DD7-F157-45BC-BAFF-BC6A887892A6}" type="slidenum">
              <a:rPr lang="en-US" smtClean="0"/>
              <a:pPr/>
              <a:t>‹#›</a:t>
            </a:fld>
            <a:endParaRPr lang="en-US" dirty="0"/>
          </a:p>
        </p:txBody>
      </p:sp>
    </p:spTree>
    <p:extLst>
      <p:ext uri="{BB962C8B-B14F-4D97-AF65-F5344CB8AC3E}">
        <p14:creationId xmlns:p14="http://schemas.microsoft.com/office/powerpoint/2010/main" val="28582301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D81868-9EDB-DF0C-6421-75B44560294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88006925-4F1D-3DE9-CB2A-163A61F70ED7}"/>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DB39096C-0245-B0CD-C56A-04ED23A295A3}"/>
              </a:ext>
            </a:extLst>
          </p:cNvPr>
          <p:cNvSpPr>
            <a:spLocks noGrp="1"/>
          </p:cNvSpPr>
          <p:nvPr>
            <p:ph type="dt" sz="half" idx="10"/>
          </p:nvPr>
        </p:nvSpPr>
        <p:spPr/>
        <p:txBody>
          <a:bodyPr/>
          <a:lstStyle/>
          <a:p>
            <a:endParaRPr lang="en-AU"/>
          </a:p>
        </p:txBody>
      </p:sp>
      <p:sp>
        <p:nvSpPr>
          <p:cNvPr id="5" name="Footer Placeholder 4">
            <a:extLst>
              <a:ext uri="{FF2B5EF4-FFF2-40B4-BE49-F238E27FC236}">
                <a16:creationId xmlns:a16="http://schemas.microsoft.com/office/drawing/2014/main" id="{CD0126CA-1BC5-2EA0-B2D4-DF931AD9658F}"/>
              </a:ext>
            </a:extLst>
          </p:cNvPr>
          <p:cNvSpPr>
            <a:spLocks noGrp="1"/>
          </p:cNvSpPr>
          <p:nvPr>
            <p:ph type="ftr" sz="quarter" idx="11"/>
          </p:nvPr>
        </p:nvSpPr>
        <p:spPr/>
        <p:txBody>
          <a:bodyPr/>
          <a:lstStyle/>
          <a:p>
            <a:r>
              <a:rPr lang="en-AU"/>
              <a:t>Westin - 2026 iwCART Are Bispecifics in 1L inevitable?</a:t>
            </a:r>
          </a:p>
        </p:txBody>
      </p:sp>
      <p:sp>
        <p:nvSpPr>
          <p:cNvPr id="6" name="Slide Number Placeholder 5">
            <a:extLst>
              <a:ext uri="{FF2B5EF4-FFF2-40B4-BE49-F238E27FC236}">
                <a16:creationId xmlns:a16="http://schemas.microsoft.com/office/drawing/2014/main" id="{A6059CCA-EAB0-54F9-8E7C-15E511A532DE}"/>
              </a:ext>
            </a:extLst>
          </p:cNvPr>
          <p:cNvSpPr>
            <a:spLocks noGrp="1"/>
          </p:cNvSpPr>
          <p:nvPr>
            <p:ph type="sldNum" sz="quarter" idx="12"/>
          </p:nvPr>
        </p:nvSpPr>
        <p:spPr/>
        <p:txBody>
          <a:bodyPr/>
          <a:lstStyle/>
          <a:p>
            <a:fld id="{AFCD76BF-0F21-4727-A03D-0E0EF90E5F76}" type="slidenum">
              <a:rPr lang="en-AU" smtClean="0"/>
              <a:t>‹#›</a:t>
            </a:fld>
            <a:endParaRPr lang="en-AU"/>
          </a:p>
        </p:txBody>
      </p:sp>
    </p:spTree>
    <p:extLst>
      <p:ext uri="{BB962C8B-B14F-4D97-AF65-F5344CB8AC3E}">
        <p14:creationId xmlns:p14="http://schemas.microsoft.com/office/powerpoint/2010/main" val="24422505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91340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userDrawn="1">
  <p:cSld name="Title Slide White logos">
    <p:bg>
      <p:bgPr>
        <a:gradFill>
          <a:gsLst>
            <a:gs pos="50000">
              <a:srgbClr val="00A195"/>
            </a:gs>
            <a:gs pos="0">
              <a:srgbClr val="071D49"/>
            </a:gs>
            <a:gs pos="100000">
              <a:srgbClr val="808285"/>
            </a:gs>
          </a:gsLst>
          <a:lin ang="0" scaled="1"/>
        </a:gradFill>
        <a:effectLst/>
      </p:bgPr>
    </p:bg>
    <p:spTree>
      <p:nvGrpSpPr>
        <p:cNvPr id="1" name=""/>
        <p:cNvGrpSpPr/>
        <p:nvPr/>
      </p:nvGrpSpPr>
      <p:grpSpPr>
        <a:xfrm>
          <a:off x="0" y="0"/>
          <a:ext cx="0" cy="0"/>
          <a:chOff x="0" y="0"/>
          <a:chExt cx="0" cy="0"/>
        </a:xfrm>
      </p:grpSpPr>
      <p:pic>
        <p:nvPicPr>
          <p:cNvPr id="9" name="smid ud"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9629"/>
          </a:xfrm>
          <a:prstGeom prst="rect">
            <a:avLst/>
          </a:prstGeom>
        </p:spPr>
      </p:pic>
      <p:sp>
        <p:nvSpPr>
          <p:cNvPr id="2" name="Title 1"/>
          <p:cNvSpPr>
            <a:spLocks noGrp="1"/>
          </p:cNvSpPr>
          <p:nvPr>
            <p:ph type="ctrTitle"/>
          </p:nvPr>
        </p:nvSpPr>
        <p:spPr>
          <a:xfrm>
            <a:off x="576001" y="576002"/>
            <a:ext cx="8228275" cy="3895639"/>
          </a:xfrm>
        </p:spPr>
        <p:txBody>
          <a:bodyPr anchor="t" anchorCtr="0"/>
          <a:lstStyle>
            <a:lvl1pPr algn="l">
              <a:lnSpc>
                <a:spcPct val="83000"/>
              </a:lnSpc>
              <a:defRPr sz="6500">
                <a:solidFill>
                  <a:schemeClr val="bg1"/>
                </a:solidFill>
              </a:defRPr>
            </a:lvl1pPr>
          </a:lstStyle>
          <a:p>
            <a:r>
              <a:rPr lang="en-US"/>
              <a:t>Click to edit Master title style</a:t>
            </a:r>
          </a:p>
        </p:txBody>
      </p:sp>
      <p:sp>
        <p:nvSpPr>
          <p:cNvPr id="4" name="Date_DateCustomA" hidden="1"/>
          <p:cNvSpPr>
            <a:spLocks noGrp="1"/>
          </p:cNvSpPr>
          <p:nvPr>
            <p:ph type="dt" sz="half" idx="10"/>
          </p:nvPr>
        </p:nvSpPr>
        <p:spPr>
          <a:xfrm>
            <a:off x="0" y="7020000"/>
            <a:ext cx="0" cy="0"/>
          </a:xfrm>
          <a:prstGeom prst="rect">
            <a:avLst/>
          </a:prstGeom>
        </p:spPr>
        <p:txBody>
          <a:bodyPr/>
          <a:lstStyle>
            <a:lvl1pPr>
              <a:defRPr sz="133">
                <a:noFill/>
              </a:defRPr>
            </a:lvl1pPr>
          </a:lstStyle>
          <a:p>
            <a:endParaRPr lang="en-US" dirty="0"/>
          </a:p>
        </p:txBody>
      </p:sp>
      <p:sp>
        <p:nvSpPr>
          <p:cNvPr id="5" name="FLD_PresentationTitle" hidden="1"/>
          <p:cNvSpPr>
            <a:spLocks noGrp="1"/>
          </p:cNvSpPr>
          <p:nvPr>
            <p:ph type="ftr" sz="quarter" idx="11"/>
          </p:nvPr>
        </p:nvSpPr>
        <p:spPr>
          <a:xfrm>
            <a:off x="0" y="6549552"/>
            <a:ext cx="0" cy="940899"/>
          </a:xfrm>
          <a:prstGeom prst="rect">
            <a:avLst/>
          </a:prstGeom>
        </p:spPr>
        <p:txBody>
          <a:bodyPr/>
          <a:lstStyle>
            <a:lvl1pPr>
              <a:defRPr sz="133">
                <a:noFill/>
              </a:defRPr>
            </a:lvl1pPr>
          </a:lstStyle>
          <a:p>
            <a:r>
              <a:rPr lang="en-US"/>
              <a:t>Westin - 2026 iwCART Are Bispecifics in 1L inevitable?</a:t>
            </a:r>
            <a:endParaRPr lang="en-US" dirty="0"/>
          </a:p>
        </p:txBody>
      </p:sp>
      <p:sp>
        <p:nvSpPr>
          <p:cNvPr id="6" name="Slide Number Placeholder 5" hidden="1"/>
          <p:cNvSpPr>
            <a:spLocks noGrp="1"/>
          </p:cNvSpPr>
          <p:nvPr>
            <p:ph type="sldNum" sz="quarter" idx="12"/>
          </p:nvPr>
        </p:nvSpPr>
        <p:spPr>
          <a:xfrm>
            <a:off x="0" y="6989223"/>
            <a:ext cx="0" cy="61555"/>
          </a:xfrm>
          <a:prstGeom prst="rect">
            <a:avLst/>
          </a:prstGeom>
        </p:spPr>
        <p:txBody>
          <a:bodyPr/>
          <a:lstStyle>
            <a:lvl1pPr>
              <a:defRPr sz="133">
                <a:noFill/>
              </a:defRPr>
            </a:lvl1pPr>
          </a:lstStyle>
          <a:p>
            <a:fld id="{24C8C45C-947F-4981-8B3F-4F32E973C901}" type="slidenum">
              <a:rPr lang="en-US" smtClean="0"/>
              <a:pPr/>
              <a:t>‹#›</a:t>
            </a:fld>
            <a:endParaRPr lang="en-US" dirty="0"/>
          </a:p>
        </p:txBody>
      </p:sp>
      <p:sp>
        <p:nvSpPr>
          <p:cNvPr id="3" name="TextBox 2">
            <a:extLst>
              <a:ext uri="{FF2B5EF4-FFF2-40B4-BE49-F238E27FC236}">
                <a16:creationId xmlns:a16="http://schemas.microsoft.com/office/drawing/2014/main" id="{35F6E75E-67FF-D99C-3805-2051B66ACFA5}"/>
              </a:ext>
            </a:extLst>
          </p:cNvPr>
          <p:cNvSpPr txBox="1"/>
          <p:nvPr userDrawn="1"/>
        </p:nvSpPr>
        <p:spPr>
          <a:xfrm>
            <a:off x="0" y="6391719"/>
            <a:ext cx="12192000" cy="466281"/>
          </a:xfrm>
          <a:prstGeom prst="rect">
            <a:avLst/>
          </a:prstGeom>
          <a:noFill/>
        </p:spPr>
        <p:txBody>
          <a:bodyPr wrap="square">
            <a:spAutoFit/>
          </a:bodyPr>
          <a:lstStyle/>
          <a:p>
            <a:pPr marL="0" marR="0" lvl="0" indent="0" algn="ctr" defTabSz="457131" rtl="0" eaLnBrk="1" fontAlgn="base" latinLnBrk="0" hangingPunct="1">
              <a:lnSpc>
                <a:spcPct val="90000"/>
              </a:lnSpc>
              <a:spcBef>
                <a:spcPct val="0"/>
              </a:spcBef>
              <a:spcAft>
                <a:spcPct val="0"/>
              </a:spcAft>
              <a:buClrTx/>
              <a:buSzTx/>
              <a:buFontTx/>
              <a:buNone/>
              <a:defRPr/>
            </a:pPr>
            <a:r>
              <a:rPr kumimoji="0" lang="en-US" altLang="en-US" sz="900" b="0" i="0" u="none" strike="noStrike" kern="1200" cap="none" spc="0" normalizeH="0" baseline="0" noProof="0" dirty="0">
                <a:ln>
                  <a:noFill/>
                </a:ln>
                <a:solidFill>
                  <a:schemeClr val="bg1"/>
                </a:solidFill>
                <a:effectLst/>
                <a:uLnTx/>
                <a:uFillTx/>
                <a:latin typeface="+mj-lt"/>
                <a:ea typeface="+mn-ea"/>
                <a:cs typeface="+mn-cs"/>
              </a:rPr>
              <a:t>The safety and efficacy of investigational agents and/or investigational uses of approved products have not been established.</a:t>
            </a:r>
          </a:p>
          <a:p>
            <a:pPr marL="0" marR="0" lvl="0" indent="0" algn="ctr" defTabSz="457131" rtl="0" eaLnBrk="1" fontAlgn="base" latinLnBrk="0" hangingPunct="1">
              <a:lnSpc>
                <a:spcPct val="90000"/>
              </a:lnSpc>
              <a:spcBef>
                <a:spcPct val="0"/>
              </a:spcBef>
              <a:spcAft>
                <a:spcPct val="0"/>
              </a:spcAft>
              <a:buClrTx/>
              <a:buSzTx/>
              <a:buFontTx/>
              <a:buNone/>
              <a:defRPr/>
            </a:pPr>
            <a:r>
              <a:rPr kumimoji="0" lang="en-US" altLang="en-US" sz="900" b="0" i="0" u="none" strike="noStrike" kern="1200" cap="none" spc="0" normalizeH="0" baseline="0" noProof="0" dirty="0">
                <a:ln>
                  <a:noFill/>
                </a:ln>
                <a:solidFill>
                  <a:schemeClr val="bg1"/>
                </a:solidFill>
                <a:effectLst/>
                <a:uLnTx/>
                <a:uFillTx/>
                <a:latin typeface="+mj-lt"/>
                <a:ea typeface="+mn-ea"/>
                <a:cs typeface="+mn-cs"/>
              </a:rPr>
              <a:t>For Reactive Use Only – Not For Distribution  |  Reused with permission from the American Society of Hematology. © 2024 The Authors. All rights reserved. Officially licensed by ASH for distribution via Genmab.</a:t>
            </a:r>
          </a:p>
          <a:p>
            <a:pPr marL="0" marR="0" lvl="0" indent="0" algn="ctr" defTabSz="457131" rtl="0" eaLnBrk="1" fontAlgn="base" latinLnBrk="0" hangingPunct="1">
              <a:lnSpc>
                <a:spcPct val="90000"/>
              </a:lnSpc>
              <a:spcBef>
                <a:spcPct val="0"/>
              </a:spcBef>
              <a:spcAft>
                <a:spcPct val="0"/>
              </a:spcAft>
              <a:buClrTx/>
              <a:buSzTx/>
              <a:buFontTx/>
              <a:buNone/>
              <a:defRPr/>
            </a:pPr>
            <a:r>
              <a:rPr kumimoji="0" lang="en-US" altLang="en-US" sz="900" b="0" i="0" u="none" strike="noStrike" kern="1200" cap="none" spc="0" normalizeH="0" baseline="0" noProof="0" dirty="0">
                <a:ln>
                  <a:noFill/>
                </a:ln>
                <a:solidFill>
                  <a:schemeClr val="bg1"/>
                </a:solidFill>
                <a:effectLst/>
                <a:uLnTx/>
                <a:uFillTx/>
                <a:latin typeface="+mj-lt"/>
                <a:ea typeface="+mn-ea"/>
                <a:cs typeface="+mn-cs"/>
              </a:rPr>
              <a:t>Provided in response to an unsolicited Medical Information request and for personal use only. Not for further distribution and should not be altered or published.</a:t>
            </a:r>
          </a:p>
        </p:txBody>
      </p:sp>
    </p:spTree>
    <p:extLst>
      <p:ext uri="{BB962C8B-B14F-4D97-AF65-F5344CB8AC3E}">
        <p14:creationId xmlns:p14="http://schemas.microsoft.com/office/powerpoint/2010/main" val="146132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7395">
          <p15:clr>
            <a:srgbClr val="F26B43"/>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Titolo e contenuto">
    <p:spTree>
      <p:nvGrpSpPr>
        <p:cNvPr id="1" name=""/>
        <p:cNvGrpSpPr/>
        <p:nvPr/>
      </p:nvGrpSpPr>
      <p:grpSpPr>
        <a:xfrm>
          <a:off x="0" y="0"/>
          <a:ext cx="0" cy="0"/>
          <a:chOff x="0" y="0"/>
          <a:chExt cx="0" cy="0"/>
        </a:xfrm>
      </p:grpSpPr>
      <p:sp>
        <p:nvSpPr>
          <p:cNvPr id="23" name="Numero diapositiva"/>
          <p:cNvSpPr txBox="1">
            <a:spLocks noGrp="1"/>
          </p:cNvSpPr>
          <p:nvPr>
            <p:ph type="sldNum" sz="quarter" idx="2"/>
          </p:nvPr>
        </p:nvSpPr>
        <p:spPr>
          <a:prstGeom prst="rect">
            <a:avLst/>
          </a:prstGeom>
        </p:spPr>
        <p:txBody>
          <a:bodyPr/>
          <a:lstStyle/>
          <a:p>
            <a:fld id="{86CB4B4D-7CA3-9044-876B-883B54F8677D}" type="slidenum">
              <a:t>‹#›</a:t>
            </a:fld>
            <a:endParaRPr dirty="0"/>
          </a:p>
        </p:txBody>
      </p:sp>
      <p:sp>
        <p:nvSpPr>
          <p:cNvPr id="2" name="TextBox 1">
            <a:extLst>
              <a:ext uri="{FF2B5EF4-FFF2-40B4-BE49-F238E27FC236}">
                <a16:creationId xmlns:a16="http://schemas.microsoft.com/office/drawing/2014/main" id="{A286281F-A4FD-E65B-9466-17612A0C5B2B}"/>
              </a:ext>
            </a:extLst>
          </p:cNvPr>
          <p:cNvSpPr txBox="1"/>
          <p:nvPr userDrawn="1"/>
        </p:nvSpPr>
        <p:spPr>
          <a:xfrm>
            <a:off x="0" y="6502556"/>
            <a:ext cx="12192000" cy="424732"/>
          </a:xfrm>
          <a:prstGeom prst="rect">
            <a:avLst/>
          </a:prstGeom>
          <a:noFill/>
        </p:spPr>
        <p:txBody>
          <a:bodyPr wrap="square">
            <a:spAutoFit/>
          </a:bodyPr>
          <a:lstStyle/>
          <a:p>
            <a:pPr marL="0" marR="0" lvl="0" indent="0" algn="ctr" defTabSz="457131" rtl="0" eaLnBrk="1" fontAlgn="base" latinLnBrk="0" hangingPunct="1">
              <a:lnSpc>
                <a:spcPct val="90000"/>
              </a:lnSpc>
              <a:spcBef>
                <a:spcPct val="0"/>
              </a:spcBef>
              <a:spcAft>
                <a:spcPct val="0"/>
              </a:spcAft>
              <a:buClrTx/>
              <a:buSzTx/>
              <a:buFontTx/>
              <a:buNone/>
              <a:defRPr/>
            </a:pPr>
            <a:r>
              <a:rPr kumimoji="0" lang="en-US" altLang="en-US" sz="800" b="0" i="0" u="none" strike="noStrike" kern="1200" cap="none" spc="0" normalizeH="0" baseline="0" noProof="0" dirty="0">
                <a:ln>
                  <a:noFill/>
                </a:ln>
                <a:solidFill>
                  <a:schemeClr val="bg1"/>
                </a:solidFill>
                <a:effectLst/>
                <a:uLnTx/>
                <a:uFillTx/>
                <a:latin typeface="+mj-lt"/>
                <a:ea typeface="+mn-ea"/>
                <a:cs typeface="+mn-cs"/>
              </a:rPr>
              <a:t>The safety and efficacy of investigational agents and/or investigational uses of approved products have not been established.</a:t>
            </a:r>
          </a:p>
          <a:p>
            <a:pPr marL="0" marR="0" lvl="0" indent="0" algn="ctr" defTabSz="457131" rtl="0" eaLnBrk="1" fontAlgn="base" latinLnBrk="0" hangingPunct="1">
              <a:lnSpc>
                <a:spcPct val="90000"/>
              </a:lnSpc>
              <a:spcBef>
                <a:spcPct val="0"/>
              </a:spcBef>
              <a:spcAft>
                <a:spcPct val="0"/>
              </a:spcAft>
              <a:buClrTx/>
              <a:buSzTx/>
              <a:buFontTx/>
              <a:buNone/>
              <a:defRPr/>
            </a:pPr>
            <a:r>
              <a:rPr kumimoji="0" lang="en-US" altLang="en-US" sz="800" b="0" i="0" u="none" strike="noStrike" kern="1200" cap="none" spc="0" normalizeH="0" baseline="0" noProof="0" dirty="0">
                <a:ln>
                  <a:noFill/>
                </a:ln>
                <a:solidFill>
                  <a:schemeClr val="bg1"/>
                </a:solidFill>
                <a:effectLst/>
                <a:uLnTx/>
                <a:uFillTx/>
                <a:latin typeface="+mj-lt"/>
                <a:ea typeface="+mn-ea"/>
                <a:cs typeface="+mn-cs"/>
              </a:rPr>
              <a:t>For Reactive Use Only – Not For Distribution  |  Reused with permission from the American Society of Hematology. © 2024 The Authors. All rights reserved. Officially licensed by ASH for distribution via Genmab.</a:t>
            </a:r>
          </a:p>
          <a:p>
            <a:pPr marL="0" marR="0" lvl="0" indent="0" algn="ctr" defTabSz="457131" rtl="0" eaLnBrk="1" fontAlgn="base" latinLnBrk="0" hangingPunct="1">
              <a:lnSpc>
                <a:spcPct val="90000"/>
              </a:lnSpc>
              <a:spcBef>
                <a:spcPct val="0"/>
              </a:spcBef>
              <a:spcAft>
                <a:spcPct val="0"/>
              </a:spcAft>
              <a:buClrTx/>
              <a:buSzTx/>
              <a:buFontTx/>
              <a:buNone/>
              <a:defRPr/>
            </a:pPr>
            <a:r>
              <a:rPr kumimoji="0" lang="en-US" altLang="en-US" sz="800" b="0" i="0" u="none" strike="noStrike" kern="1200" cap="none" spc="0" normalizeH="0" baseline="0" noProof="0" dirty="0">
                <a:ln>
                  <a:noFill/>
                </a:ln>
                <a:solidFill>
                  <a:schemeClr val="bg1"/>
                </a:solidFill>
                <a:effectLst/>
                <a:uLnTx/>
                <a:uFillTx/>
                <a:latin typeface="+mj-lt"/>
                <a:ea typeface="+mn-ea"/>
                <a:cs typeface="+mn-cs"/>
              </a:rPr>
              <a:t>Provided in response to an unsolicited Medical Information request and for personal use only. Not for further distribution and should not be altered or published.</a:t>
            </a:r>
          </a:p>
        </p:txBody>
      </p:sp>
    </p:spTree>
    <p:extLst>
      <p:ext uri="{BB962C8B-B14F-4D97-AF65-F5344CB8AC3E}">
        <p14:creationId xmlns:p14="http://schemas.microsoft.com/office/powerpoint/2010/main" val="3463435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6" name="Graphic 5">
            <a:extLst>
              <a:ext uri="{FF2B5EF4-FFF2-40B4-BE49-F238E27FC236}">
                <a16:creationId xmlns:a16="http://schemas.microsoft.com/office/drawing/2014/main" id="{D05B777D-E47C-34D6-A7CD-0EB68C62730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572372" y="6190106"/>
            <a:ext cx="1975103" cy="329184"/>
          </a:xfrm>
          <a:prstGeom prst="rect">
            <a:avLst/>
          </a:prstGeom>
        </p:spPr>
      </p:pic>
      <p:pic>
        <p:nvPicPr>
          <p:cNvPr id="8" name="Picture 7" descr="A blue text on a black background&#10;&#10;AI-generated content may be incorrect.">
            <a:extLst>
              <a:ext uri="{FF2B5EF4-FFF2-40B4-BE49-F238E27FC236}">
                <a16:creationId xmlns:a16="http://schemas.microsoft.com/office/drawing/2014/main" id="{E4BFB5B2-7D99-278F-1E2D-A55583A66C2F}"/>
              </a:ext>
            </a:extLst>
          </p:cNvPr>
          <p:cNvPicPr>
            <a:picLocks noChangeAspect="1"/>
          </p:cNvPicPr>
          <p:nvPr userDrawn="1"/>
        </p:nvPicPr>
        <p:blipFill>
          <a:blip r:embed="rId3"/>
          <a:stretch>
            <a:fillRect/>
          </a:stretch>
        </p:blipFill>
        <p:spPr>
          <a:xfrm>
            <a:off x="662810" y="749663"/>
            <a:ext cx="2750674" cy="383197"/>
          </a:xfrm>
          <a:prstGeom prst="rect">
            <a:avLst/>
          </a:prstGeom>
        </p:spPr>
      </p:pic>
    </p:spTree>
    <p:extLst>
      <p:ext uri="{BB962C8B-B14F-4D97-AF65-F5344CB8AC3E}">
        <p14:creationId xmlns:p14="http://schemas.microsoft.com/office/powerpoint/2010/main" val="19989479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0856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39179555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33956820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1079704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Tree>
    <p:extLst>
      <p:ext uri="{BB962C8B-B14F-4D97-AF65-F5344CB8AC3E}">
        <p14:creationId xmlns:p14="http://schemas.microsoft.com/office/powerpoint/2010/main" val="21787803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a:xfrm>
            <a:off x="3336324" y="6362188"/>
            <a:ext cx="7707596" cy="153888"/>
          </a:xfrm>
          <a:prstGeom prst="rect">
            <a:avLst/>
          </a:prstGeom>
        </p:spPr>
        <p:txBody>
          <a:bodyPr/>
          <a:lstStyle/>
          <a:p>
            <a:endParaRPr lang="en-US"/>
          </a:p>
        </p:txBody>
      </p:sp>
    </p:spTree>
    <p:extLst>
      <p:ext uri="{BB962C8B-B14F-4D97-AF65-F5344CB8AC3E}">
        <p14:creationId xmlns:p14="http://schemas.microsoft.com/office/powerpoint/2010/main" val="9834880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a:xfrm>
            <a:off x="3336324" y="6362188"/>
            <a:ext cx="7707596" cy="153888"/>
          </a:xfrm>
          <a:prstGeom prst="rect">
            <a:avLst/>
          </a:prstGeom>
        </p:spPr>
        <p:txBody>
          <a:bodyPr/>
          <a:lstStyle/>
          <a:p>
            <a:endParaRPr lang="en-US"/>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07613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1575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dirty="0"/>
              <a:t>Click icon to add table</a:t>
            </a:r>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a:xfrm>
            <a:off x="3336324" y="6362188"/>
            <a:ext cx="7707596" cy="153888"/>
          </a:xfrm>
          <a:prstGeom prst="rect">
            <a:avLst/>
          </a:prstGeom>
        </p:spPr>
        <p:txBody>
          <a:bodyPr/>
          <a:lstStyle/>
          <a:p>
            <a:endParaRPr lang="en-US"/>
          </a:p>
        </p:txBody>
      </p:sp>
    </p:spTree>
    <p:extLst>
      <p:ext uri="{BB962C8B-B14F-4D97-AF65-F5344CB8AC3E}">
        <p14:creationId xmlns:p14="http://schemas.microsoft.com/office/powerpoint/2010/main" val="24692318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a:xfrm>
            <a:off x="3336324" y="6362188"/>
            <a:ext cx="7707596" cy="153888"/>
          </a:xfrm>
          <a:prstGeom prst="rect">
            <a:avLst/>
          </a:prstGeom>
        </p:spPr>
        <p:txBody>
          <a:bodyPr/>
          <a:lstStyle/>
          <a:p>
            <a:endParaRPr lang="en-US"/>
          </a:p>
        </p:txBody>
      </p:sp>
    </p:spTree>
    <p:extLst>
      <p:ext uri="{BB962C8B-B14F-4D97-AF65-F5344CB8AC3E}">
        <p14:creationId xmlns:p14="http://schemas.microsoft.com/office/powerpoint/2010/main" val="23449070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a:xfrm>
            <a:off x="3336324" y="6362188"/>
            <a:ext cx="7707596" cy="153888"/>
          </a:xfrm>
          <a:prstGeom prst="rect">
            <a:avLst/>
          </a:prstGeom>
        </p:spPr>
        <p:txBody>
          <a:bodyPr/>
          <a:lstStyle/>
          <a:p>
            <a:endParaRPr lang="en-US"/>
          </a:p>
        </p:txBody>
      </p:sp>
    </p:spTree>
    <p:extLst>
      <p:ext uri="{BB962C8B-B14F-4D97-AF65-F5344CB8AC3E}">
        <p14:creationId xmlns:p14="http://schemas.microsoft.com/office/powerpoint/2010/main" val="37233764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20735744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a:xfrm>
            <a:off x="3336324" y="6362188"/>
            <a:ext cx="7707596" cy="153888"/>
          </a:xfrm>
          <a:prstGeom prst="rect">
            <a:avLst/>
          </a:prstGeom>
        </p:spPr>
        <p:txBody>
          <a:bodyPr/>
          <a:lstStyle/>
          <a:p>
            <a:endParaRPr lang="en-US"/>
          </a:p>
        </p:txBody>
      </p:sp>
    </p:spTree>
    <p:extLst>
      <p:ext uri="{BB962C8B-B14F-4D97-AF65-F5344CB8AC3E}">
        <p14:creationId xmlns:p14="http://schemas.microsoft.com/office/powerpoint/2010/main" val="37901754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a:xfrm>
            <a:off x="3336324" y="6362188"/>
            <a:ext cx="7707596" cy="153888"/>
          </a:xfrm>
          <a:prstGeom prst="rect">
            <a:avLst/>
          </a:prstGeom>
        </p:spPr>
        <p:txBody>
          <a:bodyPr/>
          <a:lstStyle/>
          <a:p>
            <a:endParaRPr lang="en-US"/>
          </a:p>
        </p:txBody>
      </p:sp>
    </p:spTree>
    <p:extLst>
      <p:ext uri="{BB962C8B-B14F-4D97-AF65-F5344CB8AC3E}">
        <p14:creationId xmlns:p14="http://schemas.microsoft.com/office/powerpoint/2010/main" val="16130777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42529403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192000" cy="1048512"/>
          </a:xfrm>
          <a:prstGeom prst="rect">
            <a:avLst/>
          </a:prstGeom>
        </p:spPr>
        <p:txBody>
          <a:bodyPr bIns="0">
            <a:noAutofit/>
          </a:bodyPr>
          <a:lstStyle>
            <a:lvl1pPr>
              <a:defRPr/>
            </a:lvl1pPr>
          </a:lstStyle>
          <a:p>
            <a:r>
              <a:rPr lang="en-US" dirty="0"/>
              <a:t>Click to edit title</a:t>
            </a:r>
          </a:p>
        </p:txBody>
      </p:sp>
      <p:sp>
        <p:nvSpPr>
          <p:cNvPr id="3" name="Content Placeholder 2"/>
          <p:cNvSpPr>
            <a:spLocks noGrp="1"/>
          </p:cNvSpPr>
          <p:nvPr>
            <p:ph idx="1" hasCustomPrompt="1"/>
          </p:nvPr>
        </p:nvSpPr>
        <p:spPr>
          <a:xfrm>
            <a:off x="237067" y="1158240"/>
            <a:ext cx="11717867" cy="4995968"/>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p:cNvSpPr>
            <a:spLocks noGrp="1"/>
          </p:cNvSpPr>
          <p:nvPr>
            <p:ph type="ftr" sz="quarter" idx="10"/>
          </p:nvPr>
        </p:nvSpPr>
        <p:spPr/>
        <p:txBody>
          <a:bodyPr/>
          <a:lstStyle>
            <a:lvl1pPr algn="l">
              <a:defRPr/>
            </a:lvl1pPr>
          </a:lstStyle>
          <a:p>
            <a:pPr>
              <a:defRPr/>
            </a:pPr>
            <a:endParaRPr lang="en-US" dirty="0"/>
          </a:p>
        </p:txBody>
      </p:sp>
      <p:sp>
        <p:nvSpPr>
          <p:cNvPr id="5" name="Slide Number Placeholder 5"/>
          <p:cNvSpPr>
            <a:spLocks noGrp="1"/>
          </p:cNvSpPr>
          <p:nvPr>
            <p:ph type="sldNum" sz="quarter" idx="11"/>
          </p:nvPr>
        </p:nvSpPr>
        <p:spPr/>
        <p:txBody>
          <a:bodyPr/>
          <a:lstStyle>
            <a:lvl1pPr algn="l">
              <a:defRPr/>
            </a:lvl1pPr>
          </a:lstStyle>
          <a:p>
            <a:pPr>
              <a:defRPr/>
            </a:pPr>
            <a:fld id="{5C56CD90-8224-413F-A5C5-11C249D26586}" type="slidenum">
              <a:rPr lang="en-US" smtClean="0"/>
              <a:pPr>
                <a:defRPr/>
              </a:pPr>
              <a:t>‹#›</a:t>
            </a:fld>
            <a:endParaRPr lang="en-US" dirty="0"/>
          </a:p>
        </p:txBody>
      </p:sp>
      <p:sp>
        <p:nvSpPr>
          <p:cNvPr id="7" name="TextBox 6">
            <a:extLst>
              <a:ext uri="{FF2B5EF4-FFF2-40B4-BE49-F238E27FC236}">
                <a16:creationId xmlns:a16="http://schemas.microsoft.com/office/drawing/2014/main" id="{49653B58-7B72-4A90-9F1B-DE2718A7CB51}"/>
              </a:ext>
            </a:extLst>
          </p:cNvPr>
          <p:cNvSpPr txBox="1"/>
          <p:nvPr userDrawn="1"/>
        </p:nvSpPr>
        <p:spPr>
          <a:xfrm>
            <a:off x="1" y="6602467"/>
            <a:ext cx="12191999" cy="252492"/>
          </a:xfrm>
          <a:prstGeom prst="rect">
            <a:avLst/>
          </a:prstGeom>
          <a:noFill/>
        </p:spPr>
        <p:txBody>
          <a:bodyPr wrap="square" lIns="0" tIns="0" rIns="0" bIns="0" rtlCol="0" anchor="ctr">
            <a:noAutofit/>
          </a:bodyPr>
          <a:lstStyle/>
          <a:p>
            <a:pPr algn="ctr"/>
            <a:r>
              <a:rPr lang="en-US" sz="1427" b="0" dirty="0">
                <a:solidFill>
                  <a:schemeClr val="bg1"/>
                </a:solidFill>
              </a:rPr>
              <a:t>Locke et al    	   ASH 2021           Plenary Abstract 2</a:t>
            </a:r>
          </a:p>
        </p:txBody>
      </p:sp>
    </p:spTree>
    <p:extLst>
      <p:ext uri="{BB962C8B-B14F-4D97-AF65-F5344CB8AC3E}">
        <p14:creationId xmlns:p14="http://schemas.microsoft.com/office/powerpoint/2010/main" val="41131582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110074"/>
            <a:ext cx="10792179" cy="1138367"/>
          </a:xfrm>
        </p:spPr>
        <p:txBody>
          <a:bodyPr/>
          <a:lstStyle/>
          <a:p>
            <a:r>
              <a:rPr lang="en-US" dirty="0"/>
              <a:t>Click to edit Master title style</a:t>
            </a:r>
          </a:p>
        </p:txBody>
      </p:sp>
      <p:sp>
        <p:nvSpPr>
          <p:cNvPr id="3" name="Slide Number Placeholder 5">
            <a:extLst>
              <a:ext uri="{FF2B5EF4-FFF2-40B4-BE49-F238E27FC236}">
                <a16:creationId xmlns:a16="http://schemas.microsoft.com/office/drawing/2014/main" id="{E0A17520-171D-0642-9E2B-0F8E1436C9BB}"/>
              </a:ext>
            </a:extLst>
          </p:cNvPr>
          <p:cNvSpPr>
            <a:spLocks noGrp="1"/>
          </p:cNvSpPr>
          <p:nvPr>
            <p:ph type="sldNum" sz="quarter" idx="4"/>
          </p:nvPr>
        </p:nvSpPr>
        <p:spPr>
          <a:xfrm>
            <a:off x="11425287" y="6463722"/>
            <a:ext cx="699911" cy="284207"/>
          </a:xfrm>
          <a:prstGeom prst="rect">
            <a:avLst/>
          </a:prstGeom>
        </p:spPr>
        <p:txBody>
          <a:bodyPr lIns="182880" anchor="ctr"/>
          <a:lstStyle>
            <a:lvl1pPr algn="l">
              <a:defRPr sz="1200">
                <a:solidFill>
                  <a:schemeClr val="accent2"/>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F39B6D79-1C47-B44F-8CCD-365B5D26CC50}"/>
              </a:ext>
            </a:extLst>
          </p:cNvPr>
          <p:cNvSpPr>
            <a:spLocks noGrp="1"/>
          </p:cNvSpPr>
          <p:nvPr>
            <p:ph type="body" sz="quarter" idx="10"/>
          </p:nvPr>
        </p:nvSpPr>
        <p:spPr>
          <a:xfrm>
            <a:off x="699911" y="6197601"/>
            <a:ext cx="6923403" cy="550329"/>
          </a:xfrm>
        </p:spPr>
        <p:txBody>
          <a:bodyPr anchor="b">
            <a:noAutofit/>
          </a:bodyPr>
          <a:lstStyle>
            <a:lvl1pPr marL="0" indent="0">
              <a:spcAft>
                <a:spcPts val="0"/>
              </a:spcAft>
              <a:buNone/>
              <a:defRPr sz="1000"/>
            </a:lvl1pPr>
            <a:lvl2pPr marL="457189" indent="0">
              <a:buNone/>
              <a:defRPr sz="1000"/>
            </a:lvl2pPr>
            <a:lvl3pPr marL="914377" indent="0">
              <a:buNone/>
              <a:defRPr sz="1000"/>
            </a:lvl3pPr>
            <a:lvl4pPr marL="1371566" indent="0">
              <a:buNone/>
              <a:defRPr sz="1000"/>
            </a:lvl4pPr>
            <a:lvl5pPr marL="1828754" indent="0">
              <a:buNone/>
              <a:defRPr sz="1000"/>
            </a:lvl5pPr>
          </a:lstStyle>
          <a:p>
            <a:pPr lvl="0"/>
            <a:r>
              <a:rPr lang="en-US" dirty="0"/>
              <a:t>Click to edit Master text styles</a:t>
            </a:r>
          </a:p>
        </p:txBody>
      </p:sp>
    </p:spTree>
    <p:extLst>
      <p:ext uri="{BB962C8B-B14F-4D97-AF65-F5344CB8AC3E}">
        <p14:creationId xmlns:p14="http://schemas.microsoft.com/office/powerpoint/2010/main" val="42732571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9" name="Rectangle 1033"/>
          <p:cNvSpPr>
            <a:spLocks noChangeArrowheads="1"/>
          </p:cNvSpPr>
          <p:nvPr userDrawn="1"/>
        </p:nvSpPr>
        <p:spPr bwMode="auto">
          <a:xfrm>
            <a:off x="0" y="1441450"/>
            <a:ext cx="12192000" cy="5416550"/>
          </a:xfrm>
          <a:prstGeom prst="rect">
            <a:avLst/>
          </a:prstGeom>
          <a:solidFill>
            <a:srgbClr val="28972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7" rIns="91437"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defRPr/>
            </a:pPr>
            <a:endParaRPr lang="en-US" altLang="en-US" sz="2400"/>
          </a:p>
        </p:txBody>
      </p:sp>
      <p:sp>
        <p:nvSpPr>
          <p:cNvPr id="8" name="Rectangle 1033"/>
          <p:cNvSpPr>
            <a:spLocks noChangeArrowheads="1"/>
          </p:cNvSpPr>
          <p:nvPr userDrawn="1"/>
        </p:nvSpPr>
        <p:spPr bwMode="auto">
          <a:xfrm>
            <a:off x="0" y="1441450"/>
            <a:ext cx="12192000" cy="5416550"/>
          </a:xfrm>
          <a:prstGeom prst="rect">
            <a:avLst/>
          </a:prstGeom>
          <a:solidFill>
            <a:srgbClr val="EEA42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7" rIns="91437"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defRPr/>
            </a:pPr>
            <a:endParaRPr lang="en-US" altLang="en-US" sz="2400"/>
          </a:p>
        </p:txBody>
      </p:sp>
      <p:sp>
        <p:nvSpPr>
          <p:cNvPr id="7" name="Rectangle 1033"/>
          <p:cNvSpPr>
            <a:spLocks noChangeArrowheads="1"/>
          </p:cNvSpPr>
          <p:nvPr userDrawn="1"/>
        </p:nvSpPr>
        <p:spPr bwMode="auto">
          <a:xfrm>
            <a:off x="0" y="1441450"/>
            <a:ext cx="12192000" cy="5416550"/>
          </a:xfrm>
          <a:prstGeom prst="rect">
            <a:avLst/>
          </a:prstGeom>
          <a:solidFill>
            <a:srgbClr val="2CC3E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7" rIns="91437"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defRPr/>
            </a:pPr>
            <a:endParaRPr lang="en-US" altLang="en-US" sz="2400"/>
          </a:p>
        </p:txBody>
      </p:sp>
      <p:sp>
        <p:nvSpPr>
          <p:cNvPr id="4" name="Rectangle 1033"/>
          <p:cNvSpPr>
            <a:spLocks noChangeArrowheads="1"/>
          </p:cNvSpPr>
          <p:nvPr userDrawn="1"/>
        </p:nvSpPr>
        <p:spPr bwMode="auto">
          <a:xfrm>
            <a:off x="0" y="1441450"/>
            <a:ext cx="12192000" cy="5416550"/>
          </a:xfrm>
          <a:prstGeom prst="rect">
            <a:avLst/>
          </a:prstGeom>
          <a:solidFill>
            <a:srgbClr val="296D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7" rIns="91437"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defRPr/>
            </a:pPr>
            <a:endParaRPr lang="en-US" altLang="en-US" sz="2400"/>
          </a:p>
        </p:txBody>
      </p:sp>
      <p:sp>
        <p:nvSpPr>
          <p:cNvPr id="10" name="Title 1"/>
          <p:cNvSpPr>
            <a:spLocks noGrp="1"/>
          </p:cNvSpPr>
          <p:nvPr>
            <p:ph type="title"/>
          </p:nvPr>
        </p:nvSpPr>
        <p:spPr>
          <a:xfrm>
            <a:off x="458076" y="4332633"/>
            <a:ext cx="10363200" cy="1362075"/>
          </a:xfrm>
        </p:spPr>
        <p:txBody>
          <a:bodyPr anchor="t"/>
          <a:lstStyle>
            <a:lvl1pPr algn="l">
              <a:defRPr sz="3600" b="1" cap="none" baseline="0">
                <a:solidFill>
                  <a:schemeClr val="bg1"/>
                </a:solidFill>
              </a:defRPr>
            </a:lvl1pPr>
          </a:lstStyle>
          <a:p>
            <a:r>
              <a:rPr lang="en-US" dirty="0"/>
              <a:t>Click to edit Master title style</a:t>
            </a:r>
          </a:p>
        </p:txBody>
      </p:sp>
      <p:sp>
        <p:nvSpPr>
          <p:cNvPr id="11" name="Text Placeholder 2"/>
          <p:cNvSpPr>
            <a:spLocks noGrp="1"/>
          </p:cNvSpPr>
          <p:nvPr>
            <p:ph type="body" idx="1"/>
          </p:nvPr>
        </p:nvSpPr>
        <p:spPr>
          <a:xfrm>
            <a:off x="458076" y="3062685"/>
            <a:ext cx="10363200" cy="1170765"/>
          </a:xfrm>
        </p:spPr>
        <p:txBody>
          <a:bodyPr anchor="b"/>
          <a:lstStyle>
            <a:lvl1pPr marL="0" indent="0">
              <a:buNone/>
              <a:defRPr sz="2400">
                <a:solidFill>
                  <a:schemeClr val="bg1"/>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pic>
        <p:nvPicPr>
          <p:cNvPr id="13" name="Picture 1" descr="pri_reg_2c_rgb_tm">
            <a:extLst>
              <a:ext uri="{FF2B5EF4-FFF2-40B4-BE49-F238E27FC236}">
                <a16:creationId xmlns:a16="http://schemas.microsoft.com/office/drawing/2014/main" id="{567CCB6B-70D1-4BD0-A4EE-EF7637EF928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982" y="166970"/>
            <a:ext cx="2013128" cy="1108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846895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675586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93268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type="obj" preserve="1">
  <p:cSld name="On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32317" y="114303"/>
            <a:ext cx="11379200" cy="904875"/>
          </a:xfrm>
        </p:spPr>
        <p:txBody>
          <a:bodyPr/>
          <a:lstStyle>
            <a:lvl1pPr>
              <a:defRPr sz="3200"/>
            </a:lvl1pPr>
          </a:lstStyle>
          <a:p>
            <a:r>
              <a:rPr lang="en-US" altLang="en-US" dirty="0"/>
              <a:t>Click to edit Master title style</a:t>
            </a:r>
            <a:endParaRPr lang="en-US" dirty="0"/>
          </a:p>
        </p:txBody>
      </p:sp>
      <p:sp>
        <p:nvSpPr>
          <p:cNvPr id="3" name="Content Placeholder 2"/>
          <p:cNvSpPr>
            <a:spLocks noGrp="1"/>
          </p:cNvSpPr>
          <p:nvPr>
            <p:ph idx="1" hasCustomPrompt="1"/>
          </p:nvPr>
        </p:nvSpPr>
        <p:spPr>
          <a:xfrm>
            <a:off x="332320" y="1600203"/>
            <a:ext cx="11332633" cy="4525963"/>
          </a:xfrm>
        </p:spPr>
        <p:txBody>
          <a:bodyPr/>
          <a:lstStyle>
            <a:lvl1pPr marL="338138" indent="-338138">
              <a:spcBef>
                <a:spcPts val="1200"/>
              </a:spcBef>
              <a:buClr>
                <a:srgbClr val="296DC0"/>
              </a:buClr>
              <a:buFont typeface="Wingdings" panose="05000000000000000000" pitchFamily="2" charset="2"/>
              <a:buChar char="Ø"/>
              <a:defRPr sz="2800"/>
            </a:lvl1pPr>
            <a:lvl2pPr>
              <a:spcBef>
                <a:spcPts val="800"/>
              </a:spcBef>
              <a:defRPr sz="2400"/>
            </a:lvl2pPr>
            <a:lvl3pPr>
              <a:spcBef>
                <a:spcPts val="600"/>
              </a:spcBef>
              <a:defRPr sz="2000"/>
            </a:lvl3pPr>
            <a:lvl4pPr>
              <a:defRPr sz="1400"/>
            </a:lvl4pPr>
            <a:lvl5pPr>
              <a:defRPr sz="1400"/>
            </a:lvl5pPr>
          </a:lstStyle>
          <a:p>
            <a:pPr lvl="0"/>
            <a:r>
              <a:rPr lang="en-US" altLang="en-US" dirty="0"/>
              <a:t>Click to edit Master text styles</a:t>
            </a:r>
          </a:p>
          <a:p>
            <a:pPr lvl="1"/>
            <a:r>
              <a:rPr lang="en-US" altLang="en-US" dirty="0"/>
              <a:t>Second level</a:t>
            </a:r>
          </a:p>
          <a:p>
            <a:pPr lvl="2"/>
            <a:r>
              <a:rPr lang="en-US" altLang="en-US" dirty="0"/>
              <a:t>Third level</a:t>
            </a:r>
          </a:p>
        </p:txBody>
      </p:sp>
    </p:spTree>
    <p:extLst>
      <p:ext uri="{BB962C8B-B14F-4D97-AF65-F5344CB8AC3E}">
        <p14:creationId xmlns:p14="http://schemas.microsoft.com/office/powerpoint/2010/main" val="9747505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type="twoObj" preserve="1">
  <p:cSld name="Two Column Content">
    <p:spTree>
      <p:nvGrpSpPr>
        <p:cNvPr id="1" name=""/>
        <p:cNvGrpSpPr/>
        <p:nvPr/>
      </p:nvGrpSpPr>
      <p:grpSpPr>
        <a:xfrm>
          <a:off x="0" y="0"/>
          <a:ext cx="0" cy="0"/>
          <a:chOff x="0" y="0"/>
          <a:chExt cx="0" cy="0"/>
        </a:xfrm>
      </p:grpSpPr>
      <p:pic>
        <p:nvPicPr>
          <p:cNvPr id="5"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6919" y="6411913"/>
            <a:ext cx="5990167" cy="30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a:lvl1pPr>
          </a:lstStyle>
          <a:p>
            <a:r>
              <a:rPr lang="en-US" altLang="en-US" dirty="0"/>
              <a:t>Click to edit Master title style</a:t>
            </a:r>
            <a:endParaRPr lang="en-US" dirty="0"/>
          </a:p>
        </p:txBody>
      </p:sp>
      <p:sp>
        <p:nvSpPr>
          <p:cNvPr id="3" name="Content Placeholder 2"/>
          <p:cNvSpPr>
            <a:spLocks noGrp="1"/>
          </p:cNvSpPr>
          <p:nvPr>
            <p:ph sz="half" idx="1" hasCustomPrompt="1"/>
          </p:nvPr>
        </p:nvSpPr>
        <p:spPr>
          <a:xfrm>
            <a:off x="332318" y="1600203"/>
            <a:ext cx="5564716" cy="4525963"/>
          </a:xfrm>
        </p:spPr>
        <p:txBody>
          <a:bodyPr/>
          <a:lstStyle>
            <a:lvl1pPr>
              <a:defRPr sz="2400"/>
            </a:lvl1pPr>
            <a:lvl2pPr>
              <a:defRPr sz="20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4" name="Content Placeholder 3"/>
          <p:cNvSpPr>
            <a:spLocks noGrp="1"/>
          </p:cNvSpPr>
          <p:nvPr>
            <p:ph sz="half" idx="2" hasCustomPrompt="1"/>
          </p:nvPr>
        </p:nvSpPr>
        <p:spPr>
          <a:xfrm>
            <a:off x="6100235" y="1600203"/>
            <a:ext cx="5564717" cy="4525963"/>
          </a:xfrm>
        </p:spPr>
        <p:txBody>
          <a:bodyPr/>
          <a:lstStyle>
            <a:lvl1pPr>
              <a:defRPr sz="2400"/>
            </a:lvl1pPr>
            <a:lvl2pPr>
              <a:defRPr sz="20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ltLang="en-US" dirty="0"/>
              <a:t>Click to edit Master text styles</a:t>
            </a:r>
          </a:p>
          <a:p>
            <a:pPr lvl="1"/>
            <a:r>
              <a:rPr lang="en-US" altLang="en-US" dirty="0"/>
              <a:t>Second level</a:t>
            </a:r>
          </a:p>
          <a:p>
            <a:pPr lvl="2"/>
            <a:r>
              <a:rPr lang="en-US" altLang="en-US" dirty="0"/>
              <a:t>Third level</a:t>
            </a:r>
          </a:p>
        </p:txBody>
      </p:sp>
    </p:spTree>
    <p:extLst>
      <p:ext uri="{BB962C8B-B14F-4D97-AF65-F5344CB8AC3E}">
        <p14:creationId xmlns:p14="http://schemas.microsoft.com/office/powerpoint/2010/main" val="25284992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66380" y="4800600"/>
            <a:ext cx="9338539" cy="566738"/>
          </a:xfrm>
        </p:spPr>
        <p:txBody>
          <a:bodyPr anchor="b"/>
          <a:lstStyle>
            <a:lvl1pPr algn="l">
              <a:defRPr sz="2400" b="1" baseline="0"/>
            </a:lvl1pPr>
          </a:lstStyle>
          <a:p>
            <a:r>
              <a:rPr lang="en-US" dirty="0"/>
              <a:t>Click to edit Master title style</a:t>
            </a:r>
          </a:p>
        </p:txBody>
      </p:sp>
      <p:sp>
        <p:nvSpPr>
          <p:cNvPr id="3" name="Picture Placeholder 2"/>
          <p:cNvSpPr>
            <a:spLocks noGrp="1"/>
          </p:cNvSpPr>
          <p:nvPr>
            <p:ph type="pic" idx="1"/>
          </p:nvPr>
        </p:nvSpPr>
        <p:spPr>
          <a:xfrm>
            <a:off x="386185" y="1448285"/>
            <a:ext cx="9318735" cy="3279290"/>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4" name="Text Placeholder 3"/>
          <p:cNvSpPr>
            <a:spLocks noGrp="1"/>
          </p:cNvSpPr>
          <p:nvPr>
            <p:ph type="body" sz="half" idx="2"/>
          </p:nvPr>
        </p:nvSpPr>
        <p:spPr>
          <a:xfrm>
            <a:off x="356477" y="5367338"/>
            <a:ext cx="9348440" cy="804862"/>
          </a:xfrm>
        </p:spPr>
        <p:txBody>
          <a:bodyPr/>
          <a:lstStyle>
            <a:lvl1pPr marL="0" indent="0">
              <a:buNone/>
              <a:defRPr sz="18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Tree>
    <p:extLst>
      <p:ext uri="{BB962C8B-B14F-4D97-AF65-F5344CB8AC3E}">
        <p14:creationId xmlns:p14="http://schemas.microsoft.com/office/powerpoint/2010/main" val="3975460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Picture without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0" y="1430868"/>
            <a:ext cx="12192000" cy="4822752"/>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6" name="Title 1"/>
          <p:cNvSpPr>
            <a:spLocks noGrp="1"/>
          </p:cNvSpPr>
          <p:nvPr>
            <p:ph type="title"/>
          </p:nvPr>
        </p:nvSpPr>
        <p:spPr>
          <a:xfrm>
            <a:off x="338607" y="132561"/>
            <a:ext cx="11372911" cy="858040"/>
          </a:xfrm>
        </p:spPr>
        <p:txBody>
          <a:bodyPr/>
          <a:lstStyle>
            <a:lvl1pPr>
              <a:defRPr sz="3200"/>
            </a:lvl1pPr>
          </a:lstStyle>
          <a:p>
            <a:r>
              <a:rPr lang="en-US" altLang="en-US" dirty="0"/>
              <a:t>Click to edit Master title style</a:t>
            </a:r>
            <a:endParaRPr lang="en-US" dirty="0"/>
          </a:p>
        </p:txBody>
      </p:sp>
    </p:spTree>
    <p:extLst>
      <p:ext uri="{BB962C8B-B14F-4D97-AF65-F5344CB8AC3E}">
        <p14:creationId xmlns:p14="http://schemas.microsoft.com/office/powerpoint/2010/main" val="37592706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8F725B-1383-B44F-BEF8-73B6958F924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D9B77A-7070-C14A-8FBE-D4172F0982F9}"/>
              </a:ext>
            </a:extLst>
          </p:cNvPr>
          <p:cNvSpPr>
            <a:spLocks noGrp="1"/>
          </p:cNvSpPr>
          <p:nvPr>
            <p:ph sz="half" idx="1" hasCustomPrompt="1"/>
          </p:nvPr>
        </p:nvSpPr>
        <p:spPr>
          <a:xfrm>
            <a:off x="480059" y="1506071"/>
            <a:ext cx="5425259" cy="4037479"/>
          </a:xfrm>
        </p:spPr>
        <p:txBody>
          <a:bodyPr/>
          <a:lstStyle>
            <a:lvl1pPr>
              <a:buClr>
                <a:schemeClr val="accent1"/>
              </a:buClr>
              <a:defRPr>
                <a:solidFill>
                  <a:schemeClr val="tx1">
                    <a:lumMod val="85000"/>
                    <a:lumOff val="15000"/>
                  </a:schemeClr>
                </a:solidFill>
              </a:defRPr>
            </a:lvl1pPr>
            <a:lvl2pPr>
              <a:buClr>
                <a:schemeClr val="accent1"/>
              </a:buClr>
              <a:defRPr>
                <a:solidFill>
                  <a:schemeClr val="tx1">
                    <a:lumMod val="85000"/>
                    <a:lumOff val="15000"/>
                  </a:schemeClr>
                </a:solidFill>
              </a:defRPr>
            </a:lvl2pPr>
            <a:lvl3pPr>
              <a:buClr>
                <a:schemeClr val="accent1"/>
              </a:buClr>
              <a:defRPr>
                <a:solidFill>
                  <a:schemeClr val="tx1">
                    <a:lumMod val="85000"/>
                    <a:lumOff val="15000"/>
                  </a:schemeClr>
                </a:solidFill>
              </a:defRPr>
            </a:lvl3pPr>
            <a:lvl4pPr>
              <a:buClr>
                <a:schemeClr val="accent1"/>
              </a:buClr>
              <a:defRPr>
                <a:solidFill>
                  <a:schemeClr val="tx1">
                    <a:lumMod val="85000"/>
                    <a:lumOff val="15000"/>
                  </a:schemeClr>
                </a:solidFill>
              </a:defRPr>
            </a:lvl4pPr>
            <a:lvl5pPr>
              <a:buClr>
                <a:schemeClr val="accent1"/>
              </a:buClr>
              <a:defRPr>
                <a:solidFill>
                  <a:schemeClr val="tx1">
                    <a:lumMod val="85000"/>
                    <a:lumOff val="15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580184D4-CF48-F34A-A672-7C427DED3F6F}"/>
              </a:ext>
            </a:extLst>
          </p:cNvPr>
          <p:cNvSpPr>
            <a:spLocks noGrp="1"/>
          </p:cNvSpPr>
          <p:nvPr>
            <p:ph sz="half" idx="2"/>
          </p:nvPr>
        </p:nvSpPr>
        <p:spPr>
          <a:xfrm>
            <a:off x="6096000" y="1506071"/>
            <a:ext cx="5684958" cy="4037479"/>
          </a:xfrm>
        </p:spPr>
        <p:txBody>
          <a:bodyPr/>
          <a:lstStyle>
            <a:lvl1pPr>
              <a:buClr>
                <a:schemeClr val="accent1"/>
              </a:buClr>
              <a:defRPr>
                <a:solidFill>
                  <a:schemeClr val="tx1">
                    <a:lumMod val="85000"/>
                    <a:lumOff val="15000"/>
                  </a:schemeClr>
                </a:solidFill>
              </a:defRPr>
            </a:lvl1pPr>
            <a:lvl2pPr>
              <a:buClr>
                <a:schemeClr val="accent1"/>
              </a:buClr>
              <a:defRPr>
                <a:solidFill>
                  <a:schemeClr val="tx1">
                    <a:lumMod val="85000"/>
                    <a:lumOff val="15000"/>
                  </a:schemeClr>
                </a:solidFill>
              </a:defRPr>
            </a:lvl2pPr>
            <a:lvl3pPr>
              <a:buClr>
                <a:schemeClr val="accent1"/>
              </a:buClr>
              <a:defRPr>
                <a:solidFill>
                  <a:schemeClr val="tx1">
                    <a:lumMod val="85000"/>
                    <a:lumOff val="15000"/>
                  </a:schemeClr>
                </a:solidFill>
              </a:defRPr>
            </a:lvl3pPr>
            <a:lvl4pPr>
              <a:buClr>
                <a:schemeClr val="accent1"/>
              </a:buClr>
              <a:defRPr>
                <a:solidFill>
                  <a:schemeClr val="tx1">
                    <a:lumMod val="85000"/>
                    <a:lumOff val="15000"/>
                  </a:schemeClr>
                </a:solidFill>
              </a:defRPr>
            </a:lvl4pPr>
            <a:lvl5pPr>
              <a:buClr>
                <a:schemeClr val="accent1"/>
              </a:buClr>
              <a:defRPr>
                <a:solidFill>
                  <a:schemeClr val="tx1">
                    <a:lumMod val="85000"/>
                    <a:lumOff val="15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a:extLst>
              <a:ext uri="{FF2B5EF4-FFF2-40B4-BE49-F238E27FC236}">
                <a16:creationId xmlns:a16="http://schemas.microsoft.com/office/drawing/2014/main" id="{492B7FAA-3B35-4645-A3C0-EB50225C76B8}"/>
              </a:ext>
            </a:extLst>
          </p:cNvPr>
          <p:cNvSpPr>
            <a:spLocks noGrp="1"/>
          </p:cNvSpPr>
          <p:nvPr>
            <p:ph type="sldNum" sz="quarter" idx="12"/>
          </p:nvPr>
        </p:nvSpPr>
        <p:spPr>
          <a:xfrm>
            <a:off x="11651695" y="6492875"/>
            <a:ext cx="540305" cy="365125"/>
          </a:xfrm>
          <a:prstGeom prst="rect">
            <a:avLst/>
          </a:prstGeom>
        </p:spPr>
        <p:txBody>
          <a:bodyPr/>
          <a:lstStyle/>
          <a:p>
            <a:fld id="{56B3F0F6-E8D7-9C4B-A56C-71997626A099}" type="slidenum">
              <a:rPr lang="en-US" smtClean="0"/>
              <a:t>‹#›</a:t>
            </a:fld>
            <a:endParaRPr lang="en-US"/>
          </a:p>
        </p:txBody>
      </p:sp>
    </p:spTree>
    <p:extLst>
      <p:ext uri="{BB962C8B-B14F-4D97-AF65-F5344CB8AC3E}">
        <p14:creationId xmlns:p14="http://schemas.microsoft.com/office/powerpoint/2010/main" val="25326640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Content 1-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56032" y="1476354"/>
            <a:ext cx="11612880" cy="4657828"/>
          </a:xfrm>
          <a:prstGeom prst="rect">
            <a:avLst/>
          </a:prstGeom>
        </p:spPr>
        <p:txBody>
          <a:bodyPr/>
          <a:lstStyle>
            <a:lvl1pPr>
              <a:defRPr sz="3200" b="1" i="0">
                <a:solidFill>
                  <a:srgbClr val="141414"/>
                </a:solidFill>
                <a:latin typeface="Franklin Gothic Book" panose="020B0503020102020204" pitchFamily="34" charset="0"/>
              </a:defRPr>
            </a:lvl1pPr>
            <a:lvl2pPr>
              <a:defRPr sz="3200" b="0" i="0">
                <a:solidFill>
                  <a:srgbClr val="141414"/>
                </a:solidFill>
                <a:latin typeface="Franklin Gothic Book" panose="020B0503020102020204" pitchFamily="34" charset="0"/>
              </a:defRPr>
            </a:lvl2pPr>
            <a:lvl3pPr>
              <a:defRPr sz="2667" b="0" i="0">
                <a:solidFill>
                  <a:srgbClr val="141414"/>
                </a:solidFill>
                <a:latin typeface="Franklin Gothic Book" panose="020B0503020102020204" pitchFamily="34" charset="0"/>
              </a:defRPr>
            </a:lvl3pPr>
            <a:lvl4pPr>
              <a:defRPr sz="2400" b="0" i="0">
                <a:solidFill>
                  <a:srgbClr val="141414"/>
                </a:solidFill>
                <a:latin typeface="Franklin Gothic Book" panose="020B0503020102020204" pitchFamily="34"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3" name="Text Placeholder 12"/>
          <p:cNvSpPr>
            <a:spLocks noGrp="1"/>
          </p:cNvSpPr>
          <p:nvPr>
            <p:ph type="body" sz="quarter" idx="10" hasCustomPrompt="1"/>
          </p:nvPr>
        </p:nvSpPr>
        <p:spPr>
          <a:xfrm>
            <a:off x="256033" y="6163056"/>
            <a:ext cx="11085039" cy="475488"/>
          </a:xfrm>
          <a:prstGeom prst="rect">
            <a:avLst/>
          </a:prstGeom>
        </p:spPr>
        <p:txBody>
          <a:bodyPr anchor="b"/>
          <a:lstStyle>
            <a:lvl1pPr>
              <a:spcBef>
                <a:spcPts val="0"/>
              </a:spcBef>
              <a:defRPr sz="1400" b="0" i="0">
                <a:latin typeface="Franklin Gothic Book" panose="020B0503020102020204" pitchFamily="34" charset="0"/>
              </a:defRPr>
            </a:lvl1pPr>
          </a:lstStyle>
          <a:p>
            <a:pPr lvl="0"/>
            <a:r>
              <a:rPr lang="en-US" dirty="0"/>
              <a:t>Reference</a:t>
            </a:r>
          </a:p>
        </p:txBody>
      </p:sp>
      <p:sp>
        <p:nvSpPr>
          <p:cNvPr id="8" name="Oval 7">
            <a:extLst>
              <a:ext uri="{FF2B5EF4-FFF2-40B4-BE49-F238E27FC236}">
                <a16:creationId xmlns:a16="http://schemas.microsoft.com/office/drawing/2014/main" id="{CB4EAA9C-DC0A-0048-A2D8-74BB19787D68}"/>
              </a:ext>
            </a:extLst>
          </p:cNvPr>
          <p:cNvSpPr/>
          <p:nvPr userDrawn="1"/>
        </p:nvSpPr>
        <p:spPr>
          <a:xfrm>
            <a:off x="11559260" y="6260293"/>
            <a:ext cx="449323" cy="44932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Franklin Gothic Book" panose="020B0503020102020204" pitchFamily="34" charset="0"/>
            </a:endParaRPr>
          </a:p>
        </p:txBody>
      </p:sp>
      <p:sp>
        <p:nvSpPr>
          <p:cNvPr id="12" name="Slide Number Placeholder 5"/>
          <p:cNvSpPr>
            <a:spLocks noGrp="1"/>
          </p:cNvSpPr>
          <p:nvPr>
            <p:ph type="sldNum" sz="quarter" idx="4"/>
          </p:nvPr>
        </p:nvSpPr>
        <p:spPr>
          <a:xfrm>
            <a:off x="11448288" y="6345936"/>
            <a:ext cx="667512" cy="274320"/>
          </a:xfrm>
          <a:prstGeom prst="rect">
            <a:avLst/>
          </a:prstGeom>
        </p:spPr>
        <p:txBody>
          <a:bodyPr vert="horz" lIns="91440" tIns="45720" rIns="91440" bIns="45720" rtlCol="0" anchor="t"/>
          <a:lstStyle>
            <a:lvl1pPr algn="ctr">
              <a:defRPr sz="1200" b="0">
                <a:solidFill>
                  <a:schemeClr val="tx1"/>
                </a:solidFill>
                <a:latin typeface="Franklin Gothic Medium Cond" panose="020B0606030402020204" pitchFamily="34" charset="0"/>
              </a:defRPr>
            </a:lvl1pPr>
          </a:lstStyle>
          <a:p>
            <a:fld id="{BFA19188-CCD0-4FFB-8DFB-60D3E72DC091}" type="slidenum">
              <a:rPr lang="en-US" smtClean="0"/>
              <a:pPr/>
              <a:t>‹#›</a:t>
            </a:fld>
            <a:endParaRPr lang="en-US" dirty="0"/>
          </a:p>
        </p:txBody>
      </p:sp>
      <p:sp>
        <p:nvSpPr>
          <p:cNvPr id="7" name="TextBox 6"/>
          <p:cNvSpPr txBox="1"/>
          <p:nvPr userDrawn="1"/>
        </p:nvSpPr>
        <p:spPr>
          <a:xfrm>
            <a:off x="664363" y="6642556"/>
            <a:ext cx="10863276" cy="230832"/>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900" b="0" i="0" dirty="0">
                <a:solidFill>
                  <a:srgbClr val="7F7F7F"/>
                </a:solidFill>
                <a:latin typeface="Franklin Gothic Book" panose="020B0503020102020204" pitchFamily="34" charset="0"/>
              </a:rPr>
              <a:t>These materials are provided to you solely as an educational resource for your personal use. Any commercial use or distribution of these materials or any portion thereof is strictly prohibited.</a:t>
            </a:r>
          </a:p>
        </p:txBody>
      </p:sp>
      <p:sp>
        <p:nvSpPr>
          <p:cNvPr id="5" name="Title 4">
            <a:extLst>
              <a:ext uri="{FF2B5EF4-FFF2-40B4-BE49-F238E27FC236}">
                <a16:creationId xmlns:a16="http://schemas.microsoft.com/office/drawing/2014/main" id="{11B859BD-6651-934E-8378-533424EE869E}"/>
              </a:ext>
            </a:extLst>
          </p:cNvPr>
          <p:cNvSpPr>
            <a:spLocks noGrp="1"/>
          </p:cNvSpPr>
          <p:nvPr>
            <p:ph type="title"/>
          </p:nvPr>
        </p:nvSpPr>
        <p:spPr/>
        <p:txBody>
          <a:bodyPr/>
          <a:lstStyle>
            <a:lvl1pPr>
              <a:defRPr sz="3733" b="0"/>
            </a:lvl1pPr>
          </a:lstStyle>
          <a:p>
            <a:r>
              <a:rPr lang="en-US" dirty="0"/>
              <a:t>Click to edit Master title style</a:t>
            </a:r>
          </a:p>
        </p:txBody>
      </p:sp>
    </p:spTree>
    <p:extLst>
      <p:ext uri="{BB962C8B-B14F-4D97-AF65-F5344CB8AC3E}">
        <p14:creationId xmlns:p14="http://schemas.microsoft.com/office/powerpoint/2010/main" val="14071292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32884"/>
            <a:ext cx="10363200" cy="1300163"/>
          </a:xfrm>
        </p:spPr>
        <p:txBody>
          <a:bodyPr lIns="90000" tIns="46800" rIns="90000" bIns="46800"/>
          <a:lstStyle>
            <a:lvl1pPr algn="l">
              <a:defRPr sz="3732" spc="0" baseline="0">
                <a:solidFill>
                  <a:schemeClr val="tx2"/>
                </a:solidFill>
                <a:latin typeface="+mn-lt"/>
              </a:defRPr>
            </a:lvl1pPr>
          </a:lstStyle>
          <a:p>
            <a:r>
              <a:rPr lang="en-US" dirty="0"/>
              <a:t>Click to edit Master title style</a:t>
            </a:r>
            <a:endParaRPr lang="en-GB" dirty="0"/>
          </a:p>
        </p:txBody>
      </p:sp>
      <p:cxnSp>
        <p:nvCxnSpPr>
          <p:cNvPr id="5" name="Straight Connector 4"/>
          <p:cNvCxnSpPr/>
          <p:nvPr userDrawn="1"/>
        </p:nvCxnSpPr>
        <p:spPr>
          <a:xfrm flipV="1">
            <a:off x="528323" y="3325460"/>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ubtitle 2">
            <a:extLst>
              <a:ext uri="{FF2B5EF4-FFF2-40B4-BE49-F238E27FC236}">
                <a16:creationId xmlns:a16="http://schemas.microsoft.com/office/drawing/2014/main" id="{CB92EBC5-026D-4287-AF7F-3A7743A12C26}"/>
              </a:ext>
            </a:extLst>
          </p:cNvPr>
          <p:cNvSpPr>
            <a:spLocks noGrp="1"/>
          </p:cNvSpPr>
          <p:nvPr>
            <p:ph type="subTitle" idx="1"/>
          </p:nvPr>
        </p:nvSpPr>
        <p:spPr>
          <a:xfrm>
            <a:off x="914400" y="3624954"/>
            <a:ext cx="10363200" cy="693058"/>
          </a:xfrm>
          <a:prstGeom prst="rect">
            <a:avLst/>
          </a:prstGeom>
        </p:spPr>
        <p:txBody>
          <a:bodyPr/>
          <a:lstStyle>
            <a:lvl1pPr marL="0" indent="0">
              <a:buNone/>
              <a:defRPr sz="2133">
                <a:solidFill>
                  <a:schemeClr val="tx1"/>
                </a:solidFill>
                <a:latin typeface="+mn-lt"/>
              </a:defRPr>
            </a:lvl1pPr>
          </a:lstStyle>
          <a:p>
            <a:r>
              <a:rPr lang="en-GB" sz="2159" dirty="0"/>
              <a:t>Author names</a:t>
            </a:r>
            <a:r>
              <a:rPr lang="en-GB" sz="2159" baseline="30000" dirty="0"/>
              <a:t>1,2 </a:t>
            </a:r>
            <a:r>
              <a:rPr lang="en-GB" sz="2159" dirty="0"/>
              <a:t>(Arial 18 </a:t>
            </a:r>
            <a:r>
              <a:rPr lang="en-GB" sz="2159" dirty="0" err="1"/>
              <a:t>pt</a:t>
            </a:r>
            <a:r>
              <a:rPr lang="en-GB" sz="2159" dirty="0"/>
              <a:t>)</a:t>
            </a:r>
          </a:p>
        </p:txBody>
      </p:sp>
      <p:sp>
        <p:nvSpPr>
          <p:cNvPr id="12" name="Text Placeholder 3">
            <a:extLst>
              <a:ext uri="{FF2B5EF4-FFF2-40B4-BE49-F238E27FC236}">
                <a16:creationId xmlns:a16="http://schemas.microsoft.com/office/drawing/2014/main" id="{1E894BEA-76D2-43AC-BECE-7FE25863A859}"/>
              </a:ext>
            </a:extLst>
          </p:cNvPr>
          <p:cNvSpPr>
            <a:spLocks noGrp="1"/>
          </p:cNvSpPr>
          <p:nvPr>
            <p:ph type="body" sz="quarter" idx="10"/>
          </p:nvPr>
        </p:nvSpPr>
        <p:spPr>
          <a:xfrm>
            <a:off x="914400" y="5063065"/>
            <a:ext cx="10363200" cy="571500"/>
          </a:xfrm>
          <a:prstGeom prst="rect">
            <a:avLst/>
          </a:prstGeom>
        </p:spPr>
        <p:txBody>
          <a:bodyPr/>
          <a:lstStyle>
            <a:lvl1pPr marL="0" indent="0">
              <a:buNone/>
              <a:defRPr sz="1400" i="1">
                <a:solidFill>
                  <a:schemeClr val="tx1"/>
                </a:solidFill>
                <a:latin typeface="+mn-lt"/>
              </a:defRPr>
            </a:lvl1pPr>
          </a:lstStyle>
          <a:p>
            <a:r>
              <a:rPr lang="en-GB" sz="1440" baseline="30000" dirty="0"/>
              <a:t>1</a:t>
            </a:r>
            <a:r>
              <a:rPr lang="en-GB" sz="1440" dirty="0"/>
              <a:t>Affiliations (Arial 11 </a:t>
            </a:r>
            <a:r>
              <a:rPr lang="en-GB" sz="1440" dirty="0" err="1"/>
              <a:t>pt</a:t>
            </a:r>
            <a:r>
              <a:rPr lang="en-GB" sz="1440" dirty="0"/>
              <a:t> </a:t>
            </a:r>
            <a:r>
              <a:rPr lang="en-GB" sz="1440" dirty="0" err="1"/>
              <a:t>itals</a:t>
            </a:r>
            <a:r>
              <a:rPr lang="en-GB" sz="1440" dirty="0"/>
              <a:t>)</a:t>
            </a:r>
          </a:p>
        </p:txBody>
      </p:sp>
      <p:cxnSp>
        <p:nvCxnSpPr>
          <p:cNvPr id="13" name="Straight Connector 12">
            <a:extLst>
              <a:ext uri="{FF2B5EF4-FFF2-40B4-BE49-F238E27FC236}">
                <a16:creationId xmlns:a16="http://schemas.microsoft.com/office/drawing/2014/main" id="{2EF12FC8-6320-4F30-BC04-DA9B9FFDAA1B}"/>
              </a:ext>
            </a:extLst>
          </p:cNvPr>
          <p:cNvCxnSpPr>
            <a:cxnSpLocks/>
          </p:cNvCxnSpPr>
          <p:nvPr userDrawn="1"/>
        </p:nvCxnSpPr>
        <p:spPr>
          <a:xfrm flipH="1">
            <a:off x="910591" y="3429000"/>
            <a:ext cx="3809" cy="1446295"/>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4A27C4D8-49BE-4F9F-8201-7490DEA848F6}"/>
              </a:ext>
            </a:extLst>
          </p:cNvPr>
          <p:cNvSpPr>
            <a:spLocks noGrp="1"/>
          </p:cNvSpPr>
          <p:nvPr>
            <p:ph type="body" sz="quarter" idx="13" hasCustomPrompt="1"/>
          </p:nvPr>
        </p:nvSpPr>
        <p:spPr>
          <a:xfrm>
            <a:off x="9659802" y="104288"/>
            <a:ext cx="2427877" cy="1343043"/>
          </a:xfrm>
          <a:prstGeom prst="rect">
            <a:avLst/>
          </a:prstGeom>
          <a:noFill/>
        </p:spPr>
        <p:txBody>
          <a:bodyPr anchor="ctr"/>
          <a:lstStyle>
            <a:lvl1pPr marL="0" indent="0">
              <a:buNone/>
              <a:defRPr sz="2133">
                <a:latin typeface="+mn-lt"/>
              </a:defRPr>
            </a:lvl1pPr>
          </a:lstStyle>
          <a:p>
            <a:pPr algn="ctr"/>
            <a:r>
              <a:rPr lang="en-GB" sz="2399" i="1" dirty="0">
                <a:solidFill>
                  <a:schemeClr val="tx2"/>
                </a:solidFill>
              </a:rPr>
              <a:t>Video location</a:t>
            </a:r>
          </a:p>
        </p:txBody>
      </p:sp>
    </p:spTree>
    <p:extLst>
      <p:ext uri="{BB962C8B-B14F-4D97-AF65-F5344CB8AC3E}">
        <p14:creationId xmlns:p14="http://schemas.microsoft.com/office/powerpoint/2010/main" val="21889536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ctio">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3"/>
            <a:ext cx="10363200" cy="1300163"/>
          </a:xfrm>
        </p:spPr>
        <p:txBody>
          <a:bodyPr lIns="360000"/>
          <a:lstStyle>
            <a:lvl1pPr algn="l">
              <a:defRPr sz="4265" spc="0" baseline="0">
                <a:solidFill>
                  <a:schemeClr val="bg1"/>
                </a:solidFill>
                <a:latin typeface="+mn-lt"/>
              </a:defRPr>
            </a:lvl1pPr>
          </a:lstStyle>
          <a:p>
            <a:r>
              <a:rPr lang="en-US" dirty="0"/>
              <a:t>Click to edit Master title style</a:t>
            </a:r>
            <a:endParaRPr lang="en-GB" dirty="0"/>
          </a:p>
        </p:txBody>
      </p:sp>
      <p:sp>
        <p:nvSpPr>
          <p:cNvPr id="3" name="Subtitle 2"/>
          <p:cNvSpPr>
            <a:spLocks noGrp="1"/>
          </p:cNvSpPr>
          <p:nvPr>
            <p:ph type="subTitle" idx="1"/>
          </p:nvPr>
        </p:nvSpPr>
        <p:spPr>
          <a:xfrm>
            <a:off x="914400" y="3624954"/>
            <a:ext cx="10363200" cy="693058"/>
          </a:xfrm>
          <a:prstGeom prst="rect">
            <a:avLst/>
          </a:prstGeom>
        </p:spPr>
        <p:txBody>
          <a:bodyPr lIns="360000" tIns="45640" rIns="91280" bIns="45640"/>
          <a:lstStyle>
            <a:lvl1pPr marL="0" indent="0" algn="l">
              <a:spcBef>
                <a:spcPts val="0"/>
              </a:spcBef>
              <a:spcAft>
                <a:spcPts val="0"/>
              </a:spcAft>
              <a:buNone/>
              <a:defRPr sz="2133" i="1">
                <a:solidFill>
                  <a:schemeClr val="bg1"/>
                </a:solidFill>
                <a:latin typeface="+mn-lt"/>
              </a:defRPr>
            </a:lvl1pPr>
            <a:lvl2pPr marL="456226" indent="0" algn="ctr">
              <a:buNone/>
              <a:defRPr>
                <a:solidFill>
                  <a:schemeClr val="tx1">
                    <a:tint val="75000"/>
                  </a:schemeClr>
                </a:solidFill>
              </a:defRPr>
            </a:lvl2pPr>
            <a:lvl3pPr marL="912450" indent="0" algn="ctr">
              <a:buNone/>
              <a:defRPr>
                <a:solidFill>
                  <a:schemeClr val="tx1">
                    <a:tint val="75000"/>
                  </a:schemeClr>
                </a:solidFill>
              </a:defRPr>
            </a:lvl3pPr>
            <a:lvl4pPr marL="1368676" indent="0" algn="ctr">
              <a:buNone/>
              <a:defRPr>
                <a:solidFill>
                  <a:schemeClr val="tx1">
                    <a:tint val="75000"/>
                  </a:schemeClr>
                </a:solidFill>
              </a:defRPr>
            </a:lvl4pPr>
            <a:lvl5pPr marL="1824901" indent="0" algn="ctr">
              <a:buNone/>
              <a:defRPr>
                <a:solidFill>
                  <a:schemeClr val="tx1">
                    <a:tint val="75000"/>
                  </a:schemeClr>
                </a:solidFill>
              </a:defRPr>
            </a:lvl5pPr>
            <a:lvl6pPr marL="2281125" indent="0" algn="ctr">
              <a:buNone/>
              <a:defRPr>
                <a:solidFill>
                  <a:schemeClr val="tx1">
                    <a:tint val="75000"/>
                  </a:schemeClr>
                </a:solidFill>
              </a:defRPr>
            </a:lvl6pPr>
            <a:lvl7pPr marL="2737353" indent="0" algn="ctr">
              <a:buNone/>
              <a:defRPr>
                <a:solidFill>
                  <a:schemeClr val="tx1">
                    <a:tint val="75000"/>
                  </a:schemeClr>
                </a:solidFill>
              </a:defRPr>
            </a:lvl7pPr>
            <a:lvl8pPr marL="3193576" indent="0" algn="ctr">
              <a:buNone/>
              <a:defRPr>
                <a:solidFill>
                  <a:schemeClr val="tx1">
                    <a:tint val="75000"/>
                  </a:schemeClr>
                </a:solidFill>
              </a:defRPr>
            </a:lvl8pPr>
            <a:lvl9pPr marL="3649797" indent="0" algn="ctr">
              <a:buNone/>
              <a:defRPr>
                <a:solidFill>
                  <a:schemeClr val="tx1">
                    <a:tint val="75000"/>
                  </a:schemeClr>
                </a:solidFill>
              </a:defRPr>
            </a:lvl9pPr>
          </a:lstStyle>
          <a:p>
            <a:r>
              <a:rPr lang="en-US" dirty="0"/>
              <a:t>Click to edit Master subtitle style</a:t>
            </a:r>
            <a:endParaRPr lang="en-GB" dirty="0"/>
          </a:p>
        </p:txBody>
      </p:sp>
      <p:cxnSp>
        <p:nvCxnSpPr>
          <p:cNvPr id="5" name="Straight Connector 4">
            <a:extLst>
              <a:ext uri="{FF2B5EF4-FFF2-40B4-BE49-F238E27FC236}">
                <a16:creationId xmlns:a16="http://schemas.microsoft.com/office/drawing/2014/main" id="{1C4B9F0A-2668-7142-8307-4E6DEED2A492}"/>
              </a:ext>
            </a:extLst>
          </p:cNvPr>
          <p:cNvCxnSpPr/>
          <p:nvPr userDrawn="1"/>
        </p:nvCxnSpPr>
        <p:spPr>
          <a:xfrm>
            <a:off x="914400" y="2130434"/>
            <a:ext cx="0" cy="2187579"/>
          </a:xfrm>
          <a:prstGeom prst="line">
            <a:avLst/>
          </a:prstGeom>
          <a:ln w="635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24632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1" y="241925"/>
            <a:ext cx="8246376"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3" y="1268964"/>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49" y="6259600"/>
            <a:ext cx="4800000" cy="360000"/>
          </a:xfrm>
          <a:prstGeom prst="rect">
            <a:avLst/>
          </a:prstGeom>
        </p:spPr>
        <p:txBody>
          <a:bodyPr lIns="0" tIns="0" rIns="0" bIns="0" anchor="b"/>
          <a:lstStyle>
            <a:lvl1pPr marL="0" indent="0">
              <a:buNone/>
              <a:tabLst/>
              <a:defRPr sz="108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1" y="6259600"/>
            <a:ext cx="4800000" cy="360000"/>
          </a:xfrm>
          <a:prstGeom prst="rect">
            <a:avLst/>
          </a:prstGeom>
        </p:spPr>
        <p:txBody>
          <a:bodyPr lIns="0" tIns="0" rIns="0" bIns="0" anchor="b"/>
          <a:lstStyle>
            <a:lvl1pPr marL="212274" indent="-212274" algn="r">
              <a:buNone/>
              <a:defRPr lang="en-GB" sz="108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9659802" y="104288"/>
            <a:ext cx="2427877" cy="1343043"/>
          </a:xfrm>
          <a:prstGeom prst="rect">
            <a:avLst/>
          </a:prstGeom>
          <a:noFill/>
        </p:spPr>
        <p:txBody>
          <a:bodyPr anchor="ctr"/>
          <a:lstStyle>
            <a:lvl1pPr marL="0" indent="0">
              <a:buNone/>
              <a:defRPr sz="2133">
                <a:latin typeface="+mn-lt"/>
              </a:defRPr>
            </a:lvl1pPr>
          </a:lstStyle>
          <a:p>
            <a:pPr algn="ctr"/>
            <a:r>
              <a:rPr lang="en-GB" sz="2399" i="1" dirty="0">
                <a:solidFill>
                  <a:schemeClr val="tx2"/>
                </a:solidFill>
              </a:rPr>
              <a:t>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57" y="1735944"/>
            <a:ext cx="11137900" cy="4155314"/>
          </a:xfrm>
          <a:prstGeom prst="rect">
            <a:avLst/>
          </a:prstGeom>
        </p:spPr>
        <p:txBody>
          <a:bodyPr lIns="72000" tIns="0" rIns="72000" bIns="0"/>
          <a:lstStyle>
            <a:lvl1pPr>
              <a:spcAft>
                <a:spcPts val="720"/>
              </a:spcAft>
              <a:buClr>
                <a:schemeClr val="tx2"/>
              </a:buClr>
              <a:defRPr sz="2133">
                <a:solidFill>
                  <a:schemeClr val="tx1"/>
                </a:solidFill>
                <a:latin typeface="+mn-lt"/>
              </a:defRPr>
            </a:lvl1pPr>
            <a:lvl2pPr>
              <a:spcAft>
                <a:spcPts val="720"/>
              </a:spcAft>
              <a:buClr>
                <a:schemeClr val="tx2"/>
              </a:buClr>
              <a:defRPr sz="1866">
                <a:solidFill>
                  <a:schemeClr val="tx1"/>
                </a:solidFill>
                <a:latin typeface="+mn-lt"/>
              </a:defRPr>
            </a:lvl2pPr>
            <a:lvl3pPr>
              <a:spcAft>
                <a:spcPts val="720"/>
              </a:spcAft>
              <a:buClr>
                <a:schemeClr val="tx2"/>
              </a:buClr>
              <a:defRPr sz="1599">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9320250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extLst>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1" y="241925"/>
            <a:ext cx="8246376"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3" y="1268964"/>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49" y="6259600"/>
            <a:ext cx="4800000" cy="360000"/>
          </a:xfrm>
          <a:prstGeom prst="rect">
            <a:avLst/>
          </a:prstGeom>
        </p:spPr>
        <p:txBody>
          <a:bodyPr lIns="0" tIns="0" rIns="0" bIns="0" anchor="b"/>
          <a:lstStyle>
            <a:lvl1pPr marL="0" indent="0">
              <a:buNone/>
              <a:tabLst/>
              <a:defRPr sz="108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1" y="6259600"/>
            <a:ext cx="4800000" cy="360000"/>
          </a:xfrm>
          <a:prstGeom prst="rect">
            <a:avLst/>
          </a:prstGeom>
        </p:spPr>
        <p:txBody>
          <a:bodyPr lIns="0" tIns="0" rIns="0" bIns="0" anchor="b"/>
          <a:lstStyle>
            <a:lvl1pPr marL="212274" indent="-212274" algn="r">
              <a:buNone/>
              <a:defRPr lang="en-GB" sz="108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9659802" y="104288"/>
            <a:ext cx="2427877" cy="1343043"/>
          </a:xfrm>
          <a:prstGeom prst="rect">
            <a:avLst/>
          </a:prstGeom>
          <a:noFill/>
        </p:spPr>
        <p:txBody>
          <a:bodyPr anchor="ctr"/>
          <a:lstStyle>
            <a:lvl1pPr marL="0" indent="0">
              <a:buNone/>
              <a:defRPr sz="2133">
                <a:latin typeface="+mn-lt"/>
              </a:defRPr>
            </a:lvl1pPr>
          </a:lstStyle>
          <a:p>
            <a:pPr algn="ctr"/>
            <a:r>
              <a:rPr lang="en-GB" sz="2399" i="1" dirty="0">
                <a:solidFill>
                  <a:schemeClr val="tx2"/>
                </a:solidFill>
              </a:rPr>
              <a:t>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57" y="1754478"/>
            <a:ext cx="11137900" cy="1186397"/>
          </a:xfrm>
          <a:prstGeom prst="round1Rect">
            <a:avLst>
              <a:gd name="adj" fmla="val 11105"/>
            </a:avLst>
          </a:prstGeom>
          <a:solidFill>
            <a:schemeClr val="accent3">
              <a:lumMod val="20000"/>
              <a:lumOff val="80000"/>
              <a:alpha val="70000"/>
            </a:schemeClr>
          </a:solidFill>
          <a:effectLst/>
        </p:spPr>
        <p:txBody>
          <a:bodyPr lIns="72000" tIns="72000" rIns="72000" bIns="72000" anchor="ctr">
            <a:spAutoFit/>
          </a:bodyPr>
          <a:lstStyle>
            <a:lvl1pPr>
              <a:spcAft>
                <a:spcPts val="720"/>
              </a:spcAft>
              <a:buClr>
                <a:schemeClr val="tx2"/>
              </a:buClr>
              <a:defRPr sz="2133">
                <a:solidFill>
                  <a:schemeClr val="tx1"/>
                </a:solidFill>
                <a:latin typeface="+mn-lt"/>
              </a:defRPr>
            </a:lvl1pPr>
            <a:lvl2pPr>
              <a:spcAft>
                <a:spcPts val="720"/>
              </a:spcAft>
              <a:buClr>
                <a:schemeClr val="tx2"/>
              </a:buClr>
              <a:defRPr sz="1866">
                <a:solidFill>
                  <a:schemeClr val="tx1"/>
                </a:solidFill>
                <a:latin typeface="+mn-lt"/>
              </a:defRPr>
            </a:lvl2pPr>
            <a:lvl3pPr>
              <a:spcAft>
                <a:spcPts val="0"/>
              </a:spcAft>
              <a:buClr>
                <a:schemeClr val="tx2"/>
              </a:buClr>
              <a:defRPr sz="1599">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086242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6487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8" y="241934"/>
            <a:ext cx="8247641"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3" y="1268964"/>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49" y="6259600"/>
            <a:ext cx="4800000" cy="360000"/>
          </a:xfrm>
          <a:prstGeom prst="rect">
            <a:avLst/>
          </a:prstGeom>
        </p:spPr>
        <p:txBody>
          <a:bodyPr lIns="0" tIns="0" rIns="0" bIns="0" anchor="b"/>
          <a:lstStyle>
            <a:lvl1pPr marL="0" indent="0">
              <a:buNone/>
              <a:defRPr sz="1066">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1" y="6259600"/>
            <a:ext cx="4800000" cy="360000"/>
          </a:xfrm>
          <a:prstGeom prst="rect">
            <a:avLst/>
          </a:prstGeom>
        </p:spPr>
        <p:txBody>
          <a:bodyPr lIns="0" tIns="0" rIns="0" bIns="0" anchor="b"/>
          <a:lstStyle>
            <a:lvl1pPr marL="212274" indent="-212274" algn="r">
              <a:buNone/>
              <a:defRPr lang="en-GB" sz="1066"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9659802" y="104288"/>
            <a:ext cx="2427877" cy="1343043"/>
          </a:xfrm>
          <a:prstGeom prst="rect">
            <a:avLst/>
          </a:prstGeom>
          <a:noFill/>
        </p:spPr>
        <p:txBody>
          <a:bodyPr anchor="ctr"/>
          <a:lstStyle>
            <a:lvl1pPr marL="0" indent="0">
              <a:buNone/>
              <a:defRPr sz="2133">
                <a:latin typeface="+mn-lt"/>
              </a:defRPr>
            </a:lvl1pPr>
          </a:lstStyle>
          <a:p>
            <a:pPr algn="ctr"/>
            <a:r>
              <a:rPr lang="en-GB" sz="2399" i="1" dirty="0">
                <a:solidFill>
                  <a:schemeClr val="tx2"/>
                </a:solidFill>
              </a:rPr>
              <a:t>Video location</a:t>
            </a:r>
          </a:p>
        </p:txBody>
      </p:sp>
      <p:sp>
        <p:nvSpPr>
          <p:cNvPr id="12" name="Text Placeholder 13">
            <a:extLst>
              <a:ext uri="{FF2B5EF4-FFF2-40B4-BE49-F238E27FC236}">
                <a16:creationId xmlns:a16="http://schemas.microsoft.com/office/drawing/2014/main" id="{8A8F6F41-E4E2-4CF5-B3F3-601469C45B3B}"/>
              </a:ext>
            </a:extLst>
          </p:cNvPr>
          <p:cNvSpPr>
            <a:spLocks noGrp="1"/>
          </p:cNvSpPr>
          <p:nvPr>
            <p:ph type="body" sz="quarter" idx="10"/>
          </p:nvPr>
        </p:nvSpPr>
        <p:spPr>
          <a:xfrm>
            <a:off x="527057" y="1735944"/>
            <a:ext cx="5482535" cy="4155314"/>
          </a:xfrm>
          <a:prstGeom prst="rect">
            <a:avLst/>
          </a:prstGeom>
        </p:spPr>
        <p:txBody>
          <a:bodyPr lIns="72000" tIns="0" rIns="72000" bIns="0"/>
          <a:lstStyle>
            <a:lvl1pPr>
              <a:spcAft>
                <a:spcPts val="720"/>
              </a:spcAft>
              <a:buClr>
                <a:schemeClr val="tx2"/>
              </a:buClr>
              <a:defRPr sz="2133">
                <a:solidFill>
                  <a:schemeClr val="tx1"/>
                </a:solidFill>
                <a:latin typeface="+mn-lt"/>
              </a:defRPr>
            </a:lvl1pPr>
            <a:lvl2pPr>
              <a:spcAft>
                <a:spcPts val="720"/>
              </a:spcAft>
              <a:buClr>
                <a:schemeClr val="tx2"/>
              </a:buClr>
              <a:defRPr sz="1866">
                <a:solidFill>
                  <a:schemeClr val="tx1"/>
                </a:solidFill>
                <a:latin typeface="+mn-lt"/>
              </a:defRPr>
            </a:lvl2pPr>
            <a:lvl3pPr>
              <a:spcAft>
                <a:spcPts val="720"/>
              </a:spcAft>
              <a:buClr>
                <a:schemeClr val="tx2"/>
              </a:buClr>
              <a:defRPr sz="1599">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35944"/>
            <a:ext cx="5482539" cy="4155314"/>
          </a:xfrm>
          <a:prstGeom prst="rect">
            <a:avLst/>
          </a:prstGeom>
        </p:spPr>
        <p:txBody>
          <a:bodyPr lIns="72000" tIns="0" rIns="72000" bIns="0"/>
          <a:lstStyle>
            <a:lvl1pPr>
              <a:spcAft>
                <a:spcPts val="720"/>
              </a:spcAft>
              <a:buClr>
                <a:schemeClr val="tx2"/>
              </a:buClr>
              <a:defRPr sz="2133">
                <a:solidFill>
                  <a:schemeClr val="tx1"/>
                </a:solidFill>
                <a:latin typeface="+mn-lt"/>
              </a:defRPr>
            </a:lvl1pPr>
            <a:lvl2pPr>
              <a:spcAft>
                <a:spcPts val="720"/>
              </a:spcAft>
              <a:buClr>
                <a:schemeClr val="tx2"/>
              </a:buClr>
              <a:defRPr sz="1866">
                <a:solidFill>
                  <a:schemeClr val="tx1"/>
                </a:solidFill>
                <a:latin typeface="+mn-lt"/>
              </a:defRPr>
            </a:lvl2pPr>
            <a:lvl3pPr>
              <a:spcAft>
                <a:spcPts val="720"/>
              </a:spcAft>
              <a:buClr>
                <a:schemeClr val="tx2"/>
              </a:buClr>
              <a:defRPr sz="1599">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9249090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extLst>
    <p:ext uri="{DCECCB84-F9BA-43D5-87BE-67443E8EF086}">
      <p15:sldGuideLst xmlns:p15="http://schemas.microsoft.com/office/powerpoint/2012/main"/>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7058" y="241934"/>
            <a:ext cx="8247641"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3" y="1268964"/>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49" y="6259600"/>
            <a:ext cx="4800000" cy="360000"/>
          </a:xfrm>
          <a:prstGeom prst="rect">
            <a:avLst/>
          </a:prstGeom>
        </p:spPr>
        <p:txBody>
          <a:bodyPr lIns="0" tIns="0" rIns="0" bIns="0" anchor="b"/>
          <a:lstStyle>
            <a:lvl1pPr marL="0" indent="0">
              <a:buNone/>
              <a:defRPr sz="1066">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1" y="6259600"/>
            <a:ext cx="4800000" cy="360000"/>
          </a:xfrm>
          <a:prstGeom prst="rect">
            <a:avLst/>
          </a:prstGeom>
        </p:spPr>
        <p:txBody>
          <a:bodyPr lIns="0" tIns="0" rIns="0" bIns="0" anchor="b"/>
          <a:lstStyle>
            <a:lvl1pPr marL="212274" indent="-212274" algn="r">
              <a:buNone/>
              <a:defRPr lang="en-GB" sz="1066"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9659802" y="104288"/>
            <a:ext cx="2427877" cy="1343043"/>
          </a:xfrm>
          <a:prstGeom prst="rect">
            <a:avLst/>
          </a:prstGeom>
          <a:noFill/>
        </p:spPr>
        <p:txBody>
          <a:bodyPr anchor="ctr"/>
          <a:lstStyle>
            <a:lvl1pPr marL="0" indent="0">
              <a:buNone/>
              <a:defRPr sz="2133">
                <a:latin typeface="+mn-lt"/>
              </a:defRPr>
            </a:lvl1pPr>
          </a:lstStyle>
          <a:p>
            <a:pPr algn="ctr"/>
            <a:r>
              <a:rPr lang="en-GB" sz="2399" i="1" dirty="0">
                <a:solidFill>
                  <a:schemeClr val="tx2"/>
                </a:solidFill>
              </a:rPr>
              <a:t>Video location</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54478"/>
            <a:ext cx="5482539" cy="1186397"/>
          </a:xfrm>
          <a:prstGeom prst="round1Rect">
            <a:avLst>
              <a:gd name="adj" fmla="val 7629"/>
            </a:avLst>
          </a:prstGeom>
          <a:solidFill>
            <a:schemeClr val="accent3">
              <a:lumMod val="20000"/>
              <a:lumOff val="80000"/>
              <a:alpha val="70000"/>
            </a:schemeClr>
          </a:solidFill>
          <a:effectLst/>
        </p:spPr>
        <p:txBody>
          <a:bodyPr lIns="72000" tIns="72000" rIns="72000" bIns="72000" anchor="ctr">
            <a:spAutoFit/>
          </a:bodyPr>
          <a:lstStyle>
            <a:lvl1pPr>
              <a:spcAft>
                <a:spcPts val="720"/>
              </a:spcAft>
              <a:buClr>
                <a:schemeClr val="tx2"/>
              </a:buClr>
              <a:defRPr sz="2133">
                <a:solidFill>
                  <a:schemeClr val="tx1"/>
                </a:solidFill>
                <a:latin typeface="+mn-lt"/>
              </a:defRPr>
            </a:lvl1pPr>
            <a:lvl2pPr>
              <a:spcAft>
                <a:spcPts val="720"/>
              </a:spcAft>
              <a:buClr>
                <a:schemeClr val="tx2"/>
              </a:buClr>
              <a:defRPr sz="1866">
                <a:solidFill>
                  <a:schemeClr val="tx1"/>
                </a:solidFill>
                <a:latin typeface="+mn-lt"/>
              </a:defRPr>
            </a:lvl2pPr>
            <a:lvl3pPr>
              <a:spcAft>
                <a:spcPts val="0"/>
              </a:spcAft>
              <a:buClr>
                <a:schemeClr val="tx2"/>
              </a:buClr>
              <a:defRPr sz="1599">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4" name="Text Placeholder 13">
            <a:extLst>
              <a:ext uri="{FF2B5EF4-FFF2-40B4-BE49-F238E27FC236}">
                <a16:creationId xmlns:a16="http://schemas.microsoft.com/office/drawing/2014/main" id="{CD6AABCE-79A0-4BD1-8518-A40974D9AEEF}"/>
              </a:ext>
            </a:extLst>
          </p:cNvPr>
          <p:cNvSpPr>
            <a:spLocks noGrp="1"/>
          </p:cNvSpPr>
          <p:nvPr>
            <p:ph type="body" sz="quarter" idx="16"/>
          </p:nvPr>
        </p:nvSpPr>
        <p:spPr>
          <a:xfrm>
            <a:off x="528321" y="1754478"/>
            <a:ext cx="5482539" cy="1186397"/>
          </a:xfrm>
          <a:prstGeom prst="round1Rect">
            <a:avLst>
              <a:gd name="adj" fmla="val 9715"/>
            </a:avLst>
          </a:prstGeom>
          <a:solidFill>
            <a:schemeClr val="accent3">
              <a:lumMod val="20000"/>
              <a:lumOff val="80000"/>
              <a:alpha val="70000"/>
            </a:schemeClr>
          </a:solidFill>
          <a:effectLst/>
        </p:spPr>
        <p:txBody>
          <a:bodyPr lIns="72000" tIns="72000" rIns="72000" bIns="72000" anchor="ctr">
            <a:spAutoFit/>
          </a:bodyPr>
          <a:lstStyle>
            <a:lvl1pPr>
              <a:spcAft>
                <a:spcPts val="720"/>
              </a:spcAft>
              <a:buClr>
                <a:schemeClr val="tx2"/>
              </a:buClr>
              <a:defRPr sz="2133">
                <a:solidFill>
                  <a:schemeClr val="tx1"/>
                </a:solidFill>
                <a:latin typeface="+mn-lt"/>
              </a:defRPr>
            </a:lvl1pPr>
            <a:lvl2pPr>
              <a:spcAft>
                <a:spcPts val="720"/>
              </a:spcAft>
              <a:buClr>
                <a:schemeClr val="tx2"/>
              </a:buClr>
              <a:defRPr sz="1866">
                <a:solidFill>
                  <a:schemeClr val="tx1"/>
                </a:solidFill>
                <a:latin typeface="+mn-lt"/>
              </a:defRPr>
            </a:lvl2pPr>
            <a:lvl3pPr>
              <a:spcAft>
                <a:spcPts val="0"/>
              </a:spcAft>
              <a:buClr>
                <a:schemeClr val="tx2"/>
              </a:buClr>
              <a:defRPr sz="1599">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4049866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extLst>
    <p:ext uri="{DCECCB84-F9BA-43D5-87BE-67443E8EF086}">
      <p15:sldGuideLst xmlns:p15="http://schemas.microsoft.com/office/powerpoint/2012/main"/>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7057" y="241934"/>
            <a:ext cx="8247641" cy="907252"/>
          </a:xfrm>
        </p:spPr>
        <p:txBody>
          <a:bodyPr/>
          <a:lstStyle>
            <a:lvl1pPr>
              <a:lnSpc>
                <a:spcPts val="3839"/>
              </a:lnSpc>
              <a:defRPr sz="3732">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3" y="1268964"/>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 Placeholder 15">
            <a:extLst>
              <a:ext uri="{FF2B5EF4-FFF2-40B4-BE49-F238E27FC236}">
                <a16:creationId xmlns:a16="http://schemas.microsoft.com/office/drawing/2014/main" id="{CCA7112D-5416-4F9D-98ED-11F5D963980E}"/>
              </a:ext>
            </a:extLst>
          </p:cNvPr>
          <p:cNvSpPr>
            <a:spLocks noGrp="1"/>
          </p:cNvSpPr>
          <p:nvPr>
            <p:ph type="body" sz="quarter" idx="11" hasCustomPrompt="1"/>
          </p:nvPr>
        </p:nvSpPr>
        <p:spPr>
          <a:xfrm>
            <a:off x="527049" y="6259600"/>
            <a:ext cx="4800000" cy="360000"/>
          </a:xfrm>
          <a:prstGeom prst="rect">
            <a:avLst/>
          </a:prstGeom>
        </p:spPr>
        <p:txBody>
          <a:bodyPr lIns="0" tIns="0" rIns="0" bIns="0" anchor="b"/>
          <a:lstStyle>
            <a:lvl1pPr marL="0" indent="0">
              <a:buNone/>
              <a:defRPr sz="1066">
                <a:solidFill>
                  <a:schemeClr val="tx1"/>
                </a:solidFill>
                <a:latin typeface="+mn-lt"/>
                <a:cs typeface="Arial" panose="020B0604020202020204" pitchFamily="34" charset="0"/>
              </a:defRPr>
            </a:lvl1pPr>
          </a:lstStyle>
          <a:p>
            <a:pPr lvl="0"/>
            <a:r>
              <a:rPr lang="en-US" dirty="0"/>
              <a:t>Footnotes</a:t>
            </a:r>
          </a:p>
        </p:txBody>
      </p:sp>
      <p:sp>
        <p:nvSpPr>
          <p:cNvPr id="7" name="Text Placeholder 17">
            <a:extLst>
              <a:ext uri="{FF2B5EF4-FFF2-40B4-BE49-F238E27FC236}">
                <a16:creationId xmlns:a16="http://schemas.microsoft.com/office/drawing/2014/main" id="{CD206B1E-413B-495E-8F38-977C209B7D33}"/>
              </a:ext>
            </a:extLst>
          </p:cNvPr>
          <p:cNvSpPr>
            <a:spLocks noGrp="1"/>
          </p:cNvSpPr>
          <p:nvPr>
            <p:ph type="body" sz="quarter" idx="12" hasCustomPrompt="1"/>
          </p:nvPr>
        </p:nvSpPr>
        <p:spPr>
          <a:xfrm>
            <a:off x="6864951" y="6259600"/>
            <a:ext cx="4800000" cy="360000"/>
          </a:xfrm>
          <a:prstGeom prst="rect">
            <a:avLst/>
          </a:prstGeom>
        </p:spPr>
        <p:txBody>
          <a:bodyPr lIns="0" tIns="0" rIns="0" bIns="0" anchor="b"/>
          <a:lstStyle>
            <a:lvl1pPr marL="212274" indent="-212274" algn="r">
              <a:buNone/>
              <a:defRPr lang="en-GB" sz="1066" dirty="0">
                <a:solidFill>
                  <a:schemeClr val="tx1"/>
                </a:solidFill>
                <a:latin typeface="+mn-lt"/>
              </a:defRPr>
            </a:lvl1pPr>
          </a:lstStyle>
          <a:p>
            <a:pPr marL="0" lvl="0" indent="0"/>
            <a:r>
              <a:rPr lang="en-GB" dirty="0"/>
              <a:t>References</a:t>
            </a:r>
          </a:p>
        </p:txBody>
      </p:sp>
      <p:sp>
        <p:nvSpPr>
          <p:cNvPr id="8" name="Text Placeholder 3">
            <a:extLst>
              <a:ext uri="{FF2B5EF4-FFF2-40B4-BE49-F238E27FC236}">
                <a16:creationId xmlns:a16="http://schemas.microsoft.com/office/drawing/2014/main" id="{A8D61146-BEBD-4D85-8FF5-0615F15509F8}"/>
              </a:ext>
            </a:extLst>
          </p:cNvPr>
          <p:cNvSpPr>
            <a:spLocks noGrp="1"/>
          </p:cNvSpPr>
          <p:nvPr>
            <p:ph type="body" sz="quarter" idx="13" hasCustomPrompt="1"/>
          </p:nvPr>
        </p:nvSpPr>
        <p:spPr>
          <a:xfrm>
            <a:off x="9659802" y="104288"/>
            <a:ext cx="2427877" cy="1343043"/>
          </a:xfrm>
          <a:prstGeom prst="rect">
            <a:avLst/>
          </a:prstGeom>
          <a:noFill/>
        </p:spPr>
        <p:txBody>
          <a:bodyPr anchor="ctr"/>
          <a:lstStyle>
            <a:lvl1pPr marL="0" indent="0">
              <a:buNone/>
              <a:defRPr sz="2133">
                <a:latin typeface="+mn-lt"/>
              </a:defRPr>
            </a:lvl1pPr>
          </a:lstStyle>
          <a:p>
            <a:pPr algn="ctr"/>
            <a:r>
              <a:rPr lang="en-GB" sz="2399" i="1" dirty="0">
                <a:solidFill>
                  <a:schemeClr val="tx2"/>
                </a:solidFill>
              </a:rPr>
              <a:t>Video location</a:t>
            </a:r>
          </a:p>
        </p:txBody>
      </p:sp>
    </p:spTree>
    <p:extLst>
      <p:ext uri="{BB962C8B-B14F-4D97-AF65-F5344CB8AC3E}">
        <p14:creationId xmlns:p14="http://schemas.microsoft.com/office/powerpoint/2010/main" val="12868469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extLst>
    <p:ext uri="{DCECCB84-F9BA-43D5-87BE-67443E8EF086}">
      <p15:sldGuideLst xmlns:p15="http://schemas.microsoft.com/office/powerpoint/2012/main"/>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51EF199A-A142-4C3B-87E4-16D4041B3E0B}" type="datetime1">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1FFE3454-E3CA-2442-AE8B-56036A740230}" type="slidenum">
              <a:rPr lang="en-US" smtClean="0"/>
              <a:t>‹#›</a:t>
            </a:fld>
            <a:endParaRPr lang="en-US"/>
          </a:p>
        </p:txBody>
      </p:sp>
      <p:sp>
        <p:nvSpPr>
          <p:cNvPr id="7" name="bk object 16">
            <a:extLst>
              <a:ext uri="{FF2B5EF4-FFF2-40B4-BE49-F238E27FC236}">
                <a16:creationId xmlns:a16="http://schemas.microsoft.com/office/drawing/2014/main" id="{1F304965-4904-5772-3567-41FCF21E7EA6}"/>
              </a:ext>
            </a:extLst>
          </p:cNvPr>
          <p:cNvSpPr/>
          <p:nvPr userDrawn="1"/>
        </p:nvSpPr>
        <p:spPr>
          <a:xfrm>
            <a:off x="334327" y="6516692"/>
            <a:ext cx="1404826" cy="341308"/>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5637398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59" y="365125"/>
            <a:ext cx="11460479" cy="915035"/>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Date Placeholder 15">
            <a:extLst>
              <a:ext uri="{FF2B5EF4-FFF2-40B4-BE49-F238E27FC236}">
                <a16:creationId xmlns:a16="http://schemas.microsoft.com/office/drawing/2014/main" id="{52A49D84-D272-4A87-5B10-89980EE8BADC}"/>
              </a:ext>
            </a:extLst>
          </p:cNvPr>
          <p:cNvSpPr>
            <a:spLocks noGrp="1"/>
          </p:cNvSpPr>
          <p:nvPr>
            <p:ph type="dt" sz="half" idx="10"/>
          </p:nvPr>
        </p:nvSpPr>
        <p:spPr>
          <a:xfrm>
            <a:off x="838200" y="6356350"/>
            <a:ext cx="2743200" cy="365125"/>
          </a:xfrm>
          <a:prstGeom prst="rect">
            <a:avLst/>
          </a:prstGeom>
        </p:spPr>
        <p:txBody>
          <a:bodyPr/>
          <a:lstStyle/>
          <a:p>
            <a:fld id="{EFB4A599-1A08-4CD1-92C4-065019336E39}" type="datetime1">
              <a:rPr lang="en-US" smtClean="0"/>
              <a:t>5/31/26</a:t>
            </a:fld>
            <a:endParaRPr lang="en-US"/>
          </a:p>
        </p:txBody>
      </p:sp>
      <p:sp>
        <p:nvSpPr>
          <p:cNvPr id="17" name="Footer Placeholder 16">
            <a:extLst>
              <a:ext uri="{FF2B5EF4-FFF2-40B4-BE49-F238E27FC236}">
                <a16:creationId xmlns:a16="http://schemas.microsoft.com/office/drawing/2014/main" id="{3303634E-5448-21D3-23CB-772481C50FEF}"/>
              </a:ext>
            </a:extLst>
          </p:cNvPr>
          <p:cNvSpPr>
            <a:spLocks noGrp="1"/>
          </p:cNvSpPr>
          <p:nvPr>
            <p:ph type="ftr" sz="quarter" idx="11"/>
          </p:nvPr>
        </p:nvSpPr>
        <p:spPr/>
        <p:txBody>
          <a:bodyPr/>
          <a:lstStyle/>
          <a:p>
            <a:endParaRPr lang="en-US"/>
          </a:p>
        </p:txBody>
      </p:sp>
      <p:sp>
        <p:nvSpPr>
          <p:cNvPr id="18" name="Slide Number Placeholder 17">
            <a:extLst>
              <a:ext uri="{FF2B5EF4-FFF2-40B4-BE49-F238E27FC236}">
                <a16:creationId xmlns:a16="http://schemas.microsoft.com/office/drawing/2014/main" id="{8F1D1CB7-B469-9CE9-257C-5BBC83CFC3C5}"/>
              </a:ext>
            </a:extLst>
          </p:cNvPr>
          <p:cNvSpPr>
            <a:spLocks noGrp="1"/>
          </p:cNvSpPr>
          <p:nvPr>
            <p:ph type="sldNum" sz="quarter" idx="12"/>
          </p:nvPr>
        </p:nvSpPr>
        <p:spPr>
          <a:xfrm>
            <a:off x="8610600" y="6356350"/>
            <a:ext cx="2743200" cy="365125"/>
          </a:xfrm>
          <a:prstGeom prst="rect">
            <a:avLst/>
          </a:prstGeom>
        </p:spPr>
        <p:txBody>
          <a:bodyPr/>
          <a:lstStyle/>
          <a:p>
            <a:fld id="{1FFE3454-E3CA-2442-AE8B-56036A740230}" type="slidenum">
              <a:rPr lang="en-US" smtClean="0"/>
              <a:t>‹#›</a:t>
            </a:fld>
            <a:endParaRPr lang="en-US"/>
          </a:p>
        </p:txBody>
      </p:sp>
      <p:sp>
        <p:nvSpPr>
          <p:cNvPr id="4" name="bk object 16">
            <a:extLst>
              <a:ext uri="{FF2B5EF4-FFF2-40B4-BE49-F238E27FC236}">
                <a16:creationId xmlns:a16="http://schemas.microsoft.com/office/drawing/2014/main" id="{A51E364F-01EA-26E9-8EA6-3180ADC08D08}"/>
              </a:ext>
            </a:extLst>
          </p:cNvPr>
          <p:cNvSpPr/>
          <p:nvPr userDrawn="1"/>
        </p:nvSpPr>
        <p:spPr>
          <a:xfrm>
            <a:off x="334327" y="6516692"/>
            <a:ext cx="1404826" cy="341308"/>
          </a:xfrm>
          <a:prstGeom prst="rect">
            <a:avLst/>
          </a:prstGeom>
          <a:blipFill>
            <a:blip r:embed="rId2" cstate="print"/>
            <a:stretch>
              <a:fillRect/>
            </a:stretch>
          </a:blipFill>
        </p:spPr>
        <p:txBody>
          <a:bodyPr wrap="square" lIns="0" tIns="0" rIns="0" bIns="0" rtlCol="0"/>
          <a:lstStyle/>
          <a:p>
            <a:endParaRPr/>
          </a:p>
        </p:txBody>
      </p:sp>
      <p:sp>
        <p:nvSpPr>
          <p:cNvPr id="5" name="bk object 18">
            <a:extLst>
              <a:ext uri="{FF2B5EF4-FFF2-40B4-BE49-F238E27FC236}">
                <a16:creationId xmlns:a16="http://schemas.microsoft.com/office/drawing/2014/main" id="{4D724F88-438A-9738-7D64-3C73C4CEA00F}"/>
              </a:ext>
            </a:extLst>
          </p:cNvPr>
          <p:cNvSpPr/>
          <p:nvPr userDrawn="1"/>
        </p:nvSpPr>
        <p:spPr>
          <a:xfrm>
            <a:off x="1" y="0"/>
            <a:ext cx="107156" cy="6858000"/>
          </a:xfrm>
          <a:custGeom>
            <a:avLst/>
            <a:gdLst/>
            <a:ahLst/>
            <a:cxnLst/>
            <a:rect l="l" t="t" r="r" b="b"/>
            <a:pathLst>
              <a:path w="142875" h="6858000">
                <a:moveTo>
                  <a:pt x="0" y="6858000"/>
                </a:moveTo>
                <a:lnTo>
                  <a:pt x="142494" y="6858000"/>
                </a:lnTo>
                <a:lnTo>
                  <a:pt x="142494" y="0"/>
                </a:lnTo>
                <a:lnTo>
                  <a:pt x="0" y="0"/>
                </a:lnTo>
                <a:lnTo>
                  <a:pt x="0" y="6858000"/>
                </a:lnTo>
                <a:close/>
              </a:path>
            </a:pathLst>
          </a:custGeom>
          <a:solidFill>
            <a:srgbClr val="CBB379"/>
          </a:solidFill>
        </p:spPr>
        <p:txBody>
          <a:bodyPr wrap="square" lIns="0" tIns="0" rIns="0" bIns="0" rtlCol="0"/>
          <a:lstStyle/>
          <a:p>
            <a:endParaRPr/>
          </a:p>
        </p:txBody>
      </p:sp>
    </p:spTree>
    <p:extLst>
      <p:ext uri="{BB962C8B-B14F-4D97-AF65-F5344CB8AC3E}">
        <p14:creationId xmlns:p14="http://schemas.microsoft.com/office/powerpoint/2010/main" val="34608682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91578DC6-2966-4842-B7CB-171F405432DB}" type="datetime1">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6279054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DC904DB2-D217-4859-AD96-675542A41556}" type="datetime1">
              <a:rPr lang="en-US" smtClean="0"/>
              <a:t>5/31/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3094612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AD0A118C-D344-40E5-B920-34B26B724B76}" type="datetime1">
              <a:rPr lang="en-US" smtClean="0"/>
              <a:t>5/31/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6738778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2D13D086-32FF-4843-8F98-502F004465D5}" type="datetime1">
              <a:rPr lang="en-US" smtClean="0"/>
              <a:t>5/31/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424405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0AB54205-631E-46DC-8E32-106CE797C610}" type="datetime1">
              <a:rPr lang="en-US" smtClean="0"/>
              <a:t>5/31/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817366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86744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1708FAEF-422B-467B-9904-D16F44F515CC}" type="datetime1">
              <a:rPr lang="en-US" smtClean="0"/>
              <a:t>5/31/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4825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EC45E583-00D7-43F4-A5CB-8915349A7D87}" type="datetime1">
              <a:rPr lang="en-US" smtClean="0"/>
              <a:t>5/31/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7718997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CE670BB4-05E8-408C-B761-99B54A9F8326}" type="datetime1">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1037107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CD1E496-C690-4052-A8F9-B4306022A2B1}" type="datetime1">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7518987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7D43C-8061-4F4B-A58C-537B44EA7F0E}"/>
              </a:ext>
            </a:extLst>
          </p:cNvPr>
          <p:cNvSpPr>
            <a:spLocks noGrp="1"/>
          </p:cNvSpPr>
          <p:nvPr>
            <p:ph type="title" hasCustomPrompt="1"/>
          </p:nvPr>
        </p:nvSpPr>
        <p:spPr/>
        <p:txBody>
          <a:bodyPr/>
          <a:lstStyle>
            <a:lvl1pPr>
              <a:defRPr/>
            </a:lvl1pPr>
          </a:lstStyle>
          <a:p>
            <a:r>
              <a:rPr lang="en-US"/>
              <a:t>[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a:xfrm>
            <a:off x="365760" y="1554480"/>
            <a:ext cx="8524240" cy="457200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a:xfrm>
            <a:off x="8610600" y="6356350"/>
            <a:ext cx="2743200" cy="365125"/>
          </a:xfrm>
          <a:prstGeom prst="rect">
            <a:avLst/>
          </a:prstGeom>
        </p:spPr>
        <p:txBody>
          <a:bodyPr/>
          <a:lstStyle/>
          <a:p>
            <a:fld id="{B58DE5F1-E0F9-4CCA-92B7-7A6FC4DFEE14}" type="slidenum">
              <a:rPr lang="en-US" smtClean="0"/>
              <a:t>‹#›</a:t>
            </a:fld>
            <a:endParaRPr lang="en-US"/>
          </a:p>
        </p:txBody>
      </p:sp>
      <p:sp>
        <p:nvSpPr>
          <p:cNvPr id="5" name="Content Placeholder 4">
            <a:extLst>
              <a:ext uri="{FF2B5EF4-FFF2-40B4-BE49-F238E27FC236}">
                <a16:creationId xmlns:a16="http://schemas.microsoft.com/office/drawing/2014/main" id="{CCEDBFF4-E1B6-4EE0-8F6D-B5A441B7A8C1}"/>
              </a:ext>
            </a:extLst>
          </p:cNvPr>
          <p:cNvSpPr>
            <a:spLocks noGrp="1"/>
          </p:cNvSpPr>
          <p:nvPr>
            <p:ph sz="quarter" idx="13" hasCustomPrompt="1"/>
          </p:nvPr>
        </p:nvSpPr>
        <p:spPr>
          <a:xfrm>
            <a:off x="365763" y="6099083"/>
            <a:ext cx="11461751" cy="228600"/>
          </a:xfrm>
        </p:spPr>
        <p:txBody>
          <a:bodyPr anchor="b" anchorCtr="0"/>
          <a:lstStyle>
            <a:lvl1pPr marL="0" indent="0">
              <a:buNone/>
              <a:defRPr sz="600"/>
            </a:lvl1pPr>
          </a:lstStyle>
          <a:p>
            <a:pPr lvl="0"/>
            <a:r>
              <a:rPr lang="en-US"/>
              <a:t>Footer</a:t>
            </a:r>
            <a:endParaRPr lang="en-GB"/>
          </a:p>
        </p:txBody>
      </p:sp>
    </p:spTree>
    <p:extLst>
      <p:ext uri="{BB962C8B-B14F-4D97-AF65-F5344CB8AC3E}">
        <p14:creationId xmlns:p14="http://schemas.microsoft.com/office/powerpoint/2010/main" val="9187933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7467">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userDrawn="1">
  <p:cSld name="Title Slide White logos">
    <p:bg>
      <p:bgPr>
        <a:gradFill>
          <a:gsLst>
            <a:gs pos="50000">
              <a:srgbClr val="00A195"/>
            </a:gs>
            <a:gs pos="0">
              <a:srgbClr val="071D49"/>
            </a:gs>
            <a:gs pos="100000">
              <a:srgbClr val="808285"/>
            </a:gs>
          </a:gsLst>
          <a:lin ang="0" scaled="1"/>
        </a:gradFill>
        <a:effectLst/>
      </p:bgPr>
    </p:bg>
    <p:spTree>
      <p:nvGrpSpPr>
        <p:cNvPr id="1" name=""/>
        <p:cNvGrpSpPr/>
        <p:nvPr/>
      </p:nvGrpSpPr>
      <p:grpSpPr>
        <a:xfrm>
          <a:off x="0" y="0"/>
          <a:ext cx="0" cy="0"/>
          <a:chOff x="0" y="0"/>
          <a:chExt cx="0" cy="0"/>
        </a:xfrm>
      </p:grpSpPr>
      <p:pic>
        <p:nvPicPr>
          <p:cNvPr id="9" name="smid ud"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9629"/>
          </a:xfrm>
          <a:prstGeom prst="rect">
            <a:avLst/>
          </a:prstGeom>
        </p:spPr>
      </p:pic>
      <p:sp>
        <p:nvSpPr>
          <p:cNvPr id="2" name="Title 1"/>
          <p:cNvSpPr>
            <a:spLocks noGrp="1"/>
          </p:cNvSpPr>
          <p:nvPr>
            <p:ph type="ctrTitle"/>
          </p:nvPr>
        </p:nvSpPr>
        <p:spPr>
          <a:xfrm>
            <a:off x="576000" y="576000"/>
            <a:ext cx="8228275" cy="3895639"/>
          </a:xfrm>
        </p:spPr>
        <p:txBody>
          <a:bodyPr anchor="t" anchorCtr="0"/>
          <a:lstStyle>
            <a:lvl1pPr algn="l">
              <a:lnSpc>
                <a:spcPct val="83000"/>
              </a:lnSpc>
              <a:defRPr sz="6500">
                <a:solidFill>
                  <a:schemeClr val="bg1"/>
                </a:solidFill>
              </a:defRPr>
            </a:lvl1pPr>
          </a:lstStyle>
          <a:p>
            <a:r>
              <a:rPr lang="en-US"/>
              <a:t>Click to edit Master title style</a:t>
            </a:r>
          </a:p>
        </p:txBody>
      </p:sp>
      <p:sp>
        <p:nvSpPr>
          <p:cNvPr id="4" name="Date_DateCustomA" hidden="1"/>
          <p:cNvSpPr>
            <a:spLocks noGrp="1"/>
          </p:cNvSpPr>
          <p:nvPr>
            <p:ph type="dt" sz="half" idx="10"/>
          </p:nvPr>
        </p:nvSpPr>
        <p:spPr>
          <a:xfrm>
            <a:off x="0" y="7020000"/>
            <a:ext cx="0" cy="0"/>
          </a:xfrm>
          <a:prstGeom prst="rect">
            <a:avLst/>
          </a:prstGeom>
        </p:spPr>
        <p:txBody>
          <a:bodyPr/>
          <a:lstStyle>
            <a:lvl1pPr>
              <a:defRPr sz="100">
                <a:noFill/>
              </a:defRPr>
            </a:lvl1pPr>
          </a:lstStyle>
          <a:p>
            <a:fld id="{A340CEE3-671B-42AF-8B9E-53E88F0C75C4}" type="datetime1">
              <a:rPr lang="en-US" smtClean="0"/>
              <a:t>5/31/26</a:t>
            </a:fld>
            <a:endParaRPr lang="en-US"/>
          </a:p>
        </p:txBody>
      </p:sp>
      <p:sp>
        <p:nvSpPr>
          <p:cNvPr id="5" name="FLD_PresentationTitle" hidden="1"/>
          <p:cNvSpPr>
            <a:spLocks noGrp="1"/>
          </p:cNvSpPr>
          <p:nvPr>
            <p:ph type="ftr" sz="quarter" idx="11"/>
          </p:nvPr>
        </p:nvSpPr>
        <p:spPr>
          <a:xfrm>
            <a:off x="0" y="7020000"/>
            <a:ext cx="0" cy="0"/>
          </a:xfrm>
          <a:prstGeom prst="rect">
            <a:avLst/>
          </a:prstGeom>
        </p:spPr>
        <p:txBody>
          <a:bodyPr/>
          <a:lstStyle>
            <a:lvl1pPr>
              <a:defRPr sz="100">
                <a:noFill/>
              </a:defRPr>
            </a:lvl1pPr>
          </a:lstStyle>
          <a:p>
            <a:endParaRPr lang="en-US"/>
          </a:p>
        </p:txBody>
      </p:sp>
      <p:sp>
        <p:nvSpPr>
          <p:cNvPr id="6" name="Slide Number Placeholder 5" hidden="1"/>
          <p:cNvSpPr>
            <a:spLocks noGrp="1"/>
          </p:cNvSpPr>
          <p:nvPr>
            <p:ph type="sldNum" sz="quarter" idx="12"/>
          </p:nvPr>
        </p:nvSpPr>
        <p:spPr>
          <a:xfrm>
            <a:off x="0" y="7020000"/>
            <a:ext cx="0" cy="0"/>
          </a:xfrm>
          <a:prstGeom prst="rect">
            <a:avLst/>
          </a:prstGeom>
        </p:spPr>
        <p:txBody>
          <a:bodyPr/>
          <a:lstStyle>
            <a:lvl1pPr>
              <a:defRPr sz="100">
                <a:noFill/>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23888671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5546">
          <p15:clr>
            <a:srgbClr val="F26B43"/>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1" y="241925"/>
            <a:ext cx="8246376"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3" y="1268964"/>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49" y="6259600"/>
            <a:ext cx="4800000" cy="360000"/>
          </a:xfrm>
          <a:prstGeom prst="rect">
            <a:avLst/>
          </a:prstGeom>
        </p:spPr>
        <p:txBody>
          <a:bodyPr lIns="0" tIns="0" rIns="0" bIns="0" anchor="b"/>
          <a:lstStyle>
            <a:lvl1pPr marL="0" indent="0">
              <a:buNone/>
              <a:tabLst/>
              <a:defRPr sz="108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1" y="6259600"/>
            <a:ext cx="4800000" cy="360000"/>
          </a:xfrm>
          <a:prstGeom prst="rect">
            <a:avLst/>
          </a:prstGeom>
        </p:spPr>
        <p:txBody>
          <a:bodyPr lIns="0" tIns="0" rIns="0" bIns="0" anchor="b"/>
          <a:lstStyle>
            <a:lvl1pPr marL="212274" indent="-212274" algn="r">
              <a:buNone/>
              <a:defRPr lang="en-GB" sz="108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9659802" y="104288"/>
            <a:ext cx="2427877" cy="1343043"/>
          </a:xfrm>
          <a:prstGeom prst="rect">
            <a:avLst/>
          </a:prstGeom>
          <a:noFill/>
        </p:spPr>
        <p:txBody>
          <a:bodyPr anchor="ctr"/>
          <a:lstStyle>
            <a:lvl1pPr marL="0" indent="0">
              <a:buNone/>
              <a:defRPr sz="2133">
                <a:latin typeface="+mn-lt"/>
              </a:defRPr>
            </a:lvl1pPr>
          </a:lstStyle>
          <a:p>
            <a:pPr algn="ctr"/>
            <a:r>
              <a:rPr lang="en-GB" sz="2399" i="1" dirty="0">
                <a:solidFill>
                  <a:schemeClr val="tx2"/>
                </a:solidFill>
              </a:rPr>
              <a:t>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57" y="1735944"/>
            <a:ext cx="11137900" cy="4155314"/>
          </a:xfrm>
          <a:prstGeom prst="rect">
            <a:avLst/>
          </a:prstGeom>
        </p:spPr>
        <p:txBody>
          <a:bodyPr lIns="72000" tIns="0" rIns="72000" bIns="0"/>
          <a:lstStyle>
            <a:lvl1pPr>
              <a:spcAft>
                <a:spcPts val="720"/>
              </a:spcAft>
              <a:buClr>
                <a:schemeClr val="tx2"/>
              </a:buClr>
              <a:defRPr sz="2133">
                <a:solidFill>
                  <a:schemeClr val="tx1"/>
                </a:solidFill>
                <a:latin typeface="+mn-lt"/>
              </a:defRPr>
            </a:lvl1pPr>
            <a:lvl2pPr>
              <a:spcAft>
                <a:spcPts val="720"/>
              </a:spcAft>
              <a:buClr>
                <a:schemeClr val="tx2"/>
              </a:buClr>
              <a:defRPr sz="1866">
                <a:solidFill>
                  <a:schemeClr val="tx1"/>
                </a:solidFill>
                <a:latin typeface="+mn-lt"/>
              </a:defRPr>
            </a:lvl2pPr>
            <a:lvl3pPr>
              <a:spcAft>
                <a:spcPts val="720"/>
              </a:spcAft>
              <a:buClr>
                <a:schemeClr val="tx2"/>
              </a:buClr>
              <a:defRPr sz="1599">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0835824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8A70EC-867A-4276-8889-777EBAE504C1}" type="datetimeFigureOut">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1B99B8-B5A3-4213-9FE3-1D15F9255D70}" type="slidenum">
              <a:rPr lang="en-US" smtClean="0"/>
              <a:t>‹#›</a:t>
            </a:fld>
            <a:endParaRPr lang="en-US"/>
          </a:p>
        </p:txBody>
      </p:sp>
    </p:spTree>
    <p:extLst>
      <p:ext uri="{BB962C8B-B14F-4D97-AF65-F5344CB8AC3E}">
        <p14:creationId xmlns:p14="http://schemas.microsoft.com/office/powerpoint/2010/main" val="17753869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8A70EC-867A-4276-8889-777EBAE504C1}" type="datetimeFigureOut">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1B99B8-B5A3-4213-9FE3-1D15F9255D70}" type="slidenum">
              <a:rPr lang="en-US" smtClean="0"/>
              <a:t>‹#›</a:t>
            </a:fld>
            <a:endParaRPr lang="en-US"/>
          </a:p>
        </p:txBody>
      </p:sp>
    </p:spTree>
    <p:extLst>
      <p:ext uri="{BB962C8B-B14F-4D97-AF65-F5344CB8AC3E}">
        <p14:creationId xmlns:p14="http://schemas.microsoft.com/office/powerpoint/2010/main" val="9223374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E8A70EC-867A-4276-8889-777EBAE504C1}" type="datetimeFigureOut">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1B99B8-B5A3-4213-9FE3-1D15F9255D70}" type="slidenum">
              <a:rPr lang="en-US" smtClean="0"/>
              <a:t>‹#›</a:t>
            </a:fld>
            <a:endParaRPr lang="en-US"/>
          </a:p>
        </p:txBody>
      </p:sp>
    </p:spTree>
    <p:extLst>
      <p:ext uri="{BB962C8B-B14F-4D97-AF65-F5344CB8AC3E}">
        <p14:creationId xmlns:p14="http://schemas.microsoft.com/office/powerpoint/2010/main" val="22078186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520580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E8A70EC-867A-4276-8889-777EBAE504C1}" type="datetimeFigureOut">
              <a:rPr lang="en-US" smtClean="0"/>
              <a:t>5/31/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91B99B8-B5A3-4213-9FE3-1D15F9255D70}" type="slidenum">
              <a:rPr lang="en-US" smtClean="0"/>
              <a:t>‹#›</a:t>
            </a:fld>
            <a:endParaRPr lang="en-US"/>
          </a:p>
        </p:txBody>
      </p:sp>
    </p:spTree>
    <p:extLst>
      <p:ext uri="{BB962C8B-B14F-4D97-AF65-F5344CB8AC3E}">
        <p14:creationId xmlns:p14="http://schemas.microsoft.com/office/powerpoint/2010/main" val="26717310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E8A70EC-867A-4276-8889-777EBAE504C1}" type="datetimeFigureOut">
              <a:rPr lang="en-US" smtClean="0"/>
              <a:t>5/31/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91B99B8-B5A3-4213-9FE3-1D15F9255D70}" type="slidenum">
              <a:rPr lang="en-US" smtClean="0"/>
              <a:t>‹#›</a:t>
            </a:fld>
            <a:endParaRPr lang="en-US"/>
          </a:p>
        </p:txBody>
      </p:sp>
    </p:spTree>
    <p:extLst>
      <p:ext uri="{BB962C8B-B14F-4D97-AF65-F5344CB8AC3E}">
        <p14:creationId xmlns:p14="http://schemas.microsoft.com/office/powerpoint/2010/main" val="1374639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E8A70EC-867A-4276-8889-777EBAE504C1}" type="datetimeFigureOut">
              <a:rPr lang="en-US" smtClean="0"/>
              <a:t>5/31/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91B99B8-B5A3-4213-9FE3-1D15F9255D70}" type="slidenum">
              <a:rPr lang="en-US" smtClean="0"/>
              <a:t>‹#›</a:t>
            </a:fld>
            <a:endParaRPr lang="en-US"/>
          </a:p>
        </p:txBody>
      </p:sp>
    </p:spTree>
    <p:extLst>
      <p:ext uri="{BB962C8B-B14F-4D97-AF65-F5344CB8AC3E}">
        <p14:creationId xmlns:p14="http://schemas.microsoft.com/office/powerpoint/2010/main" val="42646478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E8A70EC-867A-4276-8889-777EBAE504C1}" type="datetimeFigureOut">
              <a:rPr lang="en-US" smtClean="0"/>
              <a:t>5/31/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91B99B8-B5A3-4213-9FE3-1D15F9255D70}" type="slidenum">
              <a:rPr lang="en-US" smtClean="0"/>
              <a:t>‹#›</a:t>
            </a:fld>
            <a:endParaRPr lang="en-US"/>
          </a:p>
        </p:txBody>
      </p:sp>
    </p:spTree>
    <p:extLst>
      <p:ext uri="{BB962C8B-B14F-4D97-AF65-F5344CB8AC3E}">
        <p14:creationId xmlns:p14="http://schemas.microsoft.com/office/powerpoint/2010/main" val="37692942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E8A70EC-867A-4276-8889-777EBAE504C1}" type="datetimeFigureOut">
              <a:rPr lang="en-US" smtClean="0"/>
              <a:t>5/31/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91B99B8-B5A3-4213-9FE3-1D15F9255D70}" type="slidenum">
              <a:rPr lang="en-US" smtClean="0"/>
              <a:t>‹#›</a:t>
            </a:fld>
            <a:endParaRPr lang="en-US"/>
          </a:p>
        </p:txBody>
      </p:sp>
    </p:spTree>
    <p:extLst>
      <p:ext uri="{BB962C8B-B14F-4D97-AF65-F5344CB8AC3E}">
        <p14:creationId xmlns:p14="http://schemas.microsoft.com/office/powerpoint/2010/main" val="30837047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E8A70EC-867A-4276-8889-777EBAE504C1}" type="datetimeFigureOut">
              <a:rPr lang="en-US" smtClean="0"/>
              <a:t>5/31/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91B99B8-B5A3-4213-9FE3-1D15F9255D70}" type="slidenum">
              <a:rPr lang="en-US" smtClean="0"/>
              <a:t>‹#›</a:t>
            </a:fld>
            <a:endParaRPr lang="en-US"/>
          </a:p>
        </p:txBody>
      </p:sp>
    </p:spTree>
    <p:extLst>
      <p:ext uri="{BB962C8B-B14F-4D97-AF65-F5344CB8AC3E}">
        <p14:creationId xmlns:p14="http://schemas.microsoft.com/office/powerpoint/2010/main" val="8004221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8A70EC-867A-4276-8889-777EBAE504C1}" type="datetimeFigureOut">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1B99B8-B5A3-4213-9FE3-1D15F9255D70}" type="slidenum">
              <a:rPr lang="en-US" smtClean="0"/>
              <a:t>‹#›</a:t>
            </a:fld>
            <a:endParaRPr lang="en-US"/>
          </a:p>
        </p:txBody>
      </p:sp>
    </p:spTree>
    <p:extLst>
      <p:ext uri="{BB962C8B-B14F-4D97-AF65-F5344CB8AC3E}">
        <p14:creationId xmlns:p14="http://schemas.microsoft.com/office/powerpoint/2010/main" val="18549496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8A70EC-867A-4276-8889-777EBAE504C1}" type="datetimeFigureOut">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1B99B8-B5A3-4213-9FE3-1D15F9255D70}" type="slidenum">
              <a:rPr lang="en-US" smtClean="0"/>
              <a:t>‹#›</a:t>
            </a:fld>
            <a:endParaRPr lang="en-US"/>
          </a:p>
        </p:txBody>
      </p:sp>
    </p:spTree>
    <p:extLst>
      <p:ext uri="{BB962C8B-B14F-4D97-AF65-F5344CB8AC3E}">
        <p14:creationId xmlns:p14="http://schemas.microsoft.com/office/powerpoint/2010/main" val="34349811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59A4995-99F3-6C48-8980-DDECA35E6552}" type="datetimeFigureOut">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FE3454-E3CA-2442-AE8B-56036A740230}" type="slidenum">
              <a:rPr lang="en-US" smtClean="0"/>
              <a:t>‹#›</a:t>
            </a:fld>
            <a:endParaRPr lang="en-US"/>
          </a:p>
        </p:txBody>
      </p:sp>
      <p:sp>
        <p:nvSpPr>
          <p:cNvPr id="7" name="bk object 16">
            <a:extLst>
              <a:ext uri="{FF2B5EF4-FFF2-40B4-BE49-F238E27FC236}">
                <a16:creationId xmlns:a16="http://schemas.microsoft.com/office/drawing/2014/main" id="{97149E13-5401-24D6-33B8-F6CEC7254B47}"/>
              </a:ext>
            </a:extLst>
          </p:cNvPr>
          <p:cNvSpPr/>
          <p:nvPr userDrawn="1"/>
        </p:nvSpPr>
        <p:spPr>
          <a:xfrm>
            <a:off x="334327" y="6516692"/>
            <a:ext cx="1404827" cy="341308"/>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16559813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9A4995-99F3-6C48-8980-DDECA35E6552}" type="datetimeFigureOut">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4877462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94635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59A4995-99F3-6C48-8980-DDECA35E6552}" type="datetimeFigureOut">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936834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59A4995-99F3-6C48-8980-DDECA35E6552}" type="datetimeFigureOut">
              <a:rPr lang="en-US" smtClean="0"/>
              <a:t>5/31/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3973871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59A4995-99F3-6C48-8980-DDECA35E6552}" type="datetimeFigureOut">
              <a:rPr lang="en-US" smtClean="0"/>
              <a:t>5/31/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4704930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59A4995-99F3-6C48-8980-DDECA35E6552}" type="datetimeFigureOut">
              <a:rPr lang="en-US" smtClean="0"/>
              <a:t>5/31/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4654901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59A4995-99F3-6C48-8980-DDECA35E6552}" type="datetimeFigureOut">
              <a:rPr lang="en-US" smtClean="0"/>
              <a:t>5/31/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7599568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59A4995-99F3-6C48-8980-DDECA35E6552}" type="datetimeFigureOut">
              <a:rPr lang="en-US" smtClean="0"/>
              <a:t>5/31/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0311507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59A4995-99F3-6C48-8980-DDECA35E6552}" type="datetimeFigureOut">
              <a:rPr lang="en-US" smtClean="0"/>
              <a:t>5/31/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6438969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9A4995-99F3-6C48-8980-DDECA35E6552}" type="datetimeFigureOut">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499258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9A4995-99F3-6C48-8980-DDECA35E6552}" type="datetimeFigureOut">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2711744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5/31/26</a:t>
            </a:fld>
            <a:endParaRPr lang="en-US"/>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609600" y="490458"/>
            <a:ext cx="10972800" cy="713539"/>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609600" y="1368927"/>
            <a:ext cx="10972800" cy="4947903"/>
          </a:xfrm>
          <a:prstGeom prst="rect">
            <a:avLst/>
          </a:prstGeom>
        </p:spPr>
        <p:txBody>
          <a:bodyPr/>
          <a:lstStyle>
            <a:lvl1pPr>
              <a:defRPr sz="1500">
                <a:solidFill>
                  <a:schemeClr val="tx1"/>
                </a:solidFill>
              </a:defRPr>
            </a:lvl1pPr>
            <a:lvl2pPr>
              <a:defRPr sz="1350">
                <a:solidFill>
                  <a:schemeClr val="tx1"/>
                </a:solidFill>
              </a:defRPr>
            </a:lvl2pPr>
            <a:lvl3pPr>
              <a:defRPr sz="1200">
                <a:solidFill>
                  <a:schemeClr val="tx1"/>
                </a:solidFill>
              </a:defRPr>
            </a:lvl3pPr>
            <a:lvl4pPr>
              <a:defRPr sz="1050">
                <a:solidFill>
                  <a:schemeClr val="tx1"/>
                </a:solidFill>
              </a:defRPr>
            </a:lvl4pPr>
            <a:lvl5pPr>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06494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24051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Title Contents">
    <p:bg>
      <p:bgRef idx="1001">
        <a:schemeClr val="bg1"/>
      </p:bgRef>
    </p:bg>
    <p:spTree>
      <p:nvGrpSpPr>
        <p:cNvPr id="1" name=""/>
        <p:cNvGrpSpPr/>
        <p:nvPr/>
      </p:nvGrpSpPr>
      <p:grpSpPr>
        <a:xfrm>
          <a:off x="0" y="0"/>
          <a:ext cx="0" cy="0"/>
          <a:chOff x="0" y="0"/>
          <a:chExt cx="0" cy="0"/>
        </a:xfrm>
      </p:grpSpPr>
      <p:sp>
        <p:nvSpPr>
          <p:cNvPr id="19" name="Content Placeholder 2">
            <a:extLst>
              <a:ext uri="{FF2B5EF4-FFF2-40B4-BE49-F238E27FC236}">
                <a16:creationId xmlns:a16="http://schemas.microsoft.com/office/drawing/2014/main" id="{DD96BF95-46DC-03DC-C2B7-7BE7F6444389}"/>
              </a:ext>
            </a:extLst>
          </p:cNvPr>
          <p:cNvSpPr>
            <a:spLocks noGrp="1"/>
          </p:cNvSpPr>
          <p:nvPr>
            <p:ph idx="1"/>
          </p:nvPr>
        </p:nvSpPr>
        <p:spPr>
          <a:xfrm>
            <a:off x="515937" y="1960510"/>
            <a:ext cx="11039475" cy="3909287"/>
          </a:xfrm>
        </p:spPr>
        <p:txBody>
          <a:bodyPr/>
          <a:lstStyle>
            <a:lvl1pPr>
              <a:buClr>
                <a:schemeClr val="tx2"/>
              </a:buCl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6" name="Content Placeholder 2">
            <a:extLst>
              <a:ext uri="{FF2B5EF4-FFF2-40B4-BE49-F238E27FC236}">
                <a16:creationId xmlns:a16="http://schemas.microsoft.com/office/drawing/2014/main" id="{C6B8C8DC-9033-8CA0-3998-8EF058FCB50F}"/>
              </a:ext>
            </a:extLst>
          </p:cNvPr>
          <p:cNvSpPr>
            <a:spLocks noGrp="1"/>
          </p:cNvSpPr>
          <p:nvPr>
            <p:ph idx="11"/>
          </p:nvPr>
        </p:nvSpPr>
        <p:spPr>
          <a:xfrm>
            <a:off x="515937" y="1233460"/>
            <a:ext cx="11039475" cy="577179"/>
          </a:xfrm>
        </p:spPr>
        <p:txBody>
          <a:bodyPr/>
          <a:lstStyle>
            <a:lvl1pPr marL="0" indent="0">
              <a:buClr>
                <a:schemeClr val="tx2"/>
              </a:buClr>
              <a:buNone/>
              <a:defRPr sz="1200">
                <a:solidFill>
                  <a:schemeClr val="accent1"/>
                </a:solidFill>
              </a:defRPr>
            </a:lvl1pPr>
            <a:lvl2pPr marL="197644" indent="0">
              <a:buNone/>
              <a:defRPr>
                <a:solidFill>
                  <a:schemeClr val="tx2"/>
                </a:solidFill>
              </a:defRPr>
            </a:lvl2pPr>
            <a:lvl3pPr marL="402431" indent="0">
              <a:buNone/>
              <a:defRPr>
                <a:solidFill>
                  <a:schemeClr val="tx2"/>
                </a:solidFill>
              </a:defRPr>
            </a:lvl3pPr>
            <a:lvl4pPr marL="608410" indent="0">
              <a:buNone/>
              <a:defRPr>
                <a:solidFill>
                  <a:schemeClr val="tx2"/>
                </a:solidFill>
              </a:defRPr>
            </a:lvl4pPr>
            <a:lvl5pPr marL="806054" indent="0">
              <a:buNone/>
              <a:defRPr>
                <a:solidFill>
                  <a:schemeClr val="tx2"/>
                </a:solidFill>
              </a:defRPr>
            </a:lvl5pPr>
          </a:lstStyle>
          <a:p>
            <a:pPr lvl="0"/>
            <a:r>
              <a:rPr lang="en-US" dirty="0"/>
              <a:t>Click to edit Master text styles</a:t>
            </a:r>
            <a:endParaRPr lang="en-GB" dirty="0"/>
          </a:p>
        </p:txBody>
      </p:sp>
      <p:pic>
        <p:nvPicPr>
          <p:cNvPr id="27" name="Picture 26" descr="A black and grey logo&#10;&#10;Description automatically generated">
            <a:extLst>
              <a:ext uri="{FF2B5EF4-FFF2-40B4-BE49-F238E27FC236}">
                <a16:creationId xmlns:a16="http://schemas.microsoft.com/office/drawing/2014/main" id="{DB57837A-AB51-C086-D166-8F99EECA4EF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5939" y="6276276"/>
            <a:ext cx="1991711" cy="321163"/>
          </a:xfrm>
          <a:prstGeom prst="rect">
            <a:avLst/>
          </a:prstGeom>
        </p:spPr>
      </p:pic>
      <p:sp>
        <p:nvSpPr>
          <p:cNvPr id="18" name="Title 1">
            <a:extLst>
              <a:ext uri="{FF2B5EF4-FFF2-40B4-BE49-F238E27FC236}">
                <a16:creationId xmlns:a16="http://schemas.microsoft.com/office/drawing/2014/main" id="{80C499CF-E13D-E059-6CCF-7C436EFB1A3F}"/>
              </a:ext>
            </a:extLst>
          </p:cNvPr>
          <p:cNvSpPr>
            <a:spLocks noGrp="1"/>
          </p:cNvSpPr>
          <p:nvPr>
            <p:ph type="title"/>
          </p:nvPr>
        </p:nvSpPr>
        <p:spPr>
          <a:xfrm>
            <a:off x="515937" y="307546"/>
            <a:ext cx="11039475" cy="748256"/>
          </a:xfrm>
        </p:spPr>
        <p:txBody>
          <a:bodyPr/>
          <a:lstStyle>
            <a:lvl1pPr>
              <a:defRPr>
                <a:solidFill>
                  <a:schemeClr val="tx1"/>
                </a:solidFill>
              </a:defRPr>
            </a:lvl1pPr>
          </a:lstStyle>
          <a:p>
            <a:r>
              <a:rPr lang="en-US" dirty="0"/>
              <a:t>Click to edit Master title style</a:t>
            </a:r>
            <a:endParaRPr lang="en-GB" dirty="0"/>
          </a:p>
        </p:txBody>
      </p:sp>
      <p:pic>
        <p:nvPicPr>
          <p:cNvPr id="5" name="Picture 4" descr="A purple circle with arrows&#10;&#10;Description automatically generated">
            <a:extLst>
              <a:ext uri="{FF2B5EF4-FFF2-40B4-BE49-F238E27FC236}">
                <a16:creationId xmlns:a16="http://schemas.microsoft.com/office/drawing/2014/main" id="{B01E05FA-73E2-0B34-D9A0-303EC3A74D7A}"/>
              </a:ext>
            </a:extLst>
          </p:cNvPr>
          <p:cNvPicPr>
            <a:picLocks noChangeAspect="1"/>
          </p:cNvPicPr>
          <p:nvPr userDrawn="1"/>
        </p:nvPicPr>
        <p:blipFill>
          <a:blip r:embed="rId3">
            <a:alphaModFix amt="27000"/>
          </a:blip>
          <a:srcRect l="5149" t="36700" r="89035" b="4675"/>
          <a:stretch/>
        </p:blipFill>
        <p:spPr>
          <a:xfrm rot="10800000" flipH="1">
            <a:off x="11741124" y="4297680"/>
            <a:ext cx="450877" cy="2560320"/>
          </a:xfrm>
          <a:prstGeom prst="rect">
            <a:avLst/>
          </a:prstGeom>
        </p:spPr>
      </p:pic>
      <p:pic>
        <p:nvPicPr>
          <p:cNvPr id="8" name="Picture 7" descr="A purple circle with arrows&#10;&#10;Description automatically generated">
            <a:extLst>
              <a:ext uri="{FF2B5EF4-FFF2-40B4-BE49-F238E27FC236}">
                <a16:creationId xmlns:a16="http://schemas.microsoft.com/office/drawing/2014/main" id="{89CB22B1-7E28-6096-C573-6F68483C3C5D}"/>
              </a:ext>
            </a:extLst>
          </p:cNvPr>
          <p:cNvPicPr>
            <a:picLocks noChangeAspect="1"/>
          </p:cNvPicPr>
          <p:nvPr userDrawn="1"/>
        </p:nvPicPr>
        <p:blipFill>
          <a:blip r:embed="rId3">
            <a:alphaModFix amt="27000"/>
          </a:blip>
          <a:srcRect l="5149" t="36700" r="89035" b="4675"/>
          <a:stretch/>
        </p:blipFill>
        <p:spPr>
          <a:xfrm flipH="1">
            <a:off x="-1669" y="0"/>
            <a:ext cx="450877" cy="2560320"/>
          </a:xfrm>
          <a:prstGeom prst="rect">
            <a:avLst/>
          </a:prstGeom>
          <a:solidFill>
            <a:schemeClr val="bg1"/>
          </a:solidFill>
        </p:spPr>
      </p:pic>
      <p:sp>
        <p:nvSpPr>
          <p:cNvPr id="2" name="Text Placeholder 9">
            <a:extLst>
              <a:ext uri="{FF2B5EF4-FFF2-40B4-BE49-F238E27FC236}">
                <a16:creationId xmlns:a16="http://schemas.microsoft.com/office/drawing/2014/main" id="{AB30FE5E-8D29-3A9E-6ED6-D7E63F83D64E}"/>
              </a:ext>
            </a:extLst>
          </p:cNvPr>
          <p:cNvSpPr>
            <a:spLocks noGrp="1"/>
          </p:cNvSpPr>
          <p:nvPr>
            <p:ph type="body" sz="quarter" idx="12" hasCustomPrompt="1"/>
          </p:nvPr>
        </p:nvSpPr>
        <p:spPr>
          <a:xfrm>
            <a:off x="518562" y="6034699"/>
            <a:ext cx="11301964" cy="124650"/>
          </a:xfrm>
        </p:spPr>
        <p:txBody>
          <a:bodyPr wrap="square" lIns="0" tIns="0" rIns="0" bIns="0" anchor="b">
            <a:noAutofit/>
          </a:bodyPr>
          <a:lstStyle>
            <a:lvl1pPr marL="0" indent="0">
              <a:lnSpc>
                <a:spcPct val="90000"/>
              </a:lnSpc>
              <a:spcBef>
                <a:spcPts val="0"/>
              </a:spcBef>
              <a:spcAft>
                <a:spcPts val="0"/>
              </a:spcAft>
              <a:buNone/>
              <a:defRPr sz="675"/>
            </a:lvl1pPr>
          </a:lstStyle>
          <a:p>
            <a:pPr lvl="0"/>
            <a:r>
              <a:rPr lang="en-US" dirty="0"/>
              <a:t>Footer</a:t>
            </a:r>
            <a:endParaRPr lang="en-GB" dirty="0"/>
          </a:p>
        </p:txBody>
      </p:sp>
      <p:sp>
        <p:nvSpPr>
          <p:cNvPr id="4" name="Text Placeholder 12">
            <a:extLst>
              <a:ext uri="{FF2B5EF4-FFF2-40B4-BE49-F238E27FC236}">
                <a16:creationId xmlns:a16="http://schemas.microsoft.com/office/drawing/2014/main" id="{E4A8117E-54C1-7EB2-878C-FF69E18F3CB7}"/>
              </a:ext>
            </a:extLst>
          </p:cNvPr>
          <p:cNvSpPr>
            <a:spLocks noGrp="1"/>
          </p:cNvSpPr>
          <p:nvPr>
            <p:ph type="body" sz="quarter" idx="21" hasCustomPrompt="1"/>
          </p:nvPr>
        </p:nvSpPr>
        <p:spPr>
          <a:xfrm>
            <a:off x="3286038" y="6392751"/>
            <a:ext cx="5499276" cy="184666"/>
          </a:xfrm>
          <a:noFill/>
        </p:spPr>
        <p:txBody>
          <a:bodyPr wrap="square" anchor="ctr">
            <a:spAutoFit/>
          </a:bodyPr>
          <a:lstStyle>
            <a:lvl1pPr marL="0" indent="0" algn="ctr">
              <a:lnSpc>
                <a:spcPct val="100000"/>
              </a:lnSpc>
              <a:spcBef>
                <a:spcPts val="450"/>
              </a:spcBef>
              <a:spcAft>
                <a:spcPts val="0"/>
              </a:spcAft>
              <a:buNone/>
              <a:defRPr sz="600">
                <a:solidFill>
                  <a:schemeClr val="tx1"/>
                </a:solidFill>
                <a:latin typeface="+mn-lt"/>
              </a:defRPr>
            </a:lvl1pPr>
            <a:lvl2pPr marL="197644" indent="0">
              <a:buNone/>
              <a:defRPr>
                <a:solidFill>
                  <a:schemeClr val="bg1"/>
                </a:solidFill>
                <a:latin typeface="+mn-lt"/>
              </a:defRPr>
            </a:lvl2pPr>
            <a:lvl3pPr marL="402431" indent="0">
              <a:buNone/>
              <a:defRPr>
                <a:solidFill>
                  <a:schemeClr val="bg1"/>
                </a:solidFill>
                <a:latin typeface="+mn-lt"/>
              </a:defRPr>
            </a:lvl3pPr>
            <a:lvl4pPr marL="608410" indent="0">
              <a:buNone/>
              <a:defRPr>
                <a:solidFill>
                  <a:schemeClr val="bg1"/>
                </a:solidFill>
                <a:latin typeface="+mn-lt"/>
              </a:defRPr>
            </a:lvl4pPr>
            <a:lvl5pPr marL="806054" indent="0">
              <a:buNone/>
              <a:defRPr>
                <a:solidFill>
                  <a:schemeClr val="bg1"/>
                </a:solidFill>
                <a:latin typeface="+mn-lt"/>
              </a:defRPr>
            </a:lvl5pPr>
          </a:lstStyle>
          <a:p>
            <a:pPr lvl="0"/>
            <a:r>
              <a:rPr lang="en-US" dirty="0"/>
              <a:t>Click to edit text</a:t>
            </a:r>
          </a:p>
        </p:txBody>
      </p:sp>
    </p:spTree>
    <p:extLst>
      <p:ext uri="{BB962C8B-B14F-4D97-AF65-F5344CB8AC3E}">
        <p14:creationId xmlns:p14="http://schemas.microsoft.com/office/powerpoint/2010/main" val="37805396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1EF199A-A142-4C3B-87E4-16D4041B3E0B}" type="datetime1">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FE3454-E3CA-2442-AE8B-56036A740230}" type="slidenum">
              <a:rPr lang="en-US" smtClean="0"/>
              <a:t>‹#›</a:t>
            </a:fld>
            <a:endParaRPr lang="en-US"/>
          </a:p>
        </p:txBody>
      </p:sp>
      <p:sp>
        <p:nvSpPr>
          <p:cNvPr id="7" name="bk object 16">
            <a:extLst>
              <a:ext uri="{FF2B5EF4-FFF2-40B4-BE49-F238E27FC236}">
                <a16:creationId xmlns:a16="http://schemas.microsoft.com/office/drawing/2014/main" id="{109D6574-B163-0A88-8CD7-D1923B1B7195}"/>
              </a:ext>
            </a:extLst>
          </p:cNvPr>
          <p:cNvSpPr/>
          <p:nvPr userDrawn="1"/>
        </p:nvSpPr>
        <p:spPr>
          <a:xfrm>
            <a:off x="334327" y="6516692"/>
            <a:ext cx="1404827" cy="341308"/>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16146003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FB4A599-1A08-4CD1-92C4-065019336E39}" type="datetime1">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FE3454-E3CA-2442-AE8B-56036A740230}" type="slidenum">
              <a:rPr lang="en-US" smtClean="0"/>
              <a:t>‹#›</a:t>
            </a:fld>
            <a:endParaRPr lang="en-US"/>
          </a:p>
        </p:txBody>
      </p:sp>
      <p:sp>
        <p:nvSpPr>
          <p:cNvPr id="7" name="bk object 16">
            <a:extLst>
              <a:ext uri="{FF2B5EF4-FFF2-40B4-BE49-F238E27FC236}">
                <a16:creationId xmlns:a16="http://schemas.microsoft.com/office/drawing/2014/main" id="{A006E0AD-1D6F-9E2A-49A4-B8238DC037E9}"/>
              </a:ext>
            </a:extLst>
          </p:cNvPr>
          <p:cNvSpPr/>
          <p:nvPr userDrawn="1"/>
        </p:nvSpPr>
        <p:spPr>
          <a:xfrm>
            <a:off x="334327" y="6516692"/>
            <a:ext cx="1404827" cy="341308"/>
          </a:xfrm>
          <a:prstGeom prst="rect">
            <a:avLst/>
          </a:prstGeom>
          <a:blipFill>
            <a:blip r:embed="rId2" cstate="print"/>
            <a:stretch>
              <a:fillRect/>
            </a:stretch>
          </a:blipFill>
        </p:spPr>
        <p:txBody>
          <a:bodyPr wrap="square" lIns="0" tIns="0" rIns="0" bIns="0" rtlCol="0"/>
          <a:lstStyle/>
          <a:p>
            <a:endParaRPr/>
          </a:p>
        </p:txBody>
      </p:sp>
      <p:sp>
        <p:nvSpPr>
          <p:cNvPr id="8" name="bk object 18">
            <a:extLst>
              <a:ext uri="{FF2B5EF4-FFF2-40B4-BE49-F238E27FC236}">
                <a16:creationId xmlns:a16="http://schemas.microsoft.com/office/drawing/2014/main" id="{3644FA05-E9D2-BF06-B934-69C3283AF4F4}"/>
              </a:ext>
            </a:extLst>
          </p:cNvPr>
          <p:cNvSpPr/>
          <p:nvPr userDrawn="1"/>
        </p:nvSpPr>
        <p:spPr>
          <a:xfrm>
            <a:off x="2" y="0"/>
            <a:ext cx="107156" cy="6858000"/>
          </a:xfrm>
          <a:custGeom>
            <a:avLst/>
            <a:gdLst/>
            <a:ahLst/>
            <a:cxnLst/>
            <a:rect l="l" t="t" r="r" b="b"/>
            <a:pathLst>
              <a:path w="142875" h="6858000">
                <a:moveTo>
                  <a:pt x="0" y="6858000"/>
                </a:moveTo>
                <a:lnTo>
                  <a:pt x="142494" y="6858000"/>
                </a:lnTo>
                <a:lnTo>
                  <a:pt x="142494" y="0"/>
                </a:lnTo>
                <a:lnTo>
                  <a:pt x="0" y="0"/>
                </a:lnTo>
                <a:lnTo>
                  <a:pt x="0" y="6858000"/>
                </a:lnTo>
                <a:close/>
              </a:path>
            </a:pathLst>
          </a:custGeom>
          <a:solidFill>
            <a:srgbClr val="CBB379"/>
          </a:solidFill>
        </p:spPr>
        <p:txBody>
          <a:bodyPr wrap="square" lIns="0" tIns="0" rIns="0" bIns="0" rtlCol="0"/>
          <a:lstStyle/>
          <a:p>
            <a:endParaRPr/>
          </a:p>
        </p:txBody>
      </p:sp>
    </p:spTree>
    <p:extLst>
      <p:ext uri="{BB962C8B-B14F-4D97-AF65-F5344CB8AC3E}">
        <p14:creationId xmlns:p14="http://schemas.microsoft.com/office/powerpoint/2010/main" val="25212561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1578DC6-2966-4842-B7CB-171F405432DB}" type="datetime1">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5181705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C904DB2-D217-4859-AD96-675542A41556}" type="datetime1">
              <a:rPr lang="en-US" smtClean="0"/>
              <a:t>5/31/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6205452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D0A118C-D344-40E5-B920-34B26B724B76}" type="datetime1">
              <a:rPr lang="en-US" smtClean="0"/>
              <a:t>5/31/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5834755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D13D086-32FF-4843-8F98-502F004465D5}" type="datetime1">
              <a:rPr lang="en-US" smtClean="0"/>
              <a:t>5/31/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2613604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AB54205-631E-46DC-8E32-106CE797C610}" type="datetime1">
              <a:rPr lang="en-US" smtClean="0"/>
              <a:t>5/31/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1170305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708FAEF-422B-467B-9904-D16F44F515CC}" type="datetime1">
              <a:rPr lang="en-US" smtClean="0"/>
              <a:t>5/31/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6661675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C45E583-00D7-43F4-A5CB-8915349A7D87}" type="datetime1">
              <a:rPr lang="en-US" smtClean="0"/>
              <a:t>5/31/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1102745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26264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E670BB4-05E8-408C-B761-99B54A9F8326}" type="datetime1">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928271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CD1E496-C690-4052-A8F9-B4306022A2B1}" type="datetime1">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3878168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5/31/26</a:t>
            </a:fld>
            <a:endParaRPr lang="en-US"/>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609600" y="490454"/>
            <a:ext cx="10972800" cy="713539"/>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609600" y="1368923"/>
            <a:ext cx="10972800" cy="4947903"/>
          </a:xfrm>
          <a:prstGeom prst="rect">
            <a:avLst/>
          </a:prstGeom>
        </p:spPr>
        <p:txBody>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47178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7D43C-8061-4F4B-A58C-537B44EA7F0E}"/>
              </a:ext>
            </a:extLst>
          </p:cNvPr>
          <p:cNvSpPr>
            <a:spLocks noGrp="1"/>
          </p:cNvSpPr>
          <p:nvPr>
            <p:ph type="title" hasCustomPrompt="1"/>
          </p:nvPr>
        </p:nvSpPr>
        <p:spPr/>
        <p:txBody>
          <a:bodyPr/>
          <a:lstStyle>
            <a:lvl1pPr>
              <a:defRPr/>
            </a:lvl1pPr>
          </a:lstStyle>
          <a:p>
            <a:r>
              <a:rPr lang="en-US"/>
              <a:t>[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a:xfrm>
            <a:off x="365760" y="1554480"/>
            <a:ext cx="8524240" cy="457200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a:xfrm>
            <a:off x="8610600" y="6356352"/>
            <a:ext cx="2743200" cy="365125"/>
          </a:xfrm>
          <a:prstGeom prst="rect">
            <a:avLst/>
          </a:prstGeom>
        </p:spPr>
        <p:txBody>
          <a:bodyPr/>
          <a:lstStyle/>
          <a:p>
            <a:fld id="{B58DE5F1-E0F9-4CCA-92B7-7A6FC4DFEE14}" type="slidenum">
              <a:rPr lang="en-US" smtClean="0"/>
              <a:t>‹#›</a:t>
            </a:fld>
            <a:endParaRPr lang="en-US"/>
          </a:p>
        </p:txBody>
      </p:sp>
      <p:sp>
        <p:nvSpPr>
          <p:cNvPr id="5" name="Content Placeholder 4">
            <a:extLst>
              <a:ext uri="{FF2B5EF4-FFF2-40B4-BE49-F238E27FC236}">
                <a16:creationId xmlns:a16="http://schemas.microsoft.com/office/drawing/2014/main" id="{CCEDBFF4-E1B6-4EE0-8F6D-B5A441B7A8C1}"/>
              </a:ext>
            </a:extLst>
          </p:cNvPr>
          <p:cNvSpPr>
            <a:spLocks noGrp="1"/>
          </p:cNvSpPr>
          <p:nvPr>
            <p:ph sz="quarter" idx="13" hasCustomPrompt="1"/>
          </p:nvPr>
        </p:nvSpPr>
        <p:spPr>
          <a:xfrm>
            <a:off x="365765" y="6099083"/>
            <a:ext cx="11461751" cy="228600"/>
          </a:xfrm>
        </p:spPr>
        <p:txBody>
          <a:bodyPr anchor="b" anchorCtr="0"/>
          <a:lstStyle>
            <a:lvl1pPr marL="0" indent="0">
              <a:buNone/>
              <a:defRPr sz="450"/>
            </a:lvl1pPr>
          </a:lstStyle>
          <a:p>
            <a:pPr lvl="0"/>
            <a:r>
              <a:rPr lang="en-US"/>
              <a:t>Footer</a:t>
            </a:r>
            <a:endParaRPr lang="en-GB"/>
          </a:p>
        </p:txBody>
      </p:sp>
    </p:spTree>
    <p:extLst>
      <p:ext uri="{BB962C8B-B14F-4D97-AF65-F5344CB8AC3E}">
        <p14:creationId xmlns:p14="http://schemas.microsoft.com/office/powerpoint/2010/main" val="23535920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9956">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597E8-CCC4-7447-B8A7-EA0DEE77DDD1}"/>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DABE1919-D938-174C-B577-2A843DC1F926}"/>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BCAC926F-CD89-1442-BDB5-BCE19D24CEB1}"/>
              </a:ext>
            </a:extLst>
          </p:cNvPr>
          <p:cNvSpPr>
            <a:spLocks noGrp="1"/>
          </p:cNvSpPr>
          <p:nvPr>
            <p:ph type="dt" sz="half" idx="10"/>
          </p:nvPr>
        </p:nvSpPr>
        <p:spPr/>
        <p:txBody>
          <a:bodyPr/>
          <a:lstStyle/>
          <a:p>
            <a:fld id="{559A4995-99F3-6C48-8980-DDECA35E6552}" type="datetimeFigureOut">
              <a:rPr lang="en-US" smtClean="0"/>
              <a:t>5/31/26</a:t>
            </a:fld>
            <a:endParaRPr lang="en-US"/>
          </a:p>
        </p:txBody>
      </p:sp>
      <p:sp>
        <p:nvSpPr>
          <p:cNvPr id="5" name="Footer Placeholder 4">
            <a:extLst>
              <a:ext uri="{FF2B5EF4-FFF2-40B4-BE49-F238E27FC236}">
                <a16:creationId xmlns:a16="http://schemas.microsoft.com/office/drawing/2014/main" id="{A3154943-B6B3-2749-A2CE-E2083192AF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84EB47-C744-084B-9EEC-794449C67D8F}"/>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5649222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0F9B13-101C-F043-A48A-94EC909EC2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97A7A4-B19E-764A-A35B-B1112892E4F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16F9B7-D018-644B-BBD8-53EF371D4FC1}"/>
              </a:ext>
            </a:extLst>
          </p:cNvPr>
          <p:cNvSpPr>
            <a:spLocks noGrp="1"/>
          </p:cNvSpPr>
          <p:nvPr>
            <p:ph type="dt" sz="half" idx="10"/>
          </p:nvPr>
        </p:nvSpPr>
        <p:spPr/>
        <p:txBody>
          <a:bodyPr/>
          <a:lstStyle/>
          <a:p>
            <a:fld id="{559A4995-99F3-6C48-8980-DDECA35E6552}" type="datetimeFigureOut">
              <a:rPr lang="en-US" smtClean="0"/>
              <a:t>5/31/26</a:t>
            </a:fld>
            <a:endParaRPr lang="en-US"/>
          </a:p>
        </p:txBody>
      </p:sp>
      <p:sp>
        <p:nvSpPr>
          <p:cNvPr id="5" name="Footer Placeholder 4">
            <a:extLst>
              <a:ext uri="{FF2B5EF4-FFF2-40B4-BE49-F238E27FC236}">
                <a16:creationId xmlns:a16="http://schemas.microsoft.com/office/drawing/2014/main" id="{CFF62C6E-35F4-5F41-9CAA-70CD537CD3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1984FE-F696-0043-B594-044F4A4B8249}"/>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42456945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083EA-099B-7A42-B7AF-42C8675EE893}"/>
              </a:ext>
            </a:extLst>
          </p:cNvPr>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96AA8509-942F-8947-9B73-8A06ADCC1BDD}"/>
              </a:ext>
            </a:extLst>
          </p:cNvPr>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0DDA8AE-A535-E74B-8075-6DFF897BED78}"/>
              </a:ext>
            </a:extLst>
          </p:cNvPr>
          <p:cNvSpPr>
            <a:spLocks noGrp="1"/>
          </p:cNvSpPr>
          <p:nvPr>
            <p:ph type="dt" sz="half" idx="10"/>
          </p:nvPr>
        </p:nvSpPr>
        <p:spPr/>
        <p:txBody>
          <a:bodyPr/>
          <a:lstStyle/>
          <a:p>
            <a:fld id="{559A4995-99F3-6C48-8980-DDECA35E6552}" type="datetimeFigureOut">
              <a:rPr lang="en-US" smtClean="0"/>
              <a:t>5/31/26</a:t>
            </a:fld>
            <a:endParaRPr lang="en-US"/>
          </a:p>
        </p:txBody>
      </p:sp>
      <p:sp>
        <p:nvSpPr>
          <p:cNvPr id="5" name="Footer Placeholder 4">
            <a:extLst>
              <a:ext uri="{FF2B5EF4-FFF2-40B4-BE49-F238E27FC236}">
                <a16:creationId xmlns:a16="http://schemas.microsoft.com/office/drawing/2014/main" id="{0FE3842A-85E9-EC45-AE13-43A91891A0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104DAA-7994-3843-ADC2-455A8CD96EE4}"/>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7406577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49D1B-3927-BB43-8534-F92FEFE92B0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3BBB28-4717-3343-B76E-78C111D0745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A26FFAD-5651-D14E-82E6-E0ED30756DB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1B1DEB6-E078-8C40-B750-DD784FE9A314}"/>
              </a:ext>
            </a:extLst>
          </p:cNvPr>
          <p:cNvSpPr>
            <a:spLocks noGrp="1"/>
          </p:cNvSpPr>
          <p:nvPr>
            <p:ph type="dt" sz="half" idx="10"/>
          </p:nvPr>
        </p:nvSpPr>
        <p:spPr/>
        <p:txBody>
          <a:bodyPr/>
          <a:lstStyle/>
          <a:p>
            <a:fld id="{559A4995-99F3-6C48-8980-DDECA35E6552}" type="datetimeFigureOut">
              <a:rPr lang="en-US" smtClean="0"/>
              <a:t>5/31/26</a:t>
            </a:fld>
            <a:endParaRPr lang="en-US"/>
          </a:p>
        </p:txBody>
      </p:sp>
      <p:sp>
        <p:nvSpPr>
          <p:cNvPr id="6" name="Footer Placeholder 5">
            <a:extLst>
              <a:ext uri="{FF2B5EF4-FFF2-40B4-BE49-F238E27FC236}">
                <a16:creationId xmlns:a16="http://schemas.microsoft.com/office/drawing/2014/main" id="{DC3A1A2F-5ABA-A243-BF07-2BE5E90EEDE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2C656A8-2DE4-BF4B-8CE6-EEE9B20E5B22}"/>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42027103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B9B7DA-8070-684A-B73B-034B1F3E2F6B}"/>
              </a:ext>
            </a:extLst>
          </p:cNvPr>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01CA913-56F2-DF40-B702-4AE2ECF9DF78}"/>
              </a:ext>
            </a:extLst>
          </p:cNvPr>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51022CE3-A2EF-EA40-BAD1-5A8BA381B257}"/>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69A5494-B8F6-5142-B3C9-60F749A57C1F}"/>
              </a:ext>
            </a:extLst>
          </p:cNvPr>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F5505BCE-DD5D-2044-8956-C9DB95306DCC}"/>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FD9A675-DC22-2649-8F83-3646A44F3EB1}"/>
              </a:ext>
            </a:extLst>
          </p:cNvPr>
          <p:cNvSpPr>
            <a:spLocks noGrp="1"/>
          </p:cNvSpPr>
          <p:nvPr>
            <p:ph type="dt" sz="half" idx="10"/>
          </p:nvPr>
        </p:nvSpPr>
        <p:spPr/>
        <p:txBody>
          <a:bodyPr/>
          <a:lstStyle/>
          <a:p>
            <a:fld id="{559A4995-99F3-6C48-8980-DDECA35E6552}" type="datetimeFigureOut">
              <a:rPr lang="en-US" smtClean="0"/>
              <a:t>5/31/26</a:t>
            </a:fld>
            <a:endParaRPr lang="en-US"/>
          </a:p>
        </p:txBody>
      </p:sp>
      <p:sp>
        <p:nvSpPr>
          <p:cNvPr id="8" name="Footer Placeholder 7">
            <a:extLst>
              <a:ext uri="{FF2B5EF4-FFF2-40B4-BE49-F238E27FC236}">
                <a16:creationId xmlns:a16="http://schemas.microsoft.com/office/drawing/2014/main" id="{DD968C7C-BFBF-7547-81E2-7C6A13B3AC6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A97FF57-E90D-2C4D-BDB2-DBAB43E3B85E}"/>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0114999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AF89D-A0AD-424D-AF22-50AA5056102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AAB2B05-3BA9-C24B-BA87-8C3DFA35AF86}"/>
              </a:ext>
            </a:extLst>
          </p:cNvPr>
          <p:cNvSpPr>
            <a:spLocks noGrp="1"/>
          </p:cNvSpPr>
          <p:nvPr>
            <p:ph type="dt" sz="half" idx="10"/>
          </p:nvPr>
        </p:nvSpPr>
        <p:spPr/>
        <p:txBody>
          <a:bodyPr/>
          <a:lstStyle/>
          <a:p>
            <a:fld id="{559A4995-99F3-6C48-8980-DDECA35E6552}" type="datetimeFigureOut">
              <a:rPr lang="en-US" smtClean="0"/>
              <a:t>5/31/26</a:t>
            </a:fld>
            <a:endParaRPr lang="en-US"/>
          </a:p>
        </p:txBody>
      </p:sp>
      <p:sp>
        <p:nvSpPr>
          <p:cNvPr id="4" name="Footer Placeholder 3">
            <a:extLst>
              <a:ext uri="{FF2B5EF4-FFF2-40B4-BE49-F238E27FC236}">
                <a16:creationId xmlns:a16="http://schemas.microsoft.com/office/drawing/2014/main" id="{68EF628F-1D9A-BA46-A7AF-17834A6C211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BFF8EBD-6BD9-B143-8493-6A51B5AC913B}"/>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7499031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6630121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455277C-62FB-074E-8732-2C266101D24C}"/>
              </a:ext>
            </a:extLst>
          </p:cNvPr>
          <p:cNvSpPr>
            <a:spLocks noGrp="1"/>
          </p:cNvSpPr>
          <p:nvPr>
            <p:ph type="dt" sz="half" idx="10"/>
          </p:nvPr>
        </p:nvSpPr>
        <p:spPr/>
        <p:txBody>
          <a:bodyPr/>
          <a:lstStyle/>
          <a:p>
            <a:fld id="{559A4995-99F3-6C48-8980-DDECA35E6552}" type="datetimeFigureOut">
              <a:rPr lang="en-US" smtClean="0"/>
              <a:t>5/31/26</a:t>
            </a:fld>
            <a:endParaRPr lang="en-US"/>
          </a:p>
        </p:txBody>
      </p:sp>
      <p:sp>
        <p:nvSpPr>
          <p:cNvPr id="3" name="Footer Placeholder 2">
            <a:extLst>
              <a:ext uri="{FF2B5EF4-FFF2-40B4-BE49-F238E27FC236}">
                <a16:creationId xmlns:a16="http://schemas.microsoft.com/office/drawing/2014/main" id="{D5EB783E-79B9-2844-9EDB-C7A81B0D81B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E434E37-10A4-F64A-ABF7-827AAD3D7B75}"/>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4283803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18C4D-46D2-B44A-86A3-E70E2E12B941}"/>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13590091-E322-D94B-85C0-E27D3C33BF51}"/>
              </a:ext>
            </a:extLst>
          </p:cNvPr>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213CC5D-7191-D040-93BC-BC500E016BA8}"/>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337AA2E6-A775-9C4B-8E3A-A3A892CF3856}"/>
              </a:ext>
            </a:extLst>
          </p:cNvPr>
          <p:cNvSpPr>
            <a:spLocks noGrp="1"/>
          </p:cNvSpPr>
          <p:nvPr>
            <p:ph type="dt" sz="half" idx="10"/>
          </p:nvPr>
        </p:nvSpPr>
        <p:spPr/>
        <p:txBody>
          <a:bodyPr/>
          <a:lstStyle/>
          <a:p>
            <a:fld id="{559A4995-99F3-6C48-8980-DDECA35E6552}" type="datetimeFigureOut">
              <a:rPr lang="en-US" smtClean="0"/>
              <a:t>5/31/26</a:t>
            </a:fld>
            <a:endParaRPr lang="en-US"/>
          </a:p>
        </p:txBody>
      </p:sp>
      <p:sp>
        <p:nvSpPr>
          <p:cNvPr id="6" name="Footer Placeholder 5">
            <a:extLst>
              <a:ext uri="{FF2B5EF4-FFF2-40B4-BE49-F238E27FC236}">
                <a16:creationId xmlns:a16="http://schemas.microsoft.com/office/drawing/2014/main" id="{49163C24-ED9F-CF43-9BE5-291C88AB503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7148698-79A0-9140-8372-AEF7AFB0D453}"/>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6349656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AFE61-74D9-7E4A-A5B5-6C3E53E6271E}"/>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751AA79F-0E9D-E844-97C3-E99F1EC7DE0D}"/>
              </a:ext>
            </a:extLst>
          </p:cNvPr>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3F08C160-CF83-3945-A784-A844F3081961}"/>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A715C371-7864-A04F-898F-BD95A39CB425}"/>
              </a:ext>
            </a:extLst>
          </p:cNvPr>
          <p:cNvSpPr>
            <a:spLocks noGrp="1"/>
          </p:cNvSpPr>
          <p:nvPr>
            <p:ph type="dt" sz="half" idx="10"/>
          </p:nvPr>
        </p:nvSpPr>
        <p:spPr/>
        <p:txBody>
          <a:bodyPr/>
          <a:lstStyle/>
          <a:p>
            <a:fld id="{559A4995-99F3-6C48-8980-DDECA35E6552}" type="datetimeFigureOut">
              <a:rPr lang="en-US" smtClean="0"/>
              <a:t>5/31/26</a:t>
            </a:fld>
            <a:endParaRPr lang="en-US"/>
          </a:p>
        </p:txBody>
      </p:sp>
      <p:sp>
        <p:nvSpPr>
          <p:cNvPr id="6" name="Footer Placeholder 5">
            <a:extLst>
              <a:ext uri="{FF2B5EF4-FFF2-40B4-BE49-F238E27FC236}">
                <a16:creationId xmlns:a16="http://schemas.microsoft.com/office/drawing/2014/main" id="{76D8AD07-6553-AE40-B1C3-B5D6D484F3E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1C889FD-1636-984C-AA18-9776DBEFE15C}"/>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9571502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638A26-43F1-FF4F-8D60-CE1F4276B75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8A3A0F6-BC76-4847-AB09-CAC0D806675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ABB59F-E18B-904D-945F-45F2DC6BC149}"/>
              </a:ext>
            </a:extLst>
          </p:cNvPr>
          <p:cNvSpPr>
            <a:spLocks noGrp="1"/>
          </p:cNvSpPr>
          <p:nvPr>
            <p:ph type="dt" sz="half" idx="10"/>
          </p:nvPr>
        </p:nvSpPr>
        <p:spPr/>
        <p:txBody>
          <a:bodyPr/>
          <a:lstStyle/>
          <a:p>
            <a:fld id="{559A4995-99F3-6C48-8980-DDECA35E6552}" type="datetimeFigureOut">
              <a:rPr lang="en-US" smtClean="0"/>
              <a:t>5/31/26</a:t>
            </a:fld>
            <a:endParaRPr lang="en-US"/>
          </a:p>
        </p:txBody>
      </p:sp>
      <p:sp>
        <p:nvSpPr>
          <p:cNvPr id="5" name="Footer Placeholder 4">
            <a:extLst>
              <a:ext uri="{FF2B5EF4-FFF2-40B4-BE49-F238E27FC236}">
                <a16:creationId xmlns:a16="http://schemas.microsoft.com/office/drawing/2014/main" id="{E3FB87FD-22D3-0A48-B7CC-5AFAA872CA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26885D-97D5-4B42-B020-806CD9AA1969}"/>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8965300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211FA34-99E1-2C42-98B3-0CA95805C299}"/>
              </a:ext>
            </a:extLst>
          </p:cNvPr>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DB51D3E-D331-E346-B45C-00932B67FDAC}"/>
              </a:ext>
            </a:extLst>
          </p:cNvPr>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B02F57-300D-3C45-8574-E741AF4DA481}"/>
              </a:ext>
            </a:extLst>
          </p:cNvPr>
          <p:cNvSpPr>
            <a:spLocks noGrp="1"/>
          </p:cNvSpPr>
          <p:nvPr>
            <p:ph type="dt" sz="half" idx="10"/>
          </p:nvPr>
        </p:nvSpPr>
        <p:spPr/>
        <p:txBody>
          <a:bodyPr/>
          <a:lstStyle/>
          <a:p>
            <a:fld id="{559A4995-99F3-6C48-8980-DDECA35E6552}" type="datetimeFigureOut">
              <a:rPr lang="en-US" smtClean="0"/>
              <a:t>5/31/26</a:t>
            </a:fld>
            <a:endParaRPr lang="en-US"/>
          </a:p>
        </p:txBody>
      </p:sp>
      <p:sp>
        <p:nvSpPr>
          <p:cNvPr id="5" name="Footer Placeholder 4">
            <a:extLst>
              <a:ext uri="{FF2B5EF4-FFF2-40B4-BE49-F238E27FC236}">
                <a16:creationId xmlns:a16="http://schemas.microsoft.com/office/drawing/2014/main" id="{A7FE98A0-6BE6-5D45-B648-32AEBC9B39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9C215D-3D9B-C241-B34E-72989860B4CB}"/>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0672631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7" b="0" i="0">
                <a:solidFill>
                  <a:srgbClr val="2A444B"/>
                </a:solidFill>
                <a:latin typeface="Times New Roman"/>
                <a:cs typeface="Times New Roman"/>
              </a:defRPr>
            </a:lvl1pPr>
          </a:lstStyle>
          <a:p>
            <a:endParaRPr/>
          </a:p>
        </p:txBody>
      </p:sp>
      <p:sp>
        <p:nvSpPr>
          <p:cNvPr id="3" name="Holder 3"/>
          <p:cNvSpPr>
            <a:spLocks noGrp="1"/>
          </p:cNvSpPr>
          <p:nvPr>
            <p:ph sz="half" idx="2"/>
          </p:nvPr>
        </p:nvSpPr>
        <p:spPr>
          <a:xfrm>
            <a:off x="609600" y="1401284"/>
            <a:ext cx="5303520" cy="29084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401284"/>
            <a:ext cx="5303520" cy="29084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31/26</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0971583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5A6F13-24F7-8A5C-AC73-8B91791DE8F0}"/>
              </a:ext>
            </a:extLst>
          </p:cNvPr>
          <p:cNvSpPr>
            <a:spLocks noGrp="1"/>
          </p:cNvSpPr>
          <p:nvPr>
            <p:ph type="title"/>
          </p:nvPr>
        </p:nvSpPr>
        <p:spPr>
          <a:xfrm>
            <a:off x="743709" y="153525"/>
            <a:ext cx="10515600" cy="891107"/>
          </a:xfrm>
        </p:spPr>
        <p:txBody>
          <a:bodyPr>
            <a:normAutofit/>
          </a:bodyPr>
          <a:lstStyle>
            <a:lvl1pPr>
              <a:defRPr sz="2400"/>
            </a:lvl1pPr>
          </a:lstStyle>
          <a:p>
            <a:r>
              <a:rPr lang="en-US"/>
              <a:t>Click to edit Master title style</a:t>
            </a:r>
          </a:p>
        </p:txBody>
      </p:sp>
      <p:sp>
        <p:nvSpPr>
          <p:cNvPr id="4" name="Content Placeholder 23">
            <a:extLst>
              <a:ext uri="{FF2B5EF4-FFF2-40B4-BE49-F238E27FC236}">
                <a16:creationId xmlns:a16="http://schemas.microsoft.com/office/drawing/2014/main" id="{1788884B-E278-F67B-7F7C-8AEAC394B3A7}"/>
              </a:ext>
            </a:extLst>
          </p:cNvPr>
          <p:cNvSpPr>
            <a:spLocks noGrp="1"/>
          </p:cNvSpPr>
          <p:nvPr>
            <p:ph sz="quarter" idx="14" hasCustomPrompt="1"/>
          </p:nvPr>
        </p:nvSpPr>
        <p:spPr>
          <a:xfrm>
            <a:off x="743709" y="6304666"/>
            <a:ext cx="10872787" cy="81817"/>
          </a:xfrm>
          <a:prstGeom prst="rect">
            <a:avLst/>
          </a:prstGeom>
        </p:spPr>
        <p:txBody>
          <a:bodyPr wrap="square" lIns="0" tIns="0" rIns="0" bIns="0" anchor="b" anchorCtr="0">
            <a:spAutoFit/>
          </a:bodyPr>
          <a:lstStyle>
            <a:lvl1pPr marL="0" indent="0">
              <a:lnSpc>
                <a:spcPct val="90000"/>
              </a:lnSpc>
              <a:spcBef>
                <a:spcPts val="0"/>
              </a:spcBef>
              <a:spcAft>
                <a:spcPts val="0"/>
              </a:spcAft>
              <a:buFontTx/>
              <a:buNone/>
              <a:defRPr sz="591"/>
            </a:lvl1pPr>
            <a:lvl2pPr marL="257168" indent="0">
              <a:buFontTx/>
              <a:buNone/>
              <a:defRPr sz="450"/>
            </a:lvl2pPr>
            <a:lvl3pPr marL="514337" indent="0">
              <a:buFontTx/>
              <a:buNone/>
              <a:defRPr sz="450"/>
            </a:lvl3pPr>
            <a:lvl4pPr marL="771506" indent="0">
              <a:buFontTx/>
              <a:buNone/>
              <a:defRPr sz="450"/>
            </a:lvl4pPr>
            <a:lvl5pPr marL="1028675" indent="0">
              <a:buFontTx/>
              <a:buNone/>
              <a:defRPr sz="450"/>
            </a:lvl5pPr>
          </a:lstStyle>
          <a:p>
            <a:pPr lvl="0"/>
            <a:r>
              <a:rPr lang="en-US"/>
              <a:t>Footer</a:t>
            </a:r>
          </a:p>
        </p:txBody>
      </p:sp>
      <p:sp>
        <p:nvSpPr>
          <p:cNvPr id="3" name="bk object 18">
            <a:extLst>
              <a:ext uri="{FF2B5EF4-FFF2-40B4-BE49-F238E27FC236}">
                <a16:creationId xmlns:a16="http://schemas.microsoft.com/office/drawing/2014/main" id="{A21F3C06-E803-42C9-5EEA-FF2F6F748052}"/>
              </a:ext>
            </a:extLst>
          </p:cNvPr>
          <p:cNvSpPr/>
          <p:nvPr userDrawn="1"/>
        </p:nvSpPr>
        <p:spPr>
          <a:xfrm>
            <a:off x="2" y="0"/>
            <a:ext cx="107156" cy="6858000"/>
          </a:xfrm>
          <a:custGeom>
            <a:avLst/>
            <a:gdLst/>
            <a:ahLst/>
            <a:cxnLst/>
            <a:rect l="l" t="t" r="r" b="b"/>
            <a:pathLst>
              <a:path w="142875" h="6858000">
                <a:moveTo>
                  <a:pt x="0" y="6858000"/>
                </a:moveTo>
                <a:lnTo>
                  <a:pt x="142494" y="6858000"/>
                </a:lnTo>
                <a:lnTo>
                  <a:pt x="142494" y="0"/>
                </a:lnTo>
                <a:lnTo>
                  <a:pt x="0" y="0"/>
                </a:lnTo>
                <a:lnTo>
                  <a:pt x="0" y="6858000"/>
                </a:lnTo>
                <a:close/>
              </a:path>
            </a:pathLst>
          </a:custGeom>
          <a:solidFill>
            <a:srgbClr val="CBB379"/>
          </a:solidFill>
        </p:spPr>
        <p:txBody>
          <a:bodyPr wrap="square" lIns="0" tIns="0" rIns="0" bIns="0" rtlCol="0"/>
          <a:lstStyle/>
          <a:p>
            <a:endParaRPr sz="1800"/>
          </a:p>
        </p:txBody>
      </p:sp>
    </p:spTree>
    <p:extLst>
      <p:ext uri="{BB962C8B-B14F-4D97-AF65-F5344CB8AC3E}">
        <p14:creationId xmlns:p14="http://schemas.microsoft.com/office/powerpoint/2010/main" val="86492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3466469"/>
            <a:ext cx="10363200" cy="891931"/>
          </a:xfrm>
          <a:prstGeom prst="rect">
            <a:avLst/>
          </a:prstGeom>
        </p:spPr>
        <p:txBody>
          <a:bodyPr>
            <a:normAutofit/>
          </a:bodyPr>
          <a:lstStyle>
            <a:lvl1pPr algn="ctr">
              <a:defRPr sz="3200" b="0" i="0">
                <a:solidFill>
                  <a:srgbClr val="CD113B"/>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1738671" y="5429211"/>
            <a:ext cx="8534400" cy="1073769"/>
          </a:xfrm>
          <a:prstGeom prst="rect">
            <a:avLst/>
          </a:prstGeom>
        </p:spPr>
        <p:txBody>
          <a:bodyPr>
            <a:normAutofit/>
          </a:bodyPr>
          <a:lstStyle>
            <a:lvl1pPr marL="0" indent="0" algn="ctr">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fld id="{12F42DBC-C000-474C-847A-96A1FE0230FB}" type="datetime1">
              <a:rPr lang="en-US"/>
              <a:pPr/>
              <a:t>5/31/26</a:t>
            </a:fld>
            <a:endParaRPr lang="en-US"/>
          </a:p>
        </p:txBody>
      </p:sp>
      <p:sp>
        <p:nvSpPr>
          <p:cNvPr id="6" name="Slide Number Placeholder 5"/>
          <p:cNvSpPr>
            <a:spLocks noGrp="1"/>
          </p:cNvSpPr>
          <p:nvPr>
            <p:ph type="sldNum" sz="quarter" idx="12"/>
          </p:nvPr>
        </p:nvSpPr>
        <p:spPr/>
        <p:txBody>
          <a:bodyPr/>
          <a:lstStyle>
            <a:lvl1pPr>
              <a:defRPr/>
            </a:lvl1pPr>
          </a:lstStyle>
          <a:p>
            <a:fld id="{D8009FEC-A01C-EB4F-9AED-98C23E3BD7AC}" type="slidenum">
              <a:rPr lang="en-US"/>
              <a:pPr/>
              <a:t>‹#›</a:t>
            </a:fld>
            <a:endParaRPr lang="en-US"/>
          </a:p>
        </p:txBody>
      </p:sp>
    </p:spTree>
    <p:extLst>
      <p:ext uri="{BB962C8B-B14F-4D97-AF65-F5344CB8AC3E}">
        <p14:creationId xmlns:p14="http://schemas.microsoft.com/office/powerpoint/2010/main" val="2867389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5/31/26</a:t>
            </a:fld>
            <a:endParaRPr lang="en-US"/>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609600" y="490454"/>
            <a:ext cx="10972800" cy="713539"/>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609600" y="1368923"/>
            <a:ext cx="10972800" cy="4947903"/>
          </a:xfrm>
          <a:prstGeom prst="rect">
            <a:avLst/>
          </a:prstGeom>
        </p:spPr>
        <p:txBody>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05305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a:prstGeom prst="rect">
            <a:avLst/>
          </a:prstGeom>
        </p:spPr>
        <p:txBody>
          <a:bodyPr anchor="t"/>
          <a:lstStyle>
            <a:lvl1pPr algn="l">
              <a:defRPr sz="32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1CEA077D-40D2-7645-91D9-F5061C772B13}" type="datetime1">
              <a:rPr lang="en-US"/>
              <a:pPr/>
              <a:t>5/31/26</a:t>
            </a:fld>
            <a:endParaRPr lang="en-US"/>
          </a:p>
        </p:txBody>
      </p:sp>
      <p:sp>
        <p:nvSpPr>
          <p:cNvPr id="6" name="Slide Number Placeholder 5"/>
          <p:cNvSpPr>
            <a:spLocks noGrp="1"/>
          </p:cNvSpPr>
          <p:nvPr>
            <p:ph type="sldNum" sz="quarter" idx="12"/>
          </p:nvPr>
        </p:nvSpPr>
        <p:spPr/>
        <p:txBody>
          <a:bodyPr/>
          <a:lstStyle>
            <a:lvl1pPr>
              <a:defRPr/>
            </a:lvl1pPr>
          </a:lstStyle>
          <a:p>
            <a:fld id="{24AA7F1F-F248-F943-913A-EBF08A13E994}" type="slidenum">
              <a:rPr lang="en-US"/>
              <a:pPr/>
              <a:t>‹#›</a:t>
            </a:fld>
            <a:endParaRPr lang="en-US"/>
          </a:p>
        </p:txBody>
      </p:sp>
    </p:spTree>
    <p:extLst>
      <p:ext uri="{BB962C8B-B14F-4D97-AF65-F5344CB8AC3E}">
        <p14:creationId xmlns:p14="http://schemas.microsoft.com/office/powerpoint/2010/main" val="8933059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4175657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368923"/>
            <a:ext cx="5384800" cy="3537599"/>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368923"/>
            <a:ext cx="5384800" cy="3537599"/>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2112AE92-20AD-8D4C-BE5B-92E66A82D5FE}" type="datetime1">
              <a:rPr lang="en-US"/>
              <a:pPr/>
              <a:t>5/31/26</a:t>
            </a:fld>
            <a:endParaRPr lang="en-US"/>
          </a:p>
        </p:txBody>
      </p:sp>
      <p:sp>
        <p:nvSpPr>
          <p:cNvPr id="7" name="Slide Number Placeholder 5"/>
          <p:cNvSpPr>
            <a:spLocks noGrp="1"/>
          </p:cNvSpPr>
          <p:nvPr>
            <p:ph type="sldNum" sz="quarter" idx="12"/>
          </p:nvPr>
        </p:nvSpPr>
        <p:spPr/>
        <p:txBody>
          <a:bodyPr/>
          <a:lstStyle>
            <a:lvl1pPr>
              <a:defRPr/>
            </a:lvl1pPr>
          </a:lstStyle>
          <a:p>
            <a:fld id="{590444B3-43E0-CD49-8543-3A769AE78B9D}" type="slidenum">
              <a:rPr lang="en-US"/>
              <a:pPr/>
              <a:t>‹#›</a:t>
            </a:fld>
            <a:endParaRPr lang="en-US"/>
          </a:p>
        </p:txBody>
      </p:sp>
      <p:sp>
        <p:nvSpPr>
          <p:cNvPr id="8" name="Title 1"/>
          <p:cNvSpPr>
            <a:spLocks noGrp="1"/>
          </p:cNvSpPr>
          <p:nvPr>
            <p:ph type="title"/>
          </p:nvPr>
        </p:nvSpPr>
        <p:spPr>
          <a:xfrm>
            <a:off x="609600" y="490454"/>
            <a:ext cx="10972800" cy="713539"/>
          </a:xfrm>
          <a:prstGeom prst="rect">
            <a:avLst/>
          </a:prstGeom>
        </p:spPr>
        <p:txBody>
          <a:bodyPr/>
          <a:lstStyle>
            <a:lvl1pPr>
              <a:defRPr>
                <a:solidFill>
                  <a:srgbClr val="CD113B"/>
                </a:solidFill>
              </a:defRPr>
            </a:lvl1pPr>
          </a:lstStyle>
          <a:p>
            <a:r>
              <a:rPr lang="en-US"/>
              <a:t>Click to edit Master title style</a:t>
            </a:r>
          </a:p>
        </p:txBody>
      </p:sp>
    </p:spTree>
    <p:extLst>
      <p:ext uri="{BB962C8B-B14F-4D97-AF65-F5344CB8AC3E}">
        <p14:creationId xmlns:p14="http://schemas.microsoft.com/office/powerpoint/2010/main" val="7552227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89717" y="1368923"/>
            <a:ext cx="7315200" cy="4727077"/>
          </a:xfrm>
          <a:prstGeom prst="rect">
            <a:avLst/>
          </a:prstGeo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7" name="Slide Number Placeholder 5"/>
          <p:cNvSpPr>
            <a:spLocks noGrp="1"/>
          </p:cNvSpPr>
          <p:nvPr>
            <p:ph type="sldNum" sz="quarter" idx="12"/>
          </p:nvPr>
        </p:nvSpPr>
        <p:spPr/>
        <p:txBody>
          <a:bodyPr/>
          <a:lstStyle>
            <a:lvl1pPr>
              <a:defRPr/>
            </a:lvl1pPr>
          </a:lstStyle>
          <a:p>
            <a:fld id="{7C5520E0-F525-124B-8DCB-FDFCBFF95DED}" type="slidenum">
              <a:rPr lang="en-US"/>
              <a:pPr/>
              <a:t>‹#›</a:t>
            </a:fld>
            <a:endParaRPr lang="en-US"/>
          </a:p>
        </p:txBody>
      </p:sp>
      <p:sp>
        <p:nvSpPr>
          <p:cNvPr id="8" name="Title 1"/>
          <p:cNvSpPr>
            <a:spLocks noGrp="1"/>
          </p:cNvSpPr>
          <p:nvPr>
            <p:ph type="title"/>
          </p:nvPr>
        </p:nvSpPr>
        <p:spPr>
          <a:xfrm>
            <a:off x="609600" y="490454"/>
            <a:ext cx="10972800" cy="713539"/>
          </a:xfrm>
          <a:prstGeom prst="rect">
            <a:avLst/>
          </a:prstGeom>
        </p:spPr>
        <p:txBody>
          <a:bodyPr/>
          <a:lstStyle>
            <a:lvl1pPr>
              <a:defRPr>
                <a:solidFill>
                  <a:srgbClr val="CD113B"/>
                </a:solidFill>
              </a:defRPr>
            </a:lvl1pPr>
          </a:lstStyle>
          <a:p>
            <a:r>
              <a:rPr lang="en-US"/>
              <a:t>Click to edit Master title style</a:t>
            </a:r>
          </a:p>
        </p:txBody>
      </p:sp>
    </p:spTree>
    <p:extLst>
      <p:ext uri="{BB962C8B-B14F-4D97-AF65-F5344CB8AC3E}">
        <p14:creationId xmlns:p14="http://schemas.microsoft.com/office/powerpoint/2010/main" val="19335919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59A4995-99F3-6C48-8980-DDECA35E6552}" type="datetimeFigureOut">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346587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9A4995-99F3-6C48-8980-DDECA35E6552}" type="datetimeFigureOut">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5011471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59A4995-99F3-6C48-8980-DDECA35E6552}" type="datetimeFigureOut">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1745410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59A4995-99F3-6C48-8980-DDECA35E6552}" type="datetimeFigureOut">
              <a:rPr lang="en-US" smtClean="0"/>
              <a:t>5/31/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3468612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59A4995-99F3-6C48-8980-DDECA35E6552}" type="datetimeFigureOut">
              <a:rPr lang="en-US" smtClean="0"/>
              <a:t>5/31/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6379409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59A4995-99F3-6C48-8980-DDECA35E6552}" type="datetimeFigureOut">
              <a:rPr lang="en-US" smtClean="0"/>
              <a:t>5/31/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6757040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59A4995-99F3-6C48-8980-DDECA35E6552}" type="datetimeFigureOut">
              <a:rPr lang="en-US" smtClean="0"/>
              <a:t>5/31/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741763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59A4995-99F3-6C48-8980-DDECA35E6552}" type="datetimeFigureOut">
              <a:rPr lang="en-US" smtClean="0"/>
              <a:t>5/31/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6839331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883008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59A4995-99F3-6C48-8980-DDECA35E6552}" type="datetimeFigureOut">
              <a:rPr lang="en-US" smtClean="0"/>
              <a:t>5/31/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6923391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9A4995-99F3-6C48-8980-DDECA35E6552}" type="datetimeFigureOut">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7156136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9A4995-99F3-6C48-8980-DDECA35E6552}" type="datetimeFigureOut">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4580716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5A6F13-24F7-8A5C-AC73-8B91791DE8F0}"/>
              </a:ext>
            </a:extLst>
          </p:cNvPr>
          <p:cNvSpPr>
            <a:spLocks noGrp="1"/>
          </p:cNvSpPr>
          <p:nvPr>
            <p:ph type="title"/>
          </p:nvPr>
        </p:nvSpPr>
        <p:spPr>
          <a:xfrm>
            <a:off x="743709" y="153525"/>
            <a:ext cx="10515600" cy="891107"/>
          </a:xfrm>
        </p:spPr>
        <p:txBody>
          <a:bodyPr>
            <a:normAutofit/>
          </a:bodyPr>
          <a:lstStyle>
            <a:lvl1pPr>
              <a:defRPr sz="2400"/>
            </a:lvl1pPr>
          </a:lstStyle>
          <a:p>
            <a:r>
              <a:rPr lang="en-US"/>
              <a:t>Click to edit Master title style</a:t>
            </a:r>
          </a:p>
        </p:txBody>
      </p:sp>
      <p:sp>
        <p:nvSpPr>
          <p:cNvPr id="4" name="Content Placeholder 23">
            <a:extLst>
              <a:ext uri="{FF2B5EF4-FFF2-40B4-BE49-F238E27FC236}">
                <a16:creationId xmlns:a16="http://schemas.microsoft.com/office/drawing/2014/main" id="{1788884B-E278-F67B-7F7C-8AEAC394B3A7}"/>
              </a:ext>
            </a:extLst>
          </p:cNvPr>
          <p:cNvSpPr>
            <a:spLocks noGrp="1"/>
          </p:cNvSpPr>
          <p:nvPr>
            <p:ph sz="quarter" idx="14" hasCustomPrompt="1"/>
          </p:nvPr>
        </p:nvSpPr>
        <p:spPr>
          <a:xfrm>
            <a:off x="743709" y="6304666"/>
            <a:ext cx="10872787" cy="81817"/>
          </a:xfrm>
          <a:prstGeom prst="rect">
            <a:avLst/>
          </a:prstGeom>
        </p:spPr>
        <p:txBody>
          <a:bodyPr wrap="square" lIns="0" tIns="0" rIns="0" bIns="0" anchor="b" anchorCtr="0">
            <a:spAutoFit/>
          </a:bodyPr>
          <a:lstStyle>
            <a:lvl1pPr marL="0" indent="0">
              <a:lnSpc>
                <a:spcPct val="90000"/>
              </a:lnSpc>
              <a:spcBef>
                <a:spcPts val="0"/>
              </a:spcBef>
              <a:spcAft>
                <a:spcPts val="0"/>
              </a:spcAft>
              <a:buFontTx/>
              <a:buNone/>
              <a:defRPr sz="591"/>
            </a:lvl1pPr>
            <a:lvl2pPr marL="257168" indent="0">
              <a:buFontTx/>
              <a:buNone/>
              <a:defRPr sz="450"/>
            </a:lvl2pPr>
            <a:lvl3pPr marL="514337" indent="0">
              <a:buFontTx/>
              <a:buNone/>
              <a:defRPr sz="450"/>
            </a:lvl3pPr>
            <a:lvl4pPr marL="771506" indent="0">
              <a:buFontTx/>
              <a:buNone/>
              <a:defRPr sz="450"/>
            </a:lvl4pPr>
            <a:lvl5pPr marL="1028675" indent="0">
              <a:buFontTx/>
              <a:buNone/>
              <a:defRPr sz="450"/>
            </a:lvl5pPr>
          </a:lstStyle>
          <a:p>
            <a:pPr lvl="0"/>
            <a:r>
              <a:rPr lang="en-US"/>
              <a:t>Footer</a:t>
            </a:r>
          </a:p>
        </p:txBody>
      </p:sp>
      <p:sp>
        <p:nvSpPr>
          <p:cNvPr id="3" name="bk object 18">
            <a:extLst>
              <a:ext uri="{FF2B5EF4-FFF2-40B4-BE49-F238E27FC236}">
                <a16:creationId xmlns:a16="http://schemas.microsoft.com/office/drawing/2014/main" id="{A21F3C06-E803-42C9-5EEA-FF2F6F748052}"/>
              </a:ext>
            </a:extLst>
          </p:cNvPr>
          <p:cNvSpPr/>
          <p:nvPr userDrawn="1"/>
        </p:nvSpPr>
        <p:spPr>
          <a:xfrm>
            <a:off x="2" y="0"/>
            <a:ext cx="107156" cy="6858000"/>
          </a:xfrm>
          <a:custGeom>
            <a:avLst/>
            <a:gdLst/>
            <a:ahLst/>
            <a:cxnLst/>
            <a:rect l="l" t="t" r="r" b="b"/>
            <a:pathLst>
              <a:path w="142875" h="6858000">
                <a:moveTo>
                  <a:pt x="0" y="6858000"/>
                </a:moveTo>
                <a:lnTo>
                  <a:pt x="142494" y="6858000"/>
                </a:lnTo>
                <a:lnTo>
                  <a:pt x="142494" y="0"/>
                </a:lnTo>
                <a:lnTo>
                  <a:pt x="0" y="0"/>
                </a:lnTo>
                <a:lnTo>
                  <a:pt x="0" y="6858000"/>
                </a:lnTo>
                <a:close/>
              </a:path>
            </a:pathLst>
          </a:custGeom>
          <a:solidFill>
            <a:srgbClr val="CBB379"/>
          </a:solidFill>
        </p:spPr>
        <p:txBody>
          <a:bodyPr wrap="square" lIns="0" tIns="0" rIns="0" bIns="0" rtlCol="0"/>
          <a:lstStyle/>
          <a:p>
            <a:endParaRPr/>
          </a:p>
        </p:txBody>
      </p:sp>
    </p:spTree>
    <p:extLst>
      <p:ext uri="{BB962C8B-B14F-4D97-AF65-F5344CB8AC3E}">
        <p14:creationId xmlns:p14="http://schemas.microsoft.com/office/powerpoint/2010/main" val="11126760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5/31/26</a:t>
            </a:fld>
            <a:endParaRPr lang="en-US"/>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609600" y="490458"/>
            <a:ext cx="10972800" cy="713539"/>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609600" y="1368927"/>
            <a:ext cx="10972800" cy="4947903"/>
          </a:xfrm>
          <a:prstGeom prst="rect">
            <a:avLst/>
          </a:prstGeom>
        </p:spPr>
        <p:txBody>
          <a:bodyPr/>
          <a:lstStyle>
            <a:lvl1pPr>
              <a:defRPr sz="1500">
                <a:solidFill>
                  <a:schemeClr val="tx1"/>
                </a:solidFill>
              </a:defRPr>
            </a:lvl1pPr>
            <a:lvl2pPr>
              <a:defRPr sz="1350">
                <a:solidFill>
                  <a:schemeClr val="tx1"/>
                </a:solidFill>
              </a:defRPr>
            </a:lvl2pPr>
            <a:lvl3pPr>
              <a:defRPr sz="1200">
                <a:solidFill>
                  <a:schemeClr val="tx1"/>
                </a:solidFill>
              </a:defRPr>
            </a:lvl3pPr>
            <a:lvl4pPr>
              <a:defRPr sz="1050">
                <a:solidFill>
                  <a:schemeClr val="tx1"/>
                </a:solidFill>
              </a:defRPr>
            </a:lvl4pPr>
            <a:lvl5pPr>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bk object 18">
            <a:extLst>
              <a:ext uri="{FF2B5EF4-FFF2-40B4-BE49-F238E27FC236}">
                <a16:creationId xmlns:a16="http://schemas.microsoft.com/office/drawing/2014/main" id="{25EAD37F-746E-8DE9-7184-64F3FB19EA7C}"/>
              </a:ext>
            </a:extLst>
          </p:cNvPr>
          <p:cNvSpPr/>
          <p:nvPr userDrawn="1"/>
        </p:nvSpPr>
        <p:spPr>
          <a:xfrm>
            <a:off x="2" y="0"/>
            <a:ext cx="107156" cy="6858000"/>
          </a:xfrm>
          <a:custGeom>
            <a:avLst/>
            <a:gdLst/>
            <a:ahLst/>
            <a:cxnLst/>
            <a:rect l="l" t="t" r="r" b="b"/>
            <a:pathLst>
              <a:path w="142875" h="6858000">
                <a:moveTo>
                  <a:pt x="0" y="6858000"/>
                </a:moveTo>
                <a:lnTo>
                  <a:pt x="142494" y="6858000"/>
                </a:lnTo>
                <a:lnTo>
                  <a:pt x="142494" y="0"/>
                </a:lnTo>
                <a:lnTo>
                  <a:pt x="0" y="0"/>
                </a:lnTo>
                <a:lnTo>
                  <a:pt x="0" y="6858000"/>
                </a:lnTo>
                <a:close/>
              </a:path>
            </a:pathLst>
          </a:custGeom>
          <a:solidFill>
            <a:srgbClr val="CBB379"/>
          </a:solidFill>
        </p:spPr>
        <p:txBody>
          <a:bodyPr wrap="square" lIns="0" tIns="0" rIns="0" bIns="0" rtlCol="0"/>
          <a:lstStyle/>
          <a:p>
            <a:endParaRPr/>
          </a:p>
        </p:txBody>
      </p:sp>
    </p:spTree>
    <p:extLst>
      <p:ext uri="{BB962C8B-B14F-4D97-AF65-F5344CB8AC3E}">
        <p14:creationId xmlns:p14="http://schemas.microsoft.com/office/powerpoint/2010/main" val="943282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8"/>
            <a:ext cx="5852160" cy="281355"/>
          </a:xfrm>
        </p:spPr>
        <p:txBody>
          <a:bodyPr lIns="0" tIns="0" rIns="0" bIns="0" anchor="b" anchorCtr="0">
            <a:noAutofit/>
          </a:bodyPr>
          <a:lstStyle>
            <a:lvl1pPr marL="0" indent="0">
              <a:spcBef>
                <a:spcPts val="0"/>
              </a:spcBef>
              <a:buFontTx/>
              <a:buNone/>
              <a:defRPr sz="750">
                <a:solidFill>
                  <a:srgbClr val="002557"/>
                </a:solidFill>
              </a:defRPr>
            </a:lvl1pPr>
            <a:lvl2pPr>
              <a:defRPr sz="675">
                <a:solidFill>
                  <a:srgbClr val="002557"/>
                </a:solidFill>
              </a:defRPr>
            </a:lvl2pPr>
            <a:lvl3pPr>
              <a:defRPr sz="675">
                <a:solidFill>
                  <a:srgbClr val="002557"/>
                </a:solidFill>
              </a:defRPr>
            </a:lvl3pPr>
            <a:lvl4pPr>
              <a:defRPr sz="675">
                <a:solidFill>
                  <a:srgbClr val="002557"/>
                </a:solidFill>
              </a:defRPr>
            </a:lvl4pPr>
            <a:lvl5pPr>
              <a:defRPr sz="675">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1601907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a:xfrm>
            <a:off x="8610600" y="6356354"/>
            <a:ext cx="2743200" cy="365125"/>
          </a:xfrm>
          <a:prstGeom prst="rect">
            <a:avLst/>
          </a:prstGeom>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52"/>
            <a:ext cx="5852160" cy="281355"/>
          </a:xfrm>
        </p:spPr>
        <p:txBody>
          <a:bodyPr lIns="0" tIns="0" rIns="0" bIns="0" anchor="b" anchorCtr="0">
            <a:noAutofit/>
          </a:bodyPr>
          <a:lstStyle>
            <a:lvl1pPr marL="0" indent="0">
              <a:spcBef>
                <a:spcPts val="0"/>
              </a:spcBef>
              <a:buFontTx/>
              <a:buNone/>
              <a:defRPr sz="563">
                <a:solidFill>
                  <a:srgbClr val="002557"/>
                </a:solidFill>
              </a:defRPr>
            </a:lvl1pPr>
            <a:lvl2pPr>
              <a:defRPr sz="506">
                <a:solidFill>
                  <a:srgbClr val="002557"/>
                </a:solidFill>
              </a:defRPr>
            </a:lvl2pPr>
            <a:lvl3pPr>
              <a:defRPr sz="506">
                <a:solidFill>
                  <a:srgbClr val="002557"/>
                </a:solidFill>
              </a:defRPr>
            </a:lvl3pPr>
            <a:lvl4pPr>
              <a:defRPr sz="506">
                <a:solidFill>
                  <a:srgbClr val="002557"/>
                </a:solidFill>
              </a:defRPr>
            </a:lvl4pPr>
            <a:lvl5pPr>
              <a:defRPr sz="506">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7752359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605A4A-6623-1F90-F653-2974337CA761}"/>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E2F280F1-A8A3-F899-BD63-4B29DDBFA3BC}"/>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7009215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0D8B1-1581-4488-A1A4-886D01EEFD4F}"/>
              </a:ext>
            </a:extLst>
          </p:cNvPr>
          <p:cNvSpPr>
            <a:spLocks noGrp="1"/>
          </p:cNvSpPr>
          <p:nvPr>
            <p:ph type="title" hasCustomPrompt="1"/>
          </p:nvPr>
        </p:nvSpPr>
        <p:spPr/>
        <p:txBody>
          <a:bodyPr/>
          <a:lstStyle>
            <a:lvl1pPr>
              <a:defRPr/>
            </a:lvl1pPr>
          </a:lstStyle>
          <a:p>
            <a:r>
              <a:rPr lang="en-US"/>
              <a:t>[Slide title]</a:t>
            </a:r>
          </a:p>
        </p:txBody>
      </p:sp>
      <p:sp>
        <p:nvSpPr>
          <p:cNvPr id="5" name="Slide Number Placeholder 2">
            <a:extLst>
              <a:ext uri="{FF2B5EF4-FFF2-40B4-BE49-F238E27FC236}">
                <a16:creationId xmlns:a16="http://schemas.microsoft.com/office/drawing/2014/main" id="{6CF9CDAC-EC28-4BA6-9827-D58133E18874}"/>
              </a:ext>
            </a:extLst>
          </p:cNvPr>
          <p:cNvSpPr>
            <a:spLocks noGrp="1"/>
          </p:cNvSpPr>
          <p:nvPr>
            <p:ph type="sldNum" sz="quarter" idx="12"/>
          </p:nvPr>
        </p:nvSpPr>
        <p:spPr/>
        <p:txBody>
          <a:bodyPr/>
          <a:lstStyle/>
          <a:p>
            <a:fld id="{B58DE5F1-E0F9-4CCA-92B7-7A6FC4DFEE14}" type="slidenum">
              <a:rPr lang="en-US" smtClean="0"/>
              <a:t>‹#›</a:t>
            </a:fld>
            <a:endParaRPr lang="en-US"/>
          </a:p>
        </p:txBody>
      </p:sp>
      <p:sp>
        <p:nvSpPr>
          <p:cNvPr id="7" name="Content Placeholder 23">
            <a:extLst>
              <a:ext uri="{FF2B5EF4-FFF2-40B4-BE49-F238E27FC236}">
                <a16:creationId xmlns:a16="http://schemas.microsoft.com/office/drawing/2014/main" id="{B3ABCDB3-CD54-7DD1-5C78-E03262F50C48}"/>
              </a:ext>
            </a:extLst>
          </p:cNvPr>
          <p:cNvSpPr>
            <a:spLocks noGrp="1"/>
          </p:cNvSpPr>
          <p:nvPr>
            <p:ph sz="quarter" idx="15"/>
          </p:nvPr>
        </p:nvSpPr>
        <p:spPr>
          <a:xfrm>
            <a:off x="376240" y="6246409"/>
            <a:ext cx="10872787" cy="83100"/>
          </a:xfrm>
          <a:prstGeom prst="rect">
            <a:avLst/>
          </a:prstGeom>
        </p:spPr>
        <p:txBody>
          <a:bodyPr wrap="square" lIns="0" tIns="0" rIns="0" bIns="0" anchor="b" anchorCtr="0">
            <a:spAutoFit/>
          </a:bodyPr>
          <a:lstStyle>
            <a:lvl1pPr marL="0" indent="0">
              <a:lnSpc>
                <a:spcPct val="90000"/>
              </a:lnSpc>
              <a:spcBef>
                <a:spcPts val="0"/>
              </a:spcBef>
              <a:spcAft>
                <a:spcPts val="0"/>
              </a:spcAft>
              <a:buFontTx/>
              <a:buNone/>
              <a:defRPr sz="600"/>
            </a:lvl1pPr>
            <a:lvl2pPr marL="342892" indent="0">
              <a:buFontTx/>
              <a:buNone/>
              <a:defRPr sz="600"/>
            </a:lvl2pPr>
            <a:lvl3pPr marL="685783" indent="0">
              <a:buFontTx/>
              <a:buNone/>
              <a:defRPr sz="600"/>
            </a:lvl3pPr>
            <a:lvl4pPr marL="1028675" indent="0">
              <a:buFontTx/>
              <a:buNone/>
              <a:defRPr sz="600"/>
            </a:lvl4pPr>
            <a:lvl5pPr marL="1371566" indent="0">
              <a:buFontTx/>
              <a:buNone/>
              <a:defRPr sz="600"/>
            </a:lvl5pPr>
          </a:lstStyle>
          <a:p>
            <a:pPr lvl="0"/>
            <a:r>
              <a:rPr lang="en-US"/>
              <a:t>Click to edit Master text styles</a:t>
            </a:r>
          </a:p>
        </p:txBody>
      </p:sp>
    </p:spTree>
    <p:extLst>
      <p:ext uri="{BB962C8B-B14F-4D97-AF65-F5344CB8AC3E}">
        <p14:creationId xmlns:p14="http://schemas.microsoft.com/office/powerpoint/2010/main" val="33932773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5BE734-87B0-9FF2-5E01-25E18F10C679}"/>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46CBF08F-D34D-4142-2901-5911800B0D01}"/>
              </a:ext>
            </a:extLst>
          </p:cNvPr>
          <p:cNvSpPr>
            <a:spLocks noGrp="1"/>
          </p:cNvSpPr>
          <p:nvPr>
            <p:ph type="ftr" sz="quarter" idx="10"/>
          </p:nvPr>
        </p:nvSpPr>
        <p:spPr/>
        <p:txBody>
          <a:bodyPr/>
          <a:lstStyle/>
          <a:p>
            <a:r>
              <a:rPr lang="de-DE"/>
              <a:t>Titel | Abteilung/Institut | Datum</a:t>
            </a:r>
          </a:p>
        </p:txBody>
      </p:sp>
      <p:sp>
        <p:nvSpPr>
          <p:cNvPr id="4" name="Slide Number Placeholder 3">
            <a:extLst>
              <a:ext uri="{FF2B5EF4-FFF2-40B4-BE49-F238E27FC236}">
                <a16:creationId xmlns:a16="http://schemas.microsoft.com/office/drawing/2014/main" id="{285EF948-C8DB-BAA5-FEE8-2202E80ABE42}"/>
              </a:ext>
            </a:extLst>
          </p:cNvPr>
          <p:cNvSpPr>
            <a:spLocks noGrp="1"/>
          </p:cNvSpPr>
          <p:nvPr>
            <p:ph type="sldNum" sz="quarter" idx="11"/>
          </p:nvPr>
        </p:nvSpPr>
        <p:spPr/>
        <p:txBody>
          <a:bodyPr/>
          <a:lstStyle/>
          <a:p>
            <a:fld id="{C457A7E8-3F45-46AC-80A6-5B03F18BB502}" type="slidenum">
              <a:rPr lang="de-DE" smtClean="0"/>
              <a:pPr/>
              <a:t>‹#›</a:t>
            </a:fld>
            <a:endParaRPr lang="de-DE"/>
          </a:p>
        </p:txBody>
      </p:sp>
    </p:spTree>
    <p:extLst>
      <p:ext uri="{BB962C8B-B14F-4D97-AF65-F5344CB8AC3E}">
        <p14:creationId xmlns:p14="http://schemas.microsoft.com/office/powerpoint/2010/main" val="17308268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400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6221969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59A4995-99F3-6C48-8980-DDECA35E6552}" type="datetimeFigureOut">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6690819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9A4995-99F3-6C48-8980-DDECA35E6552}" type="datetimeFigureOut">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4103836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59A4995-99F3-6C48-8980-DDECA35E6552}" type="datetimeFigureOut">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1282175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59A4995-99F3-6C48-8980-DDECA35E6552}" type="datetimeFigureOut">
              <a:rPr lang="en-US" smtClean="0"/>
              <a:t>5/31/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6874081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59A4995-99F3-6C48-8980-DDECA35E6552}" type="datetimeFigureOut">
              <a:rPr lang="en-US" smtClean="0"/>
              <a:t>5/31/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8749776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59A4995-99F3-6C48-8980-DDECA35E6552}" type="datetimeFigureOut">
              <a:rPr lang="en-US" smtClean="0"/>
              <a:t>5/31/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44627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59A4995-99F3-6C48-8980-DDECA35E6552}" type="datetimeFigureOut">
              <a:rPr lang="en-US" smtClean="0"/>
              <a:t>5/31/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7466582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59A4995-99F3-6C48-8980-DDECA35E6552}" type="datetimeFigureOut">
              <a:rPr lang="en-US" smtClean="0"/>
              <a:t>5/31/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737021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59A4995-99F3-6C48-8980-DDECA35E6552}" type="datetimeFigureOut">
              <a:rPr lang="en-US" smtClean="0"/>
              <a:t>5/31/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7339339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9A4995-99F3-6C48-8980-DDECA35E6552}" type="datetimeFigureOut">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0378910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8993174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9A4995-99F3-6C48-8980-DDECA35E6552}" type="datetimeFigureOut">
              <a:rPr lang="en-US" smtClean="0"/>
              <a:t>5/31/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41970617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a:xfrm>
            <a:off x="8610600" y="6356356"/>
            <a:ext cx="2743200" cy="365125"/>
          </a:xfrm>
          <a:prstGeom prst="rect">
            <a:avLst/>
          </a:prstGeom>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54"/>
            <a:ext cx="5852160" cy="281355"/>
          </a:xfrm>
        </p:spPr>
        <p:txBody>
          <a:bodyPr lIns="0" tIns="0" rIns="0" bIns="0" anchor="b" anchorCtr="0">
            <a:noAutofit/>
          </a:bodyPr>
          <a:lstStyle>
            <a:lvl1pPr marL="0" indent="0">
              <a:spcBef>
                <a:spcPts val="0"/>
              </a:spcBef>
              <a:buFontTx/>
              <a:buNone/>
              <a:defRPr sz="422">
                <a:solidFill>
                  <a:srgbClr val="002557"/>
                </a:solidFill>
              </a:defRPr>
            </a:lvl1pPr>
            <a:lvl2pPr>
              <a:defRPr sz="380">
                <a:solidFill>
                  <a:srgbClr val="002557"/>
                </a:solidFill>
              </a:defRPr>
            </a:lvl2pPr>
            <a:lvl3pPr>
              <a:defRPr sz="380">
                <a:solidFill>
                  <a:srgbClr val="002557"/>
                </a:solidFill>
              </a:defRPr>
            </a:lvl3pPr>
            <a:lvl4pPr>
              <a:defRPr sz="380">
                <a:solidFill>
                  <a:srgbClr val="002557"/>
                </a:solidFill>
              </a:defRPr>
            </a:lvl4pPr>
            <a:lvl5pPr>
              <a:defRPr sz="38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9252907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5A6F13-24F7-8A5C-AC73-8B91791DE8F0}"/>
              </a:ext>
            </a:extLst>
          </p:cNvPr>
          <p:cNvSpPr>
            <a:spLocks noGrp="1"/>
          </p:cNvSpPr>
          <p:nvPr>
            <p:ph type="title"/>
          </p:nvPr>
        </p:nvSpPr>
        <p:spPr>
          <a:xfrm>
            <a:off x="743709" y="153527"/>
            <a:ext cx="10515600" cy="891107"/>
          </a:xfrm>
        </p:spPr>
        <p:txBody>
          <a:bodyPr>
            <a:normAutofit/>
          </a:bodyPr>
          <a:lstStyle>
            <a:lvl1pPr>
              <a:defRPr sz="1800"/>
            </a:lvl1pPr>
          </a:lstStyle>
          <a:p>
            <a:r>
              <a:rPr lang="en-US"/>
              <a:t>Click to edit Master title style</a:t>
            </a:r>
          </a:p>
        </p:txBody>
      </p:sp>
      <p:sp>
        <p:nvSpPr>
          <p:cNvPr id="4" name="Content Placeholder 23">
            <a:extLst>
              <a:ext uri="{FF2B5EF4-FFF2-40B4-BE49-F238E27FC236}">
                <a16:creationId xmlns:a16="http://schemas.microsoft.com/office/drawing/2014/main" id="{1788884B-E278-F67B-7F7C-8AEAC394B3A7}"/>
              </a:ext>
            </a:extLst>
          </p:cNvPr>
          <p:cNvSpPr>
            <a:spLocks noGrp="1"/>
          </p:cNvSpPr>
          <p:nvPr>
            <p:ph sz="quarter" idx="14" hasCustomPrompt="1"/>
          </p:nvPr>
        </p:nvSpPr>
        <p:spPr>
          <a:xfrm>
            <a:off x="743709" y="6325122"/>
            <a:ext cx="10872787" cy="61363"/>
          </a:xfrm>
          <a:prstGeom prst="rect">
            <a:avLst/>
          </a:prstGeom>
        </p:spPr>
        <p:txBody>
          <a:bodyPr wrap="square" lIns="0" tIns="0" rIns="0" bIns="0" anchor="b" anchorCtr="0">
            <a:spAutoFit/>
          </a:bodyPr>
          <a:lstStyle>
            <a:lvl1pPr marL="0" indent="0">
              <a:lnSpc>
                <a:spcPct val="90000"/>
              </a:lnSpc>
              <a:spcBef>
                <a:spcPts val="0"/>
              </a:spcBef>
              <a:spcAft>
                <a:spcPts val="0"/>
              </a:spcAft>
              <a:buFontTx/>
              <a:buNone/>
              <a:defRPr sz="443"/>
            </a:lvl1pPr>
            <a:lvl2pPr marL="192876" indent="0">
              <a:buFontTx/>
              <a:buNone/>
              <a:defRPr sz="338"/>
            </a:lvl2pPr>
            <a:lvl3pPr marL="385753" indent="0">
              <a:buFontTx/>
              <a:buNone/>
              <a:defRPr sz="338"/>
            </a:lvl3pPr>
            <a:lvl4pPr marL="578630" indent="0">
              <a:buFontTx/>
              <a:buNone/>
              <a:defRPr sz="338"/>
            </a:lvl4pPr>
            <a:lvl5pPr marL="771506" indent="0">
              <a:buFontTx/>
              <a:buNone/>
              <a:defRPr sz="338"/>
            </a:lvl5pPr>
          </a:lstStyle>
          <a:p>
            <a:pPr lvl="0"/>
            <a:r>
              <a:rPr lang="en-US"/>
              <a:t>Footer</a:t>
            </a:r>
          </a:p>
        </p:txBody>
      </p:sp>
      <p:sp>
        <p:nvSpPr>
          <p:cNvPr id="3" name="bk object 18">
            <a:extLst>
              <a:ext uri="{FF2B5EF4-FFF2-40B4-BE49-F238E27FC236}">
                <a16:creationId xmlns:a16="http://schemas.microsoft.com/office/drawing/2014/main" id="{A21F3C06-E803-42C9-5EEA-FF2F6F748052}"/>
              </a:ext>
            </a:extLst>
          </p:cNvPr>
          <p:cNvSpPr/>
          <p:nvPr userDrawn="1"/>
        </p:nvSpPr>
        <p:spPr>
          <a:xfrm>
            <a:off x="3" y="0"/>
            <a:ext cx="107156" cy="6858000"/>
          </a:xfrm>
          <a:custGeom>
            <a:avLst/>
            <a:gdLst/>
            <a:ahLst/>
            <a:cxnLst/>
            <a:rect l="l" t="t" r="r" b="b"/>
            <a:pathLst>
              <a:path w="142875" h="6858000">
                <a:moveTo>
                  <a:pt x="0" y="6858000"/>
                </a:moveTo>
                <a:lnTo>
                  <a:pt x="142494" y="6858000"/>
                </a:lnTo>
                <a:lnTo>
                  <a:pt x="142494" y="0"/>
                </a:lnTo>
                <a:lnTo>
                  <a:pt x="0" y="0"/>
                </a:lnTo>
                <a:lnTo>
                  <a:pt x="0" y="6858000"/>
                </a:lnTo>
                <a:close/>
              </a:path>
            </a:pathLst>
          </a:custGeom>
          <a:solidFill>
            <a:srgbClr val="CBB379"/>
          </a:solidFill>
        </p:spPr>
        <p:txBody>
          <a:bodyPr wrap="square" lIns="0" tIns="0" rIns="0" bIns="0" rtlCol="0"/>
          <a:lstStyle/>
          <a:p>
            <a:endParaRPr sz="1350"/>
          </a:p>
        </p:txBody>
      </p:sp>
    </p:spTree>
    <p:extLst>
      <p:ext uri="{BB962C8B-B14F-4D97-AF65-F5344CB8AC3E}">
        <p14:creationId xmlns:p14="http://schemas.microsoft.com/office/powerpoint/2010/main" val="9695249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605A4A-6623-1F90-F653-2974337CA761}"/>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E2F280F1-A8A3-F899-BD63-4B29DDBFA3BC}"/>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0440649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0D8B1-1581-4488-A1A4-886D01EEFD4F}"/>
              </a:ext>
            </a:extLst>
          </p:cNvPr>
          <p:cNvSpPr>
            <a:spLocks noGrp="1"/>
          </p:cNvSpPr>
          <p:nvPr>
            <p:ph type="title" hasCustomPrompt="1"/>
          </p:nvPr>
        </p:nvSpPr>
        <p:spPr/>
        <p:txBody>
          <a:bodyPr/>
          <a:lstStyle>
            <a:lvl1pPr>
              <a:defRPr/>
            </a:lvl1pPr>
          </a:lstStyle>
          <a:p>
            <a:r>
              <a:rPr lang="en-US"/>
              <a:t>[Slide title]</a:t>
            </a:r>
          </a:p>
        </p:txBody>
      </p:sp>
      <p:sp>
        <p:nvSpPr>
          <p:cNvPr id="5" name="Slide Number Placeholder 2">
            <a:extLst>
              <a:ext uri="{FF2B5EF4-FFF2-40B4-BE49-F238E27FC236}">
                <a16:creationId xmlns:a16="http://schemas.microsoft.com/office/drawing/2014/main" id="{6CF9CDAC-EC28-4BA6-9827-D58133E18874}"/>
              </a:ext>
            </a:extLst>
          </p:cNvPr>
          <p:cNvSpPr>
            <a:spLocks noGrp="1"/>
          </p:cNvSpPr>
          <p:nvPr>
            <p:ph type="sldNum" sz="quarter" idx="12"/>
          </p:nvPr>
        </p:nvSpPr>
        <p:spPr/>
        <p:txBody>
          <a:bodyPr/>
          <a:lstStyle/>
          <a:p>
            <a:fld id="{B58DE5F1-E0F9-4CCA-92B7-7A6FC4DFEE14}" type="slidenum">
              <a:rPr lang="en-US" smtClean="0"/>
              <a:t>‹#›</a:t>
            </a:fld>
            <a:endParaRPr lang="en-US"/>
          </a:p>
        </p:txBody>
      </p:sp>
      <p:sp>
        <p:nvSpPr>
          <p:cNvPr id="7" name="Content Placeholder 23">
            <a:extLst>
              <a:ext uri="{FF2B5EF4-FFF2-40B4-BE49-F238E27FC236}">
                <a16:creationId xmlns:a16="http://schemas.microsoft.com/office/drawing/2014/main" id="{B3ABCDB3-CD54-7DD1-5C78-E03262F50C48}"/>
              </a:ext>
            </a:extLst>
          </p:cNvPr>
          <p:cNvSpPr>
            <a:spLocks noGrp="1"/>
          </p:cNvSpPr>
          <p:nvPr>
            <p:ph sz="quarter" idx="15"/>
          </p:nvPr>
        </p:nvSpPr>
        <p:spPr>
          <a:xfrm>
            <a:off x="376241" y="6267185"/>
            <a:ext cx="10872787" cy="62325"/>
          </a:xfrm>
          <a:prstGeom prst="rect">
            <a:avLst/>
          </a:prstGeom>
        </p:spPr>
        <p:txBody>
          <a:bodyPr wrap="square" lIns="0" tIns="0" rIns="0" bIns="0" anchor="b" anchorCtr="0">
            <a:spAutoFit/>
          </a:bodyPr>
          <a:lstStyle>
            <a:lvl1pPr marL="0" indent="0">
              <a:lnSpc>
                <a:spcPct val="90000"/>
              </a:lnSpc>
              <a:spcBef>
                <a:spcPts val="0"/>
              </a:spcBef>
              <a:spcAft>
                <a:spcPts val="0"/>
              </a:spcAft>
              <a:buFontTx/>
              <a:buNone/>
              <a:defRPr sz="450"/>
            </a:lvl1pPr>
            <a:lvl2pPr marL="257169" indent="0">
              <a:buFontTx/>
              <a:buNone/>
              <a:defRPr sz="450"/>
            </a:lvl2pPr>
            <a:lvl3pPr marL="514337" indent="0">
              <a:buFontTx/>
              <a:buNone/>
              <a:defRPr sz="450"/>
            </a:lvl3pPr>
            <a:lvl4pPr marL="771506" indent="0">
              <a:buFontTx/>
              <a:buNone/>
              <a:defRPr sz="450"/>
            </a:lvl4pPr>
            <a:lvl5pPr marL="1028675" indent="0">
              <a:buFontTx/>
              <a:buNone/>
              <a:defRPr sz="450"/>
            </a:lvl5pPr>
          </a:lstStyle>
          <a:p>
            <a:pPr lvl="0"/>
            <a:r>
              <a:rPr lang="en-US"/>
              <a:t>Click to edit Master text styles</a:t>
            </a:r>
          </a:p>
        </p:txBody>
      </p:sp>
    </p:spTree>
    <p:extLst>
      <p:ext uri="{BB962C8B-B14F-4D97-AF65-F5344CB8AC3E}">
        <p14:creationId xmlns:p14="http://schemas.microsoft.com/office/powerpoint/2010/main" val="8976779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5BE734-87B0-9FF2-5E01-25E18F10C679}"/>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46CBF08F-D34D-4142-2901-5911800B0D01}"/>
              </a:ext>
            </a:extLst>
          </p:cNvPr>
          <p:cNvSpPr>
            <a:spLocks noGrp="1"/>
          </p:cNvSpPr>
          <p:nvPr>
            <p:ph type="ftr" sz="quarter" idx="10"/>
          </p:nvPr>
        </p:nvSpPr>
        <p:spPr/>
        <p:txBody>
          <a:bodyPr/>
          <a:lstStyle/>
          <a:p>
            <a:r>
              <a:rPr lang="de-DE"/>
              <a:t>Titel | Abteilung/Institut | Datum</a:t>
            </a:r>
          </a:p>
        </p:txBody>
      </p:sp>
      <p:sp>
        <p:nvSpPr>
          <p:cNvPr id="4" name="Slide Number Placeholder 3">
            <a:extLst>
              <a:ext uri="{FF2B5EF4-FFF2-40B4-BE49-F238E27FC236}">
                <a16:creationId xmlns:a16="http://schemas.microsoft.com/office/drawing/2014/main" id="{285EF948-C8DB-BAA5-FEE8-2202E80ABE42}"/>
              </a:ext>
            </a:extLst>
          </p:cNvPr>
          <p:cNvSpPr>
            <a:spLocks noGrp="1"/>
          </p:cNvSpPr>
          <p:nvPr>
            <p:ph type="sldNum" sz="quarter" idx="11"/>
          </p:nvPr>
        </p:nvSpPr>
        <p:spPr/>
        <p:txBody>
          <a:bodyPr/>
          <a:lstStyle/>
          <a:p>
            <a:fld id="{C457A7E8-3F45-46AC-80A6-5B03F18BB502}" type="slidenum">
              <a:rPr lang="de-DE" smtClean="0"/>
              <a:pPr/>
              <a:t>‹#›</a:t>
            </a:fld>
            <a:endParaRPr lang="de-DE"/>
          </a:p>
        </p:txBody>
      </p:sp>
    </p:spTree>
    <p:extLst>
      <p:ext uri="{BB962C8B-B14F-4D97-AF65-F5344CB8AC3E}">
        <p14:creationId xmlns:p14="http://schemas.microsoft.com/office/powerpoint/2010/main" val="21055397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5/31/26</a:t>
            </a:fld>
            <a:endParaRPr lang="en-US"/>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609600" y="490460"/>
            <a:ext cx="10972800" cy="713539"/>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609600" y="1368927"/>
            <a:ext cx="10972800" cy="4947903"/>
          </a:xfrm>
          <a:prstGeom prst="rect">
            <a:avLst/>
          </a:prstGeom>
        </p:spPr>
        <p:txBody>
          <a:bodyPr/>
          <a:lstStyle>
            <a:lvl1pPr>
              <a:defRPr sz="1125">
                <a:solidFill>
                  <a:schemeClr val="tx1"/>
                </a:solidFill>
              </a:defRPr>
            </a:lvl1pPr>
            <a:lvl2pPr>
              <a:defRPr sz="1013">
                <a:solidFill>
                  <a:schemeClr val="tx1"/>
                </a:solidFill>
              </a:defRPr>
            </a:lvl2pPr>
            <a:lvl3pPr>
              <a:defRPr sz="900">
                <a:solidFill>
                  <a:schemeClr val="tx1"/>
                </a:solidFill>
              </a:defRPr>
            </a:lvl3pPr>
            <a:lvl4pPr>
              <a:defRPr sz="788">
                <a:solidFill>
                  <a:schemeClr val="tx1"/>
                </a:solidFill>
              </a:defRPr>
            </a:lvl4pPr>
            <a:lvl5pPr>
              <a:defRPr sz="78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bk object 18">
            <a:extLst>
              <a:ext uri="{FF2B5EF4-FFF2-40B4-BE49-F238E27FC236}">
                <a16:creationId xmlns:a16="http://schemas.microsoft.com/office/drawing/2014/main" id="{25EAD37F-746E-8DE9-7184-64F3FB19EA7C}"/>
              </a:ext>
            </a:extLst>
          </p:cNvPr>
          <p:cNvSpPr/>
          <p:nvPr userDrawn="1"/>
        </p:nvSpPr>
        <p:spPr>
          <a:xfrm>
            <a:off x="3" y="0"/>
            <a:ext cx="107156" cy="6858000"/>
          </a:xfrm>
          <a:custGeom>
            <a:avLst/>
            <a:gdLst/>
            <a:ahLst/>
            <a:cxnLst/>
            <a:rect l="l" t="t" r="r" b="b"/>
            <a:pathLst>
              <a:path w="142875" h="6858000">
                <a:moveTo>
                  <a:pt x="0" y="6858000"/>
                </a:moveTo>
                <a:lnTo>
                  <a:pt x="142494" y="6858000"/>
                </a:lnTo>
                <a:lnTo>
                  <a:pt x="142494" y="0"/>
                </a:lnTo>
                <a:lnTo>
                  <a:pt x="0" y="0"/>
                </a:lnTo>
                <a:lnTo>
                  <a:pt x="0" y="6858000"/>
                </a:lnTo>
                <a:close/>
              </a:path>
            </a:pathLst>
          </a:custGeom>
          <a:solidFill>
            <a:srgbClr val="CBB379"/>
          </a:solidFill>
        </p:spPr>
        <p:txBody>
          <a:bodyPr wrap="square" lIns="0" tIns="0" rIns="0" bIns="0" rtlCol="0"/>
          <a:lstStyle/>
          <a:p>
            <a:endParaRPr sz="1350"/>
          </a:p>
        </p:txBody>
      </p:sp>
    </p:spTree>
    <p:extLst>
      <p:ext uri="{BB962C8B-B14F-4D97-AF65-F5344CB8AC3E}">
        <p14:creationId xmlns:p14="http://schemas.microsoft.com/office/powerpoint/2010/main" val="40479347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31/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5029384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9689758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1677348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693777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5863311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845865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749828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6212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4939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0739213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20832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7575817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195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36048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2374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1878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0497540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988239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46443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56738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33117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24369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962498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4760268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7358764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8083909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834433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68645" y="5128619"/>
            <a:ext cx="2768188" cy="964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502" name="Rectangle 22"/>
          <p:cNvSpPr>
            <a:spLocks noGrp="1" noChangeArrowheads="1"/>
          </p:cNvSpPr>
          <p:nvPr>
            <p:ph type="ctrTitle" sz="quarter"/>
          </p:nvPr>
        </p:nvSpPr>
        <p:spPr>
          <a:xfrm>
            <a:off x="4670822" y="5033292"/>
            <a:ext cx="7092809" cy="480569"/>
          </a:xfrm>
          <a:ln algn="ctr"/>
        </p:spPr>
        <p:txBody>
          <a:bodyPr lIns="45720" tIns="45720" rIns="45720" bIns="45720" anchor="b" anchorCtr="0"/>
          <a:lstStyle>
            <a:lvl1pPr algn="l">
              <a:defRPr sz="3200" b="1">
                <a:solidFill>
                  <a:schemeClr val="accent1"/>
                </a:solidFill>
                <a:latin typeface="+mn-lt"/>
              </a:defRPr>
            </a:lvl1pPr>
          </a:lstStyle>
          <a:p>
            <a:r>
              <a:rPr lang="en-US" dirty="0"/>
              <a:t>Click to edit Master title style</a:t>
            </a:r>
          </a:p>
        </p:txBody>
      </p:sp>
      <p:sp>
        <p:nvSpPr>
          <p:cNvPr id="7" name="Rectangle 17"/>
          <p:cNvSpPr>
            <a:spLocks noChangeArrowheads="1"/>
          </p:cNvSpPr>
          <p:nvPr userDrawn="1"/>
        </p:nvSpPr>
        <p:spPr bwMode="auto">
          <a:xfrm>
            <a:off x="1579104" y="6574910"/>
            <a:ext cx="5909611" cy="98489"/>
          </a:xfrm>
          <a:prstGeom prst="rect">
            <a:avLst/>
          </a:prstGeom>
          <a:noFill/>
          <a:ln w="9525">
            <a:noFill/>
            <a:miter lim="800000"/>
            <a:headEnd/>
            <a:tailEnd/>
          </a:ln>
          <a:effectLst/>
        </p:spPr>
        <p:txBody>
          <a:bodyPr wrap="square" lIns="0" tIns="0" rIns="0" bIns="0">
            <a:spAutoFit/>
          </a:bodyPr>
          <a:lstStyle/>
          <a:p>
            <a:pPr algn="l">
              <a:lnSpc>
                <a:spcPct val="80000"/>
              </a:lnSpc>
              <a:defRPr/>
            </a:pPr>
            <a:r>
              <a:rPr lang="en-US" sz="800" dirty="0">
                <a:solidFill>
                  <a:schemeClr val="tx2"/>
                </a:solidFill>
                <a:latin typeface="Arial Narrow" pitchFamily="34" charset="0"/>
              </a:rPr>
              <a:t>The Ohio State University Comprehensive Cancer Center – Arthur G. James Cancer Hospital and Richard J. Solove Research Institute</a:t>
            </a:r>
          </a:p>
        </p:txBody>
      </p:sp>
      <p:sp>
        <p:nvSpPr>
          <p:cNvPr id="3" name="Text Placeholder 2"/>
          <p:cNvSpPr>
            <a:spLocks noGrp="1"/>
          </p:cNvSpPr>
          <p:nvPr>
            <p:ph type="body" sz="quarter" idx="10" hasCustomPrompt="1"/>
          </p:nvPr>
        </p:nvSpPr>
        <p:spPr>
          <a:xfrm>
            <a:off x="4670823" y="5557435"/>
            <a:ext cx="5135035" cy="364621"/>
          </a:xfrm>
        </p:spPr>
        <p:txBody>
          <a:bodyPr lIns="91440" tIns="45720" rIns="91440" bIns="45720"/>
          <a:lstStyle>
            <a:lvl1pPr marL="0" indent="0" algn="l">
              <a:spcBef>
                <a:spcPts val="0"/>
              </a:spcBef>
              <a:buNone/>
              <a:defRPr sz="2133" baseline="0">
                <a:solidFill>
                  <a:schemeClr val="accent1"/>
                </a:solidFill>
              </a:defRPr>
            </a:lvl1pPr>
          </a:lstStyle>
          <a:p>
            <a:pPr lvl="0"/>
            <a:r>
              <a:rPr lang="en-US" dirty="0"/>
              <a:t>Click to edit subtitle style</a:t>
            </a:r>
          </a:p>
        </p:txBody>
      </p:sp>
      <p:sp>
        <p:nvSpPr>
          <p:cNvPr id="9" name="Rectangle 8"/>
          <p:cNvSpPr/>
          <p:nvPr userDrawn="1"/>
        </p:nvSpPr>
        <p:spPr>
          <a:xfrm>
            <a:off x="0" y="0"/>
            <a:ext cx="12191997" cy="44829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11482" r="11482"/>
          <a:stretch/>
        </p:blipFill>
        <p:spPr>
          <a:xfrm>
            <a:off x="0" y="131298"/>
            <a:ext cx="4064000" cy="4220309"/>
          </a:xfrm>
          <a:prstGeom prst="rect">
            <a:avLst/>
          </a:prstGeom>
        </p:spPr>
      </p:pic>
      <p:pic>
        <p:nvPicPr>
          <p:cNvPr id="11" name="Picture 10"/>
          <p:cNvPicPr>
            <a:picLocks noChangeAspect="1"/>
          </p:cNvPicPr>
          <p:nvPr userDrawn="1"/>
        </p:nvPicPr>
        <p:blipFill rotWithShape="1">
          <a:blip r:embed="rId4">
            <a:extLst>
              <a:ext uri="{28A0092B-C50C-407E-A947-70E740481C1C}">
                <a14:useLocalDpi xmlns:a14="http://schemas.microsoft.com/office/drawing/2010/main" val="0"/>
              </a:ext>
            </a:extLst>
          </a:blip>
          <a:srcRect l="12959" t="7139" r="22609" b="1333"/>
          <a:stretch/>
        </p:blipFill>
        <p:spPr>
          <a:xfrm>
            <a:off x="4064002" y="126648"/>
            <a:ext cx="4063999" cy="4229608"/>
          </a:xfrm>
          <a:prstGeom prst="rect">
            <a:avLst/>
          </a:prstGeom>
        </p:spPr>
      </p:pic>
      <p:pic>
        <p:nvPicPr>
          <p:cNvPr id="12" name="Picture 11"/>
          <p:cNvPicPr>
            <a:picLocks noChangeAspect="1"/>
          </p:cNvPicPr>
          <p:nvPr userDrawn="1"/>
        </p:nvPicPr>
        <p:blipFill rotWithShape="1">
          <a:blip r:embed="rId5">
            <a:extLst>
              <a:ext uri="{28A0092B-C50C-407E-A947-70E740481C1C}">
                <a14:useLocalDpi xmlns:a14="http://schemas.microsoft.com/office/drawing/2010/main" val="0"/>
              </a:ext>
            </a:extLst>
          </a:blip>
          <a:srcRect l="23884" r="12578"/>
          <a:stretch/>
        </p:blipFill>
        <p:spPr>
          <a:xfrm>
            <a:off x="8112293" y="126648"/>
            <a:ext cx="4079705" cy="4229608"/>
          </a:xfrm>
          <a:prstGeom prst="rect">
            <a:avLst/>
          </a:prstGeom>
        </p:spPr>
      </p:pic>
      <p:sp>
        <p:nvSpPr>
          <p:cNvPr id="13" name="Rectangle 12"/>
          <p:cNvSpPr/>
          <p:nvPr userDrawn="1"/>
        </p:nvSpPr>
        <p:spPr>
          <a:xfrm>
            <a:off x="0" y="3894051"/>
            <a:ext cx="12191997" cy="463808"/>
          </a:xfrm>
          <a:prstGeom prst="rect">
            <a:avLst/>
          </a:prstGeom>
          <a:solidFill>
            <a:srgbClr val="BB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4"/>
          <p:cNvGrpSpPr>
            <a:grpSpLocks noChangeAspect="1"/>
          </p:cNvGrpSpPr>
          <p:nvPr userDrawn="1"/>
        </p:nvGrpSpPr>
        <p:grpSpPr bwMode="auto">
          <a:xfrm>
            <a:off x="1814085" y="4027409"/>
            <a:ext cx="8563833" cy="266616"/>
            <a:chOff x="513" y="1219"/>
            <a:chExt cx="3469" cy="108"/>
          </a:xfrm>
          <a:solidFill>
            <a:schemeClr val="bg1"/>
          </a:solidFill>
        </p:grpSpPr>
        <p:sp>
          <p:nvSpPr>
            <p:cNvPr id="18" name="Freeform 5"/>
            <p:cNvSpPr>
              <a:spLocks noEditPoints="1"/>
            </p:cNvSpPr>
            <p:nvPr/>
          </p:nvSpPr>
          <p:spPr bwMode="auto">
            <a:xfrm>
              <a:off x="513" y="1219"/>
              <a:ext cx="1501" cy="108"/>
            </a:xfrm>
            <a:custGeom>
              <a:avLst/>
              <a:gdLst>
                <a:gd name="T0" fmla="*/ 22 w 3098"/>
                <a:gd name="T1" fmla="*/ 87 h 222"/>
                <a:gd name="T2" fmla="*/ 171 w 3098"/>
                <a:gd name="T3" fmla="*/ 172 h 222"/>
                <a:gd name="T4" fmla="*/ 224 w 3098"/>
                <a:gd name="T5" fmla="*/ 66 h 222"/>
                <a:gd name="T6" fmla="*/ 361 w 3098"/>
                <a:gd name="T7" fmla="*/ 112 h 222"/>
                <a:gd name="T8" fmla="*/ 304 w 3098"/>
                <a:gd name="T9" fmla="*/ 175 h 222"/>
                <a:gd name="T10" fmla="*/ 463 w 3098"/>
                <a:gd name="T11" fmla="*/ 172 h 222"/>
                <a:gd name="T12" fmla="*/ 463 w 3098"/>
                <a:gd name="T13" fmla="*/ 89 h 222"/>
                <a:gd name="T14" fmla="*/ 482 w 3098"/>
                <a:gd name="T15" fmla="*/ 172 h 222"/>
                <a:gd name="T16" fmla="*/ 429 w 3098"/>
                <a:gd name="T17" fmla="*/ 161 h 222"/>
                <a:gd name="T18" fmla="*/ 517 w 3098"/>
                <a:gd name="T19" fmla="*/ 49 h 222"/>
                <a:gd name="T20" fmla="*/ 536 w 3098"/>
                <a:gd name="T21" fmla="*/ 66 h 222"/>
                <a:gd name="T22" fmla="*/ 517 w 3098"/>
                <a:gd name="T23" fmla="*/ 146 h 222"/>
                <a:gd name="T24" fmla="*/ 582 w 3098"/>
                <a:gd name="T25" fmla="*/ 172 h 222"/>
                <a:gd name="T26" fmla="*/ 716 w 3098"/>
                <a:gd name="T27" fmla="*/ 92 h 222"/>
                <a:gd name="T28" fmla="*/ 652 w 3098"/>
                <a:gd name="T29" fmla="*/ 49 h 222"/>
                <a:gd name="T30" fmla="*/ 766 w 3098"/>
                <a:gd name="T31" fmla="*/ 204 h 222"/>
                <a:gd name="T32" fmla="*/ 759 w 3098"/>
                <a:gd name="T33" fmla="*/ 110 h 222"/>
                <a:gd name="T34" fmla="*/ 816 w 3098"/>
                <a:gd name="T35" fmla="*/ 222 h 222"/>
                <a:gd name="T36" fmla="*/ 818 w 3098"/>
                <a:gd name="T37" fmla="*/ 157 h 222"/>
                <a:gd name="T38" fmla="*/ 1001 w 3098"/>
                <a:gd name="T39" fmla="*/ 94 h 222"/>
                <a:gd name="T40" fmla="*/ 1013 w 3098"/>
                <a:gd name="T41" fmla="*/ 46 h 222"/>
                <a:gd name="T42" fmla="*/ 1008 w 3098"/>
                <a:gd name="T43" fmla="*/ 108 h 222"/>
                <a:gd name="T44" fmla="*/ 1297 w 3098"/>
                <a:gd name="T45" fmla="*/ 33 h 222"/>
                <a:gd name="T46" fmla="*/ 1298 w 3098"/>
                <a:gd name="T47" fmla="*/ 142 h 222"/>
                <a:gd name="T48" fmla="*/ 1311 w 3098"/>
                <a:gd name="T49" fmla="*/ 134 h 222"/>
                <a:gd name="T50" fmla="*/ 1317 w 3098"/>
                <a:gd name="T51" fmla="*/ 67 h 222"/>
                <a:gd name="T52" fmla="*/ 1394 w 3098"/>
                <a:gd name="T53" fmla="*/ 123 h 222"/>
                <a:gd name="T54" fmla="*/ 1528 w 3098"/>
                <a:gd name="T55" fmla="*/ 92 h 222"/>
                <a:gd name="T56" fmla="*/ 1464 w 3098"/>
                <a:gd name="T57" fmla="*/ 49 h 222"/>
                <a:gd name="T58" fmla="*/ 1572 w 3098"/>
                <a:gd name="T59" fmla="*/ 111 h 222"/>
                <a:gd name="T60" fmla="*/ 1634 w 3098"/>
                <a:gd name="T61" fmla="*/ 158 h 222"/>
                <a:gd name="T62" fmla="*/ 1752 w 3098"/>
                <a:gd name="T63" fmla="*/ 46 h 222"/>
                <a:gd name="T64" fmla="*/ 1803 w 3098"/>
                <a:gd name="T65" fmla="*/ 156 h 222"/>
                <a:gd name="T66" fmla="*/ 1751 w 3098"/>
                <a:gd name="T67" fmla="*/ 62 h 222"/>
                <a:gd name="T68" fmla="*/ 1895 w 3098"/>
                <a:gd name="T69" fmla="*/ 66 h 222"/>
                <a:gd name="T70" fmla="*/ 1901 w 3098"/>
                <a:gd name="T71" fmla="*/ 102 h 222"/>
                <a:gd name="T72" fmla="*/ 1968 w 3098"/>
                <a:gd name="T73" fmla="*/ 66 h 222"/>
                <a:gd name="T74" fmla="*/ 2042 w 3098"/>
                <a:gd name="T75" fmla="*/ 22 h 222"/>
                <a:gd name="T76" fmla="*/ 2007 w 3098"/>
                <a:gd name="T77" fmla="*/ 66 h 222"/>
                <a:gd name="T78" fmla="*/ 2067 w 3098"/>
                <a:gd name="T79" fmla="*/ 69 h 222"/>
                <a:gd name="T80" fmla="*/ 2048 w 3098"/>
                <a:gd name="T81" fmla="*/ 172 h 222"/>
                <a:gd name="T82" fmla="*/ 2183 w 3098"/>
                <a:gd name="T83" fmla="*/ 159 h 222"/>
                <a:gd name="T84" fmla="*/ 2139 w 3098"/>
                <a:gd name="T85" fmla="*/ 103 h 222"/>
                <a:gd name="T86" fmla="*/ 2375 w 3098"/>
                <a:gd name="T87" fmla="*/ 117 h 222"/>
                <a:gd name="T88" fmla="*/ 2255 w 3098"/>
                <a:gd name="T89" fmla="*/ 111 h 222"/>
                <a:gd name="T90" fmla="*/ 2551 w 3098"/>
                <a:gd name="T91" fmla="*/ 35 h 222"/>
                <a:gd name="T92" fmla="*/ 2543 w 3098"/>
                <a:gd name="T93" fmla="*/ 3 h 222"/>
                <a:gd name="T94" fmla="*/ 2589 w 3098"/>
                <a:gd name="T95" fmla="*/ 172 h 222"/>
                <a:gd name="T96" fmla="*/ 2761 w 3098"/>
                <a:gd name="T97" fmla="*/ 111 h 222"/>
                <a:gd name="T98" fmla="*/ 2805 w 3098"/>
                <a:gd name="T99" fmla="*/ 49 h 222"/>
                <a:gd name="T100" fmla="*/ 2824 w 3098"/>
                <a:gd name="T101" fmla="*/ 85 h 222"/>
                <a:gd name="T102" fmla="*/ 2902 w 3098"/>
                <a:gd name="T103" fmla="*/ 172 h 222"/>
                <a:gd name="T104" fmla="*/ 2981 w 3098"/>
                <a:gd name="T105" fmla="*/ 46 h 222"/>
                <a:gd name="T106" fmla="*/ 3023 w 3098"/>
                <a:gd name="T107" fmla="*/ 139 h 222"/>
                <a:gd name="T108" fmla="*/ 3070 w 3098"/>
                <a:gd name="T109"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8" h="222">
                  <a:moveTo>
                    <a:pt x="0" y="87"/>
                  </a:moveTo>
                  <a:cubicBezTo>
                    <a:pt x="0" y="35"/>
                    <a:pt x="38" y="0"/>
                    <a:pt x="87" y="0"/>
                  </a:cubicBezTo>
                  <a:cubicBezTo>
                    <a:pt x="117" y="0"/>
                    <a:pt x="138" y="14"/>
                    <a:pt x="151" y="33"/>
                  </a:cubicBezTo>
                  <a:cubicBezTo>
                    <a:pt x="134" y="43"/>
                    <a:pt x="134" y="43"/>
                    <a:pt x="134" y="43"/>
                  </a:cubicBezTo>
                  <a:cubicBezTo>
                    <a:pt x="124" y="29"/>
                    <a:pt x="106" y="19"/>
                    <a:pt x="87" y="19"/>
                  </a:cubicBezTo>
                  <a:cubicBezTo>
                    <a:pt x="50" y="19"/>
                    <a:pt x="22" y="47"/>
                    <a:pt x="22" y="87"/>
                  </a:cubicBezTo>
                  <a:cubicBezTo>
                    <a:pt x="22" y="128"/>
                    <a:pt x="50" y="156"/>
                    <a:pt x="87" y="156"/>
                  </a:cubicBezTo>
                  <a:cubicBezTo>
                    <a:pt x="106" y="156"/>
                    <a:pt x="124" y="146"/>
                    <a:pt x="134" y="132"/>
                  </a:cubicBezTo>
                  <a:cubicBezTo>
                    <a:pt x="152" y="142"/>
                    <a:pt x="152" y="142"/>
                    <a:pt x="152" y="142"/>
                  </a:cubicBezTo>
                  <a:cubicBezTo>
                    <a:pt x="137" y="161"/>
                    <a:pt x="117" y="175"/>
                    <a:pt x="87" y="175"/>
                  </a:cubicBezTo>
                  <a:cubicBezTo>
                    <a:pt x="38" y="175"/>
                    <a:pt x="0" y="140"/>
                    <a:pt x="0" y="87"/>
                  </a:cubicBezTo>
                  <a:close/>
                  <a:moveTo>
                    <a:pt x="171" y="172"/>
                  </a:moveTo>
                  <a:cubicBezTo>
                    <a:pt x="171" y="49"/>
                    <a:pt x="171" y="49"/>
                    <a:pt x="171" y="49"/>
                  </a:cubicBezTo>
                  <a:cubicBezTo>
                    <a:pt x="191" y="49"/>
                    <a:pt x="191" y="49"/>
                    <a:pt x="191" y="49"/>
                  </a:cubicBezTo>
                  <a:cubicBezTo>
                    <a:pt x="191" y="69"/>
                    <a:pt x="191" y="69"/>
                    <a:pt x="191" y="69"/>
                  </a:cubicBezTo>
                  <a:cubicBezTo>
                    <a:pt x="200" y="56"/>
                    <a:pt x="215" y="47"/>
                    <a:pt x="231" y="47"/>
                  </a:cubicBezTo>
                  <a:cubicBezTo>
                    <a:pt x="231" y="66"/>
                    <a:pt x="231" y="66"/>
                    <a:pt x="231" y="66"/>
                  </a:cubicBezTo>
                  <a:cubicBezTo>
                    <a:pt x="229" y="66"/>
                    <a:pt x="227" y="66"/>
                    <a:pt x="224" y="66"/>
                  </a:cubicBezTo>
                  <a:cubicBezTo>
                    <a:pt x="212" y="66"/>
                    <a:pt x="196" y="75"/>
                    <a:pt x="191" y="85"/>
                  </a:cubicBezTo>
                  <a:cubicBezTo>
                    <a:pt x="191" y="172"/>
                    <a:pt x="191" y="172"/>
                    <a:pt x="191" y="172"/>
                  </a:cubicBezTo>
                  <a:lnTo>
                    <a:pt x="171" y="172"/>
                  </a:lnTo>
                  <a:close/>
                  <a:moveTo>
                    <a:pt x="242" y="111"/>
                  </a:moveTo>
                  <a:cubicBezTo>
                    <a:pt x="242" y="75"/>
                    <a:pt x="267" y="46"/>
                    <a:pt x="302" y="46"/>
                  </a:cubicBezTo>
                  <a:cubicBezTo>
                    <a:pt x="340" y="46"/>
                    <a:pt x="361" y="75"/>
                    <a:pt x="361" y="112"/>
                  </a:cubicBezTo>
                  <a:cubicBezTo>
                    <a:pt x="361" y="117"/>
                    <a:pt x="361" y="117"/>
                    <a:pt x="361" y="117"/>
                  </a:cubicBezTo>
                  <a:cubicBezTo>
                    <a:pt x="262" y="117"/>
                    <a:pt x="262" y="117"/>
                    <a:pt x="262" y="117"/>
                  </a:cubicBezTo>
                  <a:cubicBezTo>
                    <a:pt x="264" y="140"/>
                    <a:pt x="280" y="159"/>
                    <a:pt x="306" y="159"/>
                  </a:cubicBezTo>
                  <a:cubicBezTo>
                    <a:pt x="320" y="159"/>
                    <a:pt x="334" y="154"/>
                    <a:pt x="344" y="144"/>
                  </a:cubicBezTo>
                  <a:cubicBezTo>
                    <a:pt x="353" y="156"/>
                    <a:pt x="353" y="156"/>
                    <a:pt x="353" y="156"/>
                  </a:cubicBezTo>
                  <a:cubicBezTo>
                    <a:pt x="341" y="169"/>
                    <a:pt x="325" y="175"/>
                    <a:pt x="304" y="175"/>
                  </a:cubicBezTo>
                  <a:cubicBezTo>
                    <a:pt x="268" y="175"/>
                    <a:pt x="242" y="149"/>
                    <a:pt x="242" y="111"/>
                  </a:cubicBezTo>
                  <a:close/>
                  <a:moveTo>
                    <a:pt x="302" y="62"/>
                  </a:moveTo>
                  <a:cubicBezTo>
                    <a:pt x="276" y="62"/>
                    <a:pt x="263" y="84"/>
                    <a:pt x="262" y="103"/>
                  </a:cubicBezTo>
                  <a:cubicBezTo>
                    <a:pt x="343" y="103"/>
                    <a:pt x="343" y="103"/>
                    <a:pt x="343" y="103"/>
                  </a:cubicBezTo>
                  <a:cubicBezTo>
                    <a:pt x="342" y="85"/>
                    <a:pt x="330" y="62"/>
                    <a:pt x="302" y="62"/>
                  </a:cubicBezTo>
                  <a:close/>
                  <a:moveTo>
                    <a:pt x="463" y="172"/>
                  </a:moveTo>
                  <a:cubicBezTo>
                    <a:pt x="463" y="158"/>
                    <a:pt x="463" y="158"/>
                    <a:pt x="463" y="158"/>
                  </a:cubicBezTo>
                  <a:cubicBezTo>
                    <a:pt x="452" y="169"/>
                    <a:pt x="438" y="175"/>
                    <a:pt x="422" y="175"/>
                  </a:cubicBezTo>
                  <a:cubicBezTo>
                    <a:pt x="401" y="175"/>
                    <a:pt x="379" y="161"/>
                    <a:pt x="379" y="134"/>
                  </a:cubicBezTo>
                  <a:cubicBezTo>
                    <a:pt x="379" y="107"/>
                    <a:pt x="401" y="94"/>
                    <a:pt x="422" y="94"/>
                  </a:cubicBezTo>
                  <a:cubicBezTo>
                    <a:pt x="439" y="94"/>
                    <a:pt x="453" y="99"/>
                    <a:pt x="463" y="111"/>
                  </a:cubicBezTo>
                  <a:cubicBezTo>
                    <a:pt x="463" y="89"/>
                    <a:pt x="463" y="89"/>
                    <a:pt x="463" y="89"/>
                  </a:cubicBezTo>
                  <a:cubicBezTo>
                    <a:pt x="463" y="72"/>
                    <a:pt x="449" y="63"/>
                    <a:pt x="432" y="63"/>
                  </a:cubicBezTo>
                  <a:cubicBezTo>
                    <a:pt x="417" y="63"/>
                    <a:pt x="405" y="68"/>
                    <a:pt x="394" y="80"/>
                  </a:cubicBezTo>
                  <a:cubicBezTo>
                    <a:pt x="385" y="67"/>
                    <a:pt x="385" y="67"/>
                    <a:pt x="385" y="67"/>
                  </a:cubicBezTo>
                  <a:cubicBezTo>
                    <a:pt x="398" y="53"/>
                    <a:pt x="414" y="46"/>
                    <a:pt x="434" y="46"/>
                  </a:cubicBezTo>
                  <a:cubicBezTo>
                    <a:pt x="460" y="46"/>
                    <a:pt x="482" y="58"/>
                    <a:pt x="482" y="88"/>
                  </a:cubicBezTo>
                  <a:cubicBezTo>
                    <a:pt x="482" y="172"/>
                    <a:pt x="482" y="172"/>
                    <a:pt x="482" y="172"/>
                  </a:cubicBezTo>
                  <a:lnTo>
                    <a:pt x="463" y="172"/>
                  </a:lnTo>
                  <a:close/>
                  <a:moveTo>
                    <a:pt x="463" y="146"/>
                  </a:moveTo>
                  <a:cubicBezTo>
                    <a:pt x="463" y="123"/>
                    <a:pt x="463" y="123"/>
                    <a:pt x="463" y="123"/>
                  </a:cubicBezTo>
                  <a:cubicBezTo>
                    <a:pt x="455" y="113"/>
                    <a:pt x="442" y="108"/>
                    <a:pt x="429" y="108"/>
                  </a:cubicBezTo>
                  <a:cubicBezTo>
                    <a:pt x="411" y="108"/>
                    <a:pt x="399" y="119"/>
                    <a:pt x="399" y="135"/>
                  </a:cubicBezTo>
                  <a:cubicBezTo>
                    <a:pt x="399" y="150"/>
                    <a:pt x="411" y="161"/>
                    <a:pt x="429" y="161"/>
                  </a:cubicBezTo>
                  <a:cubicBezTo>
                    <a:pt x="442" y="161"/>
                    <a:pt x="455" y="156"/>
                    <a:pt x="463" y="146"/>
                  </a:cubicBezTo>
                  <a:close/>
                  <a:moveTo>
                    <a:pt x="517" y="146"/>
                  </a:moveTo>
                  <a:cubicBezTo>
                    <a:pt x="517" y="66"/>
                    <a:pt x="517" y="66"/>
                    <a:pt x="517" y="66"/>
                  </a:cubicBezTo>
                  <a:cubicBezTo>
                    <a:pt x="497" y="66"/>
                    <a:pt x="497" y="66"/>
                    <a:pt x="497" y="66"/>
                  </a:cubicBezTo>
                  <a:cubicBezTo>
                    <a:pt x="497" y="49"/>
                    <a:pt x="497" y="49"/>
                    <a:pt x="497" y="49"/>
                  </a:cubicBezTo>
                  <a:cubicBezTo>
                    <a:pt x="517" y="49"/>
                    <a:pt x="517" y="49"/>
                    <a:pt x="517" y="49"/>
                  </a:cubicBezTo>
                  <a:cubicBezTo>
                    <a:pt x="517" y="16"/>
                    <a:pt x="517" y="16"/>
                    <a:pt x="517" y="16"/>
                  </a:cubicBezTo>
                  <a:cubicBezTo>
                    <a:pt x="536" y="16"/>
                    <a:pt x="536" y="16"/>
                    <a:pt x="536" y="16"/>
                  </a:cubicBezTo>
                  <a:cubicBezTo>
                    <a:pt x="536" y="49"/>
                    <a:pt x="536" y="49"/>
                    <a:pt x="536" y="49"/>
                  </a:cubicBezTo>
                  <a:cubicBezTo>
                    <a:pt x="561" y="49"/>
                    <a:pt x="561" y="49"/>
                    <a:pt x="561" y="49"/>
                  </a:cubicBezTo>
                  <a:cubicBezTo>
                    <a:pt x="561" y="66"/>
                    <a:pt x="561" y="66"/>
                    <a:pt x="561" y="66"/>
                  </a:cubicBezTo>
                  <a:cubicBezTo>
                    <a:pt x="536" y="66"/>
                    <a:pt x="536" y="66"/>
                    <a:pt x="536" y="66"/>
                  </a:cubicBezTo>
                  <a:cubicBezTo>
                    <a:pt x="536" y="142"/>
                    <a:pt x="536" y="142"/>
                    <a:pt x="536" y="142"/>
                  </a:cubicBezTo>
                  <a:cubicBezTo>
                    <a:pt x="536" y="151"/>
                    <a:pt x="540" y="158"/>
                    <a:pt x="549" y="158"/>
                  </a:cubicBezTo>
                  <a:cubicBezTo>
                    <a:pt x="554" y="158"/>
                    <a:pt x="559" y="156"/>
                    <a:pt x="562" y="153"/>
                  </a:cubicBezTo>
                  <a:cubicBezTo>
                    <a:pt x="567" y="167"/>
                    <a:pt x="567" y="167"/>
                    <a:pt x="567" y="167"/>
                  </a:cubicBezTo>
                  <a:cubicBezTo>
                    <a:pt x="562" y="172"/>
                    <a:pt x="556" y="175"/>
                    <a:pt x="544" y="175"/>
                  </a:cubicBezTo>
                  <a:cubicBezTo>
                    <a:pt x="526" y="175"/>
                    <a:pt x="517" y="165"/>
                    <a:pt x="517" y="146"/>
                  </a:cubicBezTo>
                  <a:close/>
                  <a:moveTo>
                    <a:pt x="578" y="19"/>
                  </a:moveTo>
                  <a:cubicBezTo>
                    <a:pt x="578" y="12"/>
                    <a:pt x="584" y="6"/>
                    <a:pt x="591" y="6"/>
                  </a:cubicBezTo>
                  <a:cubicBezTo>
                    <a:pt x="598" y="6"/>
                    <a:pt x="604" y="12"/>
                    <a:pt x="604" y="19"/>
                  </a:cubicBezTo>
                  <a:cubicBezTo>
                    <a:pt x="604" y="26"/>
                    <a:pt x="598" y="32"/>
                    <a:pt x="591" y="32"/>
                  </a:cubicBezTo>
                  <a:cubicBezTo>
                    <a:pt x="584" y="32"/>
                    <a:pt x="578" y="26"/>
                    <a:pt x="578" y="19"/>
                  </a:cubicBezTo>
                  <a:close/>
                  <a:moveTo>
                    <a:pt x="582" y="172"/>
                  </a:moveTo>
                  <a:cubicBezTo>
                    <a:pt x="582" y="49"/>
                    <a:pt x="582" y="49"/>
                    <a:pt x="582" y="49"/>
                  </a:cubicBezTo>
                  <a:cubicBezTo>
                    <a:pt x="601" y="49"/>
                    <a:pt x="601" y="49"/>
                    <a:pt x="601" y="49"/>
                  </a:cubicBezTo>
                  <a:cubicBezTo>
                    <a:pt x="601" y="172"/>
                    <a:pt x="601" y="172"/>
                    <a:pt x="601" y="172"/>
                  </a:cubicBezTo>
                  <a:lnTo>
                    <a:pt x="582" y="172"/>
                  </a:lnTo>
                  <a:close/>
                  <a:moveTo>
                    <a:pt x="716" y="172"/>
                  </a:moveTo>
                  <a:cubicBezTo>
                    <a:pt x="716" y="92"/>
                    <a:pt x="716" y="92"/>
                    <a:pt x="716" y="92"/>
                  </a:cubicBezTo>
                  <a:cubicBezTo>
                    <a:pt x="716" y="70"/>
                    <a:pt x="705" y="63"/>
                    <a:pt x="688" y="63"/>
                  </a:cubicBezTo>
                  <a:cubicBezTo>
                    <a:pt x="673" y="63"/>
                    <a:pt x="659" y="72"/>
                    <a:pt x="652" y="82"/>
                  </a:cubicBezTo>
                  <a:cubicBezTo>
                    <a:pt x="652" y="172"/>
                    <a:pt x="652" y="172"/>
                    <a:pt x="652" y="172"/>
                  </a:cubicBezTo>
                  <a:cubicBezTo>
                    <a:pt x="633" y="172"/>
                    <a:pt x="633" y="172"/>
                    <a:pt x="633" y="172"/>
                  </a:cubicBezTo>
                  <a:cubicBezTo>
                    <a:pt x="633" y="49"/>
                    <a:pt x="633" y="49"/>
                    <a:pt x="633" y="49"/>
                  </a:cubicBezTo>
                  <a:cubicBezTo>
                    <a:pt x="652" y="49"/>
                    <a:pt x="652" y="49"/>
                    <a:pt x="652" y="49"/>
                  </a:cubicBezTo>
                  <a:cubicBezTo>
                    <a:pt x="652" y="67"/>
                    <a:pt x="652" y="67"/>
                    <a:pt x="652" y="67"/>
                  </a:cubicBezTo>
                  <a:cubicBezTo>
                    <a:pt x="660" y="57"/>
                    <a:pt x="677" y="46"/>
                    <a:pt x="695" y="46"/>
                  </a:cubicBezTo>
                  <a:cubicBezTo>
                    <a:pt x="721" y="46"/>
                    <a:pt x="735" y="59"/>
                    <a:pt x="735" y="86"/>
                  </a:cubicBezTo>
                  <a:cubicBezTo>
                    <a:pt x="735" y="172"/>
                    <a:pt x="735" y="172"/>
                    <a:pt x="735" y="172"/>
                  </a:cubicBezTo>
                  <a:lnTo>
                    <a:pt x="716" y="172"/>
                  </a:lnTo>
                  <a:close/>
                  <a:moveTo>
                    <a:pt x="766" y="204"/>
                  </a:moveTo>
                  <a:cubicBezTo>
                    <a:pt x="776" y="189"/>
                    <a:pt x="776" y="189"/>
                    <a:pt x="776" y="189"/>
                  </a:cubicBezTo>
                  <a:cubicBezTo>
                    <a:pt x="786" y="202"/>
                    <a:pt x="798" y="206"/>
                    <a:pt x="816" y="206"/>
                  </a:cubicBezTo>
                  <a:cubicBezTo>
                    <a:pt x="836" y="206"/>
                    <a:pt x="855" y="196"/>
                    <a:pt x="855" y="169"/>
                  </a:cubicBezTo>
                  <a:cubicBezTo>
                    <a:pt x="855" y="152"/>
                    <a:pt x="855" y="152"/>
                    <a:pt x="855" y="152"/>
                  </a:cubicBezTo>
                  <a:cubicBezTo>
                    <a:pt x="846" y="164"/>
                    <a:pt x="831" y="174"/>
                    <a:pt x="814" y="174"/>
                  </a:cubicBezTo>
                  <a:cubicBezTo>
                    <a:pt x="782" y="174"/>
                    <a:pt x="759" y="150"/>
                    <a:pt x="759" y="110"/>
                  </a:cubicBezTo>
                  <a:cubicBezTo>
                    <a:pt x="759" y="71"/>
                    <a:pt x="782" y="46"/>
                    <a:pt x="814" y="46"/>
                  </a:cubicBezTo>
                  <a:cubicBezTo>
                    <a:pt x="830" y="46"/>
                    <a:pt x="845" y="54"/>
                    <a:pt x="855" y="68"/>
                  </a:cubicBezTo>
                  <a:cubicBezTo>
                    <a:pt x="855" y="49"/>
                    <a:pt x="855" y="49"/>
                    <a:pt x="855" y="49"/>
                  </a:cubicBezTo>
                  <a:cubicBezTo>
                    <a:pt x="874" y="49"/>
                    <a:pt x="874" y="49"/>
                    <a:pt x="874" y="49"/>
                  </a:cubicBezTo>
                  <a:cubicBezTo>
                    <a:pt x="874" y="169"/>
                    <a:pt x="874" y="169"/>
                    <a:pt x="874" y="169"/>
                  </a:cubicBezTo>
                  <a:cubicBezTo>
                    <a:pt x="874" y="209"/>
                    <a:pt x="846" y="222"/>
                    <a:pt x="816" y="222"/>
                  </a:cubicBezTo>
                  <a:cubicBezTo>
                    <a:pt x="795" y="222"/>
                    <a:pt x="781" y="218"/>
                    <a:pt x="766" y="204"/>
                  </a:cubicBezTo>
                  <a:close/>
                  <a:moveTo>
                    <a:pt x="855" y="137"/>
                  </a:moveTo>
                  <a:cubicBezTo>
                    <a:pt x="855" y="83"/>
                    <a:pt x="855" y="83"/>
                    <a:pt x="855" y="83"/>
                  </a:cubicBezTo>
                  <a:cubicBezTo>
                    <a:pt x="848" y="72"/>
                    <a:pt x="834" y="63"/>
                    <a:pt x="818" y="63"/>
                  </a:cubicBezTo>
                  <a:cubicBezTo>
                    <a:pt x="794" y="63"/>
                    <a:pt x="779" y="83"/>
                    <a:pt x="779" y="110"/>
                  </a:cubicBezTo>
                  <a:cubicBezTo>
                    <a:pt x="779" y="137"/>
                    <a:pt x="794" y="157"/>
                    <a:pt x="818" y="157"/>
                  </a:cubicBezTo>
                  <a:cubicBezTo>
                    <a:pt x="834" y="157"/>
                    <a:pt x="848" y="147"/>
                    <a:pt x="855" y="137"/>
                  </a:cubicBezTo>
                  <a:close/>
                  <a:moveTo>
                    <a:pt x="1042" y="172"/>
                  </a:moveTo>
                  <a:cubicBezTo>
                    <a:pt x="1042" y="158"/>
                    <a:pt x="1042" y="158"/>
                    <a:pt x="1042" y="158"/>
                  </a:cubicBezTo>
                  <a:cubicBezTo>
                    <a:pt x="1032" y="169"/>
                    <a:pt x="1018" y="175"/>
                    <a:pt x="1001" y="175"/>
                  </a:cubicBezTo>
                  <a:cubicBezTo>
                    <a:pt x="980" y="175"/>
                    <a:pt x="958" y="161"/>
                    <a:pt x="958" y="134"/>
                  </a:cubicBezTo>
                  <a:cubicBezTo>
                    <a:pt x="958" y="107"/>
                    <a:pt x="980" y="94"/>
                    <a:pt x="1001" y="94"/>
                  </a:cubicBezTo>
                  <a:cubicBezTo>
                    <a:pt x="1018" y="94"/>
                    <a:pt x="1032" y="99"/>
                    <a:pt x="1042" y="111"/>
                  </a:cubicBezTo>
                  <a:cubicBezTo>
                    <a:pt x="1042" y="89"/>
                    <a:pt x="1042" y="89"/>
                    <a:pt x="1042" y="89"/>
                  </a:cubicBezTo>
                  <a:cubicBezTo>
                    <a:pt x="1042" y="72"/>
                    <a:pt x="1029" y="63"/>
                    <a:pt x="1011" y="63"/>
                  </a:cubicBezTo>
                  <a:cubicBezTo>
                    <a:pt x="996" y="63"/>
                    <a:pt x="984" y="68"/>
                    <a:pt x="973" y="80"/>
                  </a:cubicBezTo>
                  <a:cubicBezTo>
                    <a:pt x="964" y="67"/>
                    <a:pt x="964" y="67"/>
                    <a:pt x="964" y="67"/>
                  </a:cubicBezTo>
                  <a:cubicBezTo>
                    <a:pt x="978" y="53"/>
                    <a:pt x="993" y="46"/>
                    <a:pt x="1013" y="46"/>
                  </a:cubicBezTo>
                  <a:cubicBezTo>
                    <a:pt x="1039" y="46"/>
                    <a:pt x="1061" y="58"/>
                    <a:pt x="1061" y="88"/>
                  </a:cubicBezTo>
                  <a:cubicBezTo>
                    <a:pt x="1061" y="172"/>
                    <a:pt x="1061" y="172"/>
                    <a:pt x="1061" y="172"/>
                  </a:cubicBezTo>
                  <a:lnTo>
                    <a:pt x="1042" y="172"/>
                  </a:lnTo>
                  <a:close/>
                  <a:moveTo>
                    <a:pt x="1042" y="146"/>
                  </a:moveTo>
                  <a:cubicBezTo>
                    <a:pt x="1042" y="123"/>
                    <a:pt x="1042" y="123"/>
                    <a:pt x="1042" y="123"/>
                  </a:cubicBezTo>
                  <a:cubicBezTo>
                    <a:pt x="1035" y="113"/>
                    <a:pt x="1022" y="108"/>
                    <a:pt x="1008" y="108"/>
                  </a:cubicBezTo>
                  <a:cubicBezTo>
                    <a:pt x="990" y="108"/>
                    <a:pt x="978" y="119"/>
                    <a:pt x="978" y="135"/>
                  </a:cubicBezTo>
                  <a:cubicBezTo>
                    <a:pt x="978" y="150"/>
                    <a:pt x="990" y="161"/>
                    <a:pt x="1008" y="161"/>
                  </a:cubicBezTo>
                  <a:cubicBezTo>
                    <a:pt x="1022" y="161"/>
                    <a:pt x="1035" y="156"/>
                    <a:pt x="1042" y="146"/>
                  </a:cubicBezTo>
                  <a:close/>
                  <a:moveTo>
                    <a:pt x="1146" y="87"/>
                  </a:moveTo>
                  <a:cubicBezTo>
                    <a:pt x="1146" y="35"/>
                    <a:pt x="1184" y="0"/>
                    <a:pt x="1233" y="0"/>
                  </a:cubicBezTo>
                  <a:cubicBezTo>
                    <a:pt x="1263" y="0"/>
                    <a:pt x="1284" y="14"/>
                    <a:pt x="1297" y="33"/>
                  </a:cubicBezTo>
                  <a:cubicBezTo>
                    <a:pt x="1280" y="43"/>
                    <a:pt x="1280" y="43"/>
                    <a:pt x="1280" y="43"/>
                  </a:cubicBezTo>
                  <a:cubicBezTo>
                    <a:pt x="1270" y="29"/>
                    <a:pt x="1252" y="19"/>
                    <a:pt x="1233" y="19"/>
                  </a:cubicBezTo>
                  <a:cubicBezTo>
                    <a:pt x="1196" y="19"/>
                    <a:pt x="1168" y="47"/>
                    <a:pt x="1168" y="87"/>
                  </a:cubicBezTo>
                  <a:cubicBezTo>
                    <a:pt x="1168" y="128"/>
                    <a:pt x="1196" y="156"/>
                    <a:pt x="1233" y="156"/>
                  </a:cubicBezTo>
                  <a:cubicBezTo>
                    <a:pt x="1252" y="156"/>
                    <a:pt x="1270" y="146"/>
                    <a:pt x="1280" y="132"/>
                  </a:cubicBezTo>
                  <a:cubicBezTo>
                    <a:pt x="1298" y="142"/>
                    <a:pt x="1298" y="142"/>
                    <a:pt x="1298" y="142"/>
                  </a:cubicBezTo>
                  <a:cubicBezTo>
                    <a:pt x="1283" y="161"/>
                    <a:pt x="1263" y="175"/>
                    <a:pt x="1233" y="175"/>
                  </a:cubicBezTo>
                  <a:cubicBezTo>
                    <a:pt x="1184" y="175"/>
                    <a:pt x="1146" y="140"/>
                    <a:pt x="1146" y="87"/>
                  </a:cubicBezTo>
                  <a:close/>
                  <a:moveTo>
                    <a:pt x="1394" y="172"/>
                  </a:moveTo>
                  <a:cubicBezTo>
                    <a:pt x="1394" y="158"/>
                    <a:pt x="1394" y="158"/>
                    <a:pt x="1394" y="158"/>
                  </a:cubicBezTo>
                  <a:cubicBezTo>
                    <a:pt x="1384" y="169"/>
                    <a:pt x="1370" y="175"/>
                    <a:pt x="1354" y="175"/>
                  </a:cubicBezTo>
                  <a:cubicBezTo>
                    <a:pt x="1333" y="175"/>
                    <a:pt x="1311" y="161"/>
                    <a:pt x="1311" y="134"/>
                  </a:cubicBezTo>
                  <a:cubicBezTo>
                    <a:pt x="1311" y="107"/>
                    <a:pt x="1333" y="94"/>
                    <a:pt x="1354" y="94"/>
                  </a:cubicBezTo>
                  <a:cubicBezTo>
                    <a:pt x="1370" y="94"/>
                    <a:pt x="1384" y="99"/>
                    <a:pt x="1394" y="111"/>
                  </a:cubicBezTo>
                  <a:cubicBezTo>
                    <a:pt x="1394" y="89"/>
                    <a:pt x="1394" y="89"/>
                    <a:pt x="1394" y="89"/>
                  </a:cubicBezTo>
                  <a:cubicBezTo>
                    <a:pt x="1394" y="72"/>
                    <a:pt x="1381" y="63"/>
                    <a:pt x="1363" y="63"/>
                  </a:cubicBezTo>
                  <a:cubicBezTo>
                    <a:pt x="1349" y="63"/>
                    <a:pt x="1337" y="68"/>
                    <a:pt x="1326" y="80"/>
                  </a:cubicBezTo>
                  <a:cubicBezTo>
                    <a:pt x="1317" y="67"/>
                    <a:pt x="1317" y="67"/>
                    <a:pt x="1317" y="67"/>
                  </a:cubicBezTo>
                  <a:cubicBezTo>
                    <a:pt x="1330" y="53"/>
                    <a:pt x="1346" y="46"/>
                    <a:pt x="1366" y="46"/>
                  </a:cubicBezTo>
                  <a:cubicBezTo>
                    <a:pt x="1392" y="46"/>
                    <a:pt x="1413" y="58"/>
                    <a:pt x="1413" y="88"/>
                  </a:cubicBezTo>
                  <a:cubicBezTo>
                    <a:pt x="1413" y="172"/>
                    <a:pt x="1413" y="172"/>
                    <a:pt x="1413" y="172"/>
                  </a:cubicBezTo>
                  <a:lnTo>
                    <a:pt x="1394" y="172"/>
                  </a:lnTo>
                  <a:close/>
                  <a:moveTo>
                    <a:pt x="1394" y="146"/>
                  </a:moveTo>
                  <a:cubicBezTo>
                    <a:pt x="1394" y="123"/>
                    <a:pt x="1394" y="123"/>
                    <a:pt x="1394" y="123"/>
                  </a:cubicBezTo>
                  <a:cubicBezTo>
                    <a:pt x="1387" y="113"/>
                    <a:pt x="1374" y="108"/>
                    <a:pt x="1360" y="108"/>
                  </a:cubicBezTo>
                  <a:cubicBezTo>
                    <a:pt x="1343" y="108"/>
                    <a:pt x="1330" y="119"/>
                    <a:pt x="1330" y="135"/>
                  </a:cubicBezTo>
                  <a:cubicBezTo>
                    <a:pt x="1330" y="150"/>
                    <a:pt x="1343" y="161"/>
                    <a:pt x="1360" y="161"/>
                  </a:cubicBezTo>
                  <a:cubicBezTo>
                    <a:pt x="1374" y="161"/>
                    <a:pt x="1387" y="156"/>
                    <a:pt x="1394" y="146"/>
                  </a:cubicBezTo>
                  <a:close/>
                  <a:moveTo>
                    <a:pt x="1528" y="172"/>
                  </a:moveTo>
                  <a:cubicBezTo>
                    <a:pt x="1528" y="92"/>
                    <a:pt x="1528" y="92"/>
                    <a:pt x="1528" y="92"/>
                  </a:cubicBezTo>
                  <a:cubicBezTo>
                    <a:pt x="1528" y="70"/>
                    <a:pt x="1517" y="63"/>
                    <a:pt x="1501" y="63"/>
                  </a:cubicBezTo>
                  <a:cubicBezTo>
                    <a:pt x="1486" y="63"/>
                    <a:pt x="1471" y="72"/>
                    <a:pt x="1464" y="82"/>
                  </a:cubicBezTo>
                  <a:cubicBezTo>
                    <a:pt x="1464" y="172"/>
                    <a:pt x="1464" y="172"/>
                    <a:pt x="1464" y="172"/>
                  </a:cubicBezTo>
                  <a:cubicBezTo>
                    <a:pt x="1445" y="172"/>
                    <a:pt x="1445" y="172"/>
                    <a:pt x="1445" y="172"/>
                  </a:cubicBezTo>
                  <a:cubicBezTo>
                    <a:pt x="1445" y="49"/>
                    <a:pt x="1445" y="49"/>
                    <a:pt x="1445" y="49"/>
                  </a:cubicBezTo>
                  <a:cubicBezTo>
                    <a:pt x="1464" y="49"/>
                    <a:pt x="1464" y="49"/>
                    <a:pt x="1464" y="49"/>
                  </a:cubicBezTo>
                  <a:cubicBezTo>
                    <a:pt x="1464" y="67"/>
                    <a:pt x="1464" y="67"/>
                    <a:pt x="1464" y="67"/>
                  </a:cubicBezTo>
                  <a:cubicBezTo>
                    <a:pt x="1473" y="57"/>
                    <a:pt x="1490" y="46"/>
                    <a:pt x="1508" y="46"/>
                  </a:cubicBezTo>
                  <a:cubicBezTo>
                    <a:pt x="1534" y="46"/>
                    <a:pt x="1547" y="59"/>
                    <a:pt x="1547" y="86"/>
                  </a:cubicBezTo>
                  <a:cubicBezTo>
                    <a:pt x="1547" y="172"/>
                    <a:pt x="1547" y="172"/>
                    <a:pt x="1547" y="172"/>
                  </a:cubicBezTo>
                  <a:lnTo>
                    <a:pt x="1528" y="172"/>
                  </a:lnTo>
                  <a:close/>
                  <a:moveTo>
                    <a:pt x="1572" y="111"/>
                  </a:moveTo>
                  <a:cubicBezTo>
                    <a:pt x="1572" y="74"/>
                    <a:pt x="1596" y="46"/>
                    <a:pt x="1633" y="46"/>
                  </a:cubicBezTo>
                  <a:cubicBezTo>
                    <a:pt x="1655" y="46"/>
                    <a:pt x="1669" y="55"/>
                    <a:pt x="1678" y="68"/>
                  </a:cubicBezTo>
                  <a:cubicBezTo>
                    <a:pt x="1665" y="79"/>
                    <a:pt x="1665" y="79"/>
                    <a:pt x="1665" y="79"/>
                  </a:cubicBezTo>
                  <a:cubicBezTo>
                    <a:pt x="1657" y="68"/>
                    <a:pt x="1647" y="63"/>
                    <a:pt x="1634" y="63"/>
                  </a:cubicBezTo>
                  <a:cubicBezTo>
                    <a:pt x="1608" y="63"/>
                    <a:pt x="1592" y="83"/>
                    <a:pt x="1592" y="111"/>
                  </a:cubicBezTo>
                  <a:cubicBezTo>
                    <a:pt x="1592" y="138"/>
                    <a:pt x="1608" y="158"/>
                    <a:pt x="1634" y="158"/>
                  </a:cubicBezTo>
                  <a:cubicBezTo>
                    <a:pt x="1647" y="158"/>
                    <a:pt x="1657" y="153"/>
                    <a:pt x="1665" y="142"/>
                  </a:cubicBezTo>
                  <a:cubicBezTo>
                    <a:pt x="1678" y="154"/>
                    <a:pt x="1678" y="154"/>
                    <a:pt x="1678" y="154"/>
                  </a:cubicBezTo>
                  <a:cubicBezTo>
                    <a:pt x="1669" y="166"/>
                    <a:pt x="1655" y="175"/>
                    <a:pt x="1633" y="175"/>
                  </a:cubicBezTo>
                  <a:cubicBezTo>
                    <a:pt x="1596" y="175"/>
                    <a:pt x="1572" y="147"/>
                    <a:pt x="1572" y="111"/>
                  </a:cubicBezTo>
                  <a:close/>
                  <a:moveTo>
                    <a:pt x="1691" y="111"/>
                  </a:moveTo>
                  <a:cubicBezTo>
                    <a:pt x="1691" y="75"/>
                    <a:pt x="1717" y="46"/>
                    <a:pt x="1752" y="46"/>
                  </a:cubicBezTo>
                  <a:cubicBezTo>
                    <a:pt x="1789" y="46"/>
                    <a:pt x="1811" y="75"/>
                    <a:pt x="1811" y="112"/>
                  </a:cubicBezTo>
                  <a:cubicBezTo>
                    <a:pt x="1811" y="117"/>
                    <a:pt x="1811" y="117"/>
                    <a:pt x="1811" y="117"/>
                  </a:cubicBezTo>
                  <a:cubicBezTo>
                    <a:pt x="1711" y="117"/>
                    <a:pt x="1711" y="117"/>
                    <a:pt x="1711" y="117"/>
                  </a:cubicBezTo>
                  <a:cubicBezTo>
                    <a:pt x="1713" y="140"/>
                    <a:pt x="1729" y="159"/>
                    <a:pt x="1756" y="159"/>
                  </a:cubicBezTo>
                  <a:cubicBezTo>
                    <a:pt x="1769" y="159"/>
                    <a:pt x="1784" y="154"/>
                    <a:pt x="1793" y="144"/>
                  </a:cubicBezTo>
                  <a:cubicBezTo>
                    <a:pt x="1803" y="156"/>
                    <a:pt x="1803" y="156"/>
                    <a:pt x="1803" y="156"/>
                  </a:cubicBezTo>
                  <a:cubicBezTo>
                    <a:pt x="1790" y="169"/>
                    <a:pt x="1774" y="175"/>
                    <a:pt x="1754" y="175"/>
                  </a:cubicBezTo>
                  <a:cubicBezTo>
                    <a:pt x="1717" y="175"/>
                    <a:pt x="1691" y="149"/>
                    <a:pt x="1691" y="111"/>
                  </a:cubicBezTo>
                  <a:close/>
                  <a:moveTo>
                    <a:pt x="1751" y="62"/>
                  </a:moveTo>
                  <a:cubicBezTo>
                    <a:pt x="1725" y="62"/>
                    <a:pt x="1712" y="84"/>
                    <a:pt x="1711" y="103"/>
                  </a:cubicBezTo>
                  <a:cubicBezTo>
                    <a:pt x="1792" y="103"/>
                    <a:pt x="1792" y="103"/>
                    <a:pt x="1792" y="103"/>
                  </a:cubicBezTo>
                  <a:cubicBezTo>
                    <a:pt x="1792" y="85"/>
                    <a:pt x="1779" y="62"/>
                    <a:pt x="1751" y="62"/>
                  </a:cubicBezTo>
                  <a:close/>
                  <a:moveTo>
                    <a:pt x="1835" y="172"/>
                  </a:moveTo>
                  <a:cubicBezTo>
                    <a:pt x="1835" y="49"/>
                    <a:pt x="1835" y="49"/>
                    <a:pt x="1835" y="49"/>
                  </a:cubicBezTo>
                  <a:cubicBezTo>
                    <a:pt x="1854" y="49"/>
                    <a:pt x="1854" y="49"/>
                    <a:pt x="1854" y="49"/>
                  </a:cubicBezTo>
                  <a:cubicBezTo>
                    <a:pt x="1854" y="69"/>
                    <a:pt x="1854" y="69"/>
                    <a:pt x="1854" y="69"/>
                  </a:cubicBezTo>
                  <a:cubicBezTo>
                    <a:pt x="1864" y="56"/>
                    <a:pt x="1878" y="47"/>
                    <a:pt x="1895" y="47"/>
                  </a:cubicBezTo>
                  <a:cubicBezTo>
                    <a:pt x="1895" y="66"/>
                    <a:pt x="1895" y="66"/>
                    <a:pt x="1895" y="66"/>
                  </a:cubicBezTo>
                  <a:cubicBezTo>
                    <a:pt x="1893" y="66"/>
                    <a:pt x="1891" y="66"/>
                    <a:pt x="1887" y="66"/>
                  </a:cubicBezTo>
                  <a:cubicBezTo>
                    <a:pt x="1876" y="66"/>
                    <a:pt x="1860" y="75"/>
                    <a:pt x="1854" y="85"/>
                  </a:cubicBezTo>
                  <a:cubicBezTo>
                    <a:pt x="1854" y="172"/>
                    <a:pt x="1854" y="172"/>
                    <a:pt x="1854" y="172"/>
                  </a:cubicBezTo>
                  <a:lnTo>
                    <a:pt x="1835" y="172"/>
                  </a:lnTo>
                  <a:close/>
                  <a:moveTo>
                    <a:pt x="1901" y="119"/>
                  </a:moveTo>
                  <a:cubicBezTo>
                    <a:pt x="1901" y="102"/>
                    <a:pt x="1901" y="102"/>
                    <a:pt x="1901" y="102"/>
                  </a:cubicBezTo>
                  <a:cubicBezTo>
                    <a:pt x="1962" y="102"/>
                    <a:pt x="1962" y="102"/>
                    <a:pt x="1962" y="102"/>
                  </a:cubicBezTo>
                  <a:cubicBezTo>
                    <a:pt x="1962" y="119"/>
                    <a:pt x="1962" y="119"/>
                    <a:pt x="1962" y="119"/>
                  </a:cubicBezTo>
                  <a:lnTo>
                    <a:pt x="1901" y="119"/>
                  </a:lnTo>
                  <a:close/>
                  <a:moveTo>
                    <a:pt x="1988" y="172"/>
                  </a:moveTo>
                  <a:cubicBezTo>
                    <a:pt x="1988" y="66"/>
                    <a:pt x="1988" y="66"/>
                    <a:pt x="1988" y="66"/>
                  </a:cubicBezTo>
                  <a:cubicBezTo>
                    <a:pt x="1968" y="66"/>
                    <a:pt x="1968" y="66"/>
                    <a:pt x="1968" y="66"/>
                  </a:cubicBezTo>
                  <a:cubicBezTo>
                    <a:pt x="1968" y="49"/>
                    <a:pt x="1968" y="49"/>
                    <a:pt x="1968" y="49"/>
                  </a:cubicBezTo>
                  <a:cubicBezTo>
                    <a:pt x="1988" y="49"/>
                    <a:pt x="1988" y="49"/>
                    <a:pt x="1988" y="49"/>
                  </a:cubicBezTo>
                  <a:cubicBezTo>
                    <a:pt x="1988" y="40"/>
                    <a:pt x="1988" y="40"/>
                    <a:pt x="1988" y="40"/>
                  </a:cubicBezTo>
                  <a:cubicBezTo>
                    <a:pt x="1988" y="15"/>
                    <a:pt x="2002" y="0"/>
                    <a:pt x="2023" y="0"/>
                  </a:cubicBezTo>
                  <a:cubicBezTo>
                    <a:pt x="2033" y="0"/>
                    <a:pt x="2042" y="2"/>
                    <a:pt x="2049" y="9"/>
                  </a:cubicBezTo>
                  <a:cubicBezTo>
                    <a:pt x="2042" y="22"/>
                    <a:pt x="2042" y="22"/>
                    <a:pt x="2042" y="22"/>
                  </a:cubicBezTo>
                  <a:cubicBezTo>
                    <a:pt x="2037" y="18"/>
                    <a:pt x="2033" y="16"/>
                    <a:pt x="2026" y="16"/>
                  </a:cubicBezTo>
                  <a:cubicBezTo>
                    <a:pt x="2014" y="16"/>
                    <a:pt x="2007" y="24"/>
                    <a:pt x="2007" y="40"/>
                  </a:cubicBezTo>
                  <a:cubicBezTo>
                    <a:pt x="2007" y="49"/>
                    <a:pt x="2007" y="49"/>
                    <a:pt x="2007" y="49"/>
                  </a:cubicBezTo>
                  <a:cubicBezTo>
                    <a:pt x="2032" y="49"/>
                    <a:pt x="2032" y="49"/>
                    <a:pt x="2032" y="49"/>
                  </a:cubicBezTo>
                  <a:cubicBezTo>
                    <a:pt x="2032" y="66"/>
                    <a:pt x="2032" y="66"/>
                    <a:pt x="2032" y="66"/>
                  </a:cubicBezTo>
                  <a:cubicBezTo>
                    <a:pt x="2007" y="66"/>
                    <a:pt x="2007" y="66"/>
                    <a:pt x="2007" y="66"/>
                  </a:cubicBezTo>
                  <a:cubicBezTo>
                    <a:pt x="2007" y="172"/>
                    <a:pt x="2007" y="172"/>
                    <a:pt x="2007" y="172"/>
                  </a:cubicBezTo>
                  <a:lnTo>
                    <a:pt x="1988" y="172"/>
                  </a:lnTo>
                  <a:close/>
                  <a:moveTo>
                    <a:pt x="2048" y="172"/>
                  </a:moveTo>
                  <a:cubicBezTo>
                    <a:pt x="2048" y="49"/>
                    <a:pt x="2048" y="49"/>
                    <a:pt x="2048" y="49"/>
                  </a:cubicBezTo>
                  <a:cubicBezTo>
                    <a:pt x="2067" y="49"/>
                    <a:pt x="2067" y="49"/>
                    <a:pt x="2067" y="49"/>
                  </a:cubicBezTo>
                  <a:cubicBezTo>
                    <a:pt x="2067" y="69"/>
                    <a:pt x="2067" y="69"/>
                    <a:pt x="2067" y="69"/>
                  </a:cubicBezTo>
                  <a:cubicBezTo>
                    <a:pt x="2077" y="56"/>
                    <a:pt x="2091" y="47"/>
                    <a:pt x="2108" y="47"/>
                  </a:cubicBezTo>
                  <a:cubicBezTo>
                    <a:pt x="2108" y="66"/>
                    <a:pt x="2108" y="66"/>
                    <a:pt x="2108" y="66"/>
                  </a:cubicBezTo>
                  <a:cubicBezTo>
                    <a:pt x="2106" y="66"/>
                    <a:pt x="2104" y="66"/>
                    <a:pt x="2100" y="66"/>
                  </a:cubicBezTo>
                  <a:cubicBezTo>
                    <a:pt x="2089" y="66"/>
                    <a:pt x="2073" y="75"/>
                    <a:pt x="2067" y="85"/>
                  </a:cubicBezTo>
                  <a:cubicBezTo>
                    <a:pt x="2067" y="172"/>
                    <a:pt x="2067" y="172"/>
                    <a:pt x="2067" y="172"/>
                  </a:cubicBezTo>
                  <a:lnTo>
                    <a:pt x="2048" y="172"/>
                  </a:lnTo>
                  <a:close/>
                  <a:moveTo>
                    <a:pt x="2119" y="111"/>
                  </a:moveTo>
                  <a:cubicBezTo>
                    <a:pt x="2119" y="75"/>
                    <a:pt x="2144" y="46"/>
                    <a:pt x="2179" y="46"/>
                  </a:cubicBezTo>
                  <a:cubicBezTo>
                    <a:pt x="2216" y="46"/>
                    <a:pt x="2238" y="75"/>
                    <a:pt x="2238" y="112"/>
                  </a:cubicBezTo>
                  <a:cubicBezTo>
                    <a:pt x="2238" y="117"/>
                    <a:pt x="2238" y="117"/>
                    <a:pt x="2238" y="117"/>
                  </a:cubicBezTo>
                  <a:cubicBezTo>
                    <a:pt x="2139" y="117"/>
                    <a:pt x="2139" y="117"/>
                    <a:pt x="2139" y="117"/>
                  </a:cubicBezTo>
                  <a:cubicBezTo>
                    <a:pt x="2140" y="140"/>
                    <a:pt x="2156" y="159"/>
                    <a:pt x="2183" y="159"/>
                  </a:cubicBezTo>
                  <a:cubicBezTo>
                    <a:pt x="2197" y="159"/>
                    <a:pt x="2211" y="154"/>
                    <a:pt x="2221" y="144"/>
                  </a:cubicBezTo>
                  <a:cubicBezTo>
                    <a:pt x="2230" y="156"/>
                    <a:pt x="2230" y="156"/>
                    <a:pt x="2230" y="156"/>
                  </a:cubicBezTo>
                  <a:cubicBezTo>
                    <a:pt x="2218" y="169"/>
                    <a:pt x="2201" y="175"/>
                    <a:pt x="2181" y="175"/>
                  </a:cubicBezTo>
                  <a:cubicBezTo>
                    <a:pt x="2145" y="175"/>
                    <a:pt x="2119" y="149"/>
                    <a:pt x="2119" y="111"/>
                  </a:cubicBezTo>
                  <a:close/>
                  <a:moveTo>
                    <a:pt x="2179" y="62"/>
                  </a:moveTo>
                  <a:cubicBezTo>
                    <a:pt x="2153" y="62"/>
                    <a:pt x="2140" y="84"/>
                    <a:pt x="2139" y="103"/>
                  </a:cubicBezTo>
                  <a:cubicBezTo>
                    <a:pt x="2219" y="103"/>
                    <a:pt x="2219" y="103"/>
                    <a:pt x="2219" y="103"/>
                  </a:cubicBezTo>
                  <a:cubicBezTo>
                    <a:pt x="2219" y="85"/>
                    <a:pt x="2207" y="62"/>
                    <a:pt x="2179" y="62"/>
                  </a:cubicBezTo>
                  <a:close/>
                  <a:moveTo>
                    <a:pt x="2255" y="111"/>
                  </a:moveTo>
                  <a:cubicBezTo>
                    <a:pt x="2255" y="75"/>
                    <a:pt x="2281" y="46"/>
                    <a:pt x="2316" y="46"/>
                  </a:cubicBezTo>
                  <a:cubicBezTo>
                    <a:pt x="2353" y="46"/>
                    <a:pt x="2375" y="75"/>
                    <a:pt x="2375" y="112"/>
                  </a:cubicBezTo>
                  <a:cubicBezTo>
                    <a:pt x="2375" y="117"/>
                    <a:pt x="2375" y="117"/>
                    <a:pt x="2375" y="117"/>
                  </a:cubicBezTo>
                  <a:cubicBezTo>
                    <a:pt x="2275" y="117"/>
                    <a:pt x="2275" y="117"/>
                    <a:pt x="2275" y="117"/>
                  </a:cubicBezTo>
                  <a:cubicBezTo>
                    <a:pt x="2277" y="140"/>
                    <a:pt x="2293" y="159"/>
                    <a:pt x="2320" y="159"/>
                  </a:cubicBezTo>
                  <a:cubicBezTo>
                    <a:pt x="2334" y="159"/>
                    <a:pt x="2348" y="154"/>
                    <a:pt x="2357" y="144"/>
                  </a:cubicBezTo>
                  <a:cubicBezTo>
                    <a:pt x="2367" y="156"/>
                    <a:pt x="2367" y="156"/>
                    <a:pt x="2367" y="156"/>
                  </a:cubicBezTo>
                  <a:cubicBezTo>
                    <a:pt x="2354" y="169"/>
                    <a:pt x="2338" y="175"/>
                    <a:pt x="2318" y="175"/>
                  </a:cubicBezTo>
                  <a:cubicBezTo>
                    <a:pt x="2281" y="175"/>
                    <a:pt x="2255" y="149"/>
                    <a:pt x="2255" y="111"/>
                  </a:cubicBezTo>
                  <a:close/>
                  <a:moveTo>
                    <a:pt x="2316" y="62"/>
                  </a:moveTo>
                  <a:cubicBezTo>
                    <a:pt x="2289" y="62"/>
                    <a:pt x="2276" y="84"/>
                    <a:pt x="2275" y="103"/>
                  </a:cubicBezTo>
                  <a:cubicBezTo>
                    <a:pt x="2356" y="103"/>
                    <a:pt x="2356" y="103"/>
                    <a:pt x="2356" y="103"/>
                  </a:cubicBezTo>
                  <a:cubicBezTo>
                    <a:pt x="2356" y="85"/>
                    <a:pt x="2344" y="62"/>
                    <a:pt x="2316" y="62"/>
                  </a:cubicBezTo>
                  <a:close/>
                  <a:moveTo>
                    <a:pt x="2589" y="172"/>
                  </a:moveTo>
                  <a:cubicBezTo>
                    <a:pt x="2551" y="35"/>
                    <a:pt x="2551" y="35"/>
                    <a:pt x="2551" y="35"/>
                  </a:cubicBezTo>
                  <a:cubicBezTo>
                    <a:pt x="2514" y="172"/>
                    <a:pt x="2514" y="172"/>
                    <a:pt x="2514" y="172"/>
                  </a:cubicBezTo>
                  <a:cubicBezTo>
                    <a:pt x="2491" y="172"/>
                    <a:pt x="2491" y="172"/>
                    <a:pt x="2491" y="172"/>
                  </a:cubicBezTo>
                  <a:cubicBezTo>
                    <a:pt x="2443" y="3"/>
                    <a:pt x="2443" y="3"/>
                    <a:pt x="2443" y="3"/>
                  </a:cubicBezTo>
                  <a:cubicBezTo>
                    <a:pt x="2466" y="3"/>
                    <a:pt x="2466" y="3"/>
                    <a:pt x="2466" y="3"/>
                  </a:cubicBezTo>
                  <a:cubicBezTo>
                    <a:pt x="2504" y="144"/>
                    <a:pt x="2504" y="144"/>
                    <a:pt x="2504" y="144"/>
                  </a:cubicBezTo>
                  <a:cubicBezTo>
                    <a:pt x="2543" y="3"/>
                    <a:pt x="2543" y="3"/>
                    <a:pt x="2543" y="3"/>
                  </a:cubicBezTo>
                  <a:cubicBezTo>
                    <a:pt x="2560" y="3"/>
                    <a:pt x="2560" y="3"/>
                    <a:pt x="2560" y="3"/>
                  </a:cubicBezTo>
                  <a:cubicBezTo>
                    <a:pt x="2599" y="144"/>
                    <a:pt x="2599" y="144"/>
                    <a:pt x="2599" y="144"/>
                  </a:cubicBezTo>
                  <a:cubicBezTo>
                    <a:pt x="2637" y="3"/>
                    <a:pt x="2637" y="3"/>
                    <a:pt x="2637" y="3"/>
                  </a:cubicBezTo>
                  <a:cubicBezTo>
                    <a:pt x="2660" y="3"/>
                    <a:pt x="2660" y="3"/>
                    <a:pt x="2660" y="3"/>
                  </a:cubicBezTo>
                  <a:cubicBezTo>
                    <a:pt x="2612" y="172"/>
                    <a:pt x="2612" y="172"/>
                    <a:pt x="2612" y="172"/>
                  </a:cubicBezTo>
                  <a:lnTo>
                    <a:pt x="2589" y="172"/>
                  </a:lnTo>
                  <a:close/>
                  <a:moveTo>
                    <a:pt x="2659" y="111"/>
                  </a:moveTo>
                  <a:cubicBezTo>
                    <a:pt x="2659" y="75"/>
                    <a:pt x="2683" y="46"/>
                    <a:pt x="2720" y="46"/>
                  </a:cubicBezTo>
                  <a:cubicBezTo>
                    <a:pt x="2757" y="46"/>
                    <a:pt x="2781" y="75"/>
                    <a:pt x="2781" y="111"/>
                  </a:cubicBezTo>
                  <a:cubicBezTo>
                    <a:pt x="2781" y="146"/>
                    <a:pt x="2757" y="175"/>
                    <a:pt x="2720" y="175"/>
                  </a:cubicBezTo>
                  <a:cubicBezTo>
                    <a:pt x="2683" y="175"/>
                    <a:pt x="2659" y="146"/>
                    <a:pt x="2659" y="111"/>
                  </a:cubicBezTo>
                  <a:close/>
                  <a:moveTo>
                    <a:pt x="2761" y="111"/>
                  </a:moveTo>
                  <a:cubicBezTo>
                    <a:pt x="2761" y="86"/>
                    <a:pt x="2746" y="63"/>
                    <a:pt x="2720" y="63"/>
                  </a:cubicBezTo>
                  <a:cubicBezTo>
                    <a:pt x="2694" y="63"/>
                    <a:pt x="2679" y="86"/>
                    <a:pt x="2679" y="111"/>
                  </a:cubicBezTo>
                  <a:cubicBezTo>
                    <a:pt x="2679" y="136"/>
                    <a:pt x="2694" y="158"/>
                    <a:pt x="2720" y="158"/>
                  </a:cubicBezTo>
                  <a:cubicBezTo>
                    <a:pt x="2746" y="158"/>
                    <a:pt x="2761" y="136"/>
                    <a:pt x="2761" y="111"/>
                  </a:cubicBezTo>
                  <a:close/>
                  <a:moveTo>
                    <a:pt x="2805" y="172"/>
                  </a:moveTo>
                  <a:cubicBezTo>
                    <a:pt x="2805" y="49"/>
                    <a:pt x="2805" y="49"/>
                    <a:pt x="2805" y="49"/>
                  </a:cubicBezTo>
                  <a:cubicBezTo>
                    <a:pt x="2824" y="49"/>
                    <a:pt x="2824" y="49"/>
                    <a:pt x="2824" y="49"/>
                  </a:cubicBezTo>
                  <a:cubicBezTo>
                    <a:pt x="2824" y="69"/>
                    <a:pt x="2824" y="69"/>
                    <a:pt x="2824" y="69"/>
                  </a:cubicBezTo>
                  <a:cubicBezTo>
                    <a:pt x="2834" y="56"/>
                    <a:pt x="2849" y="47"/>
                    <a:pt x="2865" y="47"/>
                  </a:cubicBezTo>
                  <a:cubicBezTo>
                    <a:pt x="2865" y="66"/>
                    <a:pt x="2865" y="66"/>
                    <a:pt x="2865" y="66"/>
                  </a:cubicBezTo>
                  <a:cubicBezTo>
                    <a:pt x="2863" y="66"/>
                    <a:pt x="2861" y="66"/>
                    <a:pt x="2858" y="66"/>
                  </a:cubicBezTo>
                  <a:cubicBezTo>
                    <a:pt x="2846" y="66"/>
                    <a:pt x="2830" y="75"/>
                    <a:pt x="2824" y="85"/>
                  </a:cubicBezTo>
                  <a:cubicBezTo>
                    <a:pt x="2824" y="172"/>
                    <a:pt x="2824" y="172"/>
                    <a:pt x="2824" y="172"/>
                  </a:cubicBezTo>
                  <a:lnTo>
                    <a:pt x="2805" y="172"/>
                  </a:lnTo>
                  <a:close/>
                  <a:moveTo>
                    <a:pt x="2883" y="172"/>
                  </a:moveTo>
                  <a:cubicBezTo>
                    <a:pt x="2883" y="3"/>
                    <a:pt x="2883" y="3"/>
                    <a:pt x="2883" y="3"/>
                  </a:cubicBezTo>
                  <a:cubicBezTo>
                    <a:pt x="2902" y="3"/>
                    <a:pt x="2902" y="3"/>
                    <a:pt x="2902" y="3"/>
                  </a:cubicBezTo>
                  <a:cubicBezTo>
                    <a:pt x="2902" y="172"/>
                    <a:pt x="2902" y="172"/>
                    <a:pt x="2902" y="172"/>
                  </a:cubicBezTo>
                  <a:lnTo>
                    <a:pt x="2883" y="172"/>
                  </a:lnTo>
                  <a:close/>
                  <a:moveTo>
                    <a:pt x="3023" y="172"/>
                  </a:moveTo>
                  <a:cubicBezTo>
                    <a:pt x="3023" y="154"/>
                    <a:pt x="3023" y="154"/>
                    <a:pt x="3023" y="154"/>
                  </a:cubicBezTo>
                  <a:cubicBezTo>
                    <a:pt x="3014" y="166"/>
                    <a:pt x="2999" y="175"/>
                    <a:pt x="2981" y="175"/>
                  </a:cubicBezTo>
                  <a:cubicBezTo>
                    <a:pt x="2949" y="175"/>
                    <a:pt x="2927" y="151"/>
                    <a:pt x="2927" y="111"/>
                  </a:cubicBezTo>
                  <a:cubicBezTo>
                    <a:pt x="2927" y="72"/>
                    <a:pt x="2949" y="46"/>
                    <a:pt x="2981" y="46"/>
                  </a:cubicBezTo>
                  <a:cubicBezTo>
                    <a:pt x="2998" y="46"/>
                    <a:pt x="3013" y="54"/>
                    <a:pt x="3023" y="68"/>
                  </a:cubicBezTo>
                  <a:cubicBezTo>
                    <a:pt x="3023" y="3"/>
                    <a:pt x="3023" y="3"/>
                    <a:pt x="3023" y="3"/>
                  </a:cubicBezTo>
                  <a:cubicBezTo>
                    <a:pt x="3042" y="3"/>
                    <a:pt x="3042" y="3"/>
                    <a:pt x="3042" y="3"/>
                  </a:cubicBezTo>
                  <a:cubicBezTo>
                    <a:pt x="3042" y="172"/>
                    <a:pt x="3042" y="172"/>
                    <a:pt x="3042" y="172"/>
                  </a:cubicBezTo>
                  <a:lnTo>
                    <a:pt x="3023" y="172"/>
                  </a:lnTo>
                  <a:close/>
                  <a:moveTo>
                    <a:pt x="3023" y="139"/>
                  </a:moveTo>
                  <a:cubicBezTo>
                    <a:pt x="3023" y="83"/>
                    <a:pt x="3023" y="83"/>
                    <a:pt x="3023" y="83"/>
                  </a:cubicBezTo>
                  <a:cubicBezTo>
                    <a:pt x="3016" y="72"/>
                    <a:pt x="3001" y="63"/>
                    <a:pt x="2986" y="63"/>
                  </a:cubicBezTo>
                  <a:cubicBezTo>
                    <a:pt x="2961" y="63"/>
                    <a:pt x="2947" y="84"/>
                    <a:pt x="2947" y="111"/>
                  </a:cubicBezTo>
                  <a:cubicBezTo>
                    <a:pt x="2947" y="138"/>
                    <a:pt x="2961" y="158"/>
                    <a:pt x="2986" y="158"/>
                  </a:cubicBezTo>
                  <a:cubicBezTo>
                    <a:pt x="3001" y="158"/>
                    <a:pt x="3016" y="149"/>
                    <a:pt x="3023" y="139"/>
                  </a:cubicBezTo>
                  <a:close/>
                  <a:moveTo>
                    <a:pt x="3070" y="161"/>
                  </a:moveTo>
                  <a:cubicBezTo>
                    <a:pt x="3070" y="153"/>
                    <a:pt x="3076" y="147"/>
                    <a:pt x="3084" y="147"/>
                  </a:cubicBezTo>
                  <a:cubicBezTo>
                    <a:pt x="3091" y="147"/>
                    <a:pt x="3098" y="153"/>
                    <a:pt x="3098" y="161"/>
                  </a:cubicBezTo>
                  <a:cubicBezTo>
                    <a:pt x="3098" y="168"/>
                    <a:pt x="3091" y="175"/>
                    <a:pt x="3084" y="175"/>
                  </a:cubicBezTo>
                  <a:cubicBezTo>
                    <a:pt x="3076" y="175"/>
                    <a:pt x="3070" y="168"/>
                    <a:pt x="3070"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p:cNvSpPr>
              <a:spLocks noEditPoints="1"/>
            </p:cNvSpPr>
            <p:nvPr/>
          </p:nvSpPr>
          <p:spPr bwMode="auto">
            <a:xfrm>
              <a:off x="2061" y="1219"/>
              <a:ext cx="1921" cy="108"/>
            </a:xfrm>
            <a:custGeom>
              <a:avLst/>
              <a:gdLst>
                <a:gd name="T0" fmla="*/ 146 w 3965"/>
                <a:gd name="T1" fmla="*/ 88 h 222"/>
                <a:gd name="T2" fmla="*/ 277 w 3965"/>
                <a:gd name="T3" fmla="*/ 92 h 222"/>
                <a:gd name="T4" fmla="*/ 213 w 3965"/>
                <a:gd name="T5" fmla="*/ 50 h 222"/>
                <a:gd name="T6" fmla="*/ 321 w 3965"/>
                <a:gd name="T7" fmla="*/ 111 h 222"/>
                <a:gd name="T8" fmla="*/ 423 w 3965"/>
                <a:gd name="T9" fmla="*/ 144 h 222"/>
                <a:gd name="T10" fmla="*/ 421 w 3965"/>
                <a:gd name="T11" fmla="*/ 103 h 222"/>
                <a:gd name="T12" fmla="*/ 593 w 3965"/>
                <a:gd name="T13" fmla="*/ 105 h 222"/>
                <a:gd name="T14" fmla="*/ 546 w 3965"/>
                <a:gd name="T15" fmla="*/ 22 h 222"/>
                <a:gd name="T16" fmla="*/ 776 w 3965"/>
                <a:gd name="T17" fmla="*/ 112 h 222"/>
                <a:gd name="T18" fmla="*/ 719 w 3965"/>
                <a:gd name="T19" fmla="*/ 175 h 222"/>
                <a:gd name="T20" fmla="*/ 800 w 3965"/>
                <a:gd name="T21" fmla="*/ 172 h 222"/>
                <a:gd name="T22" fmla="*/ 853 w 3965"/>
                <a:gd name="T23" fmla="*/ 66 h 222"/>
                <a:gd name="T24" fmla="*/ 917 w 3965"/>
                <a:gd name="T25" fmla="*/ 160 h 222"/>
                <a:gd name="T26" fmla="*/ 916 w 3965"/>
                <a:gd name="T27" fmla="*/ 62 h 222"/>
                <a:gd name="T28" fmla="*/ 1043 w 3965"/>
                <a:gd name="T29" fmla="*/ 46 h 222"/>
                <a:gd name="T30" fmla="*/ 1002 w 3965"/>
                <a:gd name="T31" fmla="*/ 111 h 222"/>
                <a:gd name="T32" fmla="*/ 1148 w 3965"/>
                <a:gd name="T33" fmla="*/ 83 h 222"/>
                <a:gd name="T34" fmla="*/ 1191 w 3965"/>
                <a:gd name="T35" fmla="*/ 46 h 222"/>
                <a:gd name="T36" fmla="*/ 1274 w 3965"/>
                <a:gd name="T37" fmla="*/ 173 h 222"/>
                <a:gd name="T38" fmla="*/ 1368 w 3965"/>
                <a:gd name="T39" fmla="*/ 88 h 222"/>
                <a:gd name="T40" fmla="*/ 1452 w 3965"/>
                <a:gd name="T41" fmla="*/ 19 h 222"/>
                <a:gd name="T42" fmla="*/ 1617 w 3965"/>
                <a:gd name="T43" fmla="*/ 63 h 222"/>
                <a:gd name="T44" fmla="*/ 1581 w 3965"/>
                <a:gd name="T45" fmla="*/ 67 h 222"/>
                <a:gd name="T46" fmla="*/ 1749 w 3965"/>
                <a:gd name="T47" fmla="*/ 46 h 222"/>
                <a:gd name="T48" fmla="*/ 1800 w 3965"/>
                <a:gd name="T49" fmla="*/ 157 h 222"/>
                <a:gd name="T50" fmla="*/ 1749 w 3965"/>
                <a:gd name="T51" fmla="*/ 62 h 222"/>
                <a:gd name="T52" fmla="*/ 1892 w 3965"/>
                <a:gd name="T53" fmla="*/ 172 h 222"/>
                <a:gd name="T54" fmla="*/ 2015 w 3965"/>
                <a:gd name="T55" fmla="*/ 88 h 222"/>
                <a:gd name="T56" fmla="*/ 2063 w 3965"/>
                <a:gd name="T57" fmla="*/ 172 h 222"/>
                <a:gd name="T58" fmla="*/ 2113 w 3965"/>
                <a:gd name="T59" fmla="*/ 142 h 222"/>
                <a:gd name="T60" fmla="*/ 2189 w 3965"/>
                <a:gd name="T61" fmla="*/ 77 h 222"/>
                <a:gd name="T62" fmla="*/ 2219 w 3965"/>
                <a:gd name="T63" fmla="*/ 111 h 222"/>
                <a:gd name="T64" fmla="*/ 2281 w 3965"/>
                <a:gd name="T65" fmla="*/ 158 h 222"/>
                <a:gd name="T66" fmla="*/ 2399 w 3965"/>
                <a:gd name="T67" fmla="*/ 46 h 222"/>
                <a:gd name="T68" fmla="*/ 2358 w 3965"/>
                <a:gd name="T69" fmla="*/ 111 h 222"/>
                <a:gd name="T70" fmla="*/ 2528 w 3965"/>
                <a:gd name="T71" fmla="*/ 150 h 222"/>
                <a:gd name="T72" fmla="*/ 2656 w 3965"/>
                <a:gd name="T73" fmla="*/ 46 h 222"/>
                <a:gd name="T74" fmla="*/ 2707 w 3965"/>
                <a:gd name="T75" fmla="*/ 157 h 222"/>
                <a:gd name="T76" fmla="*/ 2656 w 3965"/>
                <a:gd name="T77" fmla="*/ 62 h 222"/>
                <a:gd name="T78" fmla="*/ 2799 w 3965"/>
                <a:gd name="T79" fmla="*/ 67 h 222"/>
                <a:gd name="T80" fmla="*/ 2823 w 3965"/>
                <a:gd name="T81" fmla="*/ 205 h 222"/>
                <a:gd name="T82" fmla="*/ 2901 w 3965"/>
                <a:gd name="T83" fmla="*/ 50 h 222"/>
                <a:gd name="T84" fmla="*/ 3071 w 3965"/>
                <a:gd name="T85" fmla="*/ 172 h 222"/>
                <a:gd name="T86" fmla="*/ 3071 w 3965"/>
                <a:gd name="T87" fmla="*/ 89 h 222"/>
                <a:gd name="T88" fmla="*/ 3090 w 3965"/>
                <a:gd name="T89" fmla="*/ 172 h 222"/>
                <a:gd name="T90" fmla="*/ 3037 w 3965"/>
                <a:gd name="T91" fmla="*/ 162 h 222"/>
                <a:gd name="T92" fmla="*/ 3126 w 3965"/>
                <a:gd name="T93" fmla="*/ 50 h 222"/>
                <a:gd name="T94" fmla="*/ 3145 w 3965"/>
                <a:gd name="T95" fmla="*/ 66 h 222"/>
                <a:gd name="T96" fmla="*/ 3126 w 3965"/>
                <a:gd name="T97" fmla="*/ 147 h 222"/>
                <a:gd name="T98" fmla="*/ 3326 w 3965"/>
                <a:gd name="T99" fmla="*/ 111 h 222"/>
                <a:gd name="T100" fmla="*/ 3345 w 3965"/>
                <a:gd name="T101" fmla="*/ 88 h 222"/>
                <a:gd name="T102" fmla="*/ 3262 w 3965"/>
                <a:gd name="T103" fmla="*/ 135 h 222"/>
                <a:gd name="T104" fmla="*/ 3406 w 3965"/>
                <a:gd name="T105" fmla="*/ 3 h 222"/>
                <a:gd name="T106" fmla="*/ 3552 w 3965"/>
                <a:gd name="T107" fmla="*/ 19 h 222"/>
                <a:gd name="T108" fmla="*/ 3556 w 3965"/>
                <a:gd name="T109" fmla="*/ 50 h 222"/>
                <a:gd name="T110" fmla="*/ 3732 w 3965"/>
                <a:gd name="T111" fmla="*/ 63 h 222"/>
                <a:gd name="T112" fmla="*/ 3626 w 3965"/>
                <a:gd name="T113" fmla="*/ 83 h 222"/>
                <a:gd name="T114" fmla="*/ 3665 w 3965"/>
                <a:gd name="T115" fmla="*/ 46 h 222"/>
                <a:gd name="T116" fmla="*/ 3798 w 3965"/>
                <a:gd name="T117" fmla="*/ 111 h 222"/>
                <a:gd name="T118" fmla="*/ 3901 w 3965"/>
                <a:gd name="T119" fmla="*/ 144 h 222"/>
                <a:gd name="T120" fmla="*/ 3899 w 3965"/>
                <a:gd name="T121" fmla="*/ 103 h 222"/>
                <a:gd name="T122" fmla="*/ 3937 w 3965"/>
                <a:gd name="T123"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5" h="222">
                  <a:moveTo>
                    <a:pt x="0" y="88"/>
                  </a:moveTo>
                  <a:cubicBezTo>
                    <a:pt x="0" y="38"/>
                    <a:pt x="34" y="0"/>
                    <a:pt x="84" y="0"/>
                  </a:cubicBezTo>
                  <a:cubicBezTo>
                    <a:pt x="134" y="0"/>
                    <a:pt x="168" y="38"/>
                    <a:pt x="168" y="88"/>
                  </a:cubicBezTo>
                  <a:cubicBezTo>
                    <a:pt x="168" y="138"/>
                    <a:pt x="134" y="175"/>
                    <a:pt x="84" y="175"/>
                  </a:cubicBezTo>
                  <a:cubicBezTo>
                    <a:pt x="34" y="175"/>
                    <a:pt x="0" y="138"/>
                    <a:pt x="0" y="88"/>
                  </a:cubicBezTo>
                  <a:close/>
                  <a:moveTo>
                    <a:pt x="146" y="88"/>
                  </a:moveTo>
                  <a:cubicBezTo>
                    <a:pt x="146" y="48"/>
                    <a:pt x="122" y="19"/>
                    <a:pt x="84" y="19"/>
                  </a:cubicBezTo>
                  <a:cubicBezTo>
                    <a:pt x="46" y="19"/>
                    <a:pt x="22" y="48"/>
                    <a:pt x="22" y="88"/>
                  </a:cubicBezTo>
                  <a:cubicBezTo>
                    <a:pt x="22" y="127"/>
                    <a:pt x="46" y="157"/>
                    <a:pt x="84" y="157"/>
                  </a:cubicBezTo>
                  <a:cubicBezTo>
                    <a:pt x="122" y="157"/>
                    <a:pt x="146" y="127"/>
                    <a:pt x="146" y="88"/>
                  </a:cubicBezTo>
                  <a:close/>
                  <a:moveTo>
                    <a:pt x="277" y="172"/>
                  </a:moveTo>
                  <a:cubicBezTo>
                    <a:pt x="277" y="92"/>
                    <a:pt x="277" y="92"/>
                    <a:pt x="277" y="92"/>
                  </a:cubicBezTo>
                  <a:cubicBezTo>
                    <a:pt x="277" y="70"/>
                    <a:pt x="266" y="63"/>
                    <a:pt x="250" y="63"/>
                  </a:cubicBezTo>
                  <a:cubicBezTo>
                    <a:pt x="235" y="63"/>
                    <a:pt x="220" y="73"/>
                    <a:pt x="213" y="83"/>
                  </a:cubicBezTo>
                  <a:cubicBezTo>
                    <a:pt x="213" y="172"/>
                    <a:pt x="213" y="172"/>
                    <a:pt x="213" y="172"/>
                  </a:cubicBezTo>
                  <a:cubicBezTo>
                    <a:pt x="194" y="172"/>
                    <a:pt x="194" y="172"/>
                    <a:pt x="194" y="172"/>
                  </a:cubicBezTo>
                  <a:cubicBezTo>
                    <a:pt x="194" y="50"/>
                    <a:pt x="194" y="50"/>
                    <a:pt x="194" y="50"/>
                  </a:cubicBezTo>
                  <a:cubicBezTo>
                    <a:pt x="213" y="50"/>
                    <a:pt x="213" y="50"/>
                    <a:pt x="213" y="50"/>
                  </a:cubicBezTo>
                  <a:cubicBezTo>
                    <a:pt x="213" y="67"/>
                    <a:pt x="213" y="67"/>
                    <a:pt x="213" y="67"/>
                  </a:cubicBezTo>
                  <a:cubicBezTo>
                    <a:pt x="222" y="57"/>
                    <a:pt x="239" y="46"/>
                    <a:pt x="257" y="46"/>
                  </a:cubicBezTo>
                  <a:cubicBezTo>
                    <a:pt x="283" y="46"/>
                    <a:pt x="296" y="59"/>
                    <a:pt x="296" y="86"/>
                  </a:cubicBezTo>
                  <a:cubicBezTo>
                    <a:pt x="296" y="172"/>
                    <a:pt x="296" y="172"/>
                    <a:pt x="296" y="172"/>
                  </a:cubicBezTo>
                  <a:lnTo>
                    <a:pt x="277" y="172"/>
                  </a:lnTo>
                  <a:close/>
                  <a:moveTo>
                    <a:pt x="321" y="111"/>
                  </a:moveTo>
                  <a:cubicBezTo>
                    <a:pt x="321" y="75"/>
                    <a:pt x="346" y="46"/>
                    <a:pt x="381" y="46"/>
                  </a:cubicBezTo>
                  <a:cubicBezTo>
                    <a:pt x="418" y="46"/>
                    <a:pt x="440" y="75"/>
                    <a:pt x="440" y="112"/>
                  </a:cubicBezTo>
                  <a:cubicBezTo>
                    <a:pt x="440" y="117"/>
                    <a:pt x="440" y="117"/>
                    <a:pt x="440" y="117"/>
                  </a:cubicBezTo>
                  <a:cubicBezTo>
                    <a:pt x="341" y="117"/>
                    <a:pt x="341" y="117"/>
                    <a:pt x="341" y="117"/>
                  </a:cubicBezTo>
                  <a:cubicBezTo>
                    <a:pt x="342" y="140"/>
                    <a:pt x="359" y="160"/>
                    <a:pt x="385" y="160"/>
                  </a:cubicBezTo>
                  <a:cubicBezTo>
                    <a:pt x="399" y="160"/>
                    <a:pt x="413" y="154"/>
                    <a:pt x="423" y="144"/>
                  </a:cubicBezTo>
                  <a:cubicBezTo>
                    <a:pt x="432" y="157"/>
                    <a:pt x="432" y="157"/>
                    <a:pt x="432" y="157"/>
                  </a:cubicBezTo>
                  <a:cubicBezTo>
                    <a:pt x="420" y="169"/>
                    <a:pt x="403" y="175"/>
                    <a:pt x="383" y="175"/>
                  </a:cubicBezTo>
                  <a:cubicBezTo>
                    <a:pt x="347" y="175"/>
                    <a:pt x="321" y="149"/>
                    <a:pt x="321" y="111"/>
                  </a:cubicBezTo>
                  <a:close/>
                  <a:moveTo>
                    <a:pt x="381" y="62"/>
                  </a:moveTo>
                  <a:cubicBezTo>
                    <a:pt x="355" y="62"/>
                    <a:pt x="342" y="84"/>
                    <a:pt x="341" y="103"/>
                  </a:cubicBezTo>
                  <a:cubicBezTo>
                    <a:pt x="421" y="103"/>
                    <a:pt x="421" y="103"/>
                    <a:pt x="421" y="103"/>
                  </a:cubicBezTo>
                  <a:cubicBezTo>
                    <a:pt x="421" y="85"/>
                    <a:pt x="409" y="62"/>
                    <a:pt x="381" y="62"/>
                  </a:cubicBezTo>
                  <a:close/>
                  <a:moveTo>
                    <a:pt x="525" y="172"/>
                  </a:moveTo>
                  <a:cubicBezTo>
                    <a:pt x="525" y="3"/>
                    <a:pt x="525" y="3"/>
                    <a:pt x="525" y="3"/>
                  </a:cubicBezTo>
                  <a:cubicBezTo>
                    <a:pt x="593" y="3"/>
                    <a:pt x="593" y="3"/>
                    <a:pt x="593" y="3"/>
                  </a:cubicBezTo>
                  <a:cubicBezTo>
                    <a:pt x="627" y="3"/>
                    <a:pt x="646" y="26"/>
                    <a:pt x="646" y="54"/>
                  </a:cubicBezTo>
                  <a:cubicBezTo>
                    <a:pt x="646" y="82"/>
                    <a:pt x="626" y="105"/>
                    <a:pt x="593" y="105"/>
                  </a:cubicBezTo>
                  <a:cubicBezTo>
                    <a:pt x="546" y="105"/>
                    <a:pt x="546" y="105"/>
                    <a:pt x="546" y="105"/>
                  </a:cubicBezTo>
                  <a:cubicBezTo>
                    <a:pt x="546" y="172"/>
                    <a:pt x="546" y="172"/>
                    <a:pt x="546" y="172"/>
                  </a:cubicBezTo>
                  <a:lnTo>
                    <a:pt x="525" y="172"/>
                  </a:lnTo>
                  <a:close/>
                  <a:moveTo>
                    <a:pt x="624" y="54"/>
                  </a:moveTo>
                  <a:cubicBezTo>
                    <a:pt x="624" y="35"/>
                    <a:pt x="610" y="22"/>
                    <a:pt x="590" y="22"/>
                  </a:cubicBezTo>
                  <a:cubicBezTo>
                    <a:pt x="546" y="22"/>
                    <a:pt x="546" y="22"/>
                    <a:pt x="546" y="22"/>
                  </a:cubicBezTo>
                  <a:cubicBezTo>
                    <a:pt x="546" y="86"/>
                    <a:pt x="546" y="86"/>
                    <a:pt x="546" y="86"/>
                  </a:cubicBezTo>
                  <a:cubicBezTo>
                    <a:pt x="590" y="86"/>
                    <a:pt x="590" y="86"/>
                    <a:pt x="590" y="86"/>
                  </a:cubicBezTo>
                  <a:cubicBezTo>
                    <a:pt x="610" y="86"/>
                    <a:pt x="624" y="73"/>
                    <a:pt x="624" y="54"/>
                  </a:cubicBezTo>
                  <a:close/>
                  <a:moveTo>
                    <a:pt x="656" y="111"/>
                  </a:moveTo>
                  <a:cubicBezTo>
                    <a:pt x="656" y="75"/>
                    <a:pt x="682" y="46"/>
                    <a:pt x="717" y="46"/>
                  </a:cubicBezTo>
                  <a:cubicBezTo>
                    <a:pt x="754" y="46"/>
                    <a:pt x="776" y="75"/>
                    <a:pt x="776" y="112"/>
                  </a:cubicBezTo>
                  <a:cubicBezTo>
                    <a:pt x="776" y="117"/>
                    <a:pt x="776" y="117"/>
                    <a:pt x="776" y="117"/>
                  </a:cubicBezTo>
                  <a:cubicBezTo>
                    <a:pt x="676" y="117"/>
                    <a:pt x="676" y="117"/>
                    <a:pt x="676" y="117"/>
                  </a:cubicBezTo>
                  <a:cubicBezTo>
                    <a:pt x="678" y="140"/>
                    <a:pt x="694" y="160"/>
                    <a:pt x="721" y="160"/>
                  </a:cubicBezTo>
                  <a:cubicBezTo>
                    <a:pt x="735" y="160"/>
                    <a:pt x="749" y="154"/>
                    <a:pt x="758" y="144"/>
                  </a:cubicBezTo>
                  <a:cubicBezTo>
                    <a:pt x="768" y="157"/>
                    <a:pt x="768" y="157"/>
                    <a:pt x="768" y="157"/>
                  </a:cubicBezTo>
                  <a:cubicBezTo>
                    <a:pt x="755" y="169"/>
                    <a:pt x="739" y="175"/>
                    <a:pt x="719" y="175"/>
                  </a:cubicBezTo>
                  <a:cubicBezTo>
                    <a:pt x="682" y="175"/>
                    <a:pt x="656" y="149"/>
                    <a:pt x="656" y="111"/>
                  </a:cubicBezTo>
                  <a:close/>
                  <a:moveTo>
                    <a:pt x="717" y="62"/>
                  </a:moveTo>
                  <a:cubicBezTo>
                    <a:pt x="690" y="62"/>
                    <a:pt x="677" y="84"/>
                    <a:pt x="676" y="103"/>
                  </a:cubicBezTo>
                  <a:cubicBezTo>
                    <a:pt x="757" y="103"/>
                    <a:pt x="757" y="103"/>
                    <a:pt x="757" y="103"/>
                  </a:cubicBezTo>
                  <a:cubicBezTo>
                    <a:pt x="757" y="85"/>
                    <a:pt x="745" y="62"/>
                    <a:pt x="717" y="62"/>
                  </a:cubicBezTo>
                  <a:close/>
                  <a:moveTo>
                    <a:pt x="800" y="172"/>
                  </a:moveTo>
                  <a:cubicBezTo>
                    <a:pt x="800" y="50"/>
                    <a:pt x="800" y="50"/>
                    <a:pt x="800" y="50"/>
                  </a:cubicBezTo>
                  <a:cubicBezTo>
                    <a:pt x="819" y="50"/>
                    <a:pt x="819" y="50"/>
                    <a:pt x="819" y="50"/>
                  </a:cubicBezTo>
                  <a:cubicBezTo>
                    <a:pt x="819" y="69"/>
                    <a:pt x="819" y="69"/>
                    <a:pt x="819" y="69"/>
                  </a:cubicBezTo>
                  <a:cubicBezTo>
                    <a:pt x="829" y="56"/>
                    <a:pt x="843" y="47"/>
                    <a:pt x="860" y="47"/>
                  </a:cubicBezTo>
                  <a:cubicBezTo>
                    <a:pt x="860" y="67"/>
                    <a:pt x="860" y="67"/>
                    <a:pt x="860" y="67"/>
                  </a:cubicBezTo>
                  <a:cubicBezTo>
                    <a:pt x="858" y="66"/>
                    <a:pt x="856" y="66"/>
                    <a:pt x="853" y="66"/>
                  </a:cubicBezTo>
                  <a:cubicBezTo>
                    <a:pt x="841" y="66"/>
                    <a:pt x="825" y="75"/>
                    <a:pt x="819" y="85"/>
                  </a:cubicBezTo>
                  <a:cubicBezTo>
                    <a:pt x="819" y="172"/>
                    <a:pt x="819" y="172"/>
                    <a:pt x="819" y="172"/>
                  </a:cubicBezTo>
                  <a:lnTo>
                    <a:pt x="800" y="172"/>
                  </a:lnTo>
                  <a:close/>
                  <a:moveTo>
                    <a:pt x="867" y="156"/>
                  </a:moveTo>
                  <a:cubicBezTo>
                    <a:pt x="877" y="142"/>
                    <a:pt x="877" y="142"/>
                    <a:pt x="877" y="142"/>
                  </a:cubicBezTo>
                  <a:cubicBezTo>
                    <a:pt x="885" y="152"/>
                    <a:pt x="901" y="160"/>
                    <a:pt x="917" y="160"/>
                  </a:cubicBezTo>
                  <a:cubicBezTo>
                    <a:pt x="936" y="160"/>
                    <a:pt x="946" y="151"/>
                    <a:pt x="946" y="139"/>
                  </a:cubicBezTo>
                  <a:cubicBezTo>
                    <a:pt x="946" y="109"/>
                    <a:pt x="870" y="127"/>
                    <a:pt x="870" y="82"/>
                  </a:cubicBezTo>
                  <a:cubicBezTo>
                    <a:pt x="870" y="63"/>
                    <a:pt x="887" y="46"/>
                    <a:pt x="916" y="46"/>
                  </a:cubicBezTo>
                  <a:cubicBezTo>
                    <a:pt x="937" y="46"/>
                    <a:pt x="952" y="54"/>
                    <a:pt x="962" y="64"/>
                  </a:cubicBezTo>
                  <a:cubicBezTo>
                    <a:pt x="953" y="77"/>
                    <a:pt x="953" y="77"/>
                    <a:pt x="953" y="77"/>
                  </a:cubicBezTo>
                  <a:cubicBezTo>
                    <a:pt x="945" y="69"/>
                    <a:pt x="932" y="62"/>
                    <a:pt x="916" y="62"/>
                  </a:cubicBezTo>
                  <a:cubicBezTo>
                    <a:pt x="899" y="62"/>
                    <a:pt x="889" y="70"/>
                    <a:pt x="889" y="81"/>
                  </a:cubicBezTo>
                  <a:cubicBezTo>
                    <a:pt x="889" y="108"/>
                    <a:pt x="965" y="90"/>
                    <a:pt x="965" y="138"/>
                  </a:cubicBezTo>
                  <a:cubicBezTo>
                    <a:pt x="965" y="159"/>
                    <a:pt x="948" y="175"/>
                    <a:pt x="917" y="175"/>
                  </a:cubicBezTo>
                  <a:cubicBezTo>
                    <a:pt x="897" y="175"/>
                    <a:pt x="879" y="169"/>
                    <a:pt x="867" y="156"/>
                  </a:cubicBezTo>
                  <a:close/>
                  <a:moveTo>
                    <a:pt x="982" y="111"/>
                  </a:moveTo>
                  <a:cubicBezTo>
                    <a:pt x="982" y="75"/>
                    <a:pt x="1006" y="46"/>
                    <a:pt x="1043" y="46"/>
                  </a:cubicBezTo>
                  <a:cubicBezTo>
                    <a:pt x="1081" y="46"/>
                    <a:pt x="1104" y="75"/>
                    <a:pt x="1104" y="111"/>
                  </a:cubicBezTo>
                  <a:cubicBezTo>
                    <a:pt x="1104" y="146"/>
                    <a:pt x="1081" y="175"/>
                    <a:pt x="1043" y="175"/>
                  </a:cubicBezTo>
                  <a:cubicBezTo>
                    <a:pt x="1006" y="175"/>
                    <a:pt x="982" y="146"/>
                    <a:pt x="982" y="111"/>
                  </a:cubicBezTo>
                  <a:close/>
                  <a:moveTo>
                    <a:pt x="1084" y="111"/>
                  </a:moveTo>
                  <a:cubicBezTo>
                    <a:pt x="1084" y="86"/>
                    <a:pt x="1069" y="63"/>
                    <a:pt x="1043" y="63"/>
                  </a:cubicBezTo>
                  <a:cubicBezTo>
                    <a:pt x="1017" y="63"/>
                    <a:pt x="1002" y="86"/>
                    <a:pt x="1002" y="111"/>
                  </a:cubicBezTo>
                  <a:cubicBezTo>
                    <a:pt x="1002" y="136"/>
                    <a:pt x="1017" y="158"/>
                    <a:pt x="1043" y="158"/>
                  </a:cubicBezTo>
                  <a:cubicBezTo>
                    <a:pt x="1069" y="158"/>
                    <a:pt x="1084" y="136"/>
                    <a:pt x="1084" y="111"/>
                  </a:cubicBezTo>
                  <a:close/>
                  <a:moveTo>
                    <a:pt x="1211" y="172"/>
                  </a:moveTo>
                  <a:cubicBezTo>
                    <a:pt x="1211" y="92"/>
                    <a:pt x="1211" y="92"/>
                    <a:pt x="1211" y="92"/>
                  </a:cubicBezTo>
                  <a:cubicBezTo>
                    <a:pt x="1211" y="70"/>
                    <a:pt x="1201" y="63"/>
                    <a:pt x="1184" y="63"/>
                  </a:cubicBezTo>
                  <a:cubicBezTo>
                    <a:pt x="1169" y="63"/>
                    <a:pt x="1155" y="73"/>
                    <a:pt x="1148" y="83"/>
                  </a:cubicBezTo>
                  <a:cubicBezTo>
                    <a:pt x="1148" y="172"/>
                    <a:pt x="1148" y="172"/>
                    <a:pt x="1148" y="172"/>
                  </a:cubicBezTo>
                  <a:cubicBezTo>
                    <a:pt x="1129" y="172"/>
                    <a:pt x="1129" y="172"/>
                    <a:pt x="1129" y="172"/>
                  </a:cubicBezTo>
                  <a:cubicBezTo>
                    <a:pt x="1129" y="50"/>
                    <a:pt x="1129" y="50"/>
                    <a:pt x="1129" y="50"/>
                  </a:cubicBezTo>
                  <a:cubicBezTo>
                    <a:pt x="1148" y="50"/>
                    <a:pt x="1148" y="50"/>
                    <a:pt x="1148" y="50"/>
                  </a:cubicBezTo>
                  <a:cubicBezTo>
                    <a:pt x="1148" y="67"/>
                    <a:pt x="1148" y="67"/>
                    <a:pt x="1148" y="67"/>
                  </a:cubicBezTo>
                  <a:cubicBezTo>
                    <a:pt x="1156" y="57"/>
                    <a:pt x="1173" y="46"/>
                    <a:pt x="1191" y="46"/>
                  </a:cubicBezTo>
                  <a:cubicBezTo>
                    <a:pt x="1217" y="46"/>
                    <a:pt x="1231" y="59"/>
                    <a:pt x="1231" y="86"/>
                  </a:cubicBezTo>
                  <a:cubicBezTo>
                    <a:pt x="1231" y="172"/>
                    <a:pt x="1231" y="172"/>
                    <a:pt x="1231" y="172"/>
                  </a:cubicBezTo>
                  <a:lnTo>
                    <a:pt x="1211" y="172"/>
                  </a:lnTo>
                  <a:close/>
                  <a:moveTo>
                    <a:pt x="1267" y="205"/>
                  </a:moveTo>
                  <a:cubicBezTo>
                    <a:pt x="1258" y="197"/>
                    <a:pt x="1258" y="197"/>
                    <a:pt x="1258" y="197"/>
                  </a:cubicBezTo>
                  <a:cubicBezTo>
                    <a:pt x="1266" y="191"/>
                    <a:pt x="1273" y="181"/>
                    <a:pt x="1274" y="173"/>
                  </a:cubicBezTo>
                  <a:cubicBezTo>
                    <a:pt x="1274" y="173"/>
                    <a:pt x="1272" y="174"/>
                    <a:pt x="1271" y="174"/>
                  </a:cubicBezTo>
                  <a:cubicBezTo>
                    <a:pt x="1264" y="174"/>
                    <a:pt x="1259" y="168"/>
                    <a:pt x="1259" y="161"/>
                  </a:cubicBezTo>
                  <a:cubicBezTo>
                    <a:pt x="1259" y="153"/>
                    <a:pt x="1264" y="147"/>
                    <a:pt x="1272" y="147"/>
                  </a:cubicBezTo>
                  <a:cubicBezTo>
                    <a:pt x="1280" y="147"/>
                    <a:pt x="1288" y="154"/>
                    <a:pt x="1288" y="166"/>
                  </a:cubicBezTo>
                  <a:cubicBezTo>
                    <a:pt x="1288" y="182"/>
                    <a:pt x="1279" y="196"/>
                    <a:pt x="1267" y="205"/>
                  </a:cubicBezTo>
                  <a:close/>
                  <a:moveTo>
                    <a:pt x="1368" y="88"/>
                  </a:moveTo>
                  <a:cubicBezTo>
                    <a:pt x="1368" y="38"/>
                    <a:pt x="1401" y="0"/>
                    <a:pt x="1452" y="0"/>
                  </a:cubicBezTo>
                  <a:cubicBezTo>
                    <a:pt x="1502" y="0"/>
                    <a:pt x="1536" y="38"/>
                    <a:pt x="1536" y="88"/>
                  </a:cubicBezTo>
                  <a:cubicBezTo>
                    <a:pt x="1536" y="138"/>
                    <a:pt x="1502" y="175"/>
                    <a:pt x="1452" y="175"/>
                  </a:cubicBezTo>
                  <a:cubicBezTo>
                    <a:pt x="1401" y="175"/>
                    <a:pt x="1368" y="138"/>
                    <a:pt x="1368" y="88"/>
                  </a:cubicBezTo>
                  <a:close/>
                  <a:moveTo>
                    <a:pt x="1514" y="88"/>
                  </a:moveTo>
                  <a:cubicBezTo>
                    <a:pt x="1514" y="48"/>
                    <a:pt x="1490" y="19"/>
                    <a:pt x="1452" y="19"/>
                  </a:cubicBezTo>
                  <a:cubicBezTo>
                    <a:pt x="1414" y="19"/>
                    <a:pt x="1389" y="48"/>
                    <a:pt x="1389" y="88"/>
                  </a:cubicBezTo>
                  <a:cubicBezTo>
                    <a:pt x="1389" y="127"/>
                    <a:pt x="1414" y="157"/>
                    <a:pt x="1452" y="157"/>
                  </a:cubicBezTo>
                  <a:cubicBezTo>
                    <a:pt x="1490" y="157"/>
                    <a:pt x="1514" y="127"/>
                    <a:pt x="1514" y="88"/>
                  </a:cubicBezTo>
                  <a:close/>
                  <a:moveTo>
                    <a:pt x="1645" y="172"/>
                  </a:moveTo>
                  <a:cubicBezTo>
                    <a:pt x="1645" y="92"/>
                    <a:pt x="1645" y="92"/>
                    <a:pt x="1645" y="92"/>
                  </a:cubicBezTo>
                  <a:cubicBezTo>
                    <a:pt x="1645" y="70"/>
                    <a:pt x="1634" y="63"/>
                    <a:pt x="1617" y="63"/>
                  </a:cubicBezTo>
                  <a:cubicBezTo>
                    <a:pt x="1602" y="63"/>
                    <a:pt x="1588" y="73"/>
                    <a:pt x="1581" y="83"/>
                  </a:cubicBezTo>
                  <a:cubicBezTo>
                    <a:pt x="1581" y="172"/>
                    <a:pt x="1581" y="172"/>
                    <a:pt x="1581" y="172"/>
                  </a:cubicBezTo>
                  <a:cubicBezTo>
                    <a:pt x="1562" y="172"/>
                    <a:pt x="1562" y="172"/>
                    <a:pt x="1562" y="172"/>
                  </a:cubicBezTo>
                  <a:cubicBezTo>
                    <a:pt x="1562" y="50"/>
                    <a:pt x="1562" y="50"/>
                    <a:pt x="1562" y="50"/>
                  </a:cubicBezTo>
                  <a:cubicBezTo>
                    <a:pt x="1581" y="50"/>
                    <a:pt x="1581" y="50"/>
                    <a:pt x="1581" y="50"/>
                  </a:cubicBezTo>
                  <a:cubicBezTo>
                    <a:pt x="1581" y="67"/>
                    <a:pt x="1581" y="67"/>
                    <a:pt x="1581" y="67"/>
                  </a:cubicBezTo>
                  <a:cubicBezTo>
                    <a:pt x="1590" y="57"/>
                    <a:pt x="1606" y="46"/>
                    <a:pt x="1625" y="46"/>
                  </a:cubicBezTo>
                  <a:cubicBezTo>
                    <a:pt x="1650" y="46"/>
                    <a:pt x="1664" y="59"/>
                    <a:pt x="1664" y="86"/>
                  </a:cubicBezTo>
                  <a:cubicBezTo>
                    <a:pt x="1664" y="172"/>
                    <a:pt x="1664" y="172"/>
                    <a:pt x="1664" y="172"/>
                  </a:cubicBezTo>
                  <a:lnTo>
                    <a:pt x="1645" y="172"/>
                  </a:lnTo>
                  <a:close/>
                  <a:moveTo>
                    <a:pt x="1688" y="111"/>
                  </a:moveTo>
                  <a:cubicBezTo>
                    <a:pt x="1688" y="75"/>
                    <a:pt x="1714" y="46"/>
                    <a:pt x="1749" y="46"/>
                  </a:cubicBezTo>
                  <a:cubicBezTo>
                    <a:pt x="1786" y="46"/>
                    <a:pt x="1808" y="75"/>
                    <a:pt x="1808" y="112"/>
                  </a:cubicBezTo>
                  <a:cubicBezTo>
                    <a:pt x="1808" y="117"/>
                    <a:pt x="1808" y="117"/>
                    <a:pt x="1808" y="117"/>
                  </a:cubicBezTo>
                  <a:cubicBezTo>
                    <a:pt x="1708" y="117"/>
                    <a:pt x="1708" y="117"/>
                    <a:pt x="1708" y="117"/>
                  </a:cubicBezTo>
                  <a:cubicBezTo>
                    <a:pt x="1710" y="140"/>
                    <a:pt x="1726" y="160"/>
                    <a:pt x="1753" y="160"/>
                  </a:cubicBezTo>
                  <a:cubicBezTo>
                    <a:pt x="1767" y="160"/>
                    <a:pt x="1781" y="154"/>
                    <a:pt x="1791" y="144"/>
                  </a:cubicBezTo>
                  <a:cubicBezTo>
                    <a:pt x="1800" y="157"/>
                    <a:pt x="1800" y="157"/>
                    <a:pt x="1800" y="157"/>
                  </a:cubicBezTo>
                  <a:cubicBezTo>
                    <a:pt x="1788" y="169"/>
                    <a:pt x="1771" y="175"/>
                    <a:pt x="1751" y="175"/>
                  </a:cubicBezTo>
                  <a:cubicBezTo>
                    <a:pt x="1715" y="175"/>
                    <a:pt x="1688" y="149"/>
                    <a:pt x="1688" y="111"/>
                  </a:cubicBezTo>
                  <a:close/>
                  <a:moveTo>
                    <a:pt x="1749" y="62"/>
                  </a:moveTo>
                  <a:cubicBezTo>
                    <a:pt x="1722" y="62"/>
                    <a:pt x="1710" y="84"/>
                    <a:pt x="1708" y="103"/>
                  </a:cubicBezTo>
                  <a:cubicBezTo>
                    <a:pt x="1789" y="103"/>
                    <a:pt x="1789" y="103"/>
                    <a:pt x="1789" y="103"/>
                  </a:cubicBezTo>
                  <a:cubicBezTo>
                    <a:pt x="1789" y="85"/>
                    <a:pt x="1777" y="62"/>
                    <a:pt x="1749" y="62"/>
                  </a:cubicBezTo>
                  <a:close/>
                  <a:moveTo>
                    <a:pt x="1892" y="172"/>
                  </a:moveTo>
                  <a:cubicBezTo>
                    <a:pt x="1892" y="3"/>
                    <a:pt x="1892" y="3"/>
                    <a:pt x="1892" y="3"/>
                  </a:cubicBezTo>
                  <a:cubicBezTo>
                    <a:pt x="1950" y="3"/>
                    <a:pt x="1950" y="3"/>
                    <a:pt x="1950" y="3"/>
                  </a:cubicBezTo>
                  <a:cubicBezTo>
                    <a:pt x="2003" y="3"/>
                    <a:pt x="2037" y="40"/>
                    <a:pt x="2037" y="88"/>
                  </a:cubicBezTo>
                  <a:cubicBezTo>
                    <a:pt x="2037" y="136"/>
                    <a:pt x="2003" y="172"/>
                    <a:pt x="1950" y="172"/>
                  </a:cubicBezTo>
                  <a:lnTo>
                    <a:pt x="1892" y="172"/>
                  </a:lnTo>
                  <a:close/>
                  <a:moveTo>
                    <a:pt x="2015" y="88"/>
                  </a:moveTo>
                  <a:cubicBezTo>
                    <a:pt x="2015" y="51"/>
                    <a:pt x="1992" y="22"/>
                    <a:pt x="1950" y="22"/>
                  </a:cubicBezTo>
                  <a:cubicBezTo>
                    <a:pt x="1913" y="22"/>
                    <a:pt x="1913" y="22"/>
                    <a:pt x="1913" y="22"/>
                  </a:cubicBezTo>
                  <a:cubicBezTo>
                    <a:pt x="1913" y="153"/>
                    <a:pt x="1913" y="153"/>
                    <a:pt x="1913" y="153"/>
                  </a:cubicBezTo>
                  <a:cubicBezTo>
                    <a:pt x="1950" y="153"/>
                    <a:pt x="1950" y="153"/>
                    <a:pt x="1950" y="153"/>
                  </a:cubicBezTo>
                  <a:cubicBezTo>
                    <a:pt x="1991" y="153"/>
                    <a:pt x="2015" y="124"/>
                    <a:pt x="2015" y="88"/>
                  </a:cubicBezTo>
                  <a:close/>
                  <a:moveTo>
                    <a:pt x="2060" y="19"/>
                  </a:moveTo>
                  <a:cubicBezTo>
                    <a:pt x="2060" y="12"/>
                    <a:pt x="2066" y="6"/>
                    <a:pt x="2073" y="6"/>
                  </a:cubicBezTo>
                  <a:cubicBezTo>
                    <a:pt x="2080" y="6"/>
                    <a:pt x="2086" y="12"/>
                    <a:pt x="2086" y="19"/>
                  </a:cubicBezTo>
                  <a:cubicBezTo>
                    <a:pt x="2086" y="26"/>
                    <a:pt x="2080" y="32"/>
                    <a:pt x="2073" y="32"/>
                  </a:cubicBezTo>
                  <a:cubicBezTo>
                    <a:pt x="2066" y="32"/>
                    <a:pt x="2060" y="26"/>
                    <a:pt x="2060" y="19"/>
                  </a:cubicBezTo>
                  <a:close/>
                  <a:moveTo>
                    <a:pt x="2063" y="172"/>
                  </a:moveTo>
                  <a:cubicBezTo>
                    <a:pt x="2063" y="50"/>
                    <a:pt x="2063" y="50"/>
                    <a:pt x="2063" y="50"/>
                  </a:cubicBezTo>
                  <a:cubicBezTo>
                    <a:pt x="2082" y="50"/>
                    <a:pt x="2082" y="50"/>
                    <a:pt x="2082" y="50"/>
                  </a:cubicBezTo>
                  <a:cubicBezTo>
                    <a:pt x="2082" y="172"/>
                    <a:pt x="2082" y="172"/>
                    <a:pt x="2082" y="172"/>
                  </a:cubicBezTo>
                  <a:lnTo>
                    <a:pt x="2063" y="172"/>
                  </a:lnTo>
                  <a:close/>
                  <a:moveTo>
                    <a:pt x="2103" y="156"/>
                  </a:moveTo>
                  <a:cubicBezTo>
                    <a:pt x="2113" y="142"/>
                    <a:pt x="2113" y="142"/>
                    <a:pt x="2113" y="142"/>
                  </a:cubicBezTo>
                  <a:cubicBezTo>
                    <a:pt x="2121" y="152"/>
                    <a:pt x="2137" y="160"/>
                    <a:pt x="2154" y="160"/>
                  </a:cubicBezTo>
                  <a:cubicBezTo>
                    <a:pt x="2172" y="160"/>
                    <a:pt x="2183" y="151"/>
                    <a:pt x="2183" y="139"/>
                  </a:cubicBezTo>
                  <a:cubicBezTo>
                    <a:pt x="2183" y="109"/>
                    <a:pt x="2107" y="127"/>
                    <a:pt x="2107" y="82"/>
                  </a:cubicBezTo>
                  <a:cubicBezTo>
                    <a:pt x="2107" y="63"/>
                    <a:pt x="2123" y="46"/>
                    <a:pt x="2152" y="46"/>
                  </a:cubicBezTo>
                  <a:cubicBezTo>
                    <a:pt x="2173" y="46"/>
                    <a:pt x="2188" y="54"/>
                    <a:pt x="2198" y="64"/>
                  </a:cubicBezTo>
                  <a:cubicBezTo>
                    <a:pt x="2189" y="77"/>
                    <a:pt x="2189" y="77"/>
                    <a:pt x="2189" y="77"/>
                  </a:cubicBezTo>
                  <a:cubicBezTo>
                    <a:pt x="2182" y="69"/>
                    <a:pt x="2168" y="62"/>
                    <a:pt x="2152" y="62"/>
                  </a:cubicBezTo>
                  <a:cubicBezTo>
                    <a:pt x="2136" y="62"/>
                    <a:pt x="2125" y="70"/>
                    <a:pt x="2125" y="81"/>
                  </a:cubicBezTo>
                  <a:cubicBezTo>
                    <a:pt x="2125" y="108"/>
                    <a:pt x="2201" y="90"/>
                    <a:pt x="2201" y="138"/>
                  </a:cubicBezTo>
                  <a:cubicBezTo>
                    <a:pt x="2201" y="159"/>
                    <a:pt x="2185" y="175"/>
                    <a:pt x="2153" y="175"/>
                  </a:cubicBezTo>
                  <a:cubicBezTo>
                    <a:pt x="2133" y="175"/>
                    <a:pt x="2116" y="169"/>
                    <a:pt x="2103" y="156"/>
                  </a:cubicBezTo>
                  <a:close/>
                  <a:moveTo>
                    <a:pt x="2219" y="111"/>
                  </a:moveTo>
                  <a:cubicBezTo>
                    <a:pt x="2219" y="74"/>
                    <a:pt x="2243" y="46"/>
                    <a:pt x="2280" y="46"/>
                  </a:cubicBezTo>
                  <a:cubicBezTo>
                    <a:pt x="2302" y="46"/>
                    <a:pt x="2316" y="56"/>
                    <a:pt x="2325" y="68"/>
                  </a:cubicBezTo>
                  <a:cubicBezTo>
                    <a:pt x="2312" y="80"/>
                    <a:pt x="2312" y="80"/>
                    <a:pt x="2312" y="80"/>
                  </a:cubicBezTo>
                  <a:cubicBezTo>
                    <a:pt x="2304" y="68"/>
                    <a:pt x="2294" y="63"/>
                    <a:pt x="2281" y="63"/>
                  </a:cubicBezTo>
                  <a:cubicBezTo>
                    <a:pt x="2255" y="63"/>
                    <a:pt x="2239" y="84"/>
                    <a:pt x="2239" y="111"/>
                  </a:cubicBezTo>
                  <a:cubicBezTo>
                    <a:pt x="2239" y="138"/>
                    <a:pt x="2255" y="158"/>
                    <a:pt x="2281" y="158"/>
                  </a:cubicBezTo>
                  <a:cubicBezTo>
                    <a:pt x="2294" y="158"/>
                    <a:pt x="2304" y="153"/>
                    <a:pt x="2312" y="142"/>
                  </a:cubicBezTo>
                  <a:cubicBezTo>
                    <a:pt x="2325" y="154"/>
                    <a:pt x="2325" y="154"/>
                    <a:pt x="2325" y="154"/>
                  </a:cubicBezTo>
                  <a:cubicBezTo>
                    <a:pt x="2316" y="166"/>
                    <a:pt x="2302" y="175"/>
                    <a:pt x="2280" y="175"/>
                  </a:cubicBezTo>
                  <a:cubicBezTo>
                    <a:pt x="2243" y="175"/>
                    <a:pt x="2219" y="147"/>
                    <a:pt x="2219" y="111"/>
                  </a:cubicBezTo>
                  <a:close/>
                  <a:moveTo>
                    <a:pt x="2338" y="111"/>
                  </a:moveTo>
                  <a:cubicBezTo>
                    <a:pt x="2338" y="75"/>
                    <a:pt x="2362" y="46"/>
                    <a:pt x="2399" y="46"/>
                  </a:cubicBezTo>
                  <a:cubicBezTo>
                    <a:pt x="2436" y="46"/>
                    <a:pt x="2460" y="75"/>
                    <a:pt x="2460" y="111"/>
                  </a:cubicBezTo>
                  <a:cubicBezTo>
                    <a:pt x="2460" y="146"/>
                    <a:pt x="2436" y="175"/>
                    <a:pt x="2399" y="175"/>
                  </a:cubicBezTo>
                  <a:cubicBezTo>
                    <a:pt x="2362" y="175"/>
                    <a:pt x="2338" y="146"/>
                    <a:pt x="2338" y="111"/>
                  </a:cubicBezTo>
                  <a:close/>
                  <a:moveTo>
                    <a:pt x="2440" y="111"/>
                  </a:moveTo>
                  <a:cubicBezTo>
                    <a:pt x="2440" y="86"/>
                    <a:pt x="2425" y="63"/>
                    <a:pt x="2399" y="63"/>
                  </a:cubicBezTo>
                  <a:cubicBezTo>
                    <a:pt x="2373" y="63"/>
                    <a:pt x="2358" y="86"/>
                    <a:pt x="2358" y="111"/>
                  </a:cubicBezTo>
                  <a:cubicBezTo>
                    <a:pt x="2358" y="136"/>
                    <a:pt x="2373" y="158"/>
                    <a:pt x="2399" y="158"/>
                  </a:cubicBezTo>
                  <a:cubicBezTo>
                    <a:pt x="2425" y="158"/>
                    <a:pt x="2440" y="136"/>
                    <a:pt x="2440" y="111"/>
                  </a:cubicBezTo>
                  <a:close/>
                  <a:moveTo>
                    <a:pt x="2517" y="172"/>
                  </a:moveTo>
                  <a:cubicBezTo>
                    <a:pt x="2466" y="50"/>
                    <a:pt x="2466" y="50"/>
                    <a:pt x="2466" y="50"/>
                  </a:cubicBezTo>
                  <a:cubicBezTo>
                    <a:pt x="2487" y="50"/>
                    <a:pt x="2487" y="50"/>
                    <a:pt x="2487" y="50"/>
                  </a:cubicBezTo>
                  <a:cubicBezTo>
                    <a:pt x="2528" y="150"/>
                    <a:pt x="2528" y="150"/>
                    <a:pt x="2528" y="150"/>
                  </a:cubicBezTo>
                  <a:cubicBezTo>
                    <a:pt x="2568" y="50"/>
                    <a:pt x="2568" y="50"/>
                    <a:pt x="2568" y="50"/>
                  </a:cubicBezTo>
                  <a:cubicBezTo>
                    <a:pt x="2589" y="50"/>
                    <a:pt x="2589" y="50"/>
                    <a:pt x="2589" y="50"/>
                  </a:cubicBezTo>
                  <a:cubicBezTo>
                    <a:pt x="2538" y="172"/>
                    <a:pt x="2538" y="172"/>
                    <a:pt x="2538" y="172"/>
                  </a:cubicBezTo>
                  <a:lnTo>
                    <a:pt x="2517" y="172"/>
                  </a:lnTo>
                  <a:close/>
                  <a:moveTo>
                    <a:pt x="2595" y="111"/>
                  </a:moveTo>
                  <a:cubicBezTo>
                    <a:pt x="2595" y="75"/>
                    <a:pt x="2621" y="46"/>
                    <a:pt x="2656" y="46"/>
                  </a:cubicBezTo>
                  <a:cubicBezTo>
                    <a:pt x="2693" y="46"/>
                    <a:pt x="2715" y="75"/>
                    <a:pt x="2715" y="112"/>
                  </a:cubicBezTo>
                  <a:cubicBezTo>
                    <a:pt x="2715" y="117"/>
                    <a:pt x="2715" y="117"/>
                    <a:pt x="2715" y="117"/>
                  </a:cubicBezTo>
                  <a:cubicBezTo>
                    <a:pt x="2616" y="117"/>
                    <a:pt x="2616" y="117"/>
                    <a:pt x="2616" y="117"/>
                  </a:cubicBezTo>
                  <a:cubicBezTo>
                    <a:pt x="2617" y="140"/>
                    <a:pt x="2633" y="160"/>
                    <a:pt x="2660" y="160"/>
                  </a:cubicBezTo>
                  <a:cubicBezTo>
                    <a:pt x="2674" y="160"/>
                    <a:pt x="2688" y="154"/>
                    <a:pt x="2698" y="144"/>
                  </a:cubicBezTo>
                  <a:cubicBezTo>
                    <a:pt x="2707" y="157"/>
                    <a:pt x="2707" y="157"/>
                    <a:pt x="2707" y="157"/>
                  </a:cubicBezTo>
                  <a:cubicBezTo>
                    <a:pt x="2695" y="169"/>
                    <a:pt x="2678" y="175"/>
                    <a:pt x="2658" y="175"/>
                  </a:cubicBezTo>
                  <a:cubicBezTo>
                    <a:pt x="2622" y="175"/>
                    <a:pt x="2595" y="149"/>
                    <a:pt x="2595" y="111"/>
                  </a:cubicBezTo>
                  <a:close/>
                  <a:moveTo>
                    <a:pt x="2656" y="62"/>
                  </a:moveTo>
                  <a:cubicBezTo>
                    <a:pt x="2630" y="62"/>
                    <a:pt x="2617" y="84"/>
                    <a:pt x="2616" y="103"/>
                  </a:cubicBezTo>
                  <a:cubicBezTo>
                    <a:pt x="2696" y="103"/>
                    <a:pt x="2696" y="103"/>
                    <a:pt x="2696" y="103"/>
                  </a:cubicBezTo>
                  <a:cubicBezTo>
                    <a:pt x="2696" y="85"/>
                    <a:pt x="2684" y="62"/>
                    <a:pt x="2656" y="62"/>
                  </a:cubicBezTo>
                  <a:close/>
                  <a:moveTo>
                    <a:pt x="2739" y="172"/>
                  </a:moveTo>
                  <a:cubicBezTo>
                    <a:pt x="2739" y="50"/>
                    <a:pt x="2739" y="50"/>
                    <a:pt x="2739" y="50"/>
                  </a:cubicBezTo>
                  <a:cubicBezTo>
                    <a:pt x="2758" y="50"/>
                    <a:pt x="2758" y="50"/>
                    <a:pt x="2758" y="50"/>
                  </a:cubicBezTo>
                  <a:cubicBezTo>
                    <a:pt x="2758" y="69"/>
                    <a:pt x="2758" y="69"/>
                    <a:pt x="2758" y="69"/>
                  </a:cubicBezTo>
                  <a:cubicBezTo>
                    <a:pt x="2768" y="56"/>
                    <a:pt x="2783" y="47"/>
                    <a:pt x="2799" y="47"/>
                  </a:cubicBezTo>
                  <a:cubicBezTo>
                    <a:pt x="2799" y="67"/>
                    <a:pt x="2799" y="67"/>
                    <a:pt x="2799" y="67"/>
                  </a:cubicBezTo>
                  <a:cubicBezTo>
                    <a:pt x="2797" y="66"/>
                    <a:pt x="2795" y="66"/>
                    <a:pt x="2792" y="66"/>
                  </a:cubicBezTo>
                  <a:cubicBezTo>
                    <a:pt x="2780" y="66"/>
                    <a:pt x="2764" y="75"/>
                    <a:pt x="2758" y="85"/>
                  </a:cubicBezTo>
                  <a:cubicBezTo>
                    <a:pt x="2758" y="172"/>
                    <a:pt x="2758" y="172"/>
                    <a:pt x="2758" y="172"/>
                  </a:cubicBezTo>
                  <a:lnTo>
                    <a:pt x="2739" y="172"/>
                  </a:lnTo>
                  <a:close/>
                  <a:moveTo>
                    <a:pt x="2813" y="203"/>
                  </a:moveTo>
                  <a:cubicBezTo>
                    <a:pt x="2816" y="204"/>
                    <a:pt x="2820" y="205"/>
                    <a:pt x="2823" y="205"/>
                  </a:cubicBezTo>
                  <a:cubicBezTo>
                    <a:pt x="2832" y="205"/>
                    <a:pt x="2837" y="202"/>
                    <a:pt x="2842" y="192"/>
                  </a:cubicBezTo>
                  <a:cubicBezTo>
                    <a:pt x="2850" y="174"/>
                    <a:pt x="2850" y="174"/>
                    <a:pt x="2850" y="174"/>
                  </a:cubicBezTo>
                  <a:cubicBezTo>
                    <a:pt x="2799" y="50"/>
                    <a:pt x="2799" y="50"/>
                    <a:pt x="2799" y="50"/>
                  </a:cubicBezTo>
                  <a:cubicBezTo>
                    <a:pt x="2819" y="50"/>
                    <a:pt x="2819" y="50"/>
                    <a:pt x="2819" y="50"/>
                  </a:cubicBezTo>
                  <a:cubicBezTo>
                    <a:pt x="2860" y="150"/>
                    <a:pt x="2860" y="150"/>
                    <a:pt x="2860" y="150"/>
                  </a:cubicBezTo>
                  <a:cubicBezTo>
                    <a:pt x="2901" y="50"/>
                    <a:pt x="2901" y="50"/>
                    <a:pt x="2901" y="50"/>
                  </a:cubicBezTo>
                  <a:cubicBezTo>
                    <a:pt x="2922" y="50"/>
                    <a:pt x="2922" y="50"/>
                    <a:pt x="2922" y="50"/>
                  </a:cubicBezTo>
                  <a:cubicBezTo>
                    <a:pt x="2860" y="197"/>
                    <a:pt x="2860" y="197"/>
                    <a:pt x="2860" y="197"/>
                  </a:cubicBezTo>
                  <a:cubicBezTo>
                    <a:pt x="2853" y="215"/>
                    <a:pt x="2840" y="222"/>
                    <a:pt x="2824" y="222"/>
                  </a:cubicBezTo>
                  <a:cubicBezTo>
                    <a:pt x="2820" y="222"/>
                    <a:pt x="2814" y="221"/>
                    <a:pt x="2810" y="220"/>
                  </a:cubicBezTo>
                  <a:lnTo>
                    <a:pt x="2813" y="203"/>
                  </a:lnTo>
                  <a:close/>
                  <a:moveTo>
                    <a:pt x="3071" y="172"/>
                  </a:moveTo>
                  <a:cubicBezTo>
                    <a:pt x="3071" y="158"/>
                    <a:pt x="3071" y="158"/>
                    <a:pt x="3071" y="158"/>
                  </a:cubicBezTo>
                  <a:cubicBezTo>
                    <a:pt x="3061" y="169"/>
                    <a:pt x="3047" y="175"/>
                    <a:pt x="3030" y="175"/>
                  </a:cubicBezTo>
                  <a:cubicBezTo>
                    <a:pt x="3010" y="175"/>
                    <a:pt x="2987" y="161"/>
                    <a:pt x="2987" y="135"/>
                  </a:cubicBezTo>
                  <a:cubicBezTo>
                    <a:pt x="2987" y="107"/>
                    <a:pt x="3010" y="94"/>
                    <a:pt x="3030" y="94"/>
                  </a:cubicBezTo>
                  <a:cubicBezTo>
                    <a:pt x="3047" y="94"/>
                    <a:pt x="3061" y="100"/>
                    <a:pt x="3071" y="111"/>
                  </a:cubicBezTo>
                  <a:cubicBezTo>
                    <a:pt x="3071" y="89"/>
                    <a:pt x="3071" y="89"/>
                    <a:pt x="3071" y="89"/>
                  </a:cubicBezTo>
                  <a:cubicBezTo>
                    <a:pt x="3071" y="72"/>
                    <a:pt x="3058" y="63"/>
                    <a:pt x="3040" y="63"/>
                  </a:cubicBezTo>
                  <a:cubicBezTo>
                    <a:pt x="3025" y="63"/>
                    <a:pt x="3013" y="68"/>
                    <a:pt x="3002" y="80"/>
                  </a:cubicBezTo>
                  <a:cubicBezTo>
                    <a:pt x="2994" y="67"/>
                    <a:pt x="2994" y="67"/>
                    <a:pt x="2994" y="67"/>
                  </a:cubicBezTo>
                  <a:cubicBezTo>
                    <a:pt x="3007" y="53"/>
                    <a:pt x="3023" y="46"/>
                    <a:pt x="3043" y="46"/>
                  </a:cubicBezTo>
                  <a:cubicBezTo>
                    <a:pt x="3069" y="46"/>
                    <a:pt x="3090" y="58"/>
                    <a:pt x="3090" y="88"/>
                  </a:cubicBezTo>
                  <a:cubicBezTo>
                    <a:pt x="3090" y="172"/>
                    <a:pt x="3090" y="172"/>
                    <a:pt x="3090" y="172"/>
                  </a:cubicBezTo>
                  <a:lnTo>
                    <a:pt x="3071" y="172"/>
                  </a:lnTo>
                  <a:close/>
                  <a:moveTo>
                    <a:pt x="3071" y="146"/>
                  </a:moveTo>
                  <a:cubicBezTo>
                    <a:pt x="3071" y="123"/>
                    <a:pt x="3071" y="123"/>
                    <a:pt x="3071" y="123"/>
                  </a:cubicBezTo>
                  <a:cubicBezTo>
                    <a:pt x="3064" y="113"/>
                    <a:pt x="3051" y="108"/>
                    <a:pt x="3037" y="108"/>
                  </a:cubicBezTo>
                  <a:cubicBezTo>
                    <a:pt x="3019" y="108"/>
                    <a:pt x="3007" y="119"/>
                    <a:pt x="3007" y="135"/>
                  </a:cubicBezTo>
                  <a:cubicBezTo>
                    <a:pt x="3007" y="150"/>
                    <a:pt x="3019" y="162"/>
                    <a:pt x="3037" y="162"/>
                  </a:cubicBezTo>
                  <a:cubicBezTo>
                    <a:pt x="3051" y="162"/>
                    <a:pt x="3064" y="157"/>
                    <a:pt x="3071" y="146"/>
                  </a:cubicBezTo>
                  <a:close/>
                  <a:moveTo>
                    <a:pt x="3126" y="147"/>
                  </a:moveTo>
                  <a:cubicBezTo>
                    <a:pt x="3126" y="66"/>
                    <a:pt x="3126" y="66"/>
                    <a:pt x="3126" y="66"/>
                  </a:cubicBezTo>
                  <a:cubicBezTo>
                    <a:pt x="3105" y="66"/>
                    <a:pt x="3105" y="66"/>
                    <a:pt x="3105" y="66"/>
                  </a:cubicBezTo>
                  <a:cubicBezTo>
                    <a:pt x="3105" y="50"/>
                    <a:pt x="3105" y="50"/>
                    <a:pt x="3105" y="50"/>
                  </a:cubicBezTo>
                  <a:cubicBezTo>
                    <a:pt x="3126" y="50"/>
                    <a:pt x="3126" y="50"/>
                    <a:pt x="3126" y="50"/>
                  </a:cubicBezTo>
                  <a:cubicBezTo>
                    <a:pt x="3126" y="16"/>
                    <a:pt x="3126" y="16"/>
                    <a:pt x="3126" y="16"/>
                  </a:cubicBezTo>
                  <a:cubicBezTo>
                    <a:pt x="3145" y="16"/>
                    <a:pt x="3145" y="16"/>
                    <a:pt x="3145" y="16"/>
                  </a:cubicBezTo>
                  <a:cubicBezTo>
                    <a:pt x="3145" y="50"/>
                    <a:pt x="3145" y="50"/>
                    <a:pt x="3145" y="50"/>
                  </a:cubicBezTo>
                  <a:cubicBezTo>
                    <a:pt x="3170" y="50"/>
                    <a:pt x="3170" y="50"/>
                    <a:pt x="3170" y="50"/>
                  </a:cubicBezTo>
                  <a:cubicBezTo>
                    <a:pt x="3170" y="66"/>
                    <a:pt x="3170" y="66"/>
                    <a:pt x="3170" y="66"/>
                  </a:cubicBezTo>
                  <a:cubicBezTo>
                    <a:pt x="3145" y="66"/>
                    <a:pt x="3145" y="66"/>
                    <a:pt x="3145" y="66"/>
                  </a:cubicBezTo>
                  <a:cubicBezTo>
                    <a:pt x="3145" y="143"/>
                    <a:pt x="3145" y="143"/>
                    <a:pt x="3145" y="143"/>
                  </a:cubicBezTo>
                  <a:cubicBezTo>
                    <a:pt x="3145" y="152"/>
                    <a:pt x="3149" y="158"/>
                    <a:pt x="3157" y="158"/>
                  </a:cubicBezTo>
                  <a:cubicBezTo>
                    <a:pt x="3163" y="158"/>
                    <a:pt x="3168" y="156"/>
                    <a:pt x="3170" y="153"/>
                  </a:cubicBezTo>
                  <a:cubicBezTo>
                    <a:pt x="3176" y="167"/>
                    <a:pt x="3176" y="167"/>
                    <a:pt x="3176" y="167"/>
                  </a:cubicBezTo>
                  <a:cubicBezTo>
                    <a:pt x="3171" y="172"/>
                    <a:pt x="3164" y="175"/>
                    <a:pt x="3153" y="175"/>
                  </a:cubicBezTo>
                  <a:cubicBezTo>
                    <a:pt x="3135" y="175"/>
                    <a:pt x="3126" y="165"/>
                    <a:pt x="3126" y="147"/>
                  </a:cubicBezTo>
                  <a:close/>
                  <a:moveTo>
                    <a:pt x="3326" y="172"/>
                  </a:moveTo>
                  <a:cubicBezTo>
                    <a:pt x="3326" y="158"/>
                    <a:pt x="3326" y="158"/>
                    <a:pt x="3326" y="158"/>
                  </a:cubicBezTo>
                  <a:cubicBezTo>
                    <a:pt x="3316" y="169"/>
                    <a:pt x="3302" y="175"/>
                    <a:pt x="3286" y="175"/>
                  </a:cubicBezTo>
                  <a:cubicBezTo>
                    <a:pt x="3265" y="175"/>
                    <a:pt x="3243" y="161"/>
                    <a:pt x="3243" y="135"/>
                  </a:cubicBezTo>
                  <a:cubicBezTo>
                    <a:pt x="3243" y="107"/>
                    <a:pt x="3265" y="94"/>
                    <a:pt x="3286" y="94"/>
                  </a:cubicBezTo>
                  <a:cubicBezTo>
                    <a:pt x="3302" y="94"/>
                    <a:pt x="3316" y="100"/>
                    <a:pt x="3326" y="111"/>
                  </a:cubicBezTo>
                  <a:cubicBezTo>
                    <a:pt x="3326" y="89"/>
                    <a:pt x="3326" y="89"/>
                    <a:pt x="3326" y="89"/>
                  </a:cubicBezTo>
                  <a:cubicBezTo>
                    <a:pt x="3326" y="72"/>
                    <a:pt x="3313" y="63"/>
                    <a:pt x="3295" y="63"/>
                  </a:cubicBezTo>
                  <a:cubicBezTo>
                    <a:pt x="3281" y="63"/>
                    <a:pt x="3269" y="68"/>
                    <a:pt x="3258" y="80"/>
                  </a:cubicBezTo>
                  <a:cubicBezTo>
                    <a:pt x="3249" y="67"/>
                    <a:pt x="3249" y="67"/>
                    <a:pt x="3249" y="67"/>
                  </a:cubicBezTo>
                  <a:cubicBezTo>
                    <a:pt x="3262" y="53"/>
                    <a:pt x="3278" y="46"/>
                    <a:pt x="3298" y="46"/>
                  </a:cubicBezTo>
                  <a:cubicBezTo>
                    <a:pt x="3324" y="46"/>
                    <a:pt x="3345" y="58"/>
                    <a:pt x="3345" y="88"/>
                  </a:cubicBezTo>
                  <a:cubicBezTo>
                    <a:pt x="3345" y="172"/>
                    <a:pt x="3345" y="172"/>
                    <a:pt x="3345" y="172"/>
                  </a:cubicBezTo>
                  <a:lnTo>
                    <a:pt x="3326" y="172"/>
                  </a:lnTo>
                  <a:close/>
                  <a:moveTo>
                    <a:pt x="3326" y="146"/>
                  </a:moveTo>
                  <a:cubicBezTo>
                    <a:pt x="3326" y="123"/>
                    <a:pt x="3326" y="123"/>
                    <a:pt x="3326" y="123"/>
                  </a:cubicBezTo>
                  <a:cubicBezTo>
                    <a:pt x="3319" y="113"/>
                    <a:pt x="3306" y="108"/>
                    <a:pt x="3293" y="108"/>
                  </a:cubicBezTo>
                  <a:cubicBezTo>
                    <a:pt x="3275" y="108"/>
                    <a:pt x="3262" y="119"/>
                    <a:pt x="3262" y="135"/>
                  </a:cubicBezTo>
                  <a:cubicBezTo>
                    <a:pt x="3262" y="150"/>
                    <a:pt x="3275" y="162"/>
                    <a:pt x="3293" y="162"/>
                  </a:cubicBezTo>
                  <a:cubicBezTo>
                    <a:pt x="3306" y="162"/>
                    <a:pt x="3319" y="157"/>
                    <a:pt x="3326" y="146"/>
                  </a:cubicBezTo>
                  <a:close/>
                  <a:moveTo>
                    <a:pt x="3460" y="172"/>
                  </a:moveTo>
                  <a:cubicBezTo>
                    <a:pt x="3460" y="22"/>
                    <a:pt x="3460" y="22"/>
                    <a:pt x="3460" y="22"/>
                  </a:cubicBezTo>
                  <a:cubicBezTo>
                    <a:pt x="3406" y="22"/>
                    <a:pt x="3406" y="22"/>
                    <a:pt x="3406" y="22"/>
                  </a:cubicBezTo>
                  <a:cubicBezTo>
                    <a:pt x="3406" y="3"/>
                    <a:pt x="3406" y="3"/>
                    <a:pt x="3406" y="3"/>
                  </a:cubicBezTo>
                  <a:cubicBezTo>
                    <a:pt x="3535" y="3"/>
                    <a:pt x="3535" y="3"/>
                    <a:pt x="3535" y="3"/>
                  </a:cubicBezTo>
                  <a:cubicBezTo>
                    <a:pt x="3535" y="22"/>
                    <a:pt x="3535" y="22"/>
                    <a:pt x="3535" y="22"/>
                  </a:cubicBezTo>
                  <a:cubicBezTo>
                    <a:pt x="3481" y="22"/>
                    <a:pt x="3481" y="22"/>
                    <a:pt x="3481" y="22"/>
                  </a:cubicBezTo>
                  <a:cubicBezTo>
                    <a:pt x="3481" y="172"/>
                    <a:pt x="3481" y="172"/>
                    <a:pt x="3481" y="172"/>
                  </a:cubicBezTo>
                  <a:lnTo>
                    <a:pt x="3460" y="172"/>
                  </a:lnTo>
                  <a:close/>
                  <a:moveTo>
                    <a:pt x="3552" y="19"/>
                  </a:moveTo>
                  <a:cubicBezTo>
                    <a:pt x="3552" y="12"/>
                    <a:pt x="3558" y="6"/>
                    <a:pt x="3565" y="6"/>
                  </a:cubicBezTo>
                  <a:cubicBezTo>
                    <a:pt x="3572" y="6"/>
                    <a:pt x="3578" y="12"/>
                    <a:pt x="3578" y="19"/>
                  </a:cubicBezTo>
                  <a:cubicBezTo>
                    <a:pt x="3578" y="26"/>
                    <a:pt x="3572" y="32"/>
                    <a:pt x="3565" y="32"/>
                  </a:cubicBezTo>
                  <a:cubicBezTo>
                    <a:pt x="3558" y="32"/>
                    <a:pt x="3552" y="26"/>
                    <a:pt x="3552" y="19"/>
                  </a:cubicBezTo>
                  <a:close/>
                  <a:moveTo>
                    <a:pt x="3556" y="172"/>
                  </a:moveTo>
                  <a:cubicBezTo>
                    <a:pt x="3556" y="50"/>
                    <a:pt x="3556" y="50"/>
                    <a:pt x="3556" y="50"/>
                  </a:cubicBezTo>
                  <a:cubicBezTo>
                    <a:pt x="3575" y="50"/>
                    <a:pt x="3575" y="50"/>
                    <a:pt x="3575" y="50"/>
                  </a:cubicBezTo>
                  <a:cubicBezTo>
                    <a:pt x="3575" y="172"/>
                    <a:pt x="3575" y="172"/>
                    <a:pt x="3575" y="172"/>
                  </a:cubicBezTo>
                  <a:lnTo>
                    <a:pt x="3556" y="172"/>
                  </a:lnTo>
                  <a:close/>
                  <a:moveTo>
                    <a:pt x="3755" y="172"/>
                  </a:moveTo>
                  <a:cubicBezTo>
                    <a:pt x="3755" y="89"/>
                    <a:pt x="3755" y="89"/>
                    <a:pt x="3755" y="89"/>
                  </a:cubicBezTo>
                  <a:cubicBezTo>
                    <a:pt x="3755" y="73"/>
                    <a:pt x="3748" y="63"/>
                    <a:pt x="3732" y="63"/>
                  </a:cubicBezTo>
                  <a:cubicBezTo>
                    <a:pt x="3719" y="63"/>
                    <a:pt x="3706" y="73"/>
                    <a:pt x="3700" y="82"/>
                  </a:cubicBezTo>
                  <a:cubicBezTo>
                    <a:pt x="3700" y="172"/>
                    <a:pt x="3700" y="172"/>
                    <a:pt x="3700" y="172"/>
                  </a:cubicBezTo>
                  <a:cubicBezTo>
                    <a:pt x="3680" y="172"/>
                    <a:pt x="3680" y="172"/>
                    <a:pt x="3680" y="172"/>
                  </a:cubicBezTo>
                  <a:cubicBezTo>
                    <a:pt x="3680" y="89"/>
                    <a:pt x="3680" y="89"/>
                    <a:pt x="3680" y="89"/>
                  </a:cubicBezTo>
                  <a:cubicBezTo>
                    <a:pt x="3680" y="73"/>
                    <a:pt x="3674" y="63"/>
                    <a:pt x="3658" y="63"/>
                  </a:cubicBezTo>
                  <a:cubicBezTo>
                    <a:pt x="3645" y="63"/>
                    <a:pt x="3632" y="73"/>
                    <a:pt x="3626" y="83"/>
                  </a:cubicBezTo>
                  <a:cubicBezTo>
                    <a:pt x="3626" y="172"/>
                    <a:pt x="3626" y="172"/>
                    <a:pt x="3626" y="172"/>
                  </a:cubicBezTo>
                  <a:cubicBezTo>
                    <a:pt x="3606" y="172"/>
                    <a:pt x="3606" y="172"/>
                    <a:pt x="3606" y="172"/>
                  </a:cubicBezTo>
                  <a:cubicBezTo>
                    <a:pt x="3606" y="50"/>
                    <a:pt x="3606" y="50"/>
                    <a:pt x="3606" y="50"/>
                  </a:cubicBezTo>
                  <a:cubicBezTo>
                    <a:pt x="3626" y="50"/>
                    <a:pt x="3626" y="50"/>
                    <a:pt x="3626" y="50"/>
                  </a:cubicBezTo>
                  <a:cubicBezTo>
                    <a:pt x="3626" y="67"/>
                    <a:pt x="3626" y="67"/>
                    <a:pt x="3626" y="67"/>
                  </a:cubicBezTo>
                  <a:cubicBezTo>
                    <a:pt x="3631" y="59"/>
                    <a:pt x="3647" y="46"/>
                    <a:pt x="3665" y="46"/>
                  </a:cubicBezTo>
                  <a:cubicBezTo>
                    <a:pt x="3684" y="46"/>
                    <a:pt x="3695" y="57"/>
                    <a:pt x="3698" y="69"/>
                  </a:cubicBezTo>
                  <a:cubicBezTo>
                    <a:pt x="3705" y="58"/>
                    <a:pt x="3722" y="46"/>
                    <a:pt x="3739" y="46"/>
                  </a:cubicBezTo>
                  <a:cubicBezTo>
                    <a:pt x="3762" y="46"/>
                    <a:pt x="3774" y="59"/>
                    <a:pt x="3774" y="84"/>
                  </a:cubicBezTo>
                  <a:cubicBezTo>
                    <a:pt x="3774" y="172"/>
                    <a:pt x="3774" y="172"/>
                    <a:pt x="3774" y="172"/>
                  </a:cubicBezTo>
                  <a:lnTo>
                    <a:pt x="3755" y="172"/>
                  </a:lnTo>
                  <a:close/>
                  <a:moveTo>
                    <a:pt x="3798" y="111"/>
                  </a:moveTo>
                  <a:cubicBezTo>
                    <a:pt x="3798" y="75"/>
                    <a:pt x="3824" y="46"/>
                    <a:pt x="3859" y="46"/>
                  </a:cubicBezTo>
                  <a:cubicBezTo>
                    <a:pt x="3896" y="46"/>
                    <a:pt x="3918" y="75"/>
                    <a:pt x="3918" y="112"/>
                  </a:cubicBezTo>
                  <a:cubicBezTo>
                    <a:pt x="3918" y="117"/>
                    <a:pt x="3918" y="117"/>
                    <a:pt x="3918" y="117"/>
                  </a:cubicBezTo>
                  <a:cubicBezTo>
                    <a:pt x="3818" y="117"/>
                    <a:pt x="3818" y="117"/>
                    <a:pt x="3818" y="117"/>
                  </a:cubicBezTo>
                  <a:cubicBezTo>
                    <a:pt x="3820" y="140"/>
                    <a:pt x="3836" y="160"/>
                    <a:pt x="3863" y="160"/>
                  </a:cubicBezTo>
                  <a:cubicBezTo>
                    <a:pt x="3877" y="160"/>
                    <a:pt x="3891" y="154"/>
                    <a:pt x="3901" y="144"/>
                  </a:cubicBezTo>
                  <a:cubicBezTo>
                    <a:pt x="3910" y="157"/>
                    <a:pt x="3910" y="157"/>
                    <a:pt x="3910" y="157"/>
                  </a:cubicBezTo>
                  <a:cubicBezTo>
                    <a:pt x="3898" y="169"/>
                    <a:pt x="3881" y="175"/>
                    <a:pt x="3861" y="175"/>
                  </a:cubicBezTo>
                  <a:cubicBezTo>
                    <a:pt x="3825" y="175"/>
                    <a:pt x="3798" y="149"/>
                    <a:pt x="3798" y="111"/>
                  </a:cubicBezTo>
                  <a:close/>
                  <a:moveTo>
                    <a:pt x="3859" y="62"/>
                  </a:moveTo>
                  <a:cubicBezTo>
                    <a:pt x="3832" y="62"/>
                    <a:pt x="3820" y="84"/>
                    <a:pt x="3818" y="103"/>
                  </a:cubicBezTo>
                  <a:cubicBezTo>
                    <a:pt x="3899" y="103"/>
                    <a:pt x="3899" y="103"/>
                    <a:pt x="3899" y="103"/>
                  </a:cubicBezTo>
                  <a:cubicBezTo>
                    <a:pt x="3899" y="85"/>
                    <a:pt x="3887" y="62"/>
                    <a:pt x="3859" y="62"/>
                  </a:cubicBezTo>
                  <a:close/>
                  <a:moveTo>
                    <a:pt x="3937" y="161"/>
                  </a:moveTo>
                  <a:cubicBezTo>
                    <a:pt x="3937" y="153"/>
                    <a:pt x="3943" y="147"/>
                    <a:pt x="3951" y="147"/>
                  </a:cubicBezTo>
                  <a:cubicBezTo>
                    <a:pt x="3958" y="147"/>
                    <a:pt x="3965" y="153"/>
                    <a:pt x="3965" y="161"/>
                  </a:cubicBezTo>
                  <a:cubicBezTo>
                    <a:pt x="3965" y="168"/>
                    <a:pt x="3958" y="175"/>
                    <a:pt x="3951" y="175"/>
                  </a:cubicBezTo>
                  <a:cubicBezTo>
                    <a:pt x="3943" y="175"/>
                    <a:pt x="3937" y="168"/>
                    <a:pt x="3937"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512222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 gray band">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Content Placeholder 2"/>
          <p:cNvSpPr>
            <a:spLocks noGrp="1"/>
          </p:cNvSpPr>
          <p:nvPr>
            <p:ph idx="1"/>
          </p:nvPr>
        </p:nvSpPr>
        <p:spPr>
          <a:xfrm>
            <a:off x="372533" y="1335533"/>
            <a:ext cx="10972800" cy="4323331"/>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nSpc>
                <a:spcPct val="85000"/>
              </a:lnSpc>
              <a:defRPr sz="3467">
                <a:solidFill>
                  <a:schemeClr val="accent1"/>
                </a:solidFill>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331157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Hope">
    <p:spTree>
      <p:nvGrpSpPr>
        <p:cNvPr id="1" name=""/>
        <p:cNvGrpSpPr/>
        <p:nvPr/>
      </p:nvGrpSpPr>
      <p:grpSpPr>
        <a:xfrm>
          <a:off x="0" y="0"/>
          <a:ext cx="0" cy="0"/>
          <a:chOff x="0" y="0"/>
          <a:chExt cx="0" cy="0"/>
        </a:xfrm>
      </p:grpSpPr>
      <p:pic>
        <p:nvPicPr>
          <p:cNvPr id="28" name="Picture 27"/>
          <p:cNvPicPr>
            <a:picLocks noChangeAspect="1"/>
          </p:cNvPicPr>
          <p:nvPr userDrawn="1"/>
        </p:nvPicPr>
        <p:blipFill rotWithShape="1">
          <a:blip r:embed="rId2" cstate="print">
            <a:extLst>
              <a:ext uri="{28A0092B-C50C-407E-A947-70E740481C1C}">
                <a14:useLocalDpi xmlns:a14="http://schemas.microsoft.com/office/drawing/2010/main" val="0"/>
              </a:ext>
            </a:extLst>
          </a:blip>
          <a:srcRect t="43732"/>
          <a:stretch/>
        </p:blipFill>
        <p:spPr>
          <a:xfrm>
            <a:off x="1" y="3353182"/>
            <a:ext cx="11069252" cy="3503508"/>
          </a:xfrm>
          <a:prstGeom prst="rect">
            <a:avLst/>
          </a:prstGeom>
        </p:spPr>
      </p:pic>
      <p:sp>
        <p:nvSpPr>
          <p:cNvPr id="19" name="Rectangle 18"/>
          <p:cNvSpPr/>
          <p:nvPr userDrawn="1"/>
        </p:nvSpPr>
        <p:spPr>
          <a:xfrm>
            <a:off x="0" y="3353182"/>
            <a:ext cx="12192000" cy="60959"/>
          </a:xfrm>
          <a:prstGeom prst="rect">
            <a:avLst/>
          </a:prstGeom>
          <a:gradFill flip="none" rotWithShape="1">
            <a:gsLst>
              <a:gs pos="26000">
                <a:schemeClr val="accent1"/>
              </a:gs>
              <a:gs pos="91000">
                <a:schemeClr val="accent1">
                  <a:shade val="100000"/>
                  <a:satMod val="115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628925"/>
            <a:ext cx="5508604" cy="6229075"/>
          </a:xfrm>
          <a:prstGeom prst="rect">
            <a:avLst/>
          </a:prstGeom>
        </p:spPr>
      </p:pic>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972224" y="4088254"/>
            <a:ext cx="2795256" cy="973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2" name="Group 4"/>
          <p:cNvGrpSpPr>
            <a:grpSpLocks noChangeAspect="1"/>
          </p:cNvGrpSpPr>
          <p:nvPr userDrawn="1"/>
        </p:nvGrpSpPr>
        <p:grpSpPr bwMode="auto">
          <a:xfrm>
            <a:off x="6383560" y="5436875"/>
            <a:ext cx="3409421" cy="411757"/>
            <a:chOff x="2993" y="826"/>
            <a:chExt cx="1921" cy="232"/>
          </a:xfrm>
          <a:solidFill>
            <a:schemeClr val="tx2">
              <a:lumMod val="50000"/>
            </a:schemeClr>
          </a:solidFill>
        </p:grpSpPr>
        <p:sp>
          <p:nvSpPr>
            <p:cNvPr id="23" name="Freeform 22"/>
            <p:cNvSpPr>
              <a:spLocks noEditPoints="1"/>
            </p:cNvSpPr>
            <p:nvPr/>
          </p:nvSpPr>
          <p:spPr bwMode="auto">
            <a:xfrm>
              <a:off x="2993" y="826"/>
              <a:ext cx="1501" cy="108"/>
            </a:xfrm>
            <a:custGeom>
              <a:avLst/>
              <a:gdLst>
                <a:gd name="T0" fmla="*/ 22 w 3098"/>
                <a:gd name="T1" fmla="*/ 87 h 222"/>
                <a:gd name="T2" fmla="*/ 171 w 3098"/>
                <a:gd name="T3" fmla="*/ 172 h 222"/>
                <a:gd name="T4" fmla="*/ 224 w 3098"/>
                <a:gd name="T5" fmla="*/ 66 h 222"/>
                <a:gd name="T6" fmla="*/ 361 w 3098"/>
                <a:gd name="T7" fmla="*/ 112 h 222"/>
                <a:gd name="T8" fmla="*/ 304 w 3098"/>
                <a:gd name="T9" fmla="*/ 175 h 222"/>
                <a:gd name="T10" fmla="*/ 463 w 3098"/>
                <a:gd name="T11" fmla="*/ 172 h 222"/>
                <a:gd name="T12" fmla="*/ 463 w 3098"/>
                <a:gd name="T13" fmla="*/ 89 h 222"/>
                <a:gd name="T14" fmla="*/ 482 w 3098"/>
                <a:gd name="T15" fmla="*/ 172 h 222"/>
                <a:gd name="T16" fmla="*/ 429 w 3098"/>
                <a:gd name="T17" fmla="*/ 161 h 222"/>
                <a:gd name="T18" fmla="*/ 517 w 3098"/>
                <a:gd name="T19" fmla="*/ 49 h 222"/>
                <a:gd name="T20" fmla="*/ 536 w 3098"/>
                <a:gd name="T21" fmla="*/ 66 h 222"/>
                <a:gd name="T22" fmla="*/ 517 w 3098"/>
                <a:gd name="T23" fmla="*/ 146 h 222"/>
                <a:gd name="T24" fmla="*/ 582 w 3098"/>
                <a:gd name="T25" fmla="*/ 172 h 222"/>
                <a:gd name="T26" fmla="*/ 716 w 3098"/>
                <a:gd name="T27" fmla="*/ 92 h 222"/>
                <a:gd name="T28" fmla="*/ 652 w 3098"/>
                <a:gd name="T29" fmla="*/ 49 h 222"/>
                <a:gd name="T30" fmla="*/ 766 w 3098"/>
                <a:gd name="T31" fmla="*/ 204 h 222"/>
                <a:gd name="T32" fmla="*/ 759 w 3098"/>
                <a:gd name="T33" fmla="*/ 110 h 222"/>
                <a:gd name="T34" fmla="*/ 816 w 3098"/>
                <a:gd name="T35" fmla="*/ 222 h 222"/>
                <a:gd name="T36" fmla="*/ 818 w 3098"/>
                <a:gd name="T37" fmla="*/ 157 h 222"/>
                <a:gd name="T38" fmla="*/ 1001 w 3098"/>
                <a:gd name="T39" fmla="*/ 94 h 222"/>
                <a:gd name="T40" fmla="*/ 1013 w 3098"/>
                <a:gd name="T41" fmla="*/ 46 h 222"/>
                <a:gd name="T42" fmla="*/ 1008 w 3098"/>
                <a:gd name="T43" fmla="*/ 108 h 222"/>
                <a:gd name="T44" fmla="*/ 1297 w 3098"/>
                <a:gd name="T45" fmla="*/ 33 h 222"/>
                <a:gd name="T46" fmla="*/ 1298 w 3098"/>
                <a:gd name="T47" fmla="*/ 142 h 222"/>
                <a:gd name="T48" fmla="*/ 1311 w 3098"/>
                <a:gd name="T49" fmla="*/ 134 h 222"/>
                <a:gd name="T50" fmla="*/ 1317 w 3098"/>
                <a:gd name="T51" fmla="*/ 67 h 222"/>
                <a:gd name="T52" fmla="*/ 1394 w 3098"/>
                <a:gd name="T53" fmla="*/ 123 h 222"/>
                <a:gd name="T54" fmla="*/ 1528 w 3098"/>
                <a:gd name="T55" fmla="*/ 92 h 222"/>
                <a:gd name="T56" fmla="*/ 1464 w 3098"/>
                <a:gd name="T57" fmla="*/ 49 h 222"/>
                <a:gd name="T58" fmla="*/ 1572 w 3098"/>
                <a:gd name="T59" fmla="*/ 111 h 222"/>
                <a:gd name="T60" fmla="*/ 1634 w 3098"/>
                <a:gd name="T61" fmla="*/ 158 h 222"/>
                <a:gd name="T62" fmla="*/ 1752 w 3098"/>
                <a:gd name="T63" fmla="*/ 46 h 222"/>
                <a:gd name="T64" fmla="*/ 1803 w 3098"/>
                <a:gd name="T65" fmla="*/ 156 h 222"/>
                <a:gd name="T66" fmla="*/ 1751 w 3098"/>
                <a:gd name="T67" fmla="*/ 62 h 222"/>
                <a:gd name="T68" fmla="*/ 1895 w 3098"/>
                <a:gd name="T69" fmla="*/ 66 h 222"/>
                <a:gd name="T70" fmla="*/ 1901 w 3098"/>
                <a:gd name="T71" fmla="*/ 102 h 222"/>
                <a:gd name="T72" fmla="*/ 1968 w 3098"/>
                <a:gd name="T73" fmla="*/ 66 h 222"/>
                <a:gd name="T74" fmla="*/ 2042 w 3098"/>
                <a:gd name="T75" fmla="*/ 22 h 222"/>
                <a:gd name="T76" fmla="*/ 2007 w 3098"/>
                <a:gd name="T77" fmla="*/ 66 h 222"/>
                <a:gd name="T78" fmla="*/ 2067 w 3098"/>
                <a:gd name="T79" fmla="*/ 69 h 222"/>
                <a:gd name="T80" fmla="*/ 2048 w 3098"/>
                <a:gd name="T81" fmla="*/ 172 h 222"/>
                <a:gd name="T82" fmla="*/ 2183 w 3098"/>
                <a:gd name="T83" fmla="*/ 159 h 222"/>
                <a:gd name="T84" fmla="*/ 2139 w 3098"/>
                <a:gd name="T85" fmla="*/ 103 h 222"/>
                <a:gd name="T86" fmla="*/ 2375 w 3098"/>
                <a:gd name="T87" fmla="*/ 117 h 222"/>
                <a:gd name="T88" fmla="*/ 2255 w 3098"/>
                <a:gd name="T89" fmla="*/ 111 h 222"/>
                <a:gd name="T90" fmla="*/ 2551 w 3098"/>
                <a:gd name="T91" fmla="*/ 35 h 222"/>
                <a:gd name="T92" fmla="*/ 2543 w 3098"/>
                <a:gd name="T93" fmla="*/ 3 h 222"/>
                <a:gd name="T94" fmla="*/ 2589 w 3098"/>
                <a:gd name="T95" fmla="*/ 172 h 222"/>
                <a:gd name="T96" fmla="*/ 2761 w 3098"/>
                <a:gd name="T97" fmla="*/ 111 h 222"/>
                <a:gd name="T98" fmla="*/ 2805 w 3098"/>
                <a:gd name="T99" fmla="*/ 49 h 222"/>
                <a:gd name="T100" fmla="*/ 2824 w 3098"/>
                <a:gd name="T101" fmla="*/ 85 h 222"/>
                <a:gd name="T102" fmla="*/ 2902 w 3098"/>
                <a:gd name="T103" fmla="*/ 172 h 222"/>
                <a:gd name="T104" fmla="*/ 2981 w 3098"/>
                <a:gd name="T105" fmla="*/ 46 h 222"/>
                <a:gd name="T106" fmla="*/ 3023 w 3098"/>
                <a:gd name="T107" fmla="*/ 139 h 222"/>
                <a:gd name="T108" fmla="*/ 3070 w 3098"/>
                <a:gd name="T109"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8" h="222">
                  <a:moveTo>
                    <a:pt x="0" y="87"/>
                  </a:moveTo>
                  <a:cubicBezTo>
                    <a:pt x="0" y="35"/>
                    <a:pt x="38" y="0"/>
                    <a:pt x="87" y="0"/>
                  </a:cubicBezTo>
                  <a:cubicBezTo>
                    <a:pt x="117" y="0"/>
                    <a:pt x="138" y="14"/>
                    <a:pt x="151" y="33"/>
                  </a:cubicBezTo>
                  <a:cubicBezTo>
                    <a:pt x="134" y="43"/>
                    <a:pt x="134" y="43"/>
                    <a:pt x="134" y="43"/>
                  </a:cubicBezTo>
                  <a:cubicBezTo>
                    <a:pt x="124" y="29"/>
                    <a:pt x="106" y="19"/>
                    <a:pt x="87" y="19"/>
                  </a:cubicBezTo>
                  <a:cubicBezTo>
                    <a:pt x="50" y="19"/>
                    <a:pt x="22" y="47"/>
                    <a:pt x="22" y="87"/>
                  </a:cubicBezTo>
                  <a:cubicBezTo>
                    <a:pt x="22" y="128"/>
                    <a:pt x="50" y="156"/>
                    <a:pt x="87" y="156"/>
                  </a:cubicBezTo>
                  <a:cubicBezTo>
                    <a:pt x="106" y="156"/>
                    <a:pt x="124" y="146"/>
                    <a:pt x="134" y="132"/>
                  </a:cubicBezTo>
                  <a:cubicBezTo>
                    <a:pt x="152" y="142"/>
                    <a:pt x="152" y="142"/>
                    <a:pt x="152" y="142"/>
                  </a:cubicBezTo>
                  <a:cubicBezTo>
                    <a:pt x="137" y="161"/>
                    <a:pt x="117" y="175"/>
                    <a:pt x="87" y="175"/>
                  </a:cubicBezTo>
                  <a:cubicBezTo>
                    <a:pt x="38" y="175"/>
                    <a:pt x="0" y="140"/>
                    <a:pt x="0" y="87"/>
                  </a:cubicBezTo>
                  <a:close/>
                  <a:moveTo>
                    <a:pt x="171" y="172"/>
                  </a:moveTo>
                  <a:cubicBezTo>
                    <a:pt x="171" y="49"/>
                    <a:pt x="171" y="49"/>
                    <a:pt x="171" y="49"/>
                  </a:cubicBezTo>
                  <a:cubicBezTo>
                    <a:pt x="191" y="49"/>
                    <a:pt x="191" y="49"/>
                    <a:pt x="191" y="49"/>
                  </a:cubicBezTo>
                  <a:cubicBezTo>
                    <a:pt x="191" y="69"/>
                    <a:pt x="191" y="69"/>
                    <a:pt x="191" y="69"/>
                  </a:cubicBezTo>
                  <a:cubicBezTo>
                    <a:pt x="200" y="56"/>
                    <a:pt x="215" y="47"/>
                    <a:pt x="231" y="47"/>
                  </a:cubicBezTo>
                  <a:cubicBezTo>
                    <a:pt x="231" y="66"/>
                    <a:pt x="231" y="66"/>
                    <a:pt x="231" y="66"/>
                  </a:cubicBezTo>
                  <a:cubicBezTo>
                    <a:pt x="229" y="66"/>
                    <a:pt x="227" y="66"/>
                    <a:pt x="224" y="66"/>
                  </a:cubicBezTo>
                  <a:cubicBezTo>
                    <a:pt x="212" y="66"/>
                    <a:pt x="196" y="75"/>
                    <a:pt x="191" y="85"/>
                  </a:cubicBezTo>
                  <a:cubicBezTo>
                    <a:pt x="191" y="172"/>
                    <a:pt x="191" y="172"/>
                    <a:pt x="191" y="172"/>
                  </a:cubicBezTo>
                  <a:lnTo>
                    <a:pt x="171" y="172"/>
                  </a:lnTo>
                  <a:close/>
                  <a:moveTo>
                    <a:pt x="242" y="111"/>
                  </a:moveTo>
                  <a:cubicBezTo>
                    <a:pt x="242" y="75"/>
                    <a:pt x="267" y="46"/>
                    <a:pt x="302" y="46"/>
                  </a:cubicBezTo>
                  <a:cubicBezTo>
                    <a:pt x="340" y="46"/>
                    <a:pt x="361" y="75"/>
                    <a:pt x="361" y="112"/>
                  </a:cubicBezTo>
                  <a:cubicBezTo>
                    <a:pt x="361" y="117"/>
                    <a:pt x="361" y="117"/>
                    <a:pt x="361" y="117"/>
                  </a:cubicBezTo>
                  <a:cubicBezTo>
                    <a:pt x="262" y="117"/>
                    <a:pt x="262" y="117"/>
                    <a:pt x="262" y="117"/>
                  </a:cubicBezTo>
                  <a:cubicBezTo>
                    <a:pt x="264" y="140"/>
                    <a:pt x="280" y="159"/>
                    <a:pt x="306" y="159"/>
                  </a:cubicBezTo>
                  <a:cubicBezTo>
                    <a:pt x="320" y="159"/>
                    <a:pt x="334" y="154"/>
                    <a:pt x="344" y="144"/>
                  </a:cubicBezTo>
                  <a:cubicBezTo>
                    <a:pt x="353" y="156"/>
                    <a:pt x="353" y="156"/>
                    <a:pt x="353" y="156"/>
                  </a:cubicBezTo>
                  <a:cubicBezTo>
                    <a:pt x="341" y="169"/>
                    <a:pt x="325" y="175"/>
                    <a:pt x="304" y="175"/>
                  </a:cubicBezTo>
                  <a:cubicBezTo>
                    <a:pt x="268" y="175"/>
                    <a:pt x="242" y="149"/>
                    <a:pt x="242" y="111"/>
                  </a:cubicBezTo>
                  <a:close/>
                  <a:moveTo>
                    <a:pt x="302" y="62"/>
                  </a:moveTo>
                  <a:cubicBezTo>
                    <a:pt x="276" y="62"/>
                    <a:pt x="263" y="84"/>
                    <a:pt x="262" y="103"/>
                  </a:cubicBezTo>
                  <a:cubicBezTo>
                    <a:pt x="343" y="103"/>
                    <a:pt x="343" y="103"/>
                    <a:pt x="343" y="103"/>
                  </a:cubicBezTo>
                  <a:cubicBezTo>
                    <a:pt x="342" y="85"/>
                    <a:pt x="330" y="62"/>
                    <a:pt x="302" y="62"/>
                  </a:cubicBezTo>
                  <a:close/>
                  <a:moveTo>
                    <a:pt x="463" y="172"/>
                  </a:moveTo>
                  <a:cubicBezTo>
                    <a:pt x="463" y="158"/>
                    <a:pt x="463" y="158"/>
                    <a:pt x="463" y="158"/>
                  </a:cubicBezTo>
                  <a:cubicBezTo>
                    <a:pt x="452" y="169"/>
                    <a:pt x="438" y="175"/>
                    <a:pt x="422" y="175"/>
                  </a:cubicBezTo>
                  <a:cubicBezTo>
                    <a:pt x="401" y="175"/>
                    <a:pt x="379" y="161"/>
                    <a:pt x="379" y="134"/>
                  </a:cubicBezTo>
                  <a:cubicBezTo>
                    <a:pt x="379" y="107"/>
                    <a:pt x="401" y="94"/>
                    <a:pt x="422" y="94"/>
                  </a:cubicBezTo>
                  <a:cubicBezTo>
                    <a:pt x="439" y="94"/>
                    <a:pt x="453" y="99"/>
                    <a:pt x="463" y="111"/>
                  </a:cubicBezTo>
                  <a:cubicBezTo>
                    <a:pt x="463" y="89"/>
                    <a:pt x="463" y="89"/>
                    <a:pt x="463" y="89"/>
                  </a:cubicBezTo>
                  <a:cubicBezTo>
                    <a:pt x="463" y="72"/>
                    <a:pt x="449" y="63"/>
                    <a:pt x="432" y="63"/>
                  </a:cubicBezTo>
                  <a:cubicBezTo>
                    <a:pt x="417" y="63"/>
                    <a:pt x="405" y="68"/>
                    <a:pt x="394" y="80"/>
                  </a:cubicBezTo>
                  <a:cubicBezTo>
                    <a:pt x="385" y="67"/>
                    <a:pt x="385" y="67"/>
                    <a:pt x="385" y="67"/>
                  </a:cubicBezTo>
                  <a:cubicBezTo>
                    <a:pt x="398" y="53"/>
                    <a:pt x="414" y="46"/>
                    <a:pt x="434" y="46"/>
                  </a:cubicBezTo>
                  <a:cubicBezTo>
                    <a:pt x="460" y="46"/>
                    <a:pt x="482" y="58"/>
                    <a:pt x="482" y="88"/>
                  </a:cubicBezTo>
                  <a:cubicBezTo>
                    <a:pt x="482" y="172"/>
                    <a:pt x="482" y="172"/>
                    <a:pt x="482" y="172"/>
                  </a:cubicBezTo>
                  <a:lnTo>
                    <a:pt x="463" y="172"/>
                  </a:lnTo>
                  <a:close/>
                  <a:moveTo>
                    <a:pt x="463" y="146"/>
                  </a:moveTo>
                  <a:cubicBezTo>
                    <a:pt x="463" y="123"/>
                    <a:pt x="463" y="123"/>
                    <a:pt x="463" y="123"/>
                  </a:cubicBezTo>
                  <a:cubicBezTo>
                    <a:pt x="455" y="113"/>
                    <a:pt x="442" y="108"/>
                    <a:pt x="429" y="108"/>
                  </a:cubicBezTo>
                  <a:cubicBezTo>
                    <a:pt x="411" y="108"/>
                    <a:pt x="399" y="119"/>
                    <a:pt x="399" y="135"/>
                  </a:cubicBezTo>
                  <a:cubicBezTo>
                    <a:pt x="399" y="150"/>
                    <a:pt x="411" y="161"/>
                    <a:pt x="429" y="161"/>
                  </a:cubicBezTo>
                  <a:cubicBezTo>
                    <a:pt x="442" y="161"/>
                    <a:pt x="455" y="156"/>
                    <a:pt x="463" y="146"/>
                  </a:cubicBezTo>
                  <a:close/>
                  <a:moveTo>
                    <a:pt x="517" y="146"/>
                  </a:moveTo>
                  <a:cubicBezTo>
                    <a:pt x="517" y="66"/>
                    <a:pt x="517" y="66"/>
                    <a:pt x="517" y="66"/>
                  </a:cubicBezTo>
                  <a:cubicBezTo>
                    <a:pt x="497" y="66"/>
                    <a:pt x="497" y="66"/>
                    <a:pt x="497" y="66"/>
                  </a:cubicBezTo>
                  <a:cubicBezTo>
                    <a:pt x="497" y="49"/>
                    <a:pt x="497" y="49"/>
                    <a:pt x="497" y="49"/>
                  </a:cubicBezTo>
                  <a:cubicBezTo>
                    <a:pt x="517" y="49"/>
                    <a:pt x="517" y="49"/>
                    <a:pt x="517" y="49"/>
                  </a:cubicBezTo>
                  <a:cubicBezTo>
                    <a:pt x="517" y="16"/>
                    <a:pt x="517" y="16"/>
                    <a:pt x="517" y="16"/>
                  </a:cubicBezTo>
                  <a:cubicBezTo>
                    <a:pt x="536" y="16"/>
                    <a:pt x="536" y="16"/>
                    <a:pt x="536" y="16"/>
                  </a:cubicBezTo>
                  <a:cubicBezTo>
                    <a:pt x="536" y="49"/>
                    <a:pt x="536" y="49"/>
                    <a:pt x="536" y="49"/>
                  </a:cubicBezTo>
                  <a:cubicBezTo>
                    <a:pt x="561" y="49"/>
                    <a:pt x="561" y="49"/>
                    <a:pt x="561" y="49"/>
                  </a:cubicBezTo>
                  <a:cubicBezTo>
                    <a:pt x="561" y="66"/>
                    <a:pt x="561" y="66"/>
                    <a:pt x="561" y="66"/>
                  </a:cubicBezTo>
                  <a:cubicBezTo>
                    <a:pt x="536" y="66"/>
                    <a:pt x="536" y="66"/>
                    <a:pt x="536" y="66"/>
                  </a:cubicBezTo>
                  <a:cubicBezTo>
                    <a:pt x="536" y="142"/>
                    <a:pt x="536" y="142"/>
                    <a:pt x="536" y="142"/>
                  </a:cubicBezTo>
                  <a:cubicBezTo>
                    <a:pt x="536" y="151"/>
                    <a:pt x="540" y="158"/>
                    <a:pt x="549" y="158"/>
                  </a:cubicBezTo>
                  <a:cubicBezTo>
                    <a:pt x="554" y="158"/>
                    <a:pt x="559" y="156"/>
                    <a:pt x="562" y="153"/>
                  </a:cubicBezTo>
                  <a:cubicBezTo>
                    <a:pt x="567" y="167"/>
                    <a:pt x="567" y="167"/>
                    <a:pt x="567" y="167"/>
                  </a:cubicBezTo>
                  <a:cubicBezTo>
                    <a:pt x="562" y="172"/>
                    <a:pt x="556" y="175"/>
                    <a:pt x="544" y="175"/>
                  </a:cubicBezTo>
                  <a:cubicBezTo>
                    <a:pt x="526" y="175"/>
                    <a:pt x="517" y="165"/>
                    <a:pt x="517" y="146"/>
                  </a:cubicBezTo>
                  <a:close/>
                  <a:moveTo>
                    <a:pt x="578" y="19"/>
                  </a:moveTo>
                  <a:cubicBezTo>
                    <a:pt x="578" y="12"/>
                    <a:pt x="584" y="6"/>
                    <a:pt x="591" y="6"/>
                  </a:cubicBezTo>
                  <a:cubicBezTo>
                    <a:pt x="598" y="6"/>
                    <a:pt x="604" y="12"/>
                    <a:pt x="604" y="19"/>
                  </a:cubicBezTo>
                  <a:cubicBezTo>
                    <a:pt x="604" y="26"/>
                    <a:pt x="598" y="32"/>
                    <a:pt x="591" y="32"/>
                  </a:cubicBezTo>
                  <a:cubicBezTo>
                    <a:pt x="584" y="32"/>
                    <a:pt x="578" y="26"/>
                    <a:pt x="578" y="19"/>
                  </a:cubicBezTo>
                  <a:close/>
                  <a:moveTo>
                    <a:pt x="582" y="172"/>
                  </a:moveTo>
                  <a:cubicBezTo>
                    <a:pt x="582" y="49"/>
                    <a:pt x="582" y="49"/>
                    <a:pt x="582" y="49"/>
                  </a:cubicBezTo>
                  <a:cubicBezTo>
                    <a:pt x="601" y="49"/>
                    <a:pt x="601" y="49"/>
                    <a:pt x="601" y="49"/>
                  </a:cubicBezTo>
                  <a:cubicBezTo>
                    <a:pt x="601" y="172"/>
                    <a:pt x="601" y="172"/>
                    <a:pt x="601" y="172"/>
                  </a:cubicBezTo>
                  <a:lnTo>
                    <a:pt x="582" y="172"/>
                  </a:lnTo>
                  <a:close/>
                  <a:moveTo>
                    <a:pt x="716" y="172"/>
                  </a:moveTo>
                  <a:cubicBezTo>
                    <a:pt x="716" y="92"/>
                    <a:pt x="716" y="92"/>
                    <a:pt x="716" y="92"/>
                  </a:cubicBezTo>
                  <a:cubicBezTo>
                    <a:pt x="716" y="70"/>
                    <a:pt x="705" y="63"/>
                    <a:pt x="688" y="63"/>
                  </a:cubicBezTo>
                  <a:cubicBezTo>
                    <a:pt x="673" y="63"/>
                    <a:pt x="659" y="72"/>
                    <a:pt x="652" y="82"/>
                  </a:cubicBezTo>
                  <a:cubicBezTo>
                    <a:pt x="652" y="172"/>
                    <a:pt x="652" y="172"/>
                    <a:pt x="652" y="172"/>
                  </a:cubicBezTo>
                  <a:cubicBezTo>
                    <a:pt x="633" y="172"/>
                    <a:pt x="633" y="172"/>
                    <a:pt x="633" y="172"/>
                  </a:cubicBezTo>
                  <a:cubicBezTo>
                    <a:pt x="633" y="49"/>
                    <a:pt x="633" y="49"/>
                    <a:pt x="633" y="49"/>
                  </a:cubicBezTo>
                  <a:cubicBezTo>
                    <a:pt x="652" y="49"/>
                    <a:pt x="652" y="49"/>
                    <a:pt x="652" y="49"/>
                  </a:cubicBezTo>
                  <a:cubicBezTo>
                    <a:pt x="652" y="67"/>
                    <a:pt x="652" y="67"/>
                    <a:pt x="652" y="67"/>
                  </a:cubicBezTo>
                  <a:cubicBezTo>
                    <a:pt x="660" y="57"/>
                    <a:pt x="677" y="46"/>
                    <a:pt x="695" y="46"/>
                  </a:cubicBezTo>
                  <a:cubicBezTo>
                    <a:pt x="721" y="46"/>
                    <a:pt x="735" y="59"/>
                    <a:pt x="735" y="86"/>
                  </a:cubicBezTo>
                  <a:cubicBezTo>
                    <a:pt x="735" y="172"/>
                    <a:pt x="735" y="172"/>
                    <a:pt x="735" y="172"/>
                  </a:cubicBezTo>
                  <a:lnTo>
                    <a:pt x="716" y="172"/>
                  </a:lnTo>
                  <a:close/>
                  <a:moveTo>
                    <a:pt x="766" y="204"/>
                  </a:moveTo>
                  <a:cubicBezTo>
                    <a:pt x="776" y="189"/>
                    <a:pt x="776" y="189"/>
                    <a:pt x="776" y="189"/>
                  </a:cubicBezTo>
                  <a:cubicBezTo>
                    <a:pt x="786" y="202"/>
                    <a:pt x="798" y="206"/>
                    <a:pt x="816" y="206"/>
                  </a:cubicBezTo>
                  <a:cubicBezTo>
                    <a:pt x="836" y="206"/>
                    <a:pt x="855" y="196"/>
                    <a:pt x="855" y="169"/>
                  </a:cubicBezTo>
                  <a:cubicBezTo>
                    <a:pt x="855" y="152"/>
                    <a:pt x="855" y="152"/>
                    <a:pt x="855" y="152"/>
                  </a:cubicBezTo>
                  <a:cubicBezTo>
                    <a:pt x="846" y="164"/>
                    <a:pt x="831" y="174"/>
                    <a:pt x="814" y="174"/>
                  </a:cubicBezTo>
                  <a:cubicBezTo>
                    <a:pt x="782" y="174"/>
                    <a:pt x="759" y="150"/>
                    <a:pt x="759" y="110"/>
                  </a:cubicBezTo>
                  <a:cubicBezTo>
                    <a:pt x="759" y="71"/>
                    <a:pt x="782" y="46"/>
                    <a:pt x="814" y="46"/>
                  </a:cubicBezTo>
                  <a:cubicBezTo>
                    <a:pt x="830" y="46"/>
                    <a:pt x="845" y="54"/>
                    <a:pt x="855" y="68"/>
                  </a:cubicBezTo>
                  <a:cubicBezTo>
                    <a:pt x="855" y="49"/>
                    <a:pt x="855" y="49"/>
                    <a:pt x="855" y="49"/>
                  </a:cubicBezTo>
                  <a:cubicBezTo>
                    <a:pt x="874" y="49"/>
                    <a:pt x="874" y="49"/>
                    <a:pt x="874" y="49"/>
                  </a:cubicBezTo>
                  <a:cubicBezTo>
                    <a:pt x="874" y="169"/>
                    <a:pt x="874" y="169"/>
                    <a:pt x="874" y="169"/>
                  </a:cubicBezTo>
                  <a:cubicBezTo>
                    <a:pt x="874" y="209"/>
                    <a:pt x="846" y="222"/>
                    <a:pt x="816" y="222"/>
                  </a:cubicBezTo>
                  <a:cubicBezTo>
                    <a:pt x="795" y="222"/>
                    <a:pt x="781" y="218"/>
                    <a:pt x="766" y="204"/>
                  </a:cubicBezTo>
                  <a:close/>
                  <a:moveTo>
                    <a:pt x="855" y="137"/>
                  </a:moveTo>
                  <a:cubicBezTo>
                    <a:pt x="855" y="83"/>
                    <a:pt x="855" y="83"/>
                    <a:pt x="855" y="83"/>
                  </a:cubicBezTo>
                  <a:cubicBezTo>
                    <a:pt x="848" y="72"/>
                    <a:pt x="834" y="63"/>
                    <a:pt x="818" y="63"/>
                  </a:cubicBezTo>
                  <a:cubicBezTo>
                    <a:pt x="794" y="63"/>
                    <a:pt x="779" y="83"/>
                    <a:pt x="779" y="110"/>
                  </a:cubicBezTo>
                  <a:cubicBezTo>
                    <a:pt x="779" y="137"/>
                    <a:pt x="794" y="157"/>
                    <a:pt x="818" y="157"/>
                  </a:cubicBezTo>
                  <a:cubicBezTo>
                    <a:pt x="834" y="157"/>
                    <a:pt x="848" y="147"/>
                    <a:pt x="855" y="137"/>
                  </a:cubicBezTo>
                  <a:close/>
                  <a:moveTo>
                    <a:pt x="1042" y="172"/>
                  </a:moveTo>
                  <a:cubicBezTo>
                    <a:pt x="1042" y="158"/>
                    <a:pt x="1042" y="158"/>
                    <a:pt x="1042" y="158"/>
                  </a:cubicBezTo>
                  <a:cubicBezTo>
                    <a:pt x="1032" y="169"/>
                    <a:pt x="1018" y="175"/>
                    <a:pt x="1001" y="175"/>
                  </a:cubicBezTo>
                  <a:cubicBezTo>
                    <a:pt x="980" y="175"/>
                    <a:pt x="958" y="161"/>
                    <a:pt x="958" y="134"/>
                  </a:cubicBezTo>
                  <a:cubicBezTo>
                    <a:pt x="958" y="107"/>
                    <a:pt x="980" y="94"/>
                    <a:pt x="1001" y="94"/>
                  </a:cubicBezTo>
                  <a:cubicBezTo>
                    <a:pt x="1018" y="94"/>
                    <a:pt x="1032" y="99"/>
                    <a:pt x="1042" y="111"/>
                  </a:cubicBezTo>
                  <a:cubicBezTo>
                    <a:pt x="1042" y="89"/>
                    <a:pt x="1042" y="89"/>
                    <a:pt x="1042" y="89"/>
                  </a:cubicBezTo>
                  <a:cubicBezTo>
                    <a:pt x="1042" y="72"/>
                    <a:pt x="1029" y="63"/>
                    <a:pt x="1011" y="63"/>
                  </a:cubicBezTo>
                  <a:cubicBezTo>
                    <a:pt x="996" y="63"/>
                    <a:pt x="984" y="68"/>
                    <a:pt x="973" y="80"/>
                  </a:cubicBezTo>
                  <a:cubicBezTo>
                    <a:pt x="964" y="67"/>
                    <a:pt x="964" y="67"/>
                    <a:pt x="964" y="67"/>
                  </a:cubicBezTo>
                  <a:cubicBezTo>
                    <a:pt x="978" y="53"/>
                    <a:pt x="993" y="46"/>
                    <a:pt x="1013" y="46"/>
                  </a:cubicBezTo>
                  <a:cubicBezTo>
                    <a:pt x="1039" y="46"/>
                    <a:pt x="1061" y="58"/>
                    <a:pt x="1061" y="88"/>
                  </a:cubicBezTo>
                  <a:cubicBezTo>
                    <a:pt x="1061" y="172"/>
                    <a:pt x="1061" y="172"/>
                    <a:pt x="1061" y="172"/>
                  </a:cubicBezTo>
                  <a:lnTo>
                    <a:pt x="1042" y="172"/>
                  </a:lnTo>
                  <a:close/>
                  <a:moveTo>
                    <a:pt x="1042" y="146"/>
                  </a:moveTo>
                  <a:cubicBezTo>
                    <a:pt x="1042" y="123"/>
                    <a:pt x="1042" y="123"/>
                    <a:pt x="1042" y="123"/>
                  </a:cubicBezTo>
                  <a:cubicBezTo>
                    <a:pt x="1035" y="113"/>
                    <a:pt x="1022" y="108"/>
                    <a:pt x="1008" y="108"/>
                  </a:cubicBezTo>
                  <a:cubicBezTo>
                    <a:pt x="990" y="108"/>
                    <a:pt x="978" y="119"/>
                    <a:pt x="978" y="135"/>
                  </a:cubicBezTo>
                  <a:cubicBezTo>
                    <a:pt x="978" y="150"/>
                    <a:pt x="990" y="161"/>
                    <a:pt x="1008" y="161"/>
                  </a:cubicBezTo>
                  <a:cubicBezTo>
                    <a:pt x="1022" y="161"/>
                    <a:pt x="1035" y="156"/>
                    <a:pt x="1042" y="146"/>
                  </a:cubicBezTo>
                  <a:close/>
                  <a:moveTo>
                    <a:pt x="1146" y="87"/>
                  </a:moveTo>
                  <a:cubicBezTo>
                    <a:pt x="1146" y="35"/>
                    <a:pt x="1184" y="0"/>
                    <a:pt x="1233" y="0"/>
                  </a:cubicBezTo>
                  <a:cubicBezTo>
                    <a:pt x="1263" y="0"/>
                    <a:pt x="1284" y="14"/>
                    <a:pt x="1297" y="33"/>
                  </a:cubicBezTo>
                  <a:cubicBezTo>
                    <a:pt x="1280" y="43"/>
                    <a:pt x="1280" y="43"/>
                    <a:pt x="1280" y="43"/>
                  </a:cubicBezTo>
                  <a:cubicBezTo>
                    <a:pt x="1270" y="29"/>
                    <a:pt x="1252" y="19"/>
                    <a:pt x="1233" y="19"/>
                  </a:cubicBezTo>
                  <a:cubicBezTo>
                    <a:pt x="1196" y="19"/>
                    <a:pt x="1168" y="47"/>
                    <a:pt x="1168" y="87"/>
                  </a:cubicBezTo>
                  <a:cubicBezTo>
                    <a:pt x="1168" y="128"/>
                    <a:pt x="1196" y="156"/>
                    <a:pt x="1233" y="156"/>
                  </a:cubicBezTo>
                  <a:cubicBezTo>
                    <a:pt x="1252" y="156"/>
                    <a:pt x="1270" y="146"/>
                    <a:pt x="1280" y="132"/>
                  </a:cubicBezTo>
                  <a:cubicBezTo>
                    <a:pt x="1298" y="142"/>
                    <a:pt x="1298" y="142"/>
                    <a:pt x="1298" y="142"/>
                  </a:cubicBezTo>
                  <a:cubicBezTo>
                    <a:pt x="1283" y="161"/>
                    <a:pt x="1263" y="175"/>
                    <a:pt x="1233" y="175"/>
                  </a:cubicBezTo>
                  <a:cubicBezTo>
                    <a:pt x="1184" y="175"/>
                    <a:pt x="1146" y="140"/>
                    <a:pt x="1146" y="87"/>
                  </a:cubicBezTo>
                  <a:close/>
                  <a:moveTo>
                    <a:pt x="1394" y="172"/>
                  </a:moveTo>
                  <a:cubicBezTo>
                    <a:pt x="1394" y="158"/>
                    <a:pt x="1394" y="158"/>
                    <a:pt x="1394" y="158"/>
                  </a:cubicBezTo>
                  <a:cubicBezTo>
                    <a:pt x="1384" y="169"/>
                    <a:pt x="1370" y="175"/>
                    <a:pt x="1354" y="175"/>
                  </a:cubicBezTo>
                  <a:cubicBezTo>
                    <a:pt x="1333" y="175"/>
                    <a:pt x="1311" y="161"/>
                    <a:pt x="1311" y="134"/>
                  </a:cubicBezTo>
                  <a:cubicBezTo>
                    <a:pt x="1311" y="107"/>
                    <a:pt x="1333" y="94"/>
                    <a:pt x="1354" y="94"/>
                  </a:cubicBezTo>
                  <a:cubicBezTo>
                    <a:pt x="1370" y="94"/>
                    <a:pt x="1384" y="99"/>
                    <a:pt x="1394" y="111"/>
                  </a:cubicBezTo>
                  <a:cubicBezTo>
                    <a:pt x="1394" y="89"/>
                    <a:pt x="1394" y="89"/>
                    <a:pt x="1394" y="89"/>
                  </a:cubicBezTo>
                  <a:cubicBezTo>
                    <a:pt x="1394" y="72"/>
                    <a:pt x="1381" y="63"/>
                    <a:pt x="1363" y="63"/>
                  </a:cubicBezTo>
                  <a:cubicBezTo>
                    <a:pt x="1349" y="63"/>
                    <a:pt x="1337" y="68"/>
                    <a:pt x="1326" y="80"/>
                  </a:cubicBezTo>
                  <a:cubicBezTo>
                    <a:pt x="1317" y="67"/>
                    <a:pt x="1317" y="67"/>
                    <a:pt x="1317" y="67"/>
                  </a:cubicBezTo>
                  <a:cubicBezTo>
                    <a:pt x="1330" y="53"/>
                    <a:pt x="1346" y="46"/>
                    <a:pt x="1366" y="46"/>
                  </a:cubicBezTo>
                  <a:cubicBezTo>
                    <a:pt x="1392" y="46"/>
                    <a:pt x="1413" y="58"/>
                    <a:pt x="1413" y="88"/>
                  </a:cubicBezTo>
                  <a:cubicBezTo>
                    <a:pt x="1413" y="172"/>
                    <a:pt x="1413" y="172"/>
                    <a:pt x="1413" y="172"/>
                  </a:cubicBezTo>
                  <a:lnTo>
                    <a:pt x="1394" y="172"/>
                  </a:lnTo>
                  <a:close/>
                  <a:moveTo>
                    <a:pt x="1394" y="146"/>
                  </a:moveTo>
                  <a:cubicBezTo>
                    <a:pt x="1394" y="123"/>
                    <a:pt x="1394" y="123"/>
                    <a:pt x="1394" y="123"/>
                  </a:cubicBezTo>
                  <a:cubicBezTo>
                    <a:pt x="1387" y="113"/>
                    <a:pt x="1374" y="108"/>
                    <a:pt x="1360" y="108"/>
                  </a:cubicBezTo>
                  <a:cubicBezTo>
                    <a:pt x="1343" y="108"/>
                    <a:pt x="1330" y="119"/>
                    <a:pt x="1330" y="135"/>
                  </a:cubicBezTo>
                  <a:cubicBezTo>
                    <a:pt x="1330" y="150"/>
                    <a:pt x="1343" y="161"/>
                    <a:pt x="1360" y="161"/>
                  </a:cubicBezTo>
                  <a:cubicBezTo>
                    <a:pt x="1374" y="161"/>
                    <a:pt x="1387" y="156"/>
                    <a:pt x="1394" y="146"/>
                  </a:cubicBezTo>
                  <a:close/>
                  <a:moveTo>
                    <a:pt x="1528" y="172"/>
                  </a:moveTo>
                  <a:cubicBezTo>
                    <a:pt x="1528" y="92"/>
                    <a:pt x="1528" y="92"/>
                    <a:pt x="1528" y="92"/>
                  </a:cubicBezTo>
                  <a:cubicBezTo>
                    <a:pt x="1528" y="70"/>
                    <a:pt x="1517" y="63"/>
                    <a:pt x="1501" y="63"/>
                  </a:cubicBezTo>
                  <a:cubicBezTo>
                    <a:pt x="1486" y="63"/>
                    <a:pt x="1471" y="72"/>
                    <a:pt x="1464" y="82"/>
                  </a:cubicBezTo>
                  <a:cubicBezTo>
                    <a:pt x="1464" y="172"/>
                    <a:pt x="1464" y="172"/>
                    <a:pt x="1464" y="172"/>
                  </a:cubicBezTo>
                  <a:cubicBezTo>
                    <a:pt x="1445" y="172"/>
                    <a:pt x="1445" y="172"/>
                    <a:pt x="1445" y="172"/>
                  </a:cubicBezTo>
                  <a:cubicBezTo>
                    <a:pt x="1445" y="49"/>
                    <a:pt x="1445" y="49"/>
                    <a:pt x="1445" y="49"/>
                  </a:cubicBezTo>
                  <a:cubicBezTo>
                    <a:pt x="1464" y="49"/>
                    <a:pt x="1464" y="49"/>
                    <a:pt x="1464" y="49"/>
                  </a:cubicBezTo>
                  <a:cubicBezTo>
                    <a:pt x="1464" y="67"/>
                    <a:pt x="1464" y="67"/>
                    <a:pt x="1464" y="67"/>
                  </a:cubicBezTo>
                  <a:cubicBezTo>
                    <a:pt x="1473" y="57"/>
                    <a:pt x="1490" y="46"/>
                    <a:pt x="1508" y="46"/>
                  </a:cubicBezTo>
                  <a:cubicBezTo>
                    <a:pt x="1534" y="46"/>
                    <a:pt x="1547" y="59"/>
                    <a:pt x="1547" y="86"/>
                  </a:cubicBezTo>
                  <a:cubicBezTo>
                    <a:pt x="1547" y="172"/>
                    <a:pt x="1547" y="172"/>
                    <a:pt x="1547" y="172"/>
                  </a:cubicBezTo>
                  <a:lnTo>
                    <a:pt x="1528" y="172"/>
                  </a:lnTo>
                  <a:close/>
                  <a:moveTo>
                    <a:pt x="1572" y="111"/>
                  </a:moveTo>
                  <a:cubicBezTo>
                    <a:pt x="1572" y="74"/>
                    <a:pt x="1596" y="46"/>
                    <a:pt x="1633" y="46"/>
                  </a:cubicBezTo>
                  <a:cubicBezTo>
                    <a:pt x="1655" y="46"/>
                    <a:pt x="1669" y="55"/>
                    <a:pt x="1678" y="68"/>
                  </a:cubicBezTo>
                  <a:cubicBezTo>
                    <a:pt x="1665" y="79"/>
                    <a:pt x="1665" y="79"/>
                    <a:pt x="1665" y="79"/>
                  </a:cubicBezTo>
                  <a:cubicBezTo>
                    <a:pt x="1657" y="68"/>
                    <a:pt x="1647" y="63"/>
                    <a:pt x="1634" y="63"/>
                  </a:cubicBezTo>
                  <a:cubicBezTo>
                    <a:pt x="1608" y="63"/>
                    <a:pt x="1592" y="83"/>
                    <a:pt x="1592" y="111"/>
                  </a:cubicBezTo>
                  <a:cubicBezTo>
                    <a:pt x="1592" y="138"/>
                    <a:pt x="1608" y="158"/>
                    <a:pt x="1634" y="158"/>
                  </a:cubicBezTo>
                  <a:cubicBezTo>
                    <a:pt x="1647" y="158"/>
                    <a:pt x="1657" y="153"/>
                    <a:pt x="1665" y="142"/>
                  </a:cubicBezTo>
                  <a:cubicBezTo>
                    <a:pt x="1678" y="154"/>
                    <a:pt x="1678" y="154"/>
                    <a:pt x="1678" y="154"/>
                  </a:cubicBezTo>
                  <a:cubicBezTo>
                    <a:pt x="1669" y="166"/>
                    <a:pt x="1655" y="175"/>
                    <a:pt x="1633" y="175"/>
                  </a:cubicBezTo>
                  <a:cubicBezTo>
                    <a:pt x="1596" y="175"/>
                    <a:pt x="1572" y="147"/>
                    <a:pt x="1572" y="111"/>
                  </a:cubicBezTo>
                  <a:close/>
                  <a:moveTo>
                    <a:pt x="1691" y="111"/>
                  </a:moveTo>
                  <a:cubicBezTo>
                    <a:pt x="1691" y="75"/>
                    <a:pt x="1717" y="46"/>
                    <a:pt x="1752" y="46"/>
                  </a:cubicBezTo>
                  <a:cubicBezTo>
                    <a:pt x="1789" y="46"/>
                    <a:pt x="1811" y="75"/>
                    <a:pt x="1811" y="112"/>
                  </a:cubicBezTo>
                  <a:cubicBezTo>
                    <a:pt x="1811" y="117"/>
                    <a:pt x="1811" y="117"/>
                    <a:pt x="1811" y="117"/>
                  </a:cubicBezTo>
                  <a:cubicBezTo>
                    <a:pt x="1711" y="117"/>
                    <a:pt x="1711" y="117"/>
                    <a:pt x="1711" y="117"/>
                  </a:cubicBezTo>
                  <a:cubicBezTo>
                    <a:pt x="1713" y="140"/>
                    <a:pt x="1729" y="159"/>
                    <a:pt x="1756" y="159"/>
                  </a:cubicBezTo>
                  <a:cubicBezTo>
                    <a:pt x="1769" y="159"/>
                    <a:pt x="1784" y="154"/>
                    <a:pt x="1793" y="144"/>
                  </a:cubicBezTo>
                  <a:cubicBezTo>
                    <a:pt x="1803" y="156"/>
                    <a:pt x="1803" y="156"/>
                    <a:pt x="1803" y="156"/>
                  </a:cubicBezTo>
                  <a:cubicBezTo>
                    <a:pt x="1790" y="169"/>
                    <a:pt x="1774" y="175"/>
                    <a:pt x="1754" y="175"/>
                  </a:cubicBezTo>
                  <a:cubicBezTo>
                    <a:pt x="1717" y="175"/>
                    <a:pt x="1691" y="149"/>
                    <a:pt x="1691" y="111"/>
                  </a:cubicBezTo>
                  <a:close/>
                  <a:moveTo>
                    <a:pt x="1751" y="62"/>
                  </a:moveTo>
                  <a:cubicBezTo>
                    <a:pt x="1725" y="62"/>
                    <a:pt x="1712" y="84"/>
                    <a:pt x="1711" y="103"/>
                  </a:cubicBezTo>
                  <a:cubicBezTo>
                    <a:pt x="1792" y="103"/>
                    <a:pt x="1792" y="103"/>
                    <a:pt x="1792" y="103"/>
                  </a:cubicBezTo>
                  <a:cubicBezTo>
                    <a:pt x="1792" y="85"/>
                    <a:pt x="1779" y="62"/>
                    <a:pt x="1751" y="62"/>
                  </a:cubicBezTo>
                  <a:close/>
                  <a:moveTo>
                    <a:pt x="1835" y="172"/>
                  </a:moveTo>
                  <a:cubicBezTo>
                    <a:pt x="1835" y="49"/>
                    <a:pt x="1835" y="49"/>
                    <a:pt x="1835" y="49"/>
                  </a:cubicBezTo>
                  <a:cubicBezTo>
                    <a:pt x="1854" y="49"/>
                    <a:pt x="1854" y="49"/>
                    <a:pt x="1854" y="49"/>
                  </a:cubicBezTo>
                  <a:cubicBezTo>
                    <a:pt x="1854" y="69"/>
                    <a:pt x="1854" y="69"/>
                    <a:pt x="1854" y="69"/>
                  </a:cubicBezTo>
                  <a:cubicBezTo>
                    <a:pt x="1864" y="56"/>
                    <a:pt x="1878" y="47"/>
                    <a:pt x="1895" y="47"/>
                  </a:cubicBezTo>
                  <a:cubicBezTo>
                    <a:pt x="1895" y="66"/>
                    <a:pt x="1895" y="66"/>
                    <a:pt x="1895" y="66"/>
                  </a:cubicBezTo>
                  <a:cubicBezTo>
                    <a:pt x="1893" y="66"/>
                    <a:pt x="1891" y="66"/>
                    <a:pt x="1887" y="66"/>
                  </a:cubicBezTo>
                  <a:cubicBezTo>
                    <a:pt x="1876" y="66"/>
                    <a:pt x="1860" y="75"/>
                    <a:pt x="1854" y="85"/>
                  </a:cubicBezTo>
                  <a:cubicBezTo>
                    <a:pt x="1854" y="172"/>
                    <a:pt x="1854" y="172"/>
                    <a:pt x="1854" y="172"/>
                  </a:cubicBezTo>
                  <a:lnTo>
                    <a:pt x="1835" y="172"/>
                  </a:lnTo>
                  <a:close/>
                  <a:moveTo>
                    <a:pt x="1901" y="119"/>
                  </a:moveTo>
                  <a:cubicBezTo>
                    <a:pt x="1901" y="102"/>
                    <a:pt x="1901" y="102"/>
                    <a:pt x="1901" y="102"/>
                  </a:cubicBezTo>
                  <a:cubicBezTo>
                    <a:pt x="1962" y="102"/>
                    <a:pt x="1962" y="102"/>
                    <a:pt x="1962" y="102"/>
                  </a:cubicBezTo>
                  <a:cubicBezTo>
                    <a:pt x="1962" y="119"/>
                    <a:pt x="1962" y="119"/>
                    <a:pt x="1962" y="119"/>
                  </a:cubicBezTo>
                  <a:lnTo>
                    <a:pt x="1901" y="119"/>
                  </a:lnTo>
                  <a:close/>
                  <a:moveTo>
                    <a:pt x="1988" y="172"/>
                  </a:moveTo>
                  <a:cubicBezTo>
                    <a:pt x="1988" y="66"/>
                    <a:pt x="1988" y="66"/>
                    <a:pt x="1988" y="66"/>
                  </a:cubicBezTo>
                  <a:cubicBezTo>
                    <a:pt x="1968" y="66"/>
                    <a:pt x="1968" y="66"/>
                    <a:pt x="1968" y="66"/>
                  </a:cubicBezTo>
                  <a:cubicBezTo>
                    <a:pt x="1968" y="49"/>
                    <a:pt x="1968" y="49"/>
                    <a:pt x="1968" y="49"/>
                  </a:cubicBezTo>
                  <a:cubicBezTo>
                    <a:pt x="1988" y="49"/>
                    <a:pt x="1988" y="49"/>
                    <a:pt x="1988" y="49"/>
                  </a:cubicBezTo>
                  <a:cubicBezTo>
                    <a:pt x="1988" y="40"/>
                    <a:pt x="1988" y="40"/>
                    <a:pt x="1988" y="40"/>
                  </a:cubicBezTo>
                  <a:cubicBezTo>
                    <a:pt x="1988" y="15"/>
                    <a:pt x="2002" y="0"/>
                    <a:pt x="2023" y="0"/>
                  </a:cubicBezTo>
                  <a:cubicBezTo>
                    <a:pt x="2033" y="0"/>
                    <a:pt x="2042" y="2"/>
                    <a:pt x="2049" y="9"/>
                  </a:cubicBezTo>
                  <a:cubicBezTo>
                    <a:pt x="2042" y="22"/>
                    <a:pt x="2042" y="22"/>
                    <a:pt x="2042" y="22"/>
                  </a:cubicBezTo>
                  <a:cubicBezTo>
                    <a:pt x="2037" y="18"/>
                    <a:pt x="2033" y="16"/>
                    <a:pt x="2026" y="16"/>
                  </a:cubicBezTo>
                  <a:cubicBezTo>
                    <a:pt x="2014" y="16"/>
                    <a:pt x="2007" y="24"/>
                    <a:pt x="2007" y="40"/>
                  </a:cubicBezTo>
                  <a:cubicBezTo>
                    <a:pt x="2007" y="49"/>
                    <a:pt x="2007" y="49"/>
                    <a:pt x="2007" y="49"/>
                  </a:cubicBezTo>
                  <a:cubicBezTo>
                    <a:pt x="2032" y="49"/>
                    <a:pt x="2032" y="49"/>
                    <a:pt x="2032" y="49"/>
                  </a:cubicBezTo>
                  <a:cubicBezTo>
                    <a:pt x="2032" y="66"/>
                    <a:pt x="2032" y="66"/>
                    <a:pt x="2032" y="66"/>
                  </a:cubicBezTo>
                  <a:cubicBezTo>
                    <a:pt x="2007" y="66"/>
                    <a:pt x="2007" y="66"/>
                    <a:pt x="2007" y="66"/>
                  </a:cubicBezTo>
                  <a:cubicBezTo>
                    <a:pt x="2007" y="172"/>
                    <a:pt x="2007" y="172"/>
                    <a:pt x="2007" y="172"/>
                  </a:cubicBezTo>
                  <a:lnTo>
                    <a:pt x="1988" y="172"/>
                  </a:lnTo>
                  <a:close/>
                  <a:moveTo>
                    <a:pt x="2048" y="172"/>
                  </a:moveTo>
                  <a:cubicBezTo>
                    <a:pt x="2048" y="49"/>
                    <a:pt x="2048" y="49"/>
                    <a:pt x="2048" y="49"/>
                  </a:cubicBezTo>
                  <a:cubicBezTo>
                    <a:pt x="2067" y="49"/>
                    <a:pt x="2067" y="49"/>
                    <a:pt x="2067" y="49"/>
                  </a:cubicBezTo>
                  <a:cubicBezTo>
                    <a:pt x="2067" y="69"/>
                    <a:pt x="2067" y="69"/>
                    <a:pt x="2067" y="69"/>
                  </a:cubicBezTo>
                  <a:cubicBezTo>
                    <a:pt x="2077" y="56"/>
                    <a:pt x="2091" y="47"/>
                    <a:pt x="2108" y="47"/>
                  </a:cubicBezTo>
                  <a:cubicBezTo>
                    <a:pt x="2108" y="66"/>
                    <a:pt x="2108" y="66"/>
                    <a:pt x="2108" y="66"/>
                  </a:cubicBezTo>
                  <a:cubicBezTo>
                    <a:pt x="2106" y="66"/>
                    <a:pt x="2104" y="66"/>
                    <a:pt x="2100" y="66"/>
                  </a:cubicBezTo>
                  <a:cubicBezTo>
                    <a:pt x="2089" y="66"/>
                    <a:pt x="2073" y="75"/>
                    <a:pt x="2067" y="85"/>
                  </a:cubicBezTo>
                  <a:cubicBezTo>
                    <a:pt x="2067" y="172"/>
                    <a:pt x="2067" y="172"/>
                    <a:pt x="2067" y="172"/>
                  </a:cubicBezTo>
                  <a:lnTo>
                    <a:pt x="2048" y="172"/>
                  </a:lnTo>
                  <a:close/>
                  <a:moveTo>
                    <a:pt x="2119" y="111"/>
                  </a:moveTo>
                  <a:cubicBezTo>
                    <a:pt x="2119" y="75"/>
                    <a:pt x="2144" y="46"/>
                    <a:pt x="2179" y="46"/>
                  </a:cubicBezTo>
                  <a:cubicBezTo>
                    <a:pt x="2216" y="46"/>
                    <a:pt x="2238" y="75"/>
                    <a:pt x="2238" y="112"/>
                  </a:cubicBezTo>
                  <a:cubicBezTo>
                    <a:pt x="2238" y="117"/>
                    <a:pt x="2238" y="117"/>
                    <a:pt x="2238" y="117"/>
                  </a:cubicBezTo>
                  <a:cubicBezTo>
                    <a:pt x="2139" y="117"/>
                    <a:pt x="2139" y="117"/>
                    <a:pt x="2139" y="117"/>
                  </a:cubicBezTo>
                  <a:cubicBezTo>
                    <a:pt x="2140" y="140"/>
                    <a:pt x="2156" y="159"/>
                    <a:pt x="2183" y="159"/>
                  </a:cubicBezTo>
                  <a:cubicBezTo>
                    <a:pt x="2197" y="159"/>
                    <a:pt x="2211" y="154"/>
                    <a:pt x="2221" y="144"/>
                  </a:cubicBezTo>
                  <a:cubicBezTo>
                    <a:pt x="2230" y="156"/>
                    <a:pt x="2230" y="156"/>
                    <a:pt x="2230" y="156"/>
                  </a:cubicBezTo>
                  <a:cubicBezTo>
                    <a:pt x="2218" y="169"/>
                    <a:pt x="2201" y="175"/>
                    <a:pt x="2181" y="175"/>
                  </a:cubicBezTo>
                  <a:cubicBezTo>
                    <a:pt x="2145" y="175"/>
                    <a:pt x="2119" y="149"/>
                    <a:pt x="2119" y="111"/>
                  </a:cubicBezTo>
                  <a:close/>
                  <a:moveTo>
                    <a:pt x="2179" y="62"/>
                  </a:moveTo>
                  <a:cubicBezTo>
                    <a:pt x="2153" y="62"/>
                    <a:pt x="2140" y="84"/>
                    <a:pt x="2139" y="103"/>
                  </a:cubicBezTo>
                  <a:cubicBezTo>
                    <a:pt x="2219" y="103"/>
                    <a:pt x="2219" y="103"/>
                    <a:pt x="2219" y="103"/>
                  </a:cubicBezTo>
                  <a:cubicBezTo>
                    <a:pt x="2219" y="85"/>
                    <a:pt x="2207" y="62"/>
                    <a:pt x="2179" y="62"/>
                  </a:cubicBezTo>
                  <a:close/>
                  <a:moveTo>
                    <a:pt x="2255" y="111"/>
                  </a:moveTo>
                  <a:cubicBezTo>
                    <a:pt x="2255" y="75"/>
                    <a:pt x="2281" y="46"/>
                    <a:pt x="2316" y="46"/>
                  </a:cubicBezTo>
                  <a:cubicBezTo>
                    <a:pt x="2353" y="46"/>
                    <a:pt x="2375" y="75"/>
                    <a:pt x="2375" y="112"/>
                  </a:cubicBezTo>
                  <a:cubicBezTo>
                    <a:pt x="2375" y="117"/>
                    <a:pt x="2375" y="117"/>
                    <a:pt x="2375" y="117"/>
                  </a:cubicBezTo>
                  <a:cubicBezTo>
                    <a:pt x="2275" y="117"/>
                    <a:pt x="2275" y="117"/>
                    <a:pt x="2275" y="117"/>
                  </a:cubicBezTo>
                  <a:cubicBezTo>
                    <a:pt x="2277" y="140"/>
                    <a:pt x="2293" y="159"/>
                    <a:pt x="2320" y="159"/>
                  </a:cubicBezTo>
                  <a:cubicBezTo>
                    <a:pt x="2334" y="159"/>
                    <a:pt x="2348" y="154"/>
                    <a:pt x="2357" y="144"/>
                  </a:cubicBezTo>
                  <a:cubicBezTo>
                    <a:pt x="2367" y="156"/>
                    <a:pt x="2367" y="156"/>
                    <a:pt x="2367" y="156"/>
                  </a:cubicBezTo>
                  <a:cubicBezTo>
                    <a:pt x="2354" y="169"/>
                    <a:pt x="2338" y="175"/>
                    <a:pt x="2318" y="175"/>
                  </a:cubicBezTo>
                  <a:cubicBezTo>
                    <a:pt x="2281" y="175"/>
                    <a:pt x="2255" y="149"/>
                    <a:pt x="2255" y="111"/>
                  </a:cubicBezTo>
                  <a:close/>
                  <a:moveTo>
                    <a:pt x="2316" y="62"/>
                  </a:moveTo>
                  <a:cubicBezTo>
                    <a:pt x="2289" y="62"/>
                    <a:pt x="2276" y="84"/>
                    <a:pt x="2275" y="103"/>
                  </a:cubicBezTo>
                  <a:cubicBezTo>
                    <a:pt x="2356" y="103"/>
                    <a:pt x="2356" y="103"/>
                    <a:pt x="2356" y="103"/>
                  </a:cubicBezTo>
                  <a:cubicBezTo>
                    <a:pt x="2356" y="85"/>
                    <a:pt x="2344" y="62"/>
                    <a:pt x="2316" y="62"/>
                  </a:cubicBezTo>
                  <a:close/>
                  <a:moveTo>
                    <a:pt x="2589" y="172"/>
                  </a:moveTo>
                  <a:cubicBezTo>
                    <a:pt x="2551" y="35"/>
                    <a:pt x="2551" y="35"/>
                    <a:pt x="2551" y="35"/>
                  </a:cubicBezTo>
                  <a:cubicBezTo>
                    <a:pt x="2514" y="172"/>
                    <a:pt x="2514" y="172"/>
                    <a:pt x="2514" y="172"/>
                  </a:cubicBezTo>
                  <a:cubicBezTo>
                    <a:pt x="2491" y="172"/>
                    <a:pt x="2491" y="172"/>
                    <a:pt x="2491" y="172"/>
                  </a:cubicBezTo>
                  <a:cubicBezTo>
                    <a:pt x="2443" y="3"/>
                    <a:pt x="2443" y="3"/>
                    <a:pt x="2443" y="3"/>
                  </a:cubicBezTo>
                  <a:cubicBezTo>
                    <a:pt x="2466" y="3"/>
                    <a:pt x="2466" y="3"/>
                    <a:pt x="2466" y="3"/>
                  </a:cubicBezTo>
                  <a:cubicBezTo>
                    <a:pt x="2504" y="144"/>
                    <a:pt x="2504" y="144"/>
                    <a:pt x="2504" y="144"/>
                  </a:cubicBezTo>
                  <a:cubicBezTo>
                    <a:pt x="2543" y="3"/>
                    <a:pt x="2543" y="3"/>
                    <a:pt x="2543" y="3"/>
                  </a:cubicBezTo>
                  <a:cubicBezTo>
                    <a:pt x="2560" y="3"/>
                    <a:pt x="2560" y="3"/>
                    <a:pt x="2560" y="3"/>
                  </a:cubicBezTo>
                  <a:cubicBezTo>
                    <a:pt x="2599" y="144"/>
                    <a:pt x="2599" y="144"/>
                    <a:pt x="2599" y="144"/>
                  </a:cubicBezTo>
                  <a:cubicBezTo>
                    <a:pt x="2637" y="3"/>
                    <a:pt x="2637" y="3"/>
                    <a:pt x="2637" y="3"/>
                  </a:cubicBezTo>
                  <a:cubicBezTo>
                    <a:pt x="2660" y="3"/>
                    <a:pt x="2660" y="3"/>
                    <a:pt x="2660" y="3"/>
                  </a:cubicBezTo>
                  <a:cubicBezTo>
                    <a:pt x="2612" y="172"/>
                    <a:pt x="2612" y="172"/>
                    <a:pt x="2612" y="172"/>
                  </a:cubicBezTo>
                  <a:lnTo>
                    <a:pt x="2589" y="172"/>
                  </a:lnTo>
                  <a:close/>
                  <a:moveTo>
                    <a:pt x="2659" y="111"/>
                  </a:moveTo>
                  <a:cubicBezTo>
                    <a:pt x="2659" y="75"/>
                    <a:pt x="2683" y="46"/>
                    <a:pt x="2720" y="46"/>
                  </a:cubicBezTo>
                  <a:cubicBezTo>
                    <a:pt x="2757" y="46"/>
                    <a:pt x="2781" y="75"/>
                    <a:pt x="2781" y="111"/>
                  </a:cubicBezTo>
                  <a:cubicBezTo>
                    <a:pt x="2781" y="146"/>
                    <a:pt x="2757" y="175"/>
                    <a:pt x="2720" y="175"/>
                  </a:cubicBezTo>
                  <a:cubicBezTo>
                    <a:pt x="2683" y="175"/>
                    <a:pt x="2659" y="146"/>
                    <a:pt x="2659" y="111"/>
                  </a:cubicBezTo>
                  <a:close/>
                  <a:moveTo>
                    <a:pt x="2761" y="111"/>
                  </a:moveTo>
                  <a:cubicBezTo>
                    <a:pt x="2761" y="86"/>
                    <a:pt x="2746" y="63"/>
                    <a:pt x="2720" y="63"/>
                  </a:cubicBezTo>
                  <a:cubicBezTo>
                    <a:pt x="2694" y="63"/>
                    <a:pt x="2679" y="86"/>
                    <a:pt x="2679" y="111"/>
                  </a:cubicBezTo>
                  <a:cubicBezTo>
                    <a:pt x="2679" y="136"/>
                    <a:pt x="2694" y="158"/>
                    <a:pt x="2720" y="158"/>
                  </a:cubicBezTo>
                  <a:cubicBezTo>
                    <a:pt x="2746" y="158"/>
                    <a:pt x="2761" y="136"/>
                    <a:pt x="2761" y="111"/>
                  </a:cubicBezTo>
                  <a:close/>
                  <a:moveTo>
                    <a:pt x="2805" y="172"/>
                  </a:moveTo>
                  <a:cubicBezTo>
                    <a:pt x="2805" y="49"/>
                    <a:pt x="2805" y="49"/>
                    <a:pt x="2805" y="49"/>
                  </a:cubicBezTo>
                  <a:cubicBezTo>
                    <a:pt x="2824" y="49"/>
                    <a:pt x="2824" y="49"/>
                    <a:pt x="2824" y="49"/>
                  </a:cubicBezTo>
                  <a:cubicBezTo>
                    <a:pt x="2824" y="69"/>
                    <a:pt x="2824" y="69"/>
                    <a:pt x="2824" y="69"/>
                  </a:cubicBezTo>
                  <a:cubicBezTo>
                    <a:pt x="2834" y="56"/>
                    <a:pt x="2849" y="47"/>
                    <a:pt x="2865" y="47"/>
                  </a:cubicBezTo>
                  <a:cubicBezTo>
                    <a:pt x="2865" y="66"/>
                    <a:pt x="2865" y="66"/>
                    <a:pt x="2865" y="66"/>
                  </a:cubicBezTo>
                  <a:cubicBezTo>
                    <a:pt x="2863" y="66"/>
                    <a:pt x="2861" y="66"/>
                    <a:pt x="2858" y="66"/>
                  </a:cubicBezTo>
                  <a:cubicBezTo>
                    <a:pt x="2846" y="66"/>
                    <a:pt x="2830" y="75"/>
                    <a:pt x="2824" y="85"/>
                  </a:cubicBezTo>
                  <a:cubicBezTo>
                    <a:pt x="2824" y="172"/>
                    <a:pt x="2824" y="172"/>
                    <a:pt x="2824" y="172"/>
                  </a:cubicBezTo>
                  <a:lnTo>
                    <a:pt x="2805" y="172"/>
                  </a:lnTo>
                  <a:close/>
                  <a:moveTo>
                    <a:pt x="2883" y="172"/>
                  </a:moveTo>
                  <a:cubicBezTo>
                    <a:pt x="2883" y="3"/>
                    <a:pt x="2883" y="3"/>
                    <a:pt x="2883" y="3"/>
                  </a:cubicBezTo>
                  <a:cubicBezTo>
                    <a:pt x="2902" y="3"/>
                    <a:pt x="2902" y="3"/>
                    <a:pt x="2902" y="3"/>
                  </a:cubicBezTo>
                  <a:cubicBezTo>
                    <a:pt x="2902" y="172"/>
                    <a:pt x="2902" y="172"/>
                    <a:pt x="2902" y="172"/>
                  </a:cubicBezTo>
                  <a:lnTo>
                    <a:pt x="2883" y="172"/>
                  </a:lnTo>
                  <a:close/>
                  <a:moveTo>
                    <a:pt x="3023" y="172"/>
                  </a:moveTo>
                  <a:cubicBezTo>
                    <a:pt x="3023" y="154"/>
                    <a:pt x="3023" y="154"/>
                    <a:pt x="3023" y="154"/>
                  </a:cubicBezTo>
                  <a:cubicBezTo>
                    <a:pt x="3014" y="166"/>
                    <a:pt x="2999" y="175"/>
                    <a:pt x="2981" y="175"/>
                  </a:cubicBezTo>
                  <a:cubicBezTo>
                    <a:pt x="2949" y="175"/>
                    <a:pt x="2927" y="151"/>
                    <a:pt x="2927" y="111"/>
                  </a:cubicBezTo>
                  <a:cubicBezTo>
                    <a:pt x="2927" y="72"/>
                    <a:pt x="2949" y="46"/>
                    <a:pt x="2981" y="46"/>
                  </a:cubicBezTo>
                  <a:cubicBezTo>
                    <a:pt x="2998" y="46"/>
                    <a:pt x="3013" y="54"/>
                    <a:pt x="3023" y="68"/>
                  </a:cubicBezTo>
                  <a:cubicBezTo>
                    <a:pt x="3023" y="3"/>
                    <a:pt x="3023" y="3"/>
                    <a:pt x="3023" y="3"/>
                  </a:cubicBezTo>
                  <a:cubicBezTo>
                    <a:pt x="3042" y="3"/>
                    <a:pt x="3042" y="3"/>
                    <a:pt x="3042" y="3"/>
                  </a:cubicBezTo>
                  <a:cubicBezTo>
                    <a:pt x="3042" y="172"/>
                    <a:pt x="3042" y="172"/>
                    <a:pt x="3042" y="172"/>
                  </a:cubicBezTo>
                  <a:lnTo>
                    <a:pt x="3023" y="172"/>
                  </a:lnTo>
                  <a:close/>
                  <a:moveTo>
                    <a:pt x="3023" y="139"/>
                  </a:moveTo>
                  <a:cubicBezTo>
                    <a:pt x="3023" y="83"/>
                    <a:pt x="3023" y="83"/>
                    <a:pt x="3023" y="83"/>
                  </a:cubicBezTo>
                  <a:cubicBezTo>
                    <a:pt x="3016" y="72"/>
                    <a:pt x="3001" y="63"/>
                    <a:pt x="2986" y="63"/>
                  </a:cubicBezTo>
                  <a:cubicBezTo>
                    <a:pt x="2961" y="63"/>
                    <a:pt x="2947" y="84"/>
                    <a:pt x="2947" y="111"/>
                  </a:cubicBezTo>
                  <a:cubicBezTo>
                    <a:pt x="2947" y="138"/>
                    <a:pt x="2961" y="158"/>
                    <a:pt x="2986" y="158"/>
                  </a:cubicBezTo>
                  <a:cubicBezTo>
                    <a:pt x="3001" y="158"/>
                    <a:pt x="3016" y="149"/>
                    <a:pt x="3023" y="139"/>
                  </a:cubicBezTo>
                  <a:close/>
                  <a:moveTo>
                    <a:pt x="3070" y="161"/>
                  </a:moveTo>
                  <a:cubicBezTo>
                    <a:pt x="3070" y="153"/>
                    <a:pt x="3076" y="147"/>
                    <a:pt x="3084" y="147"/>
                  </a:cubicBezTo>
                  <a:cubicBezTo>
                    <a:pt x="3091" y="147"/>
                    <a:pt x="3098" y="153"/>
                    <a:pt x="3098" y="161"/>
                  </a:cubicBezTo>
                  <a:cubicBezTo>
                    <a:pt x="3098" y="168"/>
                    <a:pt x="3091" y="175"/>
                    <a:pt x="3084" y="175"/>
                  </a:cubicBezTo>
                  <a:cubicBezTo>
                    <a:pt x="3076" y="175"/>
                    <a:pt x="3070" y="168"/>
                    <a:pt x="3070"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
            <p:cNvSpPr>
              <a:spLocks noEditPoints="1"/>
            </p:cNvSpPr>
            <p:nvPr/>
          </p:nvSpPr>
          <p:spPr bwMode="auto">
            <a:xfrm>
              <a:off x="2993" y="950"/>
              <a:ext cx="1921" cy="108"/>
            </a:xfrm>
            <a:custGeom>
              <a:avLst/>
              <a:gdLst>
                <a:gd name="T0" fmla="*/ 146 w 3965"/>
                <a:gd name="T1" fmla="*/ 88 h 222"/>
                <a:gd name="T2" fmla="*/ 277 w 3965"/>
                <a:gd name="T3" fmla="*/ 92 h 222"/>
                <a:gd name="T4" fmla="*/ 213 w 3965"/>
                <a:gd name="T5" fmla="*/ 50 h 222"/>
                <a:gd name="T6" fmla="*/ 321 w 3965"/>
                <a:gd name="T7" fmla="*/ 111 h 222"/>
                <a:gd name="T8" fmla="*/ 423 w 3965"/>
                <a:gd name="T9" fmla="*/ 144 h 222"/>
                <a:gd name="T10" fmla="*/ 421 w 3965"/>
                <a:gd name="T11" fmla="*/ 103 h 222"/>
                <a:gd name="T12" fmla="*/ 593 w 3965"/>
                <a:gd name="T13" fmla="*/ 105 h 222"/>
                <a:gd name="T14" fmla="*/ 546 w 3965"/>
                <a:gd name="T15" fmla="*/ 22 h 222"/>
                <a:gd name="T16" fmla="*/ 776 w 3965"/>
                <a:gd name="T17" fmla="*/ 112 h 222"/>
                <a:gd name="T18" fmla="*/ 719 w 3965"/>
                <a:gd name="T19" fmla="*/ 175 h 222"/>
                <a:gd name="T20" fmla="*/ 800 w 3965"/>
                <a:gd name="T21" fmla="*/ 172 h 222"/>
                <a:gd name="T22" fmla="*/ 853 w 3965"/>
                <a:gd name="T23" fmla="*/ 66 h 222"/>
                <a:gd name="T24" fmla="*/ 917 w 3965"/>
                <a:gd name="T25" fmla="*/ 160 h 222"/>
                <a:gd name="T26" fmla="*/ 916 w 3965"/>
                <a:gd name="T27" fmla="*/ 62 h 222"/>
                <a:gd name="T28" fmla="*/ 1043 w 3965"/>
                <a:gd name="T29" fmla="*/ 46 h 222"/>
                <a:gd name="T30" fmla="*/ 1002 w 3965"/>
                <a:gd name="T31" fmla="*/ 111 h 222"/>
                <a:gd name="T32" fmla="*/ 1148 w 3965"/>
                <a:gd name="T33" fmla="*/ 83 h 222"/>
                <a:gd name="T34" fmla="*/ 1191 w 3965"/>
                <a:gd name="T35" fmla="*/ 46 h 222"/>
                <a:gd name="T36" fmla="*/ 1274 w 3965"/>
                <a:gd name="T37" fmla="*/ 173 h 222"/>
                <a:gd name="T38" fmla="*/ 1368 w 3965"/>
                <a:gd name="T39" fmla="*/ 88 h 222"/>
                <a:gd name="T40" fmla="*/ 1452 w 3965"/>
                <a:gd name="T41" fmla="*/ 19 h 222"/>
                <a:gd name="T42" fmla="*/ 1617 w 3965"/>
                <a:gd name="T43" fmla="*/ 63 h 222"/>
                <a:gd name="T44" fmla="*/ 1581 w 3965"/>
                <a:gd name="T45" fmla="*/ 67 h 222"/>
                <a:gd name="T46" fmla="*/ 1749 w 3965"/>
                <a:gd name="T47" fmla="*/ 46 h 222"/>
                <a:gd name="T48" fmla="*/ 1800 w 3965"/>
                <a:gd name="T49" fmla="*/ 157 h 222"/>
                <a:gd name="T50" fmla="*/ 1749 w 3965"/>
                <a:gd name="T51" fmla="*/ 62 h 222"/>
                <a:gd name="T52" fmla="*/ 1892 w 3965"/>
                <a:gd name="T53" fmla="*/ 172 h 222"/>
                <a:gd name="T54" fmla="*/ 2015 w 3965"/>
                <a:gd name="T55" fmla="*/ 88 h 222"/>
                <a:gd name="T56" fmla="*/ 2063 w 3965"/>
                <a:gd name="T57" fmla="*/ 172 h 222"/>
                <a:gd name="T58" fmla="*/ 2113 w 3965"/>
                <a:gd name="T59" fmla="*/ 142 h 222"/>
                <a:gd name="T60" fmla="*/ 2189 w 3965"/>
                <a:gd name="T61" fmla="*/ 77 h 222"/>
                <a:gd name="T62" fmla="*/ 2219 w 3965"/>
                <a:gd name="T63" fmla="*/ 111 h 222"/>
                <a:gd name="T64" fmla="*/ 2281 w 3965"/>
                <a:gd name="T65" fmla="*/ 158 h 222"/>
                <a:gd name="T66" fmla="*/ 2399 w 3965"/>
                <a:gd name="T67" fmla="*/ 46 h 222"/>
                <a:gd name="T68" fmla="*/ 2358 w 3965"/>
                <a:gd name="T69" fmla="*/ 111 h 222"/>
                <a:gd name="T70" fmla="*/ 2528 w 3965"/>
                <a:gd name="T71" fmla="*/ 150 h 222"/>
                <a:gd name="T72" fmla="*/ 2656 w 3965"/>
                <a:gd name="T73" fmla="*/ 46 h 222"/>
                <a:gd name="T74" fmla="*/ 2707 w 3965"/>
                <a:gd name="T75" fmla="*/ 157 h 222"/>
                <a:gd name="T76" fmla="*/ 2656 w 3965"/>
                <a:gd name="T77" fmla="*/ 62 h 222"/>
                <a:gd name="T78" fmla="*/ 2799 w 3965"/>
                <a:gd name="T79" fmla="*/ 67 h 222"/>
                <a:gd name="T80" fmla="*/ 2823 w 3965"/>
                <a:gd name="T81" fmla="*/ 205 h 222"/>
                <a:gd name="T82" fmla="*/ 2901 w 3965"/>
                <a:gd name="T83" fmla="*/ 50 h 222"/>
                <a:gd name="T84" fmla="*/ 3071 w 3965"/>
                <a:gd name="T85" fmla="*/ 172 h 222"/>
                <a:gd name="T86" fmla="*/ 3071 w 3965"/>
                <a:gd name="T87" fmla="*/ 89 h 222"/>
                <a:gd name="T88" fmla="*/ 3090 w 3965"/>
                <a:gd name="T89" fmla="*/ 172 h 222"/>
                <a:gd name="T90" fmla="*/ 3037 w 3965"/>
                <a:gd name="T91" fmla="*/ 162 h 222"/>
                <a:gd name="T92" fmla="*/ 3126 w 3965"/>
                <a:gd name="T93" fmla="*/ 50 h 222"/>
                <a:gd name="T94" fmla="*/ 3145 w 3965"/>
                <a:gd name="T95" fmla="*/ 66 h 222"/>
                <a:gd name="T96" fmla="*/ 3126 w 3965"/>
                <a:gd name="T97" fmla="*/ 147 h 222"/>
                <a:gd name="T98" fmla="*/ 3326 w 3965"/>
                <a:gd name="T99" fmla="*/ 111 h 222"/>
                <a:gd name="T100" fmla="*/ 3345 w 3965"/>
                <a:gd name="T101" fmla="*/ 88 h 222"/>
                <a:gd name="T102" fmla="*/ 3262 w 3965"/>
                <a:gd name="T103" fmla="*/ 135 h 222"/>
                <a:gd name="T104" fmla="*/ 3406 w 3965"/>
                <a:gd name="T105" fmla="*/ 3 h 222"/>
                <a:gd name="T106" fmla="*/ 3552 w 3965"/>
                <a:gd name="T107" fmla="*/ 19 h 222"/>
                <a:gd name="T108" fmla="*/ 3556 w 3965"/>
                <a:gd name="T109" fmla="*/ 50 h 222"/>
                <a:gd name="T110" fmla="*/ 3732 w 3965"/>
                <a:gd name="T111" fmla="*/ 63 h 222"/>
                <a:gd name="T112" fmla="*/ 3626 w 3965"/>
                <a:gd name="T113" fmla="*/ 83 h 222"/>
                <a:gd name="T114" fmla="*/ 3665 w 3965"/>
                <a:gd name="T115" fmla="*/ 46 h 222"/>
                <a:gd name="T116" fmla="*/ 3798 w 3965"/>
                <a:gd name="T117" fmla="*/ 111 h 222"/>
                <a:gd name="T118" fmla="*/ 3901 w 3965"/>
                <a:gd name="T119" fmla="*/ 144 h 222"/>
                <a:gd name="T120" fmla="*/ 3899 w 3965"/>
                <a:gd name="T121" fmla="*/ 103 h 222"/>
                <a:gd name="T122" fmla="*/ 3937 w 3965"/>
                <a:gd name="T123"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5" h="222">
                  <a:moveTo>
                    <a:pt x="0" y="88"/>
                  </a:moveTo>
                  <a:cubicBezTo>
                    <a:pt x="0" y="38"/>
                    <a:pt x="34" y="0"/>
                    <a:pt x="84" y="0"/>
                  </a:cubicBezTo>
                  <a:cubicBezTo>
                    <a:pt x="134" y="0"/>
                    <a:pt x="168" y="38"/>
                    <a:pt x="168" y="88"/>
                  </a:cubicBezTo>
                  <a:cubicBezTo>
                    <a:pt x="168" y="138"/>
                    <a:pt x="134" y="175"/>
                    <a:pt x="84" y="175"/>
                  </a:cubicBezTo>
                  <a:cubicBezTo>
                    <a:pt x="34" y="175"/>
                    <a:pt x="0" y="138"/>
                    <a:pt x="0" y="88"/>
                  </a:cubicBezTo>
                  <a:close/>
                  <a:moveTo>
                    <a:pt x="146" y="88"/>
                  </a:moveTo>
                  <a:cubicBezTo>
                    <a:pt x="146" y="48"/>
                    <a:pt x="122" y="19"/>
                    <a:pt x="84" y="19"/>
                  </a:cubicBezTo>
                  <a:cubicBezTo>
                    <a:pt x="46" y="19"/>
                    <a:pt x="22" y="48"/>
                    <a:pt x="22" y="88"/>
                  </a:cubicBezTo>
                  <a:cubicBezTo>
                    <a:pt x="22" y="127"/>
                    <a:pt x="46" y="157"/>
                    <a:pt x="84" y="157"/>
                  </a:cubicBezTo>
                  <a:cubicBezTo>
                    <a:pt x="122" y="157"/>
                    <a:pt x="146" y="127"/>
                    <a:pt x="146" y="88"/>
                  </a:cubicBezTo>
                  <a:close/>
                  <a:moveTo>
                    <a:pt x="277" y="172"/>
                  </a:moveTo>
                  <a:cubicBezTo>
                    <a:pt x="277" y="92"/>
                    <a:pt x="277" y="92"/>
                    <a:pt x="277" y="92"/>
                  </a:cubicBezTo>
                  <a:cubicBezTo>
                    <a:pt x="277" y="70"/>
                    <a:pt x="266" y="63"/>
                    <a:pt x="250" y="63"/>
                  </a:cubicBezTo>
                  <a:cubicBezTo>
                    <a:pt x="235" y="63"/>
                    <a:pt x="220" y="73"/>
                    <a:pt x="213" y="83"/>
                  </a:cubicBezTo>
                  <a:cubicBezTo>
                    <a:pt x="213" y="172"/>
                    <a:pt x="213" y="172"/>
                    <a:pt x="213" y="172"/>
                  </a:cubicBezTo>
                  <a:cubicBezTo>
                    <a:pt x="194" y="172"/>
                    <a:pt x="194" y="172"/>
                    <a:pt x="194" y="172"/>
                  </a:cubicBezTo>
                  <a:cubicBezTo>
                    <a:pt x="194" y="50"/>
                    <a:pt x="194" y="50"/>
                    <a:pt x="194" y="50"/>
                  </a:cubicBezTo>
                  <a:cubicBezTo>
                    <a:pt x="213" y="50"/>
                    <a:pt x="213" y="50"/>
                    <a:pt x="213" y="50"/>
                  </a:cubicBezTo>
                  <a:cubicBezTo>
                    <a:pt x="213" y="67"/>
                    <a:pt x="213" y="67"/>
                    <a:pt x="213" y="67"/>
                  </a:cubicBezTo>
                  <a:cubicBezTo>
                    <a:pt x="222" y="57"/>
                    <a:pt x="239" y="46"/>
                    <a:pt x="257" y="46"/>
                  </a:cubicBezTo>
                  <a:cubicBezTo>
                    <a:pt x="283" y="46"/>
                    <a:pt x="296" y="59"/>
                    <a:pt x="296" y="86"/>
                  </a:cubicBezTo>
                  <a:cubicBezTo>
                    <a:pt x="296" y="172"/>
                    <a:pt x="296" y="172"/>
                    <a:pt x="296" y="172"/>
                  </a:cubicBezTo>
                  <a:lnTo>
                    <a:pt x="277" y="172"/>
                  </a:lnTo>
                  <a:close/>
                  <a:moveTo>
                    <a:pt x="321" y="111"/>
                  </a:moveTo>
                  <a:cubicBezTo>
                    <a:pt x="321" y="75"/>
                    <a:pt x="346" y="46"/>
                    <a:pt x="381" y="46"/>
                  </a:cubicBezTo>
                  <a:cubicBezTo>
                    <a:pt x="418" y="46"/>
                    <a:pt x="440" y="75"/>
                    <a:pt x="440" y="112"/>
                  </a:cubicBezTo>
                  <a:cubicBezTo>
                    <a:pt x="440" y="117"/>
                    <a:pt x="440" y="117"/>
                    <a:pt x="440" y="117"/>
                  </a:cubicBezTo>
                  <a:cubicBezTo>
                    <a:pt x="341" y="117"/>
                    <a:pt x="341" y="117"/>
                    <a:pt x="341" y="117"/>
                  </a:cubicBezTo>
                  <a:cubicBezTo>
                    <a:pt x="342" y="140"/>
                    <a:pt x="359" y="160"/>
                    <a:pt x="385" y="160"/>
                  </a:cubicBezTo>
                  <a:cubicBezTo>
                    <a:pt x="399" y="160"/>
                    <a:pt x="413" y="154"/>
                    <a:pt x="423" y="144"/>
                  </a:cubicBezTo>
                  <a:cubicBezTo>
                    <a:pt x="432" y="157"/>
                    <a:pt x="432" y="157"/>
                    <a:pt x="432" y="157"/>
                  </a:cubicBezTo>
                  <a:cubicBezTo>
                    <a:pt x="420" y="169"/>
                    <a:pt x="403" y="175"/>
                    <a:pt x="383" y="175"/>
                  </a:cubicBezTo>
                  <a:cubicBezTo>
                    <a:pt x="347" y="175"/>
                    <a:pt x="321" y="149"/>
                    <a:pt x="321" y="111"/>
                  </a:cubicBezTo>
                  <a:close/>
                  <a:moveTo>
                    <a:pt x="381" y="62"/>
                  </a:moveTo>
                  <a:cubicBezTo>
                    <a:pt x="355" y="62"/>
                    <a:pt x="342" y="84"/>
                    <a:pt x="341" y="103"/>
                  </a:cubicBezTo>
                  <a:cubicBezTo>
                    <a:pt x="421" y="103"/>
                    <a:pt x="421" y="103"/>
                    <a:pt x="421" y="103"/>
                  </a:cubicBezTo>
                  <a:cubicBezTo>
                    <a:pt x="421" y="85"/>
                    <a:pt x="409" y="62"/>
                    <a:pt x="381" y="62"/>
                  </a:cubicBezTo>
                  <a:close/>
                  <a:moveTo>
                    <a:pt x="525" y="172"/>
                  </a:moveTo>
                  <a:cubicBezTo>
                    <a:pt x="525" y="3"/>
                    <a:pt x="525" y="3"/>
                    <a:pt x="525" y="3"/>
                  </a:cubicBezTo>
                  <a:cubicBezTo>
                    <a:pt x="593" y="3"/>
                    <a:pt x="593" y="3"/>
                    <a:pt x="593" y="3"/>
                  </a:cubicBezTo>
                  <a:cubicBezTo>
                    <a:pt x="627" y="3"/>
                    <a:pt x="646" y="26"/>
                    <a:pt x="646" y="54"/>
                  </a:cubicBezTo>
                  <a:cubicBezTo>
                    <a:pt x="646" y="82"/>
                    <a:pt x="626" y="105"/>
                    <a:pt x="593" y="105"/>
                  </a:cubicBezTo>
                  <a:cubicBezTo>
                    <a:pt x="546" y="105"/>
                    <a:pt x="546" y="105"/>
                    <a:pt x="546" y="105"/>
                  </a:cubicBezTo>
                  <a:cubicBezTo>
                    <a:pt x="546" y="172"/>
                    <a:pt x="546" y="172"/>
                    <a:pt x="546" y="172"/>
                  </a:cubicBezTo>
                  <a:lnTo>
                    <a:pt x="525" y="172"/>
                  </a:lnTo>
                  <a:close/>
                  <a:moveTo>
                    <a:pt x="624" y="54"/>
                  </a:moveTo>
                  <a:cubicBezTo>
                    <a:pt x="624" y="35"/>
                    <a:pt x="610" y="22"/>
                    <a:pt x="590" y="22"/>
                  </a:cubicBezTo>
                  <a:cubicBezTo>
                    <a:pt x="546" y="22"/>
                    <a:pt x="546" y="22"/>
                    <a:pt x="546" y="22"/>
                  </a:cubicBezTo>
                  <a:cubicBezTo>
                    <a:pt x="546" y="86"/>
                    <a:pt x="546" y="86"/>
                    <a:pt x="546" y="86"/>
                  </a:cubicBezTo>
                  <a:cubicBezTo>
                    <a:pt x="590" y="86"/>
                    <a:pt x="590" y="86"/>
                    <a:pt x="590" y="86"/>
                  </a:cubicBezTo>
                  <a:cubicBezTo>
                    <a:pt x="610" y="86"/>
                    <a:pt x="624" y="73"/>
                    <a:pt x="624" y="54"/>
                  </a:cubicBezTo>
                  <a:close/>
                  <a:moveTo>
                    <a:pt x="656" y="111"/>
                  </a:moveTo>
                  <a:cubicBezTo>
                    <a:pt x="656" y="75"/>
                    <a:pt x="682" y="46"/>
                    <a:pt x="717" y="46"/>
                  </a:cubicBezTo>
                  <a:cubicBezTo>
                    <a:pt x="754" y="46"/>
                    <a:pt x="776" y="75"/>
                    <a:pt x="776" y="112"/>
                  </a:cubicBezTo>
                  <a:cubicBezTo>
                    <a:pt x="776" y="117"/>
                    <a:pt x="776" y="117"/>
                    <a:pt x="776" y="117"/>
                  </a:cubicBezTo>
                  <a:cubicBezTo>
                    <a:pt x="676" y="117"/>
                    <a:pt x="676" y="117"/>
                    <a:pt x="676" y="117"/>
                  </a:cubicBezTo>
                  <a:cubicBezTo>
                    <a:pt x="678" y="140"/>
                    <a:pt x="694" y="160"/>
                    <a:pt x="721" y="160"/>
                  </a:cubicBezTo>
                  <a:cubicBezTo>
                    <a:pt x="735" y="160"/>
                    <a:pt x="749" y="154"/>
                    <a:pt x="758" y="144"/>
                  </a:cubicBezTo>
                  <a:cubicBezTo>
                    <a:pt x="768" y="157"/>
                    <a:pt x="768" y="157"/>
                    <a:pt x="768" y="157"/>
                  </a:cubicBezTo>
                  <a:cubicBezTo>
                    <a:pt x="755" y="169"/>
                    <a:pt x="739" y="175"/>
                    <a:pt x="719" y="175"/>
                  </a:cubicBezTo>
                  <a:cubicBezTo>
                    <a:pt x="682" y="175"/>
                    <a:pt x="656" y="149"/>
                    <a:pt x="656" y="111"/>
                  </a:cubicBezTo>
                  <a:close/>
                  <a:moveTo>
                    <a:pt x="717" y="62"/>
                  </a:moveTo>
                  <a:cubicBezTo>
                    <a:pt x="690" y="62"/>
                    <a:pt x="677" y="84"/>
                    <a:pt x="676" y="103"/>
                  </a:cubicBezTo>
                  <a:cubicBezTo>
                    <a:pt x="757" y="103"/>
                    <a:pt x="757" y="103"/>
                    <a:pt x="757" y="103"/>
                  </a:cubicBezTo>
                  <a:cubicBezTo>
                    <a:pt x="757" y="85"/>
                    <a:pt x="745" y="62"/>
                    <a:pt x="717" y="62"/>
                  </a:cubicBezTo>
                  <a:close/>
                  <a:moveTo>
                    <a:pt x="800" y="172"/>
                  </a:moveTo>
                  <a:cubicBezTo>
                    <a:pt x="800" y="50"/>
                    <a:pt x="800" y="50"/>
                    <a:pt x="800" y="50"/>
                  </a:cubicBezTo>
                  <a:cubicBezTo>
                    <a:pt x="819" y="50"/>
                    <a:pt x="819" y="50"/>
                    <a:pt x="819" y="50"/>
                  </a:cubicBezTo>
                  <a:cubicBezTo>
                    <a:pt x="819" y="69"/>
                    <a:pt x="819" y="69"/>
                    <a:pt x="819" y="69"/>
                  </a:cubicBezTo>
                  <a:cubicBezTo>
                    <a:pt x="829" y="56"/>
                    <a:pt x="843" y="47"/>
                    <a:pt x="860" y="47"/>
                  </a:cubicBezTo>
                  <a:cubicBezTo>
                    <a:pt x="860" y="67"/>
                    <a:pt x="860" y="67"/>
                    <a:pt x="860" y="67"/>
                  </a:cubicBezTo>
                  <a:cubicBezTo>
                    <a:pt x="858" y="66"/>
                    <a:pt x="856" y="66"/>
                    <a:pt x="853" y="66"/>
                  </a:cubicBezTo>
                  <a:cubicBezTo>
                    <a:pt x="841" y="66"/>
                    <a:pt x="825" y="75"/>
                    <a:pt x="819" y="85"/>
                  </a:cubicBezTo>
                  <a:cubicBezTo>
                    <a:pt x="819" y="172"/>
                    <a:pt x="819" y="172"/>
                    <a:pt x="819" y="172"/>
                  </a:cubicBezTo>
                  <a:lnTo>
                    <a:pt x="800" y="172"/>
                  </a:lnTo>
                  <a:close/>
                  <a:moveTo>
                    <a:pt x="867" y="156"/>
                  </a:moveTo>
                  <a:cubicBezTo>
                    <a:pt x="877" y="142"/>
                    <a:pt x="877" y="142"/>
                    <a:pt x="877" y="142"/>
                  </a:cubicBezTo>
                  <a:cubicBezTo>
                    <a:pt x="885" y="152"/>
                    <a:pt x="901" y="160"/>
                    <a:pt x="917" y="160"/>
                  </a:cubicBezTo>
                  <a:cubicBezTo>
                    <a:pt x="936" y="160"/>
                    <a:pt x="946" y="151"/>
                    <a:pt x="946" y="139"/>
                  </a:cubicBezTo>
                  <a:cubicBezTo>
                    <a:pt x="946" y="109"/>
                    <a:pt x="870" y="127"/>
                    <a:pt x="870" y="82"/>
                  </a:cubicBezTo>
                  <a:cubicBezTo>
                    <a:pt x="870" y="63"/>
                    <a:pt x="887" y="46"/>
                    <a:pt x="916" y="46"/>
                  </a:cubicBezTo>
                  <a:cubicBezTo>
                    <a:pt x="937" y="46"/>
                    <a:pt x="952" y="54"/>
                    <a:pt x="962" y="64"/>
                  </a:cubicBezTo>
                  <a:cubicBezTo>
                    <a:pt x="953" y="77"/>
                    <a:pt x="953" y="77"/>
                    <a:pt x="953" y="77"/>
                  </a:cubicBezTo>
                  <a:cubicBezTo>
                    <a:pt x="945" y="69"/>
                    <a:pt x="932" y="62"/>
                    <a:pt x="916" y="62"/>
                  </a:cubicBezTo>
                  <a:cubicBezTo>
                    <a:pt x="899" y="62"/>
                    <a:pt x="889" y="70"/>
                    <a:pt x="889" y="81"/>
                  </a:cubicBezTo>
                  <a:cubicBezTo>
                    <a:pt x="889" y="108"/>
                    <a:pt x="965" y="90"/>
                    <a:pt x="965" y="138"/>
                  </a:cubicBezTo>
                  <a:cubicBezTo>
                    <a:pt x="965" y="159"/>
                    <a:pt x="948" y="175"/>
                    <a:pt x="917" y="175"/>
                  </a:cubicBezTo>
                  <a:cubicBezTo>
                    <a:pt x="897" y="175"/>
                    <a:pt x="879" y="169"/>
                    <a:pt x="867" y="156"/>
                  </a:cubicBezTo>
                  <a:close/>
                  <a:moveTo>
                    <a:pt x="982" y="111"/>
                  </a:moveTo>
                  <a:cubicBezTo>
                    <a:pt x="982" y="75"/>
                    <a:pt x="1006" y="46"/>
                    <a:pt x="1043" y="46"/>
                  </a:cubicBezTo>
                  <a:cubicBezTo>
                    <a:pt x="1081" y="46"/>
                    <a:pt x="1104" y="75"/>
                    <a:pt x="1104" y="111"/>
                  </a:cubicBezTo>
                  <a:cubicBezTo>
                    <a:pt x="1104" y="146"/>
                    <a:pt x="1081" y="175"/>
                    <a:pt x="1043" y="175"/>
                  </a:cubicBezTo>
                  <a:cubicBezTo>
                    <a:pt x="1006" y="175"/>
                    <a:pt x="982" y="146"/>
                    <a:pt x="982" y="111"/>
                  </a:cubicBezTo>
                  <a:close/>
                  <a:moveTo>
                    <a:pt x="1084" y="111"/>
                  </a:moveTo>
                  <a:cubicBezTo>
                    <a:pt x="1084" y="86"/>
                    <a:pt x="1069" y="63"/>
                    <a:pt x="1043" y="63"/>
                  </a:cubicBezTo>
                  <a:cubicBezTo>
                    <a:pt x="1017" y="63"/>
                    <a:pt x="1002" y="86"/>
                    <a:pt x="1002" y="111"/>
                  </a:cubicBezTo>
                  <a:cubicBezTo>
                    <a:pt x="1002" y="136"/>
                    <a:pt x="1017" y="158"/>
                    <a:pt x="1043" y="158"/>
                  </a:cubicBezTo>
                  <a:cubicBezTo>
                    <a:pt x="1069" y="158"/>
                    <a:pt x="1084" y="136"/>
                    <a:pt x="1084" y="111"/>
                  </a:cubicBezTo>
                  <a:close/>
                  <a:moveTo>
                    <a:pt x="1211" y="172"/>
                  </a:moveTo>
                  <a:cubicBezTo>
                    <a:pt x="1211" y="92"/>
                    <a:pt x="1211" y="92"/>
                    <a:pt x="1211" y="92"/>
                  </a:cubicBezTo>
                  <a:cubicBezTo>
                    <a:pt x="1211" y="70"/>
                    <a:pt x="1201" y="63"/>
                    <a:pt x="1184" y="63"/>
                  </a:cubicBezTo>
                  <a:cubicBezTo>
                    <a:pt x="1169" y="63"/>
                    <a:pt x="1155" y="73"/>
                    <a:pt x="1148" y="83"/>
                  </a:cubicBezTo>
                  <a:cubicBezTo>
                    <a:pt x="1148" y="172"/>
                    <a:pt x="1148" y="172"/>
                    <a:pt x="1148" y="172"/>
                  </a:cubicBezTo>
                  <a:cubicBezTo>
                    <a:pt x="1129" y="172"/>
                    <a:pt x="1129" y="172"/>
                    <a:pt x="1129" y="172"/>
                  </a:cubicBezTo>
                  <a:cubicBezTo>
                    <a:pt x="1129" y="50"/>
                    <a:pt x="1129" y="50"/>
                    <a:pt x="1129" y="50"/>
                  </a:cubicBezTo>
                  <a:cubicBezTo>
                    <a:pt x="1148" y="50"/>
                    <a:pt x="1148" y="50"/>
                    <a:pt x="1148" y="50"/>
                  </a:cubicBezTo>
                  <a:cubicBezTo>
                    <a:pt x="1148" y="67"/>
                    <a:pt x="1148" y="67"/>
                    <a:pt x="1148" y="67"/>
                  </a:cubicBezTo>
                  <a:cubicBezTo>
                    <a:pt x="1156" y="57"/>
                    <a:pt x="1173" y="46"/>
                    <a:pt x="1191" y="46"/>
                  </a:cubicBezTo>
                  <a:cubicBezTo>
                    <a:pt x="1217" y="46"/>
                    <a:pt x="1231" y="59"/>
                    <a:pt x="1231" y="86"/>
                  </a:cubicBezTo>
                  <a:cubicBezTo>
                    <a:pt x="1231" y="172"/>
                    <a:pt x="1231" y="172"/>
                    <a:pt x="1231" y="172"/>
                  </a:cubicBezTo>
                  <a:lnTo>
                    <a:pt x="1211" y="172"/>
                  </a:lnTo>
                  <a:close/>
                  <a:moveTo>
                    <a:pt x="1267" y="205"/>
                  </a:moveTo>
                  <a:cubicBezTo>
                    <a:pt x="1258" y="197"/>
                    <a:pt x="1258" y="197"/>
                    <a:pt x="1258" y="197"/>
                  </a:cubicBezTo>
                  <a:cubicBezTo>
                    <a:pt x="1266" y="191"/>
                    <a:pt x="1273" y="181"/>
                    <a:pt x="1274" y="173"/>
                  </a:cubicBezTo>
                  <a:cubicBezTo>
                    <a:pt x="1274" y="173"/>
                    <a:pt x="1272" y="174"/>
                    <a:pt x="1271" y="174"/>
                  </a:cubicBezTo>
                  <a:cubicBezTo>
                    <a:pt x="1264" y="174"/>
                    <a:pt x="1259" y="168"/>
                    <a:pt x="1259" y="161"/>
                  </a:cubicBezTo>
                  <a:cubicBezTo>
                    <a:pt x="1259" y="153"/>
                    <a:pt x="1264" y="147"/>
                    <a:pt x="1272" y="147"/>
                  </a:cubicBezTo>
                  <a:cubicBezTo>
                    <a:pt x="1280" y="147"/>
                    <a:pt x="1288" y="154"/>
                    <a:pt x="1288" y="166"/>
                  </a:cubicBezTo>
                  <a:cubicBezTo>
                    <a:pt x="1288" y="182"/>
                    <a:pt x="1279" y="196"/>
                    <a:pt x="1267" y="205"/>
                  </a:cubicBezTo>
                  <a:close/>
                  <a:moveTo>
                    <a:pt x="1368" y="88"/>
                  </a:moveTo>
                  <a:cubicBezTo>
                    <a:pt x="1368" y="38"/>
                    <a:pt x="1401" y="0"/>
                    <a:pt x="1452" y="0"/>
                  </a:cubicBezTo>
                  <a:cubicBezTo>
                    <a:pt x="1502" y="0"/>
                    <a:pt x="1536" y="38"/>
                    <a:pt x="1536" y="88"/>
                  </a:cubicBezTo>
                  <a:cubicBezTo>
                    <a:pt x="1536" y="138"/>
                    <a:pt x="1502" y="175"/>
                    <a:pt x="1452" y="175"/>
                  </a:cubicBezTo>
                  <a:cubicBezTo>
                    <a:pt x="1401" y="175"/>
                    <a:pt x="1368" y="138"/>
                    <a:pt x="1368" y="88"/>
                  </a:cubicBezTo>
                  <a:close/>
                  <a:moveTo>
                    <a:pt x="1514" y="88"/>
                  </a:moveTo>
                  <a:cubicBezTo>
                    <a:pt x="1514" y="48"/>
                    <a:pt x="1490" y="19"/>
                    <a:pt x="1452" y="19"/>
                  </a:cubicBezTo>
                  <a:cubicBezTo>
                    <a:pt x="1414" y="19"/>
                    <a:pt x="1389" y="48"/>
                    <a:pt x="1389" y="88"/>
                  </a:cubicBezTo>
                  <a:cubicBezTo>
                    <a:pt x="1389" y="127"/>
                    <a:pt x="1414" y="157"/>
                    <a:pt x="1452" y="157"/>
                  </a:cubicBezTo>
                  <a:cubicBezTo>
                    <a:pt x="1490" y="157"/>
                    <a:pt x="1514" y="127"/>
                    <a:pt x="1514" y="88"/>
                  </a:cubicBezTo>
                  <a:close/>
                  <a:moveTo>
                    <a:pt x="1645" y="172"/>
                  </a:moveTo>
                  <a:cubicBezTo>
                    <a:pt x="1645" y="92"/>
                    <a:pt x="1645" y="92"/>
                    <a:pt x="1645" y="92"/>
                  </a:cubicBezTo>
                  <a:cubicBezTo>
                    <a:pt x="1645" y="70"/>
                    <a:pt x="1634" y="63"/>
                    <a:pt x="1617" y="63"/>
                  </a:cubicBezTo>
                  <a:cubicBezTo>
                    <a:pt x="1602" y="63"/>
                    <a:pt x="1588" y="73"/>
                    <a:pt x="1581" y="83"/>
                  </a:cubicBezTo>
                  <a:cubicBezTo>
                    <a:pt x="1581" y="172"/>
                    <a:pt x="1581" y="172"/>
                    <a:pt x="1581" y="172"/>
                  </a:cubicBezTo>
                  <a:cubicBezTo>
                    <a:pt x="1562" y="172"/>
                    <a:pt x="1562" y="172"/>
                    <a:pt x="1562" y="172"/>
                  </a:cubicBezTo>
                  <a:cubicBezTo>
                    <a:pt x="1562" y="50"/>
                    <a:pt x="1562" y="50"/>
                    <a:pt x="1562" y="50"/>
                  </a:cubicBezTo>
                  <a:cubicBezTo>
                    <a:pt x="1581" y="50"/>
                    <a:pt x="1581" y="50"/>
                    <a:pt x="1581" y="50"/>
                  </a:cubicBezTo>
                  <a:cubicBezTo>
                    <a:pt x="1581" y="67"/>
                    <a:pt x="1581" y="67"/>
                    <a:pt x="1581" y="67"/>
                  </a:cubicBezTo>
                  <a:cubicBezTo>
                    <a:pt x="1590" y="57"/>
                    <a:pt x="1606" y="46"/>
                    <a:pt x="1625" y="46"/>
                  </a:cubicBezTo>
                  <a:cubicBezTo>
                    <a:pt x="1650" y="46"/>
                    <a:pt x="1664" y="59"/>
                    <a:pt x="1664" y="86"/>
                  </a:cubicBezTo>
                  <a:cubicBezTo>
                    <a:pt x="1664" y="172"/>
                    <a:pt x="1664" y="172"/>
                    <a:pt x="1664" y="172"/>
                  </a:cubicBezTo>
                  <a:lnTo>
                    <a:pt x="1645" y="172"/>
                  </a:lnTo>
                  <a:close/>
                  <a:moveTo>
                    <a:pt x="1688" y="111"/>
                  </a:moveTo>
                  <a:cubicBezTo>
                    <a:pt x="1688" y="75"/>
                    <a:pt x="1714" y="46"/>
                    <a:pt x="1749" y="46"/>
                  </a:cubicBezTo>
                  <a:cubicBezTo>
                    <a:pt x="1786" y="46"/>
                    <a:pt x="1808" y="75"/>
                    <a:pt x="1808" y="112"/>
                  </a:cubicBezTo>
                  <a:cubicBezTo>
                    <a:pt x="1808" y="117"/>
                    <a:pt x="1808" y="117"/>
                    <a:pt x="1808" y="117"/>
                  </a:cubicBezTo>
                  <a:cubicBezTo>
                    <a:pt x="1708" y="117"/>
                    <a:pt x="1708" y="117"/>
                    <a:pt x="1708" y="117"/>
                  </a:cubicBezTo>
                  <a:cubicBezTo>
                    <a:pt x="1710" y="140"/>
                    <a:pt x="1726" y="160"/>
                    <a:pt x="1753" y="160"/>
                  </a:cubicBezTo>
                  <a:cubicBezTo>
                    <a:pt x="1767" y="160"/>
                    <a:pt x="1781" y="154"/>
                    <a:pt x="1791" y="144"/>
                  </a:cubicBezTo>
                  <a:cubicBezTo>
                    <a:pt x="1800" y="157"/>
                    <a:pt x="1800" y="157"/>
                    <a:pt x="1800" y="157"/>
                  </a:cubicBezTo>
                  <a:cubicBezTo>
                    <a:pt x="1788" y="169"/>
                    <a:pt x="1771" y="175"/>
                    <a:pt x="1751" y="175"/>
                  </a:cubicBezTo>
                  <a:cubicBezTo>
                    <a:pt x="1715" y="175"/>
                    <a:pt x="1688" y="149"/>
                    <a:pt x="1688" y="111"/>
                  </a:cubicBezTo>
                  <a:close/>
                  <a:moveTo>
                    <a:pt x="1749" y="62"/>
                  </a:moveTo>
                  <a:cubicBezTo>
                    <a:pt x="1722" y="62"/>
                    <a:pt x="1710" y="84"/>
                    <a:pt x="1708" y="103"/>
                  </a:cubicBezTo>
                  <a:cubicBezTo>
                    <a:pt x="1789" y="103"/>
                    <a:pt x="1789" y="103"/>
                    <a:pt x="1789" y="103"/>
                  </a:cubicBezTo>
                  <a:cubicBezTo>
                    <a:pt x="1789" y="85"/>
                    <a:pt x="1777" y="62"/>
                    <a:pt x="1749" y="62"/>
                  </a:cubicBezTo>
                  <a:close/>
                  <a:moveTo>
                    <a:pt x="1892" y="172"/>
                  </a:moveTo>
                  <a:cubicBezTo>
                    <a:pt x="1892" y="3"/>
                    <a:pt x="1892" y="3"/>
                    <a:pt x="1892" y="3"/>
                  </a:cubicBezTo>
                  <a:cubicBezTo>
                    <a:pt x="1950" y="3"/>
                    <a:pt x="1950" y="3"/>
                    <a:pt x="1950" y="3"/>
                  </a:cubicBezTo>
                  <a:cubicBezTo>
                    <a:pt x="2003" y="3"/>
                    <a:pt x="2037" y="40"/>
                    <a:pt x="2037" y="88"/>
                  </a:cubicBezTo>
                  <a:cubicBezTo>
                    <a:pt x="2037" y="136"/>
                    <a:pt x="2003" y="172"/>
                    <a:pt x="1950" y="172"/>
                  </a:cubicBezTo>
                  <a:lnTo>
                    <a:pt x="1892" y="172"/>
                  </a:lnTo>
                  <a:close/>
                  <a:moveTo>
                    <a:pt x="2015" y="88"/>
                  </a:moveTo>
                  <a:cubicBezTo>
                    <a:pt x="2015" y="51"/>
                    <a:pt x="1992" y="22"/>
                    <a:pt x="1950" y="22"/>
                  </a:cubicBezTo>
                  <a:cubicBezTo>
                    <a:pt x="1913" y="22"/>
                    <a:pt x="1913" y="22"/>
                    <a:pt x="1913" y="22"/>
                  </a:cubicBezTo>
                  <a:cubicBezTo>
                    <a:pt x="1913" y="153"/>
                    <a:pt x="1913" y="153"/>
                    <a:pt x="1913" y="153"/>
                  </a:cubicBezTo>
                  <a:cubicBezTo>
                    <a:pt x="1950" y="153"/>
                    <a:pt x="1950" y="153"/>
                    <a:pt x="1950" y="153"/>
                  </a:cubicBezTo>
                  <a:cubicBezTo>
                    <a:pt x="1991" y="153"/>
                    <a:pt x="2015" y="124"/>
                    <a:pt x="2015" y="88"/>
                  </a:cubicBezTo>
                  <a:close/>
                  <a:moveTo>
                    <a:pt x="2060" y="19"/>
                  </a:moveTo>
                  <a:cubicBezTo>
                    <a:pt x="2060" y="12"/>
                    <a:pt x="2066" y="6"/>
                    <a:pt x="2073" y="6"/>
                  </a:cubicBezTo>
                  <a:cubicBezTo>
                    <a:pt x="2080" y="6"/>
                    <a:pt x="2086" y="12"/>
                    <a:pt x="2086" y="19"/>
                  </a:cubicBezTo>
                  <a:cubicBezTo>
                    <a:pt x="2086" y="26"/>
                    <a:pt x="2080" y="32"/>
                    <a:pt x="2073" y="32"/>
                  </a:cubicBezTo>
                  <a:cubicBezTo>
                    <a:pt x="2066" y="32"/>
                    <a:pt x="2060" y="26"/>
                    <a:pt x="2060" y="19"/>
                  </a:cubicBezTo>
                  <a:close/>
                  <a:moveTo>
                    <a:pt x="2063" y="172"/>
                  </a:moveTo>
                  <a:cubicBezTo>
                    <a:pt x="2063" y="50"/>
                    <a:pt x="2063" y="50"/>
                    <a:pt x="2063" y="50"/>
                  </a:cubicBezTo>
                  <a:cubicBezTo>
                    <a:pt x="2082" y="50"/>
                    <a:pt x="2082" y="50"/>
                    <a:pt x="2082" y="50"/>
                  </a:cubicBezTo>
                  <a:cubicBezTo>
                    <a:pt x="2082" y="172"/>
                    <a:pt x="2082" y="172"/>
                    <a:pt x="2082" y="172"/>
                  </a:cubicBezTo>
                  <a:lnTo>
                    <a:pt x="2063" y="172"/>
                  </a:lnTo>
                  <a:close/>
                  <a:moveTo>
                    <a:pt x="2103" y="156"/>
                  </a:moveTo>
                  <a:cubicBezTo>
                    <a:pt x="2113" y="142"/>
                    <a:pt x="2113" y="142"/>
                    <a:pt x="2113" y="142"/>
                  </a:cubicBezTo>
                  <a:cubicBezTo>
                    <a:pt x="2121" y="152"/>
                    <a:pt x="2137" y="160"/>
                    <a:pt x="2154" y="160"/>
                  </a:cubicBezTo>
                  <a:cubicBezTo>
                    <a:pt x="2172" y="160"/>
                    <a:pt x="2183" y="151"/>
                    <a:pt x="2183" y="139"/>
                  </a:cubicBezTo>
                  <a:cubicBezTo>
                    <a:pt x="2183" y="109"/>
                    <a:pt x="2107" y="127"/>
                    <a:pt x="2107" y="82"/>
                  </a:cubicBezTo>
                  <a:cubicBezTo>
                    <a:pt x="2107" y="63"/>
                    <a:pt x="2123" y="46"/>
                    <a:pt x="2152" y="46"/>
                  </a:cubicBezTo>
                  <a:cubicBezTo>
                    <a:pt x="2173" y="46"/>
                    <a:pt x="2188" y="54"/>
                    <a:pt x="2198" y="64"/>
                  </a:cubicBezTo>
                  <a:cubicBezTo>
                    <a:pt x="2189" y="77"/>
                    <a:pt x="2189" y="77"/>
                    <a:pt x="2189" y="77"/>
                  </a:cubicBezTo>
                  <a:cubicBezTo>
                    <a:pt x="2182" y="69"/>
                    <a:pt x="2168" y="62"/>
                    <a:pt x="2152" y="62"/>
                  </a:cubicBezTo>
                  <a:cubicBezTo>
                    <a:pt x="2136" y="62"/>
                    <a:pt x="2125" y="70"/>
                    <a:pt x="2125" y="81"/>
                  </a:cubicBezTo>
                  <a:cubicBezTo>
                    <a:pt x="2125" y="108"/>
                    <a:pt x="2201" y="90"/>
                    <a:pt x="2201" y="138"/>
                  </a:cubicBezTo>
                  <a:cubicBezTo>
                    <a:pt x="2201" y="159"/>
                    <a:pt x="2185" y="175"/>
                    <a:pt x="2153" y="175"/>
                  </a:cubicBezTo>
                  <a:cubicBezTo>
                    <a:pt x="2133" y="175"/>
                    <a:pt x="2116" y="169"/>
                    <a:pt x="2103" y="156"/>
                  </a:cubicBezTo>
                  <a:close/>
                  <a:moveTo>
                    <a:pt x="2219" y="111"/>
                  </a:moveTo>
                  <a:cubicBezTo>
                    <a:pt x="2219" y="74"/>
                    <a:pt x="2243" y="46"/>
                    <a:pt x="2280" y="46"/>
                  </a:cubicBezTo>
                  <a:cubicBezTo>
                    <a:pt x="2302" y="46"/>
                    <a:pt x="2316" y="56"/>
                    <a:pt x="2325" y="68"/>
                  </a:cubicBezTo>
                  <a:cubicBezTo>
                    <a:pt x="2312" y="80"/>
                    <a:pt x="2312" y="80"/>
                    <a:pt x="2312" y="80"/>
                  </a:cubicBezTo>
                  <a:cubicBezTo>
                    <a:pt x="2304" y="68"/>
                    <a:pt x="2294" y="63"/>
                    <a:pt x="2281" y="63"/>
                  </a:cubicBezTo>
                  <a:cubicBezTo>
                    <a:pt x="2255" y="63"/>
                    <a:pt x="2239" y="84"/>
                    <a:pt x="2239" y="111"/>
                  </a:cubicBezTo>
                  <a:cubicBezTo>
                    <a:pt x="2239" y="138"/>
                    <a:pt x="2255" y="158"/>
                    <a:pt x="2281" y="158"/>
                  </a:cubicBezTo>
                  <a:cubicBezTo>
                    <a:pt x="2294" y="158"/>
                    <a:pt x="2304" y="153"/>
                    <a:pt x="2312" y="142"/>
                  </a:cubicBezTo>
                  <a:cubicBezTo>
                    <a:pt x="2325" y="154"/>
                    <a:pt x="2325" y="154"/>
                    <a:pt x="2325" y="154"/>
                  </a:cubicBezTo>
                  <a:cubicBezTo>
                    <a:pt x="2316" y="166"/>
                    <a:pt x="2302" y="175"/>
                    <a:pt x="2280" y="175"/>
                  </a:cubicBezTo>
                  <a:cubicBezTo>
                    <a:pt x="2243" y="175"/>
                    <a:pt x="2219" y="147"/>
                    <a:pt x="2219" y="111"/>
                  </a:cubicBezTo>
                  <a:close/>
                  <a:moveTo>
                    <a:pt x="2338" y="111"/>
                  </a:moveTo>
                  <a:cubicBezTo>
                    <a:pt x="2338" y="75"/>
                    <a:pt x="2362" y="46"/>
                    <a:pt x="2399" y="46"/>
                  </a:cubicBezTo>
                  <a:cubicBezTo>
                    <a:pt x="2436" y="46"/>
                    <a:pt x="2460" y="75"/>
                    <a:pt x="2460" y="111"/>
                  </a:cubicBezTo>
                  <a:cubicBezTo>
                    <a:pt x="2460" y="146"/>
                    <a:pt x="2436" y="175"/>
                    <a:pt x="2399" y="175"/>
                  </a:cubicBezTo>
                  <a:cubicBezTo>
                    <a:pt x="2362" y="175"/>
                    <a:pt x="2338" y="146"/>
                    <a:pt x="2338" y="111"/>
                  </a:cubicBezTo>
                  <a:close/>
                  <a:moveTo>
                    <a:pt x="2440" y="111"/>
                  </a:moveTo>
                  <a:cubicBezTo>
                    <a:pt x="2440" y="86"/>
                    <a:pt x="2425" y="63"/>
                    <a:pt x="2399" y="63"/>
                  </a:cubicBezTo>
                  <a:cubicBezTo>
                    <a:pt x="2373" y="63"/>
                    <a:pt x="2358" y="86"/>
                    <a:pt x="2358" y="111"/>
                  </a:cubicBezTo>
                  <a:cubicBezTo>
                    <a:pt x="2358" y="136"/>
                    <a:pt x="2373" y="158"/>
                    <a:pt x="2399" y="158"/>
                  </a:cubicBezTo>
                  <a:cubicBezTo>
                    <a:pt x="2425" y="158"/>
                    <a:pt x="2440" y="136"/>
                    <a:pt x="2440" y="111"/>
                  </a:cubicBezTo>
                  <a:close/>
                  <a:moveTo>
                    <a:pt x="2517" y="172"/>
                  </a:moveTo>
                  <a:cubicBezTo>
                    <a:pt x="2466" y="50"/>
                    <a:pt x="2466" y="50"/>
                    <a:pt x="2466" y="50"/>
                  </a:cubicBezTo>
                  <a:cubicBezTo>
                    <a:pt x="2487" y="50"/>
                    <a:pt x="2487" y="50"/>
                    <a:pt x="2487" y="50"/>
                  </a:cubicBezTo>
                  <a:cubicBezTo>
                    <a:pt x="2528" y="150"/>
                    <a:pt x="2528" y="150"/>
                    <a:pt x="2528" y="150"/>
                  </a:cubicBezTo>
                  <a:cubicBezTo>
                    <a:pt x="2568" y="50"/>
                    <a:pt x="2568" y="50"/>
                    <a:pt x="2568" y="50"/>
                  </a:cubicBezTo>
                  <a:cubicBezTo>
                    <a:pt x="2589" y="50"/>
                    <a:pt x="2589" y="50"/>
                    <a:pt x="2589" y="50"/>
                  </a:cubicBezTo>
                  <a:cubicBezTo>
                    <a:pt x="2538" y="172"/>
                    <a:pt x="2538" y="172"/>
                    <a:pt x="2538" y="172"/>
                  </a:cubicBezTo>
                  <a:lnTo>
                    <a:pt x="2517" y="172"/>
                  </a:lnTo>
                  <a:close/>
                  <a:moveTo>
                    <a:pt x="2595" y="111"/>
                  </a:moveTo>
                  <a:cubicBezTo>
                    <a:pt x="2595" y="75"/>
                    <a:pt x="2621" y="46"/>
                    <a:pt x="2656" y="46"/>
                  </a:cubicBezTo>
                  <a:cubicBezTo>
                    <a:pt x="2693" y="46"/>
                    <a:pt x="2715" y="75"/>
                    <a:pt x="2715" y="112"/>
                  </a:cubicBezTo>
                  <a:cubicBezTo>
                    <a:pt x="2715" y="117"/>
                    <a:pt x="2715" y="117"/>
                    <a:pt x="2715" y="117"/>
                  </a:cubicBezTo>
                  <a:cubicBezTo>
                    <a:pt x="2616" y="117"/>
                    <a:pt x="2616" y="117"/>
                    <a:pt x="2616" y="117"/>
                  </a:cubicBezTo>
                  <a:cubicBezTo>
                    <a:pt x="2617" y="140"/>
                    <a:pt x="2633" y="160"/>
                    <a:pt x="2660" y="160"/>
                  </a:cubicBezTo>
                  <a:cubicBezTo>
                    <a:pt x="2674" y="160"/>
                    <a:pt x="2688" y="154"/>
                    <a:pt x="2698" y="144"/>
                  </a:cubicBezTo>
                  <a:cubicBezTo>
                    <a:pt x="2707" y="157"/>
                    <a:pt x="2707" y="157"/>
                    <a:pt x="2707" y="157"/>
                  </a:cubicBezTo>
                  <a:cubicBezTo>
                    <a:pt x="2695" y="169"/>
                    <a:pt x="2678" y="175"/>
                    <a:pt x="2658" y="175"/>
                  </a:cubicBezTo>
                  <a:cubicBezTo>
                    <a:pt x="2622" y="175"/>
                    <a:pt x="2595" y="149"/>
                    <a:pt x="2595" y="111"/>
                  </a:cubicBezTo>
                  <a:close/>
                  <a:moveTo>
                    <a:pt x="2656" y="62"/>
                  </a:moveTo>
                  <a:cubicBezTo>
                    <a:pt x="2630" y="62"/>
                    <a:pt x="2617" y="84"/>
                    <a:pt x="2616" y="103"/>
                  </a:cubicBezTo>
                  <a:cubicBezTo>
                    <a:pt x="2696" y="103"/>
                    <a:pt x="2696" y="103"/>
                    <a:pt x="2696" y="103"/>
                  </a:cubicBezTo>
                  <a:cubicBezTo>
                    <a:pt x="2696" y="85"/>
                    <a:pt x="2684" y="62"/>
                    <a:pt x="2656" y="62"/>
                  </a:cubicBezTo>
                  <a:close/>
                  <a:moveTo>
                    <a:pt x="2739" y="172"/>
                  </a:moveTo>
                  <a:cubicBezTo>
                    <a:pt x="2739" y="50"/>
                    <a:pt x="2739" y="50"/>
                    <a:pt x="2739" y="50"/>
                  </a:cubicBezTo>
                  <a:cubicBezTo>
                    <a:pt x="2758" y="50"/>
                    <a:pt x="2758" y="50"/>
                    <a:pt x="2758" y="50"/>
                  </a:cubicBezTo>
                  <a:cubicBezTo>
                    <a:pt x="2758" y="69"/>
                    <a:pt x="2758" y="69"/>
                    <a:pt x="2758" y="69"/>
                  </a:cubicBezTo>
                  <a:cubicBezTo>
                    <a:pt x="2768" y="56"/>
                    <a:pt x="2783" y="47"/>
                    <a:pt x="2799" y="47"/>
                  </a:cubicBezTo>
                  <a:cubicBezTo>
                    <a:pt x="2799" y="67"/>
                    <a:pt x="2799" y="67"/>
                    <a:pt x="2799" y="67"/>
                  </a:cubicBezTo>
                  <a:cubicBezTo>
                    <a:pt x="2797" y="66"/>
                    <a:pt x="2795" y="66"/>
                    <a:pt x="2792" y="66"/>
                  </a:cubicBezTo>
                  <a:cubicBezTo>
                    <a:pt x="2780" y="66"/>
                    <a:pt x="2764" y="75"/>
                    <a:pt x="2758" y="85"/>
                  </a:cubicBezTo>
                  <a:cubicBezTo>
                    <a:pt x="2758" y="172"/>
                    <a:pt x="2758" y="172"/>
                    <a:pt x="2758" y="172"/>
                  </a:cubicBezTo>
                  <a:lnTo>
                    <a:pt x="2739" y="172"/>
                  </a:lnTo>
                  <a:close/>
                  <a:moveTo>
                    <a:pt x="2813" y="203"/>
                  </a:moveTo>
                  <a:cubicBezTo>
                    <a:pt x="2816" y="204"/>
                    <a:pt x="2820" y="205"/>
                    <a:pt x="2823" y="205"/>
                  </a:cubicBezTo>
                  <a:cubicBezTo>
                    <a:pt x="2832" y="205"/>
                    <a:pt x="2837" y="202"/>
                    <a:pt x="2842" y="192"/>
                  </a:cubicBezTo>
                  <a:cubicBezTo>
                    <a:pt x="2850" y="174"/>
                    <a:pt x="2850" y="174"/>
                    <a:pt x="2850" y="174"/>
                  </a:cubicBezTo>
                  <a:cubicBezTo>
                    <a:pt x="2799" y="50"/>
                    <a:pt x="2799" y="50"/>
                    <a:pt x="2799" y="50"/>
                  </a:cubicBezTo>
                  <a:cubicBezTo>
                    <a:pt x="2819" y="50"/>
                    <a:pt x="2819" y="50"/>
                    <a:pt x="2819" y="50"/>
                  </a:cubicBezTo>
                  <a:cubicBezTo>
                    <a:pt x="2860" y="150"/>
                    <a:pt x="2860" y="150"/>
                    <a:pt x="2860" y="150"/>
                  </a:cubicBezTo>
                  <a:cubicBezTo>
                    <a:pt x="2901" y="50"/>
                    <a:pt x="2901" y="50"/>
                    <a:pt x="2901" y="50"/>
                  </a:cubicBezTo>
                  <a:cubicBezTo>
                    <a:pt x="2922" y="50"/>
                    <a:pt x="2922" y="50"/>
                    <a:pt x="2922" y="50"/>
                  </a:cubicBezTo>
                  <a:cubicBezTo>
                    <a:pt x="2860" y="197"/>
                    <a:pt x="2860" y="197"/>
                    <a:pt x="2860" y="197"/>
                  </a:cubicBezTo>
                  <a:cubicBezTo>
                    <a:pt x="2853" y="215"/>
                    <a:pt x="2840" y="222"/>
                    <a:pt x="2824" y="222"/>
                  </a:cubicBezTo>
                  <a:cubicBezTo>
                    <a:pt x="2820" y="222"/>
                    <a:pt x="2814" y="221"/>
                    <a:pt x="2810" y="220"/>
                  </a:cubicBezTo>
                  <a:lnTo>
                    <a:pt x="2813" y="203"/>
                  </a:lnTo>
                  <a:close/>
                  <a:moveTo>
                    <a:pt x="3071" y="172"/>
                  </a:moveTo>
                  <a:cubicBezTo>
                    <a:pt x="3071" y="158"/>
                    <a:pt x="3071" y="158"/>
                    <a:pt x="3071" y="158"/>
                  </a:cubicBezTo>
                  <a:cubicBezTo>
                    <a:pt x="3061" y="169"/>
                    <a:pt x="3047" y="175"/>
                    <a:pt x="3030" y="175"/>
                  </a:cubicBezTo>
                  <a:cubicBezTo>
                    <a:pt x="3010" y="175"/>
                    <a:pt x="2987" y="161"/>
                    <a:pt x="2987" y="135"/>
                  </a:cubicBezTo>
                  <a:cubicBezTo>
                    <a:pt x="2987" y="107"/>
                    <a:pt x="3010" y="94"/>
                    <a:pt x="3030" y="94"/>
                  </a:cubicBezTo>
                  <a:cubicBezTo>
                    <a:pt x="3047" y="94"/>
                    <a:pt x="3061" y="100"/>
                    <a:pt x="3071" y="111"/>
                  </a:cubicBezTo>
                  <a:cubicBezTo>
                    <a:pt x="3071" y="89"/>
                    <a:pt x="3071" y="89"/>
                    <a:pt x="3071" y="89"/>
                  </a:cubicBezTo>
                  <a:cubicBezTo>
                    <a:pt x="3071" y="72"/>
                    <a:pt x="3058" y="63"/>
                    <a:pt x="3040" y="63"/>
                  </a:cubicBezTo>
                  <a:cubicBezTo>
                    <a:pt x="3025" y="63"/>
                    <a:pt x="3013" y="68"/>
                    <a:pt x="3002" y="80"/>
                  </a:cubicBezTo>
                  <a:cubicBezTo>
                    <a:pt x="2994" y="67"/>
                    <a:pt x="2994" y="67"/>
                    <a:pt x="2994" y="67"/>
                  </a:cubicBezTo>
                  <a:cubicBezTo>
                    <a:pt x="3007" y="53"/>
                    <a:pt x="3023" y="46"/>
                    <a:pt x="3043" y="46"/>
                  </a:cubicBezTo>
                  <a:cubicBezTo>
                    <a:pt x="3069" y="46"/>
                    <a:pt x="3090" y="58"/>
                    <a:pt x="3090" y="88"/>
                  </a:cubicBezTo>
                  <a:cubicBezTo>
                    <a:pt x="3090" y="172"/>
                    <a:pt x="3090" y="172"/>
                    <a:pt x="3090" y="172"/>
                  </a:cubicBezTo>
                  <a:lnTo>
                    <a:pt x="3071" y="172"/>
                  </a:lnTo>
                  <a:close/>
                  <a:moveTo>
                    <a:pt x="3071" y="146"/>
                  </a:moveTo>
                  <a:cubicBezTo>
                    <a:pt x="3071" y="123"/>
                    <a:pt x="3071" y="123"/>
                    <a:pt x="3071" y="123"/>
                  </a:cubicBezTo>
                  <a:cubicBezTo>
                    <a:pt x="3064" y="113"/>
                    <a:pt x="3051" y="108"/>
                    <a:pt x="3037" y="108"/>
                  </a:cubicBezTo>
                  <a:cubicBezTo>
                    <a:pt x="3019" y="108"/>
                    <a:pt x="3007" y="119"/>
                    <a:pt x="3007" y="135"/>
                  </a:cubicBezTo>
                  <a:cubicBezTo>
                    <a:pt x="3007" y="150"/>
                    <a:pt x="3019" y="162"/>
                    <a:pt x="3037" y="162"/>
                  </a:cubicBezTo>
                  <a:cubicBezTo>
                    <a:pt x="3051" y="162"/>
                    <a:pt x="3064" y="157"/>
                    <a:pt x="3071" y="146"/>
                  </a:cubicBezTo>
                  <a:close/>
                  <a:moveTo>
                    <a:pt x="3126" y="147"/>
                  </a:moveTo>
                  <a:cubicBezTo>
                    <a:pt x="3126" y="66"/>
                    <a:pt x="3126" y="66"/>
                    <a:pt x="3126" y="66"/>
                  </a:cubicBezTo>
                  <a:cubicBezTo>
                    <a:pt x="3105" y="66"/>
                    <a:pt x="3105" y="66"/>
                    <a:pt x="3105" y="66"/>
                  </a:cubicBezTo>
                  <a:cubicBezTo>
                    <a:pt x="3105" y="50"/>
                    <a:pt x="3105" y="50"/>
                    <a:pt x="3105" y="50"/>
                  </a:cubicBezTo>
                  <a:cubicBezTo>
                    <a:pt x="3126" y="50"/>
                    <a:pt x="3126" y="50"/>
                    <a:pt x="3126" y="50"/>
                  </a:cubicBezTo>
                  <a:cubicBezTo>
                    <a:pt x="3126" y="16"/>
                    <a:pt x="3126" y="16"/>
                    <a:pt x="3126" y="16"/>
                  </a:cubicBezTo>
                  <a:cubicBezTo>
                    <a:pt x="3145" y="16"/>
                    <a:pt x="3145" y="16"/>
                    <a:pt x="3145" y="16"/>
                  </a:cubicBezTo>
                  <a:cubicBezTo>
                    <a:pt x="3145" y="50"/>
                    <a:pt x="3145" y="50"/>
                    <a:pt x="3145" y="50"/>
                  </a:cubicBezTo>
                  <a:cubicBezTo>
                    <a:pt x="3170" y="50"/>
                    <a:pt x="3170" y="50"/>
                    <a:pt x="3170" y="50"/>
                  </a:cubicBezTo>
                  <a:cubicBezTo>
                    <a:pt x="3170" y="66"/>
                    <a:pt x="3170" y="66"/>
                    <a:pt x="3170" y="66"/>
                  </a:cubicBezTo>
                  <a:cubicBezTo>
                    <a:pt x="3145" y="66"/>
                    <a:pt x="3145" y="66"/>
                    <a:pt x="3145" y="66"/>
                  </a:cubicBezTo>
                  <a:cubicBezTo>
                    <a:pt x="3145" y="143"/>
                    <a:pt x="3145" y="143"/>
                    <a:pt x="3145" y="143"/>
                  </a:cubicBezTo>
                  <a:cubicBezTo>
                    <a:pt x="3145" y="152"/>
                    <a:pt x="3149" y="158"/>
                    <a:pt x="3157" y="158"/>
                  </a:cubicBezTo>
                  <a:cubicBezTo>
                    <a:pt x="3163" y="158"/>
                    <a:pt x="3168" y="156"/>
                    <a:pt x="3170" y="153"/>
                  </a:cubicBezTo>
                  <a:cubicBezTo>
                    <a:pt x="3176" y="167"/>
                    <a:pt x="3176" y="167"/>
                    <a:pt x="3176" y="167"/>
                  </a:cubicBezTo>
                  <a:cubicBezTo>
                    <a:pt x="3171" y="172"/>
                    <a:pt x="3164" y="175"/>
                    <a:pt x="3153" y="175"/>
                  </a:cubicBezTo>
                  <a:cubicBezTo>
                    <a:pt x="3135" y="175"/>
                    <a:pt x="3126" y="165"/>
                    <a:pt x="3126" y="147"/>
                  </a:cubicBezTo>
                  <a:close/>
                  <a:moveTo>
                    <a:pt x="3326" y="172"/>
                  </a:moveTo>
                  <a:cubicBezTo>
                    <a:pt x="3326" y="158"/>
                    <a:pt x="3326" y="158"/>
                    <a:pt x="3326" y="158"/>
                  </a:cubicBezTo>
                  <a:cubicBezTo>
                    <a:pt x="3316" y="169"/>
                    <a:pt x="3302" y="175"/>
                    <a:pt x="3286" y="175"/>
                  </a:cubicBezTo>
                  <a:cubicBezTo>
                    <a:pt x="3265" y="175"/>
                    <a:pt x="3243" y="161"/>
                    <a:pt x="3243" y="135"/>
                  </a:cubicBezTo>
                  <a:cubicBezTo>
                    <a:pt x="3243" y="107"/>
                    <a:pt x="3265" y="94"/>
                    <a:pt x="3286" y="94"/>
                  </a:cubicBezTo>
                  <a:cubicBezTo>
                    <a:pt x="3302" y="94"/>
                    <a:pt x="3316" y="100"/>
                    <a:pt x="3326" y="111"/>
                  </a:cubicBezTo>
                  <a:cubicBezTo>
                    <a:pt x="3326" y="89"/>
                    <a:pt x="3326" y="89"/>
                    <a:pt x="3326" y="89"/>
                  </a:cubicBezTo>
                  <a:cubicBezTo>
                    <a:pt x="3326" y="72"/>
                    <a:pt x="3313" y="63"/>
                    <a:pt x="3295" y="63"/>
                  </a:cubicBezTo>
                  <a:cubicBezTo>
                    <a:pt x="3281" y="63"/>
                    <a:pt x="3269" y="68"/>
                    <a:pt x="3258" y="80"/>
                  </a:cubicBezTo>
                  <a:cubicBezTo>
                    <a:pt x="3249" y="67"/>
                    <a:pt x="3249" y="67"/>
                    <a:pt x="3249" y="67"/>
                  </a:cubicBezTo>
                  <a:cubicBezTo>
                    <a:pt x="3262" y="53"/>
                    <a:pt x="3278" y="46"/>
                    <a:pt x="3298" y="46"/>
                  </a:cubicBezTo>
                  <a:cubicBezTo>
                    <a:pt x="3324" y="46"/>
                    <a:pt x="3345" y="58"/>
                    <a:pt x="3345" y="88"/>
                  </a:cubicBezTo>
                  <a:cubicBezTo>
                    <a:pt x="3345" y="172"/>
                    <a:pt x="3345" y="172"/>
                    <a:pt x="3345" y="172"/>
                  </a:cubicBezTo>
                  <a:lnTo>
                    <a:pt x="3326" y="172"/>
                  </a:lnTo>
                  <a:close/>
                  <a:moveTo>
                    <a:pt x="3326" y="146"/>
                  </a:moveTo>
                  <a:cubicBezTo>
                    <a:pt x="3326" y="123"/>
                    <a:pt x="3326" y="123"/>
                    <a:pt x="3326" y="123"/>
                  </a:cubicBezTo>
                  <a:cubicBezTo>
                    <a:pt x="3319" y="113"/>
                    <a:pt x="3306" y="108"/>
                    <a:pt x="3293" y="108"/>
                  </a:cubicBezTo>
                  <a:cubicBezTo>
                    <a:pt x="3275" y="108"/>
                    <a:pt x="3262" y="119"/>
                    <a:pt x="3262" y="135"/>
                  </a:cubicBezTo>
                  <a:cubicBezTo>
                    <a:pt x="3262" y="150"/>
                    <a:pt x="3275" y="162"/>
                    <a:pt x="3293" y="162"/>
                  </a:cubicBezTo>
                  <a:cubicBezTo>
                    <a:pt x="3306" y="162"/>
                    <a:pt x="3319" y="157"/>
                    <a:pt x="3326" y="146"/>
                  </a:cubicBezTo>
                  <a:close/>
                  <a:moveTo>
                    <a:pt x="3460" y="172"/>
                  </a:moveTo>
                  <a:cubicBezTo>
                    <a:pt x="3460" y="22"/>
                    <a:pt x="3460" y="22"/>
                    <a:pt x="3460" y="22"/>
                  </a:cubicBezTo>
                  <a:cubicBezTo>
                    <a:pt x="3406" y="22"/>
                    <a:pt x="3406" y="22"/>
                    <a:pt x="3406" y="22"/>
                  </a:cubicBezTo>
                  <a:cubicBezTo>
                    <a:pt x="3406" y="3"/>
                    <a:pt x="3406" y="3"/>
                    <a:pt x="3406" y="3"/>
                  </a:cubicBezTo>
                  <a:cubicBezTo>
                    <a:pt x="3535" y="3"/>
                    <a:pt x="3535" y="3"/>
                    <a:pt x="3535" y="3"/>
                  </a:cubicBezTo>
                  <a:cubicBezTo>
                    <a:pt x="3535" y="22"/>
                    <a:pt x="3535" y="22"/>
                    <a:pt x="3535" y="22"/>
                  </a:cubicBezTo>
                  <a:cubicBezTo>
                    <a:pt x="3481" y="22"/>
                    <a:pt x="3481" y="22"/>
                    <a:pt x="3481" y="22"/>
                  </a:cubicBezTo>
                  <a:cubicBezTo>
                    <a:pt x="3481" y="172"/>
                    <a:pt x="3481" y="172"/>
                    <a:pt x="3481" y="172"/>
                  </a:cubicBezTo>
                  <a:lnTo>
                    <a:pt x="3460" y="172"/>
                  </a:lnTo>
                  <a:close/>
                  <a:moveTo>
                    <a:pt x="3552" y="19"/>
                  </a:moveTo>
                  <a:cubicBezTo>
                    <a:pt x="3552" y="12"/>
                    <a:pt x="3558" y="6"/>
                    <a:pt x="3565" y="6"/>
                  </a:cubicBezTo>
                  <a:cubicBezTo>
                    <a:pt x="3572" y="6"/>
                    <a:pt x="3578" y="12"/>
                    <a:pt x="3578" y="19"/>
                  </a:cubicBezTo>
                  <a:cubicBezTo>
                    <a:pt x="3578" y="26"/>
                    <a:pt x="3572" y="32"/>
                    <a:pt x="3565" y="32"/>
                  </a:cubicBezTo>
                  <a:cubicBezTo>
                    <a:pt x="3558" y="32"/>
                    <a:pt x="3552" y="26"/>
                    <a:pt x="3552" y="19"/>
                  </a:cubicBezTo>
                  <a:close/>
                  <a:moveTo>
                    <a:pt x="3556" y="172"/>
                  </a:moveTo>
                  <a:cubicBezTo>
                    <a:pt x="3556" y="50"/>
                    <a:pt x="3556" y="50"/>
                    <a:pt x="3556" y="50"/>
                  </a:cubicBezTo>
                  <a:cubicBezTo>
                    <a:pt x="3575" y="50"/>
                    <a:pt x="3575" y="50"/>
                    <a:pt x="3575" y="50"/>
                  </a:cubicBezTo>
                  <a:cubicBezTo>
                    <a:pt x="3575" y="172"/>
                    <a:pt x="3575" y="172"/>
                    <a:pt x="3575" y="172"/>
                  </a:cubicBezTo>
                  <a:lnTo>
                    <a:pt x="3556" y="172"/>
                  </a:lnTo>
                  <a:close/>
                  <a:moveTo>
                    <a:pt x="3755" y="172"/>
                  </a:moveTo>
                  <a:cubicBezTo>
                    <a:pt x="3755" y="89"/>
                    <a:pt x="3755" y="89"/>
                    <a:pt x="3755" y="89"/>
                  </a:cubicBezTo>
                  <a:cubicBezTo>
                    <a:pt x="3755" y="73"/>
                    <a:pt x="3748" y="63"/>
                    <a:pt x="3732" y="63"/>
                  </a:cubicBezTo>
                  <a:cubicBezTo>
                    <a:pt x="3719" y="63"/>
                    <a:pt x="3706" y="73"/>
                    <a:pt x="3700" y="82"/>
                  </a:cubicBezTo>
                  <a:cubicBezTo>
                    <a:pt x="3700" y="172"/>
                    <a:pt x="3700" y="172"/>
                    <a:pt x="3700" y="172"/>
                  </a:cubicBezTo>
                  <a:cubicBezTo>
                    <a:pt x="3680" y="172"/>
                    <a:pt x="3680" y="172"/>
                    <a:pt x="3680" y="172"/>
                  </a:cubicBezTo>
                  <a:cubicBezTo>
                    <a:pt x="3680" y="89"/>
                    <a:pt x="3680" y="89"/>
                    <a:pt x="3680" y="89"/>
                  </a:cubicBezTo>
                  <a:cubicBezTo>
                    <a:pt x="3680" y="73"/>
                    <a:pt x="3674" y="63"/>
                    <a:pt x="3658" y="63"/>
                  </a:cubicBezTo>
                  <a:cubicBezTo>
                    <a:pt x="3645" y="63"/>
                    <a:pt x="3632" y="73"/>
                    <a:pt x="3626" y="83"/>
                  </a:cubicBezTo>
                  <a:cubicBezTo>
                    <a:pt x="3626" y="172"/>
                    <a:pt x="3626" y="172"/>
                    <a:pt x="3626" y="172"/>
                  </a:cubicBezTo>
                  <a:cubicBezTo>
                    <a:pt x="3606" y="172"/>
                    <a:pt x="3606" y="172"/>
                    <a:pt x="3606" y="172"/>
                  </a:cubicBezTo>
                  <a:cubicBezTo>
                    <a:pt x="3606" y="50"/>
                    <a:pt x="3606" y="50"/>
                    <a:pt x="3606" y="50"/>
                  </a:cubicBezTo>
                  <a:cubicBezTo>
                    <a:pt x="3626" y="50"/>
                    <a:pt x="3626" y="50"/>
                    <a:pt x="3626" y="50"/>
                  </a:cubicBezTo>
                  <a:cubicBezTo>
                    <a:pt x="3626" y="67"/>
                    <a:pt x="3626" y="67"/>
                    <a:pt x="3626" y="67"/>
                  </a:cubicBezTo>
                  <a:cubicBezTo>
                    <a:pt x="3631" y="59"/>
                    <a:pt x="3647" y="46"/>
                    <a:pt x="3665" y="46"/>
                  </a:cubicBezTo>
                  <a:cubicBezTo>
                    <a:pt x="3684" y="46"/>
                    <a:pt x="3695" y="57"/>
                    <a:pt x="3698" y="69"/>
                  </a:cubicBezTo>
                  <a:cubicBezTo>
                    <a:pt x="3705" y="58"/>
                    <a:pt x="3722" y="46"/>
                    <a:pt x="3739" y="46"/>
                  </a:cubicBezTo>
                  <a:cubicBezTo>
                    <a:pt x="3762" y="46"/>
                    <a:pt x="3774" y="59"/>
                    <a:pt x="3774" y="84"/>
                  </a:cubicBezTo>
                  <a:cubicBezTo>
                    <a:pt x="3774" y="172"/>
                    <a:pt x="3774" y="172"/>
                    <a:pt x="3774" y="172"/>
                  </a:cubicBezTo>
                  <a:lnTo>
                    <a:pt x="3755" y="172"/>
                  </a:lnTo>
                  <a:close/>
                  <a:moveTo>
                    <a:pt x="3798" y="111"/>
                  </a:moveTo>
                  <a:cubicBezTo>
                    <a:pt x="3798" y="75"/>
                    <a:pt x="3824" y="46"/>
                    <a:pt x="3859" y="46"/>
                  </a:cubicBezTo>
                  <a:cubicBezTo>
                    <a:pt x="3896" y="46"/>
                    <a:pt x="3918" y="75"/>
                    <a:pt x="3918" y="112"/>
                  </a:cubicBezTo>
                  <a:cubicBezTo>
                    <a:pt x="3918" y="117"/>
                    <a:pt x="3918" y="117"/>
                    <a:pt x="3918" y="117"/>
                  </a:cubicBezTo>
                  <a:cubicBezTo>
                    <a:pt x="3818" y="117"/>
                    <a:pt x="3818" y="117"/>
                    <a:pt x="3818" y="117"/>
                  </a:cubicBezTo>
                  <a:cubicBezTo>
                    <a:pt x="3820" y="140"/>
                    <a:pt x="3836" y="160"/>
                    <a:pt x="3863" y="160"/>
                  </a:cubicBezTo>
                  <a:cubicBezTo>
                    <a:pt x="3877" y="160"/>
                    <a:pt x="3891" y="154"/>
                    <a:pt x="3901" y="144"/>
                  </a:cubicBezTo>
                  <a:cubicBezTo>
                    <a:pt x="3910" y="157"/>
                    <a:pt x="3910" y="157"/>
                    <a:pt x="3910" y="157"/>
                  </a:cubicBezTo>
                  <a:cubicBezTo>
                    <a:pt x="3898" y="169"/>
                    <a:pt x="3881" y="175"/>
                    <a:pt x="3861" y="175"/>
                  </a:cubicBezTo>
                  <a:cubicBezTo>
                    <a:pt x="3825" y="175"/>
                    <a:pt x="3798" y="149"/>
                    <a:pt x="3798" y="111"/>
                  </a:cubicBezTo>
                  <a:close/>
                  <a:moveTo>
                    <a:pt x="3859" y="62"/>
                  </a:moveTo>
                  <a:cubicBezTo>
                    <a:pt x="3832" y="62"/>
                    <a:pt x="3820" y="84"/>
                    <a:pt x="3818" y="103"/>
                  </a:cubicBezTo>
                  <a:cubicBezTo>
                    <a:pt x="3899" y="103"/>
                    <a:pt x="3899" y="103"/>
                    <a:pt x="3899" y="103"/>
                  </a:cubicBezTo>
                  <a:cubicBezTo>
                    <a:pt x="3899" y="85"/>
                    <a:pt x="3887" y="62"/>
                    <a:pt x="3859" y="62"/>
                  </a:cubicBezTo>
                  <a:close/>
                  <a:moveTo>
                    <a:pt x="3937" y="161"/>
                  </a:moveTo>
                  <a:cubicBezTo>
                    <a:pt x="3937" y="153"/>
                    <a:pt x="3943" y="147"/>
                    <a:pt x="3951" y="147"/>
                  </a:cubicBezTo>
                  <a:cubicBezTo>
                    <a:pt x="3958" y="147"/>
                    <a:pt x="3965" y="153"/>
                    <a:pt x="3965" y="161"/>
                  </a:cubicBezTo>
                  <a:cubicBezTo>
                    <a:pt x="3965" y="168"/>
                    <a:pt x="3958" y="175"/>
                    <a:pt x="3951" y="175"/>
                  </a:cubicBezTo>
                  <a:cubicBezTo>
                    <a:pt x="3943" y="175"/>
                    <a:pt x="3937" y="168"/>
                    <a:pt x="3937"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502" name="Rectangle 22"/>
          <p:cNvSpPr>
            <a:spLocks noGrp="1" noChangeArrowheads="1"/>
          </p:cNvSpPr>
          <p:nvPr>
            <p:ph type="ctrTitle" sz="quarter"/>
          </p:nvPr>
        </p:nvSpPr>
        <p:spPr>
          <a:xfrm>
            <a:off x="6270508" y="347904"/>
            <a:ext cx="4798745" cy="1572608"/>
          </a:xfrm>
          <a:ln algn="ctr"/>
        </p:spPr>
        <p:txBody>
          <a:bodyPr anchor="b"/>
          <a:lstStyle>
            <a:lvl1pPr algn="l">
              <a:defRPr sz="3467" b="1">
                <a:solidFill>
                  <a:srgbClr val="393838"/>
                </a:solidFill>
                <a:latin typeface="+mn-lt"/>
              </a:defRPr>
            </a:lvl1pPr>
          </a:lstStyle>
          <a:p>
            <a:r>
              <a:rPr lang="en-US" dirty="0"/>
              <a:t>Click to edit Master title style</a:t>
            </a:r>
          </a:p>
        </p:txBody>
      </p:sp>
      <p:sp>
        <p:nvSpPr>
          <p:cNvPr id="3" name="Text Placeholder 2"/>
          <p:cNvSpPr>
            <a:spLocks noGrp="1"/>
          </p:cNvSpPr>
          <p:nvPr>
            <p:ph type="body" sz="quarter" idx="10"/>
          </p:nvPr>
        </p:nvSpPr>
        <p:spPr>
          <a:xfrm>
            <a:off x="6270509" y="2070134"/>
            <a:ext cx="4337049" cy="790575"/>
          </a:xfrm>
        </p:spPr>
        <p:txBody>
          <a:bodyPr/>
          <a:lstStyle>
            <a:lvl1pPr marL="0" indent="0" algn="l">
              <a:spcBef>
                <a:spcPts val="0"/>
              </a:spcBef>
              <a:buNone/>
              <a:defRPr sz="2133">
                <a:solidFill>
                  <a:srgbClr val="393838"/>
                </a:solidFill>
              </a:defRPr>
            </a:lvl1pPr>
          </a:lstStyle>
          <a:p>
            <a:pPr lvl="0"/>
            <a:r>
              <a:rPr lang="en-US" dirty="0"/>
              <a:t>Click to edit Master</a:t>
            </a:r>
          </a:p>
        </p:txBody>
      </p:sp>
      <p:sp>
        <p:nvSpPr>
          <p:cNvPr id="11" name="Rectangle 17"/>
          <p:cNvSpPr>
            <a:spLocks noChangeArrowheads="1"/>
          </p:cNvSpPr>
          <p:nvPr userDrawn="1"/>
        </p:nvSpPr>
        <p:spPr bwMode="auto">
          <a:xfrm>
            <a:off x="6379555" y="6413398"/>
            <a:ext cx="5552332" cy="98489"/>
          </a:xfrm>
          <a:prstGeom prst="rect">
            <a:avLst/>
          </a:prstGeom>
          <a:noFill/>
          <a:ln w="9525">
            <a:noFill/>
            <a:miter lim="800000"/>
            <a:headEnd/>
            <a:tailEnd/>
          </a:ln>
          <a:effectLst/>
        </p:spPr>
        <p:txBody>
          <a:bodyPr wrap="square" lIns="0" tIns="0" rIns="0" bIns="0">
            <a:spAutoFit/>
          </a:bodyPr>
          <a:lstStyle/>
          <a:p>
            <a:pPr algn="l">
              <a:lnSpc>
                <a:spcPct val="80000"/>
              </a:lnSpc>
              <a:defRPr/>
            </a:pPr>
            <a:r>
              <a:rPr lang="en-US" sz="800" dirty="0">
                <a:solidFill>
                  <a:schemeClr val="tx2"/>
                </a:solidFill>
                <a:latin typeface="Arial Narrow" pitchFamily="34" charset="0"/>
              </a:rPr>
              <a:t>The Ohio State University Comprehensive Cancer Center – Arthur G. James Cancer Hospital and Richard J. Solove Research Institute</a:t>
            </a:r>
          </a:p>
        </p:txBody>
      </p:sp>
    </p:spTree>
    <p:extLst>
      <p:ext uri="{BB962C8B-B14F-4D97-AF65-F5344CB8AC3E}">
        <p14:creationId xmlns:p14="http://schemas.microsoft.com/office/powerpoint/2010/main" val="28774550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7874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 DNA">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372533" y="1335533"/>
            <a:ext cx="10972800" cy="4357483"/>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581531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 bld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305" y="0"/>
            <a:ext cx="6011777" cy="6540205"/>
          </a:xfrm>
          <a:prstGeom prst="rect">
            <a:avLst/>
          </a:prstGeom>
        </p:spPr>
      </p:pic>
      <p:sp>
        <p:nvSpPr>
          <p:cNvPr id="3" name="Content Placeholder 2"/>
          <p:cNvSpPr>
            <a:spLocks noGrp="1"/>
          </p:cNvSpPr>
          <p:nvPr>
            <p:ph idx="1"/>
          </p:nvPr>
        </p:nvSpPr>
        <p:spPr>
          <a:xfrm>
            <a:off x="372533" y="1335533"/>
            <a:ext cx="10972800" cy="4234539"/>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292376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 Hop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Picture 2"/>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sharpenSoften amount="-5000"/>
                    </a14:imgEffect>
                    <a14:imgEffect>
                      <a14:brightnessContrast bright="3000" contrast="23000"/>
                    </a14:imgEffect>
                  </a14:imgLayer>
                </a14:imgProps>
              </a:ext>
              <a:ext uri="{28A0092B-C50C-407E-A947-70E740481C1C}">
                <a14:useLocalDpi xmlns:a14="http://schemas.microsoft.com/office/drawing/2010/main" val="0"/>
              </a:ext>
            </a:extLst>
          </a:blip>
          <a:srcRect l="37538" b="24425"/>
          <a:stretch/>
        </p:blipFill>
        <p:spPr bwMode="auto">
          <a:xfrm>
            <a:off x="15" y="439735"/>
            <a:ext cx="2589605" cy="6170623"/>
          </a:xfrm>
          <a:prstGeom prst="rect">
            <a:avLst/>
          </a:prstGeom>
          <a:noFill/>
        </p:spPr>
      </p:pic>
      <p:sp>
        <p:nvSpPr>
          <p:cNvPr id="3" name="Content Placeholder 2"/>
          <p:cNvSpPr>
            <a:spLocks noGrp="1"/>
          </p:cNvSpPr>
          <p:nvPr>
            <p:ph idx="1"/>
          </p:nvPr>
        </p:nvSpPr>
        <p:spPr>
          <a:xfrm>
            <a:off x="2955637" y="1464423"/>
            <a:ext cx="8389697" cy="3721836"/>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2955637" y="649250"/>
            <a:ext cx="8389697" cy="672735"/>
          </a:xfrm>
        </p:spPr>
        <p:txBody>
          <a:bodyPr anchor="b"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450048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hapter / divider slide 1">
    <p:spTree>
      <p:nvGrpSpPr>
        <p:cNvPr id="1" name=""/>
        <p:cNvGrpSpPr/>
        <p:nvPr/>
      </p:nvGrpSpPr>
      <p:grpSpPr>
        <a:xfrm>
          <a:off x="0" y="0"/>
          <a:ext cx="0" cy="0"/>
          <a:chOff x="0" y="0"/>
          <a:chExt cx="0" cy="0"/>
        </a:xfrm>
      </p:grpSpPr>
      <p:sp>
        <p:nvSpPr>
          <p:cNvPr id="14" name="Rectangle 13"/>
          <p:cNvSpPr/>
          <p:nvPr userDrawn="1"/>
        </p:nvSpPr>
        <p:spPr>
          <a:xfrm>
            <a:off x="0" y="1162055"/>
            <a:ext cx="12192000" cy="130492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0" y="1294657"/>
            <a:ext cx="12192000" cy="1086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p:cNvCxnSpPr/>
          <p:nvPr userDrawn="1"/>
        </p:nvCxnSpPr>
        <p:spPr>
          <a:xfrm>
            <a:off x="0" y="2324907"/>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0" y="1352516"/>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844205" y="2816505"/>
            <a:ext cx="4166696" cy="1713907"/>
          </a:xfrm>
        </p:spPr>
        <p:txBody>
          <a:bodyPr anchor="t"/>
          <a:lstStyle>
            <a:lvl1pPr>
              <a:defRPr sz="3200">
                <a:solidFill>
                  <a:schemeClr val="accent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3C956E73-2E7A-40C4-98E5-5009DBC8D49F}" type="slidenum">
              <a:rPr lang="en-US" smtClean="0"/>
              <a:pPr/>
              <a:t>‹#›</a:t>
            </a:fld>
            <a:endParaRPr lang="en-US" dirty="0"/>
          </a:p>
        </p:txBody>
      </p:sp>
      <p:pic>
        <p:nvPicPr>
          <p:cNvPr id="1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rot="21224959">
            <a:off x="1570565" y="594123"/>
            <a:ext cx="2914041" cy="4368599"/>
          </a:xfrm>
          <a:prstGeom prst="rect">
            <a:avLst/>
          </a:prstGeom>
          <a:noFill/>
          <a:ln w="76200">
            <a:solidFill>
              <a:schemeClr val="bg1"/>
            </a:solidFill>
            <a:miter lim="800000"/>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3"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67113" y="5101697"/>
            <a:ext cx="2876300" cy="1002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999979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hapter / divider slide 2">
    <p:spTree>
      <p:nvGrpSpPr>
        <p:cNvPr id="1" name=""/>
        <p:cNvGrpSpPr/>
        <p:nvPr/>
      </p:nvGrpSpPr>
      <p:grpSpPr>
        <a:xfrm>
          <a:off x="0" y="0"/>
          <a:ext cx="0" cy="0"/>
          <a:chOff x="0" y="0"/>
          <a:chExt cx="0" cy="0"/>
        </a:xfrm>
      </p:grpSpPr>
      <p:sp>
        <p:nvSpPr>
          <p:cNvPr id="2" name="Title 1"/>
          <p:cNvSpPr>
            <a:spLocks noGrp="1"/>
          </p:cNvSpPr>
          <p:nvPr>
            <p:ph type="title"/>
          </p:nvPr>
        </p:nvSpPr>
        <p:spPr>
          <a:xfrm>
            <a:off x="6844205" y="2816505"/>
            <a:ext cx="4166696" cy="1713907"/>
          </a:xfrm>
        </p:spPr>
        <p:txBody>
          <a:bodyPr anchor="t"/>
          <a:lstStyle>
            <a:lvl1pPr>
              <a:defRPr sz="3200">
                <a:solidFill>
                  <a:schemeClr val="accent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3C956E73-2E7A-40C4-98E5-5009DBC8D49F}" type="slidenum">
              <a:rPr lang="en-US" smtClean="0"/>
              <a:pPr/>
              <a:t>‹#›</a:t>
            </a:fld>
            <a:endParaRPr lang="en-US" dirty="0"/>
          </a:p>
        </p:txBody>
      </p:sp>
      <p:sp>
        <p:nvSpPr>
          <p:cNvPr id="7" name="Rectangle 6"/>
          <p:cNvSpPr/>
          <p:nvPr userDrawn="1"/>
        </p:nvSpPr>
        <p:spPr>
          <a:xfrm>
            <a:off x="0" y="1162055"/>
            <a:ext cx="12192000" cy="130492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0" y="1294657"/>
            <a:ext cx="12192000" cy="1086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p:cNvCxnSpPr/>
          <p:nvPr userDrawn="1"/>
        </p:nvCxnSpPr>
        <p:spPr>
          <a:xfrm>
            <a:off x="0" y="2324907"/>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5"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67113" y="5101697"/>
            <a:ext cx="2876300" cy="1002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Straight Connector 18"/>
          <p:cNvCxnSpPr/>
          <p:nvPr userDrawn="1"/>
        </p:nvCxnSpPr>
        <p:spPr>
          <a:xfrm>
            <a:off x="0" y="1352516"/>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1"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rot="21224959">
            <a:off x="1078973" y="649589"/>
            <a:ext cx="4414404" cy="3308596"/>
          </a:xfrm>
          <a:prstGeom prst="rect">
            <a:avLst/>
          </a:prstGeom>
          <a:noFill/>
          <a:ln w="76200">
            <a:solidFill>
              <a:schemeClr val="bg1"/>
            </a:solidFill>
            <a:miter lim="800000"/>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512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Only, No Footer">
    <p:spTree>
      <p:nvGrpSpPr>
        <p:cNvPr id="1" name=""/>
        <p:cNvGrpSpPr/>
        <p:nvPr/>
      </p:nvGrpSpPr>
      <p:grpSpPr>
        <a:xfrm>
          <a:off x="0" y="0"/>
          <a:ext cx="0" cy="0"/>
          <a:chOff x="0" y="0"/>
          <a:chExt cx="0" cy="0"/>
        </a:xfrm>
      </p:grpSpPr>
      <p:sp>
        <p:nvSpPr>
          <p:cNvPr id="3" name="Content Placeholder 2"/>
          <p:cNvSpPr>
            <a:spLocks noGrp="1"/>
          </p:cNvSpPr>
          <p:nvPr>
            <p:ph idx="1"/>
          </p:nvPr>
        </p:nvSpPr>
        <p:spPr>
          <a:xfrm>
            <a:off x="372533" y="1335532"/>
            <a:ext cx="10972800" cy="4343823"/>
          </a:xfrm>
        </p:spPr>
        <p:txBody>
          <a:bodyPr/>
          <a:lstStyle>
            <a:lvl1pPr>
              <a:defRPr sz="2933"/>
            </a:lvl1pPr>
            <a:lvl2pPr>
              <a:defRPr sz="2667"/>
            </a:lvl2pPr>
            <a:lvl3pPr>
              <a:defRPr sz="2133"/>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b="94350"/>
          <a:stretch/>
        </p:blipFill>
        <p:spPr>
          <a:xfrm>
            <a:off x="6" y="6"/>
            <a:ext cx="12191989" cy="387492"/>
          </a:xfrm>
          <a:prstGeom prst="rect">
            <a:avLst/>
          </a:prstGeom>
        </p:spPr>
      </p:pic>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73434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40279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73436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Picture Left, Title Left, Content Right">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4692075" y="1335533"/>
            <a:ext cx="7050760" cy="4125255"/>
          </a:xfrm>
        </p:spPr>
        <p:txBody>
          <a:bodyPr/>
          <a:lstStyle>
            <a:lvl1pPr>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121352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NO DNA Picture Left, Title, Content Righ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Content Placeholder 2"/>
          <p:cNvSpPr>
            <a:spLocks noGrp="1"/>
          </p:cNvSpPr>
          <p:nvPr>
            <p:ph idx="1"/>
          </p:nvPr>
        </p:nvSpPr>
        <p:spPr>
          <a:xfrm>
            <a:off x="4202546" y="1335533"/>
            <a:ext cx="7714447" cy="4145745"/>
          </a:xfrm>
        </p:spPr>
        <p:txBody>
          <a:bodyPr/>
          <a:lstStyle>
            <a:lvl1pPr>
              <a:defRPr sz="2400"/>
            </a:lvl1pPr>
            <a:lvl2pPr>
              <a:defRPr sz="2133"/>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4202546" y="413555"/>
            <a:ext cx="7714447"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423837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41543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Agenda Layout 1">
    <p:spTree>
      <p:nvGrpSpPr>
        <p:cNvPr id="1" name=""/>
        <p:cNvGrpSpPr/>
        <p:nvPr/>
      </p:nvGrpSpPr>
      <p:grpSpPr>
        <a:xfrm>
          <a:off x="0" y="0"/>
          <a:ext cx="0" cy="0"/>
          <a:chOff x="0" y="0"/>
          <a:chExt cx="0" cy="0"/>
        </a:xfrm>
      </p:grpSpPr>
      <p:pic>
        <p:nvPicPr>
          <p:cNvPr id="11"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86546"/>
          <a:stretch/>
        </p:blipFill>
        <p:spPr bwMode="auto">
          <a:xfrm>
            <a:off x="0" y="5935331"/>
            <a:ext cx="12192000" cy="92267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userDrawn="1"/>
        </p:nvSpPr>
        <p:spPr>
          <a:xfrm>
            <a:off x="0" y="771533"/>
            <a:ext cx="12192000" cy="76280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0" y="828682"/>
            <a:ext cx="12192000" cy="629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1100029" y="1754667"/>
            <a:ext cx="6073083" cy="3732159"/>
          </a:xfrm>
        </p:spPr>
        <p:txBody>
          <a:bodyPr/>
          <a:lstStyle>
            <a:lvl1pPr>
              <a:spcBef>
                <a:spcPts val="2400"/>
              </a:spcBef>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60000"/>
                    <a:lumOff val="4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1118377" y="874190"/>
            <a:ext cx="7987537" cy="535231"/>
          </a:xfrm>
        </p:spPr>
        <p:txBody>
          <a:bodyPr anchor="ctr" anchorCtr="0"/>
          <a:lstStyle>
            <a:lvl1pPr>
              <a:lnSpc>
                <a:spcPct val="85000"/>
              </a:lnSpc>
              <a:defRPr sz="2933" b="1">
                <a:solidFill>
                  <a:schemeClr val="bg1"/>
                </a:solidFill>
              </a:defRPr>
            </a:lvl1pPr>
          </a:lstStyle>
          <a:p>
            <a:r>
              <a:rPr lang="en-US" dirty="0"/>
              <a:t>Click to edit Master title style</a:t>
            </a:r>
          </a:p>
        </p:txBody>
      </p:sp>
      <p:cxnSp>
        <p:nvCxnSpPr>
          <p:cNvPr id="5" name="Straight Connector 4"/>
          <p:cNvCxnSpPr/>
          <p:nvPr userDrawn="1"/>
        </p:nvCxnSpPr>
        <p:spPr>
          <a:xfrm>
            <a:off x="0" y="1420031"/>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0" y="877105"/>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3"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540618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Title Slide - Nab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C6C9C98D-378E-0B5D-E771-1E95F147F947}"/>
              </a:ext>
            </a:extLst>
          </p:cNvPr>
          <p:cNvSpPr/>
          <p:nvPr/>
        </p:nvSpPr>
        <p:spPr>
          <a:xfrm>
            <a:off x="-19877" y="-9938"/>
            <a:ext cx="8726556" cy="6917635"/>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6556" h="6917635">
                <a:moveTo>
                  <a:pt x="9938" y="6917635"/>
                </a:moveTo>
                <a:cubicBezTo>
                  <a:pt x="9938" y="4972878"/>
                  <a:pt x="14908" y="3438939"/>
                  <a:pt x="0" y="0"/>
                </a:cubicBezTo>
                <a:lnTo>
                  <a:pt x="4482548" y="9939"/>
                </a:lnTo>
                <a:lnTo>
                  <a:pt x="8726556" y="6867939"/>
                </a:lnTo>
                <a:lnTo>
                  <a:pt x="9938" y="6917635"/>
                </a:lnTo>
                <a:close/>
              </a:path>
            </a:pathLst>
          </a:custGeom>
          <a:solidFill>
            <a:schemeClr val="bg1"/>
          </a:solidFill>
          <a:ln w="12700" cap="flat">
            <a:noFill/>
            <a:miter lim="400000"/>
          </a:ln>
          <a:effectLst>
            <a:outerShdw blurRad="171482" dist="89822" algn="l" rotWithShape="0">
              <a:srgbClr val="063958">
                <a:alpha val="91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lvl="0" algn="ctr"/>
            <a:endParaRPr lang="en-US" sz="1200">
              <a:solidFill>
                <a:srgbClr val="50626A"/>
              </a:solidFill>
              <a:latin typeface="Arial" panose="020B0604020202020204" pitchFamily="34" charset="0"/>
              <a:ea typeface="+mn-ea"/>
              <a:cs typeface="+mn-cs"/>
              <a:sym typeface="Calibri"/>
            </a:endParaRPr>
          </a:p>
        </p:txBody>
      </p:sp>
      <p:sp>
        <p:nvSpPr>
          <p:cNvPr id="5" name="Text Placeholder 4">
            <a:extLst>
              <a:ext uri="{FF2B5EF4-FFF2-40B4-BE49-F238E27FC236}">
                <a16:creationId xmlns:a16="http://schemas.microsoft.com/office/drawing/2014/main" id="{22B9F82C-68FB-4B3D-B24C-42E74B805B74}"/>
              </a:ext>
            </a:extLst>
          </p:cNvPr>
          <p:cNvSpPr>
            <a:spLocks noGrp="1"/>
          </p:cNvSpPr>
          <p:nvPr>
            <p:ph type="body" sz="quarter" idx="11" hasCustomPrompt="1"/>
          </p:nvPr>
        </p:nvSpPr>
        <p:spPr>
          <a:xfrm>
            <a:off x="407503" y="4603632"/>
            <a:ext cx="4096512" cy="219456"/>
          </a:xfrm>
        </p:spPr>
        <p:txBody>
          <a:bodyPr lIns="91440" anchor="ctr">
            <a:noAutofit/>
          </a:bodyPr>
          <a:lstStyle>
            <a:lvl1pPr marL="0" indent="0">
              <a:buNone/>
              <a:defRPr sz="1600" b="0" i="0">
                <a:solidFill>
                  <a:schemeClr val="bg2"/>
                </a:solidFill>
                <a:effectLst/>
                <a:latin typeface="Arial" panose="020B0604020202020204" pitchFamily="34" charset="0"/>
              </a:defRPr>
            </a:lvl1pPr>
          </a:lstStyle>
          <a:p>
            <a:pPr lvl="0"/>
            <a:r>
              <a:rPr lang="en-US"/>
              <a:t>Click to edit text</a:t>
            </a:r>
          </a:p>
        </p:txBody>
      </p:sp>
      <p:sp>
        <p:nvSpPr>
          <p:cNvPr id="4" name="Title 3">
            <a:extLst>
              <a:ext uri="{FF2B5EF4-FFF2-40B4-BE49-F238E27FC236}">
                <a16:creationId xmlns:a16="http://schemas.microsoft.com/office/drawing/2014/main" id="{1C1E6077-226C-F089-3ECE-23E0EFE5B774}"/>
              </a:ext>
            </a:extLst>
          </p:cNvPr>
          <p:cNvSpPr>
            <a:spLocks noGrp="1"/>
          </p:cNvSpPr>
          <p:nvPr>
            <p:ph type="title"/>
          </p:nvPr>
        </p:nvSpPr>
        <p:spPr>
          <a:xfrm>
            <a:off x="407503" y="3586375"/>
            <a:ext cx="5864087" cy="808138"/>
          </a:xfrm>
        </p:spPr>
        <p:txBody>
          <a:bodyPr lIns="91440"/>
          <a:lstStyle/>
          <a:p>
            <a:r>
              <a:rPr lang="en-US"/>
              <a:t>Click to edit Master title style</a:t>
            </a:r>
          </a:p>
        </p:txBody>
      </p:sp>
    </p:spTree>
    <p:extLst>
      <p:ext uri="{BB962C8B-B14F-4D97-AF65-F5344CB8AC3E}">
        <p14:creationId xmlns:p14="http://schemas.microsoft.com/office/powerpoint/2010/main" val="18063511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Nabs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665B39-5A65-20DC-416D-D7106520AEB9}"/>
              </a:ext>
            </a:extLst>
          </p:cNvPr>
          <p:cNvSpPr/>
          <p:nvPr/>
        </p:nvSpPr>
        <p:spPr>
          <a:xfrm>
            <a:off x="0" y="1669775"/>
            <a:ext cx="12192000" cy="3766930"/>
          </a:xfrm>
          <a:prstGeom prst="rect">
            <a:avLst/>
          </a:prstGeom>
          <a:solidFill>
            <a:schemeClr val="bg1">
              <a:alpha val="87619"/>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 name="Right Triangle 1">
            <a:extLst>
              <a:ext uri="{FF2B5EF4-FFF2-40B4-BE49-F238E27FC236}">
                <a16:creationId xmlns:a16="http://schemas.microsoft.com/office/drawing/2014/main" id="{6181DB09-2547-7198-4AA8-746B7585D9AD}"/>
              </a:ext>
            </a:extLst>
          </p:cNvPr>
          <p:cNvSpPr/>
          <p:nvPr/>
        </p:nvSpPr>
        <p:spPr>
          <a:xfrm>
            <a:off x="-16909" y="-9111"/>
            <a:ext cx="5615608" cy="6906870"/>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 name="connsiteX0" fmla="*/ 0 w 8716618"/>
              <a:gd name="connsiteY0" fmla="*/ 6907696 h 6907696"/>
              <a:gd name="connsiteX1" fmla="*/ 1470992 w 8716618"/>
              <a:gd name="connsiteY1" fmla="*/ 168965 h 6907696"/>
              <a:gd name="connsiteX2" fmla="*/ 4472610 w 8716618"/>
              <a:gd name="connsiteY2" fmla="*/ 0 h 6907696"/>
              <a:gd name="connsiteX3" fmla="*/ 8716618 w 8716618"/>
              <a:gd name="connsiteY3" fmla="*/ 6858000 h 6907696"/>
              <a:gd name="connsiteX4" fmla="*/ 0 w 8716618"/>
              <a:gd name="connsiteY4" fmla="*/ 6907696 h 6907696"/>
              <a:gd name="connsiteX0" fmla="*/ 0 w 8716618"/>
              <a:gd name="connsiteY0" fmla="*/ 6907696 h 6907696"/>
              <a:gd name="connsiteX1" fmla="*/ 3110949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0 w 5724940"/>
              <a:gd name="connsiteY0" fmla="*/ 6907696 h 6907696"/>
              <a:gd name="connsiteX1" fmla="*/ 119271 w 5724940"/>
              <a:gd name="connsiteY1" fmla="*/ 9939 h 6907696"/>
              <a:gd name="connsiteX2" fmla="*/ 1480932 w 5724940"/>
              <a:gd name="connsiteY2" fmla="*/ 0 h 6907696"/>
              <a:gd name="connsiteX3" fmla="*/ 5724940 w 5724940"/>
              <a:gd name="connsiteY3" fmla="*/ 6858000 h 6907696"/>
              <a:gd name="connsiteX4" fmla="*/ 0 w 5724940"/>
              <a:gd name="connsiteY4" fmla="*/ 6907696 h 6907696"/>
              <a:gd name="connsiteX0" fmla="*/ 29816 w 5605669"/>
              <a:gd name="connsiteY0" fmla="*/ 6907696 h 6907696"/>
              <a:gd name="connsiteX1" fmla="*/ 0 w 5605669"/>
              <a:gd name="connsiteY1" fmla="*/ 9939 h 6907696"/>
              <a:gd name="connsiteX2" fmla="*/ 1361661 w 5605669"/>
              <a:gd name="connsiteY2" fmla="*/ 0 h 6907696"/>
              <a:gd name="connsiteX3" fmla="*/ 5605669 w 5605669"/>
              <a:gd name="connsiteY3" fmla="*/ 6858000 h 6907696"/>
              <a:gd name="connsiteX4" fmla="*/ 29816 w 5605669"/>
              <a:gd name="connsiteY4" fmla="*/ 6907696 h 6907696"/>
              <a:gd name="connsiteX0" fmla="*/ 69573 w 5605669"/>
              <a:gd name="connsiteY0" fmla="*/ 6937513 h 6937513"/>
              <a:gd name="connsiteX1" fmla="*/ 0 w 5605669"/>
              <a:gd name="connsiteY1" fmla="*/ 9939 h 6937513"/>
              <a:gd name="connsiteX2" fmla="*/ 1361661 w 5605669"/>
              <a:gd name="connsiteY2" fmla="*/ 0 h 6937513"/>
              <a:gd name="connsiteX3" fmla="*/ 5605669 w 5605669"/>
              <a:gd name="connsiteY3" fmla="*/ 6858000 h 6937513"/>
              <a:gd name="connsiteX4" fmla="*/ 69573 w 5605669"/>
              <a:gd name="connsiteY4" fmla="*/ 6937513 h 6937513"/>
              <a:gd name="connsiteX0" fmla="*/ 0 w 5605670"/>
              <a:gd name="connsiteY0" fmla="*/ 6897757 h 6897757"/>
              <a:gd name="connsiteX1" fmla="*/ 1 w 5605670"/>
              <a:gd name="connsiteY1" fmla="*/ 9939 h 6897757"/>
              <a:gd name="connsiteX2" fmla="*/ 1361662 w 5605670"/>
              <a:gd name="connsiteY2" fmla="*/ 0 h 6897757"/>
              <a:gd name="connsiteX3" fmla="*/ 5605670 w 5605670"/>
              <a:gd name="connsiteY3" fmla="*/ 6858000 h 6897757"/>
              <a:gd name="connsiteX4" fmla="*/ 0 w 5605670"/>
              <a:gd name="connsiteY4" fmla="*/ 6897757 h 6897757"/>
              <a:gd name="connsiteX0" fmla="*/ 9938 w 5615608"/>
              <a:gd name="connsiteY0" fmla="*/ 6897757 h 6897757"/>
              <a:gd name="connsiteX1" fmla="*/ 0 w 5615608"/>
              <a:gd name="connsiteY1" fmla="*/ 9939 h 6897757"/>
              <a:gd name="connsiteX2" fmla="*/ 1371600 w 5615608"/>
              <a:gd name="connsiteY2" fmla="*/ 0 h 6897757"/>
              <a:gd name="connsiteX3" fmla="*/ 5615608 w 5615608"/>
              <a:gd name="connsiteY3" fmla="*/ 6858000 h 6897757"/>
              <a:gd name="connsiteX4" fmla="*/ 9938 w 5615608"/>
              <a:gd name="connsiteY4" fmla="*/ 6897757 h 6897757"/>
              <a:gd name="connsiteX0" fmla="*/ 9938 w 5615608"/>
              <a:gd name="connsiteY0" fmla="*/ 6906868 h 6906868"/>
              <a:gd name="connsiteX1" fmla="*/ 0 w 5615608"/>
              <a:gd name="connsiteY1" fmla="*/ 0 h 6906868"/>
              <a:gd name="connsiteX2" fmla="*/ 1371600 w 5615608"/>
              <a:gd name="connsiteY2" fmla="*/ 9111 h 6906868"/>
              <a:gd name="connsiteX3" fmla="*/ 5615608 w 5615608"/>
              <a:gd name="connsiteY3" fmla="*/ 6867111 h 6906868"/>
              <a:gd name="connsiteX4" fmla="*/ 9938 w 5615608"/>
              <a:gd name="connsiteY4" fmla="*/ 6906868 h 690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5608" h="6906868">
                <a:moveTo>
                  <a:pt x="9938" y="6906868"/>
                </a:moveTo>
                <a:cubicBezTo>
                  <a:pt x="9938" y="4962111"/>
                  <a:pt x="14908" y="3438939"/>
                  <a:pt x="0" y="0"/>
                </a:cubicBezTo>
                <a:lnTo>
                  <a:pt x="1371600" y="9111"/>
                </a:lnTo>
                <a:lnTo>
                  <a:pt x="5615608" y="6867111"/>
                </a:lnTo>
                <a:lnTo>
                  <a:pt x="9938" y="6906868"/>
                </a:lnTo>
                <a:close/>
              </a:path>
            </a:pathLst>
          </a:custGeom>
          <a:solidFill>
            <a:schemeClr val="bg1"/>
          </a:solidFill>
          <a:ln w="12700" cap="flat">
            <a:noFill/>
            <a:miter lim="400000"/>
          </a:ln>
          <a:effectLst>
            <a:outerShdw blurRad="267942" dist="38100" algn="l" rotWithShape="0">
              <a:srgbClr val="063958">
                <a:alpha val="56121"/>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pic>
        <p:nvPicPr>
          <p:cNvPr id="7" name="Picture 6">
            <a:extLst>
              <a:ext uri="{FF2B5EF4-FFF2-40B4-BE49-F238E27FC236}">
                <a16:creationId xmlns:a16="http://schemas.microsoft.com/office/drawing/2014/main" id="{C911EF92-FB4D-FDCE-E79B-83AF9AF151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78394" y="2690592"/>
            <a:ext cx="1737725" cy="1132108"/>
          </a:xfrm>
          <a:prstGeom prst="rect">
            <a:avLst/>
          </a:prstGeom>
        </p:spPr>
      </p:pic>
      <p:sp>
        <p:nvSpPr>
          <p:cNvPr id="3" name="Title 2">
            <a:extLst>
              <a:ext uri="{FF2B5EF4-FFF2-40B4-BE49-F238E27FC236}">
                <a16:creationId xmlns:a16="http://schemas.microsoft.com/office/drawing/2014/main" id="{2B2A4150-9DA6-42D1-284D-733A65D0B695}"/>
              </a:ext>
            </a:extLst>
          </p:cNvPr>
          <p:cNvSpPr>
            <a:spLocks noGrp="1"/>
          </p:cNvSpPr>
          <p:nvPr>
            <p:ph type="title"/>
          </p:nvPr>
        </p:nvSpPr>
        <p:spPr>
          <a:xfrm>
            <a:off x="4297680" y="3172968"/>
            <a:ext cx="7911229" cy="808138"/>
          </a:xfrm>
        </p:spPr>
        <p:txBody>
          <a:bodyPr/>
          <a:lstStyle>
            <a:lvl1pPr>
              <a:defRPr sz="3200">
                <a:solidFill>
                  <a:schemeClr val="accent4"/>
                </a:solidFill>
              </a:defRPr>
            </a:lvl1pPr>
          </a:lstStyle>
          <a:p>
            <a:r>
              <a:rPr lang="en-US"/>
              <a:t>Click to edit Master title style</a:t>
            </a:r>
          </a:p>
        </p:txBody>
      </p:sp>
    </p:spTree>
    <p:extLst>
      <p:ext uri="{BB962C8B-B14F-4D97-AF65-F5344CB8AC3E}">
        <p14:creationId xmlns:p14="http://schemas.microsoft.com/office/powerpoint/2010/main" val="23733715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25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2A693616-0248-8133-F288-F4E37CFA4D70}"/>
              </a:ext>
            </a:extLst>
          </p:cNvPr>
          <p:cNvSpPr>
            <a:spLocks noGrp="1"/>
          </p:cNvSpPr>
          <p:nvPr>
            <p:ph type="ftr" sz="quarter" idx="11"/>
          </p:nvPr>
        </p:nvSpPr>
        <p:spPr/>
        <p:txBody>
          <a:bodyPr/>
          <a:lstStyle/>
          <a:p>
            <a:r>
              <a:rPr lang="da-DK"/>
              <a:t>NET-202 SIV Slides Final v2.0 31-Aug-2023</a:t>
            </a:r>
            <a:endParaRPr lang="en-US"/>
          </a:p>
        </p:txBody>
      </p:sp>
      <p:pic>
        <p:nvPicPr>
          <p:cNvPr id="6" name="Graphic 5">
            <a:extLst>
              <a:ext uri="{FF2B5EF4-FFF2-40B4-BE49-F238E27FC236}">
                <a16:creationId xmlns:a16="http://schemas.microsoft.com/office/drawing/2014/main" id="{941C4976-5EEE-5BBB-1599-66DDC3F78103}"/>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6182501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2592024F-B541-0A44-89A0-3BEC1DFF4FE2}"/>
              </a:ext>
            </a:extLst>
          </p:cNvPr>
          <p:cNvSpPr/>
          <p:nvPr userDrawn="1"/>
        </p:nvSpPr>
        <p:spPr>
          <a:xfrm>
            <a:off x="0" y="111611"/>
            <a:ext cx="2936081" cy="907076"/>
          </a:xfrm>
          <a:custGeom>
            <a:avLst/>
            <a:gdLst>
              <a:gd name="connsiteX0" fmla="*/ 0 w 3083597"/>
              <a:gd name="connsiteY0" fmla="*/ 0 h 907076"/>
              <a:gd name="connsiteX1" fmla="*/ 3083597 w 3083597"/>
              <a:gd name="connsiteY1" fmla="*/ 0 h 907076"/>
              <a:gd name="connsiteX2" fmla="*/ 2856828 w 3083597"/>
              <a:gd name="connsiteY2" fmla="*/ 907076 h 907076"/>
              <a:gd name="connsiteX3" fmla="*/ 0 w 3083597"/>
              <a:gd name="connsiteY3" fmla="*/ 907076 h 907076"/>
            </a:gdLst>
            <a:ahLst/>
            <a:cxnLst>
              <a:cxn ang="0">
                <a:pos x="connsiteX0" y="connsiteY0"/>
              </a:cxn>
              <a:cxn ang="0">
                <a:pos x="connsiteX1" y="connsiteY1"/>
              </a:cxn>
              <a:cxn ang="0">
                <a:pos x="connsiteX2" y="connsiteY2"/>
              </a:cxn>
              <a:cxn ang="0">
                <a:pos x="connsiteX3" y="connsiteY3"/>
              </a:cxn>
            </a:cxnLst>
            <a:rect l="l" t="t" r="r" b="b"/>
            <a:pathLst>
              <a:path w="3083597" h="907076">
                <a:moveTo>
                  <a:pt x="0" y="0"/>
                </a:moveTo>
                <a:lnTo>
                  <a:pt x="3083597" y="0"/>
                </a:lnTo>
                <a:lnTo>
                  <a:pt x="2856828" y="907076"/>
                </a:lnTo>
                <a:lnTo>
                  <a:pt x="0" y="907076"/>
                </a:lnTo>
                <a:close/>
              </a:path>
            </a:pathLst>
          </a:custGeom>
          <a:gradFill>
            <a:gsLst>
              <a:gs pos="0">
                <a:schemeClr val="accent6">
                  <a:alpha val="69000"/>
                </a:schemeClr>
              </a:gs>
              <a:gs pos="95000">
                <a:schemeClr val="bg2"/>
              </a:gs>
            </a:gsLst>
            <a:lin ang="16200000" scaled="1"/>
          </a:gradFill>
          <a:ln w="12700" cap="flat">
            <a:noFill/>
            <a:miter lim="400000"/>
          </a:ln>
          <a:effectLst>
            <a:outerShdw blurRad="50800" dist="76200" dir="5400000" algn="t"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TextBox 19">
            <a:extLst>
              <a:ext uri="{FF2B5EF4-FFF2-40B4-BE49-F238E27FC236}">
                <a16:creationId xmlns:a16="http://schemas.microsoft.com/office/drawing/2014/main" id="{8562EA17-5103-1436-26DC-A25B566787C2}"/>
              </a:ext>
            </a:extLst>
          </p:cNvPr>
          <p:cNvSpPr txBox="1"/>
          <p:nvPr userDrawn="1"/>
        </p:nvSpPr>
        <p:spPr>
          <a:xfrm>
            <a:off x="618500" y="473266"/>
            <a:ext cx="2112464" cy="492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2600" b="1" i="0" u="none" strike="noStrike" kern="0" cap="none" spc="0" normalizeH="0" baseline="0" noProof="0">
                <a:ln>
                  <a:noFill/>
                </a:ln>
                <a:solidFill>
                  <a:schemeClr val="bg1"/>
                </a:solidFill>
                <a:effectLst/>
                <a:uLnTx/>
                <a:uFillTx/>
                <a:latin typeface="Arial" panose="020B0604020202020204"/>
                <a:cs typeface="Arial" panose="020B0604020202020204" pitchFamily="34" charset="0"/>
                <a:sym typeface="Avenir Black"/>
              </a:rPr>
              <a:t>Discussion:</a:t>
            </a:r>
            <a:endParaRPr lang="en-US">
              <a:solidFill>
                <a:schemeClr val="bg1"/>
              </a:solidFill>
            </a:endParaRPr>
          </a:p>
        </p:txBody>
      </p:sp>
      <p:grpSp>
        <p:nvGrpSpPr>
          <p:cNvPr id="28" name="Group 27">
            <a:extLst>
              <a:ext uri="{FF2B5EF4-FFF2-40B4-BE49-F238E27FC236}">
                <a16:creationId xmlns:a16="http://schemas.microsoft.com/office/drawing/2014/main" id="{A415C8F3-D355-FD7E-C46F-F2ABCE9468D4}"/>
              </a:ext>
            </a:extLst>
          </p:cNvPr>
          <p:cNvGrpSpPr/>
          <p:nvPr userDrawn="1"/>
        </p:nvGrpSpPr>
        <p:grpSpPr>
          <a:xfrm>
            <a:off x="347472" y="176365"/>
            <a:ext cx="691477" cy="492443"/>
            <a:chOff x="156053" y="271462"/>
            <a:chExt cx="864815" cy="615888"/>
          </a:xfrm>
        </p:grpSpPr>
        <p:sp>
          <p:nvSpPr>
            <p:cNvPr id="26" name="Freeform: Shape 25">
              <a:extLst>
                <a:ext uri="{FF2B5EF4-FFF2-40B4-BE49-F238E27FC236}">
                  <a16:creationId xmlns:a16="http://schemas.microsoft.com/office/drawing/2014/main" id="{F495D400-CA0D-F7FD-9985-BA5E7B74E279}"/>
                </a:ext>
              </a:extLst>
            </p:cNvPr>
            <p:cNvSpPr/>
            <p:nvPr/>
          </p:nvSpPr>
          <p:spPr>
            <a:xfrm>
              <a:off x="584047" y="271462"/>
              <a:ext cx="436821" cy="487666"/>
            </a:xfrm>
            <a:custGeom>
              <a:avLst/>
              <a:gdLst>
                <a:gd name="connsiteX0" fmla="*/ 358681 w 436821"/>
                <a:gd name="connsiteY0" fmla="*/ 367516 h 487666"/>
                <a:gd name="connsiteX1" fmla="*/ 436822 w 436821"/>
                <a:gd name="connsiteY1" fmla="*/ 213719 h 487666"/>
                <a:gd name="connsiteX2" fmla="*/ 182519 w 436821"/>
                <a:gd name="connsiteY2" fmla="*/ 0 h 487666"/>
                <a:gd name="connsiteX3" fmla="*/ 0 w 436821"/>
                <a:gd name="connsiteY3" fmla="*/ 64892 h 487666"/>
                <a:gd name="connsiteX4" fmla="*/ 179752 w 436821"/>
                <a:gd name="connsiteY4" fmla="*/ 325552 h 487666"/>
                <a:gd name="connsiteX5" fmla="*/ 159598 w 436821"/>
                <a:gd name="connsiteY5" fmla="*/ 426333 h 487666"/>
                <a:gd name="connsiteX6" fmla="*/ 182512 w 436821"/>
                <a:gd name="connsiteY6" fmla="*/ 427163 h 487666"/>
                <a:gd name="connsiteX7" fmla="*/ 242983 w 436821"/>
                <a:gd name="connsiteY7" fmla="*/ 420814 h 487666"/>
                <a:gd name="connsiteX8" fmla="*/ 400095 w 436821"/>
                <a:gd name="connsiteY8" fmla="*/ 487635 h 487666"/>
                <a:gd name="connsiteX9" fmla="*/ 412246 w 436821"/>
                <a:gd name="connsiteY9" fmla="*/ 462785 h 487666"/>
                <a:gd name="connsiteX10" fmla="*/ 358681 w 436821"/>
                <a:gd name="connsiteY10" fmla="*/ 367523 h 48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821" h="487666">
                  <a:moveTo>
                    <a:pt x="358681" y="367516"/>
                  </a:moveTo>
                  <a:cubicBezTo>
                    <a:pt x="406727" y="328586"/>
                    <a:pt x="436822" y="274190"/>
                    <a:pt x="436822" y="213719"/>
                  </a:cubicBezTo>
                  <a:cubicBezTo>
                    <a:pt x="436829" y="95536"/>
                    <a:pt x="323067" y="0"/>
                    <a:pt x="182519" y="0"/>
                  </a:cubicBezTo>
                  <a:cubicBezTo>
                    <a:pt x="111002" y="0"/>
                    <a:pt x="46118" y="24850"/>
                    <a:pt x="0" y="64892"/>
                  </a:cubicBezTo>
                  <a:cubicBezTo>
                    <a:pt x="106856" y="114593"/>
                    <a:pt x="179752" y="212614"/>
                    <a:pt x="179752" y="325552"/>
                  </a:cubicBezTo>
                  <a:cubicBezTo>
                    <a:pt x="179752" y="360891"/>
                    <a:pt x="172572" y="394858"/>
                    <a:pt x="159598" y="426333"/>
                  </a:cubicBezTo>
                  <a:cubicBezTo>
                    <a:pt x="167053" y="426889"/>
                    <a:pt x="174782" y="427163"/>
                    <a:pt x="182512" y="427163"/>
                  </a:cubicBezTo>
                  <a:cubicBezTo>
                    <a:pt x="203497" y="427163"/>
                    <a:pt x="223652" y="424953"/>
                    <a:pt x="242983" y="420814"/>
                  </a:cubicBezTo>
                  <a:cubicBezTo>
                    <a:pt x="270044" y="446495"/>
                    <a:pt x="321955" y="483214"/>
                    <a:pt x="400095" y="487635"/>
                  </a:cubicBezTo>
                  <a:cubicBezTo>
                    <a:pt x="413351" y="488466"/>
                    <a:pt x="421355" y="472725"/>
                    <a:pt x="412246" y="462785"/>
                  </a:cubicBezTo>
                  <a:cubicBezTo>
                    <a:pt x="387945" y="435724"/>
                    <a:pt x="369444" y="395689"/>
                    <a:pt x="358681" y="367523"/>
                  </a:cubicBezTo>
                  <a:close/>
                </a:path>
              </a:pathLst>
            </a:custGeom>
            <a:solidFill>
              <a:schemeClr val="accent2"/>
            </a:solidFill>
            <a:ln w="73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35D4B08A-8E82-31E4-B33E-5946E6447062}"/>
                </a:ext>
              </a:extLst>
            </p:cNvPr>
            <p:cNvSpPr/>
            <p:nvPr/>
          </p:nvSpPr>
          <p:spPr>
            <a:xfrm>
              <a:off x="156053" y="370751"/>
              <a:ext cx="538663" cy="516599"/>
            </a:xfrm>
            <a:custGeom>
              <a:avLst/>
              <a:gdLst>
                <a:gd name="connsiteX0" fmla="*/ 269332 w 538663"/>
                <a:gd name="connsiteY0" fmla="*/ 7 h 516599"/>
                <a:gd name="connsiteX1" fmla="*/ 0 w 538663"/>
                <a:gd name="connsiteY1" fmla="*/ 226233 h 516599"/>
                <a:gd name="connsiteX2" fmla="*/ 82851 w 538663"/>
                <a:gd name="connsiteY2" fmla="*/ 389228 h 516599"/>
                <a:gd name="connsiteX3" fmla="*/ 26096 w 538663"/>
                <a:gd name="connsiteY3" fmla="*/ 490172 h 516599"/>
                <a:gd name="connsiteX4" fmla="*/ 38967 w 538663"/>
                <a:gd name="connsiteY4" fmla="*/ 516572 h 516599"/>
                <a:gd name="connsiteX5" fmla="*/ 205292 w 538663"/>
                <a:gd name="connsiteY5" fmla="*/ 445753 h 516599"/>
                <a:gd name="connsiteX6" fmla="*/ 269332 w 538663"/>
                <a:gd name="connsiteY6" fmla="*/ 452459 h 516599"/>
                <a:gd name="connsiteX7" fmla="*/ 538663 w 538663"/>
                <a:gd name="connsiteY7" fmla="*/ 226233 h 516599"/>
                <a:gd name="connsiteX8" fmla="*/ 269332 w 538663"/>
                <a:gd name="connsiteY8" fmla="*/ 0 h 516599"/>
                <a:gd name="connsiteX9" fmla="*/ 137596 w 538663"/>
                <a:gd name="connsiteY9" fmla="*/ 270585 h 516599"/>
                <a:gd name="connsiteX10" fmla="*/ 92910 w 538663"/>
                <a:gd name="connsiteY10" fmla="*/ 225907 h 516599"/>
                <a:gd name="connsiteX11" fmla="*/ 137596 w 538663"/>
                <a:gd name="connsiteY11" fmla="*/ 181221 h 516599"/>
                <a:gd name="connsiteX12" fmla="*/ 182274 w 538663"/>
                <a:gd name="connsiteY12" fmla="*/ 225907 h 516599"/>
                <a:gd name="connsiteX13" fmla="*/ 137596 w 538663"/>
                <a:gd name="connsiteY13" fmla="*/ 270585 h 516599"/>
                <a:gd name="connsiteX14" fmla="*/ 269332 w 538663"/>
                <a:gd name="connsiteY14" fmla="*/ 270585 h 516599"/>
                <a:gd name="connsiteX15" fmla="*/ 224646 w 538663"/>
                <a:gd name="connsiteY15" fmla="*/ 225907 h 516599"/>
                <a:gd name="connsiteX16" fmla="*/ 269332 w 538663"/>
                <a:gd name="connsiteY16" fmla="*/ 181221 h 516599"/>
                <a:gd name="connsiteX17" fmla="*/ 314010 w 538663"/>
                <a:gd name="connsiteY17" fmla="*/ 225907 h 516599"/>
                <a:gd name="connsiteX18" fmla="*/ 269332 w 538663"/>
                <a:gd name="connsiteY18" fmla="*/ 270585 h 516599"/>
                <a:gd name="connsiteX19" fmla="*/ 401067 w 538663"/>
                <a:gd name="connsiteY19" fmla="*/ 270585 h 516599"/>
                <a:gd name="connsiteX20" fmla="*/ 356389 w 538663"/>
                <a:gd name="connsiteY20" fmla="*/ 225907 h 516599"/>
                <a:gd name="connsiteX21" fmla="*/ 401067 w 538663"/>
                <a:gd name="connsiteY21" fmla="*/ 181221 h 516599"/>
                <a:gd name="connsiteX22" fmla="*/ 445753 w 538663"/>
                <a:gd name="connsiteY22" fmla="*/ 225907 h 516599"/>
                <a:gd name="connsiteX23" fmla="*/ 401067 w 538663"/>
                <a:gd name="connsiteY23" fmla="*/ 270585 h 5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8663" h="516599">
                  <a:moveTo>
                    <a:pt x="269332" y="7"/>
                  </a:moveTo>
                  <a:cubicBezTo>
                    <a:pt x="120586" y="7"/>
                    <a:pt x="0" y="101292"/>
                    <a:pt x="0" y="226233"/>
                  </a:cubicBezTo>
                  <a:cubicBezTo>
                    <a:pt x="0" y="290324"/>
                    <a:pt x="31868" y="348066"/>
                    <a:pt x="82851" y="389228"/>
                  </a:cubicBezTo>
                  <a:cubicBezTo>
                    <a:pt x="71391" y="418952"/>
                    <a:pt x="52000" y="461538"/>
                    <a:pt x="26096" y="490172"/>
                  </a:cubicBezTo>
                  <a:cubicBezTo>
                    <a:pt x="16594" y="500675"/>
                    <a:pt x="24828" y="517373"/>
                    <a:pt x="38967" y="516572"/>
                  </a:cubicBezTo>
                  <a:cubicBezTo>
                    <a:pt x="121810" y="511891"/>
                    <a:pt x="176644" y="472947"/>
                    <a:pt x="205292" y="445753"/>
                  </a:cubicBezTo>
                  <a:cubicBezTo>
                    <a:pt x="225855" y="449974"/>
                    <a:pt x="247219" y="452459"/>
                    <a:pt x="269332" y="452459"/>
                  </a:cubicBezTo>
                  <a:cubicBezTo>
                    <a:pt x="418077" y="452459"/>
                    <a:pt x="538663" y="351174"/>
                    <a:pt x="538663" y="226233"/>
                  </a:cubicBezTo>
                  <a:cubicBezTo>
                    <a:pt x="538663" y="101292"/>
                    <a:pt x="418077" y="0"/>
                    <a:pt x="269332" y="0"/>
                  </a:cubicBezTo>
                  <a:close/>
                  <a:moveTo>
                    <a:pt x="137596" y="270585"/>
                  </a:moveTo>
                  <a:cubicBezTo>
                    <a:pt x="112916" y="270585"/>
                    <a:pt x="92910" y="250579"/>
                    <a:pt x="92910" y="225907"/>
                  </a:cubicBezTo>
                  <a:cubicBezTo>
                    <a:pt x="92910" y="201235"/>
                    <a:pt x="112916" y="181221"/>
                    <a:pt x="137596" y="181221"/>
                  </a:cubicBezTo>
                  <a:cubicBezTo>
                    <a:pt x="162275" y="181221"/>
                    <a:pt x="182274" y="201227"/>
                    <a:pt x="182274" y="225907"/>
                  </a:cubicBezTo>
                  <a:cubicBezTo>
                    <a:pt x="182274" y="250586"/>
                    <a:pt x="162268" y="270585"/>
                    <a:pt x="137596" y="270585"/>
                  </a:cubicBezTo>
                  <a:close/>
                  <a:moveTo>
                    <a:pt x="269332" y="270585"/>
                  </a:moveTo>
                  <a:cubicBezTo>
                    <a:pt x="244652" y="270585"/>
                    <a:pt x="224646" y="250579"/>
                    <a:pt x="224646" y="225907"/>
                  </a:cubicBezTo>
                  <a:cubicBezTo>
                    <a:pt x="224646" y="201235"/>
                    <a:pt x="244652" y="181221"/>
                    <a:pt x="269332" y="181221"/>
                  </a:cubicBezTo>
                  <a:cubicBezTo>
                    <a:pt x="294011" y="181221"/>
                    <a:pt x="314010" y="201227"/>
                    <a:pt x="314010" y="225907"/>
                  </a:cubicBezTo>
                  <a:cubicBezTo>
                    <a:pt x="314010" y="250586"/>
                    <a:pt x="294004" y="270585"/>
                    <a:pt x="269332" y="270585"/>
                  </a:cubicBezTo>
                  <a:close/>
                  <a:moveTo>
                    <a:pt x="401067" y="270585"/>
                  </a:moveTo>
                  <a:cubicBezTo>
                    <a:pt x="376388" y="270585"/>
                    <a:pt x="356389" y="250579"/>
                    <a:pt x="356389" y="225907"/>
                  </a:cubicBezTo>
                  <a:cubicBezTo>
                    <a:pt x="356389" y="201235"/>
                    <a:pt x="376395" y="181221"/>
                    <a:pt x="401067" y="181221"/>
                  </a:cubicBezTo>
                  <a:cubicBezTo>
                    <a:pt x="425739" y="181221"/>
                    <a:pt x="445753" y="201227"/>
                    <a:pt x="445753" y="225907"/>
                  </a:cubicBezTo>
                  <a:cubicBezTo>
                    <a:pt x="445753" y="250586"/>
                    <a:pt x="425747" y="270585"/>
                    <a:pt x="401067" y="270585"/>
                  </a:cubicBezTo>
                  <a:close/>
                </a:path>
              </a:pathLst>
            </a:custGeom>
            <a:solidFill>
              <a:schemeClr val="bg1"/>
            </a:solidFill>
            <a:ln w="735" cap="flat">
              <a:noFill/>
              <a:prstDash val="solid"/>
              <a:miter/>
            </a:ln>
          </p:spPr>
          <p:txBody>
            <a:bodyPr rtlCol="0" anchor="ctr"/>
            <a:lstStyle/>
            <a:p>
              <a:endParaRPr lang="en-US"/>
            </a:p>
          </p:txBody>
        </p:sp>
      </p:grpSp>
      <p:sp>
        <p:nvSpPr>
          <p:cNvPr id="29" name="Oval 28">
            <a:extLst>
              <a:ext uri="{FF2B5EF4-FFF2-40B4-BE49-F238E27FC236}">
                <a16:creationId xmlns:a16="http://schemas.microsoft.com/office/drawing/2014/main" id="{990D8477-73C7-0834-474F-C35DBD40A0CD}"/>
              </a:ext>
            </a:extLst>
          </p:cNvPr>
          <p:cNvSpPr/>
          <p:nvPr userDrawn="1"/>
        </p:nvSpPr>
        <p:spPr>
          <a:xfrm>
            <a:off x="962025" y="588961"/>
            <a:ext cx="65891" cy="65891"/>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0" name="Oval 29">
            <a:extLst>
              <a:ext uri="{FF2B5EF4-FFF2-40B4-BE49-F238E27FC236}">
                <a16:creationId xmlns:a16="http://schemas.microsoft.com/office/drawing/2014/main" id="{40E5AEB1-4975-5026-ED5B-FB89D9F28386}"/>
              </a:ext>
            </a:extLst>
          </p:cNvPr>
          <p:cNvSpPr/>
          <p:nvPr userDrawn="1"/>
        </p:nvSpPr>
        <p:spPr>
          <a:xfrm>
            <a:off x="2497931" y="660399"/>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1" name="Oval 30">
            <a:extLst>
              <a:ext uri="{FF2B5EF4-FFF2-40B4-BE49-F238E27FC236}">
                <a16:creationId xmlns:a16="http://schemas.microsoft.com/office/drawing/2014/main" id="{3AE0633A-1834-6916-0831-8DB8D480A1C5}"/>
              </a:ext>
            </a:extLst>
          </p:cNvPr>
          <p:cNvSpPr/>
          <p:nvPr userDrawn="1"/>
        </p:nvSpPr>
        <p:spPr>
          <a:xfrm>
            <a:off x="2497931" y="786605"/>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pic>
        <p:nvPicPr>
          <p:cNvPr id="2" name="Graphic 1">
            <a:extLst>
              <a:ext uri="{FF2B5EF4-FFF2-40B4-BE49-F238E27FC236}">
                <a16:creationId xmlns:a16="http://schemas.microsoft.com/office/drawing/2014/main" id="{4BC41C69-C653-0D29-0773-B533BB76DB6B}"/>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0468793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Content w/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522128" cy="435133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5">
            <a:extLst>
              <a:ext uri="{FF2B5EF4-FFF2-40B4-BE49-F238E27FC236}">
                <a16:creationId xmlns:a16="http://schemas.microsoft.com/office/drawing/2014/main" id="{4CB08785-6C13-4F42-AEB0-A7E31B949AD0}"/>
              </a:ext>
            </a:extLst>
          </p:cNvPr>
          <p:cNvSpPr>
            <a:spLocks noGrp="1"/>
          </p:cNvSpPr>
          <p:nvPr>
            <p:ph type="body" sz="quarter" idx="11" hasCustomPrompt="1"/>
          </p:nvPr>
        </p:nvSpPr>
        <p:spPr>
          <a:xfrm>
            <a:off x="272233" y="6036177"/>
            <a:ext cx="10070406" cy="365125"/>
          </a:xfrm>
        </p:spPr>
        <p:txBody>
          <a:bodyPr lIns="91440" anchor="b">
            <a:noAutofit/>
          </a:bodyPr>
          <a:lstStyle>
            <a:lvl1pPr marL="0" indent="0">
              <a:buNone/>
              <a:defRPr sz="900">
                <a:solidFill>
                  <a:schemeClr val="tx1">
                    <a:lumMod val="50000"/>
                    <a:lumOff val="50000"/>
                  </a:schemeClr>
                </a:solidFill>
              </a:defRPr>
            </a:lvl1pPr>
          </a:lstStyle>
          <a:p>
            <a:pPr lvl="0"/>
            <a:r>
              <a:rPr lang="en-US"/>
              <a:t>Footnotes</a:t>
            </a:r>
          </a:p>
        </p:txBody>
      </p:sp>
      <p:sp>
        <p:nvSpPr>
          <p:cNvPr id="6" name="Footer Placeholder 5">
            <a:extLst>
              <a:ext uri="{FF2B5EF4-FFF2-40B4-BE49-F238E27FC236}">
                <a16:creationId xmlns:a16="http://schemas.microsoft.com/office/drawing/2014/main" id="{A861A535-BA79-05B3-5AF6-6BE830EA6687}"/>
              </a:ext>
            </a:extLst>
          </p:cNvPr>
          <p:cNvSpPr>
            <a:spLocks noGrp="1"/>
          </p:cNvSpPr>
          <p:nvPr>
            <p:ph type="ftr" sz="quarter" idx="12"/>
          </p:nvPr>
        </p:nvSpPr>
        <p:spPr/>
        <p:txBody>
          <a:bodyPr/>
          <a:lstStyle/>
          <a:p>
            <a:r>
              <a:rPr lang="da-DK"/>
              <a:t>NET-202 SIV Slides Final v2.0 31-Aug-2023</a:t>
            </a:r>
            <a:endParaRPr lang="en-US"/>
          </a:p>
        </p:txBody>
      </p:sp>
      <p:sp>
        <p:nvSpPr>
          <p:cNvPr id="7" name="Slide Number Placeholder 6">
            <a:extLst>
              <a:ext uri="{FF2B5EF4-FFF2-40B4-BE49-F238E27FC236}">
                <a16:creationId xmlns:a16="http://schemas.microsoft.com/office/drawing/2014/main" id="{B3BC38D2-B36B-D29F-9AA7-994F07556DE1}"/>
              </a:ext>
            </a:extLst>
          </p:cNvPr>
          <p:cNvSpPr>
            <a:spLocks noGrp="1"/>
          </p:cNvSpPr>
          <p:nvPr>
            <p:ph type="sldNum" sz="quarter" idx="13"/>
          </p:nvPr>
        </p:nvSpPr>
        <p:spPr/>
        <p:txBody>
          <a:bodyPr/>
          <a:lstStyle/>
          <a:p>
            <a:fld id="{2B143D1D-9801-49CA-88C0-178C03B6937F}" type="slidenum">
              <a:rPr lang="en-US" smtClean="0"/>
              <a:t>‹#›</a:t>
            </a:fld>
            <a:endParaRPr lang="en-US"/>
          </a:p>
        </p:txBody>
      </p:sp>
      <p:pic>
        <p:nvPicPr>
          <p:cNvPr id="3" name="Graphic 2">
            <a:extLst>
              <a:ext uri="{FF2B5EF4-FFF2-40B4-BE49-F238E27FC236}">
                <a16:creationId xmlns:a16="http://schemas.microsoft.com/office/drawing/2014/main" id="{6877CDFC-DFB0-D0DE-01C5-7DE4B4FDADE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38769634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0" y="6492875"/>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16256089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38980278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Title Only Dark">
    <p:bg>
      <p:bgPr>
        <a:gradFill>
          <a:gsLst>
            <a:gs pos="1000">
              <a:schemeClr val="accent6"/>
            </a:gs>
            <a:gs pos="100000">
              <a:srgbClr val="000738"/>
            </a:gs>
            <a:gs pos="42000">
              <a:srgbClr val="063958"/>
            </a:gs>
          </a:gsLst>
          <a:path path="circle">
            <a:fillToRect l="100000" t="100000"/>
          </a:path>
        </a:gradFill>
        <a:effectLst/>
      </p:bgPr>
    </p:bg>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solidFill>
                  <a:schemeClr val="bg1"/>
                </a:solidFill>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lvl1pPr>
              <a:defRPr>
                <a:solidFill>
                  <a:schemeClr val="bg1"/>
                </a:solidFill>
              </a:defRPr>
            </a:lvl1pPr>
          </a:lstStyle>
          <a:p>
            <a:fld id="{2B143D1D-9801-49CA-88C0-178C03B6937F}" type="slidenum">
              <a:rPr lang="en-US" smtClean="0"/>
              <a:pPr/>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lvl1pPr>
              <a:defRPr>
                <a:solidFill>
                  <a:schemeClr val="bg1"/>
                </a:solidFill>
              </a:defRPr>
            </a:lvl1pPr>
          </a:lstStyle>
          <a:p>
            <a:r>
              <a:rPr lang="da-DK"/>
              <a:t>NET-202 SIV Slides Final v2.0 31-Aug-2023</a:t>
            </a:r>
            <a:endParaRPr lang="en-US"/>
          </a:p>
        </p:txBody>
      </p:sp>
      <p:pic>
        <p:nvPicPr>
          <p:cNvPr id="5" name="Graphic 4">
            <a:extLst>
              <a:ext uri="{FF2B5EF4-FFF2-40B4-BE49-F238E27FC236}">
                <a16:creationId xmlns:a16="http://schemas.microsoft.com/office/drawing/2014/main" id="{C1F8C85C-BFAA-DC82-25E9-742DA6EB15A1}"/>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10806884" y="6082764"/>
            <a:ext cx="1082711" cy="721807"/>
          </a:xfrm>
          <a:prstGeom prst="rect">
            <a:avLst/>
          </a:prstGeom>
        </p:spPr>
      </p:pic>
    </p:spTree>
    <p:extLst>
      <p:ext uri="{BB962C8B-B14F-4D97-AF65-F5344CB8AC3E}">
        <p14:creationId xmlns:p14="http://schemas.microsoft.com/office/powerpoint/2010/main" val="28179598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Lef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a:blip r:embed="rId2">
            <a:extLst>
              <a:ext uri="{28A0092B-C50C-407E-A947-70E740481C1C}">
                <a14:useLocalDpi xmlns:a14="http://schemas.microsoft.com/office/drawing/2010/main" val="0"/>
              </a:ext>
            </a:extLst>
          </a:blip>
          <a:srcRect l="28718" r="28718"/>
          <a:stretch/>
        </p:blipFill>
        <p:spPr>
          <a:xfrm>
            <a:off x="-3810" y="0"/>
            <a:ext cx="5176311" cy="6858000"/>
          </a:xfrm>
          <a:prstGeom prst="rect">
            <a:avLst/>
          </a:prstGeom>
        </p:spPr>
      </p:pic>
      <p:sp>
        <p:nvSpPr>
          <p:cNvPr id="8" name="Rectangle 7">
            <a:extLst>
              <a:ext uri="{FF2B5EF4-FFF2-40B4-BE49-F238E27FC236}">
                <a16:creationId xmlns:a16="http://schemas.microsoft.com/office/drawing/2014/main" id="{945E0678-FA16-AB81-99E1-753A53DF58AD}"/>
              </a:ext>
            </a:extLst>
          </p:cNvPr>
          <p:cNvSpPr/>
          <p:nvPr userDrawn="1"/>
        </p:nvSpPr>
        <p:spPr>
          <a:xfrm>
            <a:off x="0" y="0"/>
            <a:ext cx="5176311" cy="5880539"/>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a:xfrm>
            <a:off x="272233" y="317212"/>
            <a:ext cx="4518131" cy="1892587"/>
          </a:xfr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lvl1pPr>
              <a:defRPr>
                <a:solidFill>
                  <a:schemeClr val="bg1"/>
                </a:solidFill>
              </a:defRPr>
            </a:lvl1p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5581933" y="560356"/>
            <a:ext cx="6398195" cy="551659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D1649BBA-C546-F173-EE3F-1CF65B3DB20A}"/>
              </a:ext>
            </a:extLst>
          </p:cNvPr>
          <p:cNvSpPr>
            <a:spLocks noGrp="1"/>
          </p:cNvSpPr>
          <p:nvPr>
            <p:ph type="ftr" sz="quarter" idx="11"/>
          </p:nvPr>
        </p:nvSpPr>
        <p:spPr/>
        <p:txBody>
          <a:bodyPr/>
          <a:lstStyle>
            <a:lvl1pPr>
              <a:defRPr>
                <a:solidFill>
                  <a:schemeClr val="bg1"/>
                </a:solidFill>
              </a:defRPr>
            </a:lvl1pPr>
          </a:lstStyle>
          <a:p>
            <a:r>
              <a:rPr lang="da-DK"/>
              <a:t>NET-202 SIV Slides Final v2.0 31-Aug-2023</a:t>
            </a:r>
            <a:endParaRPr lang="en-US"/>
          </a:p>
        </p:txBody>
      </p:sp>
    </p:spTree>
    <p:extLst>
      <p:ext uri="{BB962C8B-B14F-4D97-AF65-F5344CB8AC3E}">
        <p14:creationId xmlns:p14="http://schemas.microsoft.com/office/powerpoint/2010/main" val="41130923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478234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Righ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rotWithShape="1">
          <a:blip r:embed="rId2">
            <a:extLst>
              <a:ext uri="{28A0092B-C50C-407E-A947-70E740481C1C}">
                <a14:useLocalDpi xmlns:a14="http://schemas.microsoft.com/office/drawing/2010/main" val="0"/>
              </a:ext>
            </a:extLst>
          </a:blip>
          <a:srcRect l="26689" r="30747"/>
          <a:stretch/>
        </p:blipFill>
        <p:spPr>
          <a:xfrm flipH="1" flipV="1">
            <a:off x="7015689" y="0"/>
            <a:ext cx="5176311" cy="6858000"/>
          </a:xfrm>
          <a:prstGeom prst="rect">
            <a:avLst/>
          </a:prstGeom>
        </p:spPr>
      </p:pic>
      <p:sp>
        <p:nvSpPr>
          <p:cNvPr id="7" name="Rectangle 6">
            <a:extLst>
              <a:ext uri="{FF2B5EF4-FFF2-40B4-BE49-F238E27FC236}">
                <a16:creationId xmlns:a16="http://schemas.microsoft.com/office/drawing/2014/main" id="{F06027A1-0D62-16F7-30CE-41BFE8B26C7C}"/>
              </a:ext>
            </a:extLst>
          </p:cNvPr>
          <p:cNvSpPr/>
          <p:nvPr/>
        </p:nvSpPr>
        <p:spPr>
          <a:xfrm>
            <a:off x="7015689" y="-1"/>
            <a:ext cx="5176311" cy="6777874"/>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42203"/>
            <a:ext cx="6398195" cy="49680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Title 7">
            <a:extLst>
              <a:ext uri="{FF2B5EF4-FFF2-40B4-BE49-F238E27FC236}">
                <a16:creationId xmlns:a16="http://schemas.microsoft.com/office/drawing/2014/main" id="{0FB071E8-809B-6890-C6B9-812E8369D165}"/>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3B21BB59-32EF-F98A-2990-317BB5943E8A}"/>
              </a:ext>
            </a:extLst>
          </p:cNvPr>
          <p:cNvSpPr>
            <a:spLocks noGrp="1"/>
          </p:cNvSpPr>
          <p:nvPr>
            <p:ph type="ftr" sz="quarter" idx="10"/>
          </p:nvPr>
        </p:nvSpPr>
        <p:spPr/>
        <p:txBody>
          <a:bodyPr/>
          <a:lstStyle/>
          <a:p>
            <a:r>
              <a:rPr lang="da-DK"/>
              <a:t>NET-202 SIV Slides Final v2.0 31-Aug-2023</a:t>
            </a:r>
            <a:endParaRPr lang="en-US"/>
          </a:p>
        </p:txBody>
      </p:sp>
      <p:sp>
        <p:nvSpPr>
          <p:cNvPr id="10" name="Slide Number Placeholder 9">
            <a:extLst>
              <a:ext uri="{FF2B5EF4-FFF2-40B4-BE49-F238E27FC236}">
                <a16:creationId xmlns:a16="http://schemas.microsoft.com/office/drawing/2014/main" id="{5B7AFE7E-7CB0-FD25-F78E-7DA5692308E7}"/>
              </a:ext>
            </a:extLst>
          </p:cNvPr>
          <p:cNvSpPr>
            <a:spLocks noGrp="1"/>
          </p:cNvSpPr>
          <p:nvPr>
            <p:ph type="sldNum" sz="quarter" idx="11"/>
          </p:nvPr>
        </p:nvSpPr>
        <p:spPr/>
        <p:txBody>
          <a:bodyPr/>
          <a:lstStyle/>
          <a:p>
            <a:fld id="{2B143D1D-9801-49CA-88C0-178C03B6937F}" type="slidenum">
              <a:rPr lang="en-US" smtClean="0"/>
              <a:t>‹#›</a:t>
            </a:fld>
            <a:endParaRPr lang="en-US"/>
          </a:p>
        </p:txBody>
      </p:sp>
      <p:pic>
        <p:nvPicPr>
          <p:cNvPr id="3" name="Picture 2">
            <a:extLst>
              <a:ext uri="{FF2B5EF4-FFF2-40B4-BE49-F238E27FC236}">
                <a16:creationId xmlns:a16="http://schemas.microsoft.com/office/drawing/2014/main" id="{7424F124-A258-66DC-3AAE-6DDE6D9BAB50}"/>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886330" y="6126042"/>
            <a:ext cx="934494" cy="620833"/>
          </a:xfrm>
          <a:prstGeom prst="rect">
            <a:avLst/>
          </a:prstGeom>
          <a:effectLst/>
        </p:spPr>
      </p:pic>
    </p:spTree>
    <p:extLst>
      <p:ext uri="{BB962C8B-B14F-4D97-AF65-F5344CB8AC3E}">
        <p14:creationId xmlns:p14="http://schemas.microsoft.com/office/powerpoint/2010/main" val="16675764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01721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Cat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1" cy="548640"/>
          </a:xfrm>
        </p:spPr>
        <p:txBody>
          <a:bodyPr anchor="t">
            <a:normAutofit/>
          </a:bodyPr>
          <a:lstStyle>
            <a:lvl1pPr>
              <a:defRPr sz="27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5815F094-B6C5-A142-A62A-559E55F0190F}"/>
              </a:ext>
            </a:extLst>
          </p:cNvPr>
          <p:cNvSpPr>
            <a:spLocks noGrp="1"/>
          </p:cNvSpPr>
          <p:nvPr>
            <p:ph type="sldNum" sz="quarter" idx="4"/>
          </p:nvPr>
        </p:nvSpPr>
        <p:spPr>
          <a:xfrm>
            <a:off x="0" y="6178548"/>
            <a:ext cx="12192000" cy="365125"/>
          </a:xfrm>
          <a:prstGeom prst="rect">
            <a:avLst/>
          </a:prstGeom>
        </p:spPr>
        <p:txBody>
          <a:bodyPr vert="horz" lIns="91440" tIns="45720" rIns="91440" bIns="45720" rtlCol="0" anchor="ctr"/>
          <a:lstStyle>
            <a:lvl1pPr algn="ctr">
              <a:defRPr sz="788">
                <a:solidFill>
                  <a:schemeClr val="accent3"/>
                </a:solidFill>
              </a:defRPr>
            </a:lvl1pPr>
          </a:lstStyle>
          <a:p>
            <a:fld id="{8085FCFD-660D-C14C-AAFF-D6EEBF7DDB9E}" type="slidenum">
              <a:rPr lang="en-US" smtClean="0"/>
              <a:pPr/>
              <a:t>‹#›</a:t>
            </a:fld>
            <a:endParaRPr lang="en-US"/>
          </a:p>
        </p:txBody>
      </p:sp>
    </p:spTree>
    <p:extLst>
      <p:ext uri="{BB962C8B-B14F-4D97-AF65-F5344CB8AC3E}">
        <p14:creationId xmlns:p14="http://schemas.microsoft.com/office/powerpoint/2010/main" val="13658776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Onc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0" cy="548640"/>
          </a:xfrm>
        </p:spPr>
        <p:txBody>
          <a:bodyPr anchor="t">
            <a:normAutofit/>
          </a:bodyPr>
          <a:lstStyle>
            <a:lvl1pPr>
              <a:defRPr sz="36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6145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93386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p>
        </p:txBody>
      </p:sp>
    </p:spTree>
    <p:extLst>
      <p:ext uri="{BB962C8B-B14F-4D97-AF65-F5344CB8AC3E}">
        <p14:creationId xmlns:p14="http://schemas.microsoft.com/office/powerpoint/2010/main" val="22226500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ADA3142A-267E-3940-8CEC-B06DC864B638}" type="datetimeFigureOut">
              <a:rPr lang="en-US" smtClean="0"/>
              <a:t>5/31/26</a:t>
            </a:fld>
            <a:endParaRPr lang="en-US"/>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8940AA43-2F51-2740-8F4C-AE0F09549ECB}" type="slidenum">
              <a:rPr lang="en-US" smtClean="0"/>
              <a:t>‹#›</a:t>
            </a:fld>
            <a:endParaRPr lang="en-US"/>
          </a:p>
        </p:txBody>
      </p:sp>
    </p:spTree>
    <p:extLst>
      <p:ext uri="{BB962C8B-B14F-4D97-AF65-F5344CB8AC3E}">
        <p14:creationId xmlns:p14="http://schemas.microsoft.com/office/powerpoint/2010/main" val="108568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66496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3215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Title Slide - Nab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C6C9C98D-378E-0B5D-E771-1E95F147F947}"/>
              </a:ext>
            </a:extLst>
          </p:cNvPr>
          <p:cNvSpPr/>
          <p:nvPr/>
        </p:nvSpPr>
        <p:spPr>
          <a:xfrm>
            <a:off x="-19877" y="-9938"/>
            <a:ext cx="8726556" cy="6917635"/>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6556" h="6917635">
                <a:moveTo>
                  <a:pt x="9938" y="6917635"/>
                </a:moveTo>
                <a:cubicBezTo>
                  <a:pt x="9938" y="4972878"/>
                  <a:pt x="14908" y="3438939"/>
                  <a:pt x="0" y="0"/>
                </a:cubicBezTo>
                <a:lnTo>
                  <a:pt x="4482548" y="9939"/>
                </a:lnTo>
                <a:lnTo>
                  <a:pt x="8726556" y="6867939"/>
                </a:lnTo>
                <a:lnTo>
                  <a:pt x="9938" y="6917635"/>
                </a:lnTo>
                <a:close/>
              </a:path>
            </a:pathLst>
          </a:custGeom>
          <a:solidFill>
            <a:schemeClr val="bg1"/>
          </a:solidFill>
          <a:ln w="12700" cap="flat">
            <a:noFill/>
            <a:miter lim="400000"/>
          </a:ln>
          <a:effectLst>
            <a:outerShdw blurRad="171482" dist="89822" algn="l" rotWithShape="0">
              <a:srgbClr val="063958">
                <a:alpha val="91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lvl="0" algn="ctr"/>
            <a:endParaRPr lang="en-US" sz="1200">
              <a:solidFill>
                <a:srgbClr val="50626A"/>
              </a:solidFill>
              <a:latin typeface="Arial" panose="020B0604020202020204" pitchFamily="34" charset="0"/>
              <a:ea typeface="+mn-ea"/>
              <a:cs typeface="+mn-cs"/>
              <a:sym typeface="Calibri"/>
            </a:endParaRPr>
          </a:p>
        </p:txBody>
      </p:sp>
      <p:sp>
        <p:nvSpPr>
          <p:cNvPr id="5" name="Text Placeholder 4">
            <a:extLst>
              <a:ext uri="{FF2B5EF4-FFF2-40B4-BE49-F238E27FC236}">
                <a16:creationId xmlns:a16="http://schemas.microsoft.com/office/drawing/2014/main" id="{22B9F82C-68FB-4B3D-B24C-42E74B805B74}"/>
              </a:ext>
            </a:extLst>
          </p:cNvPr>
          <p:cNvSpPr>
            <a:spLocks noGrp="1"/>
          </p:cNvSpPr>
          <p:nvPr>
            <p:ph type="body" sz="quarter" idx="11" hasCustomPrompt="1"/>
          </p:nvPr>
        </p:nvSpPr>
        <p:spPr>
          <a:xfrm>
            <a:off x="407503" y="4603632"/>
            <a:ext cx="4096512" cy="219456"/>
          </a:xfrm>
        </p:spPr>
        <p:txBody>
          <a:bodyPr lIns="91440" anchor="ctr">
            <a:noAutofit/>
          </a:bodyPr>
          <a:lstStyle>
            <a:lvl1pPr marL="0" indent="0">
              <a:buNone/>
              <a:defRPr sz="1600" b="0" i="0">
                <a:solidFill>
                  <a:schemeClr val="bg2"/>
                </a:solidFill>
                <a:effectLst/>
                <a:latin typeface="Arial" panose="020B0604020202020204" pitchFamily="34" charset="0"/>
              </a:defRPr>
            </a:lvl1pPr>
          </a:lstStyle>
          <a:p>
            <a:pPr lvl="0"/>
            <a:r>
              <a:rPr lang="en-US"/>
              <a:t>Click to edit text</a:t>
            </a:r>
          </a:p>
        </p:txBody>
      </p:sp>
      <p:sp>
        <p:nvSpPr>
          <p:cNvPr id="4" name="Title 3">
            <a:extLst>
              <a:ext uri="{FF2B5EF4-FFF2-40B4-BE49-F238E27FC236}">
                <a16:creationId xmlns:a16="http://schemas.microsoft.com/office/drawing/2014/main" id="{1C1E6077-226C-F089-3ECE-23E0EFE5B774}"/>
              </a:ext>
            </a:extLst>
          </p:cNvPr>
          <p:cNvSpPr>
            <a:spLocks noGrp="1"/>
          </p:cNvSpPr>
          <p:nvPr>
            <p:ph type="title"/>
          </p:nvPr>
        </p:nvSpPr>
        <p:spPr>
          <a:xfrm>
            <a:off x="407503" y="3586375"/>
            <a:ext cx="5864087" cy="808138"/>
          </a:xfrm>
        </p:spPr>
        <p:txBody>
          <a:bodyPr lIns="91440"/>
          <a:lstStyle/>
          <a:p>
            <a:r>
              <a:rPr lang="en-US"/>
              <a:t>Click to edit Master title style</a:t>
            </a:r>
          </a:p>
        </p:txBody>
      </p:sp>
    </p:spTree>
    <p:extLst>
      <p:ext uri="{BB962C8B-B14F-4D97-AF65-F5344CB8AC3E}">
        <p14:creationId xmlns:p14="http://schemas.microsoft.com/office/powerpoint/2010/main" val="15885326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9.xml"/><Relationship Id="rId3" Type="http://schemas.openxmlformats.org/officeDocument/2006/relationships/slideLayout" Target="../slideLayouts/slideLayout164.xml"/><Relationship Id="rId7" Type="http://schemas.openxmlformats.org/officeDocument/2006/relationships/slideLayout" Target="../slideLayouts/slideLayout168.xml"/><Relationship Id="rId12" Type="http://schemas.openxmlformats.org/officeDocument/2006/relationships/theme" Target="../theme/theme10.xml"/><Relationship Id="rId2" Type="http://schemas.openxmlformats.org/officeDocument/2006/relationships/slideLayout" Target="../slideLayouts/slideLayout163.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5" Type="http://schemas.openxmlformats.org/officeDocument/2006/relationships/slideLayout" Target="../slideLayouts/slideLayout166.xml"/><Relationship Id="rId10" Type="http://schemas.openxmlformats.org/officeDocument/2006/relationships/slideLayout" Target="../slideLayouts/slideLayout171.xml"/><Relationship Id="rId4" Type="http://schemas.openxmlformats.org/officeDocument/2006/relationships/slideLayout" Target="../slideLayouts/slideLayout165.xml"/><Relationship Id="rId9" Type="http://schemas.openxmlformats.org/officeDocument/2006/relationships/slideLayout" Target="../slideLayouts/slideLayout17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theme" Target="../theme/theme11.xml"/><Relationship Id="rId3" Type="http://schemas.openxmlformats.org/officeDocument/2006/relationships/slideLayout" Target="../slideLayouts/slideLayout175.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2" Type="http://schemas.openxmlformats.org/officeDocument/2006/relationships/slideLayout" Target="../slideLayouts/slideLayout174.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0" Type="http://schemas.openxmlformats.org/officeDocument/2006/relationships/slideLayout" Target="../slideLayouts/slideLayout182.xml"/><Relationship Id="rId4" Type="http://schemas.openxmlformats.org/officeDocument/2006/relationships/slideLayout" Target="../slideLayouts/slideLayout176.xml"/><Relationship Id="rId9" Type="http://schemas.openxmlformats.org/officeDocument/2006/relationships/slideLayout" Target="../slideLayouts/slideLayout18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2.xml"/><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theme" Target="../theme/theme12.xml"/><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5" Type="http://schemas.openxmlformats.org/officeDocument/2006/relationships/slideLayout" Target="../slideLayouts/slideLayout189.xml"/><Relationship Id="rId10" Type="http://schemas.openxmlformats.org/officeDocument/2006/relationships/slideLayout" Target="../slideLayouts/slideLayout194.xml"/><Relationship Id="rId4" Type="http://schemas.openxmlformats.org/officeDocument/2006/relationships/slideLayout" Target="../slideLayouts/slideLayout188.xml"/><Relationship Id="rId9" Type="http://schemas.openxmlformats.org/officeDocument/2006/relationships/slideLayout" Target="../slideLayouts/slideLayout19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image" Target="../media/image42.png"/><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theme" Target="../theme/theme13.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27.xml"/><Relationship Id="rId3" Type="http://schemas.openxmlformats.org/officeDocument/2006/relationships/slideLayout" Target="../slideLayouts/slideLayout222.xml"/><Relationship Id="rId7" Type="http://schemas.openxmlformats.org/officeDocument/2006/relationships/slideLayout" Target="../slideLayouts/slideLayout226.xml"/><Relationship Id="rId12" Type="http://schemas.openxmlformats.org/officeDocument/2006/relationships/theme" Target="../theme/theme14.xml"/><Relationship Id="rId2" Type="http://schemas.openxmlformats.org/officeDocument/2006/relationships/slideLayout" Target="../slideLayouts/slideLayout221.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5" Type="http://schemas.openxmlformats.org/officeDocument/2006/relationships/slideLayout" Target="../slideLayouts/slideLayout224.xml"/><Relationship Id="rId10" Type="http://schemas.openxmlformats.org/officeDocument/2006/relationships/slideLayout" Target="../slideLayouts/slideLayout229.xml"/><Relationship Id="rId4" Type="http://schemas.openxmlformats.org/officeDocument/2006/relationships/slideLayout" Target="../slideLayouts/slideLayout223.xml"/><Relationship Id="rId9" Type="http://schemas.openxmlformats.org/officeDocument/2006/relationships/slideLayout" Target="../slideLayouts/slideLayout228.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38.xml"/><Relationship Id="rId3" Type="http://schemas.openxmlformats.org/officeDocument/2006/relationships/slideLayout" Target="../slideLayouts/slideLayout233.xml"/><Relationship Id="rId7" Type="http://schemas.openxmlformats.org/officeDocument/2006/relationships/slideLayout" Target="../slideLayouts/slideLayout237.xml"/><Relationship Id="rId2" Type="http://schemas.openxmlformats.org/officeDocument/2006/relationships/slideLayout" Target="../slideLayouts/slideLayout232.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5" Type="http://schemas.openxmlformats.org/officeDocument/2006/relationships/slideLayout" Target="../slideLayouts/slideLayout235.xml"/><Relationship Id="rId10" Type="http://schemas.openxmlformats.org/officeDocument/2006/relationships/theme" Target="../theme/theme15.xml"/><Relationship Id="rId4" Type="http://schemas.openxmlformats.org/officeDocument/2006/relationships/slideLayout" Target="../slideLayouts/slideLayout234.xml"/><Relationship Id="rId9" Type="http://schemas.openxmlformats.org/officeDocument/2006/relationships/slideLayout" Target="../slideLayouts/slideLayout23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47.xml"/><Relationship Id="rId3" Type="http://schemas.openxmlformats.org/officeDocument/2006/relationships/slideLayout" Target="../slideLayouts/slideLayout242.xml"/><Relationship Id="rId7" Type="http://schemas.openxmlformats.org/officeDocument/2006/relationships/slideLayout" Target="../slideLayouts/slideLayout246.xml"/><Relationship Id="rId2" Type="http://schemas.openxmlformats.org/officeDocument/2006/relationships/slideLayout" Target="../slideLayouts/slideLayout241.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5" Type="http://schemas.openxmlformats.org/officeDocument/2006/relationships/slideLayout" Target="../slideLayouts/slideLayout244.xml"/><Relationship Id="rId10" Type="http://schemas.openxmlformats.org/officeDocument/2006/relationships/theme" Target="../theme/theme16.xml"/><Relationship Id="rId4" Type="http://schemas.openxmlformats.org/officeDocument/2006/relationships/slideLayout" Target="../slideLayouts/slideLayout243.xml"/><Relationship Id="rId9" Type="http://schemas.openxmlformats.org/officeDocument/2006/relationships/slideLayout" Target="../slideLayouts/slideLayout248.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slideLayout" Target="../slideLayouts/slideLayout261.xml"/><Relationship Id="rId18" Type="http://schemas.openxmlformats.org/officeDocument/2006/relationships/slideLayout" Target="../slideLayouts/slideLayout266.xml"/><Relationship Id="rId3" Type="http://schemas.openxmlformats.org/officeDocument/2006/relationships/slideLayout" Target="../slideLayouts/slideLayout251.xml"/><Relationship Id="rId21" Type="http://schemas.openxmlformats.org/officeDocument/2006/relationships/theme" Target="../theme/theme17.xml"/><Relationship Id="rId7" Type="http://schemas.openxmlformats.org/officeDocument/2006/relationships/slideLayout" Target="../slideLayouts/slideLayout255.xml"/><Relationship Id="rId12" Type="http://schemas.openxmlformats.org/officeDocument/2006/relationships/slideLayout" Target="../slideLayouts/slideLayout260.xml"/><Relationship Id="rId17" Type="http://schemas.openxmlformats.org/officeDocument/2006/relationships/slideLayout" Target="../slideLayouts/slideLayout265.xml"/><Relationship Id="rId2" Type="http://schemas.openxmlformats.org/officeDocument/2006/relationships/slideLayout" Target="../slideLayouts/slideLayout250.xml"/><Relationship Id="rId16" Type="http://schemas.openxmlformats.org/officeDocument/2006/relationships/slideLayout" Target="../slideLayouts/slideLayout264.xml"/><Relationship Id="rId20" Type="http://schemas.openxmlformats.org/officeDocument/2006/relationships/slideLayout" Target="../slideLayouts/slideLayout268.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5" Type="http://schemas.openxmlformats.org/officeDocument/2006/relationships/slideLayout" Target="../slideLayouts/slideLayout253.xml"/><Relationship Id="rId15" Type="http://schemas.openxmlformats.org/officeDocument/2006/relationships/slideLayout" Target="../slideLayouts/slideLayout263.xml"/><Relationship Id="rId10" Type="http://schemas.openxmlformats.org/officeDocument/2006/relationships/slideLayout" Target="../slideLayouts/slideLayout258.xml"/><Relationship Id="rId19" Type="http://schemas.openxmlformats.org/officeDocument/2006/relationships/slideLayout" Target="../slideLayouts/slideLayout267.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slideLayout" Target="../slideLayouts/slideLayout262.xml"/><Relationship Id="rId22" Type="http://schemas.openxmlformats.org/officeDocument/2006/relationships/image" Target="../media/image43.emf"/></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76.xml"/><Relationship Id="rId13" Type="http://schemas.openxmlformats.org/officeDocument/2006/relationships/slideLayout" Target="../slideLayouts/slideLayout281.xml"/><Relationship Id="rId3" Type="http://schemas.openxmlformats.org/officeDocument/2006/relationships/slideLayout" Target="../slideLayouts/slideLayout271.xml"/><Relationship Id="rId7" Type="http://schemas.openxmlformats.org/officeDocument/2006/relationships/slideLayout" Target="../slideLayouts/slideLayout275.xml"/><Relationship Id="rId12" Type="http://schemas.openxmlformats.org/officeDocument/2006/relationships/slideLayout" Target="../slideLayouts/slideLayout280.xml"/><Relationship Id="rId2" Type="http://schemas.openxmlformats.org/officeDocument/2006/relationships/slideLayout" Target="../slideLayouts/slideLayout270.xml"/><Relationship Id="rId1" Type="http://schemas.openxmlformats.org/officeDocument/2006/relationships/slideLayout" Target="../slideLayouts/slideLayout269.xml"/><Relationship Id="rId6" Type="http://schemas.openxmlformats.org/officeDocument/2006/relationships/slideLayout" Target="../slideLayouts/slideLayout274.xml"/><Relationship Id="rId11" Type="http://schemas.openxmlformats.org/officeDocument/2006/relationships/slideLayout" Target="../slideLayouts/slideLayout279.xml"/><Relationship Id="rId5" Type="http://schemas.openxmlformats.org/officeDocument/2006/relationships/slideLayout" Target="../slideLayouts/slideLayout273.xml"/><Relationship Id="rId10" Type="http://schemas.openxmlformats.org/officeDocument/2006/relationships/slideLayout" Target="../slideLayouts/slideLayout278.xml"/><Relationship Id="rId4" Type="http://schemas.openxmlformats.org/officeDocument/2006/relationships/slideLayout" Target="../slideLayouts/slideLayout272.xml"/><Relationship Id="rId9" Type="http://schemas.openxmlformats.org/officeDocument/2006/relationships/slideLayout" Target="../slideLayouts/slideLayout277.xml"/><Relationship Id="rId14"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89.xml"/><Relationship Id="rId13" Type="http://schemas.openxmlformats.org/officeDocument/2006/relationships/slideLayout" Target="../slideLayouts/slideLayout294.xml"/><Relationship Id="rId18" Type="http://schemas.openxmlformats.org/officeDocument/2006/relationships/theme" Target="../theme/theme19.xml"/><Relationship Id="rId3" Type="http://schemas.openxmlformats.org/officeDocument/2006/relationships/slideLayout" Target="../slideLayouts/slideLayout284.xml"/><Relationship Id="rId21" Type="http://schemas.openxmlformats.org/officeDocument/2006/relationships/oleObject" Target="../embeddings/oleObject1.bin"/><Relationship Id="rId7" Type="http://schemas.openxmlformats.org/officeDocument/2006/relationships/slideLayout" Target="../slideLayouts/slideLayout288.xml"/><Relationship Id="rId12" Type="http://schemas.openxmlformats.org/officeDocument/2006/relationships/slideLayout" Target="../slideLayouts/slideLayout293.xml"/><Relationship Id="rId17" Type="http://schemas.openxmlformats.org/officeDocument/2006/relationships/slideLayout" Target="../slideLayouts/slideLayout298.xml"/><Relationship Id="rId2" Type="http://schemas.openxmlformats.org/officeDocument/2006/relationships/slideLayout" Target="../slideLayouts/slideLayout283.xml"/><Relationship Id="rId16" Type="http://schemas.openxmlformats.org/officeDocument/2006/relationships/slideLayout" Target="../slideLayouts/slideLayout297.xml"/><Relationship Id="rId20" Type="http://schemas.openxmlformats.org/officeDocument/2006/relationships/tags" Target="../tags/tag12.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5" Type="http://schemas.openxmlformats.org/officeDocument/2006/relationships/slideLayout" Target="../slideLayouts/slideLayout286.xml"/><Relationship Id="rId15" Type="http://schemas.openxmlformats.org/officeDocument/2006/relationships/slideLayout" Target="../slideLayouts/slideLayout296.xml"/><Relationship Id="rId10" Type="http://schemas.openxmlformats.org/officeDocument/2006/relationships/slideLayout" Target="../slideLayouts/slideLayout291.xml"/><Relationship Id="rId19" Type="http://schemas.openxmlformats.org/officeDocument/2006/relationships/tags" Target="../tags/tag11.xml"/><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 Id="rId22" Type="http://schemas.openxmlformats.org/officeDocument/2006/relationships/image" Target="../media/image49.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heme" Target="../theme/theme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image" Target="../media/image3.png"/></Relationships>
</file>

<file path=ppt/slideMasters/_rels/slideMaster20.xml.rels><?xml version="1.0" encoding="UTF-8" standalone="yes"?>
<Relationships xmlns="http://schemas.openxmlformats.org/package/2006/relationships"><Relationship Id="rId8" Type="http://schemas.openxmlformats.org/officeDocument/2006/relationships/theme" Target="../theme/theme20.xml"/><Relationship Id="rId3" Type="http://schemas.openxmlformats.org/officeDocument/2006/relationships/slideLayout" Target="../slideLayouts/slideLayout301.xml"/><Relationship Id="rId7" Type="http://schemas.openxmlformats.org/officeDocument/2006/relationships/slideLayout" Target="../slideLayouts/slideLayout305.xml"/><Relationship Id="rId2" Type="http://schemas.openxmlformats.org/officeDocument/2006/relationships/slideLayout" Target="../slideLayouts/slideLayout300.xml"/><Relationship Id="rId1" Type="http://schemas.openxmlformats.org/officeDocument/2006/relationships/slideLayout" Target="../slideLayouts/slideLayout299.xml"/><Relationship Id="rId6" Type="http://schemas.openxmlformats.org/officeDocument/2006/relationships/slideLayout" Target="../slideLayouts/slideLayout304.xml"/><Relationship Id="rId5" Type="http://schemas.openxmlformats.org/officeDocument/2006/relationships/slideLayout" Target="../slideLayouts/slideLayout303.xml"/><Relationship Id="rId4" Type="http://schemas.openxmlformats.org/officeDocument/2006/relationships/slideLayout" Target="../slideLayouts/slideLayout302.xml"/><Relationship Id="rId9" Type="http://schemas.openxmlformats.org/officeDocument/2006/relationships/image" Target="../media/image54.png"/></Relationships>
</file>

<file path=ppt/slideMasters/_rels/slideMaster21.xml.rels><?xml version="1.0" encoding="UTF-8" standalone="yes"?>
<Relationships xmlns="http://schemas.openxmlformats.org/package/2006/relationships"><Relationship Id="rId8" Type="http://schemas.openxmlformats.org/officeDocument/2006/relationships/theme" Target="../theme/theme21.xml"/><Relationship Id="rId3" Type="http://schemas.openxmlformats.org/officeDocument/2006/relationships/slideLayout" Target="../slideLayouts/slideLayout308.xml"/><Relationship Id="rId7" Type="http://schemas.openxmlformats.org/officeDocument/2006/relationships/slideLayout" Target="../slideLayouts/slideLayout312.xml"/><Relationship Id="rId2" Type="http://schemas.openxmlformats.org/officeDocument/2006/relationships/slideLayout" Target="../slideLayouts/slideLayout307.xml"/><Relationship Id="rId1" Type="http://schemas.openxmlformats.org/officeDocument/2006/relationships/slideLayout" Target="../slideLayouts/slideLayout306.xml"/><Relationship Id="rId6" Type="http://schemas.openxmlformats.org/officeDocument/2006/relationships/slideLayout" Target="../slideLayouts/slideLayout311.xml"/><Relationship Id="rId5" Type="http://schemas.openxmlformats.org/officeDocument/2006/relationships/slideLayout" Target="../slideLayouts/slideLayout310.xml"/><Relationship Id="rId4" Type="http://schemas.openxmlformats.org/officeDocument/2006/relationships/slideLayout" Target="../slideLayouts/slideLayout309.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20.xml"/><Relationship Id="rId13" Type="http://schemas.openxmlformats.org/officeDocument/2006/relationships/slideLayout" Target="../slideLayouts/slideLayout325.xml"/><Relationship Id="rId3" Type="http://schemas.openxmlformats.org/officeDocument/2006/relationships/slideLayout" Target="../slideLayouts/slideLayout315.xml"/><Relationship Id="rId7" Type="http://schemas.openxmlformats.org/officeDocument/2006/relationships/slideLayout" Target="../slideLayouts/slideLayout319.xml"/><Relationship Id="rId12" Type="http://schemas.openxmlformats.org/officeDocument/2006/relationships/slideLayout" Target="../slideLayouts/slideLayout324.xml"/><Relationship Id="rId2" Type="http://schemas.openxmlformats.org/officeDocument/2006/relationships/slideLayout" Target="../slideLayouts/slideLayout314.xml"/><Relationship Id="rId1" Type="http://schemas.openxmlformats.org/officeDocument/2006/relationships/slideLayout" Target="../slideLayouts/slideLayout313.xml"/><Relationship Id="rId6" Type="http://schemas.openxmlformats.org/officeDocument/2006/relationships/slideLayout" Target="../slideLayouts/slideLayout318.xml"/><Relationship Id="rId11" Type="http://schemas.openxmlformats.org/officeDocument/2006/relationships/slideLayout" Target="../slideLayouts/slideLayout323.xml"/><Relationship Id="rId5" Type="http://schemas.openxmlformats.org/officeDocument/2006/relationships/slideLayout" Target="../slideLayouts/slideLayout317.xml"/><Relationship Id="rId15" Type="http://schemas.openxmlformats.org/officeDocument/2006/relationships/theme" Target="../theme/theme22.xml"/><Relationship Id="rId10" Type="http://schemas.openxmlformats.org/officeDocument/2006/relationships/slideLayout" Target="../slideLayouts/slideLayout322.xml"/><Relationship Id="rId4" Type="http://schemas.openxmlformats.org/officeDocument/2006/relationships/slideLayout" Target="../slideLayouts/slideLayout316.xml"/><Relationship Id="rId9" Type="http://schemas.openxmlformats.org/officeDocument/2006/relationships/slideLayout" Target="../slideLayouts/slideLayout321.xml"/><Relationship Id="rId14" Type="http://schemas.openxmlformats.org/officeDocument/2006/relationships/slideLayout" Target="../slideLayouts/slideLayout326.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34.xml"/><Relationship Id="rId3" Type="http://schemas.openxmlformats.org/officeDocument/2006/relationships/slideLayout" Target="../slideLayouts/slideLayout329.xml"/><Relationship Id="rId7" Type="http://schemas.openxmlformats.org/officeDocument/2006/relationships/slideLayout" Target="../slideLayouts/slideLayout333.xml"/><Relationship Id="rId12" Type="http://schemas.openxmlformats.org/officeDocument/2006/relationships/theme" Target="../theme/theme23.xml"/><Relationship Id="rId2" Type="http://schemas.openxmlformats.org/officeDocument/2006/relationships/slideLayout" Target="../slideLayouts/slideLayout328.xml"/><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slideLayout" Target="../slideLayouts/slideLayout337.xml"/><Relationship Id="rId5" Type="http://schemas.openxmlformats.org/officeDocument/2006/relationships/slideLayout" Target="../slideLayouts/slideLayout331.xml"/><Relationship Id="rId10" Type="http://schemas.openxmlformats.org/officeDocument/2006/relationships/slideLayout" Target="../slideLayouts/slideLayout336.xml"/><Relationship Id="rId4" Type="http://schemas.openxmlformats.org/officeDocument/2006/relationships/slideLayout" Target="../slideLayouts/slideLayout330.xml"/><Relationship Id="rId9" Type="http://schemas.openxmlformats.org/officeDocument/2006/relationships/slideLayout" Target="../slideLayouts/slideLayout335.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45.xml"/><Relationship Id="rId13" Type="http://schemas.openxmlformats.org/officeDocument/2006/relationships/slideLayout" Target="../slideLayouts/slideLayout350.xml"/><Relationship Id="rId3" Type="http://schemas.openxmlformats.org/officeDocument/2006/relationships/slideLayout" Target="../slideLayouts/slideLayout340.xml"/><Relationship Id="rId7" Type="http://schemas.openxmlformats.org/officeDocument/2006/relationships/slideLayout" Target="../slideLayouts/slideLayout344.xml"/><Relationship Id="rId12" Type="http://schemas.openxmlformats.org/officeDocument/2006/relationships/slideLayout" Target="../slideLayouts/slideLayout349.xml"/><Relationship Id="rId2" Type="http://schemas.openxmlformats.org/officeDocument/2006/relationships/slideLayout" Target="../slideLayouts/slideLayout339.xml"/><Relationship Id="rId1" Type="http://schemas.openxmlformats.org/officeDocument/2006/relationships/slideLayout" Target="../slideLayouts/slideLayout338.xml"/><Relationship Id="rId6" Type="http://schemas.openxmlformats.org/officeDocument/2006/relationships/slideLayout" Target="../slideLayouts/slideLayout343.xml"/><Relationship Id="rId11" Type="http://schemas.openxmlformats.org/officeDocument/2006/relationships/slideLayout" Target="../slideLayouts/slideLayout348.xml"/><Relationship Id="rId5" Type="http://schemas.openxmlformats.org/officeDocument/2006/relationships/slideLayout" Target="../slideLayouts/slideLayout342.xml"/><Relationship Id="rId10" Type="http://schemas.openxmlformats.org/officeDocument/2006/relationships/slideLayout" Target="../slideLayouts/slideLayout347.xml"/><Relationship Id="rId4" Type="http://schemas.openxmlformats.org/officeDocument/2006/relationships/slideLayout" Target="../slideLayouts/slideLayout341.xml"/><Relationship Id="rId9" Type="http://schemas.openxmlformats.org/officeDocument/2006/relationships/slideLayout" Target="../slideLayouts/slideLayout346.xml"/><Relationship Id="rId14"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358.xml"/><Relationship Id="rId13" Type="http://schemas.openxmlformats.org/officeDocument/2006/relationships/slideLayout" Target="../slideLayouts/slideLayout363.xml"/><Relationship Id="rId3" Type="http://schemas.openxmlformats.org/officeDocument/2006/relationships/slideLayout" Target="../slideLayouts/slideLayout353.xml"/><Relationship Id="rId7" Type="http://schemas.openxmlformats.org/officeDocument/2006/relationships/slideLayout" Target="../slideLayouts/slideLayout357.xml"/><Relationship Id="rId12" Type="http://schemas.openxmlformats.org/officeDocument/2006/relationships/slideLayout" Target="../slideLayouts/slideLayout362.xml"/><Relationship Id="rId2" Type="http://schemas.openxmlformats.org/officeDocument/2006/relationships/slideLayout" Target="../slideLayouts/slideLayout352.xml"/><Relationship Id="rId1" Type="http://schemas.openxmlformats.org/officeDocument/2006/relationships/slideLayout" Target="../slideLayouts/slideLayout351.xml"/><Relationship Id="rId6" Type="http://schemas.openxmlformats.org/officeDocument/2006/relationships/slideLayout" Target="../slideLayouts/slideLayout356.xml"/><Relationship Id="rId11" Type="http://schemas.openxmlformats.org/officeDocument/2006/relationships/slideLayout" Target="../slideLayouts/slideLayout361.xml"/><Relationship Id="rId5" Type="http://schemas.openxmlformats.org/officeDocument/2006/relationships/slideLayout" Target="../slideLayouts/slideLayout355.xml"/><Relationship Id="rId10" Type="http://schemas.openxmlformats.org/officeDocument/2006/relationships/slideLayout" Target="../slideLayouts/slideLayout360.xml"/><Relationship Id="rId4" Type="http://schemas.openxmlformats.org/officeDocument/2006/relationships/slideLayout" Target="../slideLayouts/slideLayout354.xml"/><Relationship Id="rId9" Type="http://schemas.openxmlformats.org/officeDocument/2006/relationships/slideLayout" Target="../slideLayouts/slideLayout359.xml"/><Relationship Id="rId14"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371.xml"/><Relationship Id="rId13" Type="http://schemas.openxmlformats.org/officeDocument/2006/relationships/slideLayout" Target="../slideLayouts/slideLayout376.xml"/><Relationship Id="rId3" Type="http://schemas.openxmlformats.org/officeDocument/2006/relationships/slideLayout" Target="../slideLayouts/slideLayout366.xml"/><Relationship Id="rId7" Type="http://schemas.openxmlformats.org/officeDocument/2006/relationships/slideLayout" Target="../slideLayouts/slideLayout370.xml"/><Relationship Id="rId12" Type="http://schemas.openxmlformats.org/officeDocument/2006/relationships/slideLayout" Target="../slideLayouts/slideLayout375.xml"/><Relationship Id="rId2" Type="http://schemas.openxmlformats.org/officeDocument/2006/relationships/slideLayout" Target="../slideLayouts/slideLayout365.xml"/><Relationship Id="rId1" Type="http://schemas.openxmlformats.org/officeDocument/2006/relationships/slideLayout" Target="../slideLayouts/slideLayout364.xml"/><Relationship Id="rId6" Type="http://schemas.openxmlformats.org/officeDocument/2006/relationships/slideLayout" Target="../slideLayouts/slideLayout369.xml"/><Relationship Id="rId11" Type="http://schemas.openxmlformats.org/officeDocument/2006/relationships/slideLayout" Target="../slideLayouts/slideLayout374.xml"/><Relationship Id="rId5" Type="http://schemas.openxmlformats.org/officeDocument/2006/relationships/slideLayout" Target="../slideLayouts/slideLayout368.xml"/><Relationship Id="rId10" Type="http://schemas.openxmlformats.org/officeDocument/2006/relationships/slideLayout" Target="../slideLayouts/slideLayout373.xml"/><Relationship Id="rId4" Type="http://schemas.openxmlformats.org/officeDocument/2006/relationships/slideLayout" Target="../slideLayouts/slideLayout367.xml"/><Relationship Id="rId9" Type="http://schemas.openxmlformats.org/officeDocument/2006/relationships/slideLayout" Target="../slideLayouts/slideLayout372.xml"/><Relationship Id="rId14"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3" Type="http://schemas.openxmlformats.org/officeDocument/2006/relationships/slideLayout" Target="../slideLayouts/slideLayout379.xml"/><Relationship Id="rId7" Type="http://schemas.openxmlformats.org/officeDocument/2006/relationships/image" Target="../media/image59.jpg"/><Relationship Id="rId2" Type="http://schemas.openxmlformats.org/officeDocument/2006/relationships/slideLayout" Target="../slideLayouts/slideLayout378.xml"/><Relationship Id="rId1" Type="http://schemas.openxmlformats.org/officeDocument/2006/relationships/slideLayout" Target="../slideLayouts/slideLayout377.xml"/><Relationship Id="rId6" Type="http://schemas.openxmlformats.org/officeDocument/2006/relationships/theme" Target="../theme/theme27.xml"/><Relationship Id="rId5" Type="http://schemas.openxmlformats.org/officeDocument/2006/relationships/slideLayout" Target="../slideLayouts/slideLayout381.xml"/><Relationship Id="rId4" Type="http://schemas.openxmlformats.org/officeDocument/2006/relationships/slideLayout" Target="../slideLayouts/slideLayout380.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389.xml"/><Relationship Id="rId13" Type="http://schemas.openxmlformats.org/officeDocument/2006/relationships/slideLayout" Target="../slideLayouts/slideLayout394.xml"/><Relationship Id="rId18" Type="http://schemas.openxmlformats.org/officeDocument/2006/relationships/slideLayout" Target="../slideLayouts/slideLayout399.xml"/><Relationship Id="rId3" Type="http://schemas.openxmlformats.org/officeDocument/2006/relationships/slideLayout" Target="../slideLayouts/slideLayout384.xml"/><Relationship Id="rId7" Type="http://schemas.openxmlformats.org/officeDocument/2006/relationships/slideLayout" Target="../slideLayouts/slideLayout388.xml"/><Relationship Id="rId12" Type="http://schemas.openxmlformats.org/officeDocument/2006/relationships/slideLayout" Target="../slideLayouts/slideLayout393.xml"/><Relationship Id="rId17" Type="http://schemas.openxmlformats.org/officeDocument/2006/relationships/slideLayout" Target="../slideLayouts/slideLayout398.xml"/><Relationship Id="rId2" Type="http://schemas.openxmlformats.org/officeDocument/2006/relationships/slideLayout" Target="../slideLayouts/slideLayout383.xml"/><Relationship Id="rId16" Type="http://schemas.openxmlformats.org/officeDocument/2006/relationships/slideLayout" Target="../slideLayouts/slideLayout397.xml"/><Relationship Id="rId20" Type="http://schemas.openxmlformats.org/officeDocument/2006/relationships/image" Target="../media/image56.png"/><Relationship Id="rId1" Type="http://schemas.openxmlformats.org/officeDocument/2006/relationships/slideLayout" Target="../slideLayouts/slideLayout382.xml"/><Relationship Id="rId6" Type="http://schemas.openxmlformats.org/officeDocument/2006/relationships/slideLayout" Target="../slideLayouts/slideLayout387.xml"/><Relationship Id="rId11" Type="http://schemas.openxmlformats.org/officeDocument/2006/relationships/slideLayout" Target="../slideLayouts/slideLayout392.xml"/><Relationship Id="rId5" Type="http://schemas.openxmlformats.org/officeDocument/2006/relationships/slideLayout" Target="../slideLayouts/slideLayout386.xml"/><Relationship Id="rId15" Type="http://schemas.openxmlformats.org/officeDocument/2006/relationships/slideLayout" Target="../slideLayouts/slideLayout396.xml"/><Relationship Id="rId10" Type="http://schemas.openxmlformats.org/officeDocument/2006/relationships/slideLayout" Target="../slideLayouts/slideLayout391.xml"/><Relationship Id="rId19" Type="http://schemas.openxmlformats.org/officeDocument/2006/relationships/theme" Target="../theme/theme28.xml"/><Relationship Id="rId4" Type="http://schemas.openxmlformats.org/officeDocument/2006/relationships/slideLayout" Target="../slideLayouts/slideLayout385.xml"/><Relationship Id="rId9" Type="http://schemas.openxmlformats.org/officeDocument/2006/relationships/slideLayout" Target="../slideLayouts/slideLayout390.xml"/><Relationship Id="rId14" Type="http://schemas.openxmlformats.org/officeDocument/2006/relationships/slideLayout" Target="../slideLayouts/slideLayout395.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407.xml"/><Relationship Id="rId13" Type="http://schemas.openxmlformats.org/officeDocument/2006/relationships/slideLayout" Target="../slideLayouts/slideLayout412.xml"/><Relationship Id="rId18" Type="http://schemas.openxmlformats.org/officeDocument/2006/relationships/theme" Target="../theme/theme29.xml"/><Relationship Id="rId3" Type="http://schemas.openxmlformats.org/officeDocument/2006/relationships/slideLayout" Target="../slideLayouts/slideLayout402.xml"/><Relationship Id="rId7" Type="http://schemas.openxmlformats.org/officeDocument/2006/relationships/slideLayout" Target="../slideLayouts/slideLayout406.xml"/><Relationship Id="rId12" Type="http://schemas.openxmlformats.org/officeDocument/2006/relationships/slideLayout" Target="../slideLayouts/slideLayout411.xml"/><Relationship Id="rId17" Type="http://schemas.openxmlformats.org/officeDocument/2006/relationships/slideLayout" Target="../slideLayouts/slideLayout416.xml"/><Relationship Id="rId2" Type="http://schemas.openxmlformats.org/officeDocument/2006/relationships/slideLayout" Target="../slideLayouts/slideLayout401.xml"/><Relationship Id="rId16" Type="http://schemas.openxmlformats.org/officeDocument/2006/relationships/slideLayout" Target="../slideLayouts/slideLayout415.xml"/><Relationship Id="rId1" Type="http://schemas.openxmlformats.org/officeDocument/2006/relationships/slideLayout" Target="../slideLayouts/slideLayout400.xml"/><Relationship Id="rId6" Type="http://schemas.openxmlformats.org/officeDocument/2006/relationships/slideLayout" Target="../slideLayouts/slideLayout405.xml"/><Relationship Id="rId11" Type="http://schemas.openxmlformats.org/officeDocument/2006/relationships/slideLayout" Target="../slideLayouts/slideLayout410.xml"/><Relationship Id="rId5" Type="http://schemas.openxmlformats.org/officeDocument/2006/relationships/slideLayout" Target="../slideLayouts/slideLayout404.xml"/><Relationship Id="rId15" Type="http://schemas.openxmlformats.org/officeDocument/2006/relationships/slideLayout" Target="../slideLayouts/slideLayout414.xml"/><Relationship Id="rId10" Type="http://schemas.openxmlformats.org/officeDocument/2006/relationships/slideLayout" Target="../slideLayouts/slideLayout409.xml"/><Relationship Id="rId19" Type="http://schemas.openxmlformats.org/officeDocument/2006/relationships/image" Target="../media/image56.png"/><Relationship Id="rId4" Type="http://schemas.openxmlformats.org/officeDocument/2006/relationships/slideLayout" Target="../slideLayouts/slideLayout403.xml"/><Relationship Id="rId9" Type="http://schemas.openxmlformats.org/officeDocument/2006/relationships/slideLayout" Target="../slideLayouts/slideLayout408.xml"/><Relationship Id="rId14" Type="http://schemas.openxmlformats.org/officeDocument/2006/relationships/slideLayout" Target="../slideLayouts/slideLayout4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heme" Target="../theme/theme3.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theme" Target="../theme/theme4.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96.xml"/><Relationship Id="rId7" Type="http://schemas.openxmlformats.org/officeDocument/2006/relationships/image" Target="../media/image25.png"/><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theme" Target="../theme/theme6.xml"/><Relationship Id="rId5" Type="http://schemas.openxmlformats.org/officeDocument/2006/relationships/slideLayout" Target="../slideLayouts/slideLayout98.xml"/><Relationship Id="rId4" Type="http://schemas.openxmlformats.org/officeDocument/2006/relationships/slideLayout" Target="../slideLayouts/slideLayout9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theme" Target="../theme/theme8.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slideLayout" Target="../slideLayouts/slideLayout136.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image" Target="../media/image1.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theme" Target="../theme/theme9.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 Id="rId27" Type="http://schemas.openxmlformats.org/officeDocument/2006/relationships/image" Target="../media/image2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6">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444743874"/>
      </p:ext>
    </p:extLst>
  </p:cSld>
  <p:clrMap bg1="lt1" tx1="dk1" bg2="lt2" tx2="dk2" accent1="accent1" accent2="accent2" accent3="accent3" accent4="accent4" accent5="accent5" accent6="accent6" hlink="hlink" folHlink="folHlink"/>
  <p:sldLayoutIdLst>
    <p:sldLayoutId id="2147484509" r:id="rId1"/>
    <p:sldLayoutId id="2147484510" r:id="rId2"/>
    <p:sldLayoutId id="2147484511" r:id="rId3"/>
    <p:sldLayoutId id="2147484512" r:id="rId4"/>
    <p:sldLayoutId id="2147484513" r:id="rId5"/>
    <p:sldLayoutId id="2147484514" r:id="rId6"/>
    <p:sldLayoutId id="2147484515" r:id="rId7"/>
    <p:sldLayoutId id="2147484516" r:id="rId8"/>
    <p:sldLayoutId id="2147484517" r:id="rId9"/>
    <p:sldLayoutId id="2147484518" r:id="rId10"/>
    <p:sldLayoutId id="2147484519" r:id="rId11"/>
    <p:sldLayoutId id="2147484520" r:id="rId12"/>
    <p:sldLayoutId id="2147484521" r:id="rId13"/>
    <p:sldLayoutId id="2147484522" r:id="rId14"/>
    <p:sldLayoutId id="2147484523" r:id="rId15"/>
    <p:sldLayoutId id="2147484524" r:id="rId16"/>
    <p:sldLayoutId id="2147484525" r:id="rId17"/>
    <p:sldLayoutId id="2147484544" r:id="rId18"/>
    <p:sldLayoutId id="2147484545" r:id="rId19"/>
    <p:sldLayoutId id="2147484546" r:id="rId20"/>
    <p:sldLayoutId id="2147484547" r:id="rId21"/>
    <p:sldLayoutId id="2147484548" r:id="rId22"/>
    <p:sldLayoutId id="2147484549" r:id="rId23"/>
    <p:sldLayoutId id="2147484550"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8495" y="152400"/>
            <a:ext cx="11371232" cy="914400"/>
          </a:xfrm>
          <a:prstGeom prst="rect">
            <a:avLst/>
          </a:prstGeom>
        </p:spPr>
        <p:txBody>
          <a:bodyPr vert="horz" lIns="0" tIns="0" rIns="91430" bIns="0" rtlCol="0" anchor="b" anchorCtr="0">
            <a:normAutofit/>
          </a:bodyPr>
          <a:lstStyle/>
          <a:p>
            <a:endParaRPr lang="en-US" dirty="0"/>
          </a:p>
        </p:txBody>
      </p:sp>
      <p:sp>
        <p:nvSpPr>
          <p:cNvPr id="3" name="Text Placeholder 2"/>
          <p:cNvSpPr>
            <a:spLocks noGrp="1"/>
          </p:cNvSpPr>
          <p:nvPr>
            <p:ph type="body" idx="1"/>
          </p:nvPr>
        </p:nvSpPr>
        <p:spPr>
          <a:xfrm>
            <a:off x="423333" y="1608669"/>
            <a:ext cx="11358032" cy="4525963"/>
          </a:xfrm>
          <a:prstGeom prst="rect">
            <a:avLst/>
          </a:prstGeom>
        </p:spPr>
        <p:txBody>
          <a:bodyPr vert="horz" lIns="0" tIns="0" rIns="0" bIns="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p:cNvSpPr>
            <a:spLocks noGrp="1"/>
          </p:cNvSpPr>
          <p:nvPr>
            <p:ph type="sldNum" sz="quarter" idx="4"/>
          </p:nvPr>
        </p:nvSpPr>
        <p:spPr>
          <a:xfrm>
            <a:off x="428494" y="6291885"/>
            <a:ext cx="316573" cy="365125"/>
          </a:xfrm>
          <a:prstGeom prst="rect">
            <a:avLst/>
          </a:prstGeom>
          <a:ln>
            <a:noFill/>
          </a:ln>
        </p:spPr>
        <p:txBody>
          <a:bodyPr lIns="0" tIns="0" rIns="0" bIns="0" anchor="ctr" anchorCtr="0"/>
          <a:lstStyle>
            <a:lvl1pPr algn="l">
              <a:defRPr sz="1000">
                <a:solidFill>
                  <a:srgbClr val="101D3A"/>
                </a:solidFill>
              </a:defRPr>
            </a:lvl1pPr>
          </a:lstStyle>
          <a:p>
            <a:fld id="{23750D03-48AD-2741-AECD-41D901562598}" type="slidenum">
              <a:rPr lang="en-US" smtClean="0"/>
              <a:pPr/>
              <a:t>‹#›</a:t>
            </a:fld>
            <a:endParaRPr lang="en-US" dirty="0"/>
          </a:p>
        </p:txBody>
      </p:sp>
      <p:sp>
        <p:nvSpPr>
          <p:cNvPr id="14" name="Footer Placeholder 4"/>
          <p:cNvSpPr>
            <a:spLocks noGrp="1"/>
          </p:cNvSpPr>
          <p:nvPr>
            <p:ph type="ftr" sz="quarter" idx="3"/>
          </p:nvPr>
        </p:nvSpPr>
        <p:spPr>
          <a:xfrm>
            <a:off x="879759" y="6291885"/>
            <a:ext cx="5166676" cy="365125"/>
          </a:xfrm>
          <a:prstGeom prst="rect">
            <a:avLst/>
          </a:prstGeom>
        </p:spPr>
        <p:txBody>
          <a:bodyPr lIns="0" tIns="0" rIns="0" bIns="0" anchor="ctr" anchorCtr="0"/>
          <a:lstStyle>
            <a:lvl1pPr algn="l">
              <a:defRPr sz="1000">
                <a:solidFill>
                  <a:srgbClr val="13294B"/>
                </a:solidFill>
              </a:defRPr>
            </a:lvl1pPr>
          </a:lstStyle>
          <a:p>
            <a:endParaRPr lang="en-US" dirty="0"/>
          </a:p>
        </p:txBody>
      </p:sp>
    </p:spTree>
    <p:extLst>
      <p:ext uri="{BB962C8B-B14F-4D97-AF65-F5344CB8AC3E}">
        <p14:creationId xmlns:p14="http://schemas.microsoft.com/office/powerpoint/2010/main" val="1863842083"/>
      </p:ext>
    </p:extLst>
  </p:cSld>
  <p:clrMap bg1="lt1" tx1="dk1" bg2="lt2" tx2="dk2" accent1="accent1" accent2="accent2" accent3="accent3" accent4="accent4" accent5="accent5" accent6="accent6" hlink="hlink" folHlink="folHlink"/>
  <p:sldLayoutIdLst>
    <p:sldLayoutId id="2147485184" r:id="rId1"/>
    <p:sldLayoutId id="2147485185" r:id="rId2"/>
    <p:sldLayoutId id="2147485186" r:id="rId3"/>
    <p:sldLayoutId id="2147485187" r:id="rId4"/>
    <p:sldLayoutId id="2147485188" r:id="rId5"/>
    <p:sldLayoutId id="2147485189" r:id="rId6"/>
    <p:sldLayoutId id="2147485190" r:id="rId7"/>
    <p:sldLayoutId id="2147485191" r:id="rId8"/>
    <p:sldLayoutId id="2147485192" r:id="rId9"/>
    <p:sldLayoutId id="2147485194" r:id="rId10"/>
    <p:sldLayoutId id="2147485195"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457139" rtl="0" eaLnBrk="1" latinLnBrk="0" hangingPunct="1">
        <a:lnSpc>
          <a:spcPts val="3000"/>
        </a:lnSpc>
        <a:spcBef>
          <a:spcPct val="0"/>
        </a:spcBef>
        <a:buNone/>
        <a:defRPr sz="2800" kern="1200">
          <a:solidFill>
            <a:srgbClr val="007DBA"/>
          </a:solidFill>
          <a:latin typeface="Arial"/>
          <a:ea typeface="+mj-ea"/>
          <a:cs typeface="+mj-cs"/>
        </a:defRPr>
      </a:lvl1pPr>
    </p:titleStyle>
    <p:bodyStyle>
      <a:lvl1pPr marL="342854" indent="-342854" algn="l" defTabSz="457139" rtl="0" eaLnBrk="1" latinLnBrk="0" hangingPunct="1">
        <a:lnSpc>
          <a:spcPct val="90000"/>
        </a:lnSpc>
        <a:spcBef>
          <a:spcPts val="600"/>
        </a:spcBef>
        <a:spcAft>
          <a:spcPts val="800"/>
        </a:spcAft>
        <a:buFont typeface="Arial"/>
        <a:buChar char="•"/>
        <a:defRPr sz="1600" kern="1200">
          <a:solidFill>
            <a:schemeClr val="tx2"/>
          </a:solidFill>
          <a:latin typeface="Arial"/>
          <a:ea typeface="+mn-ea"/>
          <a:cs typeface="+mn-cs"/>
        </a:defRPr>
      </a:lvl1pPr>
      <a:lvl2pPr marL="742852" indent="-285713" algn="l" defTabSz="457139" rtl="0" eaLnBrk="1" latinLnBrk="0" hangingPunct="1">
        <a:lnSpc>
          <a:spcPct val="90000"/>
        </a:lnSpc>
        <a:spcBef>
          <a:spcPts val="600"/>
        </a:spcBef>
        <a:spcAft>
          <a:spcPts val="800"/>
        </a:spcAft>
        <a:buFont typeface="Arial"/>
        <a:buChar char="•"/>
        <a:defRPr sz="1600" kern="1200">
          <a:solidFill>
            <a:schemeClr val="tx2"/>
          </a:solidFill>
          <a:latin typeface="Arial"/>
          <a:ea typeface="+mn-ea"/>
          <a:cs typeface="+mn-cs"/>
        </a:defRPr>
      </a:lvl2pPr>
      <a:lvl3pPr marL="1142850" indent="-228570" algn="l" defTabSz="457139" rtl="0" eaLnBrk="1" latinLnBrk="0" hangingPunct="1">
        <a:lnSpc>
          <a:spcPct val="90000"/>
        </a:lnSpc>
        <a:spcBef>
          <a:spcPts val="600"/>
        </a:spcBef>
        <a:spcAft>
          <a:spcPts val="800"/>
        </a:spcAft>
        <a:buFont typeface="Arial"/>
        <a:buChar char="•"/>
        <a:defRPr sz="1500" kern="1200">
          <a:solidFill>
            <a:schemeClr val="tx2"/>
          </a:solidFill>
          <a:latin typeface="Arial"/>
          <a:ea typeface="+mn-ea"/>
          <a:cs typeface="+mn-cs"/>
        </a:defRPr>
      </a:lvl3pPr>
      <a:lvl4pPr marL="1599991" indent="-228570" algn="l" defTabSz="457139" rtl="0" eaLnBrk="1" latinLnBrk="0" hangingPunct="1">
        <a:lnSpc>
          <a:spcPct val="90000"/>
        </a:lnSpc>
        <a:spcBef>
          <a:spcPts val="600"/>
        </a:spcBef>
        <a:spcAft>
          <a:spcPts val="800"/>
        </a:spcAft>
        <a:buFont typeface="Arial"/>
        <a:buChar char="•"/>
        <a:defRPr sz="1300" kern="1200">
          <a:solidFill>
            <a:schemeClr val="tx2"/>
          </a:solidFill>
          <a:latin typeface="Arial"/>
          <a:ea typeface="+mn-ea"/>
          <a:cs typeface="+mn-cs"/>
        </a:defRPr>
      </a:lvl4pPr>
      <a:lvl5pPr marL="2057130" indent="-228570" algn="l" defTabSz="457139" rtl="0" eaLnBrk="1" latinLnBrk="0" hangingPunct="1">
        <a:lnSpc>
          <a:spcPct val="90000"/>
        </a:lnSpc>
        <a:spcBef>
          <a:spcPts val="600"/>
        </a:spcBef>
        <a:spcAft>
          <a:spcPts val="800"/>
        </a:spcAft>
        <a:buFont typeface="Arial"/>
        <a:buChar char="•"/>
        <a:defRPr sz="1200" kern="1200">
          <a:solidFill>
            <a:schemeClr val="tx2"/>
          </a:solidFill>
          <a:latin typeface="Arial"/>
          <a:ea typeface="+mn-ea"/>
          <a:cs typeface="+mn-cs"/>
        </a:defRPr>
      </a:lvl5pPr>
      <a:lvl6pPr marL="2514269" indent="-228570" algn="l" defTabSz="457139" rtl="0" eaLnBrk="1" latinLnBrk="0" hangingPunct="1">
        <a:spcBef>
          <a:spcPct val="20000"/>
        </a:spcBef>
        <a:buFont typeface="Arial"/>
        <a:buChar char="•"/>
        <a:defRPr sz="2000" kern="1200">
          <a:solidFill>
            <a:schemeClr val="tx1"/>
          </a:solidFill>
          <a:latin typeface="+mn-lt"/>
          <a:ea typeface="+mn-ea"/>
          <a:cs typeface="+mn-cs"/>
        </a:defRPr>
      </a:lvl6pPr>
      <a:lvl7pPr marL="2971410" indent="-228570" algn="l" defTabSz="457139" rtl="0" eaLnBrk="1" latinLnBrk="0" hangingPunct="1">
        <a:spcBef>
          <a:spcPct val="20000"/>
        </a:spcBef>
        <a:buFont typeface="Arial"/>
        <a:buChar char="•"/>
        <a:defRPr sz="2000" kern="1200">
          <a:solidFill>
            <a:schemeClr val="tx1"/>
          </a:solidFill>
          <a:latin typeface="+mn-lt"/>
          <a:ea typeface="+mn-ea"/>
          <a:cs typeface="+mn-cs"/>
        </a:defRPr>
      </a:lvl7pPr>
      <a:lvl8pPr marL="3428550" indent="-228570" algn="l" defTabSz="457139" rtl="0" eaLnBrk="1" latinLnBrk="0" hangingPunct="1">
        <a:spcBef>
          <a:spcPct val="20000"/>
        </a:spcBef>
        <a:buFont typeface="Arial"/>
        <a:buChar char="•"/>
        <a:defRPr sz="2000" kern="1200">
          <a:solidFill>
            <a:schemeClr val="tx1"/>
          </a:solidFill>
          <a:latin typeface="+mn-lt"/>
          <a:ea typeface="+mn-ea"/>
          <a:cs typeface="+mn-cs"/>
        </a:defRPr>
      </a:lvl8pPr>
      <a:lvl9pPr marL="3885690" indent="-228570" algn="l" defTabSz="45713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9" rtl="0" eaLnBrk="1" latinLnBrk="0" hangingPunct="1">
        <a:defRPr sz="1800" kern="1200">
          <a:solidFill>
            <a:schemeClr val="tx1"/>
          </a:solidFill>
          <a:latin typeface="+mn-lt"/>
          <a:ea typeface="+mn-ea"/>
          <a:cs typeface="+mn-cs"/>
        </a:defRPr>
      </a:lvl1pPr>
      <a:lvl2pPr marL="457139" algn="l" defTabSz="457139" rtl="0" eaLnBrk="1" latinLnBrk="0" hangingPunct="1">
        <a:defRPr sz="1800" kern="1200">
          <a:solidFill>
            <a:schemeClr val="tx1"/>
          </a:solidFill>
          <a:latin typeface="+mn-lt"/>
          <a:ea typeface="+mn-ea"/>
          <a:cs typeface="+mn-cs"/>
        </a:defRPr>
      </a:lvl2pPr>
      <a:lvl3pPr marL="914280" algn="l" defTabSz="457139" rtl="0" eaLnBrk="1" latinLnBrk="0" hangingPunct="1">
        <a:defRPr sz="1800" kern="1200">
          <a:solidFill>
            <a:schemeClr val="tx1"/>
          </a:solidFill>
          <a:latin typeface="+mn-lt"/>
          <a:ea typeface="+mn-ea"/>
          <a:cs typeface="+mn-cs"/>
        </a:defRPr>
      </a:lvl3pPr>
      <a:lvl4pPr marL="1371420" algn="l" defTabSz="457139" rtl="0" eaLnBrk="1" latinLnBrk="0" hangingPunct="1">
        <a:defRPr sz="1800" kern="1200">
          <a:solidFill>
            <a:schemeClr val="tx1"/>
          </a:solidFill>
          <a:latin typeface="+mn-lt"/>
          <a:ea typeface="+mn-ea"/>
          <a:cs typeface="+mn-cs"/>
        </a:defRPr>
      </a:lvl4pPr>
      <a:lvl5pPr marL="1828561" algn="l" defTabSz="457139" rtl="0" eaLnBrk="1" latinLnBrk="0" hangingPunct="1">
        <a:defRPr sz="1800" kern="1200">
          <a:solidFill>
            <a:schemeClr val="tx1"/>
          </a:solidFill>
          <a:latin typeface="+mn-lt"/>
          <a:ea typeface="+mn-ea"/>
          <a:cs typeface="+mn-cs"/>
        </a:defRPr>
      </a:lvl5pPr>
      <a:lvl6pPr marL="2285700" algn="l" defTabSz="457139" rtl="0" eaLnBrk="1" latinLnBrk="0" hangingPunct="1">
        <a:defRPr sz="1800" kern="1200">
          <a:solidFill>
            <a:schemeClr val="tx1"/>
          </a:solidFill>
          <a:latin typeface="+mn-lt"/>
          <a:ea typeface="+mn-ea"/>
          <a:cs typeface="+mn-cs"/>
        </a:defRPr>
      </a:lvl6pPr>
      <a:lvl7pPr marL="2742839" algn="l" defTabSz="457139" rtl="0" eaLnBrk="1" latinLnBrk="0" hangingPunct="1">
        <a:defRPr sz="1800" kern="1200">
          <a:solidFill>
            <a:schemeClr val="tx1"/>
          </a:solidFill>
          <a:latin typeface="+mn-lt"/>
          <a:ea typeface="+mn-ea"/>
          <a:cs typeface="+mn-cs"/>
        </a:defRPr>
      </a:lvl7pPr>
      <a:lvl8pPr marL="3199980" algn="l" defTabSz="457139" rtl="0" eaLnBrk="1" latinLnBrk="0" hangingPunct="1">
        <a:defRPr sz="1800" kern="1200">
          <a:solidFill>
            <a:schemeClr val="tx1"/>
          </a:solidFill>
          <a:latin typeface="+mn-lt"/>
          <a:ea typeface="+mn-ea"/>
          <a:cs typeface="+mn-cs"/>
        </a:defRPr>
      </a:lvl8pPr>
      <a:lvl9pPr marL="3657119" algn="l" defTabSz="45713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56">
          <p15:clr>
            <a:srgbClr val="F26B43"/>
          </p15:clr>
        </p15:guide>
        <p15:guide id="4" pos="7424">
          <p15:clr>
            <a:srgbClr val="F26B43"/>
          </p15:clr>
        </p15:guide>
        <p15:guide id="5" orient="horz" pos="624">
          <p15:clr>
            <a:srgbClr val="F26B43"/>
          </p15:clr>
        </p15:guide>
        <p15:guide id="7" orient="horz" pos="1008">
          <p15:clr>
            <a:srgbClr val="F26B43"/>
          </p15:clr>
        </p15:guide>
        <p15:guide id="8" orient="horz" pos="4104">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7909827"/>
      </p:ext>
    </p:extLst>
  </p:cSld>
  <p:clrMap bg1="lt1" tx1="dk1" bg2="lt2" tx2="dk2" accent1="accent1" accent2="accent2" accent3="accent3" accent4="accent4" accent5="accent5" accent6="accent6" hlink="hlink" folHlink="folHlink"/>
  <p:sldLayoutIdLst>
    <p:sldLayoutId id="2147485198" r:id="rId1"/>
    <p:sldLayoutId id="2147485199" r:id="rId2"/>
    <p:sldLayoutId id="2147485200" r:id="rId3"/>
    <p:sldLayoutId id="2147485201" r:id="rId4"/>
    <p:sldLayoutId id="2147485202" r:id="rId5"/>
    <p:sldLayoutId id="2147485203" r:id="rId6"/>
    <p:sldLayoutId id="2147485204" r:id="rId7"/>
    <p:sldLayoutId id="2147485205" r:id="rId8"/>
    <p:sldLayoutId id="2147485206" r:id="rId9"/>
    <p:sldLayoutId id="2147485207" r:id="rId10"/>
    <p:sldLayoutId id="2147485208" r:id="rId11"/>
    <p:sldLayoutId id="2147485209"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457139" rtl="0" eaLnBrk="1" latinLnBrk="0" hangingPunct="1">
        <a:spcBef>
          <a:spcPct val="0"/>
        </a:spcBef>
        <a:buNone/>
        <a:defRPr sz="3300" kern="1200">
          <a:solidFill>
            <a:schemeClr val="tx1"/>
          </a:solidFill>
          <a:latin typeface="Arial"/>
          <a:ea typeface="+mj-ea"/>
          <a:cs typeface="+mj-cs"/>
        </a:defRPr>
      </a:lvl1pPr>
    </p:titleStyle>
    <p:bodyStyle>
      <a:lvl1pPr marL="342854" indent="-342854" algn="l" defTabSz="457139" rtl="0" eaLnBrk="1" latinLnBrk="0" hangingPunct="1">
        <a:spcBef>
          <a:spcPct val="20000"/>
        </a:spcBef>
        <a:buFont typeface="Arial"/>
        <a:buChar char="•"/>
        <a:defRPr sz="1600" kern="1200">
          <a:solidFill>
            <a:schemeClr val="tx1"/>
          </a:solidFill>
          <a:latin typeface="Arial"/>
          <a:ea typeface="+mn-ea"/>
          <a:cs typeface="+mn-cs"/>
        </a:defRPr>
      </a:lvl1pPr>
      <a:lvl2pPr marL="742852" indent="-285713" algn="l" defTabSz="457139" rtl="0" eaLnBrk="1" latinLnBrk="0" hangingPunct="1">
        <a:spcBef>
          <a:spcPct val="20000"/>
        </a:spcBef>
        <a:buFont typeface="Arial"/>
        <a:buChar char="•"/>
        <a:defRPr sz="1600" kern="1200">
          <a:solidFill>
            <a:schemeClr val="tx1"/>
          </a:solidFill>
          <a:latin typeface="Arial"/>
          <a:ea typeface="+mn-ea"/>
          <a:cs typeface="+mn-cs"/>
        </a:defRPr>
      </a:lvl2pPr>
      <a:lvl3pPr marL="1142850" indent="-228570" algn="l" defTabSz="457139" rtl="0" eaLnBrk="1" latinLnBrk="0" hangingPunct="1">
        <a:spcBef>
          <a:spcPct val="20000"/>
        </a:spcBef>
        <a:buFont typeface="Arial"/>
        <a:buChar char="•"/>
        <a:defRPr sz="1500" kern="1200">
          <a:solidFill>
            <a:schemeClr val="tx1"/>
          </a:solidFill>
          <a:latin typeface="Arial"/>
          <a:ea typeface="+mn-ea"/>
          <a:cs typeface="+mn-cs"/>
        </a:defRPr>
      </a:lvl3pPr>
      <a:lvl4pPr marL="1599991" indent="-228570" algn="l" defTabSz="457139" rtl="0" eaLnBrk="1" latinLnBrk="0" hangingPunct="1">
        <a:spcBef>
          <a:spcPct val="20000"/>
        </a:spcBef>
        <a:buFont typeface="Arial"/>
        <a:buChar char="•"/>
        <a:defRPr sz="1300" kern="1200">
          <a:solidFill>
            <a:schemeClr val="tx1"/>
          </a:solidFill>
          <a:latin typeface="Arial"/>
          <a:ea typeface="+mn-ea"/>
          <a:cs typeface="+mn-cs"/>
        </a:defRPr>
      </a:lvl4pPr>
      <a:lvl5pPr marL="2057130" indent="-228570" algn="l" defTabSz="457139" rtl="0" eaLnBrk="1" latinLnBrk="0" hangingPunct="1">
        <a:spcBef>
          <a:spcPct val="20000"/>
        </a:spcBef>
        <a:buFont typeface="Arial"/>
        <a:buChar char="•"/>
        <a:defRPr sz="1200" kern="1200">
          <a:solidFill>
            <a:schemeClr val="tx1"/>
          </a:solidFill>
          <a:latin typeface="Arial"/>
          <a:ea typeface="+mn-ea"/>
          <a:cs typeface="+mn-cs"/>
        </a:defRPr>
      </a:lvl5pPr>
      <a:lvl6pPr marL="2514269" indent="-228570" algn="l" defTabSz="457139" rtl="0" eaLnBrk="1" latinLnBrk="0" hangingPunct="1">
        <a:spcBef>
          <a:spcPct val="20000"/>
        </a:spcBef>
        <a:buFont typeface="Arial"/>
        <a:buChar char="•"/>
        <a:defRPr sz="2000" kern="1200">
          <a:solidFill>
            <a:schemeClr val="tx1"/>
          </a:solidFill>
          <a:latin typeface="+mn-lt"/>
          <a:ea typeface="+mn-ea"/>
          <a:cs typeface="+mn-cs"/>
        </a:defRPr>
      </a:lvl6pPr>
      <a:lvl7pPr marL="2971410" indent="-228570" algn="l" defTabSz="457139" rtl="0" eaLnBrk="1" latinLnBrk="0" hangingPunct="1">
        <a:spcBef>
          <a:spcPct val="20000"/>
        </a:spcBef>
        <a:buFont typeface="Arial"/>
        <a:buChar char="•"/>
        <a:defRPr sz="2000" kern="1200">
          <a:solidFill>
            <a:schemeClr val="tx1"/>
          </a:solidFill>
          <a:latin typeface="+mn-lt"/>
          <a:ea typeface="+mn-ea"/>
          <a:cs typeface="+mn-cs"/>
        </a:defRPr>
      </a:lvl7pPr>
      <a:lvl8pPr marL="3428550" indent="-228570" algn="l" defTabSz="457139" rtl="0" eaLnBrk="1" latinLnBrk="0" hangingPunct="1">
        <a:spcBef>
          <a:spcPct val="20000"/>
        </a:spcBef>
        <a:buFont typeface="Arial"/>
        <a:buChar char="•"/>
        <a:defRPr sz="2000" kern="1200">
          <a:solidFill>
            <a:schemeClr val="tx1"/>
          </a:solidFill>
          <a:latin typeface="+mn-lt"/>
          <a:ea typeface="+mn-ea"/>
          <a:cs typeface="+mn-cs"/>
        </a:defRPr>
      </a:lvl8pPr>
      <a:lvl9pPr marL="3885690" indent="-228570" algn="l" defTabSz="45713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9" rtl="0" eaLnBrk="1" latinLnBrk="0" hangingPunct="1">
        <a:defRPr sz="1800" kern="1200">
          <a:solidFill>
            <a:schemeClr val="tx1"/>
          </a:solidFill>
          <a:latin typeface="+mn-lt"/>
          <a:ea typeface="+mn-ea"/>
          <a:cs typeface="+mn-cs"/>
        </a:defRPr>
      </a:lvl1pPr>
      <a:lvl2pPr marL="457139" algn="l" defTabSz="457139" rtl="0" eaLnBrk="1" latinLnBrk="0" hangingPunct="1">
        <a:defRPr sz="1800" kern="1200">
          <a:solidFill>
            <a:schemeClr val="tx1"/>
          </a:solidFill>
          <a:latin typeface="+mn-lt"/>
          <a:ea typeface="+mn-ea"/>
          <a:cs typeface="+mn-cs"/>
        </a:defRPr>
      </a:lvl2pPr>
      <a:lvl3pPr marL="914280" algn="l" defTabSz="457139" rtl="0" eaLnBrk="1" latinLnBrk="0" hangingPunct="1">
        <a:defRPr sz="1800" kern="1200">
          <a:solidFill>
            <a:schemeClr val="tx1"/>
          </a:solidFill>
          <a:latin typeface="+mn-lt"/>
          <a:ea typeface="+mn-ea"/>
          <a:cs typeface="+mn-cs"/>
        </a:defRPr>
      </a:lvl3pPr>
      <a:lvl4pPr marL="1371420" algn="l" defTabSz="457139" rtl="0" eaLnBrk="1" latinLnBrk="0" hangingPunct="1">
        <a:defRPr sz="1800" kern="1200">
          <a:solidFill>
            <a:schemeClr val="tx1"/>
          </a:solidFill>
          <a:latin typeface="+mn-lt"/>
          <a:ea typeface="+mn-ea"/>
          <a:cs typeface="+mn-cs"/>
        </a:defRPr>
      </a:lvl4pPr>
      <a:lvl5pPr marL="1828561" algn="l" defTabSz="457139" rtl="0" eaLnBrk="1" latinLnBrk="0" hangingPunct="1">
        <a:defRPr sz="1800" kern="1200">
          <a:solidFill>
            <a:schemeClr val="tx1"/>
          </a:solidFill>
          <a:latin typeface="+mn-lt"/>
          <a:ea typeface="+mn-ea"/>
          <a:cs typeface="+mn-cs"/>
        </a:defRPr>
      </a:lvl5pPr>
      <a:lvl6pPr marL="2285700" algn="l" defTabSz="457139" rtl="0" eaLnBrk="1" latinLnBrk="0" hangingPunct="1">
        <a:defRPr sz="1800" kern="1200">
          <a:solidFill>
            <a:schemeClr val="tx1"/>
          </a:solidFill>
          <a:latin typeface="+mn-lt"/>
          <a:ea typeface="+mn-ea"/>
          <a:cs typeface="+mn-cs"/>
        </a:defRPr>
      </a:lvl6pPr>
      <a:lvl7pPr marL="2742839" algn="l" defTabSz="457139" rtl="0" eaLnBrk="1" latinLnBrk="0" hangingPunct="1">
        <a:defRPr sz="1800" kern="1200">
          <a:solidFill>
            <a:schemeClr val="tx1"/>
          </a:solidFill>
          <a:latin typeface="+mn-lt"/>
          <a:ea typeface="+mn-ea"/>
          <a:cs typeface="+mn-cs"/>
        </a:defRPr>
      </a:lvl7pPr>
      <a:lvl8pPr marL="3199980" algn="l" defTabSz="457139" rtl="0" eaLnBrk="1" latinLnBrk="0" hangingPunct="1">
        <a:defRPr sz="1800" kern="1200">
          <a:solidFill>
            <a:schemeClr val="tx1"/>
          </a:solidFill>
          <a:latin typeface="+mn-lt"/>
          <a:ea typeface="+mn-ea"/>
          <a:cs typeface="+mn-cs"/>
        </a:defRPr>
      </a:lvl8pPr>
      <a:lvl9pPr marL="3657119" algn="l" defTabSz="45713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8495" y="152400"/>
            <a:ext cx="11371232" cy="914400"/>
          </a:xfrm>
          <a:prstGeom prst="rect">
            <a:avLst/>
          </a:prstGeom>
        </p:spPr>
        <p:txBody>
          <a:bodyPr vert="horz" lIns="0" tIns="0" rIns="91430" bIns="0" rtlCol="0" anchor="b" anchorCtr="0">
            <a:normAutofit/>
          </a:bodyPr>
          <a:lstStyle/>
          <a:p>
            <a:endParaRPr lang="en-US" dirty="0"/>
          </a:p>
        </p:txBody>
      </p:sp>
      <p:sp>
        <p:nvSpPr>
          <p:cNvPr id="3" name="Text Placeholder 2"/>
          <p:cNvSpPr>
            <a:spLocks noGrp="1"/>
          </p:cNvSpPr>
          <p:nvPr>
            <p:ph type="body" idx="1"/>
          </p:nvPr>
        </p:nvSpPr>
        <p:spPr>
          <a:xfrm>
            <a:off x="423333" y="1608669"/>
            <a:ext cx="11358032" cy="4525963"/>
          </a:xfrm>
          <a:prstGeom prst="rect">
            <a:avLst/>
          </a:prstGeom>
        </p:spPr>
        <p:txBody>
          <a:bodyPr vert="horz" lIns="0" tIns="0" rIns="0" bIns="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p:cNvSpPr>
            <a:spLocks noGrp="1"/>
          </p:cNvSpPr>
          <p:nvPr>
            <p:ph type="sldNum" sz="quarter" idx="4"/>
          </p:nvPr>
        </p:nvSpPr>
        <p:spPr>
          <a:xfrm>
            <a:off x="428494" y="6291885"/>
            <a:ext cx="316573" cy="365125"/>
          </a:xfrm>
          <a:prstGeom prst="rect">
            <a:avLst/>
          </a:prstGeom>
          <a:ln>
            <a:noFill/>
          </a:ln>
        </p:spPr>
        <p:txBody>
          <a:bodyPr lIns="0" tIns="0" rIns="0" bIns="0" anchor="ctr" anchorCtr="0"/>
          <a:lstStyle>
            <a:lvl1pPr algn="l">
              <a:defRPr sz="1000">
                <a:solidFill>
                  <a:srgbClr val="101D3A"/>
                </a:solidFill>
              </a:defRPr>
            </a:lvl1pPr>
          </a:lstStyle>
          <a:p>
            <a:fld id="{23750D03-48AD-2741-AECD-41D901562598}" type="slidenum">
              <a:rPr lang="en-US" smtClean="0"/>
              <a:pPr/>
              <a:t>‹#›</a:t>
            </a:fld>
            <a:endParaRPr lang="en-US" dirty="0"/>
          </a:p>
        </p:txBody>
      </p:sp>
      <p:sp>
        <p:nvSpPr>
          <p:cNvPr id="14" name="Footer Placeholder 4"/>
          <p:cNvSpPr>
            <a:spLocks noGrp="1"/>
          </p:cNvSpPr>
          <p:nvPr>
            <p:ph type="ftr" sz="quarter" idx="3"/>
          </p:nvPr>
        </p:nvSpPr>
        <p:spPr>
          <a:xfrm>
            <a:off x="879759" y="6291885"/>
            <a:ext cx="5166676" cy="365125"/>
          </a:xfrm>
          <a:prstGeom prst="rect">
            <a:avLst/>
          </a:prstGeom>
        </p:spPr>
        <p:txBody>
          <a:bodyPr lIns="0" tIns="0" rIns="0" bIns="0" anchor="ctr" anchorCtr="0"/>
          <a:lstStyle>
            <a:lvl1pPr algn="l">
              <a:defRPr sz="1000">
                <a:solidFill>
                  <a:srgbClr val="13294B"/>
                </a:solidFill>
              </a:defRPr>
            </a:lvl1pPr>
          </a:lstStyle>
          <a:p>
            <a:endParaRPr lang="en-US" dirty="0"/>
          </a:p>
        </p:txBody>
      </p:sp>
    </p:spTree>
    <p:extLst>
      <p:ext uri="{BB962C8B-B14F-4D97-AF65-F5344CB8AC3E}">
        <p14:creationId xmlns:p14="http://schemas.microsoft.com/office/powerpoint/2010/main" val="3303288922"/>
      </p:ext>
    </p:extLst>
  </p:cSld>
  <p:clrMap bg1="lt1" tx1="dk1" bg2="lt2" tx2="dk2" accent1="accent1" accent2="accent2" accent3="accent3" accent4="accent4" accent5="accent5" accent6="accent6" hlink="hlink" folHlink="folHlink"/>
  <p:sldLayoutIdLst>
    <p:sldLayoutId id="2147485252" r:id="rId1"/>
    <p:sldLayoutId id="2147485253" r:id="rId2"/>
    <p:sldLayoutId id="2147485254" r:id="rId3"/>
    <p:sldLayoutId id="2147485255" r:id="rId4"/>
    <p:sldLayoutId id="2147485256" r:id="rId5"/>
    <p:sldLayoutId id="2147485257" r:id="rId6"/>
    <p:sldLayoutId id="2147485258" r:id="rId7"/>
    <p:sldLayoutId id="2147485259" r:id="rId8"/>
    <p:sldLayoutId id="2147485260" r:id="rId9"/>
    <p:sldLayoutId id="2147485262" r:id="rId10"/>
    <p:sldLayoutId id="2147485263"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457139" rtl="0" eaLnBrk="1" latinLnBrk="0" hangingPunct="1">
        <a:lnSpc>
          <a:spcPts val="3000"/>
        </a:lnSpc>
        <a:spcBef>
          <a:spcPct val="0"/>
        </a:spcBef>
        <a:buNone/>
        <a:defRPr sz="2800" kern="1200">
          <a:solidFill>
            <a:srgbClr val="007DBA"/>
          </a:solidFill>
          <a:latin typeface="Arial"/>
          <a:ea typeface="+mj-ea"/>
          <a:cs typeface="+mj-cs"/>
        </a:defRPr>
      </a:lvl1pPr>
    </p:titleStyle>
    <p:bodyStyle>
      <a:lvl1pPr marL="342854" indent="-342854" algn="l" defTabSz="457139" rtl="0" eaLnBrk="1" latinLnBrk="0" hangingPunct="1">
        <a:lnSpc>
          <a:spcPct val="90000"/>
        </a:lnSpc>
        <a:spcBef>
          <a:spcPts val="600"/>
        </a:spcBef>
        <a:spcAft>
          <a:spcPts val="800"/>
        </a:spcAft>
        <a:buFont typeface="Arial"/>
        <a:buChar char="•"/>
        <a:defRPr sz="1600" kern="1200">
          <a:solidFill>
            <a:schemeClr val="tx2"/>
          </a:solidFill>
          <a:latin typeface="Arial"/>
          <a:ea typeface="+mn-ea"/>
          <a:cs typeface="+mn-cs"/>
        </a:defRPr>
      </a:lvl1pPr>
      <a:lvl2pPr marL="742852" indent="-285713" algn="l" defTabSz="457139" rtl="0" eaLnBrk="1" latinLnBrk="0" hangingPunct="1">
        <a:lnSpc>
          <a:spcPct val="90000"/>
        </a:lnSpc>
        <a:spcBef>
          <a:spcPts val="600"/>
        </a:spcBef>
        <a:spcAft>
          <a:spcPts val="800"/>
        </a:spcAft>
        <a:buFont typeface="Arial"/>
        <a:buChar char="•"/>
        <a:defRPr sz="1600" kern="1200">
          <a:solidFill>
            <a:schemeClr val="tx2"/>
          </a:solidFill>
          <a:latin typeface="Arial"/>
          <a:ea typeface="+mn-ea"/>
          <a:cs typeface="+mn-cs"/>
        </a:defRPr>
      </a:lvl2pPr>
      <a:lvl3pPr marL="1142850" indent="-228570" algn="l" defTabSz="457139" rtl="0" eaLnBrk="1" latinLnBrk="0" hangingPunct="1">
        <a:lnSpc>
          <a:spcPct val="90000"/>
        </a:lnSpc>
        <a:spcBef>
          <a:spcPts val="600"/>
        </a:spcBef>
        <a:spcAft>
          <a:spcPts val="800"/>
        </a:spcAft>
        <a:buFont typeface="Arial"/>
        <a:buChar char="•"/>
        <a:defRPr sz="1500" kern="1200">
          <a:solidFill>
            <a:schemeClr val="tx2"/>
          </a:solidFill>
          <a:latin typeface="Arial"/>
          <a:ea typeface="+mn-ea"/>
          <a:cs typeface="+mn-cs"/>
        </a:defRPr>
      </a:lvl3pPr>
      <a:lvl4pPr marL="1599991" indent="-228570" algn="l" defTabSz="457139" rtl="0" eaLnBrk="1" latinLnBrk="0" hangingPunct="1">
        <a:lnSpc>
          <a:spcPct val="90000"/>
        </a:lnSpc>
        <a:spcBef>
          <a:spcPts val="600"/>
        </a:spcBef>
        <a:spcAft>
          <a:spcPts val="800"/>
        </a:spcAft>
        <a:buFont typeface="Arial"/>
        <a:buChar char="•"/>
        <a:defRPr sz="1300" kern="1200">
          <a:solidFill>
            <a:schemeClr val="tx2"/>
          </a:solidFill>
          <a:latin typeface="Arial"/>
          <a:ea typeface="+mn-ea"/>
          <a:cs typeface="+mn-cs"/>
        </a:defRPr>
      </a:lvl4pPr>
      <a:lvl5pPr marL="2057130" indent="-228570" algn="l" defTabSz="457139" rtl="0" eaLnBrk="1" latinLnBrk="0" hangingPunct="1">
        <a:lnSpc>
          <a:spcPct val="90000"/>
        </a:lnSpc>
        <a:spcBef>
          <a:spcPts val="600"/>
        </a:spcBef>
        <a:spcAft>
          <a:spcPts val="800"/>
        </a:spcAft>
        <a:buFont typeface="Arial"/>
        <a:buChar char="•"/>
        <a:defRPr sz="1200" kern="1200">
          <a:solidFill>
            <a:schemeClr val="tx2"/>
          </a:solidFill>
          <a:latin typeface="Arial"/>
          <a:ea typeface="+mn-ea"/>
          <a:cs typeface="+mn-cs"/>
        </a:defRPr>
      </a:lvl5pPr>
      <a:lvl6pPr marL="2514269" indent="-228570" algn="l" defTabSz="457139" rtl="0" eaLnBrk="1" latinLnBrk="0" hangingPunct="1">
        <a:spcBef>
          <a:spcPct val="20000"/>
        </a:spcBef>
        <a:buFont typeface="Arial"/>
        <a:buChar char="•"/>
        <a:defRPr sz="2000" kern="1200">
          <a:solidFill>
            <a:schemeClr val="tx1"/>
          </a:solidFill>
          <a:latin typeface="+mn-lt"/>
          <a:ea typeface="+mn-ea"/>
          <a:cs typeface="+mn-cs"/>
        </a:defRPr>
      </a:lvl6pPr>
      <a:lvl7pPr marL="2971410" indent="-228570" algn="l" defTabSz="457139" rtl="0" eaLnBrk="1" latinLnBrk="0" hangingPunct="1">
        <a:spcBef>
          <a:spcPct val="20000"/>
        </a:spcBef>
        <a:buFont typeface="Arial"/>
        <a:buChar char="•"/>
        <a:defRPr sz="2000" kern="1200">
          <a:solidFill>
            <a:schemeClr val="tx1"/>
          </a:solidFill>
          <a:latin typeface="+mn-lt"/>
          <a:ea typeface="+mn-ea"/>
          <a:cs typeface="+mn-cs"/>
        </a:defRPr>
      </a:lvl7pPr>
      <a:lvl8pPr marL="3428550" indent="-228570" algn="l" defTabSz="457139" rtl="0" eaLnBrk="1" latinLnBrk="0" hangingPunct="1">
        <a:spcBef>
          <a:spcPct val="20000"/>
        </a:spcBef>
        <a:buFont typeface="Arial"/>
        <a:buChar char="•"/>
        <a:defRPr sz="2000" kern="1200">
          <a:solidFill>
            <a:schemeClr val="tx1"/>
          </a:solidFill>
          <a:latin typeface="+mn-lt"/>
          <a:ea typeface="+mn-ea"/>
          <a:cs typeface="+mn-cs"/>
        </a:defRPr>
      </a:lvl8pPr>
      <a:lvl9pPr marL="3885690" indent="-228570" algn="l" defTabSz="45713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9" rtl="0" eaLnBrk="1" latinLnBrk="0" hangingPunct="1">
        <a:defRPr sz="1800" kern="1200">
          <a:solidFill>
            <a:schemeClr val="tx1"/>
          </a:solidFill>
          <a:latin typeface="+mn-lt"/>
          <a:ea typeface="+mn-ea"/>
          <a:cs typeface="+mn-cs"/>
        </a:defRPr>
      </a:lvl1pPr>
      <a:lvl2pPr marL="457139" algn="l" defTabSz="457139" rtl="0" eaLnBrk="1" latinLnBrk="0" hangingPunct="1">
        <a:defRPr sz="1800" kern="1200">
          <a:solidFill>
            <a:schemeClr val="tx1"/>
          </a:solidFill>
          <a:latin typeface="+mn-lt"/>
          <a:ea typeface="+mn-ea"/>
          <a:cs typeface="+mn-cs"/>
        </a:defRPr>
      </a:lvl2pPr>
      <a:lvl3pPr marL="914280" algn="l" defTabSz="457139" rtl="0" eaLnBrk="1" latinLnBrk="0" hangingPunct="1">
        <a:defRPr sz="1800" kern="1200">
          <a:solidFill>
            <a:schemeClr val="tx1"/>
          </a:solidFill>
          <a:latin typeface="+mn-lt"/>
          <a:ea typeface="+mn-ea"/>
          <a:cs typeface="+mn-cs"/>
        </a:defRPr>
      </a:lvl3pPr>
      <a:lvl4pPr marL="1371420" algn="l" defTabSz="457139" rtl="0" eaLnBrk="1" latinLnBrk="0" hangingPunct="1">
        <a:defRPr sz="1800" kern="1200">
          <a:solidFill>
            <a:schemeClr val="tx1"/>
          </a:solidFill>
          <a:latin typeface="+mn-lt"/>
          <a:ea typeface="+mn-ea"/>
          <a:cs typeface="+mn-cs"/>
        </a:defRPr>
      </a:lvl4pPr>
      <a:lvl5pPr marL="1828561" algn="l" defTabSz="457139" rtl="0" eaLnBrk="1" latinLnBrk="0" hangingPunct="1">
        <a:defRPr sz="1800" kern="1200">
          <a:solidFill>
            <a:schemeClr val="tx1"/>
          </a:solidFill>
          <a:latin typeface="+mn-lt"/>
          <a:ea typeface="+mn-ea"/>
          <a:cs typeface="+mn-cs"/>
        </a:defRPr>
      </a:lvl5pPr>
      <a:lvl6pPr marL="2285700" algn="l" defTabSz="457139" rtl="0" eaLnBrk="1" latinLnBrk="0" hangingPunct="1">
        <a:defRPr sz="1800" kern="1200">
          <a:solidFill>
            <a:schemeClr val="tx1"/>
          </a:solidFill>
          <a:latin typeface="+mn-lt"/>
          <a:ea typeface="+mn-ea"/>
          <a:cs typeface="+mn-cs"/>
        </a:defRPr>
      </a:lvl6pPr>
      <a:lvl7pPr marL="2742839" algn="l" defTabSz="457139" rtl="0" eaLnBrk="1" latinLnBrk="0" hangingPunct="1">
        <a:defRPr sz="1800" kern="1200">
          <a:solidFill>
            <a:schemeClr val="tx1"/>
          </a:solidFill>
          <a:latin typeface="+mn-lt"/>
          <a:ea typeface="+mn-ea"/>
          <a:cs typeface="+mn-cs"/>
        </a:defRPr>
      </a:lvl7pPr>
      <a:lvl8pPr marL="3199980" algn="l" defTabSz="457139" rtl="0" eaLnBrk="1" latinLnBrk="0" hangingPunct="1">
        <a:defRPr sz="1800" kern="1200">
          <a:solidFill>
            <a:schemeClr val="tx1"/>
          </a:solidFill>
          <a:latin typeface="+mn-lt"/>
          <a:ea typeface="+mn-ea"/>
          <a:cs typeface="+mn-cs"/>
        </a:defRPr>
      </a:lvl8pPr>
      <a:lvl9pPr marL="3657119" algn="l" defTabSz="45713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56">
          <p15:clr>
            <a:srgbClr val="F26B43"/>
          </p15:clr>
        </p15:guide>
        <p15:guide id="4" pos="7424">
          <p15:clr>
            <a:srgbClr val="F26B43"/>
          </p15:clr>
        </p15:guide>
        <p15:guide id="5" orient="horz" pos="624">
          <p15:clr>
            <a:srgbClr val="F26B43"/>
          </p15:clr>
        </p15:guide>
        <p15:guide id="7" orient="horz" pos="1008">
          <p15:clr>
            <a:srgbClr val="F26B43"/>
          </p15:clr>
        </p15:guide>
        <p15:guide id="8" orient="horz" pos="4104">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6" cstate="screen">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4140980778"/>
      </p:ext>
    </p:extLst>
  </p:cSld>
  <p:clrMap bg1="lt1" tx1="dk1" bg2="lt2" tx2="dk2" accent1="accent1" accent2="accent2" accent3="accent3" accent4="accent4" accent5="accent5" accent6="accent6" hlink="hlink" folHlink="folHlink"/>
  <p:sldLayoutIdLst>
    <p:sldLayoutId id="2147485265" r:id="rId1"/>
    <p:sldLayoutId id="2147485266" r:id="rId2"/>
    <p:sldLayoutId id="2147485267" r:id="rId3"/>
    <p:sldLayoutId id="2147485268" r:id="rId4"/>
    <p:sldLayoutId id="2147485269" r:id="rId5"/>
    <p:sldLayoutId id="2147485270" r:id="rId6"/>
    <p:sldLayoutId id="2147485271" r:id="rId7"/>
    <p:sldLayoutId id="2147485272" r:id="rId8"/>
    <p:sldLayoutId id="2147485273" r:id="rId9"/>
    <p:sldLayoutId id="2147485274" r:id="rId10"/>
    <p:sldLayoutId id="2147485275" r:id="rId11"/>
    <p:sldLayoutId id="2147485276" r:id="rId12"/>
    <p:sldLayoutId id="2147485277" r:id="rId13"/>
    <p:sldLayoutId id="2147485278" r:id="rId14"/>
    <p:sldLayoutId id="2147485279" r:id="rId15"/>
    <p:sldLayoutId id="2147485280" r:id="rId16"/>
    <p:sldLayoutId id="2147485281" r:id="rId17"/>
    <p:sldLayoutId id="2147485282" r:id="rId18"/>
    <p:sldLayoutId id="2147485283" r:id="rId19"/>
    <p:sldLayoutId id="2147485284" r:id="rId20"/>
    <p:sldLayoutId id="2147485285" r:id="rId21"/>
    <p:sldLayoutId id="2147485286" r:id="rId22"/>
    <p:sldLayoutId id="2147485287" r:id="rId23"/>
    <p:sldLayoutId id="2147485288"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4"/>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F39E8C4-2711-D94C-9B20-22FCC3F02C0A}" type="datetimeFigureOut">
              <a:rPr lang="en-US" smtClean="0"/>
              <a:t>5/31/26</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06E6151-551B-BB4A-9FDE-7ECB025EF441}" type="slidenum">
              <a:rPr lang="en-US" smtClean="0"/>
              <a:t>‹#›</a:t>
            </a:fld>
            <a:endParaRPr lang="en-US"/>
          </a:p>
        </p:txBody>
      </p:sp>
    </p:spTree>
    <p:extLst>
      <p:ext uri="{BB962C8B-B14F-4D97-AF65-F5344CB8AC3E}">
        <p14:creationId xmlns:p14="http://schemas.microsoft.com/office/powerpoint/2010/main" val="1528039244"/>
      </p:ext>
    </p:extLst>
  </p:cSld>
  <p:clrMap bg1="lt1" tx1="dk1" bg2="lt2" tx2="dk2" accent1="accent1" accent2="accent2" accent3="accent3" accent4="accent4" accent5="accent5" accent6="accent6" hlink="hlink" folHlink="folHlink"/>
  <p:sldLayoutIdLst>
    <p:sldLayoutId id="2147485375" r:id="rId1"/>
    <p:sldLayoutId id="2147485376" r:id="rId2"/>
    <p:sldLayoutId id="2147485377" r:id="rId3"/>
    <p:sldLayoutId id="2147485378" r:id="rId4"/>
    <p:sldLayoutId id="2147485379" r:id="rId5"/>
    <p:sldLayoutId id="2147485380" r:id="rId6"/>
    <p:sldLayoutId id="2147485381" r:id="rId7"/>
    <p:sldLayoutId id="2147485382" r:id="rId8"/>
    <p:sldLayoutId id="2147485383" r:id="rId9"/>
    <p:sldLayoutId id="2147485384" r:id="rId10"/>
    <p:sldLayoutId id="2147485385"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527047" y="241925"/>
            <a:ext cx="8247651" cy="90725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a:t>Click to edit Master title style</a:t>
            </a:r>
            <a:endParaRPr lang="fr-BE" dirty="0"/>
          </a:p>
        </p:txBody>
      </p:sp>
    </p:spTree>
    <p:extLst>
      <p:ext uri="{BB962C8B-B14F-4D97-AF65-F5344CB8AC3E}">
        <p14:creationId xmlns:p14="http://schemas.microsoft.com/office/powerpoint/2010/main" val="3073221591"/>
      </p:ext>
    </p:extLst>
  </p:cSld>
  <p:clrMap bg1="lt1" tx1="dk1" bg2="lt2" tx2="dk2" accent1="accent1" accent2="accent2" accent3="accent3" accent4="accent4" accent5="accent5" accent6="accent6" hlink="hlink" folHlink="folHlink"/>
  <p:sldLayoutIdLst>
    <p:sldLayoutId id="2147485387" r:id="rId1"/>
    <p:sldLayoutId id="2147485388" r:id="rId2"/>
    <p:sldLayoutId id="2147485389" r:id="rId3"/>
    <p:sldLayoutId id="2147485390" r:id="rId4"/>
    <p:sldLayoutId id="2147485391" r:id="rId5"/>
    <p:sldLayoutId id="2147485392" r:id="rId6"/>
    <p:sldLayoutId id="2147485393" r:id="rId7"/>
    <p:sldLayoutId id="2147485394" r:id="rId8"/>
    <p:sldLayoutId id="2147485395" r:id="rId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rtl="0" eaLnBrk="1" fontAlgn="base" hangingPunct="1">
        <a:lnSpc>
          <a:spcPts val="3839"/>
        </a:lnSpc>
        <a:spcBef>
          <a:spcPct val="0"/>
        </a:spcBef>
        <a:spcAft>
          <a:spcPct val="0"/>
        </a:spcAft>
        <a:defRPr sz="3732" b="1" kern="1200">
          <a:solidFill>
            <a:schemeClr val="tx2"/>
          </a:solidFill>
          <a:latin typeface="+mj-lt"/>
          <a:ea typeface="+mj-ea"/>
          <a:cs typeface="Arial" pitchFamily="34" charset="0"/>
        </a:defRPr>
      </a:lvl1pPr>
      <a:lvl2pPr algn="l" rtl="0" eaLnBrk="1" fontAlgn="base" hangingPunct="1">
        <a:spcBef>
          <a:spcPct val="0"/>
        </a:spcBef>
        <a:spcAft>
          <a:spcPct val="0"/>
        </a:spcAft>
        <a:defRPr sz="3599" b="1">
          <a:solidFill>
            <a:srgbClr val="00B0F0"/>
          </a:solidFill>
          <a:latin typeface="Arial" charset="0"/>
          <a:cs typeface="Arial" charset="0"/>
        </a:defRPr>
      </a:lvl2pPr>
      <a:lvl3pPr algn="l" rtl="0" eaLnBrk="1" fontAlgn="base" hangingPunct="1">
        <a:spcBef>
          <a:spcPct val="0"/>
        </a:spcBef>
        <a:spcAft>
          <a:spcPct val="0"/>
        </a:spcAft>
        <a:defRPr sz="3599" b="1">
          <a:solidFill>
            <a:srgbClr val="00B0F0"/>
          </a:solidFill>
          <a:latin typeface="Arial" charset="0"/>
          <a:cs typeface="Arial" charset="0"/>
        </a:defRPr>
      </a:lvl3pPr>
      <a:lvl4pPr algn="l" rtl="0" eaLnBrk="1" fontAlgn="base" hangingPunct="1">
        <a:spcBef>
          <a:spcPct val="0"/>
        </a:spcBef>
        <a:spcAft>
          <a:spcPct val="0"/>
        </a:spcAft>
        <a:defRPr sz="3599" b="1">
          <a:solidFill>
            <a:srgbClr val="00B0F0"/>
          </a:solidFill>
          <a:latin typeface="Arial" charset="0"/>
          <a:cs typeface="Arial" charset="0"/>
        </a:defRPr>
      </a:lvl4pPr>
      <a:lvl5pPr algn="l" rtl="0" eaLnBrk="1" fontAlgn="base" hangingPunct="1">
        <a:spcBef>
          <a:spcPct val="0"/>
        </a:spcBef>
        <a:spcAft>
          <a:spcPct val="0"/>
        </a:spcAft>
        <a:defRPr sz="3599" b="1">
          <a:solidFill>
            <a:srgbClr val="00B0F0"/>
          </a:solidFill>
          <a:latin typeface="Arial" charset="0"/>
          <a:cs typeface="Arial" charset="0"/>
        </a:defRPr>
      </a:lvl5pPr>
      <a:lvl6pPr marL="456226" algn="l" rtl="0" eaLnBrk="1" fontAlgn="base" hangingPunct="1">
        <a:spcBef>
          <a:spcPct val="0"/>
        </a:spcBef>
        <a:spcAft>
          <a:spcPct val="0"/>
        </a:spcAft>
        <a:defRPr sz="3599" b="1">
          <a:solidFill>
            <a:srgbClr val="00B0F0"/>
          </a:solidFill>
          <a:latin typeface="Arial" charset="0"/>
          <a:cs typeface="Arial" charset="0"/>
        </a:defRPr>
      </a:lvl6pPr>
      <a:lvl7pPr marL="912451" algn="l" rtl="0" eaLnBrk="1" fontAlgn="base" hangingPunct="1">
        <a:spcBef>
          <a:spcPct val="0"/>
        </a:spcBef>
        <a:spcAft>
          <a:spcPct val="0"/>
        </a:spcAft>
        <a:defRPr sz="3599" b="1">
          <a:solidFill>
            <a:srgbClr val="00B0F0"/>
          </a:solidFill>
          <a:latin typeface="Arial" charset="0"/>
          <a:cs typeface="Arial" charset="0"/>
        </a:defRPr>
      </a:lvl7pPr>
      <a:lvl8pPr marL="1368676" algn="l" rtl="0" eaLnBrk="1" fontAlgn="base" hangingPunct="1">
        <a:spcBef>
          <a:spcPct val="0"/>
        </a:spcBef>
        <a:spcAft>
          <a:spcPct val="0"/>
        </a:spcAft>
        <a:defRPr sz="3599" b="1">
          <a:solidFill>
            <a:srgbClr val="00B0F0"/>
          </a:solidFill>
          <a:latin typeface="Arial" charset="0"/>
          <a:cs typeface="Arial" charset="0"/>
        </a:defRPr>
      </a:lvl8pPr>
      <a:lvl9pPr marL="1824901" algn="l" rtl="0" eaLnBrk="1" fontAlgn="base" hangingPunct="1">
        <a:spcBef>
          <a:spcPct val="0"/>
        </a:spcBef>
        <a:spcAft>
          <a:spcPct val="0"/>
        </a:spcAft>
        <a:defRPr sz="3599" b="1">
          <a:solidFill>
            <a:srgbClr val="00B0F0"/>
          </a:solidFill>
          <a:latin typeface="Arial" charset="0"/>
          <a:cs typeface="Arial" charset="0"/>
        </a:defRPr>
      </a:lvl9pPr>
    </p:titleStyle>
    <p:bodyStyle>
      <a:lvl1pPr marL="212273" indent="-212273" algn="l" rtl="0" eaLnBrk="1" fontAlgn="base" hangingPunct="1">
        <a:spcBef>
          <a:spcPts val="0"/>
        </a:spcBef>
        <a:spcAft>
          <a:spcPts val="300"/>
        </a:spcAft>
        <a:buClr>
          <a:schemeClr val="accent6">
            <a:lumMod val="40000"/>
            <a:lumOff val="60000"/>
          </a:schemeClr>
        </a:buClr>
        <a:buFont typeface="Arial" pitchFamily="34" charset="0"/>
        <a:buChar char="•"/>
        <a:tabLst>
          <a:tab pos="205939" algn="l"/>
        </a:tabLst>
        <a:defRPr sz="2399" kern="1200">
          <a:solidFill>
            <a:schemeClr val="tx2">
              <a:lumMod val="50000"/>
            </a:schemeClr>
          </a:solidFill>
          <a:latin typeface="Arial Narrow" panose="020B0606020202030204" pitchFamily="34" charset="0"/>
          <a:ea typeface="+mn-ea"/>
          <a:cs typeface="Arial" pitchFamily="34" charset="0"/>
        </a:defRPr>
      </a:lvl1pPr>
      <a:lvl2pPr marL="506915" indent="-277221" algn="l" rtl="0" eaLnBrk="1" fontAlgn="base" hangingPunct="1">
        <a:spcBef>
          <a:spcPts val="0"/>
        </a:spcBef>
        <a:spcAft>
          <a:spcPts val="300"/>
        </a:spcAft>
        <a:buClr>
          <a:schemeClr val="accent6">
            <a:lumMod val="40000"/>
            <a:lumOff val="60000"/>
          </a:schemeClr>
        </a:buClr>
        <a:buFont typeface="Arial" pitchFamily="34" charset="0"/>
        <a:buChar char="–"/>
        <a:defRPr sz="2000" kern="1200">
          <a:solidFill>
            <a:schemeClr val="tx2">
              <a:lumMod val="50000"/>
            </a:schemeClr>
          </a:solidFill>
          <a:latin typeface="Arial Narrow" panose="020B0606020202030204" pitchFamily="34" charset="0"/>
          <a:ea typeface="+mn-ea"/>
          <a:cs typeface="Arial" pitchFamily="34" charset="0"/>
        </a:defRPr>
      </a:lvl2pPr>
      <a:lvl3pPr marL="730276" indent="-218605" algn="l" rtl="0" eaLnBrk="1" fontAlgn="base" hangingPunct="1">
        <a:spcBef>
          <a:spcPts val="0"/>
        </a:spcBef>
        <a:spcAft>
          <a:spcPts val="300"/>
        </a:spcAft>
        <a:buClr>
          <a:schemeClr val="accent6">
            <a:lumMod val="40000"/>
            <a:lumOff val="60000"/>
          </a:schemeClr>
        </a:buClr>
        <a:buFont typeface="Arial" pitchFamily="34" charset="0"/>
        <a:buChar char="•"/>
        <a:defRPr sz="2000" kern="1200">
          <a:solidFill>
            <a:schemeClr val="tx2">
              <a:lumMod val="50000"/>
            </a:schemeClr>
          </a:solidFill>
          <a:latin typeface="Arial Narrow" panose="020B0606020202030204" pitchFamily="34" charset="0"/>
          <a:ea typeface="+mn-ea"/>
          <a:cs typeface="Arial" pitchFamily="34" charset="0"/>
        </a:defRPr>
      </a:lvl3pPr>
      <a:lvl4pPr marL="947302" indent="-210691" algn="l" rtl="0" eaLnBrk="1" fontAlgn="base" hangingPunct="1">
        <a:spcBef>
          <a:spcPts val="0"/>
        </a:spcBef>
        <a:spcAft>
          <a:spcPts val="300"/>
        </a:spcAft>
        <a:buClr>
          <a:schemeClr val="accent6">
            <a:lumMod val="40000"/>
            <a:lumOff val="60000"/>
          </a:schemeClr>
        </a:buClr>
        <a:buFont typeface="Arial" pitchFamily="34" charset="0"/>
        <a:buChar char="•"/>
        <a:defRPr sz="2000" kern="1200">
          <a:solidFill>
            <a:schemeClr val="tx2">
              <a:lumMod val="50000"/>
            </a:schemeClr>
          </a:solidFill>
          <a:latin typeface="Arial Narrow" panose="020B0606020202030204" pitchFamily="34" charset="0"/>
          <a:ea typeface="+mn-ea"/>
          <a:cs typeface="Arial" pitchFamily="34" charset="0"/>
        </a:defRPr>
      </a:lvl4pPr>
      <a:lvl5pPr marL="2053014" indent="-228113" algn="l" rtl="0" eaLnBrk="1" fontAlgn="base" hangingPunct="1">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09237" indent="-228113" algn="l" defTabSz="91245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5465" indent="-228113" algn="l" defTabSz="91245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1690" indent="-228113" algn="l" defTabSz="91245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7914" indent="-228113" algn="l" defTabSz="91245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2451" rtl="0" eaLnBrk="1" latinLnBrk="0" hangingPunct="1">
        <a:defRPr sz="1800" kern="1200">
          <a:solidFill>
            <a:schemeClr val="tx1"/>
          </a:solidFill>
          <a:latin typeface="+mn-lt"/>
          <a:ea typeface="+mn-ea"/>
          <a:cs typeface="+mn-cs"/>
        </a:defRPr>
      </a:lvl1pPr>
      <a:lvl2pPr marL="456226" algn="l" defTabSz="912451" rtl="0" eaLnBrk="1" latinLnBrk="0" hangingPunct="1">
        <a:defRPr sz="1800" kern="1200">
          <a:solidFill>
            <a:schemeClr val="tx1"/>
          </a:solidFill>
          <a:latin typeface="+mn-lt"/>
          <a:ea typeface="+mn-ea"/>
          <a:cs typeface="+mn-cs"/>
        </a:defRPr>
      </a:lvl2pPr>
      <a:lvl3pPr marL="912451" algn="l" defTabSz="912451" rtl="0" eaLnBrk="1" latinLnBrk="0" hangingPunct="1">
        <a:defRPr sz="1800" kern="1200">
          <a:solidFill>
            <a:schemeClr val="tx1"/>
          </a:solidFill>
          <a:latin typeface="+mn-lt"/>
          <a:ea typeface="+mn-ea"/>
          <a:cs typeface="+mn-cs"/>
        </a:defRPr>
      </a:lvl3pPr>
      <a:lvl4pPr marL="1368676" algn="l" defTabSz="912451" rtl="0" eaLnBrk="1" latinLnBrk="0" hangingPunct="1">
        <a:defRPr sz="1800" kern="1200">
          <a:solidFill>
            <a:schemeClr val="tx1"/>
          </a:solidFill>
          <a:latin typeface="+mn-lt"/>
          <a:ea typeface="+mn-ea"/>
          <a:cs typeface="+mn-cs"/>
        </a:defRPr>
      </a:lvl4pPr>
      <a:lvl5pPr marL="1824901" algn="l" defTabSz="912451" rtl="0" eaLnBrk="1" latinLnBrk="0" hangingPunct="1">
        <a:defRPr sz="1800" kern="1200">
          <a:solidFill>
            <a:schemeClr val="tx1"/>
          </a:solidFill>
          <a:latin typeface="+mn-lt"/>
          <a:ea typeface="+mn-ea"/>
          <a:cs typeface="+mn-cs"/>
        </a:defRPr>
      </a:lvl5pPr>
      <a:lvl6pPr marL="2281126" algn="l" defTabSz="912451" rtl="0" eaLnBrk="1" latinLnBrk="0" hangingPunct="1">
        <a:defRPr sz="1800" kern="1200">
          <a:solidFill>
            <a:schemeClr val="tx1"/>
          </a:solidFill>
          <a:latin typeface="+mn-lt"/>
          <a:ea typeface="+mn-ea"/>
          <a:cs typeface="+mn-cs"/>
        </a:defRPr>
      </a:lvl6pPr>
      <a:lvl7pPr marL="2737353" algn="l" defTabSz="912451" rtl="0" eaLnBrk="1" latinLnBrk="0" hangingPunct="1">
        <a:defRPr sz="1800" kern="1200">
          <a:solidFill>
            <a:schemeClr val="tx1"/>
          </a:solidFill>
          <a:latin typeface="+mn-lt"/>
          <a:ea typeface="+mn-ea"/>
          <a:cs typeface="+mn-cs"/>
        </a:defRPr>
      </a:lvl7pPr>
      <a:lvl8pPr marL="3193576" algn="l" defTabSz="912451" rtl="0" eaLnBrk="1" latinLnBrk="0" hangingPunct="1">
        <a:defRPr sz="1800" kern="1200">
          <a:solidFill>
            <a:schemeClr val="tx1"/>
          </a:solidFill>
          <a:latin typeface="+mn-lt"/>
          <a:ea typeface="+mn-ea"/>
          <a:cs typeface="+mn-cs"/>
        </a:defRPr>
      </a:lvl8pPr>
      <a:lvl9pPr marL="3649798" algn="l" defTabSz="91245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2">
          <p15:clr>
            <a:srgbClr val="F26B43"/>
          </p15:clr>
        </p15:guide>
        <p15:guide id="2" pos="8171">
          <p15:clr>
            <a:srgbClr val="F26B43"/>
          </p15:clr>
        </p15:guide>
        <p15:guide id="3" orient="horz" pos="4156">
          <p15:clr>
            <a:srgbClr val="F26B43"/>
          </p15:clr>
        </p15:guide>
        <p15:guide id="4" orient="horz" pos="1041">
          <p15:clr>
            <a:srgbClr val="F26B43"/>
          </p15:clr>
        </p15:guide>
        <p15:guide id="5" orient="horz" pos="4637">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527047" y="241926"/>
            <a:ext cx="8247651" cy="90725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a:t>Click to edit Master title style</a:t>
            </a:r>
            <a:endParaRPr lang="fr-BE" dirty="0"/>
          </a:p>
        </p:txBody>
      </p:sp>
    </p:spTree>
    <p:extLst>
      <p:ext uri="{BB962C8B-B14F-4D97-AF65-F5344CB8AC3E}">
        <p14:creationId xmlns:p14="http://schemas.microsoft.com/office/powerpoint/2010/main" val="2761373198"/>
      </p:ext>
    </p:extLst>
  </p:cSld>
  <p:clrMap bg1="lt1" tx1="dk1" bg2="lt2" tx2="dk2" accent1="accent1" accent2="accent2" accent3="accent3" accent4="accent4" accent5="accent5" accent6="accent6" hlink="hlink" folHlink="folHlink"/>
  <p:sldLayoutIdLst>
    <p:sldLayoutId id="2147485397" r:id="rId1"/>
    <p:sldLayoutId id="2147485398" r:id="rId2"/>
    <p:sldLayoutId id="2147485399" r:id="rId3"/>
    <p:sldLayoutId id="2147485400" r:id="rId4"/>
    <p:sldLayoutId id="2147485401" r:id="rId5"/>
    <p:sldLayoutId id="2147485402" r:id="rId6"/>
    <p:sldLayoutId id="2147485403" r:id="rId7"/>
    <p:sldLayoutId id="2147485404" r:id="rId8"/>
    <p:sldLayoutId id="2147485405" r:id="rId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rtl="0" eaLnBrk="1" fontAlgn="base" hangingPunct="1">
        <a:lnSpc>
          <a:spcPts val="3840"/>
        </a:lnSpc>
        <a:spcBef>
          <a:spcPct val="0"/>
        </a:spcBef>
        <a:spcAft>
          <a:spcPct val="0"/>
        </a:spcAft>
        <a:defRPr sz="3733" b="1" kern="1200">
          <a:solidFill>
            <a:schemeClr val="tx2"/>
          </a:solidFill>
          <a:latin typeface="+mj-lt"/>
          <a:ea typeface="+mj-ea"/>
          <a:cs typeface="Arial" pitchFamily="34" charset="0"/>
        </a:defRPr>
      </a:lvl1pPr>
      <a:lvl2pPr algn="l" rtl="0" eaLnBrk="1" fontAlgn="base" hangingPunct="1">
        <a:spcBef>
          <a:spcPct val="0"/>
        </a:spcBef>
        <a:spcAft>
          <a:spcPct val="0"/>
        </a:spcAft>
        <a:defRPr sz="3600" b="1">
          <a:solidFill>
            <a:srgbClr val="00B0F0"/>
          </a:solidFill>
          <a:latin typeface="Arial" charset="0"/>
          <a:cs typeface="Arial" charset="0"/>
        </a:defRPr>
      </a:lvl2pPr>
      <a:lvl3pPr algn="l" rtl="0" eaLnBrk="1" fontAlgn="base" hangingPunct="1">
        <a:spcBef>
          <a:spcPct val="0"/>
        </a:spcBef>
        <a:spcAft>
          <a:spcPct val="0"/>
        </a:spcAft>
        <a:defRPr sz="3600" b="1">
          <a:solidFill>
            <a:srgbClr val="00B0F0"/>
          </a:solidFill>
          <a:latin typeface="Arial" charset="0"/>
          <a:cs typeface="Arial" charset="0"/>
        </a:defRPr>
      </a:lvl3pPr>
      <a:lvl4pPr algn="l" rtl="0" eaLnBrk="1" fontAlgn="base" hangingPunct="1">
        <a:spcBef>
          <a:spcPct val="0"/>
        </a:spcBef>
        <a:spcAft>
          <a:spcPct val="0"/>
        </a:spcAft>
        <a:defRPr sz="3600" b="1">
          <a:solidFill>
            <a:srgbClr val="00B0F0"/>
          </a:solidFill>
          <a:latin typeface="Arial" charset="0"/>
          <a:cs typeface="Arial" charset="0"/>
        </a:defRPr>
      </a:lvl4pPr>
      <a:lvl5pPr algn="l" rtl="0" eaLnBrk="1" fontAlgn="base" hangingPunct="1">
        <a:spcBef>
          <a:spcPct val="0"/>
        </a:spcBef>
        <a:spcAft>
          <a:spcPct val="0"/>
        </a:spcAft>
        <a:defRPr sz="3600" b="1">
          <a:solidFill>
            <a:srgbClr val="00B0F0"/>
          </a:solidFill>
          <a:latin typeface="Arial" charset="0"/>
          <a:cs typeface="Arial" charset="0"/>
        </a:defRPr>
      </a:lvl5pPr>
      <a:lvl6pPr marL="456363" algn="l" rtl="0" eaLnBrk="1" fontAlgn="base" hangingPunct="1">
        <a:spcBef>
          <a:spcPct val="0"/>
        </a:spcBef>
        <a:spcAft>
          <a:spcPct val="0"/>
        </a:spcAft>
        <a:defRPr sz="3600" b="1">
          <a:solidFill>
            <a:srgbClr val="00B0F0"/>
          </a:solidFill>
          <a:latin typeface="Arial" charset="0"/>
          <a:cs typeface="Arial" charset="0"/>
        </a:defRPr>
      </a:lvl6pPr>
      <a:lvl7pPr marL="912724" algn="l" rtl="0" eaLnBrk="1" fontAlgn="base" hangingPunct="1">
        <a:spcBef>
          <a:spcPct val="0"/>
        </a:spcBef>
        <a:spcAft>
          <a:spcPct val="0"/>
        </a:spcAft>
        <a:defRPr sz="3600" b="1">
          <a:solidFill>
            <a:srgbClr val="00B0F0"/>
          </a:solidFill>
          <a:latin typeface="Arial" charset="0"/>
          <a:cs typeface="Arial" charset="0"/>
        </a:defRPr>
      </a:lvl7pPr>
      <a:lvl8pPr marL="1369087" algn="l" rtl="0" eaLnBrk="1" fontAlgn="base" hangingPunct="1">
        <a:spcBef>
          <a:spcPct val="0"/>
        </a:spcBef>
        <a:spcAft>
          <a:spcPct val="0"/>
        </a:spcAft>
        <a:defRPr sz="3600" b="1">
          <a:solidFill>
            <a:srgbClr val="00B0F0"/>
          </a:solidFill>
          <a:latin typeface="Arial" charset="0"/>
          <a:cs typeface="Arial" charset="0"/>
        </a:defRPr>
      </a:lvl8pPr>
      <a:lvl9pPr marL="1825449" algn="l" rtl="0" eaLnBrk="1" fontAlgn="base" hangingPunct="1">
        <a:spcBef>
          <a:spcPct val="0"/>
        </a:spcBef>
        <a:spcAft>
          <a:spcPct val="0"/>
        </a:spcAft>
        <a:defRPr sz="3600" b="1">
          <a:solidFill>
            <a:srgbClr val="00B0F0"/>
          </a:solidFill>
          <a:latin typeface="Arial" charset="0"/>
          <a:cs typeface="Arial" charset="0"/>
        </a:defRPr>
      </a:lvl9pPr>
    </p:titleStyle>
    <p:bodyStyle>
      <a:lvl1pPr marL="212337" indent="-212337" algn="l" rtl="0" eaLnBrk="1" fontAlgn="base" hangingPunct="1">
        <a:spcBef>
          <a:spcPts val="0"/>
        </a:spcBef>
        <a:spcAft>
          <a:spcPts val="300"/>
        </a:spcAft>
        <a:buClr>
          <a:schemeClr val="accent6">
            <a:lumMod val="40000"/>
            <a:lumOff val="60000"/>
          </a:schemeClr>
        </a:buClr>
        <a:buFont typeface="Arial" pitchFamily="34" charset="0"/>
        <a:buChar char="•"/>
        <a:tabLst>
          <a:tab pos="206000" algn="l"/>
        </a:tabLst>
        <a:defRPr sz="2400" kern="1200">
          <a:solidFill>
            <a:schemeClr val="tx2">
              <a:lumMod val="50000"/>
            </a:schemeClr>
          </a:solidFill>
          <a:latin typeface="Arial Narrow" panose="020B0606020202030204" pitchFamily="34" charset="0"/>
          <a:ea typeface="+mn-ea"/>
          <a:cs typeface="Arial" pitchFamily="34" charset="0"/>
        </a:defRPr>
      </a:lvl1pPr>
      <a:lvl2pPr marL="507067" indent="-277304" algn="l" rtl="0" eaLnBrk="1" fontAlgn="base" hangingPunct="1">
        <a:spcBef>
          <a:spcPts val="0"/>
        </a:spcBef>
        <a:spcAft>
          <a:spcPts val="300"/>
        </a:spcAft>
        <a:buClr>
          <a:schemeClr val="accent6">
            <a:lumMod val="40000"/>
            <a:lumOff val="60000"/>
          </a:schemeClr>
        </a:buClr>
        <a:buFont typeface="Arial" pitchFamily="34" charset="0"/>
        <a:buChar char="–"/>
        <a:defRPr sz="2000" kern="1200">
          <a:solidFill>
            <a:schemeClr val="tx2">
              <a:lumMod val="50000"/>
            </a:schemeClr>
          </a:solidFill>
          <a:latin typeface="Arial Narrow" panose="020B0606020202030204" pitchFamily="34" charset="0"/>
          <a:ea typeface="+mn-ea"/>
          <a:cs typeface="Arial" pitchFamily="34" charset="0"/>
        </a:defRPr>
      </a:lvl2pPr>
      <a:lvl3pPr marL="730495" indent="-218671" algn="l" rtl="0" eaLnBrk="1" fontAlgn="base" hangingPunct="1">
        <a:spcBef>
          <a:spcPts val="0"/>
        </a:spcBef>
        <a:spcAft>
          <a:spcPts val="300"/>
        </a:spcAft>
        <a:buClr>
          <a:schemeClr val="accent6">
            <a:lumMod val="40000"/>
            <a:lumOff val="60000"/>
          </a:schemeClr>
        </a:buClr>
        <a:buFont typeface="Arial" pitchFamily="34" charset="0"/>
        <a:buChar char="•"/>
        <a:defRPr sz="2000" kern="1200">
          <a:solidFill>
            <a:schemeClr val="tx2">
              <a:lumMod val="50000"/>
            </a:schemeClr>
          </a:solidFill>
          <a:latin typeface="Arial Narrow" panose="020B0606020202030204" pitchFamily="34" charset="0"/>
          <a:ea typeface="+mn-ea"/>
          <a:cs typeface="Arial" pitchFamily="34" charset="0"/>
        </a:defRPr>
      </a:lvl3pPr>
      <a:lvl4pPr marL="947586" indent="-210753" algn="l" rtl="0" eaLnBrk="1" fontAlgn="base" hangingPunct="1">
        <a:spcBef>
          <a:spcPts val="0"/>
        </a:spcBef>
        <a:spcAft>
          <a:spcPts val="300"/>
        </a:spcAft>
        <a:buClr>
          <a:schemeClr val="accent6">
            <a:lumMod val="40000"/>
            <a:lumOff val="60000"/>
          </a:schemeClr>
        </a:buClr>
        <a:buFont typeface="Arial" pitchFamily="34" charset="0"/>
        <a:buChar char="•"/>
        <a:defRPr sz="2000" kern="1200">
          <a:solidFill>
            <a:schemeClr val="tx2">
              <a:lumMod val="50000"/>
            </a:schemeClr>
          </a:solidFill>
          <a:latin typeface="Arial Narrow" panose="020B0606020202030204" pitchFamily="34" charset="0"/>
          <a:ea typeface="+mn-ea"/>
          <a:cs typeface="Arial" pitchFamily="34" charset="0"/>
        </a:defRPr>
      </a:lvl4pPr>
      <a:lvl5pPr marL="2053630" indent="-228181" algn="l" rtl="0" eaLnBrk="1" fontAlgn="base" hangingPunct="1">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09991" indent="-228181" algn="l" defTabSz="91272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353" indent="-228181" algn="l" defTabSz="91272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717" indent="-228181" algn="l" defTabSz="91272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078" indent="-228181" algn="l" defTabSz="91272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2724" rtl="0" eaLnBrk="1" latinLnBrk="0" hangingPunct="1">
        <a:defRPr sz="1800" kern="1200">
          <a:solidFill>
            <a:schemeClr val="tx1"/>
          </a:solidFill>
          <a:latin typeface="+mn-lt"/>
          <a:ea typeface="+mn-ea"/>
          <a:cs typeface="+mn-cs"/>
        </a:defRPr>
      </a:lvl1pPr>
      <a:lvl2pPr marL="456363" algn="l" defTabSz="912724" rtl="0" eaLnBrk="1" latinLnBrk="0" hangingPunct="1">
        <a:defRPr sz="1800" kern="1200">
          <a:solidFill>
            <a:schemeClr val="tx1"/>
          </a:solidFill>
          <a:latin typeface="+mn-lt"/>
          <a:ea typeface="+mn-ea"/>
          <a:cs typeface="+mn-cs"/>
        </a:defRPr>
      </a:lvl2pPr>
      <a:lvl3pPr marL="912724" algn="l" defTabSz="912724" rtl="0" eaLnBrk="1" latinLnBrk="0" hangingPunct="1">
        <a:defRPr sz="1800" kern="1200">
          <a:solidFill>
            <a:schemeClr val="tx1"/>
          </a:solidFill>
          <a:latin typeface="+mn-lt"/>
          <a:ea typeface="+mn-ea"/>
          <a:cs typeface="+mn-cs"/>
        </a:defRPr>
      </a:lvl3pPr>
      <a:lvl4pPr marL="1369087" algn="l" defTabSz="912724" rtl="0" eaLnBrk="1" latinLnBrk="0" hangingPunct="1">
        <a:defRPr sz="1800" kern="1200">
          <a:solidFill>
            <a:schemeClr val="tx1"/>
          </a:solidFill>
          <a:latin typeface="+mn-lt"/>
          <a:ea typeface="+mn-ea"/>
          <a:cs typeface="+mn-cs"/>
        </a:defRPr>
      </a:lvl4pPr>
      <a:lvl5pPr marL="1825449" algn="l" defTabSz="912724" rtl="0" eaLnBrk="1" latinLnBrk="0" hangingPunct="1">
        <a:defRPr sz="1800" kern="1200">
          <a:solidFill>
            <a:schemeClr val="tx1"/>
          </a:solidFill>
          <a:latin typeface="+mn-lt"/>
          <a:ea typeface="+mn-ea"/>
          <a:cs typeface="+mn-cs"/>
        </a:defRPr>
      </a:lvl5pPr>
      <a:lvl6pPr marL="2281808" algn="l" defTabSz="912724" rtl="0" eaLnBrk="1" latinLnBrk="0" hangingPunct="1">
        <a:defRPr sz="1800" kern="1200">
          <a:solidFill>
            <a:schemeClr val="tx1"/>
          </a:solidFill>
          <a:latin typeface="+mn-lt"/>
          <a:ea typeface="+mn-ea"/>
          <a:cs typeface="+mn-cs"/>
        </a:defRPr>
      </a:lvl6pPr>
      <a:lvl7pPr marL="2738174" algn="l" defTabSz="912724" rtl="0" eaLnBrk="1" latinLnBrk="0" hangingPunct="1">
        <a:defRPr sz="1800" kern="1200">
          <a:solidFill>
            <a:schemeClr val="tx1"/>
          </a:solidFill>
          <a:latin typeface="+mn-lt"/>
          <a:ea typeface="+mn-ea"/>
          <a:cs typeface="+mn-cs"/>
        </a:defRPr>
      </a:lvl7pPr>
      <a:lvl8pPr marL="3194535" algn="l" defTabSz="912724" rtl="0" eaLnBrk="1" latinLnBrk="0" hangingPunct="1">
        <a:defRPr sz="1800" kern="1200">
          <a:solidFill>
            <a:schemeClr val="tx1"/>
          </a:solidFill>
          <a:latin typeface="+mn-lt"/>
          <a:ea typeface="+mn-ea"/>
          <a:cs typeface="+mn-cs"/>
        </a:defRPr>
      </a:lvl8pPr>
      <a:lvl9pPr marL="3650891" algn="l" defTabSz="91272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2">
          <p15:clr>
            <a:srgbClr val="F26B43"/>
          </p15:clr>
        </p15:guide>
        <p15:guide id="2" pos="8173">
          <p15:clr>
            <a:srgbClr val="F26B43"/>
          </p15:clr>
        </p15:guide>
        <p15:guide id="3" orient="horz" pos="4156">
          <p15:clr>
            <a:srgbClr val="F26B43"/>
          </p15:clr>
        </p15:guide>
        <p15:guide id="4" orient="horz" pos="1041">
          <p15:clr>
            <a:srgbClr val="F26B43"/>
          </p15:clr>
        </p15:guide>
        <p15:guide id="5" orient="horz" pos="4637">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FF7C696-3FF7-BEA9-1B54-1F07D5260792}"/>
              </a:ext>
            </a:extLst>
          </p:cNvPr>
          <p:cNvSpPr>
            <a:spLocks noGrp="1"/>
          </p:cNvSpPr>
          <p:nvPr>
            <p:ph type="title"/>
          </p:nvPr>
        </p:nvSpPr>
        <p:spPr>
          <a:xfrm>
            <a:off x="838200" y="550869"/>
            <a:ext cx="10515600" cy="1325563"/>
          </a:xfrm>
          <a:prstGeom prst="rect">
            <a:avLst/>
          </a:prstGeom>
        </p:spPr>
        <p:txBody>
          <a:bodyPr vert="horz" lIns="0" tIns="0" rIns="0" bIns="0" rtlCol="0" anchor="ctr">
            <a:normAutofit/>
          </a:bodyPr>
          <a:lstStyle/>
          <a:p>
            <a:r>
              <a:rPr lang="de-DE"/>
              <a:t>Mastertitelformat bearbeiten</a:t>
            </a:r>
            <a:endParaRPr lang="en-US"/>
          </a:p>
        </p:txBody>
      </p:sp>
      <p:sp>
        <p:nvSpPr>
          <p:cNvPr id="3" name="Text Placeholder 2">
            <a:extLst>
              <a:ext uri="{FF2B5EF4-FFF2-40B4-BE49-F238E27FC236}">
                <a16:creationId xmlns:a16="http://schemas.microsoft.com/office/drawing/2014/main" id="{21C04CCA-58B7-3ED2-C19A-67C4EEF408C8}"/>
              </a:ext>
            </a:extLst>
          </p:cNvPr>
          <p:cNvSpPr>
            <a:spLocks noGrp="1"/>
          </p:cNvSpPr>
          <p:nvPr>
            <p:ph type="body" idx="1"/>
          </p:nvPr>
        </p:nvSpPr>
        <p:spPr>
          <a:xfrm>
            <a:off x="838200" y="2011370"/>
            <a:ext cx="10515600" cy="4158231"/>
          </a:xfrm>
          <a:prstGeom prst="rect">
            <a:avLst/>
          </a:prstGeom>
        </p:spPr>
        <p:txBody>
          <a:bodyPr vert="horz" lIns="0" tIns="0" rIns="0" bIns="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e Placeholder 3">
            <a:extLst>
              <a:ext uri="{FF2B5EF4-FFF2-40B4-BE49-F238E27FC236}">
                <a16:creationId xmlns:a16="http://schemas.microsoft.com/office/drawing/2014/main" id="{D11C5672-378D-1A56-5121-75AE7FCA1977}"/>
              </a:ext>
            </a:extLst>
          </p:cNvPr>
          <p:cNvSpPr>
            <a:spLocks noGrp="1"/>
          </p:cNvSpPr>
          <p:nvPr>
            <p:ph type="dt" sz="half" idx="2"/>
          </p:nvPr>
        </p:nvSpPr>
        <p:spPr>
          <a:xfrm>
            <a:off x="7239001" y="6356351"/>
            <a:ext cx="2743200" cy="365125"/>
          </a:xfrm>
          <a:prstGeom prst="rect">
            <a:avLst/>
          </a:prstGeom>
        </p:spPr>
        <p:txBody>
          <a:bodyPr vert="horz" lIns="0" tIns="0" rIns="0" bIns="0" rtlCol="0" anchor="ctr"/>
          <a:lstStyle>
            <a:lvl1pPr algn="l">
              <a:defRPr sz="900" b="0" i="0">
                <a:solidFill>
                  <a:srgbClr val="7E8083"/>
                </a:solidFill>
                <a:latin typeface="Open Sans" panose="020B0606030504020204" pitchFamily="34" charset="0"/>
                <a:ea typeface="Open Sans" panose="020B0606030504020204" pitchFamily="34" charset="0"/>
                <a:cs typeface="Open Sans" panose="020B0606030504020204" pitchFamily="34" charset="0"/>
              </a:defRPr>
            </a:lvl1pPr>
          </a:lstStyle>
          <a:p>
            <a:fld id="{9A54CFA7-990D-2C41-BECB-6A864AFF4C29}" type="datetime4">
              <a:t>May 31, 2026</a:t>
            </a:fld>
            <a:endParaRPr lang="en-US"/>
          </a:p>
        </p:txBody>
      </p:sp>
      <p:sp>
        <p:nvSpPr>
          <p:cNvPr id="5" name="Footer Placeholder 4">
            <a:extLst>
              <a:ext uri="{FF2B5EF4-FFF2-40B4-BE49-F238E27FC236}">
                <a16:creationId xmlns:a16="http://schemas.microsoft.com/office/drawing/2014/main" id="{C79A79EB-BE41-231A-9329-1A5B6677971A}"/>
              </a:ext>
            </a:extLst>
          </p:cNvPr>
          <p:cNvSpPr>
            <a:spLocks noGrp="1"/>
          </p:cNvSpPr>
          <p:nvPr>
            <p:ph type="ftr" sz="quarter" idx="3"/>
          </p:nvPr>
        </p:nvSpPr>
        <p:spPr>
          <a:xfrm>
            <a:off x="2786277" y="6356351"/>
            <a:ext cx="4214292" cy="365125"/>
          </a:xfrm>
          <a:prstGeom prst="rect">
            <a:avLst/>
          </a:prstGeom>
        </p:spPr>
        <p:txBody>
          <a:bodyPr vert="horz" lIns="0" tIns="0" rIns="0" bIns="0" rtlCol="0" anchor="ctr"/>
          <a:lstStyle>
            <a:lvl1pPr algn="l">
              <a:defRPr sz="900" b="0" i="0">
                <a:solidFill>
                  <a:srgbClr val="7E8083"/>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a:p>
        </p:txBody>
      </p:sp>
      <p:sp>
        <p:nvSpPr>
          <p:cNvPr id="6" name="Slide Number Placeholder 5">
            <a:extLst>
              <a:ext uri="{FF2B5EF4-FFF2-40B4-BE49-F238E27FC236}">
                <a16:creationId xmlns:a16="http://schemas.microsoft.com/office/drawing/2014/main" id="{BE69B922-F40A-DC7E-73E0-5DEE70799018}"/>
              </a:ext>
            </a:extLst>
          </p:cNvPr>
          <p:cNvSpPr>
            <a:spLocks noGrp="1"/>
          </p:cNvSpPr>
          <p:nvPr>
            <p:ph type="sldNum" sz="quarter" idx="4"/>
          </p:nvPr>
        </p:nvSpPr>
        <p:spPr>
          <a:xfrm>
            <a:off x="10547498" y="6356351"/>
            <a:ext cx="806303" cy="365125"/>
          </a:xfrm>
          <a:prstGeom prst="rect">
            <a:avLst/>
          </a:prstGeom>
        </p:spPr>
        <p:txBody>
          <a:bodyPr vert="horz" lIns="0" tIns="0" rIns="0" bIns="0" rtlCol="0" anchor="ctr"/>
          <a:lstStyle>
            <a:lvl1pPr algn="r">
              <a:defRPr sz="900" b="0" i="0">
                <a:solidFill>
                  <a:srgbClr val="7E8083"/>
                </a:solidFill>
                <a:latin typeface="Open Sans" panose="020B0606030504020204" pitchFamily="34" charset="0"/>
                <a:ea typeface="Open Sans" panose="020B0606030504020204" pitchFamily="34" charset="0"/>
                <a:cs typeface="Open Sans" panose="020B0606030504020204" pitchFamily="34" charset="0"/>
              </a:defRPr>
            </a:lvl1pPr>
          </a:lstStyle>
          <a:p>
            <a:fld id="{D901A633-1219-074A-B218-57656662A3BD}" type="slidenum">
              <a:rPr lang="en-US"/>
              <a:pPr/>
              <a:t>‹#›</a:t>
            </a:fld>
            <a:endParaRPr lang="en-US"/>
          </a:p>
        </p:txBody>
      </p:sp>
      <p:cxnSp>
        <p:nvCxnSpPr>
          <p:cNvPr id="8" name="Straight Connector 7">
            <a:extLst>
              <a:ext uri="{FF2B5EF4-FFF2-40B4-BE49-F238E27FC236}">
                <a16:creationId xmlns:a16="http://schemas.microsoft.com/office/drawing/2014/main" id="{87531F81-C366-30C9-4687-5D1ADD984030}"/>
              </a:ext>
            </a:extLst>
          </p:cNvPr>
          <p:cNvCxnSpPr/>
          <p:nvPr userDrawn="1"/>
        </p:nvCxnSpPr>
        <p:spPr>
          <a:xfrm>
            <a:off x="838200" y="6281928"/>
            <a:ext cx="11353800" cy="0"/>
          </a:xfrm>
          <a:prstGeom prst="line">
            <a:avLst/>
          </a:prstGeom>
          <a:ln w="6350">
            <a:solidFill>
              <a:srgbClr val="E6E7E8"/>
            </a:solidFill>
          </a:ln>
        </p:spPr>
        <p:style>
          <a:lnRef idx="2">
            <a:schemeClr val="accent1"/>
          </a:lnRef>
          <a:fillRef idx="0">
            <a:schemeClr val="accent1"/>
          </a:fillRef>
          <a:effectRef idx="1">
            <a:schemeClr val="accent1"/>
          </a:effectRef>
          <a:fontRef idx="minor">
            <a:schemeClr val="tx1"/>
          </a:fontRef>
        </p:style>
      </p:cxnSp>
      <p:pic>
        <p:nvPicPr>
          <p:cNvPr id="9" name="Picture 8">
            <a:extLst>
              <a:ext uri="{FF2B5EF4-FFF2-40B4-BE49-F238E27FC236}">
                <a16:creationId xmlns:a16="http://schemas.microsoft.com/office/drawing/2014/main" id="{F9EB70B0-3023-D6C9-6492-F02A5D0339E8}"/>
              </a:ext>
            </a:extLst>
          </p:cNvPr>
          <p:cNvPicPr>
            <a:picLocks noChangeAspect="1"/>
          </p:cNvPicPr>
          <p:nvPr userDrawn="1"/>
        </p:nvPicPr>
        <p:blipFill>
          <a:blip r:embed="rId22"/>
          <a:stretch>
            <a:fillRect/>
          </a:stretch>
        </p:blipFill>
        <p:spPr>
          <a:xfrm>
            <a:off x="217156" y="6313827"/>
            <a:ext cx="412751" cy="406400"/>
          </a:xfrm>
          <a:prstGeom prst="rect">
            <a:avLst/>
          </a:prstGeom>
        </p:spPr>
      </p:pic>
      <p:sp>
        <p:nvSpPr>
          <p:cNvPr id="10" name="TextBox 9">
            <a:extLst>
              <a:ext uri="{FF2B5EF4-FFF2-40B4-BE49-F238E27FC236}">
                <a16:creationId xmlns:a16="http://schemas.microsoft.com/office/drawing/2014/main" id="{5A15C367-BF84-6CB0-F35C-7BBC8813A597}"/>
              </a:ext>
            </a:extLst>
          </p:cNvPr>
          <p:cNvSpPr txBox="1"/>
          <p:nvPr userDrawn="1"/>
        </p:nvSpPr>
        <p:spPr>
          <a:xfrm>
            <a:off x="838201" y="6470651"/>
            <a:ext cx="1987404" cy="138499"/>
          </a:xfrm>
          <a:prstGeom prst="rect">
            <a:avLst/>
          </a:prstGeom>
          <a:noFill/>
        </p:spPr>
        <p:txBody>
          <a:bodyPr wrap="square" lIns="0" tIns="0" rIns="0" bIns="0" rtlCol="0">
            <a:spAutoFit/>
          </a:bodyPr>
          <a:lstStyle/>
          <a:p>
            <a:r>
              <a:rPr lang="en-US" sz="900" b="0" i="0">
                <a:latin typeface="Open Sans Medium" panose="020B0606030504020204" pitchFamily="34" charset="0"/>
                <a:ea typeface="Open Sans Medium" panose="020B0606030504020204" pitchFamily="34" charset="0"/>
                <a:cs typeface="Open Sans Medium" panose="020B0606030504020204" pitchFamily="34" charset="0"/>
              </a:rPr>
              <a:t>American Society of Hematology  </a:t>
            </a:r>
            <a:r>
              <a:rPr lang="en-US" sz="900" b="0" i="0">
                <a:solidFill>
                  <a:srgbClr val="7E8083"/>
                </a:solidFill>
                <a:latin typeface="Open Sans Medium" panose="020B0606030504020204" pitchFamily="34" charset="0"/>
                <a:ea typeface="Open Sans Medium" panose="020B0606030504020204" pitchFamily="34" charset="0"/>
                <a:cs typeface="Open Sans Medium" panose="020B0606030504020204" pitchFamily="34" charset="0"/>
              </a:rPr>
              <a:t>|</a:t>
            </a:r>
            <a:r>
              <a:rPr lang="en-US" sz="900" b="0" i="0">
                <a:latin typeface="Open Sans Medium" panose="020B0606030504020204" pitchFamily="34" charset="0"/>
                <a:ea typeface="Open Sans Medium" panose="020B0606030504020204" pitchFamily="34" charset="0"/>
                <a:cs typeface="Open Sans Medium" panose="020B0606030504020204" pitchFamily="34" charset="0"/>
              </a:rPr>
              <a:t>  </a:t>
            </a:r>
          </a:p>
        </p:txBody>
      </p:sp>
      <p:sp>
        <p:nvSpPr>
          <p:cNvPr id="34" name="Freeform 33">
            <a:extLst>
              <a:ext uri="{FF2B5EF4-FFF2-40B4-BE49-F238E27FC236}">
                <a16:creationId xmlns:a16="http://schemas.microsoft.com/office/drawing/2014/main" id="{5FA14974-8626-05FF-BB7C-A100E30489C3}"/>
              </a:ext>
            </a:extLst>
          </p:cNvPr>
          <p:cNvSpPr/>
          <p:nvPr userDrawn="1"/>
        </p:nvSpPr>
        <p:spPr>
          <a:xfrm>
            <a:off x="6124577" y="1"/>
            <a:ext cx="2591748" cy="176404"/>
          </a:xfrm>
          <a:custGeom>
            <a:avLst/>
            <a:gdLst>
              <a:gd name="connsiteX0" fmla="*/ 0 w 2591748"/>
              <a:gd name="connsiteY0" fmla="*/ 0 h 176404"/>
              <a:gd name="connsiteX1" fmla="*/ 2547476 w 2591748"/>
              <a:gd name="connsiteY1" fmla="*/ 0 h 176404"/>
              <a:gd name="connsiteX2" fmla="*/ 2547476 w 2591748"/>
              <a:gd name="connsiteY2" fmla="*/ 20726 h 176404"/>
              <a:gd name="connsiteX3" fmla="*/ 2571300 w 2591748"/>
              <a:gd name="connsiteY3" fmla="*/ 138730 h 176404"/>
              <a:gd name="connsiteX4" fmla="*/ 2591748 w 2591748"/>
              <a:gd name="connsiteY4" fmla="*/ 176404 h 176404"/>
              <a:gd name="connsiteX5" fmla="*/ 274586 w 2591748"/>
              <a:gd name="connsiteY5" fmla="*/ 176404 h 176404"/>
              <a:gd name="connsiteX6" fmla="*/ 23199 w 2591748"/>
              <a:gd name="connsiteY6" fmla="*/ 42743 h 176404"/>
              <a:gd name="connsiteX7" fmla="*/ 0 w 2591748"/>
              <a:gd name="connsiteY7" fmla="*/ 0 h 176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1748" h="176404">
                <a:moveTo>
                  <a:pt x="0" y="0"/>
                </a:moveTo>
                <a:lnTo>
                  <a:pt x="2547476" y="0"/>
                </a:lnTo>
                <a:lnTo>
                  <a:pt x="2547476" y="20726"/>
                </a:lnTo>
                <a:cubicBezTo>
                  <a:pt x="2547476" y="62584"/>
                  <a:pt x="2555959" y="102461"/>
                  <a:pt x="2571300" y="138730"/>
                </a:cubicBezTo>
                <a:lnTo>
                  <a:pt x="2591748" y="176404"/>
                </a:lnTo>
                <a:lnTo>
                  <a:pt x="274586" y="176404"/>
                </a:lnTo>
                <a:cubicBezTo>
                  <a:pt x="169941" y="176404"/>
                  <a:pt x="77680" y="123384"/>
                  <a:pt x="23199" y="42743"/>
                </a:cubicBezTo>
                <a:lnTo>
                  <a:pt x="0" y="0"/>
                </a:lnTo>
                <a:close/>
              </a:path>
            </a:pathLst>
          </a:custGeom>
          <a:solidFill>
            <a:srgbClr val="D3223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33" name="Freeform 32">
            <a:extLst>
              <a:ext uri="{FF2B5EF4-FFF2-40B4-BE49-F238E27FC236}">
                <a16:creationId xmlns:a16="http://schemas.microsoft.com/office/drawing/2014/main" id="{C4B83C5D-2F40-A2F0-CB95-045007CE1305}"/>
              </a:ext>
            </a:extLst>
          </p:cNvPr>
          <p:cNvSpPr/>
          <p:nvPr userDrawn="1"/>
        </p:nvSpPr>
        <p:spPr>
          <a:xfrm>
            <a:off x="8716325" y="176405"/>
            <a:ext cx="3475676" cy="147484"/>
          </a:xfrm>
          <a:custGeom>
            <a:avLst/>
            <a:gdLst>
              <a:gd name="connsiteX0" fmla="*/ 0 w 3475676"/>
              <a:gd name="connsiteY0" fmla="*/ 0 h 147484"/>
              <a:gd name="connsiteX1" fmla="*/ 1831174 w 3475676"/>
              <a:gd name="connsiteY1" fmla="*/ 0 h 147484"/>
              <a:gd name="connsiteX2" fmla="*/ 2956204 w 3475676"/>
              <a:gd name="connsiteY2" fmla="*/ 0 h 147484"/>
              <a:gd name="connsiteX3" fmla="*/ 3475676 w 3475676"/>
              <a:gd name="connsiteY3" fmla="*/ 0 h 147484"/>
              <a:gd name="connsiteX4" fmla="*/ 3475676 w 3475676"/>
              <a:gd name="connsiteY4" fmla="*/ 147484 h 147484"/>
              <a:gd name="connsiteX5" fmla="*/ 258890 w 3475676"/>
              <a:gd name="connsiteY5" fmla="*/ 147484 h 147484"/>
              <a:gd name="connsiteX6" fmla="*/ 7503 w 3475676"/>
              <a:gd name="connsiteY6" fmla="*/ 13823 h 147484"/>
              <a:gd name="connsiteX7" fmla="*/ 0 w 3475676"/>
              <a:gd name="connsiteY7" fmla="*/ 0 h 1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75676" h="147484">
                <a:moveTo>
                  <a:pt x="0" y="0"/>
                </a:moveTo>
                <a:lnTo>
                  <a:pt x="1831174" y="0"/>
                </a:lnTo>
                <a:lnTo>
                  <a:pt x="2956204" y="0"/>
                </a:lnTo>
                <a:lnTo>
                  <a:pt x="3475676" y="0"/>
                </a:lnTo>
                <a:lnTo>
                  <a:pt x="3475676" y="147484"/>
                </a:lnTo>
                <a:lnTo>
                  <a:pt x="258890" y="147484"/>
                </a:lnTo>
                <a:cubicBezTo>
                  <a:pt x="154245" y="147484"/>
                  <a:pt x="61984" y="94464"/>
                  <a:pt x="7503" y="13823"/>
                </a:cubicBezTo>
                <a:lnTo>
                  <a:pt x="0" y="0"/>
                </a:lnTo>
                <a:close/>
              </a:path>
            </a:pathLst>
          </a:custGeom>
          <a:solidFill>
            <a:srgbClr val="E6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42" name="Freeform 41">
            <a:extLst>
              <a:ext uri="{FF2B5EF4-FFF2-40B4-BE49-F238E27FC236}">
                <a16:creationId xmlns:a16="http://schemas.microsoft.com/office/drawing/2014/main" id="{90CBD917-D6B1-71DD-44F1-02D083A2BBA2}"/>
              </a:ext>
            </a:extLst>
          </p:cNvPr>
          <p:cNvSpPr/>
          <p:nvPr userDrawn="1"/>
        </p:nvSpPr>
        <p:spPr>
          <a:xfrm>
            <a:off x="6938964" y="1"/>
            <a:ext cx="5253037" cy="176404"/>
          </a:xfrm>
          <a:custGeom>
            <a:avLst/>
            <a:gdLst>
              <a:gd name="connsiteX0" fmla="*/ 0 w 5253037"/>
              <a:gd name="connsiteY0" fmla="*/ 0 h 176404"/>
              <a:gd name="connsiteX1" fmla="*/ 2262187 w 5253037"/>
              <a:gd name="connsiteY1" fmla="*/ 0 h 176404"/>
              <a:gd name="connsiteX2" fmla="*/ 2547476 w 5253037"/>
              <a:gd name="connsiteY2" fmla="*/ 0 h 176404"/>
              <a:gd name="connsiteX3" fmla="*/ 5253037 w 5253037"/>
              <a:gd name="connsiteY3" fmla="*/ 0 h 176404"/>
              <a:gd name="connsiteX4" fmla="*/ 5253037 w 5253037"/>
              <a:gd name="connsiteY4" fmla="*/ 176404 h 176404"/>
              <a:gd name="connsiteX5" fmla="*/ 2591748 w 5253037"/>
              <a:gd name="connsiteY5" fmla="*/ 176404 h 176404"/>
              <a:gd name="connsiteX6" fmla="*/ 2262187 w 5253037"/>
              <a:gd name="connsiteY6" fmla="*/ 176404 h 176404"/>
              <a:gd name="connsiteX7" fmla="*/ 274586 w 5253037"/>
              <a:gd name="connsiteY7" fmla="*/ 176404 h 176404"/>
              <a:gd name="connsiteX8" fmla="*/ 23199 w 5253037"/>
              <a:gd name="connsiteY8" fmla="*/ 42743 h 176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53037" h="176404">
                <a:moveTo>
                  <a:pt x="0" y="0"/>
                </a:moveTo>
                <a:lnTo>
                  <a:pt x="2262187" y="0"/>
                </a:lnTo>
                <a:lnTo>
                  <a:pt x="2547476" y="0"/>
                </a:lnTo>
                <a:lnTo>
                  <a:pt x="5253037" y="0"/>
                </a:lnTo>
                <a:lnTo>
                  <a:pt x="5253037" y="176404"/>
                </a:lnTo>
                <a:lnTo>
                  <a:pt x="2591748" y="176404"/>
                </a:lnTo>
                <a:lnTo>
                  <a:pt x="2262187" y="176404"/>
                </a:lnTo>
                <a:lnTo>
                  <a:pt x="274586" y="176404"/>
                </a:lnTo>
                <a:cubicBezTo>
                  <a:pt x="169941" y="176404"/>
                  <a:pt x="77680" y="123384"/>
                  <a:pt x="23199" y="42743"/>
                </a:cubicBezTo>
                <a:close/>
              </a:path>
            </a:pathLst>
          </a:custGeom>
          <a:solidFill>
            <a:srgbClr val="98101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Tree>
    <p:extLst>
      <p:ext uri="{BB962C8B-B14F-4D97-AF65-F5344CB8AC3E}">
        <p14:creationId xmlns:p14="http://schemas.microsoft.com/office/powerpoint/2010/main" val="171439371"/>
      </p:ext>
    </p:extLst>
  </p:cSld>
  <p:clrMap bg1="lt1" tx1="dk1" bg2="lt2" tx2="dk2" accent1="accent1" accent2="accent2" accent3="accent3" accent4="accent4" accent5="accent5" accent6="accent6" hlink="hlink" folHlink="folHlink"/>
  <p:sldLayoutIdLst>
    <p:sldLayoutId id="2147485407" r:id="rId1"/>
    <p:sldLayoutId id="2147485408" r:id="rId2"/>
    <p:sldLayoutId id="2147485409" r:id="rId3"/>
    <p:sldLayoutId id="2147485410" r:id="rId4"/>
    <p:sldLayoutId id="2147485411" r:id="rId5"/>
    <p:sldLayoutId id="2147485412" r:id="rId6"/>
    <p:sldLayoutId id="2147485413" r:id="rId7"/>
    <p:sldLayoutId id="2147485414" r:id="rId8"/>
    <p:sldLayoutId id="2147485415" r:id="rId9"/>
    <p:sldLayoutId id="2147485416" r:id="rId10"/>
    <p:sldLayoutId id="2147485417" r:id="rId11"/>
    <p:sldLayoutId id="2147485418" r:id="rId12"/>
    <p:sldLayoutId id="2147485419" r:id="rId13"/>
    <p:sldLayoutId id="2147485420" r:id="rId14"/>
    <p:sldLayoutId id="2147485421" r:id="rId15"/>
    <p:sldLayoutId id="2147485422" r:id="rId16"/>
    <p:sldLayoutId id="2147485423" r:id="rId17"/>
    <p:sldLayoutId id="2147485424" r:id="rId18"/>
    <p:sldLayoutId id="2147485425" r:id="rId19"/>
    <p:sldLayoutId id="2147485426" r:id="rId2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dt="0"/>
  <p:txStyles>
    <p:titleStyle>
      <a:lvl1pPr algn="l" defTabSz="914377" rtl="0" eaLnBrk="1" latinLnBrk="0" hangingPunct="1">
        <a:lnSpc>
          <a:spcPct val="110000"/>
        </a:lnSpc>
        <a:spcBef>
          <a:spcPct val="0"/>
        </a:spcBef>
        <a:buNone/>
        <a:defRPr sz="34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p:titleStyle>
    <p:bodyStyle>
      <a:lvl1pPr marL="228594" indent="-228594" algn="l" defTabSz="914377" rtl="0" eaLnBrk="1" latinLnBrk="0" hangingPunct="1">
        <a:lnSpc>
          <a:spcPct val="120000"/>
        </a:lnSpc>
        <a:spcBef>
          <a:spcPts val="1000"/>
        </a:spcBef>
        <a:buClr>
          <a:srgbClr val="D32232"/>
        </a:buClr>
        <a:buFont typeface="Arial" panose="020B0604020202020204" pitchFamily="34" charset="0"/>
        <a:buChar char="•"/>
        <a:defRPr sz="1800" b="0" i="0" kern="1200">
          <a:solidFill>
            <a:srgbClr val="000000"/>
          </a:solidFill>
          <a:latin typeface="Open Sans" panose="020B0606030504020204" pitchFamily="34" charset="0"/>
          <a:ea typeface="Open Sans" panose="020B0606030504020204" pitchFamily="34" charset="0"/>
          <a:cs typeface="Open Sans" panose="020B0606030504020204" pitchFamily="34" charset="0"/>
        </a:defRPr>
      </a:lvl1pPr>
      <a:lvl2pPr marL="685783" indent="-228594" algn="l" defTabSz="914377" rtl="0" eaLnBrk="1" latinLnBrk="0" hangingPunct="1">
        <a:lnSpc>
          <a:spcPct val="120000"/>
        </a:lnSpc>
        <a:spcBef>
          <a:spcPts val="500"/>
        </a:spcBef>
        <a:buClr>
          <a:srgbClr val="D32232"/>
        </a:buClr>
        <a:buFont typeface="Arial" panose="020B0604020202020204" pitchFamily="34" charset="0"/>
        <a:buChar char="•"/>
        <a:defRPr sz="1600" b="0" i="0" kern="1200">
          <a:solidFill>
            <a:srgbClr val="000000"/>
          </a:solidFill>
          <a:latin typeface="Open Sans" panose="020B0606030504020204" pitchFamily="34" charset="0"/>
          <a:ea typeface="Open Sans" panose="020B0606030504020204" pitchFamily="34" charset="0"/>
          <a:cs typeface="Open Sans" panose="020B0606030504020204" pitchFamily="34" charset="0"/>
        </a:defRPr>
      </a:lvl2pPr>
      <a:lvl3pPr marL="1142971" indent="-228594" algn="l" defTabSz="914377" rtl="0" eaLnBrk="1" latinLnBrk="0" hangingPunct="1">
        <a:lnSpc>
          <a:spcPct val="120000"/>
        </a:lnSpc>
        <a:spcBef>
          <a:spcPts val="500"/>
        </a:spcBef>
        <a:buClr>
          <a:srgbClr val="D32232"/>
        </a:buClr>
        <a:buFont typeface="Arial" panose="020B0604020202020204" pitchFamily="34" charset="0"/>
        <a:buChar char="•"/>
        <a:defRPr sz="1400" b="0" i="0" kern="1200">
          <a:solidFill>
            <a:srgbClr val="000000"/>
          </a:solidFill>
          <a:latin typeface="Open Sans" panose="020B0606030504020204" pitchFamily="34" charset="0"/>
          <a:ea typeface="Open Sans" panose="020B0606030504020204" pitchFamily="34" charset="0"/>
          <a:cs typeface="Open Sans" panose="020B0606030504020204" pitchFamily="34" charset="0"/>
        </a:defRPr>
      </a:lvl3pPr>
      <a:lvl4pPr marL="1600160" indent="-228594" algn="l" defTabSz="914377" rtl="0" eaLnBrk="1" latinLnBrk="0" hangingPunct="1">
        <a:lnSpc>
          <a:spcPct val="120000"/>
        </a:lnSpc>
        <a:spcBef>
          <a:spcPts val="500"/>
        </a:spcBef>
        <a:buClr>
          <a:srgbClr val="D32232"/>
        </a:buClr>
        <a:buFont typeface="Arial" panose="020B0604020202020204" pitchFamily="34" charset="0"/>
        <a:buChar char="•"/>
        <a:defRPr sz="1200" b="0" i="0" kern="1200">
          <a:solidFill>
            <a:srgbClr val="000000"/>
          </a:solidFill>
          <a:latin typeface="Open Sans Medium" panose="020B0606030504020204" pitchFamily="34" charset="0"/>
          <a:ea typeface="Open Sans Medium" panose="020B0606030504020204" pitchFamily="34" charset="0"/>
          <a:cs typeface="Open Sans Medium" panose="020B0606030504020204" pitchFamily="34" charset="0"/>
        </a:defRPr>
      </a:lvl4pPr>
      <a:lvl5pPr marL="2057349" indent="-228594" algn="l" defTabSz="914377" rtl="0" eaLnBrk="1" latinLnBrk="0" hangingPunct="1">
        <a:lnSpc>
          <a:spcPct val="120000"/>
        </a:lnSpc>
        <a:spcBef>
          <a:spcPts val="500"/>
        </a:spcBef>
        <a:buClr>
          <a:srgbClr val="D32232"/>
        </a:buClr>
        <a:buFont typeface="Arial" panose="020B0604020202020204" pitchFamily="34" charset="0"/>
        <a:buChar char="•"/>
        <a:defRPr sz="1200" b="0" i="0" kern="1200">
          <a:solidFill>
            <a:srgbClr val="000000"/>
          </a:solidFill>
          <a:latin typeface="Open Sans Medium" panose="020B0606030504020204" pitchFamily="34" charset="0"/>
          <a:ea typeface="Open Sans Medium" panose="020B0606030504020204" pitchFamily="34" charset="0"/>
          <a:cs typeface="Open Sans Medium" panose="020B0606030504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8641" y="417849"/>
            <a:ext cx="11094720" cy="85344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548640" y="1682769"/>
            <a:ext cx="11094720" cy="451104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Footer Placeholder 9"/>
          <p:cNvSpPr>
            <a:spLocks noGrp="1"/>
          </p:cNvSpPr>
          <p:nvPr>
            <p:ph type="ftr" sz="quarter" idx="3"/>
          </p:nvPr>
        </p:nvSpPr>
        <p:spPr bwMode="gray">
          <a:xfrm>
            <a:off x="2193479" y="6479958"/>
            <a:ext cx="7950344" cy="215444"/>
          </a:xfrm>
          <a:prstGeom prst="rect">
            <a:avLst/>
          </a:prstGeom>
        </p:spPr>
        <p:txBody>
          <a:bodyPr vert="horz" wrap="square" lIns="0" tIns="0" rIns="0" bIns="0" rtlCol="0" anchor="ctr">
            <a:spAutoFit/>
          </a:bodyPr>
          <a:lstStyle>
            <a:lvl1pPr algn="l">
              <a:defRPr sz="1400">
                <a:solidFill>
                  <a:schemeClr val="tx1"/>
                </a:solidFill>
                <a:latin typeface="+mj-lt"/>
                <a:cs typeface="Arial" pitchFamily="34" charset="0"/>
              </a:defRPr>
            </a:lvl1pPr>
          </a:lstStyle>
          <a:p>
            <a:r>
              <a:rPr lang="en-US"/>
              <a:t>Westin - 2026 iwCART Are Bispecifics in 1L inevitable?</a:t>
            </a:r>
            <a:endParaRPr lang="en-US" dirty="0"/>
          </a:p>
        </p:txBody>
      </p:sp>
      <p:sp>
        <p:nvSpPr>
          <p:cNvPr id="15" name="Slide Number Placeholder 14"/>
          <p:cNvSpPr>
            <a:spLocks noGrp="1"/>
          </p:cNvSpPr>
          <p:nvPr>
            <p:ph type="sldNum" sz="quarter" idx="4"/>
          </p:nvPr>
        </p:nvSpPr>
        <p:spPr bwMode="gray">
          <a:xfrm>
            <a:off x="11248253" y="325172"/>
            <a:ext cx="395111" cy="143629"/>
          </a:xfrm>
          <a:prstGeom prst="rect">
            <a:avLst/>
          </a:prstGeom>
        </p:spPr>
        <p:txBody>
          <a:bodyPr vert="horz" wrap="square" lIns="0" tIns="0" rIns="0" bIns="0" rtlCol="0" anchor="ctr">
            <a:spAutoFit/>
          </a:bodyPr>
          <a:lstStyle>
            <a:lvl1pPr algn="r">
              <a:defRPr sz="933">
                <a:solidFill>
                  <a:schemeClr val="tx1"/>
                </a:solidFill>
                <a:latin typeface="+mj-lt"/>
                <a:cs typeface="Arial" pitchFamily="34" charset="0"/>
              </a:defRPr>
            </a:lvl1pPr>
          </a:lstStyle>
          <a:p>
            <a:fld id="{CC041753-90EA-4E44-9BB8-633978F3CCC4}" type="slidenum">
              <a:rPr lang="en-US" smtClean="0"/>
              <a:pPr/>
              <a:t>‹#›</a:t>
            </a:fld>
            <a:endParaRPr lang="en-US" dirty="0"/>
          </a:p>
        </p:txBody>
      </p:sp>
      <p:cxnSp>
        <p:nvCxnSpPr>
          <p:cNvPr id="19" name="Straight Connector 18"/>
          <p:cNvCxnSpPr/>
          <p:nvPr/>
        </p:nvCxnSpPr>
        <p:spPr bwMode="gray">
          <a:xfrm>
            <a:off x="2" y="6587676"/>
            <a:ext cx="361244" cy="0"/>
          </a:xfrm>
          <a:prstGeom prst="line">
            <a:avLst/>
          </a:prstGeom>
          <a:ln w="4445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bwMode="gray">
          <a:xfrm>
            <a:off x="553148" y="6479958"/>
            <a:ext cx="1428641" cy="215444"/>
          </a:xfrm>
          <a:prstGeom prst="rect">
            <a:avLst/>
          </a:prstGeom>
          <a:noFill/>
        </p:spPr>
        <p:txBody>
          <a:bodyPr wrap="square" lIns="0" tIns="0" rIns="0" bIns="0" rtlCol="0" anchor="ctr" anchorCtr="0">
            <a:spAutoFit/>
          </a:bodyPr>
          <a:lstStyle/>
          <a:p>
            <a:r>
              <a:rPr lang="en-US" sz="1400" dirty="0">
                <a:solidFill>
                  <a:schemeClr val="tx1"/>
                </a:solidFill>
                <a:latin typeface="+mj-lt"/>
                <a:cs typeface="Arial" pitchFamily="34" charset="0"/>
              </a:rPr>
              <a:t>UT MD Anderson</a:t>
            </a:r>
          </a:p>
        </p:txBody>
      </p:sp>
      <p:cxnSp>
        <p:nvCxnSpPr>
          <p:cNvPr id="11" name="Straight Connector 10"/>
          <p:cNvCxnSpPr/>
          <p:nvPr/>
        </p:nvCxnSpPr>
        <p:spPr bwMode="gray">
          <a:xfrm>
            <a:off x="2058944" y="6479957"/>
            <a:ext cx="0" cy="21945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3784111"/>
      </p:ext>
    </p:extLst>
  </p:cSld>
  <p:clrMap bg1="lt1" tx1="dk1" bg2="lt2" tx2="dk2" accent1="accent1" accent2="accent2" accent3="accent3" accent4="accent4" accent5="accent5" accent6="accent6" hlink="hlink" folHlink="folHlink"/>
  <p:sldLayoutIdLst>
    <p:sldLayoutId id="2147485428" r:id="rId1"/>
    <p:sldLayoutId id="2147485429" r:id="rId2"/>
    <p:sldLayoutId id="2147485430" r:id="rId3"/>
    <p:sldLayoutId id="2147485431" r:id="rId4"/>
    <p:sldLayoutId id="2147485432" r:id="rId5"/>
    <p:sldLayoutId id="2147485433" r:id="rId6"/>
    <p:sldLayoutId id="2147485434" r:id="rId7"/>
    <p:sldLayoutId id="2147485435" r:id="rId8"/>
    <p:sldLayoutId id="2147485436" r:id="rId9"/>
    <p:sldLayoutId id="2147485438" r:id="rId10"/>
    <p:sldLayoutId id="2147485439" r:id="rId11"/>
    <p:sldLayoutId id="2147485440" r:id="rId12"/>
    <p:sldLayoutId id="2147485441"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914377" rtl="0" eaLnBrk="1" latinLnBrk="0" hangingPunct="1">
        <a:lnSpc>
          <a:spcPct val="100000"/>
        </a:lnSpc>
        <a:spcBef>
          <a:spcPct val="0"/>
        </a:spcBef>
        <a:buNone/>
        <a:defRPr sz="2933" b="1" kern="1200">
          <a:solidFill>
            <a:schemeClr val="tx1"/>
          </a:solidFill>
          <a:latin typeface="+mj-lt"/>
          <a:ea typeface="+mj-ea"/>
          <a:cs typeface="Arial" pitchFamily="34" charset="0"/>
        </a:defRPr>
      </a:lvl1pPr>
    </p:titleStyle>
    <p:bodyStyle>
      <a:lvl1pPr marL="0" indent="0" algn="l" defTabSz="914377" rtl="0" eaLnBrk="1" latinLnBrk="0" hangingPunct="1">
        <a:lnSpc>
          <a:spcPct val="100000"/>
        </a:lnSpc>
        <a:spcBef>
          <a:spcPts val="1867"/>
        </a:spcBef>
        <a:spcAft>
          <a:spcPts val="0"/>
        </a:spcAft>
        <a:buFont typeface="Arial" pitchFamily="34" charset="0"/>
        <a:buNone/>
        <a:defRPr sz="2400" kern="1200">
          <a:solidFill>
            <a:schemeClr val="tx1"/>
          </a:solidFill>
          <a:latin typeface="+mj-lt"/>
          <a:ea typeface="+mn-ea"/>
          <a:cs typeface="Times New Roman" pitchFamily="18" charset="0"/>
        </a:defRPr>
      </a:lvl1pPr>
      <a:lvl2pPr marL="173034" indent="-173034" algn="l" defTabSz="914377" rtl="0" eaLnBrk="1" latinLnBrk="0" hangingPunct="1">
        <a:lnSpc>
          <a:spcPct val="100000"/>
        </a:lnSpc>
        <a:spcBef>
          <a:spcPts val="1200"/>
        </a:spcBef>
        <a:spcAft>
          <a:spcPts val="0"/>
        </a:spcAft>
        <a:buFont typeface="Arial" pitchFamily="34" charset="0"/>
        <a:buChar char="•"/>
        <a:defRPr sz="2400" kern="1200">
          <a:solidFill>
            <a:schemeClr val="tx1"/>
          </a:solidFill>
          <a:latin typeface="+mj-lt"/>
          <a:ea typeface="+mn-ea"/>
          <a:cs typeface="Times New Roman" pitchFamily="18" charset="0"/>
        </a:defRPr>
      </a:lvl2pPr>
      <a:lvl3pPr marL="344479" indent="-173034" algn="l" defTabSz="914377" rtl="0" eaLnBrk="1" latinLnBrk="0" hangingPunct="1">
        <a:lnSpc>
          <a:spcPct val="100000"/>
        </a:lnSpc>
        <a:spcBef>
          <a:spcPts val="800"/>
        </a:spcBef>
        <a:spcAft>
          <a:spcPts val="0"/>
        </a:spcAft>
        <a:buFont typeface="Arial" pitchFamily="34" charset="0"/>
        <a:buChar char="•"/>
        <a:defRPr sz="2133" kern="1200">
          <a:solidFill>
            <a:schemeClr val="tx1"/>
          </a:solidFill>
          <a:latin typeface="+mj-lt"/>
          <a:ea typeface="+mn-ea"/>
          <a:cs typeface="Times New Roman" pitchFamily="18" charset="0"/>
        </a:defRPr>
      </a:lvl3pPr>
      <a:lvl4pPr marL="517512" indent="-173034" algn="l" defTabSz="914377" rtl="0" eaLnBrk="1" latinLnBrk="0" hangingPunct="1">
        <a:lnSpc>
          <a:spcPct val="100000"/>
        </a:lnSpc>
        <a:spcBef>
          <a:spcPts val="800"/>
        </a:spcBef>
        <a:spcAft>
          <a:spcPts val="0"/>
        </a:spcAft>
        <a:buFont typeface="Arial" pitchFamily="34" charset="0"/>
        <a:buChar char="•"/>
        <a:defRPr sz="1867" kern="1200">
          <a:solidFill>
            <a:schemeClr val="tx1"/>
          </a:solidFill>
          <a:latin typeface="+mj-lt"/>
          <a:ea typeface="+mn-ea"/>
          <a:cs typeface="Times New Roman" pitchFamily="18" charset="0"/>
        </a:defRPr>
      </a:lvl4pPr>
      <a:lvl5pPr marL="2057349" indent="-228594" algn="l" defTabSz="914377" rtl="0" eaLnBrk="1" latinLnBrk="0" hangingPunct="1">
        <a:spcBef>
          <a:spcPct val="20000"/>
        </a:spcBef>
        <a:buFont typeface="Arial" pitchFamily="34" charset="0"/>
        <a:buChar char="»"/>
        <a:defRPr sz="1800" kern="1200">
          <a:solidFill>
            <a:schemeClr val="bg1"/>
          </a:solidFill>
          <a:latin typeface="Times New Roman" pitchFamily="18" charset="0"/>
          <a:ea typeface="+mn-ea"/>
          <a:cs typeface="Times New Roman" pitchFamily="18"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9"/>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530" imgH="531" progId="TCLayout.ActiveDocument.1">
                  <p:embed/>
                </p:oleObj>
              </mc:Choice>
              <mc:Fallback>
                <p:oleObj name="think-cell Slide" r:id="rId21"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reeform 8">
            <a:extLst>
              <a:ext uri="{FF2B5EF4-FFF2-40B4-BE49-F238E27FC236}">
                <a16:creationId xmlns:a16="http://schemas.microsoft.com/office/drawing/2014/main" id="{B496F443-CBC9-D942-BCF6-03ABB20B2848}"/>
              </a:ext>
            </a:extLst>
          </p:cNvPr>
          <p:cNvSpPr/>
          <p:nvPr userDrawn="1"/>
        </p:nvSpPr>
        <p:spPr>
          <a:xfrm>
            <a:off x="64008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a:p>
        </p:txBody>
      </p:sp>
    </p:spTree>
    <p:extLst>
      <p:ext uri="{BB962C8B-B14F-4D97-AF65-F5344CB8AC3E}">
        <p14:creationId xmlns:p14="http://schemas.microsoft.com/office/powerpoint/2010/main" val="861766121"/>
      </p:ext>
    </p:extLst>
  </p:cSld>
  <p:clrMap bg1="lt1" tx1="dk1" bg2="lt2" tx2="dk2" accent1="accent1" accent2="accent2" accent3="accent3" accent4="accent4" accent5="accent5" accent6="accent6" hlink="hlink" folHlink="folHlink"/>
  <p:sldLayoutIdLst>
    <p:sldLayoutId id="2147485443" r:id="rId1"/>
    <p:sldLayoutId id="2147485444" r:id="rId2"/>
    <p:sldLayoutId id="2147485445" r:id="rId3"/>
    <p:sldLayoutId id="2147485446" r:id="rId4"/>
    <p:sldLayoutId id="2147485447" r:id="rId5"/>
    <p:sldLayoutId id="2147485448" r:id="rId6"/>
    <p:sldLayoutId id="2147485449" r:id="rId7"/>
    <p:sldLayoutId id="2147485450" r:id="rId8"/>
    <p:sldLayoutId id="2147485451" r:id="rId9"/>
    <p:sldLayoutId id="2147485452" r:id="rId10"/>
    <p:sldLayoutId id="2147485453" r:id="rId11"/>
    <p:sldLayoutId id="2147485454" r:id="rId12"/>
    <p:sldLayoutId id="2147485455" r:id="rId13"/>
    <p:sldLayoutId id="2147485456" r:id="rId14"/>
    <p:sldLayoutId id="2147485457" r:id="rId15"/>
    <p:sldLayoutId id="2147485458" r:id="rId16"/>
    <p:sldLayoutId id="2147485459"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85479" y="6134301"/>
            <a:ext cx="2389449" cy="563910"/>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3205297584"/>
      </p:ext>
    </p:extLst>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 id="2147484602" r:id="rId11"/>
    <p:sldLayoutId id="2147484603" r:id="rId12"/>
    <p:sldLayoutId id="2147484604" r:id="rId13"/>
    <p:sldLayoutId id="2147484605" r:id="rId14"/>
    <p:sldLayoutId id="2147484606" r:id="rId15"/>
    <p:sldLayoutId id="2147484607" r:id="rId16"/>
    <p:sldLayoutId id="2147484608" r:id="rId17"/>
    <p:sldLayoutId id="2147484609" r:id="rId18"/>
    <p:sldLayoutId id="2147484610" r:id="rId19"/>
    <p:sldLayoutId id="2147484611" r:id="rId20"/>
    <p:sldLayoutId id="2147484612" r:id="rId21"/>
    <p:sldLayoutId id="2147484613" r:id="rId22"/>
    <p:sldLayoutId id="2147484614" r:id="rId23"/>
    <p:sldLayoutId id="2147484615" r:id="rId24"/>
    <p:sldLayoutId id="2147484616"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7"/>
          <p:cNvSpPr>
            <a:spLocks noChangeArrowheads="1"/>
          </p:cNvSpPr>
          <p:nvPr userDrawn="1"/>
        </p:nvSpPr>
        <p:spPr bwMode="auto">
          <a:xfrm>
            <a:off x="15675" y="990600"/>
            <a:ext cx="12192000" cy="255588"/>
          </a:xfrm>
          <a:prstGeom prst="rect">
            <a:avLst/>
          </a:prstGeom>
          <a:solidFill>
            <a:srgbClr val="28972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7" rIns="91437" anchor="ctr"/>
          <a:lstStyle/>
          <a:p>
            <a:pPr>
              <a:defRPr/>
            </a:pPr>
            <a:endParaRPr lang="en-US" sz="2400">
              <a:ln>
                <a:solidFill>
                  <a:srgbClr val="289728"/>
                </a:solidFill>
              </a:ln>
              <a:latin typeface="Arial" charset="0"/>
              <a:ea typeface="ＭＳ Ｐゴシック" charset="0"/>
            </a:endParaRPr>
          </a:p>
        </p:txBody>
      </p:sp>
      <p:sp>
        <p:nvSpPr>
          <p:cNvPr id="8" name="Rectangle 7"/>
          <p:cNvSpPr>
            <a:spLocks noChangeArrowheads="1"/>
          </p:cNvSpPr>
          <p:nvPr userDrawn="1"/>
        </p:nvSpPr>
        <p:spPr bwMode="auto">
          <a:xfrm>
            <a:off x="2841" y="990600"/>
            <a:ext cx="12192000" cy="255588"/>
          </a:xfrm>
          <a:prstGeom prst="rect">
            <a:avLst/>
          </a:prstGeom>
          <a:solidFill>
            <a:srgbClr val="EEA42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7" rIns="91437" anchor="ctr"/>
          <a:lstStyle/>
          <a:p>
            <a:pPr>
              <a:defRPr/>
            </a:pPr>
            <a:endParaRPr lang="en-US" sz="2400">
              <a:ln>
                <a:solidFill>
                  <a:srgbClr val="289728"/>
                </a:solidFill>
              </a:ln>
              <a:latin typeface="Arial" charset="0"/>
              <a:ea typeface="ＭＳ Ｐゴシック" charset="0"/>
            </a:endParaRPr>
          </a:p>
        </p:txBody>
      </p:sp>
      <p:sp>
        <p:nvSpPr>
          <p:cNvPr id="7" name="Rectangle 7"/>
          <p:cNvSpPr>
            <a:spLocks noChangeArrowheads="1"/>
          </p:cNvSpPr>
          <p:nvPr userDrawn="1"/>
        </p:nvSpPr>
        <p:spPr bwMode="auto">
          <a:xfrm>
            <a:off x="5300" y="990600"/>
            <a:ext cx="12192000" cy="255588"/>
          </a:xfrm>
          <a:prstGeom prst="rect">
            <a:avLst/>
          </a:prstGeom>
          <a:solidFill>
            <a:srgbClr val="2CC3E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7" rIns="91437" anchor="ctr"/>
          <a:lstStyle/>
          <a:p>
            <a:pPr>
              <a:defRPr/>
            </a:pPr>
            <a:endParaRPr lang="en-US" sz="2400">
              <a:ln>
                <a:solidFill>
                  <a:srgbClr val="289728"/>
                </a:solidFill>
              </a:ln>
              <a:latin typeface="Arial" charset="0"/>
              <a:ea typeface="ＭＳ Ｐゴシック" charset="0"/>
            </a:endParaRPr>
          </a:p>
        </p:txBody>
      </p:sp>
      <p:sp>
        <p:nvSpPr>
          <p:cNvPr id="1031" name="Rectangle 7"/>
          <p:cNvSpPr>
            <a:spLocks noChangeArrowheads="1"/>
          </p:cNvSpPr>
          <p:nvPr userDrawn="1"/>
        </p:nvSpPr>
        <p:spPr bwMode="auto">
          <a:xfrm>
            <a:off x="0" y="990600"/>
            <a:ext cx="12192000" cy="255588"/>
          </a:xfrm>
          <a:prstGeom prst="rect">
            <a:avLst/>
          </a:prstGeom>
          <a:solidFill>
            <a:srgbClr val="296DC0"/>
          </a:solidFill>
          <a:ln>
            <a:noFill/>
          </a:ln>
          <a:effectLst/>
        </p:spPr>
        <p:txBody>
          <a:bodyPr wrap="none" lIns="91437" rIns="91437" anchor="ctr"/>
          <a:lstStyle/>
          <a:p>
            <a:pPr>
              <a:defRPr/>
            </a:pPr>
            <a:endParaRPr lang="en-US" sz="2400">
              <a:ln>
                <a:solidFill>
                  <a:srgbClr val="289728"/>
                </a:solidFill>
              </a:ln>
              <a:latin typeface="Arial" charset="0"/>
              <a:ea typeface="ＭＳ Ｐゴシック" charset="0"/>
            </a:endParaRPr>
          </a:p>
        </p:txBody>
      </p:sp>
      <p:sp>
        <p:nvSpPr>
          <p:cNvPr id="1027" name="Rectangle 9"/>
          <p:cNvSpPr>
            <a:spLocks noGrp="1" noChangeArrowheads="1"/>
          </p:cNvSpPr>
          <p:nvPr>
            <p:ph type="title"/>
          </p:nvPr>
        </p:nvSpPr>
        <p:spPr bwMode="auto">
          <a:xfrm>
            <a:off x="338607" y="132560"/>
            <a:ext cx="11379200" cy="858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8" name="Rectangle 10"/>
          <p:cNvSpPr>
            <a:spLocks noGrp="1" noChangeArrowheads="1"/>
          </p:cNvSpPr>
          <p:nvPr>
            <p:ph type="body" idx="1"/>
          </p:nvPr>
        </p:nvSpPr>
        <p:spPr bwMode="auto">
          <a:xfrm>
            <a:off x="332320" y="1600203"/>
            <a:ext cx="11332633"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p:txBody>
      </p:sp>
      <p:pic>
        <p:nvPicPr>
          <p:cNvPr id="1026" name="Picture 1" descr="pri_reg_2c_rgb_tm">
            <a:extLst>
              <a:ext uri="{FF2B5EF4-FFF2-40B4-BE49-F238E27FC236}">
                <a16:creationId xmlns:a16="http://schemas.microsoft.com/office/drawing/2014/main" id="{852C0B8A-9DD8-4FE9-A7E4-B01A9851297D}"/>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10713521" y="6081381"/>
            <a:ext cx="1411024" cy="776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24795145"/>
      </p:ext>
    </p:extLst>
  </p:cSld>
  <p:clrMap bg1="lt1" tx1="dk1" bg2="lt2" tx2="dk2" accent1="accent1" accent2="accent2" accent3="accent3" accent4="accent4" accent5="accent5" accent6="accent6" hlink="hlink" folHlink="folHlink"/>
  <p:sldLayoutIdLst>
    <p:sldLayoutId id="2147485490" r:id="rId1"/>
    <p:sldLayoutId id="2147485491" r:id="rId2"/>
    <p:sldLayoutId id="2147485492" r:id="rId3"/>
    <p:sldLayoutId id="2147485493" r:id="rId4"/>
    <p:sldLayoutId id="2147485494" r:id="rId5"/>
    <p:sldLayoutId id="2147485495" r:id="rId6"/>
    <p:sldLayoutId id="2147485496" r:id="rId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rtl="0" eaLnBrk="1" fontAlgn="base" hangingPunct="1">
        <a:spcBef>
          <a:spcPct val="0"/>
        </a:spcBef>
        <a:spcAft>
          <a:spcPct val="0"/>
        </a:spcAft>
        <a:defRPr sz="3200" b="0">
          <a:solidFill>
            <a:schemeClr val="tx1"/>
          </a:solidFill>
          <a:latin typeface="+mj-lt"/>
          <a:ea typeface="MS PGothic" panose="020B0600070205080204" pitchFamily="34" charset="-128"/>
          <a:cs typeface="+mj-cs"/>
        </a:defRPr>
      </a:lvl1pPr>
      <a:lvl2pPr algn="l" rtl="0" eaLnBrk="1" fontAlgn="base" hangingPunct="1">
        <a:spcBef>
          <a:spcPct val="0"/>
        </a:spcBef>
        <a:spcAft>
          <a:spcPct val="0"/>
        </a:spcAft>
        <a:defRPr sz="2400" b="1">
          <a:solidFill>
            <a:schemeClr val="tx1"/>
          </a:solidFill>
          <a:latin typeface="Arial" charset="0"/>
          <a:ea typeface="MS PGothic" panose="020B0600070205080204" pitchFamily="34" charset="-128"/>
          <a:cs typeface="ＭＳ Ｐゴシック" charset="0"/>
        </a:defRPr>
      </a:lvl2pPr>
      <a:lvl3pPr algn="l" rtl="0" eaLnBrk="1" fontAlgn="base" hangingPunct="1">
        <a:spcBef>
          <a:spcPct val="0"/>
        </a:spcBef>
        <a:spcAft>
          <a:spcPct val="0"/>
        </a:spcAft>
        <a:defRPr sz="2400" b="1">
          <a:solidFill>
            <a:schemeClr val="tx1"/>
          </a:solidFill>
          <a:latin typeface="Arial" charset="0"/>
          <a:ea typeface="MS PGothic" panose="020B0600070205080204" pitchFamily="34" charset="-128"/>
          <a:cs typeface="ＭＳ Ｐゴシック" charset="0"/>
        </a:defRPr>
      </a:lvl3pPr>
      <a:lvl4pPr algn="l" rtl="0" eaLnBrk="1" fontAlgn="base" hangingPunct="1">
        <a:spcBef>
          <a:spcPct val="0"/>
        </a:spcBef>
        <a:spcAft>
          <a:spcPct val="0"/>
        </a:spcAft>
        <a:defRPr sz="2400" b="1">
          <a:solidFill>
            <a:schemeClr val="tx1"/>
          </a:solidFill>
          <a:latin typeface="Arial" charset="0"/>
          <a:ea typeface="MS PGothic" panose="020B0600070205080204" pitchFamily="34" charset="-128"/>
          <a:cs typeface="ＭＳ Ｐゴシック" charset="0"/>
        </a:defRPr>
      </a:lvl4pPr>
      <a:lvl5pPr algn="l" rtl="0" eaLnBrk="1" fontAlgn="base" hangingPunct="1">
        <a:spcBef>
          <a:spcPct val="0"/>
        </a:spcBef>
        <a:spcAft>
          <a:spcPct val="0"/>
        </a:spcAft>
        <a:defRPr sz="2400" b="1">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800" b="1">
          <a:solidFill>
            <a:schemeClr val="tx1"/>
          </a:solidFill>
          <a:latin typeface="Arial" charset="0"/>
          <a:ea typeface="ＭＳ Ｐゴシック" charset="0"/>
          <a:cs typeface="ＭＳ Ｐゴシック" charset="0"/>
        </a:defRPr>
      </a:lvl6pPr>
      <a:lvl7pPr marL="914400" algn="l" rtl="0" eaLnBrk="1" fontAlgn="base" hangingPunct="1">
        <a:spcBef>
          <a:spcPct val="0"/>
        </a:spcBef>
        <a:spcAft>
          <a:spcPct val="0"/>
        </a:spcAft>
        <a:defRPr sz="2800" b="1">
          <a:solidFill>
            <a:schemeClr val="tx1"/>
          </a:solidFill>
          <a:latin typeface="Arial" charset="0"/>
          <a:ea typeface="ＭＳ Ｐゴシック" charset="0"/>
          <a:cs typeface="ＭＳ Ｐゴシック" charset="0"/>
        </a:defRPr>
      </a:lvl7pPr>
      <a:lvl8pPr marL="1371600" algn="l" rtl="0" eaLnBrk="1" fontAlgn="base" hangingPunct="1">
        <a:spcBef>
          <a:spcPct val="0"/>
        </a:spcBef>
        <a:spcAft>
          <a:spcPct val="0"/>
        </a:spcAft>
        <a:defRPr sz="2800" b="1">
          <a:solidFill>
            <a:schemeClr val="tx1"/>
          </a:solidFill>
          <a:latin typeface="Arial" charset="0"/>
          <a:ea typeface="ＭＳ Ｐゴシック" charset="0"/>
          <a:cs typeface="ＭＳ Ｐゴシック" charset="0"/>
        </a:defRPr>
      </a:lvl8pPr>
      <a:lvl9pPr marL="1828800" algn="l" rtl="0" eaLnBrk="1" fontAlgn="base" hangingPunct="1">
        <a:spcBef>
          <a:spcPct val="0"/>
        </a:spcBef>
        <a:spcAft>
          <a:spcPct val="0"/>
        </a:spcAft>
        <a:defRPr sz="2800" b="1">
          <a:solidFill>
            <a:schemeClr val="tx1"/>
          </a:solidFill>
          <a:latin typeface="Arial" charset="0"/>
          <a:ea typeface="ＭＳ Ｐゴシック" charset="0"/>
          <a:cs typeface="ＭＳ Ｐゴシック" charset="0"/>
        </a:defRPr>
      </a:lvl9pPr>
    </p:titleStyle>
    <p:bodyStyle>
      <a:lvl1pPr marL="338138" indent="-338138" algn="l" rtl="0" eaLnBrk="1" fontAlgn="base" hangingPunct="1">
        <a:spcBef>
          <a:spcPts val="1200"/>
        </a:spcBef>
        <a:spcAft>
          <a:spcPct val="0"/>
        </a:spcAft>
        <a:buClr>
          <a:srgbClr val="296DC0"/>
        </a:buClr>
        <a:buFont typeface="Wingdings" panose="05000000000000000000" pitchFamily="2" charset="2"/>
        <a:buChar char="Ø"/>
        <a:defRPr sz="2800">
          <a:solidFill>
            <a:schemeClr val="tx1"/>
          </a:solidFill>
          <a:latin typeface="+mn-lt"/>
          <a:ea typeface="MS PGothic" panose="020B0600070205080204" pitchFamily="34" charset="-128"/>
          <a:cs typeface="+mn-cs"/>
        </a:defRPr>
      </a:lvl1pPr>
      <a:lvl2pPr marL="633413" indent="-295275" algn="l" rtl="0" eaLnBrk="1" fontAlgn="base" hangingPunct="1">
        <a:spcBef>
          <a:spcPts val="800"/>
        </a:spcBef>
        <a:spcAft>
          <a:spcPct val="0"/>
        </a:spcAft>
        <a:buChar char="–"/>
        <a:defRPr sz="2400">
          <a:solidFill>
            <a:schemeClr val="tx1"/>
          </a:solidFill>
          <a:latin typeface="+mn-lt"/>
          <a:ea typeface="MS PGothic" panose="020B0600070205080204" pitchFamily="34" charset="-128"/>
        </a:defRPr>
      </a:lvl2pPr>
      <a:lvl3pPr marL="858838" indent="-228600" algn="l" rtl="0" eaLnBrk="1" fontAlgn="base" hangingPunct="1">
        <a:spcBef>
          <a:spcPts val="600"/>
        </a:spcBef>
        <a:spcAft>
          <a:spcPct val="0"/>
        </a:spcAft>
        <a:buChar char="•"/>
        <a:defRPr sz="2000">
          <a:solidFill>
            <a:schemeClr val="tx1"/>
          </a:solidFill>
          <a:latin typeface="+mn-lt"/>
          <a:ea typeface="MS PGothic" panose="020B0600070205080204" pitchFamily="34" charset="-128"/>
        </a:defRPr>
      </a:lvl3pPr>
      <a:lvl4pPr marL="1600200" indent="-228600" algn="l" rtl="0" eaLnBrk="1" fontAlgn="base" hangingPunct="1">
        <a:spcBef>
          <a:spcPct val="20000"/>
        </a:spcBef>
        <a:spcAft>
          <a:spcPct val="0"/>
        </a:spcAft>
        <a:buChar char="–"/>
        <a:defRPr sz="1400">
          <a:solidFill>
            <a:schemeClr val="tx1"/>
          </a:solidFill>
          <a:latin typeface="+mn-lt"/>
          <a:ea typeface="MS PGothic" panose="020B0600070205080204" pitchFamily="34" charset="-128"/>
        </a:defRPr>
      </a:lvl4pPr>
      <a:lvl5pPr marL="2057400" indent="-228600" algn="l" rtl="0" eaLnBrk="1" fontAlgn="base" hangingPunct="1">
        <a:spcBef>
          <a:spcPct val="20000"/>
        </a:spcBef>
        <a:spcAft>
          <a:spcPct val="0"/>
        </a:spcAft>
        <a:buChar char="»"/>
        <a:defRPr sz="1400">
          <a:solidFill>
            <a:schemeClr val="tx1"/>
          </a:solidFill>
          <a:latin typeface="+mn-lt"/>
          <a:ea typeface="MS PGothic" panose="020B0600070205080204" pitchFamily="34" charset="-128"/>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527047" y="241925"/>
            <a:ext cx="8247651" cy="90725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a:t>Click to edit Master title style</a:t>
            </a:r>
            <a:endParaRPr lang="fr-BE" dirty="0"/>
          </a:p>
        </p:txBody>
      </p:sp>
    </p:spTree>
    <p:extLst>
      <p:ext uri="{BB962C8B-B14F-4D97-AF65-F5344CB8AC3E}">
        <p14:creationId xmlns:p14="http://schemas.microsoft.com/office/powerpoint/2010/main" val="777346470"/>
      </p:ext>
    </p:extLst>
  </p:cSld>
  <p:clrMap bg1="lt1" tx1="dk1" bg2="lt2" tx2="dk2" accent1="accent1" accent2="accent2" accent3="accent3" accent4="accent4" accent5="accent5" accent6="accent6" hlink="hlink" folHlink="folHlink"/>
  <p:sldLayoutIdLst>
    <p:sldLayoutId id="2147485498" r:id="rId1"/>
    <p:sldLayoutId id="2147485499" r:id="rId2"/>
    <p:sldLayoutId id="2147485500" r:id="rId3"/>
    <p:sldLayoutId id="2147485501" r:id="rId4"/>
    <p:sldLayoutId id="2147485502" r:id="rId5"/>
    <p:sldLayoutId id="2147485503" r:id="rId6"/>
    <p:sldLayoutId id="2147485504" r:id="rId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rtl="0" eaLnBrk="1" fontAlgn="base" hangingPunct="1">
        <a:lnSpc>
          <a:spcPts val="3839"/>
        </a:lnSpc>
        <a:spcBef>
          <a:spcPct val="0"/>
        </a:spcBef>
        <a:spcAft>
          <a:spcPct val="0"/>
        </a:spcAft>
        <a:defRPr sz="3732" b="1" kern="1200">
          <a:solidFill>
            <a:schemeClr val="tx2"/>
          </a:solidFill>
          <a:latin typeface="+mj-lt"/>
          <a:ea typeface="+mj-ea"/>
          <a:cs typeface="Arial" pitchFamily="34" charset="0"/>
        </a:defRPr>
      </a:lvl1pPr>
      <a:lvl2pPr algn="l" rtl="0" eaLnBrk="1" fontAlgn="base" hangingPunct="1">
        <a:spcBef>
          <a:spcPct val="0"/>
        </a:spcBef>
        <a:spcAft>
          <a:spcPct val="0"/>
        </a:spcAft>
        <a:defRPr sz="3599" b="1">
          <a:solidFill>
            <a:srgbClr val="00B0F0"/>
          </a:solidFill>
          <a:latin typeface="Arial" charset="0"/>
          <a:cs typeface="Arial" charset="0"/>
        </a:defRPr>
      </a:lvl2pPr>
      <a:lvl3pPr algn="l" rtl="0" eaLnBrk="1" fontAlgn="base" hangingPunct="1">
        <a:spcBef>
          <a:spcPct val="0"/>
        </a:spcBef>
        <a:spcAft>
          <a:spcPct val="0"/>
        </a:spcAft>
        <a:defRPr sz="3599" b="1">
          <a:solidFill>
            <a:srgbClr val="00B0F0"/>
          </a:solidFill>
          <a:latin typeface="Arial" charset="0"/>
          <a:cs typeface="Arial" charset="0"/>
        </a:defRPr>
      </a:lvl3pPr>
      <a:lvl4pPr algn="l" rtl="0" eaLnBrk="1" fontAlgn="base" hangingPunct="1">
        <a:spcBef>
          <a:spcPct val="0"/>
        </a:spcBef>
        <a:spcAft>
          <a:spcPct val="0"/>
        </a:spcAft>
        <a:defRPr sz="3599" b="1">
          <a:solidFill>
            <a:srgbClr val="00B0F0"/>
          </a:solidFill>
          <a:latin typeface="Arial" charset="0"/>
          <a:cs typeface="Arial" charset="0"/>
        </a:defRPr>
      </a:lvl4pPr>
      <a:lvl5pPr algn="l" rtl="0" eaLnBrk="1" fontAlgn="base" hangingPunct="1">
        <a:spcBef>
          <a:spcPct val="0"/>
        </a:spcBef>
        <a:spcAft>
          <a:spcPct val="0"/>
        </a:spcAft>
        <a:defRPr sz="3599" b="1">
          <a:solidFill>
            <a:srgbClr val="00B0F0"/>
          </a:solidFill>
          <a:latin typeface="Arial" charset="0"/>
          <a:cs typeface="Arial" charset="0"/>
        </a:defRPr>
      </a:lvl5pPr>
      <a:lvl6pPr marL="456226" algn="l" rtl="0" eaLnBrk="1" fontAlgn="base" hangingPunct="1">
        <a:spcBef>
          <a:spcPct val="0"/>
        </a:spcBef>
        <a:spcAft>
          <a:spcPct val="0"/>
        </a:spcAft>
        <a:defRPr sz="3599" b="1">
          <a:solidFill>
            <a:srgbClr val="00B0F0"/>
          </a:solidFill>
          <a:latin typeface="Arial" charset="0"/>
          <a:cs typeface="Arial" charset="0"/>
        </a:defRPr>
      </a:lvl6pPr>
      <a:lvl7pPr marL="912450" algn="l" rtl="0" eaLnBrk="1" fontAlgn="base" hangingPunct="1">
        <a:spcBef>
          <a:spcPct val="0"/>
        </a:spcBef>
        <a:spcAft>
          <a:spcPct val="0"/>
        </a:spcAft>
        <a:defRPr sz="3599" b="1">
          <a:solidFill>
            <a:srgbClr val="00B0F0"/>
          </a:solidFill>
          <a:latin typeface="Arial" charset="0"/>
          <a:cs typeface="Arial" charset="0"/>
        </a:defRPr>
      </a:lvl7pPr>
      <a:lvl8pPr marL="1368676" algn="l" rtl="0" eaLnBrk="1" fontAlgn="base" hangingPunct="1">
        <a:spcBef>
          <a:spcPct val="0"/>
        </a:spcBef>
        <a:spcAft>
          <a:spcPct val="0"/>
        </a:spcAft>
        <a:defRPr sz="3599" b="1">
          <a:solidFill>
            <a:srgbClr val="00B0F0"/>
          </a:solidFill>
          <a:latin typeface="Arial" charset="0"/>
          <a:cs typeface="Arial" charset="0"/>
        </a:defRPr>
      </a:lvl8pPr>
      <a:lvl9pPr marL="1824901" algn="l" rtl="0" eaLnBrk="1" fontAlgn="base" hangingPunct="1">
        <a:spcBef>
          <a:spcPct val="0"/>
        </a:spcBef>
        <a:spcAft>
          <a:spcPct val="0"/>
        </a:spcAft>
        <a:defRPr sz="3599" b="1">
          <a:solidFill>
            <a:srgbClr val="00B0F0"/>
          </a:solidFill>
          <a:latin typeface="Arial" charset="0"/>
          <a:cs typeface="Arial" charset="0"/>
        </a:defRPr>
      </a:lvl9pPr>
    </p:titleStyle>
    <p:bodyStyle>
      <a:lvl1pPr marL="212274" indent="-212274" algn="l" rtl="0" eaLnBrk="1" fontAlgn="base" hangingPunct="1">
        <a:spcBef>
          <a:spcPts val="0"/>
        </a:spcBef>
        <a:spcAft>
          <a:spcPts val="300"/>
        </a:spcAft>
        <a:buClr>
          <a:schemeClr val="accent6">
            <a:lumMod val="40000"/>
            <a:lumOff val="60000"/>
          </a:schemeClr>
        </a:buClr>
        <a:buFont typeface="Arial" pitchFamily="34" charset="0"/>
        <a:buChar char="•"/>
        <a:tabLst>
          <a:tab pos="205938" algn="l"/>
        </a:tabLst>
        <a:defRPr sz="2399" kern="1200">
          <a:solidFill>
            <a:schemeClr val="tx2">
              <a:lumMod val="50000"/>
            </a:schemeClr>
          </a:solidFill>
          <a:latin typeface="Arial Narrow" panose="020B0606020202030204" pitchFamily="34" charset="0"/>
          <a:ea typeface="+mn-ea"/>
          <a:cs typeface="Arial" pitchFamily="34" charset="0"/>
        </a:defRPr>
      </a:lvl1pPr>
      <a:lvl2pPr marL="506915" indent="-277221" algn="l" rtl="0" eaLnBrk="1" fontAlgn="base" hangingPunct="1">
        <a:spcBef>
          <a:spcPts val="0"/>
        </a:spcBef>
        <a:spcAft>
          <a:spcPts val="300"/>
        </a:spcAft>
        <a:buClr>
          <a:schemeClr val="accent6">
            <a:lumMod val="40000"/>
            <a:lumOff val="60000"/>
          </a:schemeClr>
        </a:buClr>
        <a:buFont typeface="Arial" pitchFamily="34" charset="0"/>
        <a:buChar char="–"/>
        <a:defRPr sz="1999" kern="1200">
          <a:solidFill>
            <a:schemeClr val="tx2">
              <a:lumMod val="50000"/>
            </a:schemeClr>
          </a:solidFill>
          <a:latin typeface="Arial Narrow" panose="020B0606020202030204" pitchFamily="34" charset="0"/>
          <a:ea typeface="+mn-ea"/>
          <a:cs typeface="Arial" pitchFamily="34" charset="0"/>
        </a:defRPr>
      </a:lvl2pPr>
      <a:lvl3pPr marL="730276" indent="-218605" algn="l" rtl="0" eaLnBrk="1" fontAlgn="base" hangingPunct="1">
        <a:spcBef>
          <a:spcPts val="0"/>
        </a:spcBef>
        <a:spcAft>
          <a:spcPts val="300"/>
        </a:spcAft>
        <a:buClr>
          <a:schemeClr val="accent6">
            <a:lumMod val="40000"/>
            <a:lumOff val="60000"/>
          </a:schemeClr>
        </a:buClr>
        <a:buFont typeface="Arial" pitchFamily="34" charset="0"/>
        <a:buChar char="•"/>
        <a:defRPr sz="1999" kern="1200">
          <a:solidFill>
            <a:schemeClr val="tx2">
              <a:lumMod val="50000"/>
            </a:schemeClr>
          </a:solidFill>
          <a:latin typeface="Arial Narrow" panose="020B0606020202030204" pitchFamily="34" charset="0"/>
          <a:ea typeface="+mn-ea"/>
          <a:cs typeface="Arial" pitchFamily="34" charset="0"/>
        </a:defRPr>
      </a:lvl3pPr>
      <a:lvl4pPr marL="947301" indent="-210690" algn="l" rtl="0" eaLnBrk="1" fontAlgn="base" hangingPunct="1">
        <a:spcBef>
          <a:spcPts val="0"/>
        </a:spcBef>
        <a:spcAft>
          <a:spcPts val="300"/>
        </a:spcAft>
        <a:buClr>
          <a:schemeClr val="accent6">
            <a:lumMod val="40000"/>
            <a:lumOff val="60000"/>
          </a:schemeClr>
        </a:buClr>
        <a:buFont typeface="Arial" pitchFamily="34" charset="0"/>
        <a:buChar char="•"/>
        <a:defRPr sz="1999" kern="1200">
          <a:solidFill>
            <a:schemeClr val="tx2">
              <a:lumMod val="50000"/>
            </a:schemeClr>
          </a:solidFill>
          <a:latin typeface="Arial Narrow" panose="020B0606020202030204" pitchFamily="34" charset="0"/>
          <a:ea typeface="+mn-ea"/>
          <a:cs typeface="Arial" pitchFamily="34" charset="0"/>
        </a:defRPr>
      </a:lvl4pPr>
      <a:lvl5pPr marL="2053014" indent="-228113" algn="l" rtl="0" eaLnBrk="1" fontAlgn="base" hangingPunct="1">
        <a:spcBef>
          <a:spcPct val="20000"/>
        </a:spcBef>
        <a:spcAft>
          <a:spcPct val="0"/>
        </a:spcAft>
        <a:buFont typeface="Arial" charset="0"/>
        <a:buChar char="»"/>
        <a:defRPr sz="1999" kern="1200">
          <a:solidFill>
            <a:schemeClr val="tx1"/>
          </a:solidFill>
          <a:latin typeface="Arial" pitchFamily="34" charset="0"/>
          <a:ea typeface="+mn-ea"/>
          <a:cs typeface="Arial" pitchFamily="34" charset="0"/>
        </a:defRPr>
      </a:lvl5pPr>
      <a:lvl6pPr marL="2509238" indent="-228113" algn="l" defTabSz="912450"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65464" indent="-228113" algn="l" defTabSz="912450"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1690" indent="-228113" algn="l" defTabSz="912450"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77914" indent="-228113" algn="l" defTabSz="912450"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fr-FR"/>
      </a:defPPr>
      <a:lvl1pPr marL="0" algn="l" defTabSz="912450" rtl="0" eaLnBrk="1" latinLnBrk="0" hangingPunct="1">
        <a:defRPr sz="1799" kern="1200">
          <a:solidFill>
            <a:schemeClr val="tx1"/>
          </a:solidFill>
          <a:latin typeface="+mn-lt"/>
          <a:ea typeface="+mn-ea"/>
          <a:cs typeface="+mn-cs"/>
        </a:defRPr>
      </a:lvl1pPr>
      <a:lvl2pPr marL="456226" algn="l" defTabSz="912450" rtl="0" eaLnBrk="1" latinLnBrk="0" hangingPunct="1">
        <a:defRPr sz="1799" kern="1200">
          <a:solidFill>
            <a:schemeClr val="tx1"/>
          </a:solidFill>
          <a:latin typeface="+mn-lt"/>
          <a:ea typeface="+mn-ea"/>
          <a:cs typeface="+mn-cs"/>
        </a:defRPr>
      </a:lvl2pPr>
      <a:lvl3pPr marL="912450" algn="l" defTabSz="912450" rtl="0" eaLnBrk="1" latinLnBrk="0" hangingPunct="1">
        <a:defRPr sz="1799" kern="1200">
          <a:solidFill>
            <a:schemeClr val="tx1"/>
          </a:solidFill>
          <a:latin typeface="+mn-lt"/>
          <a:ea typeface="+mn-ea"/>
          <a:cs typeface="+mn-cs"/>
        </a:defRPr>
      </a:lvl3pPr>
      <a:lvl4pPr marL="1368676" algn="l" defTabSz="912450" rtl="0" eaLnBrk="1" latinLnBrk="0" hangingPunct="1">
        <a:defRPr sz="1799" kern="1200">
          <a:solidFill>
            <a:schemeClr val="tx1"/>
          </a:solidFill>
          <a:latin typeface="+mn-lt"/>
          <a:ea typeface="+mn-ea"/>
          <a:cs typeface="+mn-cs"/>
        </a:defRPr>
      </a:lvl4pPr>
      <a:lvl5pPr marL="1824901" algn="l" defTabSz="912450" rtl="0" eaLnBrk="1" latinLnBrk="0" hangingPunct="1">
        <a:defRPr sz="1799" kern="1200">
          <a:solidFill>
            <a:schemeClr val="tx1"/>
          </a:solidFill>
          <a:latin typeface="+mn-lt"/>
          <a:ea typeface="+mn-ea"/>
          <a:cs typeface="+mn-cs"/>
        </a:defRPr>
      </a:lvl5pPr>
      <a:lvl6pPr marL="2281125" algn="l" defTabSz="912450" rtl="0" eaLnBrk="1" latinLnBrk="0" hangingPunct="1">
        <a:defRPr sz="1799" kern="1200">
          <a:solidFill>
            <a:schemeClr val="tx1"/>
          </a:solidFill>
          <a:latin typeface="+mn-lt"/>
          <a:ea typeface="+mn-ea"/>
          <a:cs typeface="+mn-cs"/>
        </a:defRPr>
      </a:lvl6pPr>
      <a:lvl7pPr marL="2737353" algn="l" defTabSz="912450" rtl="0" eaLnBrk="1" latinLnBrk="0" hangingPunct="1">
        <a:defRPr sz="1799" kern="1200">
          <a:solidFill>
            <a:schemeClr val="tx1"/>
          </a:solidFill>
          <a:latin typeface="+mn-lt"/>
          <a:ea typeface="+mn-ea"/>
          <a:cs typeface="+mn-cs"/>
        </a:defRPr>
      </a:lvl7pPr>
      <a:lvl8pPr marL="3193576" algn="l" defTabSz="912450" rtl="0" eaLnBrk="1" latinLnBrk="0" hangingPunct="1">
        <a:defRPr sz="1799" kern="1200">
          <a:solidFill>
            <a:schemeClr val="tx1"/>
          </a:solidFill>
          <a:latin typeface="+mn-lt"/>
          <a:ea typeface="+mn-ea"/>
          <a:cs typeface="+mn-cs"/>
        </a:defRPr>
      </a:lvl8pPr>
      <a:lvl9pPr marL="3649797" algn="l" defTabSz="912450"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9">
          <p15:clr>
            <a:srgbClr val="F26B43"/>
          </p15:clr>
        </p15:guide>
        <p15:guide id="2" pos="6128">
          <p15:clr>
            <a:srgbClr val="F26B43"/>
          </p15:clr>
        </p15:guide>
        <p15:guide id="3" orient="horz" pos="3117">
          <p15:clr>
            <a:srgbClr val="F26B43"/>
          </p15:clr>
        </p15:guide>
        <p15:guide id="4" orient="horz" pos="781">
          <p15:clr>
            <a:srgbClr val="F26B43"/>
          </p15:clr>
        </p15:guide>
        <p15:guide id="5" orient="horz" pos="3478">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838200" y="6206124"/>
            <a:ext cx="10515600" cy="365125"/>
          </a:xfrm>
          <a:prstGeom prst="rect">
            <a:avLst/>
          </a:prstGeom>
        </p:spPr>
        <p:txBody>
          <a:bodyPr vert="horz" lIns="91440" tIns="45720" rIns="91440" bIns="45720" rtlCol="0" anchor="b" anchorCtr="0"/>
          <a:lstStyle>
            <a:lvl1pPr algn="l">
              <a:defRPr sz="800">
                <a:solidFill>
                  <a:schemeClr val="tx1"/>
                </a:solidFill>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3176343734"/>
      </p:ext>
    </p:extLst>
  </p:cSld>
  <p:clrMap bg1="lt1" tx1="dk1" bg2="lt2" tx2="dk2" accent1="accent1" accent2="accent2" accent3="accent3" accent4="accent4" accent5="accent5" accent6="accent6" hlink="hlink" folHlink="folHlink"/>
  <p:sldLayoutIdLst>
    <p:sldLayoutId id="2147485506" r:id="rId1"/>
    <p:sldLayoutId id="2147485507" r:id="rId2"/>
    <p:sldLayoutId id="2147485508" r:id="rId3"/>
    <p:sldLayoutId id="2147485509" r:id="rId4"/>
    <p:sldLayoutId id="2147485510" r:id="rId5"/>
    <p:sldLayoutId id="2147485511" r:id="rId6"/>
    <p:sldLayoutId id="2147485512" r:id="rId7"/>
    <p:sldLayoutId id="2147485513" r:id="rId8"/>
    <p:sldLayoutId id="2147485514" r:id="rId9"/>
    <p:sldLayoutId id="2147485515" r:id="rId10"/>
    <p:sldLayoutId id="2147485516" r:id="rId11"/>
    <p:sldLayoutId id="2147485517" r:id="rId12"/>
    <p:sldLayoutId id="2147485518" r:id="rId13"/>
    <p:sldLayoutId id="2147485519" r:id="rId1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E8A70EC-867A-4276-8889-777EBAE504C1}" type="datetimeFigureOut">
              <a:rPr lang="en-US" smtClean="0"/>
              <a:t>5/31/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91B99B8-B5A3-4213-9FE3-1D15F9255D70}" type="slidenum">
              <a:rPr lang="en-US" smtClean="0"/>
              <a:t>‹#›</a:t>
            </a:fld>
            <a:endParaRPr lang="en-US"/>
          </a:p>
        </p:txBody>
      </p:sp>
    </p:spTree>
    <p:extLst>
      <p:ext uri="{BB962C8B-B14F-4D97-AF65-F5344CB8AC3E}">
        <p14:creationId xmlns:p14="http://schemas.microsoft.com/office/powerpoint/2010/main" val="4022638202"/>
      </p:ext>
    </p:extLst>
  </p:cSld>
  <p:clrMap bg1="lt1" tx1="dk1" bg2="lt2" tx2="dk2" accent1="accent1" accent2="accent2" accent3="accent3" accent4="accent4" accent5="accent5" accent6="accent6" hlink="hlink" folHlink="folHlink"/>
  <p:sldLayoutIdLst>
    <p:sldLayoutId id="2147485521" r:id="rId1"/>
    <p:sldLayoutId id="2147485522" r:id="rId2"/>
    <p:sldLayoutId id="2147485523" r:id="rId3"/>
    <p:sldLayoutId id="2147485524" r:id="rId4"/>
    <p:sldLayoutId id="2147485525" r:id="rId5"/>
    <p:sldLayoutId id="2147485526" r:id="rId6"/>
    <p:sldLayoutId id="2147485527" r:id="rId7"/>
    <p:sldLayoutId id="2147485528" r:id="rId8"/>
    <p:sldLayoutId id="2147485529" r:id="rId9"/>
    <p:sldLayoutId id="2147485530" r:id="rId10"/>
    <p:sldLayoutId id="2147485531"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5/31/26</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US" sz="800"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95B482DD-89D1-42DF-ADD7-34F6575EE2F4}" type="slidenum">
              <a:rPr lang="en-US" smtClean="0"/>
              <a:pPr>
                <a:defRPr/>
              </a:pPr>
              <a:t>‹#›</a:t>
            </a:fld>
            <a:endParaRPr lang="en-US" dirty="0"/>
          </a:p>
        </p:txBody>
      </p:sp>
    </p:spTree>
    <p:extLst>
      <p:ext uri="{BB962C8B-B14F-4D97-AF65-F5344CB8AC3E}">
        <p14:creationId xmlns:p14="http://schemas.microsoft.com/office/powerpoint/2010/main" val="3502738031"/>
      </p:ext>
    </p:extLst>
  </p:cSld>
  <p:clrMap bg1="lt1" tx1="dk1" bg2="lt2" tx2="dk2" accent1="accent1" accent2="accent2" accent3="accent3" accent4="accent4" accent5="accent5" accent6="accent6" hlink="hlink" folHlink="folHlink"/>
  <p:sldLayoutIdLst>
    <p:sldLayoutId id="2147485533" r:id="rId1"/>
    <p:sldLayoutId id="2147485534" r:id="rId2"/>
    <p:sldLayoutId id="2147485535" r:id="rId3"/>
    <p:sldLayoutId id="2147485536" r:id="rId4"/>
    <p:sldLayoutId id="2147485537" r:id="rId5"/>
    <p:sldLayoutId id="2147485538" r:id="rId6"/>
    <p:sldLayoutId id="2147485539" r:id="rId7"/>
    <p:sldLayoutId id="2147485540" r:id="rId8"/>
    <p:sldLayoutId id="2147485541" r:id="rId9"/>
    <p:sldLayoutId id="2147485542" r:id="rId10"/>
    <p:sldLayoutId id="2147485543" r:id="rId11"/>
    <p:sldLayoutId id="2147485544" r:id="rId12"/>
    <p:sldLayoutId id="2147485545"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5/31/26</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US" sz="800"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95B482DD-89D1-42DF-ADD7-34F6575EE2F4}" type="slidenum">
              <a:rPr lang="en-US" smtClean="0"/>
              <a:pPr>
                <a:defRPr/>
              </a:pPr>
              <a:t>‹#›</a:t>
            </a:fld>
            <a:endParaRPr lang="en-US" dirty="0"/>
          </a:p>
        </p:txBody>
      </p:sp>
    </p:spTree>
    <p:extLst>
      <p:ext uri="{BB962C8B-B14F-4D97-AF65-F5344CB8AC3E}">
        <p14:creationId xmlns:p14="http://schemas.microsoft.com/office/powerpoint/2010/main" val="2289326162"/>
      </p:ext>
    </p:extLst>
  </p:cSld>
  <p:clrMap bg1="lt1" tx1="dk1" bg2="lt2" tx2="dk2" accent1="accent1" accent2="accent2" accent3="accent3" accent4="accent4" accent5="accent5" accent6="accent6" hlink="hlink" folHlink="folHlink"/>
  <p:sldLayoutIdLst>
    <p:sldLayoutId id="2147485547" r:id="rId1"/>
    <p:sldLayoutId id="2147485548" r:id="rId2"/>
    <p:sldLayoutId id="2147485549" r:id="rId3"/>
    <p:sldLayoutId id="2147485550" r:id="rId4"/>
    <p:sldLayoutId id="2147485551" r:id="rId5"/>
    <p:sldLayoutId id="2147485552" r:id="rId6"/>
    <p:sldLayoutId id="2147485553" r:id="rId7"/>
    <p:sldLayoutId id="2147485554" r:id="rId8"/>
    <p:sldLayoutId id="2147485555" r:id="rId9"/>
    <p:sldLayoutId id="2147485556" r:id="rId10"/>
    <p:sldLayoutId id="2147485557" r:id="rId11"/>
    <p:sldLayoutId id="2147485558" r:id="rId12"/>
    <p:sldLayoutId id="2147485559"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A018CAA-B896-AC41-8549-375CB8502F3F}"/>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1923455-41A7-304E-B8B4-7211BB20643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D97C5A-433E-6244-B266-E9413B1127ED}"/>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559A4995-99F3-6C48-8980-DDECA35E6552}" type="datetimeFigureOut">
              <a:rPr lang="en-US" smtClean="0"/>
              <a:t>5/31/26</a:t>
            </a:fld>
            <a:endParaRPr lang="en-US"/>
          </a:p>
        </p:txBody>
      </p:sp>
      <p:sp>
        <p:nvSpPr>
          <p:cNvPr id="5" name="Footer Placeholder 4">
            <a:extLst>
              <a:ext uri="{FF2B5EF4-FFF2-40B4-BE49-F238E27FC236}">
                <a16:creationId xmlns:a16="http://schemas.microsoft.com/office/drawing/2014/main" id="{6DFD351B-3769-074F-B96B-7DBE2CFD2CE1}"/>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3DC201C-08DD-5D4F-91D2-6E0FB841170E}"/>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1FFE3454-E3CA-2442-AE8B-56036A740230}" type="slidenum">
              <a:rPr lang="en-US" smtClean="0"/>
              <a:t>‹#›</a:t>
            </a:fld>
            <a:endParaRPr lang="en-US"/>
          </a:p>
        </p:txBody>
      </p:sp>
    </p:spTree>
    <p:extLst>
      <p:ext uri="{BB962C8B-B14F-4D97-AF65-F5344CB8AC3E}">
        <p14:creationId xmlns:p14="http://schemas.microsoft.com/office/powerpoint/2010/main" val="707556220"/>
      </p:ext>
    </p:extLst>
  </p:cSld>
  <p:clrMap bg1="lt1" tx1="dk1" bg2="lt2" tx2="dk2" accent1="accent1" accent2="accent2" accent3="accent3" accent4="accent4" accent5="accent5" accent6="accent6" hlink="hlink" folHlink="folHlink"/>
  <p:sldLayoutIdLst>
    <p:sldLayoutId id="2147485561" r:id="rId1"/>
    <p:sldLayoutId id="2147485562" r:id="rId2"/>
    <p:sldLayoutId id="2147485563" r:id="rId3"/>
    <p:sldLayoutId id="2147485564" r:id="rId4"/>
    <p:sldLayoutId id="2147485565" r:id="rId5"/>
    <p:sldLayoutId id="2147485566" r:id="rId6"/>
    <p:sldLayoutId id="2147485567" r:id="rId7"/>
    <p:sldLayoutId id="2147485568" r:id="rId8"/>
    <p:sldLayoutId id="2147485569" r:id="rId9"/>
    <p:sldLayoutId id="2147485570" r:id="rId10"/>
    <p:sldLayoutId id="2147485571" r:id="rId11"/>
    <p:sldLayoutId id="2147485572" r:id="rId12"/>
    <p:sldLayoutId id="2147485573"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Pr>
        <a:blipFill dpi="0" rotWithShape="1">
          <a:blip r:embed="rId7"/>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7315200" y="6492877"/>
            <a:ext cx="3318933"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charset="0"/>
              </a:defRPr>
            </a:lvl1pPr>
          </a:lstStyle>
          <a:p>
            <a:fld id="{96090422-FAC2-1B47-B696-15B7C4FF0E2E}" type="datetime1">
              <a:rPr lang="en-US" smtClean="0"/>
              <a:pPr/>
              <a:t>5/31/26</a:t>
            </a:fld>
            <a:endParaRPr lang="en-US"/>
          </a:p>
        </p:txBody>
      </p:sp>
      <p:sp>
        <p:nvSpPr>
          <p:cNvPr id="6" name="Slide Number Placeholder 5"/>
          <p:cNvSpPr>
            <a:spLocks noGrp="1"/>
          </p:cNvSpPr>
          <p:nvPr>
            <p:ph type="sldNum" sz="quarter" idx="4"/>
          </p:nvPr>
        </p:nvSpPr>
        <p:spPr>
          <a:xfrm>
            <a:off x="8737600" y="6492877"/>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charset="0"/>
              </a:defRPr>
            </a:lvl1pPr>
          </a:lstStyle>
          <a:p>
            <a:fld id="{B0ABAB64-726D-C943-9B15-2E81C6025A8E}" type="slidenum">
              <a:rPr lang="en-US"/>
              <a:pPr/>
              <a:t>‹#›</a:t>
            </a:fld>
            <a:endParaRPr lang="en-US"/>
          </a:p>
        </p:txBody>
      </p:sp>
    </p:spTree>
    <p:extLst>
      <p:ext uri="{BB962C8B-B14F-4D97-AF65-F5344CB8AC3E}">
        <p14:creationId xmlns:p14="http://schemas.microsoft.com/office/powerpoint/2010/main" val="418224732"/>
      </p:ext>
    </p:extLst>
  </p:cSld>
  <p:clrMap bg1="lt1" tx1="dk1" bg2="lt2" tx2="dk2" accent1="accent1" accent2="accent2" accent3="accent3" accent4="accent4" accent5="accent5" accent6="accent6" hlink="hlink" folHlink="folHlink"/>
  <p:sldLayoutIdLst>
    <p:sldLayoutId id="2147485575" r:id="rId1"/>
    <p:sldLayoutId id="2147485576" r:id="rId2"/>
    <p:sldLayoutId id="2147485577" r:id="rId3"/>
    <p:sldLayoutId id="2147485578" r:id="rId4"/>
    <p:sldLayoutId id="2147485579" r:id="rId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457200" rtl="0" eaLnBrk="0" fontAlgn="base" hangingPunct="0">
        <a:spcBef>
          <a:spcPct val="0"/>
        </a:spcBef>
        <a:spcAft>
          <a:spcPct val="0"/>
        </a:spcAft>
        <a:defRPr sz="3200" kern="1200">
          <a:solidFill>
            <a:srgbClr val="CD113B"/>
          </a:solidFill>
          <a:latin typeface="Arial"/>
          <a:ea typeface="Geneva" pitchFamily="37" charset="-128"/>
          <a:cs typeface="Arial"/>
        </a:defRPr>
      </a:lvl1pPr>
      <a:lvl2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2pPr>
      <a:lvl3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3pPr>
      <a:lvl4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4pPr>
      <a:lvl5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5pPr>
      <a:lvl6pPr marL="457200" algn="l" defTabSz="457200" rtl="0" fontAlgn="base">
        <a:spcBef>
          <a:spcPct val="0"/>
        </a:spcBef>
        <a:spcAft>
          <a:spcPct val="0"/>
        </a:spcAft>
        <a:defRPr sz="3200">
          <a:solidFill>
            <a:srgbClr val="800000"/>
          </a:solidFill>
          <a:latin typeface="Times New Roman" pitchFamily="37" charset="0"/>
          <a:ea typeface="Geneva" pitchFamily="37" charset="-128"/>
        </a:defRPr>
      </a:lvl6pPr>
      <a:lvl7pPr marL="914400" algn="l" defTabSz="457200" rtl="0" fontAlgn="base">
        <a:spcBef>
          <a:spcPct val="0"/>
        </a:spcBef>
        <a:spcAft>
          <a:spcPct val="0"/>
        </a:spcAft>
        <a:defRPr sz="3200">
          <a:solidFill>
            <a:srgbClr val="800000"/>
          </a:solidFill>
          <a:latin typeface="Times New Roman" pitchFamily="37" charset="0"/>
          <a:ea typeface="Geneva" pitchFamily="37" charset="-128"/>
        </a:defRPr>
      </a:lvl7pPr>
      <a:lvl8pPr marL="1371600" algn="l" defTabSz="457200" rtl="0" fontAlgn="base">
        <a:spcBef>
          <a:spcPct val="0"/>
        </a:spcBef>
        <a:spcAft>
          <a:spcPct val="0"/>
        </a:spcAft>
        <a:defRPr sz="3200">
          <a:solidFill>
            <a:srgbClr val="800000"/>
          </a:solidFill>
          <a:latin typeface="Times New Roman" pitchFamily="37" charset="0"/>
          <a:ea typeface="Geneva" pitchFamily="37" charset="-128"/>
        </a:defRPr>
      </a:lvl8pPr>
      <a:lvl9pPr marL="1828800" algn="l" defTabSz="457200" rtl="0" fontAlgn="base">
        <a:spcBef>
          <a:spcPct val="0"/>
        </a:spcBef>
        <a:spcAft>
          <a:spcPct val="0"/>
        </a:spcAft>
        <a:defRPr sz="3200">
          <a:solidFill>
            <a:srgbClr val="800000"/>
          </a:solidFill>
          <a:latin typeface="Times New Roman" pitchFamily="37" charset="0"/>
          <a:ea typeface="Geneva" pitchFamily="37" charset="-128"/>
        </a:defRPr>
      </a:lvl9pPr>
    </p:titleStyle>
    <p:bodyStyle>
      <a:lvl1pPr marL="342900" indent="-342900" algn="l" defTabSz="457200" rtl="0" eaLnBrk="0" fontAlgn="base" hangingPunct="0">
        <a:spcBef>
          <a:spcPct val="20000"/>
        </a:spcBef>
        <a:spcAft>
          <a:spcPct val="0"/>
        </a:spcAft>
        <a:buFont typeface="Arial" charset="0"/>
        <a:buChar char="•"/>
        <a:defRPr sz="2400" kern="1200">
          <a:solidFill>
            <a:schemeClr val="tx1"/>
          </a:solidFill>
          <a:latin typeface="+mn-lt"/>
          <a:ea typeface="Geneva" pitchFamily="37" charset="-128"/>
          <a:cs typeface="Geneva" pitchFamily="37" charset="-128"/>
        </a:defRPr>
      </a:lvl1pPr>
      <a:lvl2pPr marL="742950" indent="-285750" algn="l" defTabSz="457200" rtl="0" eaLnBrk="0" fontAlgn="base" hangingPunct="0">
        <a:spcBef>
          <a:spcPct val="20000"/>
        </a:spcBef>
        <a:spcAft>
          <a:spcPct val="0"/>
        </a:spcAft>
        <a:buFont typeface="Arial" charset="0"/>
        <a:buChar char="–"/>
        <a:defRPr sz="2000" kern="1200">
          <a:solidFill>
            <a:schemeClr val="tx1"/>
          </a:solidFill>
          <a:latin typeface="+mn-lt"/>
          <a:ea typeface="Geneva" pitchFamily="37" charset="-128"/>
          <a:cs typeface="+mn-cs"/>
        </a:defRPr>
      </a:lvl2pPr>
      <a:lvl3pPr marL="1143000" indent="-228600" algn="l" defTabSz="457200" rtl="0" eaLnBrk="0" fontAlgn="base" hangingPunct="0">
        <a:spcBef>
          <a:spcPct val="20000"/>
        </a:spcBef>
        <a:spcAft>
          <a:spcPct val="0"/>
        </a:spcAft>
        <a:buFont typeface="Arial" charset="0"/>
        <a:buChar char="•"/>
        <a:defRPr kern="1200">
          <a:solidFill>
            <a:schemeClr val="tx1"/>
          </a:solidFill>
          <a:latin typeface="+mn-lt"/>
          <a:ea typeface="Geneva" pitchFamily="37" charset="-128"/>
          <a:cs typeface="+mn-cs"/>
        </a:defRPr>
      </a:lvl3pPr>
      <a:lvl4pPr marL="1600200" indent="-228600" algn="l" defTabSz="457200" rtl="0" eaLnBrk="0" fontAlgn="base" hangingPunct="0">
        <a:spcBef>
          <a:spcPct val="20000"/>
        </a:spcBef>
        <a:spcAft>
          <a:spcPct val="0"/>
        </a:spcAft>
        <a:buFont typeface="Arial" charset="0"/>
        <a:buChar char="–"/>
        <a:defRPr sz="1600" kern="1200">
          <a:solidFill>
            <a:schemeClr val="tx1"/>
          </a:solidFill>
          <a:latin typeface="+mn-lt"/>
          <a:ea typeface="Geneva" pitchFamily="37" charset="-128"/>
          <a:cs typeface="+mn-cs"/>
        </a:defRPr>
      </a:lvl4pPr>
      <a:lvl5pPr marL="2057400" indent="-228600" algn="l" defTabSz="457200" rtl="0" eaLnBrk="0" fontAlgn="base" hangingPunct="0">
        <a:spcBef>
          <a:spcPct val="20000"/>
        </a:spcBef>
        <a:spcAft>
          <a:spcPct val="0"/>
        </a:spcAft>
        <a:buFont typeface="Arial" charset="0"/>
        <a:buChar char="»"/>
        <a:defRPr sz="1600" kern="1200">
          <a:solidFill>
            <a:schemeClr val="tx1"/>
          </a:solidFill>
          <a:latin typeface="+mn-lt"/>
          <a:ea typeface="Geneva" pitchFamily="37"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5/31/26</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US" sz="800"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95B482DD-89D1-42DF-ADD7-34F6575EE2F4}" type="slidenum">
              <a:rPr lang="en-US" smtClean="0"/>
              <a:pPr>
                <a:defRPr/>
              </a:pPr>
              <a:t>‹#›</a:t>
            </a:fld>
            <a:endParaRPr lang="en-US" dirty="0"/>
          </a:p>
        </p:txBody>
      </p:sp>
      <p:sp>
        <p:nvSpPr>
          <p:cNvPr id="7" name="bk object 16">
            <a:extLst>
              <a:ext uri="{FF2B5EF4-FFF2-40B4-BE49-F238E27FC236}">
                <a16:creationId xmlns:a16="http://schemas.microsoft.com/office/drawing/2014/main" id="{89C5CB97-5E93-A8DD-1A7B-9A79164CF35F}"/>
              </a:ext>
            </a:extLst>
          </p:cNvPr>
          <p:cNvSpPr/>
          <p:nvPr userDrawn="1"/>
        </p:nvSpPr>
        <p:spPr>
          <a:xfrm>
            <a:off x="334327" y="6516692"/>
            <a:ext cx="1404827" cy="341308"/>
          </a:xfrm>
          <a:prstGeom prst="rect">
            <a:avLst/>
          </a:prstGeom>
          <a:blipFill>
            <a:blip r:embed="rId20"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866234072"/>
      </p:ext>
    </p:extLst>
  </p:cSld>
  <p:clrMap bg1="lt1" tx1="dk1" bg2="lt2" tx2="dk2" accent1="accent1" accent2="accent2" accent3="accent3" accent4="accent4" accent5="accent5" accent6="accent6" hlink="hlink" folHlink="folHlink"/>
  <p:sldLayoutIdLst>
    <p:sldLayoutId id="2147485581" r:id="rId1"/>
    <p:sldLayoutId id="2147485582" r:id="rId2"/>
    <p:sldLayoutId id="2147485583" r:id="rId3"/>
    <p:sldLayoutId id="2147485584" r:id="rId4"/>
    <p:sldLayoutId id="2147485585" r:id="rId5"/>
    <p:sldLayoutId id="2147485586" r:id="rId6"/>
    <p:sldLayoutId id="2147485587" r:id="rId7"/>
    <p:sldLayoutId id="2147485588" r:id="rId8"/>
    <p:sldLayoutId id="2147485589" r:id="rId9"/>
    <p:sldLayoutId id="2147485590" r:id="rId10"/>
    <p:sldLayoutId id="2147485591" r:id="rId11"/>
    <p:sldLayoutId id="2147485592" r:id="rId12"/>
    <p:sldLayoutId id="2147485593" r:id="rId13"/>
    <p:sldLayoutId id="2147485594" r:id="rId14"/>
    <p:sldLayoutId id="2147485595" r:id="rId15"/>
    <p:sldLayoutId id="2147485596" r:id="rId16"/>
    <p:sldLayoutId id="2147485597" r:id="rId17"/>
    <p:sldLayoutId id="2147485598" r:id="rId1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5/31/26</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US" sz="800"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95B482DD-89D1-42DF-ADD7-34F6575EE2F4}" type="slidenum">
              <a:rPr lang="en-US" smtClean="0"/>
              <a:pPr>
                <a:defRPr/>
              </a:pPr>
              <a:t>‹#›</a:t>
            </a:fld>
            <a:endParaRPr lang="en-US" dirty="0"/>
          </a:p>
        </p:txBody>
      </p:sp>
      <p:sp>
        <p:nvSpPr>
          <p:cNvPr id="7" name="bk object 16">
            <a:extLst>
              <a:ext uri="{FF2B5EF4-FFF2-40B4-BE49-F238E27FC236}">
                <a16:creationId xmlns:a16="http://schemas.microsoft.com/office/drawing/2014/main" id="{01041AAC-AC1A-7945-BEBA-3499B7A0AEC3}"/>
              </a:ext>
            </a:extLst>
          </p:cNvPr>
          <p:cNvSpPr/>
          <p:nvPr userDrawn="1"/>
        </p:nvSpPr>
        <p:spPr>
          <a:xfrm>
            <a:off x="334328" y="6516692"/>
            <a:ext cx="1404827" cy="341308"/>
          </a:xfrm>
          <a:prstGeom prst="rect">
            <a:avLst/>
          </a:prstGeom>
          <a:blipFill>
            <a:blip r:embed="rId19" cstate="print"/>
            <a:stretch>
              <a:fillRect/>
            </a:stretch>
          </a:blipFill>
        </p:spPr>
        <p:txBody>
          <a:bodyPr wrap="square" lIns="0" tIns="0" rIns="0" bIns="0" rtlCol="0"/>
          <a:lstStyle/>
          <a:p>
            <a:endParaRPr sz="1350"/>
          </a:p>
        </p:txBody>
      </p:sp>
    </p:spTree>
    <p:extLst>
      <p:ext uri="{BB962C8B-B14F-4D97-AF65-F5344CB8AC3E}">
        <p14:creationId xmlns:p14="http://schemas.microsoft.com/office/powerpoint/2010/main" val="712602841"/>
      </p:ext>
    </p:extLst>
  </p:cSld>
  <p:clrMap bg1="lt1" tx1="dk1" bg2="lt2" tx2="dk2" accent1="accent1" accent2="accent2" accent3="accent3" accent4="accent4" accent5="accent5" accent6="accent6" hlink="hlink" folHlink="folHlink"/>
  <p:sldLayoutIdLst>
    <p:sldLayoutId id="2147485600" r:id="rId1"/>
    <p:sldLayoutId id="2147485601" r:id="rId2"/>
    <p:sldLayoutId id="2147485602" r:id="rId3"/>
    <p:sldLayoutId id="2147485603" r:id="rId4"/>
    <p:sldLayoutId id="2147485604" r:id="rId5"/>
    <p:sldLayoutId id="2147485605" r:id="rId6"/>
    <p:sldLayoutId id="2147485606" r:id="rId7"/>
    <p:sldLayoutId id="2147485607" r:id="rId8"/>
    <p:sldLayoutId id="2147485608" r:id="rId9"/>
    <p:sldLayoutId id="2147485609" r:id="rId10"/>
    <p:sldLayoutId id="2147485610" r:id="rId11"/>
    <p:sldLayoutId id="2147485611" r:id="rId12"/>
    <p:sldLayoutId id="2147485612" r:id="rId13"/>
    <p:sldLayoutId id="2147485613" r:id="rId14"/>
    <p:sldLayoutId id="2147485614" r:id="rId15"/>
    <p:sldLayoutId id="2147485615" r:id="rId16"/>
    <p:sldLayoutId id="2147485616"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828099894"/>
      </p:ext>
    </p:extLst>
  </p:cSld>
  <p:clrMap bg1="lt1" tx1="dk1" bg2="lt2" tx2="dk2" accent1="accent1" accent2="accent2" accent3="accent3" accent4="accent4" accent5="accent5" accent6="accent6" hlink="hlink" folHlink="folHlink"/>
  <p:sldLayoutIdLst>
    <p:sldLayoutId id="2147484618" r:id="rId1"/>
    <p:sldLayoutId id="2147484619" r:id="rId2"/>
    <p:sldLayoutId id="2147484620" r:id="rId3"/>
    <p:sldLayoutId id="2147484621" r:id="rId4"/>
    <p:sldLayoutId id="2147484622" r:id="rId5"/>
    <p:sldLayoutId id="2147484623" r:id="rId6"/>
    <p:sldLayoutId id="2147484624" r:id="rId7"/>
    <p:sldLayoutId id="2147484625" r:id="rId8"/>
    <p:sldLayoutId id="2147484626" r:id="rId9"/>
    <p:sldLayoutId id="2147484627" r:id="rId10"/>
    <p:sldLayoutId id="2147484628" r:id="rId11"/>
    <p:sldLayoutId id="2147484629" r:id="rId12"/>
    <p:sldLayoutId id="2147484630" r:id="rId13"/>
    <p:sldLayoutId id="2147484631" r:id="rId14"/>
    <p:sldLayoutId id="2147484632" r:id="rId15"/>
    <p:sldLayoutId id="2147484633" r:id="rId16"/>
    <p:sldLayoutId id="2147484634"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72533" y="414014"/>
            <a:ext cx="10972800" cy="98001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372533" y="1578854"/>
            <a:ext cx="10972800" cy="41338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z="1000" smtClean="0">
                <a:solidFill>
                  <a:schemeClr val="tx2">
                    <a:lumMod val="60000"/>
                    <a:lumOff val="40000"/>
                  </a:schemeClr>
                </a:solidFill>
              </a:defRPr>
            </a:lvl1pPr>
          </a:lstStyle>
          <a:p>
            <a:fld id="{3C956E73-2E7A-40C4-98E5-5009DBC8D49F}" type="slidenum">
              <a:rPr lang="en-US" smtClean="0"/>
              <a:pPr/>
              <a:t>‹#›</a:t>
            </a:fld>
            <a:endParaRPr lang="en-US" dirty="0"/>
          </a:p>
        </p:txBody>
      </p:sp>
    </p:spTree>
    <p:extLst>
      <p:ext uri="{BB962C8B-B14F-4D97-AF65-F5344CB8AC3E}">
        <p14:creationId xmlns:p14="http://schemas.microsoft.com/office/powerpoint/2010/main" val="2976190950"/>
      </p:ext>
    </p:extLst>
  </p:cSld>
  <p:clrMap bg1="lt1" tx1="dk1" bg2="lt2" tx2="dk2" accent1="accent1" accent2="accent2" accent3="accent3" accent4="accent4" accent5="accent5" accent6="accent6" hlink="hlink" folHlink="folHlink"/>
  <p:sldLayoutIdLst>
    <p:sldLayoutId id="2147484735" r:id="rId1"/>
    <p:sldLayoutId id="2147484736" r:id="rId2"/>
    <p:sldLayoutId id="2147484737" r:id="rId3"/>
    <p:sldLayoutId id="2147484738" r:id="rId4"/>
    <p:sldLayoutId id="2147484739" r:id="rId5"/>
    <p:sldLayoutId id="2147484740" r:id="rId6"/>
    <p:sldLayoutId id="2147484741" r:id="rId7"/>
    <p:sldLayoutId id="2147484742" r:id="rId8"/>
    <p:sldLayoutId id="2147484743" r:id="rId9"/>
    <p:sldLayoutId id="2147484744" r:id="rId10"/>
    <p:sldLayoutId id="2147484745" r:id="rId11"/>
    <p:sldLayoutId id="2147484746" r:id="rId12"/>
    <p:sldLayoutId id="2147484747" r:id="rId13"/>
    <p:sldLayoutId id="2147484748" r:id="rId1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rtl="0" fontAlgn="base">
        <a:lnSpc>
          <a:spcPct val="85000"/>
        </a:lnSpc>
        <a:spcBef>
          <a:spcPct val="0"/>
        </a:spcBef>
        <a:spcAft>
          <a:spcPct val="0"/>
        </a:spcAft>
        <a:defRPr sz="3467">
          <a:solidFill>
            <a:schemeClr val="accent1"/>
          </a:solidFill>
          <a:latin typeface="+mj-lt"/>
          <a:ea typeface="+mj-ea"/>
          <a:cs typeface="+mj-cs"/>
        </a:defRPr>
      </a:lvl1pPr>
      <a:lvl2pPr algn="l" rtl="0" fontAlgn="base">
        <a:lnSpc>
          <a:spcPct val="85000"/>
        </a:lnSpc>
        <a:spcBef>
          <a:spcPct val="0"/>
        </a:spcBef>
        <a:spcAft>
          <a:spcPct val="0"/>
        </a:spcAft>
        <a:defRPr sz="3200">
          <a:solidFill>
            <a:schemeClr val="tx1"/>
          </a:solidFill>
          <a:latin typeface="Arial" charset="0"/>
        </a:defRPr>
      </a:lvl2pPr>
      <a:lvl3pPr algn="l" rtl="0" fontAlgn="base">
        <a:lnSpc>
          <a:spcPct val="85000"/>
        </a:lnSpc>
        <a:spcBef>
          <a:spcPct val="0"/>
        </a:spcBef>
        <a:spcAft>
          <a:spcPct val="0"/>
        </a:spcAft>
        <a:defRPr sz="3200">
          <a:solidFill>
            <a:schemeClr val="tx1"/>
          </a:solidFill>
          <a:latin typeface="Arial" charset="0"/>
        </a:defRPr>
      </a:lvl3pPr>
      <a:lvl4pPr algn="l" rtl="0" fontAlgn="base">
        <a:lnSpc>
          <a:spcPct val="85000"/>
        </a:lnSpc>
        <a:spcBef>
          <a:spcPct val="0"/>
        </a:spcBef>
        <a:spcAft>
          <a:spcPct val="0"/>
        </a:spcAft>
        <a:defRPr sz="3200">
          <a:solidFill>
            <a:schemeClr val="tx1"/>
          </a:solidFill>
          <a:latin typeface="Arial" charset="0"/>
        </a:defRPr>
      </a:lvl4pPr>
      <a:lvl5pPr algn="l" rtl="0" fontAlgn="base">
        <a:lnSpc>
          <a:spcPct val="85000"/>
        </a:lnSpc>
        <a:spcBef>
          <a:spcPct val="0"/>
        </a:spcBef>
        <a:spcAft>
          <a:spcPct val="0"/>
        </a:spcAft>
        <a:defRPr sz="3200">
          <a:solidFill>
            <a:schemeClr val="tx1"/>
          </a:solidFill>
          <a:latin typeface="Arial" charset="0"/>
        </a:defRPr>
      </a:lvl5pPr>
      <a:lvl6pPr marL="457167" algn="l" rtl="0" eaLnBrk="1" fontAlgn="base" hangingPunct="1">
        <a:lnSpc>
          <a:spcPct val="85000"/>
        </a:lnSpc>
        <a:spcBef>
          <a:spcPct val="0"/>
        </a:spcBef>
        <a:spcAft>
          <a:spcPct val="0"/>
        </a:spcAft>
        <a:defRPr sz="3200">
          <a:solidFill>
            <a:schemeClr val="tx2"/>
          </a:solidFill>
          <a:latin typeface="Arial" charset="0"/>
        </a:defRPr>
      </a:lvl6pPr>
      <a:lvl7pPr marL="914332" algn="l" rtl="0" eaLnBrk="1" fontAlgn="base" hangingPunct="1">
        <a:lnSpc>
          <a:spcPct val="85000"/>
        </a:lnSpc>
        <a:spcBef>
          <a:spcPct val="0"/>
        </a:spcBef>
        <a:spcAft>
          <a:spcPct val="0"/>
        </a:spcAft>
        <a:defRPr sz="3200">
          <a:solidFill>
            <a:schemeClr val="tx2"/>
          </a:solidFill>
          <a:latin typeface="Arial" charset="0"/>
        </a:defRPr>
      </a:lvl7pPr>
      <a:lvl8pPr marL="1371498" algn="l" rtl="0" eaLnBrk="1" fontAlgn="base" hangingPunct="1">
        <a:lnSpc>
          <a:spcPct val="85000"/>
        </a:lnSpc>
        <a:spcBef>
          <a:spcPct val="0"/>
        </a:spcBef>
        <a:spcAft>
          <a:spcPct val="0"/>
        </a:spcAft>
        <a:defRPr sz="3200">
          <a:solidFill>
            <a:schemeClr val="tx2"/>
          </a:solidFill>
          <a:latin typeface="Arial" charset="0"/>
        </a:defRPr>
      </a:lvl8pPr>
      <a:lvl9pPr marL="1828664" algn="l" rtl="0" eaLnBrk="1" fontAlgn="base" hangingPunct="1">
        <a:lnSpc>
          <a:spcPct val="85000"/>
        </a:lnSpc>
        <a:spcBef>
          <a:spcPct val="0"/>
        </a:spcBef>
        <a:spcAft>
          <a:spcPct val="0"/>
        </a:spcAft>
        <a:defRPr sz="3200">
          <a:solidFill>
            <a:schemeClr val="tx2"/>
          </a:solidFill>
          <a:latin typeface="Arial" charset="0"/>
        </a:defRPr>
      </a:lvl9pPr>
    </p:titleStyle>
    <p:bodyStyle>
      <a:lvl1pPr marL="290491" indent="-290491" algn="l" rtl="0" fontAlgn="base">
        <a:lnSpc>
          <a:spcPct val="85000"/>
        </a:lnSpc>
        <a:spcBef>
          <a:spcPts val="1200"/>
        </a:spcBef>
        <a:spcAft>
          <a:spcPct val="0"/>
        </a:spcAft>
        <a:buClr>
          <a:srgbClr val="B2B2B2"/>
        </a:buClr>
        <a:buFont typeface="Wingdings" pitchFamily="2" charset="2"/>
        <a:buChar char="§"/>
        <a:defRPr sz="2933">
          <a:solidFill>
            <a:schemeClr val="tx1"/>
          </a:solidFill>
          <a:latin typeface="+mn-lt"/>
          <a:ea typeface="+mn-ea"/>
          <a:cs typeface="+mn-cs"/>
        </a:defRPr>
      </a:lvl1pPr>
      <a:lvl2pPr marL="742895" indent="-285730" algn="l" rtl="0" fontAlgn="base">
        <a:lnSpc>
          <a:spcPct val="85000"/>
        </a:lnSpc>
        <a:spcBef>
          <a:spcPts val="600"/>
        </a:spcBef>
        <a:spcAft>
          <a:spcPct val="0"/>
        </a:spcAft>
        <a:buClr>
          <a:srgbClr val="B2B2B2"/>
        </a:buClr>
        <a:buFont typeface="Wingdings" pitchFamily="2" charset="2"/>
        <a:buChar char="§"/>
        <a:defRPr sz="2667">
          <a:solidFill>
            <a:schemeClr val="tx1"/>
          </a:solidFill>
          <a:latin typeface="+mn-lt"/>
        </a:defRPr>
      </a:lvl2pPr>
      <a:lvl3pPr marL="1142914"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3pPr>
      <a:lvl4pPr marL="1600080"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4pPr>
      <a:lvl5pPr marL="2057247"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5pPr>
      <a:lvl6pPr marL="2514412"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6pPr>
      <a:lvl7pPr marL="2971578"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7pPr>
      <a:lvl8pPr marL="3428744"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8pPr>
      <a:lvl9pPr marL="3885910"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1" name="Title Text"/>
          <p:cNvSpPr txBox="1">
            <a:spLocks noGrp="1"/>
          </p:cNvSpPr>
          <p:nvPr>
            <p:ph type="title"/>
          </p:nvPr>
        </p:nvSpPr>
        <p:spPr>
          <a:xfrm>
            <a:off x="272233" y="336263"/>
            <a:ext cx="11536220" cy="8081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91440" rIns="45719" anchor="t">
            <a:noAutofit/>
          </a:bodyPr>
          <a:lstStyle/>
          <a:p>
            <a:r>
              <a:t>Title Text</a:t>
            </a:r>
          </a:p>
        </p:txBody>
      </p:sp>
      <p:sp>
        <p:nvSpPr>
          <p:cNvPr id="22" name="Body Level One…"/>
          <p:cNvSpPr txBox="1">
            <a:spLocks noGrp="1"/>
          </p:cNvSpPr>
          <p:nvPr>
            <p:ph type="body" idx="1"/>
          </p:nvPr>
        </p:nvSpPr>
        <p:spPr>
          <a:xfrm>
            <a:off x="347472" y="1310480"/>
            <a:ext cx="10515601" cy="43513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20" rIns="45719">
            <a:noAutofit/>
          </a:bodyPr>
          <a:lstStyle/>
          <a:p>
            <a:r>
              <a:t>Body Level One</a:t>
            </a:r>
          </a:p>
          <a:p>
            <a:pPr lvl="1"/>
            <a:r>
              <a:t>Body Level Two</a:t>
            </a:r>
          </a:p>
          <a:p>
            <a:pPr lvl="2"/>
            <a:r>
              <a:t>Body Level Three</a:t>
            </a:r>
          </a:p>
          <a:p>
            <a:pPr lvl="3"/>
            <a:r>
              <a:t>Body Level Four</a:t>
            </a:r>
          </a:p>
          <a:p>
            <a:pPr lvl="4"/>
            <a:r>
              <a:t>Body Level Five</a:t>
            </a:r>
          </a:p>
        </p:txBody>
      </p:sp>
      <p:sp>
        <p:nvSpPr>
          <p:cNvPr id="28" name="Slide Number Placeholder 27">
            <a:extLst>
              <a:ext uri="{FF2B5EF4-FFF2-40B4-BE49-F238E27FC236}">
                <a16:creationId xmlns:a16="http://schemas.microsoft.com/office/drawing/2014/main" id="{9DD666D0-CF25-4F2F-AA97-3C4F166D9537}"/>
              </a:ext>
            </a:extLst>
          </p:cNvPr>
          <p:cNvSpPr>
            <a:spLocks noGrp="1"/>
          </p:cNvSpPr>
          <p:nvPr>
            <p:ph type="sldNum" sz="quarter" idx="4"/>
          </p:nvPr>
        </p:nvSpPr>
        <p:spPr>
          <a:xfrm>
            <a:off x="296055" y="6412748"/>
            <a:ext cx="426564" cy="365125"/>
          </a:xfrm>
          <a:prstGeom prst="rect">
            <a:avLst/>
          </a:prstGeom>
        </p:spPr>
        <p:txBody>
          <a:bodyPr vert="horz" lIns="91440" tIns="45720" rIns="91440" bIns="45720" rtlCol="0" anchor="ctr"/>
          <a:lstStyle>
            <a:lvl1pPr algn="l">
              <a:defRPr sz="900">
                <a:solidFill>
                  <a:schemeClr val="bg1">
                    <a:lumMod val="50000"/>
                  </a:schemeClr>
                </a:solidFill>
              </a:defRPr>
            </a:lvl1pPr>
          </a:lstStyle>
          <a:p>
            <a:r>
              <a:rPr lang="en-US"/>
              <a:t>#</a:t>
            </a:r>
          </a:p>
        </p:txBody>
      </p:sp>
      <p:sp>
        <p:nvSpPr>
          <p:cNvPr id="6" name="Footer Placeholder 5">
            <a:extLst>
              <a:ext uri="{FF2B5EF4-FFF2-40B4-BE49-F238E27FC236}">
                <a16:creationId xmlns:a16="http://schemas.microsoft.com/office/drawing/2014/main" id="{C3EDE3A7-E046-2B16-B5A2-4C20BB2AB90E}"/>
              </a:ext>
            </a:extLst>
          </p:cNvPr>
          <p:cNvSpPr>
            <a:spLocks noGrp="1"/>
          </p:cNvSpPr>
          <p:nvPr>
            <p:ph type="ftr" sz="quarter" idx="3"/>
          </p:nvPr>
        </p:nvSpPr>
        <p:spPr>
          <a:xfrm>
            <a:off x="640080" y="6479007"/>
            <a:ext cx="5455920" cy="230832"/>
          </a:xfrm>
          <a:prstGeom prst="rect">
            <a:avLst/>
          </a:prstGeom>
        </p:spPr>
        <p:txBody>
          <a:bodyPr wrap="square">
            <a:noAutofit/>
          </a:bodyPr>
          <a:lstStyle>
            <a:lvl1pPr>
              <a:defRPr lang="en-US" sz="900" b="0" i="0">
                <a:solidFill>
                  <a:schemeClr val="tx1">
                    <a:lumMod val="50000"/>
                    <a:lumOff val="50000"/>
                  </a:schemeClr>
                </a:solidFill>
                <a:latin typeface="Arial" panose="020B0604020202020204" pitchFamily="34" charset="0"/>
              </a:defRPr>
            </a:lvl1pPr>
          </a:lstStyle>
          <a:p>
            <a:r>
              <a:rPr lang="da-DK"/>
              <a:t>NET-202 SIV Slides Final v2.0 31-Aug-2023</a:t>
            </a:r>
            <a:endParaRPr lang="en-US"/>
          </a:p>
        </p:txBody>
      </p:sp>
    </p:spTree>
    <p:extLst>
      <p:ext uri="{BB962C8B-B14F-4D97-AF65-F5344CB8AC3E}">
        <p14:creationId xmlns:p14="http://schemas.microsoft.com/office/powerpoint/2010/main" val="4049549347"/>
      </p:ext>
    </p:extLst>
  </p:cSld>
  <p:clrMap bg1="lt1" tx1="dk1" bg2="lt2" tx2="dk2" accent1="accent1" accent2="accent2" accent3="accent3" accent4="accent4" accent5="accent5" accent6="accent6" hlink="hlink" folHlink="folHlink"/>
  <p:sldLayoutIdLst>
    <p:sldLayoutId id="2147484779" r:id="rId1"/>
    <p:sldLayoutId id="2147484780" r:id="rId2"/>
    <p:sldLayoutId id="2147484781" r:id="rId3"/>
    <p:sldLayoutId id="2147484782" r:id="rId4"/>
    <p:sldLayoutId id="2147484783" r:id="rId5"/>
    <p:sldLayoutId id="2147484784" r:id="rId6"/>
    <p:sldLayoutId id="2147484785" r:id="rId7"/>
    <p:sldLayoutId id="2147484786" r:id="rId8"/>
    <p:sldLayoutId id="2147484787" r:id="rId9"/>
    <p:sldLayoutId id="2147484788" r:id="rId10"/>
    <p:sldLayoutId id="2147484789" r:id="rId11"/>
    <p:sldLayoutId id="2147484790" r:id="rId12"/>
    <p:sldLayoutId id="2147484791"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lvl1pPr marL="0" marR="0" indent="0" algn="l" defTabSz="914240" eaLnBrk="1" latinLnBrk="0" hangingPunct="1">
        <a:lnSpc>
          <a:spcPct val="95000"/>
        </a:lnSpc>
        <a:spcBef>
          <a:spcPts val="0"/>
        </a:spcBef>
        <a:spcAft>
          <a:spcPts val="0"/>
        </a:spcAft>
        <a:buClrTx/>
        <a:buSzTx/>
        <a:buFontTx/>
        <a:buNone/>
        <a:tabLst/>
        <a:defRPr sz="2600" b="1" i="0" u="none" strike="noStrike" cap="none" spc="0" baseline="0">
          <a:solidFill>
            <a:schemeClr val="accent4"/>
          </a:solidFill>
          <a:uFillTx/>
          <a:latin typeface="+mj-lt"/>
          <a:ea typeface="Arial" panose="020B0604020202020204" pitchFamily="34" charset="0"/>
          <a:cs typeface="Arial" panose="020B0604020202020204" pitchFamily="34" charset="0"/>
          <a:sym typeface="Avenir Black"/>
        </a:defRPr>
      </a:lvl1pPr>
      <a:lvl2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2pPr>
      <a:lvl3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3pPr>
      <a:lvl4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4pPr>
      <a:lvl5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5pPr>
      <a:lvl6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6pPr>
      <a:lvl7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7pPr>
      <a:lvl8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8pPr>
      <a:lvl9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9pPr>
    </p:titleStyle>
    <p:bodyStyle>
      <a:lvl1pPr marL="228560" marR="0" indent="-228560" algn="l" defTabSz="914240" eaLnBrk="1" latinLnBrk="0" hangingPunct="1">
        <a:lnSpc>
          <a:spcPct val="90000"/>
        </a:lnSpc>
        <a:spcBef>
          <a:spcPts val="1000"/>
        </a:spcBef>
        <a:spcAft>
          <a:spcPts val="400"/>
        </a:spcAft>
        <a:buClr>
          <a:schemeClr val="accent4"/>
        </a:buClr>
        <a:buSzPct val="100000"/>
        <a:buFont typeface="Arial" panose="020B0604020202020204" pitchFamily="34" charset="0"/>
        <a:buChar char="•"/>
        <a:tabLst/>
        <a:defRPr sz="16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1pPr>
      <a:lvl2pPr marL="463550" marR="0" indent="-165100" algn="l" defTabSz="914240" eaLnBrk="1" latinLnBrk="0" hangingPunct="1">
        <a:lnSpc>
          <a:spcPct val="90000"/>
        </a:lnSpc>
        <a:spcBef>
          <a:spcPts val="400"/>
        </a:spcBef>
        <a:spcAft>
          <a:spcPts val="400"/>
        </a:spcAft>
        <a:buClr>
          <a:schemeClr val="accent4"/>
        </a:buClr>
        <a:buSzPct val="100000"/>
        <a:buFont typeface="System Font Regular"/>
        <a:buChar char="–"/>
        <a:tabLst/>
        <a:defRPr sz="14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2pPr>
      <a:lvl3pPr marL="687388" marR="0" indent="-173038"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3pPr>
      <a:lvl4pPr marL="862013" marR="0" indent="-157163" algn="l" defTabSz="914240" eaLnBrk="1" latinLnBrk="0" hangingPunct="1">
        <a:lnSpc>
          <a:spcPct val="90000"/>
        </a:lnSpc>
        <a:spcBef>
          <a:spcPts val="400"/>
        </a:spcBef>
        <a:spcAft>
          <a:spcPts val="400"/>
        </a:spcAft>
        <a:buClr>
          <a:schemeClr val="accent4"/>
        </a:buClr>
        <a:buSzPct val="100000"/>
        <a:buFont typeface="System Font Regular"/>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4pPr>
      <a:lvl5pPr marL="1085850" marR="0" indent="-157163"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5pPr>
      <a:lvl6pPr marL="250213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6pPr>
      <a:lvl7pPr marL="295925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7pPr>
      <a:lvl8pPr marL="341637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8pPr>
      <a:lvl9pPr marL="387349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9pPr>
    </p:bodyStyle>
    <p:otherStyle>
      <a:lvl1pPr marL="0" marR="0" indent="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1pPr>
      <a:lvl2pPr marL="0" marR="0" indent="457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2pPr>
      <a:lvl3pPr marL="0" marR="0" indent="914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3pPr>
      <a:lvl4pPr marL="0" marR="0" indent="1371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4pPr>
      <a:lvl5pPr marL="0" marR="0" indent="18288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5pPr>
      <a:lvl6pPr marL="0" marR="0" indent="22860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6pPr>
      <a:lvl7pPr marL="0" marR="0" indent="2743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7pPr>
      <a:lvl8pPr marL="0" marR="0" indent="3200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8pPr>
      <a:lvl9pPr marL="0" marR="0" indent="3657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9pPr>
    </p:otherStyle>
  </p:txStyles>
  <p:extLst>
    <p:ext uri="{27BBF7A9-308A-43DC-89C8-2F10F3537804}">
      <p15:sldGuideLst xmlns:p15="http://schemas.microsoft.com/office/powerpoint/2012/main">
        <p15:guide id="1" orient="horz" pos="432">
          <p15:clr>
            <a:srgbClr val="F26B43"/>
          </p15:clr>
        </p15:guide>
        <p15:guide id="2" orient="horz" pos="35">
          <p15:clr>
            <a:srgbClr val="F26B43"/>
          </p15:clr>
        </p15:guide>
        <p15:guide id="3" pos="168">
          <p15:clr>
            <a:srgbClr val="F26B43"/>
          </p15:clr>
        </p15:guide>
        <p15:guide id="4" pos="7512">
          <p15:clr>
            <a:srgbClr val="F26B43"/>
          </p15:clr>
        </p15:guide>
        <p15:guide id="9" orient="horz" pos="4173">
          <p15:clr>
            <a:srgbClr val="F26B43"/>
          </p15:clr>
        </p15:guide>
        <p15:guide id="10" pos="240">
          <p15:clr>
            <a:srgbClr val="F26B43"/>
          </p15:clr>
        </p15:guide>
        <p15:guide id="11" pos="7440">
          <p15:clr>
            <a:srgbClr val="F26B43"/>
          </p15:clr>
        </p15:guide>
        <p15:guide id="12" orient="horz" pos="720">
          <p15:clr>
            <a:srgbClr val="F26B43"/>
          </p15:clr>
        </p15:guide>
        <p15:guide id="13" orient="horz" pos="3912">
          <p15:clr>
            <a:srgbClr val="F26B43"/>
          </p15:clr>
        </p15:guide>
        <p15:guide id="14" pos="3840">
          <p15:clr>
            <a:srgbClr val="F26B43"/>
          </p15:clr>
        </p15:guide>
        <p15:guide id="15" pos="3888">
          <p15:clr>
            <a:srgbClr val="F26B43"/>
          </p15:clr>
        </p15:guide>
        <p15:guide id="16" pos="379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3249" y="1476370"/>
            <a:ext cx="10515600" cy="932534"/>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763249" y="2408904"/>
            <a:ext cx="10515600" cy="306116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8453284"/>
      </p:ext>
    </p:extLst>
  </p:cSld>
  <p:clrMap bg1="lt1" tx1="dk1" bg2="lt2" tx2="dk2" accent1="accent1" accent2="accent2" accent3="accent3" accent4="accent4" accent5="accent5" accent6="accent6" hlink="hlink" folHlink="folHlink"/>
  <p:sldLayoutIdLst>
    <p:sldLayoutId id="2147484805" r:id="rId1"/>
    <p:sldLayoutId id="2147484806" r:id="rId2"/>
    <p:sldLayoutId id="2147484807" r:id="rId3"/>
    <p:sldLayoutId id="2147484808" r:id="rId4"/>
    <p:sldLayoutId id="2147484809" r:id="rId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1" name="Title Text"/>
          <p:cNvSpPr txBox="1">
            <a:spLocks noGrp="1"/>
          </p:cNvSpPr>
          <p:nvPr>
            <p:ph type="title"/>
          </p:nvPr>
        </p:nvSpPr>
        <p:spPr>
          <a:xfrm>
            <a:off x="272233" y="336263"/>
            <a:ext cx="11536220" cy="8081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91440" rIns="45719" anchor="t">
            <a:noAutofit/>
          </a:bodyPr>
          <a:lstStyle/>
          <a:p>
            <a:r>
              <a:t>Title Text</a:t>
            </a:r>
          </a:p>
        </p:txBody>
      </p:sp>
      <p:sp>
        <p:nvSpPr>
          <p:cNvPr id="22" name="Body Level One…"/>
          <p:cNvSpPr txBox="1">
            <a:spLocks noGrp="1"/>
          </p:cNvSpPr>
          <p:nvPr>
            <p:ph type="body" idx="1"/>
          </p:nvPr>
        </p:nvSpPr>
        <p:spPr>
          <a:xfrm>
            <a:off x="347472" y="1310480"/>
            <a:ext cx="10515601" cy="43513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20" rIns="45719">
            <a:noAutofit/>
          </a:bodyPr>
          <a:lstStyle/>
          <a:p>
            <a:r>
              <a:t>Body Level One</a:t>
            </a:r>
          </a:p>
          <a:p>
            <a:pPr lvl="1"/>
            <a:r>
              <a:t>Body Level Two</a:t>
            </a:r>
          </a:p>
          <a:p>
            <a:pPr lvl="2"/>
            <a:r>
              <a:t>Body Level Three</a:t>
            </a:r>
          </a:p>
          <a:p>
            <a:pPr lvl="3"/>
            <a:r>
              <a:t>Body Level Four</a:t>
            </a:r>
          </a:p>
          <a:p>
            <a:pPr lvl="4"/>
            <a:r>
              <a:t>Body Level Five</a:t>
            </a:r>
          </a:p>
        </p:txBody>
      </p:sp>
      <p:sp>
        <p:nvSpPr>
          <p:cNvPr id="28" name="Slide Number Placeholder 27">
            <a:extLst>
              <a:ext uri="{FF2B5EF4-FFF2-40B4-BE49-F238E27FC236}">
                <a16:creationId xmlns:a16="http://schemas.microsoft.com/office/drawing/2014/main" id="{9DD666D0-CF25-4F2F-AA97-3C4F166D9537}"/>
              </a:ext>
            </a:extLst>
          </p:cNvPr>
          <p:cNvSpPr>
            <a:spLocks noGrp="1"/>
          </p:cNvSpPr>
          <p:nvPr>
            <p:ph type="sldNum" sz="quarter" idx="4"/>
          </p:nvPr>
        </p:nvSpPr>
        <p:spPr>
          <a:xfrm>
            <a:off x="296055" y="6412748"/>
            <a:ext cx="426564" cy="365125"/>
          </a:xfrm>
          <a:prstGeom prst="rect">
            <a:avLst/>
          </a:prstGeom>
        </p:spPr>
        <p:txBody>
          <a:bodyPr vert="horz" lIns="91440" tIns="45720" rIns="91440" bIns="45720" rtlCol="0" anchor="ctr"/>
          <a:lstStyle>
            <a:lvl1pPr algn="l">
              <a:defRPr sz="900">
                <a:solidFill>
                  <a:schemeClr val="bg1">
                    <a:lumMod val="50000"/>
                  </a:schemeClr>
                </a:solidFill>
              </a:defRPr>
            </a:lvl1pPr>
          </a:lstStyle>
          <a:p>
            <a:r>
              <a:rPr lang="en-US"/>
              <a:t>#</a:t>
            </a:r>
          </a:p>
        </p:txBody>
      </p:sp>
      <p:sp>
        <p:nvSpPr>
          <p:cNvPr id="6" name="Footer Placeholder 5">
            <a:extLst>
              <a:ext uri="{FF2B5EF4-FFF2-40B4-BE49-F238E27FC236}">
                <a16:creationId xmlns:a16="http://schemas.microsoft.com/office/drawing/2014/main" id="{C3EDE3A7-E046-2B16-B5A2-4C20BB2AB90E}"/>
              </a:ext>
            </a:extLst>
          </p:cNvPr>
          <p:cNvSpPr>
            <a:spLocks noGrp="1"/>
          </p:cNvSpPr>
          <p:nvPr>
            <p:ph type="ftr" sz="quarter" idx="3"/>
          </p:nvPr>
        </p:nvSpPr>
        <p:spPr>
          <a:xfrm>
            <a:off x="640080" y="6479007"/>
            <a:ext cx="5455920" cy="230832"/>
          </a:xfrm>
          <a:prstGeom prst="rect">
            <a:avLst/>
          </a:prstGeom>
        </p:spPr>
        <p:txBody>
          <a:bodyPr wrap="square">
            <a:noAutofit/>
          </a:bodyPr>
          <a:lstStyle>
            <a:lvl1pPr>
              <a:defRPr lang="en-US" sz="900" b="0" i="0">
                <a:solidFill>
                  <a:schemeClr val="tx1">
                    <a:lumMod val="50000"/>
                    <a:lumOff val="50000"/>
                  </a:schemeClr>
                </a:solidFill>
                <a:latin typeface="Arial" panose="020B0604020202020204" pitchFamily="34" charset="0"/>
              </a:defRPr>
            </a:lvl1pPr>
          </a:lstStyle>
          <a:p>
            <a:r>
              <a:rPr lang="da-DK"/>
              <a:t>NET-202 SIV Slides Final v2.0 31-Aug-2023</a:t>
            </a:r>
            <a:endParaRPr lang="en-US"/>
          </a:p>
        </p:txBody>
      </p:sp>
    </p:spTree>
    <p:extLst>
      <p:ext uri="{BB962C8B-B14F-4D97-AF65-F5344CB8AC3E}">
        <p14:creationId xmlns:p14="http://schemas.microsoft.com/office/powerpoint/2010/main" val="2145866645"/>
      </p:ext>
    </p:extLst>
  </p:cSld>
  <p:clrMap bg1="lt1" tx1="dk1" bg2="lt2" tx2="dk2" accent1="accent1" accent2="accent2" accent3="accent3" accent4="accent4" accent5="accent5" accent6="accent6" hlink="hlink" folHlink="folHlink"/>
  <p:sldLayoutIdLst>
    <p:sldLayoutId id="2147484837" r:id="rId1"/>
    <p:sldLayoutId id="2147484838" r:id="rId2"/>
    <p:sldLayoutId id="2147484839" r:id="rId3"/>
    <p:sldLayoutId id="2147484840" r:id="rId4"/>
    <p:sldLayoutId id="2147484841" r:id="rId5"/>
    <p:sldLayoutId id="2147484842" r:id="rId6"/>
    <p:sldLayoutId id="2147484843" r:id="rId7"/>
    <p:sldLayoutId id="2147484844" r:id="rId8"/>
    <p:sldLayoutId id="2147484845" r:id="rId9"/>
    <p:sldLayoutId id="2147484846" r:id="rId10"/>
    <p:sldLayoutId id="2147484847" r:id="rId11"/>
    <p:sldLayoutId id="2147484848" r:id="rId12"/>
    <p:sldLayoutId id="2147484849"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lvl1pPr marL="0" marR="0" indent="0" algn="l" defTabSz="914240" eaLnBrk="1" latinLnBrk="0" hangingPunct="1">
        <a:lnSpc>
          <a:spcPct val="95000"/>
        </a:lnSpc>
        <a:spcBef>
          <a:spcPts val="0"/>
        </a:spcBef>
        <a:spcAft>
          <a:spcPts val="0"/>
        </a:spcAft>
        <a:buClrTx/>
        <a:buSzTx/>
        <a:buFontTx/>
        <a:buNone/>
        <a:tabLst/>
        <a:defRPr sz="2600" b="1" i="0" u="none" strike="noStrike" cap="none" spc="0" baseline="0">
          <a:solidFill>
            <a:schemeClr val="accent4"/>
          </a:solidFill>
          <a:uFillTx/>
          <a:latin typeface="+mj-lt"/>
          <a:ea typeface="Arial" panose="020B0604020202020204" pitchFamily="34" charset="0"/>
          <a:cs typeface="Arial" panose="020B0604020202020204" pitchFamily="34" charset="0"/>
          <a:sym typeface="Avenir Black"/>
        </a:defRPr>
      </a:lvl1pPr>
      <a:lvl2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2pPr>
      <a:lvl3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3pPr>
      <a:lvl4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4pPr>
      <a:lvl5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5pPr>
      <a:lvl6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6pPr>
      <a:lvl7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7pPr>
      <a:lvl8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8pPr>
      <a:lvl9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9pPr>
    </p:titleStyle>
    <p:bodyStyle>
      <a:lvl1pPr marL="228560" marR="0" indent="-228560" algn="l" defTabSz="914240" eaLnBrk="1" latinLnBrk="0" hangingPunct="1">
        <a:lnSpc>
          <a:spcPct val="90000"/>
        </a:lnSpc>
        <a:spcBef>
          <a:spcPts val="1000"/>
        </a:spcBef>
        <a:spcAft>
          <a:spcPts val="400"/>
        </a:spcAft>
        <a:buClr>
          <a:schemeClr val="accent4"/>
        </a:buClr>
        <a:buSzPct val="100000"/>
        <a:buFont typeface="Arial" panose="020B0604020202020204" pitchFamily="34" charset="0"/>
        <a:buChar char="•"/>
        <a:tabLst/>
        <a:defRPr sz="16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1pPr>
      <a:lvl2pPr marL="463550" marR="0" indent="-165100" algn="l" defTabSz="914240" eaLnBrk="1" latinLnBrk="0" hangingPunct="1">
        <a:lnSpc>
          <a:spcPct val="90000"/>
        </a:lnSpc>
        <a:spcBef>
          <a:spcPts val="400"/>
        </a:spcBef>
        <a:spcAft>
          <a:spcPts val="400"/>
        </a:spcAft>
        <a:buClr>
          <a:schemeClr val="accent4"/>
        </a:buClr>
        <a:buSzPct val="100000"/>
        <a:buFont typeface="System Font Regular"/>
        <a:buChar char="–"/>
        <a:tabLst/>
        <a:defRPr sz="14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2pPr>
      <a:lvl3pPr marL="687388" marR="0" indent="-173038"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3pPr>
      <a:lvl4pPr marL="862013" marR="0" indent="-157163" algn="l" defTabSz="914240" eaLnBrk="1" latinLnBrk="0" hangingPunct="1">
        <a:lnSpc>
          <a:spcPct val="90000"/>
        </a:lnSpc>
        <a:spcBef>
          <a:spcPts val="400"/>
        </a:spcBef>
        <a:spcAft>
          <a:spcPts val="400"/>
        </a:spcAft>
        <a:buClr>
          <a:schemeClr val="accent4"/>
        </a:buClr>
        <a:buSzPct val="100000"/>
        <a:buFont typeface="System Font Regular"/>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4pPr>
      <a:lvl5pPr marL="1085850" marR="0" indent="-157163"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5pPr>
      <a:lvl6pPr marL="250213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6pPr>
      <a:lvl7pPr marL="295925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7pPr>
      <a:lvl8pPr marL="341637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8pPr>
      <a:lvl9pPr marL="387349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9pPr>
    </p:bodyStyle>
    <p:otherStyle>
      <a:lvl1pPr marL="0" marR="0" indent="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1pPr>
      <a:lvl2pPr marL="0" marR="0" indent="457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2pPr>
      <a:lvl3pPr marL="0" marR="0" indent="914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3pPr>
      <a:lvl4pPr marL="0" marR="0" indent="1371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4pPr>
      <a:lvl5pPr marL="0" marR="0" indent="18288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5pPr>
      <a:lvl6pPr marL="0" marR="0" indent="22860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6pPr>
      <a:lvl7pPr marL="0" marR="0" indent="2743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7pPr>
      <a:lvl8pPr marL="0" marR="0" indent="3200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8pPr>
      <a:lvl9pPr marL="0" marR="0" indent="3657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9pPr>
    </p:otherStyle>
  </p:txStyles>
  <p:extLst>
    <p:ext uri="{27BBF7A9-308A-43DC-89C8-2F10F3537804}">
      <p15:sldGuideLst xmlns:p15="http://schemas.microsoft.com/office/powerpoint/2012/main">
        <p15:guide id="1" orient="horz" pos="432">
          <p15:clr>
            <a:srgbClr val="F26B43"/>
          </p15:clr>
        </p15:guide>
        <p15:guide id="2" orient="horz" pos="35">
          <p15:clr>
            <a:srgbClr val="F26B43"/>
          </p15:clr>
        </p15:guide>
        <p15:guide id="3" pos="168">
          <p15:clr>
            <a:srgbClr val="F26B43"/>
          </p15:clr>
        </p15:guide>
        <p15:guide id="4" pos="7512">
          <p15:clr>
            <a:srgbClr val="F26B43"/>
          </p15:clr>
        </p15:guide>
        <p15:guide id="9" orient="horz" pos="4173">
          <p15:clr>
            <a:srgbClr val="F26B43"/>
          </p15:clr>
        </p15:guide>
        <p15:guide id="10" pos="240">
          <p15:clr>
            <a:srgbClr val="F26B43"/>
          </p15:clr>
        </p15:guide>
        <p15:guide id="11" pos="7440">
          <p15:clr>
            <a:srgbClr val="F26B43"/>
          </p15:clr>
        </p15:guide>
        <p15:guide id="12" orient="horz" pos="720">
          <p15:clr>
            <a:srgbClr val="F26B43"/>
          </p15:clr>
        </p15:guide>
        <p15:guide id="13" orient="horz" pos="3912">
          <p15:clr>
            <a:srgbClr val="F26B43"/>
          </p15:clr>
        </p15:guide>
        <p15:guide id="14" pos="3840">
          <p15:clr>
            <a:srgbClr val="F26B43"/>
          </p15:clr>
        </p15:guide>
        <p15:guide id="15" pos="3888">
          <p15:clr>
            <a:srgbClr val="F26B43"/>
          </p15:clr>
        </p15:guide>
        <p15:guide id="16" pos="379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6" name="Picture 5" descr="A close up of a sign&#10;&#10;Description automatically generated">
            <a:extLst>
              <a:ext uri="{FF2B5EF4-FFF2-40B4-BE49-F238E27FC236}">
                <a16:creationId xmlns:a16="http://schemas.microsoft.com/office/drawing/2014/main" id="{EF6EF916-92D7-B547-B155-482438CDB634}"/>
              </a:ext>
            </a:extLst>
          </p:cNvPr>
          <p:cNvPicPr>
            <a:picLocks noChangeAspect="1"/>
          </p:cNvPicPr>
          <p:nvPr userDrawn="1"/>
        </p:nvPicPr>
        <p:blipFill>
          <a:blip r:embed="rId27">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854219884"/>
      </p:ext>
    </p:extLst>
  </p:cSld>
  <p:clrMap bg1="lt1" tx1="dk1" bg2="lt2" tx2="dk2" accent1="accent1" accent2="accent2" accent3="accent3" accent4="accent4" accent5="accent5" accent6="accent6" hlink="hlink" folHlink="folHlink"/>
  <p:sldLayoutIdLst>
    <p:sldLayoutId id="2147485033" r:id="rId1"/>
    <p:sldLayoutId id="2147485034" r:id="rId2"/>
    <p:sldLayoutId id="2147485035" r:id="rId3"/>
    <p:sldLayoutId id="2147485036" r:id="rId4"/>
    <p:sldLayoutId id="2147485037" r:id="rId5"/>
    <p:sldLayoutId id="2147485038" r:id="rId6"/>
    <p:sldLayoutId id="2147485039" r:id="rId7"/>
    <p:sldLayoutId id="2147485040" r:id="rId8"/>
    <p:sldLayoutId id="2147485041" r:id="rId9"/>
    <p:sldLayoutId id="2147485042" r:id="rId10"/>
    <p:sldLayoutId id="2147485043" r:id="rId11"/>
    <p:sldLayoutId id="2147485044" r:id="rId12"/>
    <p:sldLayoutId id="2147485045" r:id="rId13"/>
    <p:sldLayoutId id="2147485046" r:id="rId14"/>
    <p:sldLayoutId id="2147485047" r:id="rId15"/>
    <p:sldLayoutId id="2147485048" r:id="rId16"/>
    <p:sldLayoutId id="2147485049" r:id="rId17"/>
    <p:sldLayoutId id="2147485050" r:id="rId18"/>
    <p:sldLayoutId id="2147485051" r:id="rId19"/>
    <p:sldLayoutId id="2147485052" r:id="rId20"/>
    <p:sldLayoutId id="2147485053" r:id="rId21"/>
    <p:sldLayoutId id="2147485054" r:id="rId22"/>
    <p:sldLayoutId id="2147485055" r:id="rId23"/>
    <p:sldLayoutId id="2147485056" r:id="rId24"/>
    <p:sldLayoutId id="2147485057"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98979" y="6137487"/>
            <a:ext cx="2362449" cy="557538"/>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2668898168"/>
      </p:ext>
    </p:extLst>
  </p:cSld>
  <p:clrMap bg1="lt1" tx1="dk1" bg2="lt2" tx2="dk2" accent1="accent1" accent2="accent2" accent3="accent3" accent4="accent4" accent5="accent5" accent6="accent6" hlink="hlink" folHlink="folHlink"/>
  <p:sldLayoutIdLst>
    <p:sldLayoutId id="2147485059" r:id="rId1"/>
    <p:sldLayoutId id="2147485060" r:id="rId2"/>
    <p:sldLayoutId id="2147485061" r:id="rId3"/>
    <p:sldLayoutId id="2147485062" r:id="rId4"/>
    <p:sldLayoutId id="2147485063" r:id="rId5"/>
    <p:sldLayoutId id="2147485064" r:id="rId6"/>
    <p:sldLayoutId id="2147485065" r:id="rId7"/>
    <p:sldLayoutId id="2147485066" r:id="rId8"/>
    <p:sldLayoutId id="2147485067" r:id="rId9"/>
    <p:sldLayoutId id="2147485068" r:id="rId10"/>
    <p:sldLayoutId id="2147485069" r:id="rId11"/>
    <p:sldLayoutId id="2147485070" r:id="rId12"/>
    <p:sldLayoutId id="2147485071" r:id="rId13"/>
    <p:sldLayoutId id="2147485072" r:id="rId14"/>
    <p:sldLayoutId id="2147485073" r:id="rId15"/>
    <p:sldLayoutId id="2147485074" r:id="rId16"/>
    <p:sldLayoutId id="2147485075" r:id="rId17"/>
    <p:sldLayoutId id="2147485076" r:id="rId18"/>
    <p:sldLayoutId id="2147485077" r:id="rId19"/>
    <p:sldLayoutId id="2147485078" r:id="rId20"/>
    <p:sldLayoutId id="2147485079" r:id="rId21"/>
    <p:sldLayoutId id="2147485080" r:id="rId22"/>
    <p:sldLayoutId id="2147485081" r:id="rId23"/>
    <p:sldLayoutId id="2147485082" r:id="rId24"/>
    <p:sldLayoutId id="2147485083"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7.xml"/></Relationships>
</file>

<file path=ppt/slides/_rels/slide100.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303.xml"/></Relationships>
</file>

<file path=ppt/slides/_rels/slide101.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305.xml"/></Relationships>
</file>

<file path=ppt/slides/_rels/slide102.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image" Target="../media/image149.png"/><Relationship Id="rId1" Type="http://schemas.openxmlformats.org/officeDocument/2006/relationships/slideLayout" Target="../slideLayouts/slideLayout301.xml"/></Relationships>
</file>

<file path=ppt/slides/_rels/slide103.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300.xml"/></Relationships>
</file>

<file path=ppt/slides/_rels/slide104.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slideLayout" Target="../slideLayouts/slideLayout301.xml"/></Relationships>
</file>

<file path=ppt/slides/_rels/slide105.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301.xml"/></Relationships>
</file>

<file path=ppt/slides/_rels/slide106.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301.xml"/></Relationships>
</file>

<file path=ppt/slides/_rels/slide107.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image" Target="../media/image157.png"/><Relationship Id="rId1" Type="http://schemas.openxmlformats.org/officeDocument/2006/relationships/slideLayout" Target="../slideLayouts/slideLayout301.xml"/><Relationship Id="rId4" Type="http://schemas.openxmlformats.org/officeDocument/2006/relationships/image" Target="../media/image159.png"/></Relationships>
</file>

<file path=ppt/slides/_rels/slide108.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image" Target="../media/image160.png"/><Relationship Id="rId1" Type="http://schemas.openxmlformats.org/officeDocument/2006/relationships/slideLayout" Target="../slideLayouts/slideLayout301.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300.xml"/></Relationships>
</file>

<file path=ppt/slides/_rels/slide1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68.png"/><Relationship Id="rId4" Type="http://schemas.openxmlformats.org/officeDocument/2006/relationships/image" Target="../media/image67.png"/></Relationships>
</file>

<file path=ppt/slides/_rels/slide110.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301.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08.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08.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08.xml"/></Relationships>
</file>

<file path=ppt/slides/_rels/slide114.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32.xml"/><Relationship Id="rId1" Type="http://schemas.openxmlformats.org/officeDocument/2006/relationships/slideLayout" Target="../slideLayouts/slideLayout308.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308.xml"/></Relationships>
</file>

<file path=ppt/slides/_rels/slide116.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300.xml"/></Relationships>
</file>

<file path=ppt/slides/_rels/slide117.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300.xml"/></Relationships>
</file>

<file path=ppt/slides/_rels/slide118.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33.xml"/><Relationship Id="rId1" Type="http://schemas.openxmlformats.org/officeDocument/2006/relationships/slideLayout" Target="../slideLayouts/slideLayout314.xml"/><Relationship Id="rId4" Type="http://schemas.openxmlformats.org/officeDocument/2006/relationships/image" Target="../media/image167.png"/></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300.xml"/></Relationships>
</file>

<file path=ppt/slides/_rels/slide1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6.xml"/><Relationship Id="rId1" Type="http://schemas.openxmlformats.org/officeDocument/2006/relationships/slideLayout" Target="../slideLayouts/slideLayout117.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34.xml"/><Relationship Id="rId1" Type="http://schemas.openxmlformats.org/officeDocument/2006/relationships/slideLayout" Target="../slideLayouts/slideLayout327.xml"/><Relationship Id="rId4" Type="http://schemas.openxmlformats.org/officeDocument/2006/relationships/image" Target="../media/image169.png"/></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328.xml"/></Relationships>
</file>

<file path=ppt/slides/_rels/slide126.xml.rels><?xml version="1.0" encoding="UTF-8" standalone="yes"?>
<Relationships xmlns="http://schemas.openxmlformats.org/package/2006/relationships"><Relationship Id="rId3" Type="http://schemas.microsoft.com/office/2007/relationships/hdphoto" Target="../media/hdphoto31.wdp"/><Relationship Id="rId2" Type="http://schemas.openxmlformats.org/officeDocument/2006/relationships/image" Target="../media/image170.png"/><Relationship Id="rId1" Type="http://schemas.openxmlformats.org/officeDocument/2006/relationships/slideLayout" Target="../slideLayouts/slideLayout328.xml"/><Relationship Id="rId4" Type="http://schemas.openxmlformats.org/officeDocument/2006/relationships/image" Target="../media/image171.png"/></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28.xml"/></Relationships>
</file>

<file path=ppt/slides/_rels/slide128.xml.rels><?xml version="1.0" encoding="UTF-8" standalone="yes"?>
<Relationships xmlns="http://schemas.openxmlformats.org/package/2006/relationships"><Relationship Id="rId3" Type="http://schemas.microsoft.com/office/2007/relationships/hdphoto" Target="../media/hdphoto32.wdp"/><Relationship Id="rId2" Type="http://schemas.openxmlformats.org/officeDocument/2006/relationships/image" Target="../media/image172.png"/><Relationship Id="rId1" Type="http://schemas.openxmlformats.org/officeDocument/2006/relationships/slideLayout" Target="../slideLayouts/slideLayout328.xml"/><Relationship Id="rId6" Type="http://schemas.microsoft.com/office/2007/relationships/hdphoto" Target="../media/hdphoto33.wdp"/><Relationship Id="rId5" Type="http://schemas.openxmlformats.org/officeDocument/2006/relationships/image" Target="../media/image174.png"/><Relationship Id="rId4" Type="http://schemas.openxmlformats.org/officeDocument/2006/relationships/image" Target="../media/image173.png"/></Relationships>
</file>

<file path=ppt/slides/_rels/slide129.xml.rels><?xml version="1.0" encoding="UTF-8" standalone="yes"?>
<Relationships xmlns="http://schemas.openxmlformats.org/package/2006/relationships"><Relationship Id="rId8" Type="http://schemas.openxmlformats.org/officeDocument/2006/relationships/image" Target="../media/image180.jpeg"/><Relationship Id="rId3" Type="http://schemas.openxmlformats.org/officeDocument/2006/relationships/image" Target="../media/image176.emf"/><Relationship Id="rId7" Type="http://schemas.microsoft.com/office/2007/relationships/hdphoto" Target="../media/hdphoto34.wdp"/><Relationship Id="rId2" Type="http://schemas.openxmlformats.org/officeDocument/2006/relationships/image" Target="../media/image175.png"/><Relationship Id="rId1" Type="http://schemas.openxmlformats.org/officeDocument/2006/relationships/slideLayout" Target="../slideLayouts/slideLayout328.xml"/><Relationship Id="rId6" Type="http://schemas.openxmlformats.org/officeDocument/2006/relationships/image" Target="../media/image179.png"/><Relationship Id="rId5" Type="http://schemas.openxmlformats.org/officeDocument/2006/relationships/image" Target="../media/image178.png"/><Relationship Id="rId4" Type="http://schemas.openxmlformats.org/officeDocument/2006/relationships/image" Target="../media/image177.emf"/><Relationship Id="rId9" Type="http://schemas.openxmlformats.org/officeDocument/2006/relationships/image" Target="../media/image173.png"/></Relationships>
</file>

<file path=ppt/slides/_rels/slide1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3" Type="http://schemas.microsoft.com/office/2007/relationships/hdphoto" Target="../media/hdphoto35.wdp"/><Relationship Id="rId7" Type="http://schemas.openxmlformats.org/officeDocument/2006/relationships/image" Target="../media/image173.png"/><Relationship Id="rId2" Type="http://schemas.openxmlformats.org/officeDocument/2006/relationships/image" Target="../media/image181.png"/><Relationship Id="rId1" Type="http://schemas.openxmlformats.org/officeDocument/2006/relationships/slideLayout" Target="../slideLayouts/slideLayout328.xml"/><Relationship Id="rId6" Type="http://schemas.openxmlformats.org/officeDocument/2006/relationships/image" Target="../media/image183.png"/><Relationship Id="rId5" Type="http://schemas.microsoft.com/office/2007/relationships/hdphoto" Target="../media/hdphoto36.wdp"/><Relationship Id="rId4" Type="http://schemas.openxmlformats.org/officeDocument/2006/relationships/image" Target="../media/image182.png"/></Relationships>
</file>

<file path=ppt/slides/_rels/slide131.xml.rels><?xml version="1.0" encoding="UTF-8" standalone="yes"?>
<Relationships xmlns="http://schemas.openxmlformats.org/package/2006/relationships"><Relationship Id="rId3" Type="http://schemas.openxmlformats.org/officeDocument/2006/relationships/image" Target="../media/image185.emf"/><Relationship Id="rId2" Type="http://schemas.openxmlformats.org/officeDocument/2006/relationships/image" Target="../media/image184.png"/><Relationship Id="rId1" Type="http://schemas.openxmlformats.org/officeDocument/2006/relationships/slideLayout" Target="../slideLayouts/slideLayout328.xml"/></Relationships>
</file>

<file path=ppt/slides/_rels/slide132.xml.rels><?xml version="1.0" encoding="UTF-8" standalone="yes"?>
<Relationships xmlns="http://schemas.openxmlformats.org/package/2006/relationships"><Relationship Id="rId3" Type="http://schemas.microsoft.com/office/2007/relationships/hdphoto" Target="../media/hdphoto37.wdp"/><Relationship Id="rId2" Type="http://schemas.openxmlformats.org/officeDocument/2006/relationships/image" Target="../media/image186.png"/><Relationship Id="rId1" Type="http://schemas.openxmlformats.org/officeDocument/2006/relationships/slideLayout" Target="../slideLayouts/slideLayout328.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328.xml"/></Relationships>
</file>

<file path=ppt/slides/_rels/slide134.xml.rels><?xml version="1.0" encoding="UTF-8" standalone="yes"?>
<Relationships xmlns="http://schemas.openxmlformats.org/package/2006/relationships"><Relationship Id="rId3" Type="http://schemas.microsoft.com/office/2007/relationships/hdphoto" Target="../media/hdphoto38.wdp"/><Relationship Id="rId2" Type="http://schemas.openxmlformats.org/officeDocument/2006/relationships/image" Target="../media/image187.png"/><Relationship Id="rId1" Type="http://schemas.openxmlformats.org/officeDocument/2006/relationships/slideLayout" Target="../slideLayouts/slideLayout328.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6.xml"/><Relationship Id="rId1" Type="http://schemas.openxmlformats.org/officeDocument/2006/relationships/tags" Target="../tags/tag22.xml"/></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6.xml"/><Relationship Id="rId1" Type="http://schemas.openxmlformats.org/officeDocument/2006/relationships/tags" Target="../tags/tag23.xml"/></Relationships>
</file>

<file path=ppt/slides/_rels/slide1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8.xml"/><Relationship Id="rId1" Type="http://schemas.openxmlformats.org/officeDocument/2006/relationships/slideLayout" Target="../slideLayouts/slideLayout202.xml"/></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6.xml"/><Relationship Id="rId1" Type="http://schemas.openxmlformats.org/officeDocument/2006/relationships/tags" Target="../tags/tag24.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2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0.xml"/><Relationship Id="rId1" Type="http://schemas.openxmlformats.org/officeDocument/2006/relationships/slideLayout" Target="../slideLayouts/slideLayout338.xml"/></Relationships>
</file>

<file path=ppt/slides/_rels/slide2.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notesSlide" Target="../notesSlides/notesSlide2.xml"/><Relationship Id="rId7" Type="http://schemas.openxmlformats.org/officeDocument/2006/relationships/image" Target="../media/image64.png"/><Relationship Id="rId2" Type="http://schemas.openxmlformats.org/officeDocument/2006/relationships/slideLayout" Target="../slideLayouts/slideLayout201.xml"/><Relationship Id="rId1" Type="http://schemas.openxmlformats.org/officeDocument/2006/relationships/tags" Target="../tags/tag15.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3.png"/><Relationship Id="rId1" Type="http://schemas.openxmlformats.org/officeDocument/2006/relationships/slideLayout" Target="../slideLayouts/slideLayout362.xml"/></Relationships>
</file>

<file path=ppt/slides/_rels/slide2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339.xml"/><Relationship Id="rId4" Type="http://schemas.microsoft.com/office/2007/relationships/hdphoto" Target="../media/hdphoto3.wdp"/></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3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39.xml"/></Relationships>
</file>

<file path=ppt/slides/_rels/slide2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1.xml"/><Relationship Id="rId1" Type="http://schemas.openxmlformats.org/officeDocument/2006/relationships/slideLayout" Target="../slideLayouts/slideLayout376.xml"/><Relationship Id="rId5" Type="http://schemas.openxmlformats.org/officeDocument/2006/relationships/image" Target="../media/image78.jpeg"/><Relationship Id="rId4" Type="http://schemas.openxmlformats.org/officeDocument/2006/relationships/image" Target="../media/image77.png"/></Relationships>
</file>

<file path=ppt/slides/_rels/slide25.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image" Target="../media/image79.png"/><Relationship Id="rId7" Type="http://schemas.openxmlformats.org/officeDocument/2006/relationships/image" Target="../media/image81.png"/><Relationship Id="rId2" Type="http://schemas.openxmlformats.org/officeDocument/2006/relationships/notesSlide" Target="../notesSlides/notesSlide12.xml"/><Relationship Id="rId1" Type="http://schemas.openxmlformats.org/officeDocument/2006/relationships/slideLayout" Target="../slideLayouts/slideLayout378.xml"/><Relationship Id="rId6" Type="http://schemas.microsoft.com/office/2007/relationships/hdphoto" Target="../media/hdphoto5.wdp"/><Relationship Id="rId5" Type="http://schemas.openxmlformats.org/officeDocument/2006/relationships/image" Target="../media/image80.png"/><Relationship Id="rId4" Type="http://schemas.microsoft.com/office/2007/relationships/hdphoto" Target="../media/hdphoto4.wdp"/></Relationships>
</file>

<file path=ppt/slides/_rels/slide26.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339.xml"/></Relationships>
</file>

<file path=ppt/slides/_rels/slide27.xml.rels><?xml version="1.0" encoding="UTF-8" standalone="yes"?>
<Relationships xmlns="http://schemas.openxmlformats.org/package/2006/relationships"><Relationship Id="rId3" Type="http://schemas.openxmlformats.org/officeDocument/2006/relationships/image" Target="../media/image83.svg"/><Relationship Id="rId2" Type="http://schemas.openxmlformats.org/officeDocument/2006/relationships/notesSlide" Target="../notesSlides/notesSlide13.xml"/><Relationship Id="rId1" Type="http://schemas.openxmlformats.org/officeDocument/2006/relationships/slideLayout" Target="../slideLayouts/slideLayout393.xml"/><Relationship Id="rId5" Type="http://schemas.openxmlformats.org/officeDocument/2006/relationships/image" Target="../media/image85.svg"/><Relationship Id="rId4" Type="http://schemas.openxmlformats.org/officeDocument/2006/relationships/image" Target="../media/image84.svg"/></Relationships>
</file>

<file path=ppt/slides/_rels/slide2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4.xml"/><Relationship Id="rId1" Type="http://schemas.openxmlformats.org/officeDocument/2006/relationships/slideLayout" Target="../slideLayouts/slideLayout393.xml"/><Relationship Id="rId4" Type="http://schemas.microsoft.com/office/2007/relationships/hdphoto" Target="../media/hdphoto7.wdp"/></Relationships>
</file>

<file path=ppt/slides/_rels/slide2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387.xml"/><Relationship Id="rId4" Type="http://schemas.openxmlformats.org/officeDocument/2006/relationships/chart" Target="../charts/chart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01.xml"/><Relationship Id="rId1" Type="http://schemas.openxmlformats.org/officeDocument/2006/relationships/tags" Target="../tags/tag16.xml"/></Relationships>
</file>

<file path=ppt/slides/_rels/slide3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6.xml"/><Relationship Id="rId1" Type="http://schemas.openxmlformats.org/officeDocument/2006/relationships/slideLayout" Target="../slideLayouts/slideLayout393.xml"/><Relationship Id="rId4" Type="http://schemas.openxmlformats.org/officeDocument/2006/relationships/image" Target="../media/image88.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93.xml"/></Relationships>
</file>

<file path=ppt/slides/_rels/slide32.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notesSlide" Target="../notesSlides/notesSlide18.xml"/><Relationship Id="rId1" Type="http://schemas.openxmlformats.org/officeDocument/2006/relationships/slideLayout" Target="../slideLayouts/slideLayout393.xml"/><Relationship Id="rId4" Type="http://schemas.openxmlformats.org/officeDocument/2006/relationships/image" Target="../media/image90.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86.xml"/></Relationships>
</file>

<file path=ppt/slides/_rels/slide3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9.xml"/><Relationship Id="rId1" Type="http://schemas.openxmlformats.org/officeDocument/2006/relationships/slideLayout" Target="../slideLayouts/slideLayout39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83.xml"/></Relationships>
</file>

<file path=ppt/slides/_rels/slide3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1.xml"/><Relationship Id="rId1" Type="http://schemas.openxmlformats.org/officeDocument/2006/relationships/slideLayout" Target="../slideLayouts/slideLayout383.xml"/><Relationship Id="rId6" Type="http://schemas.microsoft.com/office/2007/relationships/hdphoto" Target="../media/hdphoto9.wdp"/><Relationship Id="rId5" Type="http://schemas.openxmlformats.org/officeDocument/2006/relationships/image" Target="../media/image93.png"/><Relationship Id="rId4" Type="http://schemas.microsoft.com/office/2007/relationships/hdphoto" Target="../media/hdphoto8.wdp"/></Relationships>
</file>

<file path=ppt/slides/_rels/slide3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395.xml"/></Relationships>
</file>

<file path=ppt/slides/_rels/slide38.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96.png"/><Relationship Id="rId1" Type="http://schemas.openxmlformats.org/officeDocument/2006/relationships/slideLayout" Target="../slideLayouts/slideLayout383.xml"/><Relationship Id="rId6" Type="http://schemas.openxmlformats.org/officeDocument/2006/relationships/image" Target="../media/image98.png"/><Relationship Id="rId5" Type="http://schemas.microsoft.com/office/2007/relationships/hdphoto" Target="../media/hdphoto11.wdp"/><Relationship Id="rId4" Type="http://schemas.openxmlformats.org/officeDocument/2006/relationships/image" Target="../media/image97.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83.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01.xml"/><Relationship Id="rId1" Type="http://schemas.openxmlformats.org/officeDocument/2006/relationships/tags" Target="../tags/tag1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0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20.xml"/></Relationships>
</file>

<file path=ppt/slides/_rels/slide47.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226.xml"/></Relationships>
</file>

<file path=ppt/slides/_rels/slide48.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100.png"/><Relationship Id="rId1" Type="http://schemas.openxmlformats.org/officeDocument/2006/relationships/slideLayout" Target="../slideLayouts/slideLayout221.xml"/></Relationships>
</file>

<file path=ppt/slides/_rels/slide49.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221.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01.xml"/><Relationship Id="rId1" Type="http://schemas.openxmlformats.org/officeDocument/2006/relationships/tags" Target="../tags/tag18.xml"/></Relationships>
</file>

<file path=ppt/slides/_rels/slide50.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221.xml"/></Relationships>
</file>

<file path=ppt/slides/_rels/slide51.xml.rels><?xml version="1.0" encoding="UTF-8" standalone="yes"?>
<Relationships xmlns="http://schemas.openxmlformats.org/package/2006/relationships"><Relationship Id="rId3" Type="http://schemas.microsoft.com/office/2007/relationships/hdphoto" Target="../media/hdphoto13.wdp"/><Relationship Id="rId2" Type="http://schemas.openxmlformats.org/officeDocument/2006/relationships/image" Target="../media/image103.png"/><Relationship Id="rId1" Type="http://schemas.openxmlformats.org/officeDocument/2006/relationships/slideLayout" Target="../slideLayouts/slideLayout226.xml"/></Relationships>
</file>

<file path=ppt/slides/_rels/slide52.xml.rels><?xml version="1.0" encoding="UTF-8" standalone="yes"?>
<Relationships xmlns="http://schemas.openxmlformats.org/package/2006/relationships"><Relationship Id="rId3" Type="http://schemas.microsoft.com/office/2007/relationships/hdphoto" Target="../media/hdphoto14.wdp"/><Relationship Id="rId2" Type="http://schemas.openxmlformats.org/officeDocument/2006/relationships/image" Target="../media/image104.png"/><Relationship Id="rId1" Type="http://schemas.openxmlformats.org/officeDocument/2006/relationships/slideLayout" Target="../slideLayouts/slideLayout22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33.xml"/></Relationships>
</file>

<file path=ppt/slides/_rels/slide54.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05.png"/><Relationship Id="rId1" Type="http://schemas.openxmlformats.org/officeDocument/2006/relationships/slideLayout" Target="../slideLayouts/slideLayout22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33.xml"/></Relationships>
</file>

<file path=ppt/slides/_rels/slide5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2.xml"/><Relationship Id="rId1" Type="http://schemas.openxmlformats.org/officeDocument/2006/relationships/slideLayout" Target="../slideLayouts/slideLayout239.xml"/><Relationship Id="rId4" Type="http://schemas.openxmlformats.org/officeDocument/2006/relationships/image" Target="../media/image107.png"/></Relationships>
</file>

<file path=ppt/slides/_rels/slide57.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3.xml"/><Relationship Id="rId1" Type="http://schemas.openxmlformats.org/officeDocument/2006/relationships/slideLayout" Target="../slideLayouts/slideLayout239.xml"/><Relationship Id="rId4" Type="http://schemas.microsoft.com/office/2007/relationships/hdphoto" Target="../media/hdphoto16.wdp"/></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01.xml"/><Relationship Id="rId1" Type="http://schemas.openxmlformats.org/officeDocument/2006/relationships/tags" Target="../tags/tag19.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61.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113.png"/><Relationship Id="rId2" Type="http://schemas.openxmlformats.org/officeDocument/2006/relationships/notesSlide" Target="../notesSlides/notesSlide24.xml"/><Relationship Id="rId1" Type="http://schemas.openxmlformats.org/officeDocument/2006/relationships/slideLayout" Target="../slideLayouts/slideLayout268.xml"/><Relationship Id="rId6" Type="http://schemas.openxmlformats.org/officeDocument/2006/relationships/diagramColors" Target="../diagrams/colors1.xml"/><Relationship Id="rId11" Type="http://schemas.openxmlformats.org/officeDocument/2006/relationships/image" Target="../media/image112.png"/><Relationship Id="rId5" Type="http://schemas.openxmlformats.org/officeDocument/2006/relationships/diagramQuickStyle" Target="../diagrams/quickStyle1.xml"/><Relationship Id="rId10" Type="http://schemas.openxmlformats.org/officeDocument/2006/relationships/image" Target="../media/image111.jpg"/><Relationship Id="rId4" Type="http://schemas.openxmlformats.org/officeDocument/2006/relationships/diagramLayout" Target="../diagrams/layout1.xml"/><Relationship Id="rId9" Type="http://schemas.openxmlformats.org/officeDocument/2006/relationships/image" Target="../media/image110.gif"/></Relationships>
</file>

<file path=ppt/slides/_rels/slide6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226.xml"/></Relationships>
</file>

<file path=ppt/slides/_rels/slide63.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226.xml"/></Relationships>
</file>

<file path=ppt/slides/_rels/slide64.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278.xml"/></Relationships>
</file>

<file path=ppt/slides/_rels/slide65.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27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21.xml"/></Relationships>
</file>

<file path=ppt/slides/_rels/slide67.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22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2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01.xml"/><Relationship Id="rId1" Type="http://schemas.openxmlformats.org/officeDocument/2006/relationships/tags" Target="../tags/tag20.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8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9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97.xml"/></Relationships>
</file>

<file path=ppt/slides/_rels/slide7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291.xml"/><Relationship Id="rId6" Type="http://schemas.microsoft.com/office/2007/relationships/hdphoto" Target="../media/hdphoto18.wdp"/><Relationship Id="rId5" Type="http://schemas.openxmlformats.org/officeDocument/2006/relationships/image" Target="../media/image122.png"/><Relationship Id="rId4" Type="http://schemas.microsoft.com/office/2007/relationships/hdphoto" Target="../media/hdphoto17.wdp"/></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7.xml"/></Relationships>
</file>

<file path=ppt/slides/_rels/slide80.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6.xml"/><Relationship Id="rId1" Type="http://schemas.openxmlformats.org/officeDocument/2006/relationships/slideLayout" Target="../slideLayouts/slideLayout283.xml"/><Relationship Id="rId5" Type="http://schemas.openxmlformats.org/officeDocument/2006/relationships/image" Target="../media/image124.png"/><Relationship Id="rId4" Type="http://schemas.microsoft.com/office/2007/relationships/hdphoto" Target="../media/hdphoto19.wdp"/></Relationships>
</file>

<file path=ppt/slides/_rels/slide81.xml.rels><?xml version="1.0" encoding="UTF-8" standalone="yes"?>
<Relationships xmlns="http://schemas.openxmlformats.org/package/2006/relationships"><Relationship Id="rId3" Type="http://schemas.microsoft.com/office/2007/relationships/hdphoto" Target="../media/hdphoto20.wdp"/><Relationship Id="rId2" Type="http://schemas.openxmlformats.org/officeDocument/2006/relationships/image" Target="../media/image125.png"/><Relationship Id="rId1" Type="http://schemas.openxmlformats.org/officeDocument/2006/relationships/slideLayout" Target="../slideLayouts/slideLayout291.xml"/><Relationship Id="rId6" Type="http://schemas.microsoft.com/office/2007/relationships/hdphoto" Target="../media/hdphoto21.wdp"/><Relationship Id="rId5" Type="http://schemas.openxmlformats.org/officeDocument/2006/relationships/image" Target="../media/image127.png"/><Relationship Id="rId4" Type="http://schemas.openxmlformats.org/officeDocument/2006/relationships/image" Target="../media/image126.png"/></Relationships>
</file>

<file path=ppt/slides/_rels/slide82.xml.rels><?xml version="1.0" encoding="UTF-8" standalone="yes"?>
<Relationships xmlns="http://schemas.openxmlformats.org/package/2006/relationships"><Relationship Id="rId8" Type="http://schemas.openxmlformats.org/officeDocument/2006/relationships/image" Target="../media/image131.png"/><Relationship Id="rId3" Type="http://schemas.microsoft.com/office/2007/relationships/hdphoto" Target="../media/hdphoto22.wdp"/><Relationship Id="rId7" Type="http://schemas.microsoft.com/office/2007/relationships/hdphoto" Target="../media/hdphoto24.wdp"/><Relationship Id="rId2" Type="http://schemas.openxmlformats.org/officeDocument/2006/relationships/image" Target="../media/image128.png"/><Relationship Id="rId1" Type="http://schemas.openxmlformats.org/officeDocument/2006/relationships/slideLayout" Target="../slideLayouts/slideLayout298.xml"/><Relationship Id="rId6" Type="http://schemas.openxmlformats.org/officeDocument/2006/relationships/image" Target="../media/image130.png"/><Relationship Id="rId5" Type="http://schemas.microsoft.com/office/2007/relationships/hdphoto" Target="../media/hdphoto23.wdp"/><Relationship Id="rId4" Type="http://schemas.openxmlformats.org/officeDocument/2006/relationships/image" Target="../media/image129.png"/><Relationship Id="rId9" Type="http://schemas.microsoft.com/office/2007/relationships/hdphoto" Target="../media/hdphoto25.wdp"/></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84.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93.xml"/></Relationships>
</file>

<file path=ppt/slides/_rels/slide85.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27.xml"/><Relationship Id="rId1" Type="http://schemas.openxmlformats.org/officeDocument/2006/relationships/slideLayout" Target="../slideLayouts/slideLayout285.xml"/><Relationship Id="rId4" Type="http://schemas.microsoft.com/office/2007/relationships/hdphoto" Target="../media/hdphoto26.wdp"/></Relationships>
</file>

<file path=ppt/slides/_rels/slide86.xml.rels><?xml version="1.0" encoding="UTF-8" standalone="yes"?>
<Relationships xmlns="http://schemas.openxmlformats.org/package/2006/relationships"><Relationship Id="rId3" Type="http://schemas.microsoft.com/office/2007/relationships/hdphoto" Target="../media/hdphoto27.wdp"/><Relationship Id="rId2" Type="http://schemas.openxmlformats.org/officeDocument/2006/relationships/image" Target="../media/image133.png"/><Relationship Id="rId1" Type="http://schemas.openxmlformats.org/officeDocument/2006/relationships/slideLayout" Target="../slideLayouts/slideLayout283.xml"/><Relationship Id="rId5" Type="http://schemas.microsoft.com/office/2007/relationships/hdphoto" Target="../media/hdphoto28.wdp"/><Relationship Id="rId4" Type="http://schemas.openxmlformats.org/officeDocument/2006/relationships/image" Target="../media/image134.png"/></Relationships>
</file>

<file path=ppt/slides/_rels/slide87.xml.rels><?xml version="1.0" encoding="UTF-8" standalone="yes"?>
<Relationships xmlns="http://schemas.openxmlformats.org/package/2006/relationships"><Relationship Id="rId3" Type="http://schemas.microsoft.com/office/2007/relationships/hdphoto" Target="../media/hdphoto29.wdp"/><Relationship Id="rId2" Type="http://schemas.openxmlformats.org/officeDocument/2006/relationships/image" Target="../media/image135.png"/><Relationship Id="rId1" Type="http://schemas.openxmlformats.org/officeDocument/2006/relationships/slideLayout" Target="../slideLayouts/slideLayout283.xml"/></Relationships>
</file>

<file path=ppt/slides/_rels/slide88.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28.xml"/><Relationship Id="rId1" Type="http://schemas.openxmlformats.org/officeDocument/2006/relationships/slideLayout" Target="../slideLayouts/slideLayout283.xml"/><Relationship Id="rId4" Type="http://schemas.microsoft.com/office/2007/relationships/hdphoto" Target="../media/hdphoto30.wdp"/></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7.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99.xml"/></Relationships>
</file>

<file path=ppt/slides/_rels/slide94.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304.xml"/></Relationships>
</file>

<file path=ppt/slides/_rels/slide95.xml.rels><?xml version="1.0" encoding="UTF-8" standalone="yes"?>
<Relationships xmlns="http://schemas.openxmlformats.org/package/2006/relationships"><Relationship Id="rId2" Type="http://schemas.openxmlformats.org/officeDocument/2006/relationships/image" Target="../media/image138.emf"/><Relationship Id="rId1" Type="http://schemas.openxmlformats.org/officeDocument/2006/relationships/slideLayout" Target="../slideLayouts/slideLayout304.xml"/></Relationships>
</file>

<file path=ppt/slides/_rels/slide96.xml.rels><?xml version="1.0" encoding="UTF-8" standalone="yes"?>
<Relationships xmlns="http://schemas.openxmlformats.org/package/2006/relationships"><Relationship Id="rId3" Type="http://schemas.openxmlformats.org/officeDocument/2006/relationships/image" Target="../media/image140.emf"/><Relationship Id="rId2" Type="http://schemas.openxmlformats.org/officeDocument/2006/relationships/image" Target="../media/image139.emf"/><Relationship Id="rId1" Type="http://schemas.openxmlformats.org/officeDocument/2006/relationships/slideLayout" Target="../slideLayouts/slideLayout300.xml"/></Relationships>
</file>

<file path=ppt/slides/_rels/slide97.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Layout" Target="../slideLayouts/slideLayout303.xml"/><Relationship Id="rId4" Type="http://schemas.openxmlformats.org/officeDocument/2006/relationships/image" Target="../media/image143.png"/></Relationships>
</file>

<file path=ppt/slides/_rels/slide98.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303.xml"/></Relationships>
</file>

<file path=ppt/slides/_rels/slide99.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30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978001-564F-29D8-E25D-719DB28D6ADC}"/>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27897F4B-33B1-6D65-476C-76D128B91B2B}"/>
              </a:ext>
            </a:extLst>
          </p:cNvPr>
          <p:cNvSpPr>
            <a:spLocks noGrp="1" noChangeArrowheads="1"/>
          </p:cNvSpPr>
          <p:nvPr>
            <p:ph type="title"/>
          </p:nvPr>
        </p:nvSpPr>
        <p:spPr>
          <a:xfrm>
            <a:off x="-26623" y="322888"/>
            <a:ext cx="12192000" cy="1143000"/>
          </a:xfrm>
        </p:spPr>
        <p:txBody>
          <a:bodyPr wrap="square" anchor="ctr">
            <a:noAutofit/>
          </a:bodyPr>
          <a:lstStyle/>
          <a:p>
            <a:r>
              <a:rPr lang="en-US" dirty="0"/>
              <a:t>What Clinicians Want to Know: Addressing Community </a:t>
            </a:r>
            <a:br>
              <a:rPr lang="en-US" dirty="0"/>
            </a:br>
            <a:r>
              <a:rPr lang="en-US" dirty="0"/>
              <a:t>Oncologists’ Questions About the Roles of CAR T-Cell Therapy and </a:t>
            </a:r>
            <a:br>
              <a:rPr lang="en-US" dirty="0"/>
            </a:br>
            <a:r>
              <a:rPr lang="en-US" dirty="0"/>
              <a:t>Bispecific Antibodies in the Management of Non-Hodgkin Lymphoma</a:t>
            </a:r>
          </a:p>
        </p:txBody>
      </p:sp>
      <p:sp>
        <p:nvSpPr>
          <p:cNvPr id="6" name="Text Box 6">
            <a:extLst>
              <a:ext uri="{FF2B5EF4-FFF2-40B4-BE49-F238E27FC236}">
                <a16:creationId xmlns:a16="http://schemas.microsoft.com/office/drawing/2014/main" id="{38DBDC66-76F9-1768-27B2-DCE37DB2F739}"/>
              </a:ext>
            </a:extLst>
          </p:cNvPr>
          <p:cNvSpPr txBox="1">
            <a:spLocks noChangeArrowheads="1"/>
          </p:cNvSpPr>
          <p:nvPr/>
        </p:nvSpPr>
        <p:spPr bwMode="auto">
          <a:xfrm>
            <a:off x="0" y="1781503"/>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unday, May 31,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2" name="Text Box 3">
            <a:extLst>
              <a:ext uri="{FF2B5EF4-FFF2-40B4-BE49-F238E27FC236}">
                <a16:creationId xmlns:a16="http://schemas.microsoft.com/office/drawing/2014/main" id="{FE1751C7-0E25-D46F-D874-26865235999B}"/>
              </a:ext>
            </a:extLst>
          </p:cNvPr>
          <p:cNvSpPr txBox="1">
            <a:spLocks noChangeArrowheads="1"/>
          </p:cNvSpPr>
          <p:nvPr/>
        </p:nvSpPr>
        <p:spPr bwMode="auto">
          <a:xfrm>
            <a:off x="0" y="5805264"/>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eremy S Abramson, MD, </a:t>
            </a: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MSc</a:t>
            </a:r>
            <a:endPar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3" name="Text Box 7">
            <a:extLst>
              <a:ext uri="{FF2B5EF4-FFF2-40B4-BE49-F238E27FC236}">
                <a16:creationId xmlns:a16="http://schemas.microsoft.com/office/drawing/2014/main" id="{E82C4494-42C5-B1E4-FC4E-849A45303BBB}"/>
              </a:ext>
            </a:extLst>
          </p:cNvPr>
          <p:cNvSpPr txBox="1">
            <a:spLocks noChangeArrowheads="1"/>
          </p:cNvSpPr>
          <p:nvPr/>
        </p:nvSpPr>
        <p:spPr bwMode="auto">
          <a:xfrm>
            <a:off x="4647392" y="3066633"/>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99FD6605-0C2F-7B45-18F3-5A30877F581E}"/>
              </a:ext>
            </a:extLst>
          </p:cNvPr>
          <p:cNvSpPr txBox="1">
            <a:spLocks noChangeArrowheads="1"/>
          </p:cNvSpPr>
          <p:nvPr/>
        </p:nvSpPr>
        <p:spPr bwMode="auto">
          <a:xfrm>
            <a:off x="152400" y="3621146"/>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oshua Brody,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anali Kamdar, MD, MBBS</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ycel</a:t>
            </a: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Phillips, MD, FASCO</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ason Westin, MD, MS, FACP, FASCO</a:t>
            </a:r>
            <a:endParaRPr kumimoji="0" lang="en-US" altLang="x-none" sz="3200" b="1" i="1" u="none" strike="noStrike" kern="1200" cap="none" spc="0" normalizeH="0" baseline="0" noProof="0" dirty="0">
              <a:ln>
                <a:noFill/>
              </a:ln>
              <a:solidFill>
                <a:srgbClr val="FF40FF"/>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1124890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4067194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A3C2C0-EB72-745A-86B3-5FCCEF5386F3}"/>
              </a:ext>
            </a:extLst>
          </p:cNvPr>
          <p:cNvSpPr>
            <a:spLocks noGrp="1"/>
          </p:cNvSpPr>
          <p:nvPr>
            <p:ph type="title"/>
          </p:nvPr>
        </p:nvSpPr>
        <p:spPr/>
        <p:txBody>
          <a:bodyPr/>
          <a:lstStyle/>
          <a:p>
            <a:r>
              <a:rPr lang="en-US" dirty="0" err="1"/>
              <a:t>Epcoritamab</a:t>
            </a:r>
            <a:r>
              <a:rPr lang="en-US" dirty="0"/>
              <a:t> Response (R/R FL)</a:t>
            </a:r>
          </a:p>
        </p:txBody>
      </p:sp>
      <p:pic>
        <p:nvPicPr>
          <p:cNvPr id="4" name="Picture 3">
            <a:extLst>
              <a:ext uri="{FF2B5EF4-FFF2-40B4-BE49-F238E27FC236}">
                <a16:creationId xmlns:a16="http://schemas.microsoft.com/office/drawing/2014/main" id="{4066EDAE-E4E8-8603-EF63-2C771068D6B6}"/>
              </a:ext>
            </a:extLst>
          </p:cNvPr>
          <p:cNvPicPr>
            <a:picLocks noChangeAspect="1"/>
          </p:cNvPicPr>
          <p:nvPr/>
        </p:nvPicPr>
        <p:blipFill>
          <a:blip r:embed="rId2"/>
          <a:stretch>
            <a:fillRect/>
          </a:stretch>
        </p:blipFill>
        <p:spPr>
          <a:xfrm>
            <a:off x="1593137" y="1244848"/>
            <a:ext cx="8140147" cy="5222868"/>
          </a:xfrm>
          <a:prstGeom prst="rect">
            <a:avLst/>
          </a:prstGeom>
        </p:spPr>
      </p:pic>
    </p:spTree>
    <p:extLst>
      <p:ext uri="{BB962C8B-B14F-4D97-AF65-F5344CB8AC3E}">
        <p14:creationId xmlns:p14="http://schemas.microsoft.com/office/powerpoint/2010/main" val="25280355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02B9ED7-AA70-2514-C8A9-95F6ACC5D942}"/>
              </a:ext>
            </a:extLst>
          </p:cNvPr>
          <p:cNvPicPr>
            <a:picLocks noChangeAspect="1"/>
          </p:cNvPicPr>
          <p:nvPr/>
        </p:nvPicPr>
        <p:blipFill>
          <a:blip r:embed="rId2"/>
          <a:stretch>
            <a:fillRect/>
          </a:stretch>
        </p:blipFill>
        <p:spPr>
          <a:xfrm>
            <a:off x="1023583" y="1210241"/>
            <a:ext cx="9561054" cy="4923941"/>
          </a:xfrm>
          <a:prstGeom prst="rect">
            <a:avLst/>
          </a:prstGeom>
          <a:noFill/>
        </p:spPr>
      </p:pic>
      <p:sp>
        <p:nvSpPr>
          <p:cNvPr id="12" name="Text Placeholder 2">
            <a:extLst>
              <a:ext uri="{FF2B5EF4-FFF2-40B4-BE49-F238E27FC236}">
                <a16:creationId xmlns:a16="http://schemas.microsoft.com/office/drawing/2014/main" id="{C836593B-6A57-DF38-1A93-D3935EEFBE82}"/>
              </a:ext>
            </a:extLst>
          </p:cNvPr>
          <p:cNvSpPr>
            <a:spLocks noGrp="1"/>
          </p:cNvSpPr>
          <p:nvPr>
            <p:ph type="body" sz="quarter" idx="10"/>
          </p:nvPr>
        </p:nvSpPr>
        <p:spPr>
          <a:xfrm>
            <a:off x="256033" y="6163056"/>
            <a:ext cx="11085039" cy="475488"/>
          </a:xfrm>
        </p:spPr>
        <p:txBody>
          <a:bodyPr/>
          <a:lstStyle/>
          <a:p>
            <a:r>
              <a:rPr lang="en-US" dirty="0"/>
              <a:t>Linton et al. ASH 2023</a:t>
            </a:r>
          </a:p>
        </p:txBody>
      </p:sp>
      <p:sp>
        <p:nvSpPr>
          <p:cNvPr id="11" name="Title 3">
            <a:extLst>
              <a:ext uri="{FF2B5EF4-FFF2-40B4-BE49-F238E27FC236}">
                <a16:creationId xmlns:a16="http://schemas.microsoft.com/office/drawing/2014/main" id="{53EEC041-8130-1CEF-48B5-6C514E9398A3}"/>
              </a:ext>
            </a:extLst>
          </p:cNvPr>
          <p:cNvSpPr>
            <a:spLocks noGrp="1"/>
          </p:cNvSpPr>
          <p:nvPr>
            <p:ph type="title"/>
          </p:nvPr>
        </p:nvSpPr>
        <p:spPr>
          <a:xfrm>
            <a:off x="338607" y="132560"/>
            <a:ext cx="11379200" cy="858040"/>
          </a:xfrm>
        </p:spPr>
        <p:txBody>
          <a:bodyPr/>
          <a:lstStyle/>
          <a:p>
            <a:r>
              <a:rPr lang="en-US" sz="3200" dirty="0" err="1"/>
              <a:t>Epcoritamab</a:t>
            </a:r>
            <a:r>
              <a:rPr lang="en-US" sz="3200" dirty="0"/>
              <a:t> Safety (R/R FL)</a:t>
            </a:r>
          </a:p>
        </p:txBody>
      </p:sp>
      <p:sp>
        <p:nvSpPr>
          <p:cNvPr id="2" name="Rectangle 1">
            <a:extLst>
              <a:ext uri="{FF2B5EF4-FFF2-40B4-BE49-F238E27FC236}">
                <a16:creationId xmlns:a16="http://schemas.microsoft.com/office/drawing/2014/main" id="{52E0AFA1-A84B-2CF2-B327-AA347F920B15}"/>
              </a:ext>
            </a:extLst>
          </p:cNvPr>
          <p:cNvSpPr/>
          <p:nvPr/>
        </p:nvSpPr>
        <p:spPr bwMode="auto">
          <a:xfrm>
            <a:off x="1516380" y="6638544"/>
            <a:ext cx="9210735" cy="219456"/>
          </a:xfrm>
          <a:prstGeom prst="rect">
            <a:avLst/>
          </a:prstGeom>
          <a:solidFill>
            <a:srgbClr val="FFFFF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ＭＳ Ｐゴシック" charset="0"/>
              <a:cs typeface="ＭＳ Ｐゴシック" charset="0"/>
            </a:endParaRPr>
          </a:p>
        </p:txBody>
      </p:sp>
      <p:sp>
        <p:nvSpPr>
          <p:cNvPr id="3" name="Rectangle 2">
            <a:extLst>
              <a:ext uri="{FF2B5EF4-FFF2-40B4-BE49-F238E27FC236}">
                <a16:creationId xmlns:a16="http://schemas.microsoft.com/office/drawing/2014/main" id="{CFC6ECC9-498F-B9DF-766A-41ECB04534F8}"/>
              </a:ext>
            </a:extLst>
          </p:cNvPr>
          <p:cNvSpPr/>
          <p:nvPr/>
        </p:nvSpPr>
        <p:spPr bwMode="auto">
          <a:xfrm>
            <a:off x="2183219" y="1247553"/>
            <a:ext cx="779721" cy="218535"/>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ＭＳ Ｐゴシック" charset="0"/>
              <a:cs typeface="ＭＳ Ｐゴシック" charset="0"/>
            </a:endParaRPr>
          </a:p>
        </p:txBody>
      </p:sp>
    </p:spTree>
    <p:extLst>
      <p:ext uri="{BB962C8B-B14F-4D97-AF65-F5344CB8AC3E}">
        <p14:creationId xmlns:p14="http://schemas.microsoft.com/office/powerpoint/2010/main" val="37414204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4AA7E-E461-465F-8A88-ED0F06F8F2F7}"/>
              </a:ext>
            </a:extLst>
          </p:cNvPr>
          <p:cNvSpPr>
            <a:spLocks noGrp="1"/>
          </p:cNvSpPr>
          <p:nvPr>
            <p:ph type="title"/>
          </p:nvPr>
        </p:nvSpPr>
        <p:spPr/>
        <p:txBody>
          <a:bodyPr/>
          <a:lstStyle/>
          <a:p>
            <a:r>
              <a:rPr lang="en-US" dirty="0"/>
              <a:t>2L FL: AUGMENT</a:t>
            </a:r>
          </a:p>
        </p:txBody>
      </p:sp>
      <p:pic>
        <p:nvPicPr>
          <p:cNvPr id="6" name="Content Placeholder 5">
            <a:extLst>
              <a:ext uri="{FF2B5EF4-FFF2-40B4-BE49-F238E27FC236}">
                <a16:creationId xmlns:a16="http://schemas.microsoft.com/office/drawing/2014/main" id="{E374A6C4-CC57-1C63-277F-0DA345B203B6}"/>
              </a:ext>
            </a:extLst>
          </p:cNvPr>
          <p:cNvPicPr>
            <a:picLocks noGrp="1" noChangeAspect="1"/>
          </p:cNvPicPr>
          <p:nvPr>
            <p:ph sz="half" idx="2"/>
          </p:nvPr>
        </p:nvPicPr>
        <p:blipFill rotWithShape="1">
          <a:blip r:embed="rId2"/>
          <a:srcRect t="3210" r="259" b="4294"/>
          <a:stretch/>
        </p:blipFill>
        <p:spPr>
          <a:xfrm>
            <a:off x="5980233" y="1769573"/>
            <a:ext cx="5554542" cy="4006389"/>
          </a:xfrm>
          <a:prstGeom prst="rect">
            <a:avLst/>
          </a:prstGeom>
        </p:spPr>
      </p:pic>
      <p:pic>
        <p:nvPicPr>
          <p:cNvPr id="9" name="Content Placeholder 8">
            <a:extLst>
              <a:ext uri="{FF2B5EF4-FFF2-40B4-BE49-F238E27FC236}">
                <a16:creationId xmlns:a16="http://schemas.microsoft.com/office/drawing/2014/main" id="{77B6002B-B68F-03AA-F75C-F91E000819D1}"/>
              </a:ext>
            </a:extLst>
          </p:cNvPr>
          <p:cNvPicPr>
            <a:picLocks noGrp="1" noChangeAspect="1"/>
          </p:cNvPicPr>
          <p:nvPr>
            <p:ph sz="half" idx="1"/>
          </p:nvPr>
        </p:nvPicPr>
        <p:blipFill rotWithShape="1">
          <a:blip r:embed="rId3"/>
          <a:srcRect b="2455"/>
          <a:stretch/>
        </p:blipFill>
        <p:spPr>
          <a:xfrm>
            <a:off x="657225" y="1769573"/>
            <a:ext cx="4914900" cy="4187217"/>
          </a:xfrm>
          <a:prstGeom prst="rect">
            <a:avLst/>
          </a:prstGeom>
        </p:spPr>
      </p:pic>
    </p:spTree>
    <p:extLst>
      <p:ext uri="{BB962C8B-B14F-4D97-AF65-F5344CB8AC3E}">
        <p14:creationId xmlns:p14="http://schemas.microsoft.com/office/powerpoint/2010/main" val="23770580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5F3F33-E92D-6C72-7996-8688EEB884BF}"/>
              </a:ext>
            </a:extLst>
          </p:cNvPr>
          <p:cNvSpPr>
            <a:spLocks noGrp="1"/>
          </p:cNvSpPr>
          <p:nvPr>
            <p:ph type="title"/>
          </p:nvPr>
        </p:nvSpPr>
        <p:spPr/>
        <p:txBody>
          <a:bodyPr/>
          <a:lstStyle/>
          <a:p>
            <a:r>
              <a:rPr lang="en-US" dirty="0"/>
              <a:t>EPCORE FL-1</a:t>
            </a:r>
          </a:p>
        </p:txBody>
      </p:sp>
      <p:pic>
        <p:nvPicPr>
          <p:cNvPr id="4" name="Picture 3">
            <a:extLst>
              <a:ext uri="{FF2B5EF4-FFF2-40B4-BE49-F238E27FC236}">
                <a16:creationId xmlns:a16="http://schemas.microsoft.com/office/drawing/2014/main" id="{5C5F39D5-F02E-1868-86C3-3AB39A6E008B}"/>
              </a:ext>
            </a:extLst>
          </p:cNvPr>
          <p:cNvPicPr>
            <a:picLocks noChangeAspect="1"/>
          </p:cNvPicPr>
          <p:nvPr/>
        </p:nvPicPr>
        <p:blipFill>
          <a:blip r:embed="rId2"/>
          <a:stretch>
            <a:fillRect/>
          </a:stretch>
        </p:blipFill>
        <p:spPr>
          <a:xfrm>
            <a:off x="918883" y="1351108"/>
            <a:ext cx="9343912" cy="5254701"/>
          </a:xfrm>
          <a:prstGeom prst="rect">
            <a:avLst/>
          </a:prstGeom>
        </p:spPr>
      </p:pic>
      <p:sp>
        <p:nvSpPr>
          <p:cNvPr id="3" name="Rectangle 2">
            <a:extLst>
              <a:ext uri="{FF2B5EF4-FFF2-40B4-BE49-F238E27FC236}">
                <a16:creationId xmlns:a16="http://schemas.microsoft.com/office/drawing/2014/main" id="{6F7752ED-CD1E-8ED6-0F78-66608E479F80}"/>
              </a:ext>
            </a:extLst>
          </p:cNvPr>
          <p:cNvSpPr/>
          <p:nvPr/>
        </p:nvSpPr>
        <p:spPr bwMode="auto">
          <a:xfrm>
            <a:off x="918883" y="6327228"/>
            <a:ext cx="7941338" cy="278581"/>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ＭＳ Ｐゴシック" charset="0"/>
              <a:cs typeface="ＭＳ Ｐゴシック" charset="0"/>
            </a:endParaRPr>
          </a:p>
        </p:txBody>
      </p:sp>
    </p:spTree>
    <p:extLst>
      <p:ext uri="{BB962C8B-B14F-4D97-AF65-F5344CB8AC3E}">
        <p14:creationId xmlns:p14="http://schemas.microsoft.com/office/powerpoint/2010/main" val="34046758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F12B76-0857-8F30-1039-3230D2A59A72}"/>
              </a:ext>
            </a:extLst>
          </p:cNvPr>
          <p:cNvSpPr>
            <a:spLocks noGrp="1"/>
          </p:cNvSpPr>
          <p:nvPr>
            <p:ph type="title"/>
          </p:nvPr>
        </p:nvSpPr>
        <p:spPr/>
        <p:txBody>
          <a:bodyPr/>
          <a:lstStyle/>
          <a:p>
            <a:r>
              <a:rPr lang="en-US" dirty="0"/>
              <a:t>EPCORE FL-1: Response</a:t>
            </a:r>
          </a:p>
        </p:txBody>
      </p:sp>
      <p:pic>
        <p:nvPicPr>
          <p:cNvPr id="7" name="Content Placeholder 6">
            <a:extLst>
              <a:ext uri="{FF2B5EF4-FFF2-40B4-BE49-F238E27FC236}">
                <a16:creationId xmlns:a16="http://schemas.microsoft.com/office/drawing/2014/main" id="{81AD2BCF-0033-6AA8-CA09-0528A1B8B062}"/>
              </a:ext>
            </a:extLst>
          </p:cNvPr>
          <p:cNvPicPr>
            <a:picLocks noGrp="1" noChangeAspect="1"/>
          </p:cNvPicPr>
          <p:nvPr>
            <p:ph sz="half" idx="1"/>
          </p:nvPr>
        </p:nvPicPr>
        <p:blipFill>
          <a:blip r:embed="rId2"/>
          <a:stretch>
            <a:fillRect/>
          </a:stretch>
        </p:blipFill>
        <p:spPr>
          <a:xfrm>
            <a:off x="253388" y="2251534"/>
            <a:ext cx="5644175" cy="3179135"/>
          </a:xfrm>
          <a:prstGeom prst="rect">
            <a:avLst/>
          </a:prstGeom>
        </p:spPr>
      </p:pic>
      <p:pic>
        <p:nvPicPr>
          <p:cNvPr id="6" name="Content Placeholder 5">
            <a:extLst>
              <a:ext uri="{FF2B5EF4-FFF2-40B4-BE49-F238E27FC236}">
                <a16:creationId xmlns:a16="http://schemas.microsoft.com/office/drawing/2014/main" id="{44F60625-337A-F713-78DB-0F8F3669B342}"/>
              </a:ext>
            </a:extLst>
          </p:cNvPr>
          <p:cNvPicPr>
            <a:picLocks noGrp="1" noChangeAspect="1"/>
          </p:cNvPicPr>
          <p:nvPr>
            <p:ph sz="half" idx="2"/>
          </p:nvPr>
        </p:nvPicPr>
        <p:blipFill>
          <a:blip r:embed="rId3"/>
          <a:stretch>
            <a:fillRect/>
          </a:stretch>
        </p:blipFill>
        <p:spPr>
          <a:xfrm>
            <a:off x="6153620" y="2271006"/>
            <a:ext cx="5564187" cy="3159663"/>
          </a:xfrm>
          <a:prstGeom prst="rect">
            <a:avLst/>
          </a:prstGeom>
        </p:spPr>
      </p:pic>
      <p:sp>
        <p:nvSpPr>
          <p:cNvPr id="3" name="Rectangle 2">
            <a:extLst>
              <a:ext uri="{FF2B5EF4-FFF2-40B4-BE49-F238E27FC236}">
                <a16:creationId xmlns:a16="http://schemas.microsoft.com/office/drawing/2014/main" id="{05352410-73DB-23D3-B00B-9A143EEC8967}"/>
              </a:ext>
            </a:extLst>
          </p:cNvPr>
          <p:cNvSpPr/>
          <p:nvPr/>
        </p:nvSpPr>
        <p:spPr bwMode="auto">
          <a:xfrm>
            <a:off x="253388" y="5256999"/>
            <a:ext cx="5644174" cy="173670"/>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ＭＳ Ｐゴシック" charset="0"/>
              <a:cs typeface="ＭＳ Ｐゴシック" charset="0"/>
            </a:endParaRPr>
          </a:p>
        </p:txBody>
      </p:sp>
      <p:sp>
        <p:nvSpPr>
          <p:cNvPr id="4" name="Rectangle 3">
            <a:extLst>
              <a:ext uri="{FF2B5EF4-FFF2-40B4-BE49-F238E27FC236}">
                <a16:creationId xmlns:a16="http://schemas.microsoft.com/office/drawing/2014/main" id="{B8100317-01F7-6EA8-92F4-3E62CA54502C}"/>
              </a:ext>
            </a:extLst>
          </p:cNvPr>
          <p:cNvSpPr/>
          <p:nvPr/>
        </p:nvSpPr>
        <p:spPr bwMode="auto">
          <a:xfrm>
            <a:off x="6038381" y="5265682"/>
            <a:ext cx="5679425" cy="249192"/>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ＭＳ Ｐゴシック" charset="0"/>
              <a:cs typeface="ＭＳ Ｐゴシック" charset="0"/>
            </a:endParaRPr>
          </a:p>
        </p:txBody>
      </p:sp>
      <p:sp>
        <p:nvSpPr>
          <p:cNvPr id="5" name="TextBox 4">
            <a:extLst>
              <a:ext uri="{FF2B5EF4-FFF2-40B4-BE49-F238E27FC236}">
                <a16:creationId xmlns:a16="http://schemas.microsoft.com/office/drawing/2014/main" id="{997CAA50-916D-F261-D048-72128C3B750E}"/>
              </a:ext>
            </a:extLst>
          </p:cNvPr>
          <p:cNvSpPr txBox="1"/>
          <p:nvPr/>
        </p:nvSpPr>
        <p:spPr>
          <a:xfrm>
            <a:off x="429660" y="2369876"/>
            <a:ext cx="1200839" cy="274171"/>
          </a:xfrm>
          <a:prstGeom prst="rect">
            <a:avLst/>
          </a:prstGeom>
          <a:solidFill>
            <a:schemeClr val="bg1"/>
          </a:solid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2A095"/>
                </a:solidFill>
                <a:effectLst/>
                <a:uLnTx/>
                <a:uFillTx/>
                <a:latin typeface="Arial" panose="020B0604020202020204" pitchFamily="34" charset="0"/>
                <a:ea typeface="MS PGothic" panose="020B0600070205080204" pitchFamily="34" charset="-128"/>
              </a:rPr>
              <a:t>Epcoritamab+R</a:t>
            </a:r>
            <a:r>
              <a:rPr kumimoji="0" lang="en-US" sz="1100" b="1" i="0" u="none" strike="noStrike" kern="1200" cap="none" spc="0" normalizeH="0" baseline="30000" noProof="0" dirty="0">
                <a:ln>
                  <a:noFill/>
                </a:ln>
                <a:solidFill>
                  <a:srgbClr val="02A095"/>
                </a:solidFill>
                <a:effectLst/>
                <a:uLnTx/>
                <a:uFillTx/>
                <a:latin typeface="Arial" panose="020B0604020202020204" pitchFamily="34" charset="0"/>
                <a:ea typeface="MS PGothic" panose="020B0600070205080204" pitchFamily="34" charset="-128"/>
              </a:rPr>
              <a:t>2</a:t>
            </a:r>
          </a:p>
        </p:txBody>
      </p:sp>
      <p:sp>
        <p:nvSpPr>
          <p:cNvPr id="8" name="Rectangle 7">
            <a:extLst>
              <a:ext uri="{FF2B5EF4-FFF2-40B4-BE49-F238E27FC236}">
                <a16:creationId xmlns:a16="http://schemas.microsoft.com/office/drawing/2014/main" id="{C84FF005-3B97-B27A-5ED1-C154772B2EB0}"/>
              </a:ext>
            </a:extLst>
          </p:cNvPr>
          <p:cNvSpPr/>
          <p:nvPr/>
        </p:nvSpPr>
        <p:spPr bwMode="auto">
          <a:xfrm>
            <a:off x="6294439" y="2186801"/>
            <a:ext cx="716037" cy="278580"/>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ＭＳ Ｐゴシック" charset="0"/>
              <a:cs typeface="ＭＳ Ｐゴシック" charset="0"/>
            </a:endParaRPr>
          </a:p>
        </p:txBody>
      </p:sp>
      <p:sp>
        <p:nvSpPr>
          <p:cNvPr id="9" name="Rectangle 8">
            <a:extLst>
              <a:ext uri="{FF2B5EF4-FFF2-40B4-BE49-F238E27FC236}">
                <a16:creationId xmlns:a16="http://schemas.microsoft.com/office/drawing/2014/main" id="{EBA98997-B8A6-0DFC-590C-34B7E6A55DD2}"/>
              </a:ext>
            </a:extLst>
          </p:cNvPr>
          <p:cNvSpPr/>
          <p:nvPr/>
        </p:nvSpPr>
        <p:spPr bwMode="auto">
          <a:xfrm>
            <a:off x="973843" y="5460058"/>
            <a:ext cx="9740152" cy="278581"/>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ＭＳ Ｐゴシック" charset="0"/>
              <a:cs typeface="ＭＳ Ｐゴシック" charset="0"/>
            </a:endParaRPr>
          </a:p>
        </p:txBody>
      </p:sp>
      <p:sp>
        <p:nvSpPr>
          <p:cNvPr id="10" name="TextBox 9">
            <a:extLst>
              <a:ext uri="{FF2B5EF4-FFF2-40B4-BE49-F238E27FC236}">
                <a16:creationId xmlns:a16="http://schemas.microsoft.com/office/drawing/2014/main" id="{4DBCB2AD-F01B-E78A-CD06-20751217104F}"/>
              </a:ext>
            </a:extLst>
          </p:cNvPr>
          <p:cNvSpPr txBox="1"/>
          <p:nvPr/>
        </p:nvSpPr>
        <p:spPr>
          <a:xfrm>
            <a:off x="7346474" y="6405143"/>
            <a:ext cx="4365043" cy="276999"/>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rPr>
              <a:t>Falchi et al. ASH 2025. Abstract 466</a:t>
            </a:r>
          </a:p>
        </p:txBody>
      </p:sp>
    </p:spTree>
    <p:extLst>
      <p:ext uri="{BB962C8B-B14F-4D97-AF65-F5344CB8AC3E}">
        <p14:creationId xmlns:p14="http://schemas.microsoft.com/office/powerpoint/2010/main" val="11539794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13E401-A689-29CB-C596-93A126A06D7A}"/>
              </a:ext>
            </a:extLst>
          </p:cNvPr>
          <p:cNvSpPr>
            <a:spLocks noGrp="1"/>
          </p:cNvSpPr>
          <p:nvPr>
            <p:ph type="title"/>
          </p:nvPr>
        </p:nvSpPr>
        <p:spPr/>
        <p:txBody>
          <a:bodyPr/>
          <a:lstStyle/>
          <a:p>
            <a:r>
              <a:rPr lang="en-US" dirty="0"/>
              <a:t>EPCORE FL-1: Safety</a:t>
            </a:r>
          </a:p>
        </p:txBody>
      </p:sp>
      <p:pic>
        <p:nvPicPr>
          <p:cNvPr id="6" name="Content Placeholder 5">
            <a:extLst>
              <a:ext uri="{FF2B5EF4-FFF2-40B4-BE49-F238E27FC236}">
                <a16:creationId xmlns:a16="http://schemas.microsoft.com/office/drawing/2014/main" id="{8846F167-FE04-8B87-4877-2C0295266B39}"/>
              </a:ext>
            </a:extLst>
          </p:cNvPr>
          <p:cNvPicPr>
            <a:picLocks noGrp="1" noChangeAspect="1"/>
          </p:cNvPicPr>
          <p:nvPr>
            <p:ph sz="half" idx="1"/>
          </p:nvPr>
        </p:nvPicPr>
        <p:blipFill>
          <a:blip r:embed="rId2"/>
          <a:stretch>
            <a:fillRect/>
          </a:stretch>
        </p:blipFill>
        <p:spPr>
          <a:xfrm>
            <a:off x="331788" y="2292582"/>
            <a:ext cx="5565775" cy="3141199"/>
          </a:xfrm>
          <a:prstGeom prst="rect">
            <a:avLst/>
          </a:prstGeom>
        </p:spPr>
      </p:pic>
      <p:pic>
        <p:nvPicPr>
          <p:cNvPr id="5" name="Content Placeholder 4">
            <a:extLst>
              <a:ext uri="{FF2B5EF4-FFF2-40B4-BE49-F238E27FC236}">
                <a16:creationId xmlns:a16="http://schemas.microsoft.com/office/drawing/2014/main" id="{18CD1711-F036-FA9C-651D-3F9471AC7955}"/>
              </a:ext>
            </a:extLst>
          </p:cNvPr>
          <p:cNvPicPr>
            <a:picLocks noGrp="1" noChangeAspect="1"/>
          </p:cNvPicPr>
          <p:nvPr>
            <p:ph sz="half" idx="2"/>
          </p:nvPr>
        </p:nvPicPr>
        <p:blipFill>
          <a:blip r:embed="rId3"/>
          <a:stretch>
            <a:fillRect/>
          </a:stretch>
        </p:blipFill>
        <p:spPr>
          <a:xfrm>
            <a:off x="6100763" y="2303855"/>
            <a:ext cx="5564187" cy="3118653"/>
          </a:xfrm>
          <a:prstGeom prst="rect">
            <a:avLst/>
          </a:prstGeom>
        </p:spPr>
      </p:pic>
      <p:sp>
        <p:nvSpPr>
          <p:cNvPr id="3" name="Rectangle 2">
            <a:extLst>
              <a:ext uri="{FF2B5EF4-FFF2-40B4-BE49-F238E27FC236}">
                <a16:creationId xmlns:a16="http://schemas.microsoft.com/office/drawing/2014/main" id="{6EAD8541-ADF0-C5E9-1262-A763CACC3823}"/>
              </a:ext>
            </a:extLst>
          </p:cNvPr>
          <p:cNvSpPr/>
          <p:nvPr/>
        </p:nvSpPr>
        <p:spPr bwMode="auto">
          <a:xfrm>
            <a:off x="331788" y="5265682"/>
            <a:ext cx="5575300" cy="274171"/>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ＭＳ Ｐゴシック" charset="0"/>
              <a:cs typeface="ＭＳ Ｐゴシック" charset="0"/>
            </a:endParaRPr>
          </a:p>
        </p:txBody>
      </p:sp>
      <p:sp>
        <p:nvSpPr>
          <p:cNvPr id="4" name="Rectangle 3">
            <a:extLst>
              <a:ext uri="{FF2B5EF4-FFF2-40B4-BE49-F238E27FC236}">
                <a16:creationId xmlns:a16="http://schemas.microsoft.com/office/drawing/2014/main" id="{DC979415-896A-57FD-F4F0-FFF6CAE9DA21}"/>
              </a:ext>
            </a:extLst>
          </p:cNvPr>
          <p:cNvSpPr/>
          <p:nvPr/>
        </p:nvSpPr>
        <p:spPr bwMode="auto">
          <a:xfrm>
            <a:off x="6091237" y="5265683"/>
            <a:ext cx="5626569" cy="156825"/>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ＭＳ Ｐゴシック" charset="0"/>
              <a:cs typeface="ＭＳ Ｐゴシック" charset="0"/>
            </a:endParaRPr>
          </a:p>
        </p:txBody>
      </p:sp>
      <p:sp>
        <p:nvSpPr>
          <p:cNvPr id="7" name="TextBox 6">
            <a:extLst>
              <a:ext uri="{FF2B5EF4-FFF2-40B4-BE49-F238E27FC236}">
                <a16:creationId xmlns:a16="http://schemas.microsoft.com/office/drawing/2014/main" id="{881F70A4-923F-25FC-C9EE-D5E4BA787A93}"/>
              </a:ext>
            </a:extLst>
          </p:cNvPr>
          <p:cNvSpPr txBox="1"/>
          <p:nvPr/>
        </p:nvSpPr>
        <p:spPr>
          <a:xfrm>
            <a:off x="482982" y="2413944"/>
            <a:ext cx="925415" cy="274171"/>
          </a:xfrm>
          <a:prstGeom prst="rect">
            <a:avLst/>
          </a:prstGeom>
          <a:solidFill>
            <a:schemeClr val="bg1"/>
          </a:solid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2A095"/>
                </a:solidFill>
                <a:effectLst/>
                <a:uLnTx/>
                <a:uFillTx/>
                <a:latin typeface="Arial" panose="020B0604020202020204" pitchFamily="34" charset="0"/>
                <a:ea typeface="MS PGothic" panose="020B0600070205080204" pitchFamily="34" charset="-128"/>
              </a:rPr>
              <a:t>Manageable</a:t>
            </a:r>
            <a:endParaRPr kumimoji="0" lang="en-US" sz="1100" b="1" i="0" u="none" strike="noStrike" kern="1200" cap="none" spc="0" normalizeH="0" baseline="30000" noProof="0" dirty="0">
              <a:ln>
                <a:noFill/>
              </a:ln>
              <a:solidFill>
                <a:srgbClr val="02A095"/>
              </a:solidFill>
              <a:effectLst/>
              <a:uLnTx/>
              <a:uFillTx/>
              <a:latin typeface="Arial" panose="020B0604020202020204" pitchFamily="34" charset="0"/>
              <a:ea typeface="MS PGothic" panose="020B0600070205080204" pitchFamily="34" charset="-128"/>
            </a:endParaRPr>
          </a:p>
        </p:txBody>
      </p:sp>
      <p:sp>
        <p:nvSpPr>
          <p:cNvPr id="8" name="Rectangle 7">
            <a:extLst>
              <a:ext uri="{FF2B5EF4-FFF2-40B4-BE49-F238E27FC236}">
                <a16:creationId xmlns:a16="http://schemas.microsoft.com/office/drawing/2014/main" id="{53314934-BCD2-7BAC-7D6D-003959FF2585}"/>
              </a:ext>
            </a:extLst>
          </p:cNvPr>
          <p:cNvSpPr/>
          <p:nvPr/>
        </p:nvSpPr>
        <p:spPr bwMode="auto">
          <a:xfrm>
            <a:off x="6206303" y="2186801"/>
            <a:ext cx="716037" cy="278580"/>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ＭＳ Ｐゴシック" charset="0"/>
              <a:cs typeface="ＭＳ Ｐゴシック" charset="0"/>
            </a:endParaRPr>
          </a:p>
        </p:txBody>
      </p:sp>
      <p:sp>
        <p:nvSpPr>
          <p:cNvPr id="9" name="TextBox 8">
            <a:extLst>
              <a:ext uri="{FF2B5EF4-FFF2-40B4-BE49-F238E27FC236}">
                <a16:creationId xmlns:a16="http://schemas.microsoft.com/office/drawing/2014/main" id="{30E43C96-CEB6-E92C-F0EC-919777822E0A}"/>
              </a:ext>
            </a:extLst>
          </p:cNvPr>
          <p:cNvSpPr txBox="1"/>
          <p:nvPr/>
        </p:nvSpPr>
        <p:spPr>
          <a:xfrm>
            <a:off x="7346474" y="6405143"/>
            <a:ext cx="4365043" cy="276999"/>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rPr>
              <a:t>Falchi et al. ASH 2025. Abstract 466</a:t>
            </a:r>
          </a:p>
        </p:txBody>
      </p:sp>
    </p:spTree>
    <p:extLst>
      <p:ext uri="{BB962C8B-B14F-4D97-AF65-F5344CB8AC3E}">
        <p14:creationId xmlns:p14="http://schemas.microsoft.com/office/powerpoint/2010/main" val="38385567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616336-6109-6ACA-556E-8D10BEFD14AB}"/>
              </a:ext>
            </a:extLst>
          </p:cNvPr>
          <p:cNvSpPr>
            <a:spLocks noGrp="1"/>
          </p:cNvSpPr>
          <p:nvPr>
            <p:ph type="title"/>
          </p:nvPr>
        </p:nvSpPr>
        <p:spPr>
          <a:xfrm>
            <a:off x="285752" y="302814"/>
            <a:ext cx="11379200" cy="858040"/>
          </a:xfrm>
        </p:spPr>
        <p:txBody>
          <a:bodyPr/>
          <a:lstStyle/>
          <a:p>
            <a:r>
              <a:rPr lang="en-US" dirty="0"/>
              <a:t>CELESTIMO Trial of </a:t>
            </a:r>
            <a:r>
              <a:rPr lang="en-US" dirty="0" err="1"/>
              <a:t>Mosunetuzumab</a:t>
            </a:r>
            <a:r>
              <a:rPr lang="en-US" dirty="0"/>
              <a:t>-Lenalidomide versus R</a:t>
            </a:r>
            <a:r>
              <a:rPr lang="en-US" baseline="30000" dirty="0"/>
              <a:t>2</a:t>
            </a:r>
            <a:r>
              <a:rPr lang="en-US" dirty="0"/>
              <a:t> in R/R FL</a:t>
            </a:r>
            <a:br>
              <a:rPr lang="en-US" dirty="0"/>
            </a:br>
            <a:endParaRPr lang="en-US" dirty="0"/>
          </a:p>
        </p:txBody>
      </p:sp>
      <p:pic>
        <p:nvPicPr>
          <p:cNvPr id="10" name="Picture 9" descr="A screenshot of a computer&#10;&#10;AI-generated content may be incorrect.">
            <a:extLst>
              <a:ext uri="{FF2B5EF4-FFF2-40B4-BE49-F238E27FC236}">
                <a16:creationId xmlns:a16="http://schemas.microsoft.com/office/drawing/2014/main" id="{CE51DDC3-5B8A-481E-B240-18CA76646A05}"/>
              </a:ext>
            </a:extLst>
          </p:cNvPr>
          <p:cNvPicPr>
            <a:picLocks noChangeAspect="1"/>
          </p:cNvPicPr>
          <p:nvPr/>
        </p:nvPicPr>
        <p:blipFill>
          <a:blip r:embed="rId2"/>
          <a:stretch>
            <a:fillRect/>
          </a:stretch>
        </p:blipFill>
        <p:spPr>
          <a:xfrm>
            <a:off x="2522481" y="1394717"/>
            <a:ext cx="7472857" cy="5079295"/>
          </a:xfrm>
          <a:prstGeom prst="rect">
            <a:avLst/>
          </a:prstGeom>
        </p:spPr>
      </p:pic>
    </p:spTree>
    <p:extLst>
      <p:ext uri="{BB962C8B-B14F-4D97-AF65-F5344CB8AC3E}">
        <p14:creationId xmlns:p14="http://schemas.microsoft.com/office/powerpoint/2010/main" val="7100161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080CFC-94CE-B40E-DD25-8F40C9AEA38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172E0BE-23E6-A1E9-254D-2BE53E6CAC7B}"/>
              </a:ext>
            </a:extLst>
          </p:cNvPr>
          <p:cNvSpPr>
            <a:spLocks noGrp="1"/>
          </p:cNvSpPr>
          <p:nvPr>
            <p:ph type="title"/>
          </p:nvPr>
        </p:nvSpPr>
        <p:spPr/>
        <p:txBody>
          <a:bodyPr/>
          <a:lstStyle/>
          <a:p>
            <a:r>
              <a:rPr lang="en-US" dirty="0"/>
              <a:t>CELESTIMO US Cohort: Baseline Characteristics</a:t>
            </a:r>
          </a:p>
        </p:txBody>
      </p:sp>
      <p:pic>
        <p:nvPicPr>
          <p:cNvPr id="5" name="Content Placeholder 3">
            <a:extLst>
              <a:ext uri="{FF2B5EF4-FFF2-40B4-BE49-F238E27FC236}">
                <a16:creationId xmlns:a16="http://schemas.microsoft.com/office/drawing/2014/main" id="{DF77413E-512C-82E4-2523-44E595207CA7}"/>
              </a:ext>
            </a:extLst>
          </p:cNvPr>
          <p:cNvPicPr>
            <a:picLocks noGrp="1" noChangeAspect="1"/>
          </p:cNvPicPr>
          <p:nvPr>
            <p:ph sz="half" idx="1"/>
          </p:nvPr>
        </p:nvPicPr>
        <p:blipFill>
          <a:blip r:embed="rId2"/>
          <a:stretch>
            <a:fillRect/>
          </a:stretch>
        </p:blipFill>
        <p:spPr>
          <a:xfrm>
            <a:off x="331788" y="2288315"/>
            <a:ext cx="5565775" cy="3149733"/>
          </a:xfrm>
          <a:prstGeom prst="rect">
            <a:avLst/>
          </a:prstGeom>
        </p:spPr>
      </p:pic>
      <p:pic>
        <p:nvPicPr>
          <p:cNvPr id="3" name="Picture 2">
            <a:extLst>
              <a:ext uri="{FF2B5EF4-FFF2-40B4-BE49-F238E27FC236}">
                <a16:creationId xmlns:a16="http://schemas.microsoft.com/office/drawing/2014/main" id="{8F0EDB0E-2475-7558-8BB2-62A28D77FE26}"/>
              </a:ext>
            </a:extLst>
          </p:cNvPr>
          <p:cNvPicPr>
            <a:picLocks noChangeAspect="1"/>
          </p:cNvPicPr>
          <p:nvPr/>
        </p:nvPicPr>
        <p:blipFill>
          <a:blip r:embed="rId3"/>
          <a:stretch>
            <a:fillRect/>
          </a:stretch>
        </p:blipFill>
        <p:spPr>
          <a:xfrm>
            <a:off x="567539" y="3344917"/>
            <a:ext cx="4508500" cy="1905000"/>
          </a:xfrm>
          <a:prstGeom prst="rect">
            <a:avLst/>
          </a:prstGeom>
        </p:spPr>
      </p:pic>
      <p:sp>
        <p:nvSpPr>
          <p:cNvPr id="4" name="Frame 3">
            <a:extLst>
              <a:ext uri="{FF2B5EF4-FFF2-40B4-BE49-F238E27FC236}">
                <a16:creationId xmlns:a16="http://schemas.microsoft.com/office/drawing/2014/main" id="{C8D145B7-EF1E-1B39-1B81-1CED51FAFE15}"/>
              </a:ext>
            </a:extLst>
          </p:cNvPr>
          <p:cNvSpPr/>
          <p:nvPr/>
        </p:nvSpPr>
        <p:spPr bwMode="auto">
          <a:xfrm>
            <a:off x="519637" y="4460306"/>
            <a:ext cx="4604304" cy="532682"/>
          </a:xfrm>
          <a:prstGeom prst="frame">
            <a:avLst/>
          </a:prstGeom>
          <a:solidFill>
            <a:schemeClr val="accent6"/>
          </a:solidFill>
          <a:ln w="3175"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ＭＳ Ｐゴシック" charset="0"/>
              <a:cs typeface="ＭＳ Ｐゴシック" charset="0"/>
            </a:endParaRPr>
          </a:p>
        </p:txBody>
      </p:sp>
      <p:pic>
        <p:nvPicPr>
          <p:cNvPr id="8" name="Picture 7">
            <a:extLst>
              <a:ext uri="{FF2B5EF4-FFF2-40B4-BE49-F238E27FC236}">
                <a16:creationId xmlns:a16="http://schemas.microsoft.com/office/drawing/2014/main" id="{1E04CE2B-96D9-120D-A757-426204EBC427}"/>
              </a:ext>
            </a:extLst>
          </p:cNvPr>
          <p:cNvPicPr>
            <a:picLocks noChangeAspect="1"/>
          </p:cNvPicPr>
          <p:nvPr/>
        </p:nvPicPr>
        <p:blipFill>
          <a:blip r:embed="rId4"/>
          <a:stretch>
            <a:fillRect/>
          </a:stretch>
        </p:blipFill>
        <p:spPr>
          <a:xfrm>
            <a:off x="6085412" y="1419952"/>
            <a:ext cx="5094890" cy="4594110"/>
          </a:xfrm>
          <a:prstGeom prst="rect">
            <a:avLst/>
          </a:prstGeom>
        </p:spPr>
      </p:pic>
    </p:spTree>
    <p:extLst>
      <p:ext uri="{BB962C8B-B14F-4D97-AF65-F5344CB8AC3E}">
        <p14:creationId xmlns:p14="http://schemas.microsoft.com/office/powerpoint/2010/main" val="22236638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5"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1000" fill="hold"/>
                                        <p:tgtEl>
                                          <p:spTgt spid="3"/>
                                        </p:tgtEl>
                                        <p:attrNameLst>
                                          <p:attrName>ppt_w</p:attrName>
                                        </p:attrNameLst>
                                      </p:cBhvr>
                                      <p:tavLst>
                                        <p:tav tm="0">
                                          <p:val>
                                            <p:fltVal val="0"/>
                                          </p:val>
                                        </p:tav>
                                        <p:tav tm="100000">
                                          <p:val>
                                            <p:strVal val="#ppt_w"/>
                                          </p:val>
                                        </p:tav>
                                      </p:tavLst>
                                    </p:anim>
                                    <p:anim calcmode="lin" valueType="num">
                                      <p:cBhvr>
                                        <p:cTn id="8" dur="1000" fill="hold"/>
                                        <p:tgtEl>
                                          <p:spTgt spid="3"/>
                                        </p:tgtEl>
                                        <p:attrNameLst>
                                          <p:attrName>ppt_h</p:attrName>
                                        </p:attrNameLst>
                                      </p:cBhvr>
                                      <p:tavLst>
                                        <p:tav tm="0">
                                          <p:val>
                                            <p:fltVal val="0"/>
                                          </p:val>
                                        </p:tav>
                                        <p:tav tm="100000">
                                          <p:val>
                                            <p:strVal val="#ppt_h"/>
                                          </p:val>
                                        </p:tav>
                                      </p:tavLst>
                                    </p:anim>
                                    <p:anim calcmode="lin" valueType="num">
                                      <p:cBhvr>
                                        <p:cTn id="9" dur="1000" fill="hold"/>
                                        <p:tgtEl>
                                          <p:spTgt spid="3"/>
                                        </p:tgtEl>
                                        <p:attrNameLst>
                                          <p:attrName>ppt_x</p:attrName>
                                        </p:attrNameLst>
                                      </p:cBhvr>
                                      <p:tavLst>
                                        <p:tav tm="0" fmla="#ppt_x+(cos(-2*pi*(1-$))*-#ppt_x-sin(-2*pi*(1-$))*(1-#ppt_y))*(1-$)">
                                          <p:val>
                                            <p:fltVal val="0"/>
                                          </p:val>
                                        </p:tav>
                                        <p:tav tm="100000">
                                          <p:val>
                                            <p:fltVal val="1"/>
                                          </p:val>
                                        </p:tav>
                                      </p:tavLst>
                                    </p:anim>
                                    <p:anim calcmode="lin" valueType="num">
                                      <p:cBhvr>
                                        <p:cTn id="10" dur="1000" fill="hold"/>
                                        <p:tgtEl>
                                          <p:spTgt spid="3"/>
                                        </p:tgtEl>
                                        <p:attrNameLst>
                                          <p:attrName>ppt_y</p:attrName>
                                        </p:attrNameLst>
                                      </p:cBhvr>
                                      <p:tavLst>
                                        <p:tav tm="0" fmla="#ppt_y+(sin(-2*pi*(1-$))*-#ppt_x+cos(-2*pi*(1-$))*(1-#ppt_y))*(1-$)">
                                          <p:val>
                                            <p:fltVal val="0"/>
                                          </p:val>
                                        </p:tav>
                                        <p:tav tm="100000">
                                          <p:val>
                                            <p:fltVal val="1"/>
                                          </p:val>
                                        </p:tav>
                                      </p:tavLst>
                                    </p:anim>
                                  </p:childTnLst>
                                </p:cTn>
                              </p:par>
                            </p:childTnLst>
                          </p:cTn>
                        </p:par>
                      </p:childTnLst>
                    </p:cTn>
                  </p:par>
                  <p:par>
                    <p:cTn id="11" fill="hold">
                      <p:stCondLst>
                        <p:cond delay="indefinite"/>
                      </p:stCondLst>
                      <p:childTnLst>
                        <p:par>
                          <p:cTn id="12" fill="hold">
                            <p:stCondLst>
                              <p:cond delay="0"/>
                            </p:stCondLst>
                            <p:childTnLst>
                              <p:par>
                                <p:cTn id="13" presetID="3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800" decel="100000"/>
                                        <p:tgtEl>
                                          <p:spTgt spid="4"/>
                                        </p:tgtEl>
                                      </p:cBhvr>
                                    </p:animEffect>
                                    <p:anim calcmode="lin" valueType="num">
                                      <p:cBhvr>
                                        <p:cTn id="16" dur="800" decel="100000" fill="hold"/>
                                        <p:tgtEl>
                                          <p:spTgt spid="4"/>
                                        </p:tgtEl>
                                        <p:attrNameLst>
                                          <p:attrName>style.rotation</p:attrName>
                                        </p:attrNameLst>
                                      </p:cBhvr>
                                      <p:tavLst>
                                        <p:tav tm="0">
                                          <p:val>
                                            <p:fltVal val="-90"/>
                                          </p:val>
                                        </p:tav>
                                        <p:tav tm="100000">
                                          <p:val>
                                            <p:fltVal val="0"/>
                                          </p:val>
                                        </p:tav>
                                      </p:tavLst>
                                    </p:anim>
                                    <p:anim calcmode="lin" valueType="num">
                                      <p:cBhvr>
                                        <p:cTn id="17" dur="800" decel="100000" fill="hold"/>
                                        <p:tgtEl>
                                          <p:spTgt spid="4"/>
                                        </p:tgtEl>
                                        <p:attrNameLst>
                                          <p:attrName>ppt_x</p:attrName>
                                        </p:attrNameLst>
                                      </p:cBhvr>
                                      <p:tavLst>
                                        <p:tav tm="0">
                                          <p:val>
                                            <p:strVal val="#ppt_x+0.4"/>
                                          </p:val>
                                        </p:tav>
                                        <p:tav tm="100000">
                                          <p:val>
                                            <p:strVal val="#ppt_x-0.05"/>
                                          </p:val>
                                        </p:tav>
                                      </p:tavLst>
                                    </p:anim>
                                    <p:anim calcmode="lin" valueType="num">
                                      <p:cBhvr>
                                        <p:cTn id="18" dur="800" decel="100000" fill="hold"/>
                                        <p:tgtEl>
                                          <p:spTgt spid="4"/>
                                        </p:tgtEl>
                                        <p:attrNameLst>
                                          <p:attrName>ppt_y</p:attrName>
                                        </p:attrNameLst>
                                      </p:cBhvr>
                                      <p:tavLst>
                                        <p:tav tm="0">
                                          <p:val>
                                            <p:strVal val="#ppt_y-0.4"/>
                                          </p:val>
                                        </p:tav>
                                        <p:tav tm="100000">
                                          <p:val>
                                            <p:strVal val="#ppt_y+0.1"/>
                                          </p:val>
                                        </p:tav>
                                      </p:tavLst>
                                    </p:anim>
                                    <p:anim calcmode="lin" valueType="num">
                                      <p:cBhvr>
                                        <p:cTn id="19" dur="200" accel="100000" fill="hold">
                                          <p:stCondLst>
                                            <p:cond delay="800"/>
                                          </p:stCondLst>
                                        </p:cTn>
                                        <p:tgtEl>
                                          <p:spTgt spid="4"/>
                                        </p:tgtEl>
                                        <p:attrNameLst>
                                          <p:attrName>ppt_x</p:attrName>
                                        </p:attrNameLst>
                                      </p:cBhvr>
                                      <p:tavLst>
                                        <p:tav tm="0">
                                          <p:val>
                                            <p:strVal val="#ppt_x-0.05"/>
                                          </p:val>
                                        </p:tav>
                                        <p:tav tm="100000">
                                          <p:val>
                                            <p:strVal val="#ppt_x"/>
                                          </p:val>
                                        </p:tav>
                                      </p:tavLst>
                                    </p:anim>
                                    <p:anim calcmode="lin" valueType="num">
                                      <p:cBhvr>
                                        <p:cTn id="20" dur="200" accel="100000" fill="hold">
                                          <p:stCondLst>
                                            <p:cond delay="800"/>
                                          </p:stCondLst>
                                        </p:cTn>
                                        <p:tgtEl>
                                          <p:spTgt spid="4"/>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5ABF17-B595-72C7-2581-10DA00BD465D}"/>
              </a:ext>
            </a:extLst>
          </p:cNvPr>
          <p:cNvSpPr>
            <a:spLocks noGrp="1"/>
          </p:cNvSpPr>
          <p:nvPr>
            <p:ph type="title"/>
          </p:nvPr>
        </p:nvSpPr>
        <p:spPr/>
        <p:txBody>
          <a:bodyPr/>
          <a:lstStyle/>
          <a:p>
            <a:r>
              <a:rPr lang="en-US" dirty="0"/>
              <a:t>CELESTIMO </a:t>
            </a:r>
            <a:r>
              <a:rPr lang="en-US"/>
              <a:t>US Cohort: </a:t>
            </a:r>
            <a:r>
              <a:rPr lang="en-US" dirty="0"/>
              <a:t>Safety/Response</a:t>
            </a:r>
          </a:p>
        </p:txBody>
      </p:sp>
      <p:pic>
        <p:nvPicPr>
          <p:cNvPr id="5" name="Content Placeholder 4">
            <a:extLst>
              <a:ext uri="{FF2B5EF4-FFF2-40B4-BE49-F238E27FC236}">
                <a16:creationId xmlns:a16="http://schemas.microsoft.com/office/drawing/2014/main" id="{D8EDF989-59E1-BFA8-7AC2-3319069652BB}"/>
              </a:ext>
            </a:extLst>
          </p:cNvPr>
          <p:cNvPicPr>
            <a:picLocks noGrp="1" noChangeAspect="1"/>
          </p:cNvPicPr>
          <p:nvPr>
            <p:ph sz="half" idx="1"/>
          </p:nvPr>
        </p:nvPicPr>
        <p:blipFill>
          <a:blip r:embed="rId2"/>
          <a:stretch>
            <a:fillRect/>
          </a:stretch>
        </p:blipFill>
        <p:spPr>
          <a:xfrm>
            <a:off x="6048506" y="1683166"/>
            <a:ext cx="6143494" cy="3435298"/>
          </a:xfrm>
          <a:prstGeom prst="rect">
            <a:avLst/>
          </a:prstGeom>
        </p:spPr>
      </p:pic>
      <p:pic>
        <p:nvPicPr>
          <p:cNvPr id="3" name="Picture 2">
            <a:extLst>
              <a:ext uri="{FF2B5EF4-FFF2-40B4-BE49-F238E27FC236}">
                <a16:creationId xmlns:a16="http://schemas.microsoft.com/office/drawing/2014/main" id="{114D14A6-C537-D973-B496-7201F4FDECA6}"/>
              </a:ext>
            </a:extLst>
          </p:cNvPr>
          <p:cNvPicPr>
            <a:picLocks noChangeAspect="1"/>
          </p:cNvPicPr>
          <p:nvPr/>
        </p:nvPicPr>
        <p:blipFill>
          <a:blip r:embed="rId3"/>
          <a:srcRect l="2519" r="1513" b="543"/>
          <a:stretch>
            <a:fillRect/>
          </a:stretch>
        </p:blipFill>
        <p:spPr>
          <a:xfrm>
            <a:off x="20424" y="1683166"/>
            <a:ext cx="6075576" cy="3491667"/>
          </a:xfrm>
          <a:prstGeom prst="rect">
            <a:avLst/>
          </a:prstGeom>
        </p:spPr>
      </p:pic>
    </p:spTree>
    <p:extLst>
      <p:ext uri="{BB962C8B-B14F-4D97-AF65-F5344CB8AC3E}">
        <p14:creationId xmlns:p14="http://schemas.microsoft.com/office/powerpoint/2010/main" val="22256499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836D00-F306-BDC7-1AEE-CF75BFDF8463}"/>
              </a:ext>
            </a:extLst>
          </p:cNvPr>
          <p:cNvSpPr>
            <a:spLocks noGrp="1"/>
          </p:cNvSpPr>
          <p:nvPr>
            <p:ph type="title"/>
          </p:nvPr>
        </p:nvSpPr>
        <p:spPr/>
        <p:txBody>
          <a:bodyPr/>
          <a:lstStyle/>
          <a:p>
            <a:r>
              <a:rPr lang="en-US" dirty="0"/>
              <a:t>Ongoing Studies</a:t>
            </a:r>
          </a:p>
        </p:txBody>
      </p:sp>
      <p:graphicFrame>
        <p:nvGraphicFramePr>
          <p:cNvPr id="4" name="Content Placeholder 3">
            <a:extLst>
              <a:ext uri="{FF2B5EF4-FFF2-40B4-BE49-F238E27FC236}">
                <a16:creationId xmlns:a16="http://schemas.microsoft.com/office/drawing/2014/main" id="{591DB5ED-AC63-E541-FC64-187E6A245D9E}"/>
              </a:ext>
            </a:extLst>
          </p:cNvPr>
          <p:cNvGraphicFramePr>
            <a:graphicFrameLocks noGrp="1"/>
          </p:cNvGraphicFramePr>
          <p:nvPr>
            <p:ph idx="1"/>
            <p:extLst>
              <p:ext uri="{D42A27DB-BD31-4B8C-83A1-F6EECF244321}">
                <p14:modId xmlns:p14="http://schemas.microsoft.com/office/powerpoint/2010/main" val="4224978597"/>
              </p:ext>
            </p:extLst>
          </p:nvPr>
        </p:nvGraphicFramePr>
        <p:xfrm>
          <a:off x="140626" y="1165857"/>
          <a:ext cx="11762582" cy="5577840"/>
        </p:xfrm>
        <a:graphic>
          <a:graphicData uri="http://schemas.openxmlformats.org/drawingml/2006/table">
            <a:tbl>
              <a:tblPr firstRow="1" bandRow="1">
                <a:tableStyleId>{5C22544A-7EE6-4342-B048-85BDC9FD1C3A}</a:tableStyleId>
              </a:tblPr>
              <a:tblGrid>
                <a:gridCol w="1207294">
                  <a:extLst>
                    <a:ext uri="{9D8B030D-6E8A-4147-A177-3AD203B41FA5}">
                      <a16:colId xmlns:a16="http://schemas.microsoft.com/office/drawing/2014/main" val="2563018550"/>
                    </a:ext>
                  </a:extLst>
                </a:gridCol>
                <a:gridCol w="1207294">
                  <a:extLst>
                    <a:ext uri="{9D8B030D-6E8A-4147-A177-3AD203B41FA5}">
                      <a16:colId xmlns:a16="http://schemas.microsoft.com/office/drawing/2014/main" val="438839340"/>
                    </a:ext>
                  </a:extLst>
                </a:gridCol>
                <a:gridCol w="1913524">
                  <a:extLst>
                    <a:ext uri="{9D8B030D-6E8A-4147-A177-3AD203B41FA5}">
                      <a16:colId xmlns:a16="http://schemas.microsoft.com/office/drawing/2014/main" val="2218999945"/>
                    </a:ext>
                  </a:extLst>
                </a:gridCol>
                <a:gridCol w="1563757">
                  <a:extLst>
                    <a:ext uri="{9D8B030D-6E8A-4147-A177-3AD203B41FA5}">
                      <a16:colId xmlns:a16="http://schemas.microsoft.com/office/drawing/2014/main" val="3277699740"/>
                    </a:ext>
                  </a:extLst>
                </a:gridCol>
                <a:gridCol w="2107095">
                  <a:extLst>
                    <a:ext uri="{9D8B030D-6E8A-4147-A177-3AD203B41FA5}">
                      <a16:colId xmlns:a16="http://schemas.microsoft.com/office/drawing/2014/main" val="2116870610"/>
                    </a:ext>
                  </a:extLst>
                </a:gridCol>
                <a:gridCol w="1364974">
                  <a:extLst>
                    <a:ext uri="{9D8B030D-6E8A-4147-A177-3AD203B41FA5}">
                      <a16:colId xmlns:a16="http://schemas.microsoft.com/office/drawing/2014/main" val="3271067315"/>
                    </a:ext>
                  </a:extLst>
                </a:gridCol>
                <a:gridCol w="1126435">
                  <a:extLst>
                    <a:ext uri="{9D8B030D-6E8A-4147-A177-3AD203B41FA5}">
                      <a16:colId xmlns:a16="http://schemas.microsoft.com/office/drawing/2014/main" val="1734998229"/>
                    </a:ext>
                  </a:extLst>
                </a:gridCol>
                <a:gridCol w="1272209">
                  <a:extLst>
                    <a:ext uri="{9D8B030D-6E8A-4147-A177-3AD203B41FA5}">
                      <a16:colId xmlns:a16="http://schemas.microsoft.com/office/drawing/2014/main" val="2418234978"/>
                    </a:ext>
                  </a:extLst>
                </a:gridCol>
              </a:tblGrid>
              <a:tr h="609767">
                <a:tc>
                  <a:txBody>
                    <a:bodyPr/>
                    <a:lstStyle/>
                    <a:p>
                      <a:pPr algn="ctr"/>
                      <a:r>
                        <a:rPr lang="en-US" dirty="0"/>
                        <a:t>Phase </a:t>
                      </a:r>
                    </a:p>
                  </a:txBody>
                  <a:tcPr/>
                </a:tc>
                <a:tc>
                  <a:txBody>
                    <a:bodyPr/>
                    <a:lstStyle/>
                    <a:p>
                      <a:pPr algn="ctr"/>
                      <a:r>
                        <a:rPr lang="en-US" dirty="0"/>
                        <a:t>Line</a:t>
                      </a:r>
                    </a:p>
                  </a:txBody>
                  <a:tcPr/>
                </a:tc>
                <a:tc>
                  <a:txBody>
                    <a:bodyPr/>
                    <a:lstStyle/>
                    <a:p>
                      <a:pPr algn="ctr"/>
                      <a:r>
                        <a:rPr lang="en-US" dirty="0"/>
                        <a:t>Drug</a:t>
                      </a:r>
                    </a:p>
                  </a:txBody>
                  <a:tcPr/>
                </a:tc>
                <a:tc>
                  <a:txBody>
                    <a:bodyPr/>
                    <a:lstStyle/>
                    <a:p>
                      <a:pPr algn="ctr"/>
                      <a:r>
                        <a:rPr lang="en-US" dirty="0"/>
                        <a:t>Comparator</a:t>
                      </a:r>
                    </a:p>
                  </a:txBody>
                  <a:tcPr/>
                </a:tc>
                <a:tc>
                  <a:txBody>
                    <a:bodyPr/>
                    <a:lstStyle/>
                    <a:p>
                      <a:pPr algn="ctr"/>
                      <a:r>
                        <a:rPr lang="en-US" dirty="0"/>
                        <a:t>Study</a:t>
                      </a:r>
                    </a:p>
                  </a:txBody>
                  <a:tcPr/>
                </a:tc>
                <a:tc>
                  <a:txBody>
                    <a:bodyPr/>
                    <a:lstStyle/>
                    <a:p>
                      <a:pPr algn="ctr"/>
                      <a:r>
                        <a:rPr lang="en-US" dirty="0"/>
                        <a:t>Primary Endpoint</a:t>
                      </a:r>
                    </a:p>
                  </a:txBody>
                  <a:tcPr/>
                </a:tc>
                <a:tc>
                  <a:txBody>
                    <a:bodyPr/>
                    <a:lstStyle/>
                    <a:p>
                      <a:pPr algn="ctr"/>
                      <a:r>
                        <a:rPr lang="en-US" dirty="0"/>
                        <a:t>Global</a:t>
                      </a:r>
                    </a:p>
                  </a:txBody>
                  <a:tcPr/>
                </a:tc>
                <a:tc>
                  <a:txBody>
                    <a:bodyPr/>
                    <a:lstStyle/>
                    <a:p>
                      <a:pPr algn="ctr"/>
                      <a:r>
                        <a:rPr lang="en-US" dirty="0"/>
                        <a:t>Sites</a:t>
                      </a:r>
                    </a:p>
                  </a:txBody>
                  <a:tcPr/>
                </a:tc>
                <a:extLst>
                  <a:ext uri="{0D108BD9-81ED-4DB2-BD59-A6C34878D82A}">
                    <a16:rowId xmlns:a16="http://schemas.microsoft.com/office/drawing/2014/main" val="2284065563"/>
                  </a:ext>
                </a:extLst>
              </a:tr>
              <a:tr h="1132424">
                <a:tc>
                  <a:txBody>
                    <a:bodyPr/>
                    <a:lstStyle/>
                    <a:p>
                      <a:pPr algn="ctr"/>
                      <a:r>
                        <a:rPr lang="en-US" dirty="0"/>
                        <a:t>3</a:t>
                      </a:r>
                    </a:p>
                  </a:txBody>
                  <a:tcPr/>
                </a:tc>
                <a:tc>
                  <a:txBody>
                    <a:bodyPr/>
                    <a:lstStyle/>
                    <a:p>
                      <a:pPr algn="ctr"/>
                      <a:r>
                        <a:rPr lang="en-US" dirty="0"/>
                        <a:t>2L</a:t>
                      </a:r>
                    </a:p>
                  </a:txBody>
                  <a:tcPr/>
                </a:tc>
                <a:tc>
                  <a:txBody>
                    <a:bodyPr/>
                    <a:lstStyle/>
                    <a:p>
                      <a:pPr algn="ctr"/>
                      <a:r>
                        <a:rPr lang="en-US" dirty="0" err="1"/>
                        <a:t>Mosunetuzumab</a:t>
                      </a:r>
                      <a:r>
                        <a:rPr lang="en-US" dirty="0"/>
                        <a:t> + lenalidomide</a:t>
                      </a:r>
                    </a:p>
                  </a:txBody>
                  <a:tcPr/>
                </a:tc>
                <a:tc>
                  <a:txBody>
                    <a:bodyPr/>
                    <a:lstStyle/>
                    <a:p>
                      <a:pPr algn="ctr"/>
                      <a:r>
                        <a:rPr lang="en-US" dirty="0"/>
                        <a:t>CIT</a:t>
                      </a:r>
                    </a:p>
                  </a:txBody>
                  <a:tcPr/>
                </a:tc>
                <a:tc>
                  <a:txBody>
                    <a:bodyPr/>
                    <a:lstStyle/>
                    <a:p>
                      <a:pPr algn="ctr" rtl="0"/>
                      <a:r>
                        <a:rPr lang="en-US" sz="1800" b="0" i="0" kern="1200" dirty="0" err="1">
                          <a:solidFill>
                            <a:schemeClr val="dk1"/>
                          </a:solidFill>
                          <a:effectLst/>
                          <a:latin typeface="+mn-lt"/>
                          <a:ea typeface="+mn-ea"/>
                          <a:cs typeface="+mn-cs"/>
                        </a:rPr>
                        <a:t>MorningLyte</a:t>
                      </a:r>
                      <a:endParaRPr lang="en-US" sz="1800" b="0" i="0" kern="1200" dirty="0">
                        <a:solidFill>
                          <a:schemeClr val="dk1"/>
                        </a:solidFill>
                        <a:effectLst/>
                        <a:latin typeface="+mn-lt"/>
                        <a:ea typeface="+mn-ea"/>
                        <a:cs typeface="+mn-cs"/>
                      </a:endParaRPr>
                    </a:p>
                  </a:txBody>
                  <a:tcPr/>
                </a:tc>
                <a:tc>
                  <a:txBody>
                    <a:bodyPr/>
                    <a:lstStyle/>
                    <a:p>
                      <a:pPr algn="ctr"/>
                      <a:r>
                        <a:rPr lang="en-US" dirty="0"/>
                        <a:t>PFS</a:t>
                      </a:r>
                    </a:p>
                  </a:txBody>
                  <a:tcPr/>
                </a:tc>
                <a:tc>
                  <a:txBody>
                    <a:bodyPr/>
                    <a:lstStyle/>
                    <a:p>
                      <a:pPr algn="ctr"/>
                      <a:r>
                        <a:rPr lang="en-US" dirty="0"/>
                        <a:t>N</a:t>
                      </a:r>
                    </a:p>
                  </a:txBody>
                  <a:tcPr/>
                </a:tc>
                <a:tc>
                  <a:txBody>
                    <a:bodyPr/>
                    <a:lstStyle/>
                    <a:p>
                      <a:pPr algn="ctr"/>
                      <a:r>
                        <a:rPr lang="en-US" dirty="0"/>
                        <a:t>France</a:t>
                      </a:r>
                    </a:p>
                    <a:p>
                      <a:pPr algn="ctr"/>
                      <a:r>
                        <a:rPr lang="en-US" dirty="0"/>
                        <a:t>Germany</a:t>
                      </a:r>
                    </a:p>
                    <a:p>
                      <a:pPr algn="ctr"/>
                      <a:r>
                        <a:rPr lang="en-US" dirty="0"/>
                        <a:t>Portugal</a:t>
                      </a:r>
                    </a:p>
                    <a:p>
                      <a:pPr algn="ctr"/>
                      <a:r>
                        <a:rPr lang="en-US" dirty="0"/>
                        <a:t>Spain</a:t>
                      </a:r>
                    </a:p>
                  </a:txBody>
                  <a:tcPr/>
                </a:tc>
                <a:extLst>
                  <a:ext uri="{0D108BD9-81ED-4DB2-BD59-A6C34878D82A}">
                    <a16:rowId xmlns:a16="http://schemas.microsoft.com/office/drawing/2014/main" val="4122517149"/>
                  </a:ext>
                </a:extLst>
              </a:tr>
              <a:tr h="348438">
                <a:tc>
                  <a:txBody>
                    <a:bodyPr/>
                    <a:lstStyle/>
                    <a:p>
                      <a:pPr algn="ctr"/>
                      <a:r>
                        <a:rPr lang="en-US" dirty="0"/>
                        <a:t>3</a:t>
                      </a:r>
                    </a:p>
                  </a:txBody>
                  <a:tcPr/>
                </a:tc>
                <a:tc>
                  <a:txBody>
                    <a:bodyPr/>
                    <a:lstStyle/>
                    <a:p>
                      <a:pPr algn="ctr"/>
                      <a:r>
                        <a:rPr lang="en-US" dirty="0"/>
                        <a:t>1L</a:t>
                      </a:r>
                    </a:p>
                  </a:txBody>
                  <a:tcPr/>
                </a:tc>
                <a:tc>
                  <a:txBody>
                    <a:bodyPr/>
                    <a:lstStyle/>
                    <a:p>
                      <a:pPr algn="ctr"/>
                      <a:r>
                        <a:rPr lang="en-US" dirty="0" err="1"/>
                        <a:t>Mosunetuzumab</a:t>
                      </a:r>
                      <a:endParaRPr lang="en-US" dirty="0"/>
                    </a:p>
                  </a:txBody>
                  <a:tcPr/>
                </a:tc>
                <a:tc>
                  <a:txBody>
                    <a:bodyPr/>
                    <a:lstStyle/>
                    <a:p>
                      <a:pPr algn="ctr"/>
                      <a:r>
                        <a:rPr lang="en-US" dirty="0"/>
                        <a:t>Rituximab</a:t>
                      </a:r>
                    </a:p>
                  </a:txBody>
                  <a:tcPr/>
                </a:tc>
                <a:tc>
                  <a:txBody>
                    <a:bodyPr/>
                    <a:lstStyle/>
                    <a:p>
                      <a:pPr algn="ctr" rtl="0"/>
                      <a:r>
                        <a:rPr lang="en-US" sz="1800" b="0" i="0" kern="1200" dirty="0">
                          <a:solidFill>
                            <a:schemeClr val="dk1"/>
                          </a:solidFill>
                          <a:effectLst/>
                          <a:latin typeface="+mn-lt"/>
                          <a:ea typeface="+mn-ea"/>
                          <a:cs typeface="+mn-cs"/>
                        </a:rPr>
                        <a:t>S2308</a:t>
                      </a:r>
                    </a:p>
                  </a:txBody>
                  <a:tcPr/>
                </a:tc>
                <a:tc>
                  <a:txBody>
                    <a:bodyPr/>
                    <a:lstStyle/>
                    <a:p>
                      <a:pPr algn="ctr"/>
                      <a:r>
                        <a:rPr lang="en-US" dirty="0"/>
                        <a:t>PFS</a:t>
                      </a:r>
                    </a:p>
                  </a:txBody>
                  <a:tcPr/>
                </a:tc>
                <a:tc>
                  <a:txBody>
                    <a:bodyPr/>
                    <a:lstStyle/>
                    <a:p>
                      <a:pPr algn="ctr"/>
                      <a:r>
                        <a:rPr lang="en-US" dirty="0"/>
                        <a:t>N</a:t>
                      </a:r>
                    </a:p>
                  </a:txBody>
                  <a:tcPr/>
                </a:tc>
                <a:tc>
                  <a:txBody>
                    <a:bodyPr/>
                    <a:lstStyle/>
                    <a:p>
                      <a:pPr algn="ctr"/>
                      <a:r>
                        <a:rPr lang="en-US" dirty="0"/>
                        <a:t>USA</a:t>
                      </a:r>
                    </a:p>
                  </a:txBody>
                  <a:tcPr/>
                </a:tc>
                <a:extLst>
                  <a:ext uri="{0D108BD9-81ED-4DB2-BD59-A6C34878D82A}">
                    <a16:rowId xmlns:a16="http://schemas.microsoft.com/office/drawing/2014/main" val="2056335348"/>
                  </a:ext>
                </a:extLst>
              </a:tr>
              <a:tr h="348438">
                <a:tc>
                  <a:txBody>
                    <a:bodyPr/>
                    <a:lstStyle/>
                    <a:p>
                      <a:pPr algn="ctr"/>
                      <a:r>
                        <a:rPr lang="en-US" dirty="0"/>
                        <a:t>3</a:t>
                      </a:r>
                    </a:p>
                  </a:txBody>
                  <a:tcPr/>
                </a:tc>
                <a:tc>
                  <a:txBody>
                    <a:bodyPr/>
                    <a:lstStyle/>
                    <a:p>
                      <a:pPr algn="ctr"/>
                      <a:r>
                        <a:rPr lang="en-US" dirty="0"/>
                        <a:t>1L</a:t>
                      </a:r>
                    </a:p>
                  </a:txBody>
                  <a:tcPr/>
                </a:tc>
                <a:tc>
                  <a:txBody>
                    <a:bodyPr/>
                    <a:lstStyle/>
                    <a:p>
                      <a:pPr algn="ctr"/>
                      <a:r>
                        <a:rPr lang="en-US" dirty="0" err="1"/>
                        <a:t>Odronextamab</a:t>
                      </a:r>
                      <a:endParaRPr lang="en-US" dirty="0"/>
                    </a:p>
                  </a:txBody>
                  <a:tcPr/>
                </a:tc>
                <a:tc>
                  <a:txBody>
                    <a:bodyPr/>
                    <a:lstStyle/>
                    <a:p>
                      <a:pPr algn="ctr"/>
                      <a:r>
                        <a:rPr lang="en-US" dirty="0"/>
                        <a:t>CIT</a:t>
                      </a:r>
                    </a:p>
                  </a:txBody>
                  <a:tcPr/>
                </a:tc>
                <a:tc>
                  <a:txBody>
                    <a:bodyPr/>
                    <a:lstStyle/>
                    <a:p>
                      <a:pPr algn="ctr" rtl="0"/>
                      <a:r>
                        <a:rPr lang="en-US" sz="1800" b="0" i="0" kern="1200" dirty="0">
                          <a:solidFill>
                            <a:schemeClr val="dk1"/>
                          </a:solidFill>
                          <a:effectLst/>
                          <a:latin typeface="+mn-lt"/>
                          <a:ea typeface="+mn-ea"/>
                          <a:cs typeface="+mn-cs"/>
                        </a:rPr>
                        <a:t>OLYMPIA-1</a:t>
                      </a:r>
                    </a:p>
                  </a:txBody>
                  <a:tcPr/>
                </a:tc>
                <a:tc>
                  <a:txBody>
                    <a:bodyPr/>
                    <a:lstStyle/>
                    <a:p>
                      <a:pPr algn="ctr"/>
                      <a:r>
                        <a:rPr lang="en-US" dirty="0"/>
                        <a:t>CR30</a:t>
                      </a:r>
                    </a:p>
                  </a:txBody>
                  <a:tcPr/>
                </a:tc>
                <a:tc>
                  <a:txBody>
                    <a:bodyPr/>
                    <a:lstStyle/>
                    <a:p>
                      <a:pPr algn="ctr"/>
                      <a:r>
                        <a:rPr lang="en-US" dirty="0"/>
                        <a:t>Y</a:t>
                      </a:r>
                    </a:p>
                  </a:txBody>
                  <a:tcPr/>
                </a:tc>
                <a:tc>
                  <a:txBody>
                    <a:bodyPr/>
                    <a:lstStyle/>
                    <a:p>
                      <a:pPr algn="ctr"/>
                      <a:endParaRPr lang="en-US" dirty="0"/>
                    </a:p>
                  </a:txBody>
                  <a:tcPr/>
                </a:tc>
                <a:extLst>
                  <a:ext uri="{0D108BD9-81ED-4DB2-BD59-A6C34878D82A}">
                    <a16:rowId xmlns:a16="http://schemas.microsoft.com/office/drawing/2014/main" val="3493328141"/>
                  </a:ext>
                </a:extLst>
              </a:tr>
              <a:tr h="609767">
                <a:tc>
                  <a:txBody>
                    <a:bodyPr/>
                    <a:lstStyle/>
                    <a:p>
                      <a:pPr algn="ctr"/>
                      <a:r>
                        <a:rPr lang="en-US" dirty="0"/>
                        <a:t>3</a:t>
                      </a:r>
                    </a:p>
                  </a:txBody>
                  <a:tcPr/>
                </a:tc>
                <a:tc>
                  <a:txBody>
                    <a:bodyPr/>
                    <a:lstStyle/>
                    <a:p>
                      <a:pPr algn="ctr"/>
                      <a:r>
                        <a:rPr lang="en-US" dirty="0"/>
                        <a:t>2L</a:t>
                      </a:r>
                    </a:p>
                  </a:txBody>
                  <a:tcPr/>
                </a:tc>
                <a:tc>
                  <a:txBody>
                    <a:bodyPr/>
                    <a:lstStyle/>
                    <a:p>
                      <a:pPr algn="ctr"/>
                      <a:r>
                        <a:rPr lang="en-US" dirty="0" err="1"/>
                        <a:t>Odronextamab</a:t>
                      </a:r>
                      <a:r>
                        <a:rPr lang="en-US" dirty="0"/>
                        <a:t> + R</a:t>
                      </a:r>
                      <a:r>
                        <a:rPr lang="en-US" baseline="30000" dirty="0"/>
                        <a:t>2</a:t>
                      </a:r>
                      <a:endParaRPr lang="en-US" dirty="0"/>
                    </a:p>
                  </a:txBody>
                  <a:tcPr/>
                </a:tc>
                <a:tc>
                  <a:txBody>
                    <a:bodyPr/>
                    <a:lstStyle/>
                    <a:p>
                      <a:pPr algn="ctr"/>
                      <a:r>
                        <a:rPr lang="en-US" dirty="0"/>
                        <a:t>R</a:t>
                      </a:r>
                      <a:r>
                        <a:rPr lang="en-US" baseline="30000" dirty="0"/>
                        <a:t>2</a:t>
                      </a:r>
                      <a:endParaRPr lang="en-US" dirty="0"/>
                    </a:p>
                  </a:txBody>
                  <a:tcPr/>
                </a:tc>
                <a:tc>
                  <a:txBody>
                    <a:bodyPr/>
                    <a:lstStyle/>
                    <a:p>
                      <a:pPr algn="ctr" rtl="0"/>
                      <a:r>
                        <a:rPr lang="en-US" sz="1800" b="0" i="0" kern="1200" dirty="0">
                          <a:solidFill>
                            <a:schemeClr val="dk1"/>
                          </a:solidFill>
                          <a:effectLst/>
                          <a:latin typeface="+mn-lt"/>
                          <a:ea typeface="+mn-ea"/>
                          <a:cs typeface="+mn-cs"/>
                        </a:rPr>
                        <a:t>OLYMPIA-5</a:t>
                      </a:r>
                      <a:r>
                        <a:rPr lang="en-US" sz="1800" b="0" i="0" kern="1200" baseline="30000" dirty="0">
                          <a:solidFill>
                            <a:schemeClr val="dk1"/>
                          </a:solidFill>
                          <a:effectLst/>
                          <a:latin typeface="+mn-lt"/>
                          <a:ea typeface="+mn-ea"/>
                          <a:cs typeface="+mn-cs"/>
                        </a:rPr>
                        <a:t>*</a:t>
                      </a:r>
                      <a:endParaRPr lang="en-US" sz="1800" b="0" i="0" kern="1200" dirty="0">
                        <a:solidFill>
                          <a:schemeClr val="dk1"/>
                        </a:solidFill>
                        <a:effectLst/>
                        <a:latin typeface="+mn-lt"/>
                        <a:ea typeface="+mn-ea"/>
                        <a:cs typeface="+mn-cs"/>
                      </a:endParaRPr>
                    </a:p>
                  </a:txBody>
                  <a:tcPr/>
                </a:tc>
                <a:tc>
                  <a:txBody>
                    <a:bodyPr/>
                    <a:lstStyle/>
                    <a:p>
                      <a:pPr algn="ctr"/>
                      <a:r>
                        <a:rPr lang="en-US" dirty="0"/>
                        <a:t>PFS</a:t>
                      </a:r>
                    </a:p>
                  </a:txBody>
                  <a:tcPr/>
                </a:tc>
                <a:tc>
                  <a:txBody>
                    <a:bodyPr/>
                    <a:lstStyle/>
                    <a:p>
                      <a:pPr algn="ctr"/>
                      <a:r>
                        <a:rPr lang="en-US" dirty="0"/>
                        <a:t>Y</a:t>
                      </a:r>
                    </a:p>
                  </a:txBody>
                  <a:tcPr/>
                </a:tc>
                <a:tc>
                  <a:txBody>
                    <a:bodyPr/>
                    <a:lstStyle/>
                    <a:p>
                      <a:pPr algn="ctr"/>
                      <a:endParaRPr lang="en-US" dirty="0"/>
                    </a:p>
                  </a:txBody>
                  <a:tcPr/>
                </a:tc>
                <a:extLst>
                  <a:ext uri="{0D108BD9-81ED-4DB2-BD59-A6C34878D82A}">
                    <a16:rowId xmlns:a16="http://schemas.microsoft.com/office/drawing/2014/main" val="2084257458"/>
                  </a:ext>
                </a:extLst>
              </a:tr>
              <a:tr h="609767">
                <a:tc>
                  <a:txBody>
                    <a:bodyPr/>
                    <a:lstStyle/>
                    <a:p>
                      <a:pPr algn="ctr"/>
                      <a:r>
                        <a:rPr lang="en-US" dirty="0"/>
                        <a:t>3</a:t>
                      </a:r>
                    </a:p>
                  </a:txBody>
                  <a:tcPr/>
                </a:tc>
                <a:tc>
                  <a:txBody>
                    <a:bodyPr/>
                    <a:lstStyle/>
                    <a:p>
                      <a:pPr algn="ctr"/>
                      <a:r>
                        <a:rPr lang="en-US" dirty="0"/>
                        <a:t>1L</a:t>
                      </a:r>
                    </a:p>
                  </a:txBody>
                  <a:tcPr/>
                </a:tc>
                <a:tc>
                  <a:txBody>
                    <a:bodyPr/>
                    <a:lstStyle/>
                    <a:p>
                      <a:pPr algn="ctr"/>
                      <a:r>
                        <a:rPr lang="en-US" dirty="0"/>
                        <a:t>Epcoritamab + R</a:t>
                      </a:r>
                      <a:r>
                        <a:rPr lang="en-US" baseline="30000" dirty="0"/>
                        <a:t>2</a:t>
                      </a:r>
                    </a:p>
                  </a:txBody>
                  <a:tcPr/>
                </a:tc>
                <a:tc>
                  <a:txBody>
                    <a:bodyPr/>
                    <a:lstStyle/>
                    <a:p>
                      <a:pPr algn="ctr"/>
                      <a:r>
                        <a:rPr lang="en-US" dirty="0"/>
                        <a:t>CIT</a:t>
                      </a:r>
                    </a:p>
                  </a:txBody>
                  <a:tcPr/>
                </a:tc>
                <a:tc>
                  <a:txBody>
                    <a:bodyPr/>
                    <a:lstStyle/>
                    <a:p>
                      <a:pPr algn="ctr" rtl="0"/>
                      <a:r>
                        <a:rPr lang="en-US" sz="1800" b="0" i="0" kern="1200" dirty="0">
                          <a:solidFill>
                            <a:schemeClr val="dk1"/>
                          </a:solidFill>
                          <a:effectLst/>
                          <a:latin typeface="+mn-lt"/>
                          <a:ea typeface="+mn-ea"/>
                          <a:cs typeface="+mn-cs"/>
                        </a:rPr>
                        <a:t>EPCORE – FL -2</a:t>
                      </a:r>
                    </a:p>
                  </a:txBody>
                  <a:tcPr/>
                </a:tc>
                <a:tc>
                  <a:txBody>
                    <a:bodyPr/>
                    <a:lstStyle/>
                    <a:p>
                      <a:pPr algn="ctr"/>
                      <a:r>
                        <a:rPr lang="en-US" dirty="0"/>
                        <a:t>CR30</a:t>
                      </a:r>
                    </a:p>
                    <a:p>
                      <a:pPr algn="ctr"/>
                      <a:r>
                        <a:rPr lang="en-US" dirty="0"/>
                        <a:t>PFS</a:t>
                      </a:r>
                    </a:p>
                  </a:txBody>
                  <a:tcPr/>
                </a:tc>
                <a:tc>
                  <a:txBody>
                    <a:bodyPr/>
                    <a:lstStyle/>
                    <a:p>
                      <a:pPr algn="ctr"/>
                      <a:r>
                        <a:rPr lang="en-US" dirty="0"/>
                        <a:t>Y</a:t>
                      </a:r>
                    </a:p>
                  </a:txBody>
                  <a:tcPr/>
                </a:tc>
                <a:tc>
                  <a:txBody>
                    <a:bodyPr/>
                    <a:lstStyle/>
                    <a:p>
                      <a:pPr algn="ctr"/>
                      <a:endParaRPr lang="en-US" dirty="0"/>
                    </a:p>
                  </a:txBody>
                  <a:tcPr/>
                </a:tc>
                <a:extLst>
                  <a:ext uri="{0D108BD9-81ED-4DB2-BD59-A6C34878D82A}">
                    <a16:rowId xmlns:a16="http://schemas.microsoft.com/office/drawing/2014/main" val="4028468290"/>
                  </a:ext>
                </a:extLst>
              </a:tr>
              <a:tr h="1655081">
                <a:tc>
                  <a:txBody>
                    <a:bodyPr/>
                    <a:lstStyle/>
                    <a:p>
                      <a:pPr algn="ctr"/>
                      <a:r>
                        <a:rPr lang="en-US" dirty="0"/>
                        <a:t>3</a:t>
                      </a:r>
                    </a:p>
                  </a:txBody>
                  <a:tcPr/>
                </a:tc>
                <a:tc>
                  <a:txBody>
                    <a:bodyPr/>
                    <a:lstStyle/>
                    <a:p>
                      <a:pPr algn="ctr"/>
                      <a:r>
                        <a:rPr lang="en-US" dirty="0"/>
                        <a:t>2L</a:t>
                      </a:r>
                    </a:p>
                  </a:txBody>
                  <a:tcPr/>
                </a:tc>
                <a:tc>
                  <a:txBody>
                    <a:bodyPr/>
                    <a:lstStyle/>
                    <a:p>
                      <a:pPr algn="ctr"/>
                      <a:r>
                        <a:rPr lang="en-US" dirty="0" err="1"/>
                        <a:t>Mosunetuzumab</a:t>
                      </a:r>
                      <a:r>
                        <a:rPr lang="en-US" dirty="0"/>
                        <a:t> + lenalidomide</a:t>
                      </a:r>
                    </a:p>
                  </a:txBody>
                  <a:tcPr/>
                </a:tc>
                <a:tc>
                  <a:txBody>
                    <a:bodyPr/>
                    <a:lstStyle/>
                    <a:p>
                      <a:pPr algn="ctr"/>
                      <a:r>
                        <a:rPr lang="en-US" dirty="0"/>
                        <a:t>CIT or R</a:t>
                      </a:r>
                      <a:r>
                        <a:rPr lang="en-US" baseline="30000" dirty="0"/>
                        <a:t>2</a:t>
                      </a:r>
                      <a:endParaRPr lang="en-US" dirty="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0" i="0" kern="1200" dirty="0">
                          <a:solidFill>
                            <a:schemeClr val="dk1"/>
                          </a:solidFill>
                          <a:effectLst/>
                          <a:latin typeface="+mn-lt"/>
                          <a:ea typeface="+mn-ea"/>
                          <a:cs typeface="+mn-cs"/>
                        </a:rPr>
                        <a:t>MARSUN</a:t>
                      </a:r>
                    </a:p>
                    <a:p>
                      <a:pPr algn="ctr" rtl="0"/>
                      <a:endParaRPr lang="en-US" sz="1800" b="0" i="0" kern="1200" dirty="0">
                        <a:solidFill>
                          <a:schemeClr val="dk1"/>
                        </a:solidFill>
                        <a:effectLst/>
                        <a:latin typeface="+mn-lt"/>
                        <a:ea typeface="+mn-ea"/>
                        <a:cs typeface="+mn-cs"/>
                      </a:endParaRPr>
                    </a:p>
                  </a:txBody>
                  <a:tcPr/>
                </a:tc>
                <a:tc>
                  <a:txBody>
                    <a:bodyPr/>
                    <a:lstStyle/>
                    <a:p>
                      <a:pPr algn="ctr"/>
                      <a:r>
                        <a:rPr lang="en-US" dirty="0"/>
                        <a:t>PFS</a:t>
                      </a:r>
                    </a:p>
                  </a:txBody>
                  <a:tcPr/>
                </a:tc>
                <a:tc>
                  <a:txBody>
                    <a:bodyPr/>
                    <a:lstStyle/>
                    <a:p>
                      <a:pPr algn="ctr"/>
                      <a:r>
                        <a:rPr lang="en-US" dirty="0"/>
                        <a:t>N</a:t>
                      </a:r>
                    </a:p>
                  </a:txBody>
                  <a:tcPr/>
                </a:tc>
                <a:tc>
                  <a:txBody>
                    <a:bodyPr/>
                    <a:lstStyle/>
                    <a:p>
                      <a:pPr algn="ctr"/>
                      <a:r>
                        <a:rPr lang="en-US" dirty="0"/>
                        <a:t>France</a:t>
                      </a:r>
                    </a:p>
                    <a:p>
                      <a:pPr algn="ctr"/>
                      <a:r>
                        <a:rPr lang="en-US" dirty="0"/>
                        <a:t>Germany</a:t>
                      </a:r>
                    </a:p>
                    <a:p>
                      <a:pPr algn="ctr"/>
                      <a:r>
                        <a:rPr lang="en-US" dirty="0"/>
                        <a:t>Portugal</a:t>
                      </a:r>
                    </a:p>
                    <a:p>
                      <a:pPr algn="ctr"/>
                      <a:r>
                        <a:rPr lang="en-US" dirty="0"/>
                        <a:t>Belgium Italy</a:t>
                      </a:r>
                    </a:p>
                    <a:p>
                      <a:pPr algn="ctr"/>
                      <a:endParaRPr lang="en-US" dirty="0"/>
                    </a:p>
                  </a:txBody>
                  <a:tcPr/>
                </a:tc>
                <a:extLst>
                  <a:ext uri="{0D108BD9-81ED-4DB2-BD59-A6C34878D82A}">
                    <a16:rowId xmlns:a16="http://schemas.microsoft.com/office/drawing/2014/main" val="4137557292"/>
                  </a:ext>
                </a:extLst>
              </a:tr>
            </a:tbl>
          </a:graphicData>
        </a:graphic>
      </p:graphicFrame>
      <p:sp>
        <p:nvSpPr>
          <p:cNvPr id="3" name="TextBox 2">
            <a:extLst>
              <a:ext uri="{FF2B5EF4-FFF2-40B4-BE49-F238E27FC236}">
                <a16:creationId xmlns:a16="http://schemas.microsoft.com/office/drawing/2014/main" id="{F2BCC213-1645-3765-3191-85B45B3B8E10}"/>
              </a:ext>
            </a:extLst>
          </p:cNvPr>
          <p:cNvSpPr txBox="1"/>
          <p:nvPr/>
        </p:nvSpPr>
        <p:spPr>
          <a:xfrm>
            <a:off x="244548" y="6154657"/>
            <a:ext cx="2913321"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rPr>
              <a:t>*includes MZL</a:t>
            </a:r>
          </a:p>
        </p:txBody>
      </p:sp>
    </p:spTree>
    <p:extLst>
      <p:ext uri="{BB962C8B-B14F-4D97-AF65-F5344CB8AC3E}">
        <p14:creationId xmlns:p14="http://schemas.microsoft.com/office/powerpoint/2010/main" val="32189460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6"/>
          <p:cNvSpPr>
            <a:spLocks noChangeArrowheads="1"/>
          </p:cNvSpPr>
          <p:nvPr/>
        </p:nvSpPr>
        <p:spPr bwMode="auto">
          <a:xfrm>
            <a:off x="904413" y="935649"/>
            <a:ext cx="7696200" cy="609600"/>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tworked iPads are available.</a:t>
            </a:r>
          </a:p>
        </p:txBody>
      </p:sp>
      <p:sp>
        <p:nvSpPr>
          <p:cNvPr id="19" name="Rectangle 10"/>
          <p:cNvSpPr>
            <a:spLocks noChangeArrowheads="1"/>
          </p:cNvSpPr>
          <p:nvPr/>
        </p:nvSpPr>
        <p:spPr bwMode="auto">
          <a:xfrm>
            <a:off x="914639" y="6264897"/>
            <a:ext cx="10360152" cy="503238"/>
          </a:xfrm>
          <a:prstGeom prst="rect">
            <a:avLst/>
          </a:prstGeom>
          <a:noFill/>
          <a:ln>
            <a:noFill/>
          </a:ln>
          <a:effectLst>
            <a:prstShdw prst="shdw17" dist="17961" dir="2700000">
              <a:srgbClr val="708688">
                <a:alpha val="74997"/>
              </a:srgbClr>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For assistance, please raise your hand. Devices will be collected at the conclusion of the activity.</a:t>
            </a:r>
          </a:p>
        </p:txBody>
      </p:sp>
      <p:sp>
        <p:nvSpPr>
          <p:cNvPr id="20" name="Rectangle 13"/>
          <p:cNvSpPr>
            <a:spLocks noChangeArrowheads="1"/>
          </p:cNvSpPr>
          <p:nvPr/>
        </p:nvSpPr>
        <p:spPr bwMode="auto">
          <a:xfrm>
            <a:off x="1920479" y="168653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Tap the Program Slides button to review speaker presentations and other program content.</a:t>
            </a:r>
          </a:p>
        </p:txBody>
      </p:sp>
      <p:sp>
        <p:nvSpPr>
          <p:cNvPr id="23" name="Rectangle 13"/>
          <p:cNvSpPr>
            <a:spLocks noChangeArrowheads="1"/>
          </p:cNvSpPr>
          <p:nvPr/>
        </p:nvSpPr>
        <p:spPr bwMode="auto">
          <a:xfrm>
            <a:off x="1920479" y="282421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pre- and </a:t>
            </a:r>
            <a:r>
              <a:rPr kumimoji="0" lang="en-US" sz="21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ostmeeting</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urveys. Survey questions will be discussed throughout the meeting.</a:t>
            </a:r>
          </a:p>
        </p:txBody>
      </p:sp>
      <p:sp>
        <p:nvSpPr>
          <p:cNvPr id="25" name="Rectangle 13"/>
          <p:cNvSpPr>
            <a:spLocks noChangeArrowheads="1"/>
          </p:cNvSpPr>
          <p:nvPr/>
        </p:nvSpPr>
        <p:spPr bwMode="auto">
          <a:xfrm>
            <a:off x="1920479" y="401339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Tap Ask a Question to submit a challenging case or question for discussion. We will aim to address as many questions as possible during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64030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398396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2809741"/>
            <a:ext cx="1005840" cy="774684"/>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in the Meeting Room</a:t>
            </a:r>
          </a:p>
        </p:txBody>
      </p:sp>
    </p:spTree>
    <p:extLst>
      <p:ext uri="{BB962C8B-B14F-4D97-AF65-F5344CB8AC3E}">
        <p14:creationId xmlns:p14="http://schemas.microsoft.com/office/powerpoint/2010/main" val="30264606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A4B59D-6306-F12D-B744-1DDA263E864F}"/>
              </a:ext>
            </a:extLst>
          </p:cNvPr>
          <p:cNvSpPr>
            <a:spLocks noGrp="1"/>
          </p:cNvSpPr>
          <p:nvPr>
            <p:ph type="title"/>
          </p:nvPr>
        </p:nvSpPr>
        <p:spPr/>
        <p:txBody>
          <a:bodyPr/>
          <a:lstStyle/>
          <a:p>
            <a:r>
              <a:rPr lang="en-US" dirty="0"/>
              <a:t>R/R MCL – </a:t>
            </a:r>
            <a:r>
              <a:rPr lang="en-US" dirty="0" err="1"/>
              <a:t>Glofitamab</a:t>
            </a:r>
            <a:r>
              <a:rPr lang="en-US" dirty="0"/>
              <a:t> </a:t>
            </a:r>
            <a:r>
              <a:rPr lang="en-GB" dirty="0"/>
              <a:t>updated data after a 3.5-year follow-up</a:t>
            </a:r>
            <a:endParaRPr lang="en-US" dirty="0"/>
          </a:p>
        </p:txBody>
      </p:sp>
      <p:sp>
        <p:nvSpPr>
          <p:cNvPr id="3" name="Content Placeholder 2">
            <a:extLst>
              <a:ext uri="{FF2B5EF4-FFF2-40B4-BE49-F238E27FC236}">
                <a16:creationId xmlns:a16="http://schemas.microsoft.com/office/drawing/2014/main" id="{970B8210-82D0-227A-4595-11C536D99017}"/>
              </a:ext>
            </a:extLst>
          </p:cNvPr>
          <p:cNvSpPr>
            <a:spLocks noGrp="1"/>
          </p:cNvSpPr>
          <p:nvPr>
            <p:ph sz="half" idx="1"/>
          </p:nvPr>
        </p:nvSpPr>
        <p:spPr>
          <a:xfrm>
            <a:off x="332318" y="1299074"/>
            <a:ext cx="5564716" cy="5037931"/>
          </a:xfrm>
        </p:spPr>
        <p:txBody>
          <a:bodyPr/>
          <a:lstStyle/>
          <a:p>
            <a:pPr>
              <a:buFont typeface="Arial" panose="020B0604020202020204" pitchFamily="34" charset="0"/>
              <a:buChar char="•"/>
            </a:pPr>
            <a:r>
              <a:rPr lang="en-US" sz="2200" dirty="0"/>
              <a:t>Remains a difficult space despite approval of </a:t>
            </a:r>
          </a:p>
          <a:p>
            <a:pPr lvl="1">
              <a:buFont typeface="Arial" panose="020B0604020202020204" pitchFamily="34" charset="0"/>
              <a:buChar char="•"/>
            </a:pPr>
            <a:r>
              <a:rPr lang="en-US" sz="2200" dirty="0"/>
              <a:t>CAR-T (long term follow up w/ very few patients still in remission (cure unlikely).</a:t>
            </a:r>
          </a:p>
          <a:p>
            <a:pPr lvl="1">
              <a:buFont typeface="Arial" panose="020B0604020202020204" pitchFamily="34" charset="0"/>
              <a:buChar char="•"/>
            </a:pPr>
            <a:r>
              <a:rPr lang="en-US" sz="2200" dirty="0" err="1"/>
              <a:t>Pirtobrutinb</a:t>
            </a:r>
            <a:r>
              <a:rPr lang="en-US" sz="2200" dirty="0"/>
              <a:t> (likely best served as a bridge for most patients).</a:t>
            </a:r>
          </a:p>
          <a:p>
            <a:pPr lvl="1">
              <a:buFont typeface="Arial" panose="020B0604020202020204" pitchFamily="34" charset="0"/>
              <a:buChar char="•"/>
            </a:pPr>
            <a:r>
              <a:rPr lang="en-US" sz="2200" dirty="0" err="1"/>
              <a:t>Sonrotoclax</a:t>
            </a:r>
            <a:r>
              <a:rPr lang="en-US" sz="2200" dirty="0"/>
              <a:t> (response rates similar to </a:t>
            </a:r>
            <a:r>
              <a:rPr lang="en-US" sz="2200" dirty="0" err="1"/>
              <a:t>pirto</a:t>
            </a:r>
            <a:r>
              <a:rPr lang="en-US" sz="2200" dirty="0"/>
              <a:t>)</a:t>
            </a:r>
          </a:p>
          <a:p>
            <a:pPr>
              <a:buFont typeface="Arial" panose="020B0604020202020204" pitchFamily="34" charset="0"/>
              <a:buChar char="•"/>
            </a:pPr>
            <a:r>
              <a:rPr lang="en-US" sz="2200" dirty="0"/>
              <a:t>As such other options are still needed.</a:t>
            </a:r>
          </a:p>
          <a:p>
            <a:pPr lvl="1">
              <a:buFont typeface="Arial" panose="020B0604020202020204" pitchFamily="34" charset="0"/>
              <a:buChar char="•"/>
            </a:pPr>
            <a:r>
              <a:rPr lang="en-US" sz="2200" dirty="0" err="1"/>
              <a:t>Mosun</a:t>
            </a:r>
            <a:r>
              <a:rPr lang="en-US" sz="2200" dirty="0"/>
              <a:t>/Pola – Impressive early response, and safety but lacks long term data to support durability</a:t>
            </a:r>
          </a:p>
        </p:txBody>
      </p:sp>
      <p:pic>
        <p:nvPicPr>
          <p:cNvPr id="5" name="Content Placeholder 4">
            <a:extLst>
              <a:ext uri="{FF2B5EF4-FFF2-40B4-BE49-F238E27FC236}">
                <a16:creationId xmlns:a16="http://schemas.microsoft.com/office/drawing/2014/main" id="{CB574E8F-85EA-C94A-EBE3-56FD2BB63EB0}"/>
              </a:ext>
            </a:extLst>
          </p:cNvPr>
          <p:cNvPicPr>
            <a:picLocks noGrp="1" noChangeAspect="1"/>
          </p:cNvPicPr>
          <p:nvPr>
            <p:ph sz="half" idx="2"/>
          </p:nvPr>
        </p:nvPicPr>
        <p:blipFill>
          <a:blip r:embed="rId2"/>
          <a:stretch>
            <a:fillRect/>
          </a:stretch>
        </p:blipFill>
        <p:spPr>
          <a:xfrm>
            <a:off x="5897034" y="1866316"/>
            <a:ext cx="6135450" cy="3391481"/>
          </a:xfrm>
          <a:prstGeom prst="rect">
            <a:avLst/>
          </a:prstGeom>
        </p:spPr>
      </p:pic>
    </p:spTree>
    <p:extLst>
      <p:ext uri="{BB962C8B-B14F-4D97-AF65-F5344CB8AC3E}">
        <p14:creationId xmlns:p14="http://schemas.microsoft.com/office/powerpoint/2010/main" val="2877157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356E7E-AF26-18F9-CD8F-B4B9C22D5A9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DA2546-DC93-9050-F5A9-8C3EF94183CB}"/>
              </a:ext>
            </a:extLst>
          </p:cNvPr>
          <p:cNvSpPr>
            <a:spLocks noGrp="1"/>
          </p:cNvSpPr>
          <p:nvPr>
            <p:ph type="title"/>
          </p:nvPr>
        </p:nvSpPr>
        <p:spPr>
          <a:xfrm>
            <a:off x="530039" y="242908"/>
            <a:ext cx="11020197" cy="906972"/>
          </a:xfrm>
        </p:spPr>
        <p:txBody>
          <a:bodyPr/>
          <a:lstStyle/>
          <a:p>
            <a:r>
              <a:rPr lang="en-GB" dirty="0"/>
              <a:t>Duration of complete response</a:t>
            </a:r>
          </a:p>
        </p:txBody>
      </p:sp>
      <p:sp>
        <p:nvSpPr>
          <p:cNvPr id="4" name="Text Placeholder 3">
            <a:extLst>
              <a:ext uri="{FF2B5EF4-FFF2-40B4-BE49-F238E27FC236}">
                <a16:creationId xmlns:a16="http://schemas.microsoft.com/office/drawing/2014/main" id="{A6C0E59A-1E3C-9076-9C50-7E12D5B25C13}"/>
              </a:ext>
            </a:extLst>
          </p:cNvPr>
          <p:cNvSpPr>
            <a:spLocks noGrp="1"/>
          </p:cNvSpPr>
          <p:nvPr>
            <p:ph type="body" sz="quarter" idx="11"/>
          </p:nvPr>
        </p:nvSpPr>
        <p:spPr>
          <a:xfrm>
            <a:off x="528769" y="6077097"/>
            <a:ext cx="10757390" cy="541518"/>
          </a:xfrm>
        </p:spPr>
        <p:txBody>
          <a:bodyPr/>
          <a:lstStyle/>
          <a:p>
            <a:pPr>
              <a:spcAft>
                <a:spcPts val="0"/>
              </a:spcAft>
              <a:buSzPts val="650"/>
            </a:pPr>
            <a:r>
              <a:rPr lang="en-GB" sz="933" dirty="0"/>
              <a:t>*INV-assessed. </a:t>
            </a:r>
            <a:r>
              <a:rPr lang="en-GB" sz="933" baseline="30000" dirty="0"/>
              <a:t>†</a:t>
            </a:r>
            <a:r>
              <a:rPr lang="en-GB" sz="933" dirty="0"/>
              <a:t>Median DOCR follow-up was 34.6 months (range: 1–54) overall, and 40.3 months (range: 1–54) and 33.4 months (range: 2–49) in the prior-BTKi and BTKi-naïve cohorts, respectively.</a:t>
            </a:r>
          </a:p>
          <a:p>
            <a:pPr>
              <a:spcAft>
                <a:spcPts val="0"/>
              </a:spcAft>
              <a:buSzPts val="650"/>
            </a:pPr>
            <a:r>
              <a:rPr lang="en-GB" sz="933" dirty="0"/>
              <a:t>CI, confidence interval; NE, not estimable. </a:t>
            </a:r>
          </a:p>
        </p:txBody>
      </p:sp>
      <p:sp>
        <p:nvSpPr>
          <p:cNvPr id="25" name="Rounded Rectangle 2015">
            <a:extLst>
              <a:ext uri="{FF2B5EF4-FFF2-40B4-BE49-F238E27FC236}">
                <a16:creationId xmlns:a16="http://schemas.microsoft.com/office/drawing/2014/main" id="{7D18E178-EDBC-0334-3090-65EB9DD92DCE}"/>
              </a:ext>
            </a:extLst>
          </p:cNvPr>
          <p:cNvSpPr/>
          <p:nvPr/>
        </p:nvSpPr>
        <p:spPr>
          <a:xfrm>
            <a:off x="539352" y="5386109"/>
            <a:ext cx="11134463" cy="690987"/>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6923" rtl="0" eaLnBrk="1" fontAlgn="base" latinLnBrk="0" hangingPunct="1">
              <a:lnSpc>
                <a:spcPct val="100000"/>
              </a:lnSpc>
              <a:spcBef>
                <a:spcPct val="0"/>
              </a:spcBef>
              <a:spcAft>
                <a:spcPct val="0"/>
              </a:spcAft>
              <a:buClrTx/>
              <a:buSzTx/>
              <a:buFontTx/>
              <a:buNone/>
              <a:tabLst/>
              <a:defRPr/>
            </a:pPr>
            <a:r>
              <a:rPr kumimoji="0" lang="en-GB" sz="1866" b="0" i="0" u="none" strike="noStrike" kern="1200" cap="none" spc="0" normalizeH="0" baseline="0" noProof="0" dirty="0">
                <a:ln>
                  <a:noFill/>
                </a:ln>
                <a:solidFill>
                  <a:srgbClr val="FFFFFF"/>
                </a:solidFill>
                <a:effectLst/>
                <a:uLnTx/>
                <a:uFillTx/>
                <a:latin typeface="Arial" panose="020B0604020202020204"/>
                <a:ea typeface="+mn-ea"/>
                <a:cs typeface="+mn-cs"/>
              </a:rPr>
              <a:t>Fixed-duration glofitamab monotherapy achieved durable CRs in patients with prior BTKi </a:t>
            </a:r>
            <a:br>
              <a:rPr kumimoji="0" lang="en-GB" sz="1866"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GB" sz="1866" b="0" i="0" u="none" strike="noStrike" kern="1200" cap="none" spc="0" normalizeH="0" baseline="0" noProof="0" dirty="0">
                <a:ln>
                  <a:noFill/>
                </a:ln>
                <a:solidFill>
                  <a:srgbClr val="FFFFFF"/>
                </a:solidFill>
                <a:effectLst/>
                <a:uLnTx/>
                <a:uFillTx/>
                <a:latin typeface="Arial" panose="020B0604020202020204"/>
                <a:ea typeface="+mn-ea"/>
                <a:cs typeface="+mn-cs"/>
              </a:rPr>
              <a:t>and those who were BTKi naïve; COVID-19 censoring further extended the median DOCR</a:t>
            </a:r>
          </a:p>
        </p:txBody>
      </p:sp>
      <p:graphicFrame>
        <p:nvGraphicFramePr>
          <p:cNvPr id="289" name="Google Shape;264;p27">
            <a:extLst>
              <a:ext uri="{FF2B5EF4-FFF2-40B4-BE49-F238E27FC236}">
                <a16:creationId xmlns:a16="http://schemas.microsoft.com/office/drawing/2014/main" id="{EF956114-0AFC-7C95-865B-3A1137AF5ED1}"/>
              </a:ext>
            </a:extLst>
          </p:cNvPr>
          <p:cNvGraphicFramePr/>
          <p:nvPr/>
        </p:nvGraphicFramePr>
        <p:xfrm>
          <a:off x="549313" y="4361633"/>
          <a:ext cx="5518297" cy="950784"/>
        </p:xfrm>
        <a:graphic>
          <a:graphicData uri="http://schemas.openxmlformats.org/drawingml/2006/table">
            <a:tbl>
              <a:tblPr>
                <a:gradFill>
                  <a:gsLst>
                    <a:gs pos="0">
                      <a:srgbClr val="FFFFFF"/>
                    </a:gs>
                    <a:gs pos="50000">
                      <a:srgbClr val="FBFBFE"/>
                    </a:gs>
                    <a:gs pos="100000">
                      <a:srgbClr val="FAFBFD"/>
                    </a:gs>
                  </a:gsLst>
                  <a:lin ang="5400012" scaled="0"/>
                </a:gradFill>
              </a:tblPr>
              <a:tblGrid>
                <a:gridCol w="1775452">
                  <a:extLst>
                    <a:ext uri="{9D8B030D-6E8A-4147-A177-3AD203B41FA5}">
                      <a16:colId xmlns:a16="http://schemas.microsoft.com/office/drawing/2014/main" val="20000"/>
                    </a:ext>
                  </a:extLst>
                </a:gridCol>
                <a:gridCol w="1247615">
                  <a:extLst>
                    <a:ext uri="{9D8B030D-6E8A-4147-A177-3AD203B41FA5}">
                      <a16:colId xmlns:a16="http://schemas.microsoft.com/office/drawing/2014/main" val="4233076067"/>
                    </a:ext>
                  </a:extLst>
                </a:gridCol>
                <a:gridCol w="1247615">
                  <a:extLst>
                    <a:ext uri="{9D8B030D-6E8A-4147-A177-3AD203B41FA5}">
                      <a16:colId xmlns:a16="http://schemas.microsoft.com/office/drawing/2014/main" val="1513472702"/>
                    </a:ext>
                  </a:extLst>
                </a:gridCol>
                <a:gridCol w="1247615">
                  <a:extLst>
                    <a:ext uri="{9D8B030D-6E8A-4147-A177-3AD203B41FA5}">
                      <a16:colId xmlns:a16="http://schemas.microsoft.com/office/drawing/2014/main" val="20001"/>
                    </a:ext>
                  </a:extLst>
                </a:gridCol>
              </a:tblGrid>
              <a:tr h="475280">
                <a:tc>
                  <a:txBody>
                    <a:bodyPr/>
                    <a:lstStyle/>
                    <a:p>
                      <a:pPr marL="0" marR="0" lvl="0" indent="0" algn="l" rtl="0">
                        <a:lnSpc>
                          <a:spcPct val="100000"/>
                        </a:lnSpc>
                        <a:spcBef>
                          <a:spcPts val="0"/>
                        </a:spcBef>
                        <a:spcAft>
                          <a:spcPts val="0"/>
                        </a:spcAft>
                        <a:buNone/>
                      </a:pPr>
                      <a:r>
                        <a:rPr lang="en" sz="1200" b="1" dirty="0">
                          <a:solidFill>
                            <a:srgbClr val="FFFFFF"/>
                          </a:solidFill>
                          <a:latin typeface="+mn-lt"/>
                        </a:rPr>
                        <a:t>DOCR</a:t>
                      </a:r>
                      <a:endParaRPr sz="1200" b="1" baseline="30000" dirty="0">
                        <a:solidFill>
                          <a:srgbClr val="FFFFFF"/>
                        </a:solidFill>
                        <a:latin typeface="+mn-lt"/>
                      </a:endParaRPr>
                    </a:p>
                  </a:txBody>
                  <a:tcPr marL="109699" marR="109699" marT="54816" marB="54816" anchor="ctr">
                    <a:lnL w="12700" cap="flat" cmpd="sng">
                      <a:solidFill>
                        <a:schemeClr val="dk2"/>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12700" cap="flat" cmpd="sng">
                      <a:solidFill>
                        <a:schemeClr val="dk2"/>
                      </a:solidFill>
                      <a:prstDash val="solid"/>
                      <a:round/>
                      <a:headEnd type="none" w="sm" len="sm"/>
                      <a:tailEnd type="none" w="sm" len="sm"/>
                    </a:lnT>
                    <a:lnB w="12700" cap="flat" cmpd="sng" algn="ctr">
                      <a:solidFill>
                        <a:schemeClr val="bg2">
                          <a:lumMod val="20000"/>
                          <a:lumOff val="80000"/>
                        </a:schemeClr>
                      </a:solidFill>
                      <a:prstDash val="solid"/>
                      <a:round/>
                      <a:headEnd type="none" w="med" len="med"/>
                      <a:tailEnd type="none" w="med" len="med"/>
                    </a:lnB>
                    <a:solidFill>
                      <a:schemeClr val="dk2"/>
                    </a:solidFill>
                  </a:tcPr>
                </a:tc>
                <a:tc>
                  <a:txBody>
                    <a:bodyPr/>
                    <a:lstStyle/>
                    <a:p>
                      <a:pPr marL="0" marR="0" lvl="0" indent="0" algn="ctr" rtl="0">
                        <a:lnSpc>
                          <a:spcPct val="100000"/>
                        </a:lnSpc>
                        <a:spcBef>
                          <a:spcPts val="0"/>
                        </a:spcBef>
                        <a:spcAft>
                          <a:spcPts val="0"/>
                        </a:spcAft>
                        <a:buClr>
                          <a:schemeClr val="lt1"/>
                        </a:buClr>
                        <a:buSzPts val="1100"/>
                        <a:buFont typeface="Arial"/>
                        <a:buNone/>
                      </a:pPr>
                      <a:r>
                        <a:rPr lang="en" sz="1200" b="1" dirty="0">
                          <a:solidFill>
                            <a:schemeClr val="lt1"/>
                          </a:solidFill>
                          <a:latin typeface="+mn-lt"/>
                        </a:rPr>
                        <a:t>Prior BTKi</a:t>
                      </a:r>
                      <a:endParaRPr sz="1200" dirty="0">
                        <a:latin typeface="+mn-lt"/>
                      </a:endParaRPr>
                    </a:p>
                    <a:p>
                      <a:pPr marL="0" marR="0" lvl="0" indent="0" algn="ctr" rtl="0">
                        <a:lnSpc>
                          <a:spcPct val="100000"/>
                        </a:lnSpc>
                        <a:spcBef>
                          <a:spcPts val="0"/>
                        </a:spcBef>
                        <a:spcAft>
                          <a:spcPts val="0"/>
                        </a:spcAft>
                        <a:buClr>
                          <a:schemeClr val="lt1"/>
                        </a:buClr>
                        <a:buSzPts val="1100"/>
                        <a:buFont typeface="Arial"/>
                        <a:buNone/>
                      </a:pPr>
                      <a:r>
                        <a:rPr lang="en" sz="1200" b="1" u="none" strike="noStrike" cap="none" dirty="0">
                          <a:solidFill>
                            <a:schemeClr val="lt1"/>
                          </a:solidFill>
                          <a:latin typeface="+mn-lt"/>
                          <a:ea typeface="Arial"/>
                          <a:cs typeface="Arial"/>
                          <a:sym typeface="Arial"/>
                        </a:rPr>
                        <a:t>(</a:t>
                      </a:r>
                      <a:r>
                        <a:rPr lang="en" sz="1200" b="1" dirty="0">
                          <a:solidFill>
                            <a:schemeClr val="lt1"/>
                          </a:solidFill>
                          <a:latin typeface="+mn-lt"/>
                        </a:rPr>
                        <a:t>n</a:t>
                      </a:r>
                      <a:r>
                        <a:rPr lang="en" sz="1200" b="1" u="none" strike="noStrike" cap="none" dirty="0">
                          <a:solidFill>
                            <a:schemeClr val="lt1"/>
                          </a:solidFill>
                          <a:latin typeface="+mn-lt"/>
                          <a:ea typeface="Arial"/>
                          <a:cs typeface="Arial"/>
                          <a:sym typeface="Arial"/>
                        </a:rPr>
                        <a:t>=</a:t>
                      </a:r>
                      <a:r>
                        <a:rPr lang="en" sz="1200" b="1" dirty="0">
                          <a:solidFill>
                            <a:schemeClr val="lt1"/>
                          </a:solidFill>
                          <a:latin typeface="+mn-lt"/>
                        </a:rPr>
                        <a:t>24</a:t>
                      </a:r>
                      <a:r>
                        <a:rPr lang="en" sz="1200" b="1" u="none" strike="noStrike" cap="none" dirty="0">
                          <a:solidFill>
                            <a:schemeClr val="lt1"/>
                          </a:solidFill>
                          <a:latin typeface="+mn-lt"/>
                          <a:ea typeface="Arial"/>
                          <a:cs typeface="Arial"/>
                          <a:sym typeface="Arial"/>
                        </a:rPr>
                        <a:t>)</a:t>
                      </a:r>
                      <a:endParaRPr sz="1200" dirty="0">
                        <a:latin typeface="+mn-lt"/>
                      </a:endParaRPr>
                    </a:p>
                  </a:txBody>
                  <a:tcPr marL="109699" marR="109699" marT="54816" marB="54816"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dk2"/>
                      </a:solidFill>
                      <a:prstDash val="solid"/>
                      <a:round/>
                      <a:headEnd type="none" w="sm" len="sm"/>
                      <a:tailEnd type="none" w="sm" len="sm"/>
                    </a:lnT>
                    <a:lnB w="12700" cap="flat" cmpd="sng" algn="ctr">
                      <a:solidFill>
                        <a:schemeClr val="bg2">
                          <a:lumMod val="20000"/>
                          <a:lumOff val="80000"/>
                        </a:schemeClr>
                      </a:solidFill>
                      <a:prstDash val="solid"/>
                      <a:round/>
                      <a:headEnd type="none" w="med" len="med"/>
                      <a:tailEnd type="none" w="med" len="med"/>
                    </a:lnB>
                    <a:solidFill>
                      <a:schemeClr val="accent2"/>
                    </a:solidFill>
                  </a:tcPr>
                </a:tc>
                <a:tc>
                  <a:txBody>
                    <a:bodyPr/>
                    <a:lstStyle/>
                    <a:p>
                      <a:pPr marL="0" marR="0" lvl="0" indent="0" algn="ctr" rtl="0">
                        <a:lnSpc>
                          <a:spcPct val="100000"/>
                        </a:lnSpc>
                        <a:spcBef>
                          <a:spcPts val="0"/>
                        </a:spcBef>
                        <a:spcAft>
                          <a:spcPts val="0"/>
                        </a:spcAft>
                        <a:buClr>
                          <a:schemeClr val="lt1"/>
                        </a:buClr>
                        <a:buSzPts val="1100"/>
                        <a:buFont typeface="Arial"/>
                        <a:buNone/>
                      </a:pPr>
                      <a:r>
                        <a:rPr lang="en" sz="1200" b="1" dirty="0">
                          <a:solidFill>
                            <a:schemeClr val="lt1"/>
                          </a:solidFill>
                          <a:latin typeface="+mn-lt"/>
                        </a:rPr>
                        <a:t>BTKi naive</a:t>
                      </a:r>
                      <a:endParaRPr sz="1200" dirty="0">
                        <a:latin typeface="+mn-lt"/>
                      </a:endParaRPr>
                    </a:p>
                    <a:p>
                      <a:pPr marL="0" marR="0" lvl="0" indent="0" algn="ctr" rtl="0">
                        <a:lnSpc>
                          <a:spcPct val="100000"/>
                        </a:lnSpc>
                        <a:spcBef>
                          <a:spcPts val="0"/>
                        </a:spcBef>
                        <a:spcAft>
                          <a:spcPts val="0"/>
                        </a:spcAft>
                        <a:buClr>
                          <a:schemeClr val="lt1"/>
                        </a:buClr>
                        <a:buSzPts val="1100"/>
                        <a:buFont typeface="Arial"/>
                        <a:buNone/>
                      </a:pPr>
                      <a:r>
                        <a:rPr lang="en" sz="1200" b="1" u="none" strike="noStrike" cap="none" dirty="0">
                          <a:solidFill>
                            <a:schemeClr val="lt1"/>
                          </a:solidFill>
                          <a:latin typeface="+mn-lt"/>
                          <a:ea typeface="Arial"/>
                          <a:cs typeface="Arial"/>
                          <a:sym typeface="Arial"/>
                        </a:rPr>
                        <a:t>(</a:t>
                      </a:r>
                      <a:r>
                        <a:rPr lang="en" sz="1200" b="1" dirty="0">
                          <a:solidFill>
                            <a:schemeClr val="lt1"/>
                          </a:solidFill>
                          <a:latin typeface="+mn-lt"/>
                        </a:rPr>
                        <a:t>n</a:t>
                      </a:r>
                      <a:r>
                        <a:rPr lang="en" sz="1200" b="1" u="none" strike="noStrike" cap="none" dirty="0">
                          <a:solidFill>
                            <a:schemeClr val="lt1"/>
                          </a:solidFill>
                          <a:latin typeface="+mn-lt"/>
                          <a:ea typeface="Arial"/>
                          <a:cs typeface="Arial"/>
                          <a:sym typeface="Arial"/>
                        </a:rPr>
                        <a:t>=</a:t>
                      </a:r>
                      <a:r>
                        <a:rPr lang="en" sz="1200" b="1" dirty="0">
                          <a:solidFill>
                            <a:schemeClr val="lt1"/>
                          </a:solidFill>
                          <a:latin typeface="+mn-lt"/>
                        </a:rPr>
                        <a:t>23</a:t>
                      </a:r>
                      <a:r>
                        <a:rPr lang="en" sz="1200" b="1" u="none" strike="noStrike" cap="none" dirty="0">
                          <a:solidFill>
                            <a:schemeClr val="lt1"/>
                          </a:solidFill>
                          <a:latin typeface="+mn-lt"/>
                          <a:ea typeface="Arial"/>
                          <a:cs typeface="Arial"/>
                          <a:sym typeface="Arial"/>
                        </a:rPr>
                        <a:t>)</a:t>
                      </a:r>
                      <a:endParaRPr sz="1200" b="1" dirty="0">
                        <a:solidFill>
                          <a:schemeClr val="lt1"/>
                        </a:solidFill>
                        <a:latin typeface="+mn-lt"/>
                      </a:endParaRPr>
                    </a:p>
                  </a:txBody>
                  <a:tcPr marL="109699" marR="109699" marT="54816" marB="54816"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dk2"/>
                      </a:solidFill>
                      <a:prstDash val="solid"/>
                      <a:round/>
                      <a:headEnd type="none" w="sm" len="sm"/>
                      <a:tailEnd type="none" w="sm" len="sm"/>
                    </a:lnT>
                    <a:lnB w="12700" cap="flat" cmpd="sng" algn="ctr">
                      <a:solidFill>
                        <a:schemeClr val="bg2">
                          <a:lumMod val="20000"/>
                          <a:lumOff val="80000"/>
                        </a:schemeClr>
                      </a:solidFill>
                      <a:prstDash val="solid"/>
                      <a:round/>
                      <a:headEnd type="none" w="med" len="med"/>
                      <a:tailEnd type="none" w="med" len="med"/>
                    </a:lnB>
                    <a:solidFill>
                      <a:schemeClr val="bg2"/>
                    </a:solidFill>
                  </a:tcPr>
                </a:tc>
                <a:tc>
                  <a:txBody>
                    <a:bodyPr/>
                    <a:lstStyle/>
                    <a:p>
                      <a:pPr marL="0" marR="0" lvl="0" indent="0" algn="ctr" rtl="0">
                        <a:lnSpc>
                          <a:spcPct val="100000"/>
                        </a:lnSpc>
                        <a:spcBef>
                          <a:spcPts val="0"/>
                        </a:spcBef>
                        <a:spcAft>
                          <a:spcPts val="0"/>
                        </a:spcAft>
                        <a:buClr>
                          <a:schemeClr val="lt1"/>
                        </a:buClr>
                        <a:buSzPts val="1100"/>
                        <a:buFont typeface="Arial"/>
                        <a:buNone/>
                      </a:pPr>
                      <a:r>
                        <a:rPr lang="en" sz="1200" b="1" dirty="0">
                          <a:solidFill>
                            <a:schemeClr val="lt1"/>
                          </a:solidFill>
                          <a:latin typeface="+mn-lt"/>
                        </a:rPr>
                        <a:t>All patients</a:t>
                      </a:r>
                      <a:endParaRPr sz="1200" dirty="0">
                        <a:latin typeface="+mn-lt"/>
                      </a:endParaRPr>
                    </a:p>
                    <a:p>
                      <a:pPr marL="0" marR="0" lvl="0" indent="0" algn="ctr" rtl="0">
                        <a:lnSpc>
                          <a:spcPct val="100000"/>
                        </a:lnSpc>
                        <a:spcBef>
                          <a:spcPts val="0"/>
                        </a:spcBef>
                        <a:spcAft>
                          <a:spcPts val="0"/>
                        </a:spcAft>
                        <a:buClr>
                          <a:schemeClr val="lt1"/>
                        </a:buClr>
                        <a:buSzPts val="1100"/>
                        <a:buFont typeface="Arial"/>
                        <a:buNone/>
                      </a:pPr>
                      <a:r>
                        <a:rPr lang="en" sz="1200" b="1" u="none" strike="noStrike" cap="none" dirty="0">
                          <a:solidFill>
                            <a:schemeClr val="lt1"/>
                          </a:solidFill>
                          <a:latin typeface="+mn-lt"/>
                          <a:ea typeface="Arial"/>
                          <a:cs typeface="Arial"/>
                          <a:sym typeface="Arial"/>
                        </a:rPr>
                        <a:t>(</a:t>
                      </a:r>
                      <a:r>
                        <a:rPr lang="en" sz="1200" b="1" dirty="0">
                          <a:solidFill>
                            <a:schemeClr val="lt1"/>
                          </a:solidFill>
                          <a:latin typeface="+mn-lt"/>
                        </a:rPr>
                        <a:t>n</a:t>
                      </a:r>
                      <a:r>
                        <a:rPr lang="en" sz="1200" b="1" u="none" strike="noStrike" cap="none" dirty="0">
                          <a:solidFill>
                            <a:schemeClr val="lt1"/>
                          </a:solidFill>
                          <a:latin typeface="+mn-lt"/>
                          <a:ea typeface="Arial"/>
                          <a:cs typeface="Arial"/>
                          <a:sym typeface="Arial"/>
                        </a:rPr>
                        <a:t>=</a:t>
                      </a:r>
                      <a:r>
                        <a:rPr lang="en" sz="1200" b="1" dirty="0">
                          <a:solidFill>
                            <a:schemeClr val="lt1"/>
                          </a:solidFill>
                          <a:latin typeface="+mn-lt"/>
                        </a:rPr>
                        <a:t>47</a:t>
                      </a:r>
                      <a:r>
                        <a:rPr lang="en" sz="1200" b="1" u="none" strike="noStrike" cap="none" dirty="0">
                          <a:solidFill>
                            <a:schemeClr val="lt1"/>
                          </a:solidFill>
                          <a:latin typeface="+mn-lt"/>
                          <a:ea typeface="Arial"/>
                          <a:cs typeface="Arial"/>
                          <a:sym typeface="Arial"/>
                        </a:rPr>
                        <a:t>)</a:t>
                      </a:r>
                      <a:endParaRPr sz="1200" dirty="0">
                        <a:latin typeface="+mn-lt"/>
                      </a:endParaRPr>
                    </a:p>
                  </a:txBody>
                  <a:tcPr marL="109699" marR="109699" marT="54816" marB="54816" anchor="ctr">
                    <a:lnL w="9525" cap="flat" cmpd="sng" algn="ctr">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chemeClr val="dk2"/>
                      </a:solidFill>
                      <a:prstDash val="solid"/>
                      <a:round/>
                      <a:headEnd type="none" w="sm" len="sm"/>
                      <a:tailEnd type="none" w="sm" len="sm"/>
                    </a:lnT>
                    <a:lnB w="12700" cap="flat" cmpd="sng" algn="ctr">
                      <a:solidFill>
                        <a:schemeClr val="bg2">
                          <a:lumMod val="20000"/>
                          <a:lumOff val="80000"/>
                        </a:schemeClr>
                      </a:solidFill>
                      <a:prstDash val="solid"/>
                      <a:round/>
                      <a:headEnd type="none" w="med" len="med"/>
                      <a:tailEnd type="none" w="med" len="med"/>
                    </a:lnB>
                    <a:solidFill>
                      <a:schemeClr val="dk2"/>
                    </a:solidFill>
                  </a:tcPr>
                </a:tc>
                <a:extLst>
                  <a:ext uri="{0D108BD9-81ED-4DB2-BD59-A6C34878D82A}">
                    <a16:rowId xmlns:a16="http://schemas.microsoft.com/office/drawing/2014/main" val="10000"/>
                  </a:ext>
                </a:extLst>
              </a:tr>
              <a:tr h="475280">
                <a:tc>
                  <a:txBody>
                    <a:bodyPr/>
                    <a:lstStyle/>
                    <a:p>
                      <a:pPr marL="0" marR="0" lvl="0" indent="0" algn="l" rtl="0">
                        <a:lnSpc>
                          <a:spcPct val="100000"/>
                        </a:lnSpc>
                        <a:spcBef>
                          <a:spcPts val="0"/>
                        </a:spcBef>
                        <a:spcAft>
                          <a:spcPts val="0"/>
                        </a:spcAft>
                        <a:buClr>
                          <a:schemeClr val="dk1"/>
                        </a:buClr>
                        <a:buSzPts val="1100"/>
                        <a:buFont typeface="Arial"/>
                        <a:buNone/>
                      </a:pPr>
                      <a:r>
                        <a:rPr lang="en" sz="1200" b="1" dirty="0">
                          <a:solidFill>
                            <a:schemeClr val="dk1"/>
                          </a:solidFill>
                        </a:rPr>
                        <a:t>Median DOCR, </a:t>
                      </a:r>
                      <a:br>
                        <a:rPr lang="en" sz="1200" b="1" dirty="0">
                          <a:solidFill>
                            <a:schemeClr val="dk1"/>
                          </a:solidFill>
                        </a:rPr>
                      </a:br>
                      <a:r>
                        <a:rPr lang="en" sz="1200" b="0" dirty="0">
                          <a:solidFill>
                            <a:schemeClr val="dk1"/>
                          </a:solidFill>
                        </a:rPr>
                        <a:t>months (95% CI)</a:t>
                      </a:r>
                      <a:endParaRPr sz="1200" b="0" dirty="0"/>
                    </a:p>
                  </a:txBody>
                  <a:tcPr marL="109699" marR="109699" marT="54816" marB="54816" anchor="ctr">
                    <a:lnL w="9525" cap="flat" cmpd="sng">
                      <a:solidFill>
                        <a:srgbClr val="000000">
                          <a:alpha val="0"/>
                        </a:srgbClr>
                      </a:solidFill>
                      <a:prstDash val="solid"/>
                      <a:round/>
                      <a:headEnd type="none" w="sm" len="sm"/>
                      <a:tailEnd type="none" w="sm" len="sm"/>
                    </a:lnL>
                    <a:lnR w="12700" cap="flat" cmpd="sng" algn="ctr">
                      <a:solidFill>
                        <a:schemeClr val="dk2"/>
                      </a:solidFill>
                      <a:prstDash val="solid"/>
                      <a:round/>
                      <a:headEnd type="none" w="sm" len="sm"/>
                      <a:tailEnd type="none" w="sm" len="sm"/>
                    </a:lnR>
                    <a:lnT w="12700" cap="flat" cmpd="sng" algn="ctr">
                      <a:solidFill>
                        <a:schemeClr val="bg2">
                          <a:lumMod val="20000"/>
                          <a:lumOff val="80000"/>
                        </a:schemeClr>
                      </a:solidFill>
                      <a:prstDash val="solid"/>
                      <a:round/>
                      <a:headEnd type="none" w="med" len="med"/>
                      <a:tailEnd type="none" w="med" len="med"/>
                    </a:lnT>
                    <a:lnB w="12700" cap="flat" cmpd="sng">
                      <a:solidFill>
                        <a:srgbClr val="D8D8D8"/>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t>15.4</a:t>
                      </a:r>
                      <a:endParaRPr sz="1200" dirty="0"/>
                    </a:p>
                    <a:p>
                      <a:pPr marL="0" lvl="0" indent="0" algn="ctr" rtl="0">
                        <a:spcBef>
                          <a:spcPts val="0"/>
                        </a:spcBef>
                        <a:spcAft>
                          <a:spcPts val="0"/>
                        </a:spcAft>
                        <a:buNone/>
                      </a:pPr>
                      <a:r>
                        <a:rPr lang="en" sz="1200" dirty="0"/>
                        <a:t>(8.3, NE)</a:t>
                      </a:r>
                      <a:endParaRPr sz="1200" dirty="0"/>
                    </a:p>
                  </a:txBody>
                  <a:tcPr marL="91405" marR="91405" marT="0" marB="0" anchor="ctr">
                    <a:lnL w="12700" cap="flat" cmpd="sng" algn="ctr">
                      <a:solidFill>
                        <a:schemeClr val="dk2"/>
                      </a:solidFill>
                      <a:prstDash val="solid"/>
                      <a:round/>
                      <a:headEnd type="none" w="sm" len="sm"/>
                      <a:tailEnd type="none" w="sm" len="sm"/>
                    </a:lnL>
                    <a:lnR w="12700" cap="flat" cmpd="sng" algn="ctr">
                      <a:solidFill>
                        <a:schemeClr val="dk2"/>
                      </a:solidFill>
                      <a:prstDash val="solid"/>
                      <a:round/>
                      <a:headEnd type="none" w="sm" len="sm"/>
                      <a:tailEnd type="none" w="sm" len="sm"/>
                    </a:lnR>
                    <a:lnT w="12700" cap="flat" cmpd="sng" algn="ctr">
                      <a:solidFill>
                        <a:schemeClr val="bg2">
                          <a:lumMod val="20000"/>
                          <a:lumOff val="80000"/>
                        </a:schemeClr>
                      </a:solidFill>
                      <a:prstDash val="solid"/>
                      <a:round/>
                      <a:headEnd type="none" w="med" len="med"/>
                      <a:tailEnd type="none" w="med" len="med"/>
                    </a:lnT>
                    <a:lnB w="12700" cap="flat" cmpd="sng">
                      <a:solidFill>
                        <a:srgbClr val="D8D8D8"/>
                      </a:solidFill>
                      <a:prstDash val="solid"/>
                      <a:round/>
                      <a:headEnd type="none" w="sm" len="sm"/>
                      <a:tailEnd type="none" w="sm" len="sm"/>
                    </a:lnB>
                    <a:solidFill>
                      <a:schemeClr val="accent2">
                        <a:lumMod val="20000"/>
                        <a:lumOff val="80000"/>
                      </a:schemeClr>
                    </a:solidFill>
                  </a:tcPr>
                </a:tc>
                <a:tc>
                  <a:txBody>
                    <a:bodyPr/>
                    <a:lstStyle/>
                    <a:p>
                      <a:pPr marL="0" lvl="0" indent="0" algn="ctr" rtl="0">
                        <a:spcBef>
                          <a:spcPts val="0"/>
                        </a:spcBef>
                        <a:spcAft>
                          <a:spcPts val="0"/>
                        </a:spcAft>
                        <a:buNone/>
                      </a:pPr>
                      <a:r>
                        <a:rPr lang="en" sz="1200" dirty="0"/>
                        <a:t>46.5</a:t>
                      </a:r>
                      <a:endParaRPr sz="1200" dirty="0"/>
                    </a:p>
                    <a:p>
                      <a:pPr marL="0" lvl="0" indent="0" algn="ctr" rtl="0">
                        <a:spcBef>
                          <a:spcPts val="0"/>
                        </a:spcBef>
                        <a:spcAft>
                          <a:spcPts val="0"/>
                        </a:spcAft>
                        <a:buNone/>
                      </a:pPr>
                      <a:r>
                        <a:rPr lang="en" sz="1200" dirty="0"/>
                        <a:t>(14.1, NE)</a:t>
                      </a:r>
                      <a:endParaRPr sz="1200" dirty="0"/>
                    </a:p>
                  </a:txBody>
                  <a:tcPr marL="91405" marR="91405" marT="0" marB="0" anchor="ctr">
                    <a:lnL w="12700" cap="flat" cmpd="sng" algn="ctr">
                      <a:solidFill>
                        <a:schemeClr val="dk2"/>
                      </a:solidFill>
                      <a:prstDash val="solid"/>
                      <a:round/>
                      <a:headEnd type="none" w="sm" len="sm"/>
                      <a:tailEnd type="none" w="sm" len="sm"/>
                    </a:lnL>
                    <a:lnR w="12700" cap="flat" cmpd="sng" algn="ctr">
                      <a:solidFill>
                        <a:schemeClr val="dk2"/>
                      </a:solidFill>
                      <a:prstDash val="solid"/>
                      <a:round/>
                      <a:headEnd type="none" w="sm" len="sm"/>
                      <a:tailEnd type="none" w="sm" len="sm"/>
                    </a:lnR>
                    <a:lnT w="12700" cap="flat" cmpd="sng" algn="ctr">
                      <a:solidFill>
                        <a:schemeClr val="bg2">
                          <a:lumMod val="20000"/>
                          <a:lumOff val="80000"/>
                        </a:schemeClr>
                      </a:solidFill>
                      <a:prstDash val="solid"/>
                      <a:round/>
                      <a:headEnd type="none" w="med" len="med"/>
                      <a:tailEnd type="none" w="med" len="med"/>
                    </a:lnT>
                    <a:lnB w="12700" cap="flat" cmpd="sng">
                      <a:solidFill>
                        <a:srgbClr val="D8D8D8"/>
                      </a:solidFill>
                      <a:prstDash val="solid"/>
                      <a:round/>
                      <a:headEnd type="none" w="sm" len="sm"/>
                      <a:tailEnd type="none" w="sm" len="sm"/>
                    </a:lnB>
                    <a:solidFill>
                      <a:schemeClr val="bg2">
                        <a:lumMod val="20000"/>
                        <a:lumOff val="80000"/>
                      </a:schemeClr>
                    </a:solidFill>
                  </a:tcPr>
                </a:tc>
                <a:tc>
                  <a:txBody>
                    <a:bodyPr/>
                    <a:lstStyle/>
                    <a:p>
                      <a:pPr marL="0" lvl="0" indent="0" algn="ctr" rtl="0">
                        <a:spcBef>
                          <a:spcPts val="0"/>
                        </a:spcBef>
                        <a:spcAft>
                          <a:spcPts val="0"/>
                        </a:spcAft>
                        <a:buNone/>
                      </a:pPr>
                      <a:r>
                        <a:rPr lang="en" sz="1200" dirty="0"/>
                        <a:t>40.8 </a:t>
                      </a:r>
                      <a:endParaRPr sz="1200" dirty="0"/>
                    </a:p>
                    <a:p>
                      <a:pPr marL="0" lvl="0" indent="0" algn="ctr" rtl="0">
                        <a:spcBef>
                          <a:spcPts val="0"/>
                        </a:spcBef>
                        <a:spcAft>
                          <a:spcPts val="0"/>
                        </a:spcAft>
                        <a:buNone/>
                      </a:pPr>
                      <a:r>
                        <a:rPr lang="en" sz="1200" dirty="0"/>
                        <a:t>(14.1, NE)</a:t>
                      </a:r>
                      <a:endParaRPr sz="1200" dirty="0"/>
                    </a:p>
                  </a:txBody>
                  <a:tcPr marL="91405" marR="91405" marT="0" marB="0" anchor="ctr">
                    <a:lnL w="12700" cap="flat" cmpd="sng" algn="ctr">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lgn="ctr">
                      <a:solidFill>
                        <a:schemeClr val="bg2">
                          <a:lumMod val="20000"/>
                          <a:lumOff val="80000"/>
                        </a:schemeClr>
                      </a:solidFill>
                      <a:prstDash val="solid"/>
                      <a:round/>
                      <a:headEnd type="none" w="med" len="med"/>
                      <a:tailEnd type="none" w="med" len="med"/>
                    </a:lnT>
                    <a:lnB w="12700" cap="flat" cmpd="sng">
                      <a:solidFill>
                        <a:srgbClr val="DCDADA"/>
                      </a:solidFill>
                      <a:prstDash val="solid"/>
                      <a:round/>
                      <a:headEnd type="none" w="sm" len="sm"/>
                      <a:tailEnd type="none" w="sm" len="sm"/>
                    </a:lnB>
                    <a:solidFill>
                      <a:schemeClr val="tx2">
                        <a:lumMod val="20000"/>
                        <a:lumOff val="80000"/>
                      </a:schemeClr>
                    </a:solidFill>
                  </a:tcPr>
                </a:tc>
                <a:extLst>
                  <a:ext uri="{0D108BD9-81ED-4DB2-BD59-A6C34878D82A}">
                    <a16:rowId xmlns:a16="http://schemas.microsoft.com/office/drawing/2014/main" val="4252844302"/>
                  </a:ext>
                </a:extLst>
              </a:tr>
            </a:tbl>
          </a:graphicData>
        </a:graphic>
      </p:graphicFrame>
      <p:graphicFrame>
        <p:nvGraphicFramePr>
          <p:cNvPr id="290" name="Google Shape;265;p27">
            <a:extLst>
              <a:ext uri="{FF2B5EF4-FFF2-40B4-BE49-F238E27FC236}">
                <a16:creationId xmlns:a16="http://schemas.microsoft.com/office/drawing/2014/main" id="{56F4452E-D261-59D2-57BF-27FB84F58507}"/>
              </a:ext>
            </a:extLst>
          </p:cNvPr>
          <p:cNvGraphicFramePr/>
          <p:nvPr/>
        </p:nvGraphicFramePr>
        <p:xfrm>
          <a:off x="6135989" y="4357555"/>
          <a:ext cx="5518297" cy="950784"/>
        </p:xfrm>
        <a:graphic>
          <a:graphicData uri="http://schemas.openxmlformats.org/drawingml/2006/table">
            <a:tbl>
              <a:tblPr>
                <a:gradFill>
                  <a:gsLst>
                    <a:gs pos="0">
                      <a:srgbClr val="FFFFFF"/>
                    </a:gs>
                    <a:gs pos="50000">
                      <a:srgbClr val="FBFBFE"/>
                    </a:gs>
                    <a:gs pos="100000">
                      <a:srgbClr val="FAFBFD"/>
                    </a:gs>
                  </a:gsLst>
                  <a:lin ang="5400012" scaled="0"/>
                </a:gradFill>
              </a:tblPr>
              <a:tblGrid>
                <a:gridCol w="1775452">
                  <a:extLst>
                    <a:ext uri="{9D8B030D-6E8A-4147-A177-3AD203B41FA5}">
                      <a16:colId xmlns:a16="http://schemas.microsoft.com/office/drawing/2014/main" val="20000"/>
                    </a:ext>
                  </a:extLst>
                </a:gridCol>
                <a:gridCol w="1247615">
                  <a:extLst>
                    <a:ext uri="{9D8B030D-6E8A-4147-A177-3AD203B41FA5}">
                      <a16:colId xmlns:a16="http://schemas.microsoft.com/office/drawing/2014/main" val="2547271723"/>
                    </a:ext>
                  </a:extLst>
                </a:gridCol>
                <a:gridCol w="1247615">
                  <a:extLst>
                    <a:ext uri="{9D8B030D-6E8A-4147-A177-3AD203B41FA5}">
                      <a16:colId xmlns:a16="http://schemas.microsoft.com/office/drawing/2014/main" val="3485437772"/>
                    </a:ext>
                  </a:extLst>
                </a:gridCol>
                <a:gridCol w="1247615">
                  <a:extLst>
                    <a:ext uri="{9D8B030D-6E8A-4147-A177-3AD203B41FA5}">
                      <a16:colId xmlns:a16="http://schemas.microsoft.com/office/drawing/2014/main" val="20001"/>
                    </a:ext>
                  </a:extLst>
                </a:gridCol>
              </a:tblGrid>
              <a:tr h="475280">
                <a:tc>
                  <a:txBody>
                    <a:bodyPr/>
                    <a:lstStyle/>
                    <a:p>
                      <a:pPr marL="0" marR="0" lvl="0" indent="0" algn="l" rtl="0">
                        <a:lnSpc>
                          <a:spcPct val="100000"/>
                        </a:lnSpc>
                        <a:spcBef>
                          <a:spcPts val="0"/>
                        </a:spcBef>
                        <a:spcAft>
                          <a:spcPts val="0"/>
                        </a:spcAft>
                        <a:buClr>
                          <a:srgbClr val="000000"/>
                        </a:buClr>
                        <a:buSzPts val="1000"/>
                        <a:buFont typeface="Arial"/>
                        <a:buNone/>
                      </a:pPr>
                      <a:r>
                        <a:rPr lang="en-US" sz="1200" b="1" dirty="0">
                          <a:solidFill>
                            <a:schemeClr val="lt1"/>
                          </a:solidFill>
                        </a:rPr>
                        <a:t>DOCR</a:t>
                      </a:r>
                      <a:endParaRPr sz="1200" b="1" u="none" strike="noStrike" cap="none" dirty="0">
                        <a:solidFill>
                          <a:schemeClr val="lt1"/>
                        </a:solidFill>
                        <a:latin typeface="Arial"/>
                        <a:ea typeface="Arial"/>
                        <a:cs typeface="Arial"/>
                        <a:sym typeface="Arial"/>
                      </a:endParaRPr>
                    </a:p>
                  </a:txBody>
                  <a:tcPr marL="109699" marR="109699" marT="54816" marB="54816" anchor="ctr">
                    <a:lnL w="12700" cap="flat" cmpd="sng">
                      <a:solidFill>
                        <a:schemeClr val="dk2"/>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12700" cap="flat" cmpd="sng">
                      <a:solidFill>
                        <a:schemeClr val="dk2"/>
                      </a:solidFill>
                      <a:prstDash val="solid"/>
                      <a:round/>
                      <a:headEnd type="none" w="sm" len="sm"/>
                      <a:tailEnd type="none" w="sm" len="sm"/>
                    </a:lnT>
                    <a:lnB w="12700" cap="flat" cmpd="sng" algn="ctr">
                      <a:solidFill>
                        <a:schemeClr val="bg2">
                          <a:lumMod val="20000"/>
                          <a:lumOff val="80000"/>
                        </a:schemeClr>
                      </a:solidFill>
                      <a:prstDash val="solid"/>
                      <a:round/>
                      <a:headEnd type="none" w="med" len="med"/>
                      <a:tailEnd type="none" w="med" len="med"/>
                    </a:lnB>
                    <a:solidFill>
                      <a:schemeClr val="dk2"/>
                    </a:solidFill>
                  </a:tcPr>
                </a:tc>
                <a:tc>
                  <a:txBody>
                    <a:bodyPr/>
                    <a:lstStyle/>
                    <a:p>
                      <a:pPr marL="0" marR="0" lvl="0" indent="0" algn="ctr" rtl="0">
                        <a:lnSpc>
                          <a:spcPct val="100000"/>
                        </a:lnSpc>
                        <a:spcBef>
                          <a:spcPts val="0"/>
                        </a:spcBef>
                        <a:spcAft>
                          <a:spcPts val="0"/>
                        </a:spcAft>
                        <a:buClr>
                          <a:schemeClr val="lt1"/>
                        </a:buClr>
                        <a:buSzPts val="1100"/>
                        <a:buFont typeface="Arial"/>
                        <a:buNone/>
                      </a:pPr>
                      <a:r>
                        <a:rPr lang="en-US" sz="1200" b="1" u="none" strike="noStrike" cap="none" dirty="0">
                          <a:solidFill>
                            <a:schemeClr val="lt1"/>
                          </a:solidFill>
                          <a:latin typeface="Arial"/>
                          <a:ea typeface="Arial"/>
                          <a:cs typeface="Arial"/>
                          <a:sym typeface="Arial"/>
                        </a:rPr>
                        <a:t>Prior BTKi</a:t>
                      </a:r>
                      <a:endParaRPr sz="1200" u="none" strike="noStrike" cap="none" dirty="0">
                        <a:latin typeface="Arial"/>
                        <a:ea typeface="Arial"/>
                        <a:cs typeface="Arial"/>
                        <a:sym typeface="Arial"/>
                      </a:endParaRPr>
                    </a:p>
                    <a:p>
                      <a:pPr marL="0" marR="0" lvl="0" indent="0" algn="ctr" rtl="0">
                        <a:lnSpc>
                          <a:spcPct val="100000"/>
                        </a:lnSpc>
                        <a:spcBef>
                          <a:spcPts val="0"/>
                        </a:spcBef>
                        <a:spcAft>
                          <a:spcPts val="0"/>
                        </a:spcAft>
                        <a:buClr>
                          <a:schemeClr val="lt1"/>
                        </a:buClr>
                        <a:buSzPts val="1100"/>
                        <a:buFont typeface="Arial"/>
                        <a:buNone/>
                      </a:pPr>
                      <a:r>
                        <a:rPr lang="en-US" sz="1200" b="1" u="none" strike="noStrike" cap="none" dirty="0">
                          <a:solidFill>
                            <a:schemeClr val="lt1"/>
                          </a:solidFill>
                          <a:latin typeface="Arial"/>
                          <a:ea typeface="Arial"/>
                          <a:cs typeface="Arial"/>
                          <a:sym typeface="Arial"/>
                        </a:rPr>
                        <a:t>(n=</a:t>
                      </a:r>
                      <a:r>
                        <a:rPr lang="en-US" sz="1200" b="1" dirty="0">
                          <a:solidFill>
                            <a:schemeClr val="lt1"/>
                          </a:solidFill>
                        </a:rPr>
                        <a:t>2</a:t>
                      </a:r>
                      <a:r>
                        <a:rPr lang="en-US" sz="1200" b="1" u="none" strike="noStrike" cap="none" dirty="0">
                          <a:solidFill>
                            <a:schemeClr val="lt1"/>
                          </a:solidFill>
                          <a:latin typeface="Arial"/>
                          <a:ea typeface="Arial"/>
                          <a:cs typeface="Arial"/>
                          <a:sym typeface="Arial"/>
                        </a:rPr>
                        <a:t>4)</a:t>
                      </a:r>
                      <a:endParaRPr sz="1200" u="none" strike="noStrike" cap="none" dirty="0">
                        <a:latin typeface="Arial"/>
                        <a:ea typeface="Arial"/>
                        <a:cs typeface="Arial"/>
                        <a:sym typeface="Arial"/>
                      </a:endParaRPr>
                    </a:p>
                  </a:txBody>
                  <a:tcPr marL="109699" marR="109699" marT="54816" marB="54816"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dk2"/>
                      </a:solidFill>
                      <a:prstDash val="solid"/>
                      <a:round/>
                      <a:headEnd type="none" w="sm" len="sm"/>
                      <a:tailEnd type="none" w="sm" len="sm"/>
                    </a:lnT>
                    <a:lnB w="12700" cap="flat" cmpd="sng" algn="ctr">
                      <a:solidFill>
                        <a:schemeClr val="bg2">
                          <a:lumMod val="20000"/>
                          <a:lumOff val="80000"/>
                        </a:schemeClr>
                      </a:solidFill>
                      <a:prstDash val="solid"/>
                      <a:round/>
                      <a:headEnd type="none" w="med" len="med"/>
                      <a:tailEnd type="none" w="med" len="med"/>
                    </a:lnB>
                    <a:solidFill>
                      <a:schemeClr val="accent2"/>
                    </a:solidFill>
                  </a:tcPr>
                </a:tc>
                <a:tc>
                  <a:txBody>
                    <a:bodyPr/>
                    <a:lstStyle/>
                    <a:p>
                      <a:pPr marL="0" marR="0" lvl="0" indent="0" algn="ctr" rtl="0">
                        <a:lnSpc>
                          <a:spcPct val="100000"/>
                        </a:lnSpc>
                        <a:spcBef>
                          <a:spcPts val="0"/>
                        </a:spcBef>
                        <a:spcAft>
                          <a:spcPts val="0"/>
                        </a:spcAft>
                        <a:buClr>
                          <a:schemeClr val="lt1"/>
                        </a:buClr>
                        <a:buSzPts val="1100"/>
                        <a:buFont typeface="Arial"/>
                        <a:buNone/>
                      </a:pPr>
                      <a:r>
                        <a:rPr lang="en-US" sz="1200" b="1" u="none" strike="noStrike" cap="none" dirty="0">
                          <a:solidFill>
                            <a:schemeClr val="lt1"/>
                          </a:solidFill>
                          <a:latin typeface="Arial"/>
                          <a:ea typeface="Arial"/>
                          <a:cs typeface="Arial"/>
                          <a:sym typeface="Arial"/>
                        </a:rPr>
                        <a:t>BTKi naive</a:t>
                      </a:r>
                      <a:endParaRPr sz="1200" u="none" strike="noStrike" cap="none" dirty="0">
                        <a:latin typeface="Arial"/>
                        <a:ea typeface="Arial"/>
                        <a:cs typeface="Arial"/>
                        <a:sym typeface="Arial"/>
                      </a:endParaRPr>
                    </a:p>
                    <a:p>
                      <a:pPr marL="0" marR="0" lvl="0" indent="0" algn="ctr" rtl="0">
                        <a:lnSpc>
                          <a:spcPct val="100000"/>
                        </a:lnSpc>
                        <a:spcBef>
                          <a:spcPts val="0"/>
                        </a:spcBef>
                        <a:spcAft>
                          <a:spcPts val="0"/>
                        </a:spcAft>
                        <a:buClr>
                          <a:schemeClr val="lt1"/>
                        </a:buClr>
                        <a:buSzPts val="1100"/>
                        <a:buFont typeface="Arial"/>
                        <a:buNone/>
                      </a:pPr>
                      <a:r>
                        <a:rPr lang="en-US" sz="1200" b="1" u="none" strike="noStrike" cap="none" dirty="0">
                          <a:solidFill>
                            <a:schemeClr val="lt1"/>
                          </a:solidFill>
                          <a:latin typeface="Arial"/>
                          <a:ea typeface="Arial"/>
                          <a:cs typeface="Arial"/>
                          <a:sym typeface="Arial"/>
                        </a:rPr>
                        <a:t>(n=2</a:t>
                      </a:r>
                      <a:r>
                        <a:rPr lang="en-US" sz="1200" b="1" dirty="0">
                          <a:solidFill>
                            <a:schemeClr val="lt1"/>
                          </a:solidFill>
                        </a:rPr>
                        <a:t>3</a:t>
                      </a:r>
                      <a:r>
                        <a:rPr lang="en-US" sz="1200" b="1" u="none" strike="noStrike" cap="none" dirty="0">
                          <a:solidFill>
                            <a:schemeClr val="lt1"/>
                          </a:solidFill>
                          <a:latin typeface="Arial"/>
                          <a:ea typeface="Arial"/>
                          <a:cs typeface="Arial"/>
                          <a:sym typeface="Arial"/>
                        </a:rPr>
                        <a:t>)</a:t>
                      </a:r>
                      <a:endParaRPr sz="1200" b="1" u="none" strike="noStrike" cap="none" dirty="0">
                        <a:solidFill>
                          <a:schemeClr val="lt1"/>
                        </a:solidFill>
                        <a:latin typeface="Arial"/>
                        <a:ea typeface="Arial"/>
                        <a:cs typeface="Arial"/>
                        <a:sym typeface="Arial"/>
                      </a:endParaRPr>
                    </a:p>
                  </a:txBody>
                  <a:tcPr marL="109699" marR="109699" marT="54816" marB="54816"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dk2"/>
                      </a:solidFill>
                      <a:prstDash val="solid"/>
                      <a:round/>
                      <a:headEnd type="none" w="sm" len="sm"/>
                      <a:tailEnd type="none" w="sm" len="sm"/>
                    </a:lnT>
                    <a:lnB w="12700" cap="flat" cmpd="sng" algn="ctr">
                      <a:solidFill>
                        <a:schemeClr val="bg2">
                          <a:lumMod val="20000"/>
                          <a:lumOff val="80000"/>
                        </a:schemeClr>
                      </a:solidFill>
                      <a:prstDash val="solid"/>
                      <a:round/>
                      <a:headEnd type="none" w="med" len="med"/>
                      <a:tailEnd type="none" w="med" len="med"/>
                    </a:lnB>
                    <a:solidFill>
                      <a:schemeClr val="bg2"/>
                    </a:solidFill>
                  </a:tcPr>
                </a:tc>
                <a:tc>
                  <a:txBody>
                    <a:bodyPr/>
                    <a:lstStyle/>
                    <a:p>
                      <a:pPr marL="0" marR="0" lvl="0" indent="0" algn="ctr" rtl="0">
                        <a:lnSpc>
                          <a:spcPct val="100000"/>
                        </a:lnSpc>
                        <a:spcBef>
                          <a:spcPts val="0"/>
                        </a:spcBef>
                        <a:spcAft>
                          <a:spcPts val="0"/>
                        </a:spcAft>
                        <a:buClr>
                          <a:schemeClr val="lt1"/>
                        </a:buClr>
                        <a:buSzPts val="1000"/>
                        <a:buFont typeface="Arial"/>
                        <a:buNone/>
                      </a:pPr>
                      <a:r>
                        <a:rPr lang="en-US" sz="1200" b="1" i="0" u="none" strike="noStrike" cap="none" dirty="0">
                          <a:solidFill>
                            <a:schemeClr val="lt1"/>
                          </a:solidFill>
                          <a:latin typeface="Arial"/>
                          <a:ea typeface="Arial"/>
                          <a:cs typeface="Arial"/>
                          <a:sym typeface="Arial"/>
                        </a:rPr>
                        <a:t>All patients (n=</a:t>
                      </a:r>
                      <a:r>
                        <a:rPr lang="en-US" sz="1200" b="1" dirty="0">
                          <a:solidFill>
                            <a:schemeClr val="lt1"/>
                          </a:solidFill>
                        </a:rPr>
                        <a:t>47)</a:t>
                      </a:r>
                      <a:endParaRPr sz="1200" b="1" i="0" u="none" strike="noStrike" cap="none" dirty="0">
                        <a:solidFill>
                          <a:schemeClr val="lt1"/>
                        </a:solidFill>
                        <a:latin typeface="Arial"/>
                        <a:ea typeface="Arial"/>
                        <a:cs typeface="Arial"/>
                        <a:sym typeface="Arial"/>
                      </a:endParaRPr>
                    </a:p>
                  </a:txBody>
                  <a:tcPr marL="109699" marR="109699" marT="54816" marB="54816" anchor="ctr">
                    <a:lnL w="9525" cap="flat" cmpd="sng" algn="ctr">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chemeClr val="dk2"/>
                      </a:solidFill>
                      <a:prstDash val="solid"/>
                      <a:round/>
                      <a:headEnd type="none" w="sm" len="sm"/>
                      <a:tailEnd type="none" w="sm" len="sm"/>
                    </a:lnT>
                    <a:lnB w="12700" cap="flat" cmpd="sng" algn="ctr">
                      <a:solidFill>
                        <a:schemeClr val="bg2">
                          <a:lumMod val="20000"/>
                          <a:lumOff val="80000"/>
                        </a:schemeClr>
                      </a:solidFill>
                      <a:prstDash val="solid"/>
                      <a:round/>
                      <a:headEnd type="none" w="med" len="med"/>
                      <a:tailEnd type="none" w="med" len="med"/>
                    </a:lnB>
                    <a:solidFill>
                      <a:schemeClr val="dk2"/>
                    </a:solidFill>
                  </a:tcPr>
                </a:tc>
                <a:extLst>
                  <a:ext uri="{0D108BD9-81ED-4DB2-BD59-A6C34878D82A}">
                    <a16:rowId xmlns:a16="http://schemas.microsoft.com/office/drawing/2014/main" val="10000"/>
                  </a:ext>
                </a:extLst>
              </a:tr>
              <a:tr h="475280">
                <a:tc>
                  <a:txBody>
                    <a:bodyPr/>
                    <a:lstStyle/>
                    <a:p>
                      <a:pPr marL="0" marR="0" lvl="0" indent="0" algn="l" rtl="0">
                        <a:lnSpc>
                          <a:spcPct val="100000"/>
                        </a:lnSpc>
                        <a:spcBef>
                          <a:spcPts val="0"/>
                        </a:spcBef>
                        <a:spcAft>
                          <a:spcPts val="0"/>
                        </a:spcAft>
                        <a:buClr>
                          <a:srgbClr val="000000"/>
                        </a:buClr>
                        <a:buSzPts val="1000"/>
                        <a:buFont typeface="Arial"/>
                        <a:buNone/>
                      </a:pPr>
                      <a:r>
                        <a:rPr lang="en-US" sz="1200" b="1" u="none" strike="noStrike" cap="none" dirty="0"/>
                        <a:t>Median </a:t>
                      </a:r>
                      <a:r>
                        <a:rPr lang="en-US" sz="1200" b="1" dirty="0"/>
                        <a:t>DOCR</a:t>
                      </a:r>
                      <a:r>
                        <a:rPr lang="en-US" sz="1200" b="0" u="none" strike="noStrike" cap="none" dirty="0"/>
                        <a:t>, months (95% CI)</a:t>
                      </a:r>
                      <a:endParaRPr sz="1200" b="0" u="none" strike="noStrike" cap="none" dirty="0"/>
                    </a:p>
                  </a:txBody>
                  <a:tcPr marL="109699" marR="109699" marT="54816" marB="54816" anchor="ctr">
                    <a:lnL w="9525" cap="flat" cmpd="sng">
                      <a:solidFill>
                        <a:srgbClr val="000000">
                          <a:alpha val="0"/>
                        </a:srgbClr>
                      </a:solidFill>
                      <a:prstDash val="solid"/>
                      <a:round/>
                      <a:headEnd type="none" w="sm" len="sm"/>
                      <a:tailEnd type="none" w="sm" len="sm"/>
                    </a:lnL>
                    <a:lnR w="12700" cap="flat" cmpd="sng" algn="ctr">
                      <a:solidFill>
                        <a:schemeClr val="dk2"/>
                      </a:solidFill>
                      <a:prstDash val="solid"/>
                      <a:round/>
                      <a:headEnd type="none" w="sm" len="sm"/>
                      <a:tailEnd type="none" w="sm" len="sm"/>
                    </a:lnR>
                    <a:lnT w="12700" cap="flat" cmpd="sng" algn="ctr">
                      <a:solidFill>
                        <a:schemeClr val="bg2">
                          <a:lumMod val="20000"/>
                          <a:lumOff val="80000"/>
                        </a:schemeClr>
                      </a:solidFill>
                      <a:prstDash val="solid"/>
                      <a:round/>
                      <a:headEnd type="none" w="med" len="med"/>
                      <a:tailEnd type="none" w="med" len="med"/>
                    </a:lnT>
                    <a:lnB w="12700" cap="flat" cmpd="sng">
                      <a:solidFill>
                        <a:srgbClr val="D8D8D8"/>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dirty="0">
                          <a:solidFill>
                            <a:schemeClr val="dk1"/>
                          </a:solidFill>
                        </a:rPr>
                        <a:t>40.8</a:t>
                      </a:r>
                      <a:r>
                        <a:rPr lang="en-US" sz="1200" b="0" u="none" strike="noStrike" cap="none" dirty="0">
                          <a:solidFill>
                            <a:schemeClr val="dk1"/>
                          </a:solidFill>
                        </a:rPr>
                        <a:t> </a:t>
                      </a:r>
                      <a:endParaRPr sz="2400" dirty="0"/>
                    </a:p>
                    <a:p>
                      <a:pPr marL="0" marR="0" lvl="0" indent="0" algn="ctr" rtl="0">
                        <a:lnSpc>
                          <a:spcPct val="100000"/>
                        </a:lnSpc>
                        <a:spcBef>
                          <a:spcPts val="0"/>
                        </a:spcBef>
                        <a:spcAft>
                          <a:spcPts val="0"/>
                        </a:spcAft>
                        <a:buClr>
                          <a:srgbClr val="000000"/>
                        </a:buClr>
                        <a:buSzPts val="1000"/>
                        <a:buFont typeface="Arial"/>
                        <a:buNone/>
                      </a:pPr>
                      <a:r>
                        <a:rPr lang="en-US" sz="1200" b="0" u="none" strike="noStrike" cap="none" dirty="0">
                          <a:solidFill>
                            <a:schemeClr val="dk1"/>
                          </a:solidFill>
                        </a:rPr>
                        <a:t>(14.4, </a:t>
                      </a:r>
                      <a:r>
                        <a:rPr lang="en-US" sz="1200" dirty="0">
                          <a:solidFill>
                            <a:schemeClr val="dk1"/>
                          </a:solidFill>
                        </a:rPr>
                        <a:t>NE</a:t>
                      </a:r>
                      <a:r>
                        <a:rPr lang="en-US" sz="1200" b="0" u="none" strike="noStrike" cap="none" dirty="0">
                          <a:solidFill>
                            <a:schemeClr val="dk1"/>
                          </a:solidFill>
                        </a:rPr>
                        <a:t>)</a:t>
                      </a:r>
                      <a:endParaRPr sz="2400" dirty="0"/>
                    </a:p>
                  </a:txBody>
                  <a:tcPr marL="109699" marR="109699" marT="54816" marB="54816" anchor="ctr">
                    <a:lnL w="12700" cap="flat" cmpd="sng" algn="ctr">
                      <a:solidFill>
                        <a:schemeClr val="dk2"/>
                      </a:solidFill>
                      <a:prstDash val="solid"/>
                      <a:round/>
                      <a:headEnd type="none" w="sm" len="sm"/>
                      <a:tailEnd type="none" w="sm" len="sm"/>
                    </a:lnL>
                    <a:lnR w="12700" cap="flat" cmpd="sng" algn="ctr">
                      <a:solidFill>
                        <a:schemeClr val="dk2"/>
                      </a:solidFill>
                      <a:prstDash val="solid"/>
                      <a:round/>
                      <a:headEnd type="none" w="sm" len="sm"/>
                      <a:tailEnd type="none" w="sm" len="sm"/>
                    </a:lnR>
                    <a:lnT w="12700" cap="flat" cmpd="sng" algn="ctr">
                      <a:solidFill>
                        <a:schemeClr val="bg2">
                          <a:lumMod val="20000"/>
                          <a:lumOff val="80000"/>
                        </a:schemeClr>
                      </a:solidFill>
                      <a:prstDash val="solid"/>
                      <a:round/>
                      <a:headEnd type="none" w="med" len="med"/>
                      <a:tailEnd type="none" w="med" len="med"/>
                    </a:lnT>
                    <a:lnB w="12700" cap="flat" cmpd="sng">
                      <a:solidFill>
                        <a:srgbClr val="D8D8D8"/>
                      </a:solidFill>
                      <a:prstDash val="solid"/>
                      <a:round/>
                      <a:headEnd type="none" w="sm" len="sm"/>
                      <a:tailEnd type="none" w="sm" len="sm"/>
                    </a:lnB>
                    <a:solidFill>
                      <a:schemeClr val="accent2">
                        <a:lumMod val="20000"/>
                        <a:lumOff val="80000"/>
                      </a:schemeClr>
                    </a:solidFill>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dirty="0">
                          <a:solidFill>
                            <a:schemeClr val="dk1"/>
                          </a:solidFill>
                        </a:rPr>
                        <a:t>46</a:t>
                      </a:r>
                      <a:r>
                        <a:rPr lang="en-US" sz="1200" b="0" u="none" strike="noStrike" cap="none" dirty="0">
                          <a:solidFill>
                            <a:schemeClr val="dk1"/>
                          </a:solidFill>
                        </a:rPr>
                        <a:t>.5 </a:t>
                      </a:r>
                      <a:endParaRPr sz="2400" dirty="0"/>
                    </a:p>
                    <a:p>
                      <a:pPr marL="0" marR="0" lvl="0" indent="0" algn="ctr" rtl="0">
                        <a:lnSpc>
                          <a:spcPct val="100000"/>
                        </a:lnSpc>
                        <a:spcBef>
                          <a:spcPts val="0"/>
                        </a:spcBef>
                        <a:spcAft>
                          <a:spcPts val="0"/>
                        </a:spcAft>
                        <a:buClr>
                          <a:srgbClr val="000000"/>
                        </a:buClr>
                        <a:buSzPts val="1000"/>
                        <a:buFont typeface="Arial"/>
                        <a:buNone/>
                      </a:pPr>
                      <a:r>
                        <a:rPr lang="en-US" sz="1200" b="0" u="none" strike="noStrike" cap="none" dirty="0">
                          <a:solidFill>
                            <a:schemeClr val="dk1"/>
                          </a:solidFill>
                        </a:rPr>
                        <a:t>(1</a:t>
                      </a:r>
                      <a:r>
                        <a:rPr lang="en-US" sz="1200" dirty="0">
                          <a:solidFill>
                            <a:schemeClr val="dk1"/>
                          </a:solidFill>
                        </a:rPr>
                        <a:t>4.1, </a:t>
                      </a:r>
                      <a:r>
                        <a:rPr lang="en-US" sz="1200" b="0" u="none" strike="noStrike" cap="none" dirty="0">
                          <a:solidFill>
                            <a:schemeClr val="dk1"/>
                          </a:solidFill>
                        </a:rPr>
                        <a:t>NE)</a:t>
                      </a:r>
                      <a:endParaRPr sz="2400" dirty="0"/>
                    </a:p>
                  </a:txBody>
                  <a:tcPr marL="109699" marR="109699" marT="54816" marB="54816" anchor="ctr">
                    <a:lnL w="12700" cap="flat" cmpd="sng" algn="ctr">
                      <a:solidFill>
                        <a:schemeClr val="dk2"/>
                      </a:solidFill>
                      <a:prstDash val="solid"/>
                      <a:round/>
                      <a:headEnd type="none" w="sm" len="sm"/>
                      <a:tailEnd type="none" w="sm" len="sm"/>
                    </a:lnL>
                    <a:lnR w="12700" cap="flat" cmpd="sng" algn="ctr">
                      <a:solidFill>
                        <a:schemeClr val="dk2"/>
                      </a:solidFill>
                      <a:prstDash val="solid"/>
                      <a:round/>
                      <a:headEnd type="none" w="sm" len="sm"/>
                      <a:tailEnd type="none" w="sm" len="sm"/>
                    </a:lnR>
                    <a:lnT w="12700" cap="flat" cmpd="sng" algn="ctr">
                      <a:solidFill>
                        <a:schemeClr val="bg2">
                          <a:lumMod val="20000"/>
                          <a:lumOff val="80000"/>
                        </a:schemeClr>
                      </a:solidFill>
                      <a:prstDash val="solid"/>
                      <a:round/>
                      <a:headEnd type="none" w="med" len="med"/>
                      <a:tailEnd type="none" w="med" len="med"/>
                    </a:lnT>
                    <a:lnB w="12700" cap="flat" cmpd="sng">
                      <a:solidFill>
                        <a:srgbClr val="D8D8D8"/>
                      </a:solidFill>
                      <a:prstDash val="solid"/>
                      <a:round/>
                      <a:headEnd type="none" w="sm" len="sm"/>
                      <a:tailEnd type="none" w="sm" len="sm"/>
                    </a:lnB>
                    <a:solidFill>
                      <a:schemeClr val="bg2">
                        <a:lumMod val="20000"/>
                        <a:lumOff val="80000"/>
                      </a:schemeClr>
                    </a:solidFill>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dirty="0"/>
                        <a:t>46.5</a:t>
                      </a:r>
                      <a:br>
                        <a:rPr lang="en-US" sz="1200" u="none" strike="noStrike" cap="none" dirty="0"/>
                      </a:br>
                      <a:r>
                        <a:rPr lang="en-US" sz="1200" u="none" strike="noStrike" cap="none" dirty="0"/>
                        <a:t>(</a:t>
                      </a:r>
                      <a:r>
                        <a:rPr lang="en-US" sz="1200" dirty="0"/>
                        <a:t>23.1, NE</a:t>
                      </a:r>
                      <a:r>
                        <a:rPr lang="en-US" sz="1200" u="none" strike="noStrike" cap="none" dirty="0"/>
                        <a:t>)</a:t>
                      </a:r>
                      <a:endParaRPr sz="1200" u="none" strike="noStrike" cap="none" dirty="0"/>
                    </a:p>
                  </a:txBody>
                  <a:tcPr marL="0" marR="0" marT="0" marB="0" anchor="ctr">
                    <a:lnL w="12700" cap="flat" cmpd="sng" algn="ctr">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lgn="ctr">
                      <a:solidFill>
                        <a:schemeClr val="bg2">
                          <a:lumMod val="20000"/>
                          <a:lumOff val="80000"/>
                        </a:schemeClr>
                      </a:solidFill>
                      <a:prstDash val="solid"/>
                      <a:round/>
                      <a:headEnd type="none" w="med" len="med"/>
                      <a:tailEnd type="none" w="med" len="med"/>
                    </a:lnT>
                    <a:lnB w="12700" cap="flat" cmpd="sng">
                      <a:solidFill>
                        <a:srgbClr val="DCDADA"/>
                      </a:solidFill>
                      <a:prstDash val="solid"/>
                      <a:round/>
                      <a:headEnd type="none" w="sm" len="sm"/>
                      <a:tailEnd type="none" w="sm" len="sm"/>
                    </a:lnB>
                    <a:solidFill>
                      <a:schemeClr val="tx2">
                        <a:lumMod val="20000"/>
                        <a:lumOff val="80000"/>
                      </a:schemeClr>
                    </a:solidFill>
                  </a:tcPr>
                </a:tc>
                <a:extLst>
                  <a:ext uri="{0D108BD9-81ED-4DB2-BD59-A6C34878D82A}">
                    <a16:rowId xmlns:a16="http://schemas.microsoft.com/office/drawing/2014/main" val="1963069303"/>
                  </a:ext>
                </a:extLst>
              </a:tr>
            </a:tbl>
          </a:graphicData>
        </a:graphic>
      </p:graphicFrame>
      <p:sp>
        <p:nvSpPr>
          <p:cNvPr id="293" name="Google Shape;269;p27">
            <a:extLst>
              <a:ext uri="{FF2B5EF4-FFF2-40B4-BE49-F238E27FC236}">
                <a16:creationId xmlns:a16="http://schemas.microsoft.com/office/drawing/2014/main" id="{BA12133C-A820-CB8B-A30B-355A9B36F6CD}"/>
              </a:ext>
            </a:extLst>
          </p:cNvPr>
          <p:cNvSpPr/>
          <p:nvPr/>
        </p:nvSpPr>
        <p:spPr>
          <a:xfrm>
            <a:off x="539351" y="1617759"/>
            <a:ext cx="5527499" cy="2683484"/>
          </a:xfrm>
          <a:prstGeom prst="rect">
            <a:avLst/>
          </a:prstGeom>
          <a:noFill/>
          <a:ln w="12700" cap="flat" cmpd="sng">
            <a:solidFill>
              <a:schemeClr val="dk2"/>
            </a:solidFill>
            <a:prstDash val="solid"/>
            <a:round/>
            <a:headEnd type="none" w="sm" len="sm"/>
            <a:tailEnd type="none" w="sm" len="sm"/>
          </a:ln>
        </p:spPr>
        <p:txBody>
          <a:bodyPr spcFirstLastPara="1" wrap="square" lIns="121862" tIns="60915" rIns="121862" bIns="60915" anchor="ctr" anchorCtr="0">
            <a:noAutofit/>
          </a:bodyPr>
          <a:lstStyle/>
          <a:p>
            <a:pPr marL="0" marR="0" lvl="0" indent="0" algn="ctr" defTabSz="609402" rtl="0" eaLnBrk="1" fontAlgn="auto" latinLnBrk="0" hangingPunct="1">
              <a:lnSpc>
                <a:spcPct val="100000"/>
              </a:lnSpc>
              <a:spcBef>
                <a:spcPts val="0"/>
              </a:spcBef>
              <a:spcAft>
                <a:spcPts val="0"/>
              </a:spcAft>
              <a:buClr>
                <a:srgbClr val="FFFFFF"/>
              </a:buClr>
              <a:buSzPts val="1600"/>
              <a:buFontTx/>
              <a:buNone/>
              <a:tabLst/>
              <a:defRPr/>
            </a:pPr>
            <a:endParaRPr kumimoji="0" sz="2133" b="0" i="1"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294" name="Google Shape;270;p27">
            <a:extLst>
              <a:ext uri="{FF2B5EF4-FFF2-40B4-BE49-F238E27FC236}">
                <a16:creationId xmlns:a16="http://schemas.microsoft.com/office/drawing/2014/main" id="{054A7039-8208-9FC5-EBA5-C54BDDD876FE}"/>
              </a:ext>
            </a:extLst>
          </p:cNvPr>
          <p:cNvSpPr/>
          <p:nvPr/>
        </p:nvSpPr>
        <p:spPr>
          <a:xfrm>
            <a:off x="6125150" y="1496072"/>
            <a:ext cx="5527499" cy="2810017"/>
          </a:xfrm>
          <a:prstGeom prst="rect">
            <a:avLst/>
          </a:prstGeom>
          <a:noFill/>
          <a:ln w="12700" cap="flat" cmpd="sng">
            <a:solidFill>
              <a:schemeClr val="dk2"/>
            </a:solidFill>
            <a:prstDash val="solid"/>
            <a:round/>
            <a:headEnd type="none" w="sm" len="sm"/>
            <a:tailEnd type="none" w="sm" len="sm"/>
          </a:ln>
        </p:spPr>
        <p:txBody>
          <a:bodyPr spcFirstLastPara="1" wrap="square" lIns="121862" tIns="60915" rIns="121862" bIns="60915" anchor="ctr" anchorCtr="0">
            <a:noAutofit/>
          </a:bodyPr>
          <a:lstStyle/>
          <a:p>
            <a:pPr marL="0" marR="0" lvl="0" indent="0" algn="ctr" defTabSz="609402" rtl="0" eaLnBrk="1" fontAlgn="auto" latinLnBrk="0" hangingPunct="1">
              <a:lnSpc>
                <a:spcPct val="100000"/>
              </a:lnSpc>
              <a:spcBef>
                <a:spcPts val="0"/>
              </a:spcBef>
              <a:spcAft>
                <a:spcPts val="0"/>
              </a:spcAft>
              <a:buClr>
                <a:srgbClr val="FFFFFF"/>
              </a:buClr>
              <a:buSzPts val="1600"/>
              <a:buFontTx/>
              <a:buNone/>
              <a:tabLst/>
              <a:defRPr/>
            </a:pPr>
            <a:endParaRPr kumimoji="0" sz="2133" b="0" i="1"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288" name="Google Shape;260;p27">
            <a:extLst>
              <a:ext uri="{FF2B5EF4-FFF2-40B4-BE49-F238E27FC236}">
                <a16:creationId xmlns:a16="http://schemas.microsoft.com/office/drawing/2014/main" id="{17CD2D63-F240-B626-81B3-17B94236808A}"/>
              </a:ext>
            </a:extLst>
          </p:cNvPr>
          <p:cNvSpPr/>
          <p:nvPr/>
        </p:nvSpPr>
        <p:spPr>
          <a:xfrm>
            <a:off x="6133185" y="1360297"/>
            <a:ext cx="5509098" cy="331098"/>
          </a:xfrm>
          <a:prstGeom prst="round1Rect">
            <a:avLst>
              <a:gd name="adj" fmla="val 16667"/>
            </a:avLst>
          </a:prstGeom>
          <a:solidFill>
            <a:schemeClr val="dk2"/>
          </a:solidFill>
          <a:ln w="25400" cap="flat" cmpd="sng">
            <a:solidFill>
              <a:schemeClr val="dk2"/>
            </a:solidFill>
            <a:prstDash val="solid"/>
            <a:round/>
            <a:headEnd type="none" w="sm" len="sm"/>
            <a:tailEnd type="none" w="sm" len="sm"/>
          </a:ln>
        </p:spPr>
        <p:txBody>
          <a:bodyPr spcFirstLastPara="1" wrap="square" lIns="121862" tIns="60915" rIns="121862" bIns="60915" anchor="ctr" anchorCtr="0">
            <a:noAutofit/>
          </a:bodyPr>
          <a:lstStyle/>
          <a:p>
            <a:pPr marL="0" marR="0" lvl="0" indent="0" algn="ctr" defTabSz="609402" rtl="0" eaLnBrk="1" fontAlgn="auto" latinLnBrk="0" hangingPunct="1">
              <a:lnSpc>
                <a:spcPct val="100000"/>
              </a:lnSpc>
              <a:spcBef>
                <a:spcPts val="0"/>
              </a:spcBef>
              <a:spcAft>
                <a:spcPts val="0"/>
              </a:spcAft>
              <a:buClr>
                <a:srgbClr val="FFFFFF"/>
              </a:buClr>
              <a:buSzPts val="1200"/>
              <a:buFontTx/>
              <a:buNone/>
              <a:tabLst/>
              <a:defRPr/>
            </a:pPr>
            <a:r>
              <a:rPr kumimoji="0" lang="en" sz="1599" b="1" i="0" u="none" strike="noStrike" kern="1200" cap="none" spc="0" normalizeH="0" baseline="0" noProof="0" dirty="0">
                <a:ln>
                  <a:noFill/>
                </a:ln>
                <a:solidFill>
                  <a:srgbClr val="FFFFFF"/>
                </a:solidFill>
                <a:effectLst/>
                <a:uLnTx/>
                <a:uFillTx/>
                <a:latin typeface="Arial"/>
                <a:ea typeface="Arial"/>
                <a:cs typeface="Arial"/>
                <a:sym typeface="Arial"/>
              </a:rPr>
              <a:t>DOCR COVID-19 sensitivity*</a:t>
            </a:r>
            <a:endParaRPr kumimoji="0" sz="1599" b="1"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287" name="Google Shape;259;p27">
            <a:extLst>
              <a:ext uri="{FF2B5EF4-FFF2-40B4-BE49-F238E27FC236}">
                <a16:creationId xmlns:a16="http://schemas.microsoft.com/office/drawing/2014/main" id="{D109899D-E88D-BEBF-E2FC-B5AF69C54E33}"/>
              </a:ext>
            </a:extLst>
          </p:cNvPr>
          <p:cNvSpPr/>
          <p:nvPr/>
        </p:nvSpPr>
        <p:spPr>
          <a:xfrm>
            <a:off x="549718" y="1360297"/>
            <a:ext cx="5509098" cy="331098"/>
          </a:xfrm>
          <a:prstGeom prst="round1Rect">
            <a:avLst>
              <a:gd name="adj" fmla="val 16667"/>
            </a:avLst>
          </a:prstGeom>
          <a:solidFill>
            <a:schemeClr val="dk2"/>
          </a:solidFill>
          <a:ln w="25400" cap="flat" cmpd="sng">
            <a:solidFill>
              <a:schemeClr val="dk2"/>
            </a:solidFill>
            <a:prstDash val="solid"/>
            <a:round/>
            <a:headEnd type="none" w="sm" len="sm"/>
            <a:tailEnd type="none" w="sm" len="sm"/>
          </a:ln>
        </p:spPr>
        <p:txBody>
          <a:bodyPr spcFirstLastPara="1" wrap="square" lIns="121862" tIns="60915" rIns="121862" bIns="60915" anchor="ctr" anchorCtr="0">
            <a:noAutofit/>
          </a:bodyPr>
          <a:lstStyle/>
          <a:p>
            <a:pPr marL="0" marR="0" lvl="0" indent="0" algn="ctr" defTabSz="609402" rtl="0" eaLnBrk="1" fontAlgn="auto" latinLnBrk="0" hangingPunct="1">
              <a:lnSpc>
                <a:spcPct val="100000"/>
              </a:lnSpc>
              <a:spcBef>
                <a:spcPts val="0"/>
              </a:spcBef>
              <a:spcAft>
                <a:spcPts val="0"/>
              </a:spcAft>
              <a:buClr>
                <a:srgbClr val="FFFFFF"/>
              </a:buClr>
              <a:buSzPts val="1200"/>
              <a:buFontTx/>
              <a:buNone/>
              <a:tabLst/>
              <a:defRPr/>
            </a:pPr>
            <a:r>
              <a:rPr kumimoji="0" lang="en" sz="1599" b="1" i="0" u="none" strike="noStrike" kern="1200" cap="none" spc="0" normalizeH="0" baseline="0" noProof="0" dirty="0">
                <a:ln>
                  <a:noFill/>
                </a:ln>
                <a:solidFill>
                  <a:srgbClr val="FFFFFF"/>
                </a:solidFill>
                <a:effectLst/>
                <a:uLnTx/>
                <a:uFillTx/>
                <a:latin typeface="Arial"/>
                <a:ea typeface="Arial"/>
                <a:cs typeface="Arial"/>
                <a:sym typeface="Arial"/>
              </a:rPr>
              <a:t>DOCR*</a:t>
            </a:r>
            <a:r>
              <a:rPr kumimoji="0" lang="en" sz="1599" b="1" i="0" u="none" strike="noStrike" kern="1200" cap="none" spc="0" normalizeH="0" baseline="30000" noProof="0" dirty="0">
                <a:ln>
                  <a:noFill/>
                </a:ln>
                <a:solidFill>
                  <a:srgbClr val="FFFFFF"/>
                </a:solidFill>
                <a:effectLst/>
                <a:uLnTx/>
                <a:uFillTx/>
                <a:latin typeface="Arial"/>
                <a:ea typeface="Arial"/>
                <a:cs typeface="Arial"/>
                <a:sym typeface="Arial"/>
              </a:rPr>
              <a:t>†</a:t>
            </a:r>
            <a:endParaRPr kumimoji="0" sz="1599" b="1" i="0" u="none" strike="noStrike" kern="1200" cap="none" spc="0" normalizeH="0" baseline="30000" noProof="0" dirty="0">
              <a:ln>
                <a:noFill/>
              </a:ln>
              <a:solidFill>
                <a:srgbClr val="FFFFFF"/>
              </a:solidFill>
              <a:effectLst/>
              <a:uLnTx/>
              <a:uFillTx/>
              <a:latin typeface="Arial"/>
              <a:ea typeface="Arial"/>
              <a:cs typeface="Arial"/>
              <a:sym typeface="Arial"/>
            </a:endParaRPr>
          </a:p>
        </p:txBody>
      </p:sp>
      <p:grpSp>
        <p:nvGrpSpPr>
          <p:cNvPr id="2181" name="Group 2180">
            <a:extLst>
              <a:ext uri="{FF2B5EF4-FFF2-40B4-BE49-F238E27FC236}">
                <a16:creationId xmlns:a16="http://schemas.microsoft.com/office/drawing/2014/main" id="{3B99F053-D036-F30C-D120-2F0A6C49996D}"/>
              </a:ext>
            </a:extLst>
          </p:cNvPr>
          <p:cNvGrpSpPr/>
          <p:nvPr/>
        </p:nvGrpSpPr>
        <p:grpSpPr>
          <a:xfrm>
            <a:off x="496689" y="1682560"/>
            <a:ext cx="5575797" cy="2632054"/>
            <a:chOff x="371221" y="1262310"/>
            <a:chExt cx="4183138" cy="1974650"/>
          </a:xfrm>
        </p:grpSpPr>
        <p:grpSp>
          <p:nvGrpSpPr>
            <p:cNvPr id="1621" name="Graphic 2">
              <a:extLst>
                <a:ext uri="{FF2B5EF4-FFF2-40B4-BE49-F238E27FC236}">
                  <a16:creationId xmlns:a16="http://schemas.microsoft.com/office/drawing/2014/main" id="{D770E07D-CE03-96A4-B5EA-DA1D6B83B6F5}"/>
                </a:ext>
              </a:extLst>
            </p:cNvPr>
            <p:cNvGrpSpPr/>
            <p:nvPr/>
          </p:nvGrpSpPr>
          <p:grpSpPr>
            <a:xfrm>
              <a:off x="990859" y="3057442"/>
              <a:ext cx="3563500" cy="176978"/>
              <a:chOff x="2495809" y="4214743"/>
              <a:chExt cx="3563500" cy="176978"/>
            </a:xfrm>
            <a:solidFill>
              <a:srgbClr val="0B41CD"/>
            </a:solidFill>
          </p:grpSpPr>
          <p:sp>
            <p:nvSpPr>
              <p:cNvPr id="2108" name="TextBox 2107">
                <a:extLst>
                  <a:ext uri="{FF2B5EF4-FFF2-40B4-BE49-F238E27FC236}">
                    <a16:creationId xmlns:a16="http://schemas.microsoft.com/office/drawing/2014/main" id="{6169D5CB-FD8D-F483-1133-9A30F420F11D}"/>
                  </a:ext>
                </a:extLst>
              </p:cNvPr>
              <p:cNvSpPr txBox="1"/>
              <p:nvPr/>
            </p:nvSpPr>
            <p:spPr>
              <a:xfrm>
                <a:off x="2495809" y="4214743"/>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47</a:t>
                </a:r>
              </a:p>
            </p:txBody>
          </p:sp>
          <p:sp>
            <p:nvSpPr>
              <p:cNvPr id="2109" name="TextBox 2108">
                <a:extLst>
                  <a:ext uri="{FF2B5EF4-FFF2-40B4-BE49-F238E27FC236}">
                    <a16:creationId xmlns:a16="http://schemas.microsoft.com/office/drawing/2014/main" id="{C4692834-B899-500F-8A78-20FAFCA6A6C9}"/>
                  </a:ext>
                </a:extLst>
              </p:cNvPr>
              <p:cNvSpPr txBox="1"/>
              <p:nvPr/>
            </p:nvSpPr>
            <p:spPr>
              <a:xfrm>
                <a:off x="2686685" y="4214743"/>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42</a:t>
                </a:r>
              </a:p>
            </p:txBody>
          </p:sp>
          <p:sp>
            <p:nvSpPr>
              <p:cNvPr id="2110" name="TextBox 2109">
                <a:extLst>
                  <a:ext uri="{FF2B5EF4-FFF2-40B4-BE49-F238E27FC236}">
                    <a16:creationId xmlns:a16="http://schemas.microsoft.com/office/drawing/2014/main" id="{C3148471-9624-D5E6-5FED-2EABA68624D6}"/>
                  </a:ext>
                </a:extLst>
              </p:cNvPr>
              <p:cNvSpPr txBox="1"/>
              <p:nvPr/>
            </p:nvSpPr>
            <p:spPr>
              <a:xfrm>
                <a:off x="2869053" y="4214743"/>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38</a:t>
                </a:r>
              </a:p>
            </p:txBody>
          </p:sp>
          <p:sp>
            <p:nvSpPr>
              <p:cNvPr id="2111" name="TextBox 2110">
                <a:extLst>
                  <a:ext uri="{FF2B5EF4-FFF2-40B4-BE49-F238E27FC236}">
                    <a16:creationId xmlns:a16="http://schemas.microsoft.com/office/drawing/2014/main" id="{DED903C8-346A-0665-8E60-ABC410791A32}"/>
                  </a:ext>
                </a:extLst>
              </p:cNvPr>
              <p:cNvSpPr txBox="1"/>
              <p:nvPr/>
            </p:nvSpPr>
            <p:spPr>
              <a:xfrm>
                <a:off x="3053453" y="4214743"/>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34</a:t>
                </a:r>
              </a:p>
            </p:txBody>
          </p:sp>
          <p:sp>
            <p:nvSpPr>
              <p:cNvPr id="2112" name="TextBox 2111">
                <a:extLst>
                  <a:ext uri="{FF2B5EF4-FFF2-40B4-BE49-F238E27FC236}">
                    <a16:creationId xmlns:a16="http://schemas.microsoft.com/office/drawing/2014/main" id="{4443C2CC-33B8-C03A-9445-1494DCE59EF3}"/>
                  </a:ext>
                </a:extLst>
              </p:cNvPr>
              <p:cNvSpPr txBox="1"/>
              <p:nvPr/>
            </p:nvSpPr>
            <p:spPr>
              <a:xfrm>
                <a:off x="3415775" y="4214743"/>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7</a:t>
                </a:r>
              </a:p>
            </p:txBody>
          </p:sp>
          <p:sp>
            <p:nvSpPr>
              <p:cNvPr id="2113" name="TextBox 2112">
                <a:extLst>
                  <a:ext uri="{FF2B5EF4-FFF2-40B4-BE49-F238E27FC236}">
                    <a16:creationId xmlns:a16="http://schemas.microsoft.com/office/drawing/2014/main" id="{27B09BA4-838D-9FC2-0814-C34516C2B39C}"/>
                  </a:ext>
                </a:extLst>
              </p:cNvPr>
              <p:cNvSpPr txBox="1"/>
              <p:nvPr/>
            </p:nvSpPr>
            <p:spPr>
              <a:xfrm>
                <a:off x="3599666" y="4214743"/>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5</a:t>
                </a:r>
              </a:p>
            </p:txBody>
          </p:sp>
          <p:sp>
            <p:nvSpPr>
              <p:cNvPr id="2114" name="TextBox 2113">
                <a:extLst>
                  <a:ext uri="{FF2B5EF4-FFF2-40B4-BE49-F238E27FC236}">
                    <a16:creationId xmlns:a16="http://schemas.microsoft.com/office/drawing/2014/main" id="{7755EE06-53F2-CE97-5082-980F56275D1A}"/>
                  </a:ext>
                </a:extLst>
              </p:cNvPr>
              <p:cNvSpPr txBox="1"/>
              <p:nvPr/>
            </p:nvSpPr>
            <p:spPr>
              <a:xfrm>
                <a:off x="3961862" y="4214743"/>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3</a:t>
                </a:r>
              </a:p>
            </p:txBody>
          </p:sp>
          <p:sp>
            <p:nvSpPr>
              <p:cNvPr id="2115" name="TextBox 2114">
                <a:extLst>
                  <a:ext uri="{FF2B5EF4-FFF2-40B4-BE49-F238E27FC236}">
                    <a16:creationId xmlns:a16="http://schemas.microsoft.com/office/drawing/2014/main" id="{82DD7178-CB0D-67A4-8969-1D0B7EB17E7D}"/>
                  </a:ext>
                </a:extLst>
              </p:cNvPr>
              <p:cNvSpPr txBox="1"/>
              <p:nvPr/>
            </p:nvSpPr>
            <p:spPr>
              <a:xfrm>
                <a:off x="3784193" y="4214743"/>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4</a:t>
                </a:r>
              </a:p>
            </p:txBody>
          </p:sp>
          <p:sp>
            <p:nvSpPr>
              <p:cNvPr id="2116" name="TextBox 2115">
                <a:extLst>
                  <a:ext uri="{FF2B5EF4-FFF2-40B4-BE49-F238E27FC236}">
                    <a16:creationId xmlns:a16="http://schemas.microsoft.com/office/drawing/2014/main" id="{E172BD47-E886-D25C-135E-95DEA9E9B53F}"/>
                  </a:ext>
                </a:extLst>
              </p:cNvPr>
              <p:cNvSpPr txBox="1"/>
              <p:nvPr/>
            </p:nvSpPr>
            <p:spPr>
              <a:xfrm>
                <a:off x="4146007" y="4214743"/>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3</a:t>
                </a:r>
              </a:p>
            </p:txBody>
          </p:sp>
          <p:sp>
            <p:nvSpPr>
              <p:cNvPr id="2117" name="TextBox 2116">
                <a:extLst>
                  <a:ext uri="{FF2B5EF4-FFF2-40B4-BE49-F238E27FC236}">
                    <a16:creationId xmlns:a16="http://schemas.microsoft.com/office/drawing/2014/main" id="{FC0C877C-2D35-5D98-0CE0-4D7531B10ACF}"/>
                  </a:ext>
                </a:extLst>
              </p:cNvPr>
              <p:cNvSpPr txBox="1"/>
              <p:nvPr/>
            </p:nvSpPr>
            <p:spPr>
              <a:xfrm>
                <a:off x="4516965" y="4214743"/>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5</a:t>
                </a:r>
              </a:p>
            </p:txBody>
          </p:sp>
          <p:sp>
            <p:nvSpPr>
              <p:cNvPr id="2118" name="TextBox 2117">
                <a:extLst>
                  <a:ext uri="{FF2B5EF4-FFF2-40B4-BE49-F238E27FC236}">
                    <a16:creationId xmlns:a16="http://schemas.microsoft.com/office/drawing/2014/main" id="{8884E09F-BD61-999C-9869-DBAF3CB56487}"/>
                  </a:ext>
                </a:extLst>
              </p:cNvPr>
              <p:cNvSpPr txBox="1"/>
              <p:nvPr/>
            </p:nvSpPr>
            <p:spPr>
              <a:xfrm>
                <a:off x="4342725" y="4214743"/>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1</a:t>
                </a:r>
              </a:p>
            </p:txBody>
          </p:sp>
          <p:sp>
            <p:nvSpPr>
              <p:cNvPr id="2119" name="TextBox 2118">
                <a:extLst>
                  <a:ext uri="{FF2B5EF4-FFF2-40B4-BE49-F238E27FC236}">
                    <a16:creationId xmlns:a16="http://schemas.microsoft.com/office/drawing/2014/main" id="{C29655FB-372A-7285-6C33-BE5FD13B25B0}"/>
                  </a:ext>
                </a:extLst>
              </p:cNvPr>
              <p:cNvSpPr txBox="1"/>
              <p:nvPr/>
            </p:nvSpPr>
            <p:spPr>
              <a:xfrm>
                <a:off x="5091400" y="4214743"/>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6</a:t>
                </a:r>
              </a:p>
            </p:txBody>
          </p:sp>
          <p:sp>
            <p:nvSpPr>
              <p:cNvPr id="2120" name="TextBox 2119">
                <a:extLst>
                  <a:ext uri="{FF2B5EF4-FFF2-40B4-BE49-F238E27FC236}">
                    <a16:creationId xmlns:a16="http://schemas.microsoft.com/office/drawing/2014/main" id="{D1553EE0-4E0F-09C4-69FF-2E00EB1FE8A8}"/>
                  </a:ext>
                </a:extLst>
              </p:cNvPr>
              <p:cNvSpPr txBox="1"/>
              <p:nvPr/>
            </p:nvSpPr>
            <p:spPr>
              <a:xfrm>
                <a:off x="5275419" y="4214743"/>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3</a:t>
                </a:r>
              </a:p>
            </p:txBody>
          </p:sp>
          <p:sp>
            <p:nvSpPr>
              <p:cNvPr id="2121" name="TextBox 2120">
                <a:extLst>
                  <a:ext uri="{FF2B5EF4-FFF2-40B4-BE49-F238E27FC236}">
                    <a16:creationId xmlns:a16="http://schemas.microsoft.com/office/drawing/2014/main" id="{23E3B4DC-FB5E-05D1-806F-D5621EC50854}"/>
                  </a:ext>
                </a:extLst>
              </p:cNvPr>
              <p:cNvSpPr txBox="1"/>
              <p:nvPr/>
            </p:nvSpPr>
            <p:spPr>
              <a:xfrm>
                <a:off x="5653362" y="4214743"/>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a:t>
                </a:r>
              </a:p>
            </p:txBody>
          </p:sp>
          <p:sp>
            <p:nvSpPr>
              <p:cNvPr id="2122" name="TextBox 2121">
                <a:extLst>
                  <a:ext uri="{FF2B5EF4-FFF2-40B4-BE49-F238E27FC236}">
                    <a16:creationId xmlns:a16="http://schemas.microsoft.com/office/drawing/2014/main" id="{3F360A5D-8AA4-F213-4AC3-667215CFE728}"/>
                  </a:ext>
                </a:extLst>
              </p:cNvPr>
              <p:cNvSpPr txBox="1"/>
              <p:nvPr/>
            </p:nvSpPr>
            <p:spPr>
              <a:xfrm>
                <a:off x="5460453" y="4214743"/>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a:t>
                </a:r>
              </a:p>
            </p:txBody>
          </p:sp>
          <p:sp>
            <p:nvSpPr>
              <p:cNvPr id="2123" name="TextBox 2122">
                <a:extLst>
                  <a:ext uri="{FF2B5EF4-FFF2-40B4-BE49-F238E27FC236}">
                    <a16:creationId xmlns:a16="http://schemas.microsoft.com/office/drawing/2014/main" id="{26A520F7-3869-45CE-E090-ECBB2B234FCF}"/>
                  </a:ext>
                </a:extLst>
              </p:cNvPr>
              <p:cNvSpPr txBox="1"/>
              <p:nvPr/>
            </p:nvSpPr>
            <p:spPr>
              <a:xfrm>
                <a:off x="3237471" y="4214743"/>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33</a:t>
                </a:r>
              </a:p>
            </p:txBody>
          </p:sp>
          <p:sp>
            <p:nvSpPr>
              <p:cNvPr id="2124" name="TextBox 2123">
                <a:extLst>
                  <a:ext uri="{FF2B5EF4-FFF2-40B4-BE49-F238E27FC236}">
                    <a16:creationId xmlns:a16="http://schemas.microsoft.com/office/drawing/2014/main" id="{9AD685BE-109B-0BE5-9D0C-C57832E6A10A}"/>
                  </a:ext>
                </a:extLst>
              </p:cNvPr>
              <p:cNvSpPr txBox="1"/>
              <p:nvPr/>
            </p:nvSpPr>
            <p:spPr>
              <a:xfrm>
                <a:off x="4872810" y="4214743"/>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0</a:t>
                </a:r>
              </a:p>
            </p:txBody>
          </p:sp>
          <p:sp>
            <p:nvSpPr>
              <p:cNvPr id="2125" name="TextBox 2124">
                <a:extLst>
                  <a:ext uri="{FF2B5EF4-FFF2-40B4-BE49-F238E27FC236}">
                    <a16:creationId xmlns:a16="http://schemas.microsoft.com/office/drawing/2014/main" id="{47853E4B-7EFC-0CF1-A764-834D1665D418}"/>
                  </a:ext>
                </a:extLst>
              </p:cNvPr>
              <p:cNvSpPr txBox="1"/>
              <p:nvPr/>
            </p:nvSpPr>
            <p:spPr>
              <a:xfrm>
                <a:off x="4701365" y="4214743"/>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0</a:t>
                </a:r>
              </a:p>
            </p:txBody>
          </p:sp>
          <p:sp>
            <p:nvSpPr>
              <p:cNvPr id="2126" name="TextBox 2125">
                <a:extLst>
                  <a:ext uri="{FF2B5EF4-FFF2-40B4-BE49-F238E27FC236}">
                    <a16:creationId xmlns:a16="http://schemas.microsoft.com/office/drawing/2014/main" id="{F7C53613-D6CE-70DE-9EA4-A058E5EE8DA3}"/>
                  </a:ext>
                </a:extLst>
              </p:cNvPr>
              <p:cNvSpPr txBox="1"/>
              <p:nvPr/>
            </p:nvSpPr>
            <p:spPr>
              <a:xfrm>
                <a:off x="5795694" y="4214743"/>
                <a:ext cx="263615"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NE</a:t>
                </a:r>
              </a:p>
            </p:txBody>
          </p:sp>
        </p:grpSp>
        <p:grpSp>
          <p:nvGrpSpPr>
            <p:cNvPr id="1625" name="Graphic 2">
              <a:extLst>
                <a:ext uri="{FF2B5EF4-FFF2-40B4-BE49-F238E27FC236}">
                  <a16:creationId xmlns:a16="http://schemas.microsoft.com/office/drawing/2014/main" id="{57D217A7-5841-6A4A-C051-FD1C11AC6C3B}"/>
                </a:ext>
              </a:extLst>
            </p:cNvPr>
            <p:cNvGrpSpPr/>
            <p:nvPr/>
          </p:nvGrpSpPr>
          <p:grpSpPr>
            <a:xfrm>
              <a:off x="990859" y="2871011"/>
              <a:ext cx="3563500" cy="176978"/>
              <a:chOff x="2495809" y="4028312"/>
              <a:chExt cx="3563500" cy="176978"/>
            </a:xfrm>
            <a:solidFill>
              <a:srgbClr val="BC36F0"/>
            </a:solidFill>
          </p:grpSpPr>
          <p:sp>
            <p:nvSpPr>
              <p:cNvPr id="2071" name="TextBox 2070">
                <a:extLst>
                  <a:ext uri="{FF2B5EF4-FFF2-40B4-BE49-F238E27FC236}">
                    <a16:creationId xmlns:a16="http://schemas.microsoft.com/office/drawing/2014/main" id="{3FEC662D-C04D-E1F5-4A60-686F394765F1}"/>
                  </a:ext>
                </a:extLst>
              </p:cNvPr>
              <p:cNvSpPr txBox="1"/>
              <p:nvPr/>
            </p:nvSpPr>
            <p:spPr>
              <a:xfrm>
                <a:off x="2495809" y="40283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24</a:t>
                </a:r>
              </a:p>
            </p:txBody>
          </p:sp>
          <p:sp>
            <p:nvSpPr>
              <p:cNvPr id="2072" name="TextBox 2071">
                <a:extLst>
                  <a:ext uri="{FF2B5EF4-FFF2-40B4-BE49-F238E27FC236}">
                    <a16:creationId xmlns:a16="http://schemas.microsoft.com/office/drawing/2014/main" id="{D52610C4-4FF7-4C0D-CBD0-48FB9DA37278}"/>
                  </a:ext>
                </a:extLst>
              </p:cNvPr>
              <p:cNvSpPr txBox="1"/>
              <p:nvPr/>
            </p:nvSpPr>
            <p:spPr>
              <a:xfrm>
                <a:off x="2686685" y="40283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21</a:t>
                </a:r>
              </a:p>
            </p:txBody>
          </p:sp>
          <p:sp>
            <p:nvSpPr>
              <p:cNvPr id="2073" name="TextBox 2072">
                <a:extLst>
                  <a:ext uri="{FF2B5EF4-FFF2-40B4-BE49-F238E27FC236}">
                    <a16:creationId xmlns:a16="http://schemas.microsoft.com/office/drawing/2014/main" id="{5B1D97F0-80B2-09F7-C48F-913DD47AEA30}"/>
                  </a:ext>
                </a:extLst>
              </p:cNvPr>
              <p:cNvSpPr txBox="1"/>
              <p:nvPr/>
            </p:nvSpPr>
            <p:spPr>
              <a:xfrm>
                <a:off x="2869053" y="40283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7</a:t>
                </a:r>
              </a:p>
            </p:txBody>
          </p:sp>
          <p:sp>
            <p:nvSpPr>
              <p:cNvPr id="2074" name="TextBox 2073">
                <a:extLst>
                  <a:ext uri="{FF2B5EF4-FFF2-40B4-BE49-F238E27FC236}">
                    <a16:creationId xmlns:a16="http://schemas.microsoft.com/office/drawing/2014/main" id="{238D2C58-606D-2F29-6772-191E09EC2BF7}"/>
                  </a:ext>
                </a:extLst>
              </p:cNvPr>
              <p:cNvSpPr txBox="1"/>
              <p:nvPr/>
            </p:nvSpPr>
            <p:spPr>
              <a:xfrm>
                <a:off x="3053453" y="40283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5</a:t>
                </a:r>
              </a:p>
            </p:txBody>
          </p:sp>
          <p:sp>
            <p:nvSpPr>
              <p:cNvPr id="2075" name="TextBox 2074">
                <a:extLst>
                  <a:ext uri="{FF2B5EF4-FFF2-40B4-BE49-F238E27FC236}">
                    <a16:creationId xmlns:a16="http://schemas.microsoft.com/office/drawing/2014/main" id="{3BB85EB6-6441-620F-E573-220BE6644AF0}"/>
                  </a:ext>
                </a:extLst>
              </p:cNvPr>
              <p:cNvSpPr txBox="1"/>
              <p:nvPr/>
            </p:nvSpPr>
            <p:spPr>
              <a:xfrm>
                <a:off x="3415775" y="40283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2</a:t>
                </a:r>
              </a:p>
            </p:txBody>
          </p:sp>
          <p:sp>
            <p:nvSpPr>
              <p:cNvPr id="2076" name="TextBox 2075">
                <a:extLst>
                  <a:ext uri="{FF2B5EF4-FFF2-40B4-BE49-F238E27FC236}">
                    <a16:creationId xmlns:a16="http://schemas.microsoft.com/office/drawing/2014/main" id="{174F070F-D654-9E7F-11D9-545B4615CC52}"/>
                  </a:ext>
                </a:extLst>
              </p:cNvPr>
              <p:cNvSpPr txBox="1"/>
              <p:nvPr/>
            </p:nvSpPr>
            <p:spPr>
              <a:xfrm>
                <a:off x="3599666" y="40283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1</a:t>
                </a:r>
              </a:p>
            </p:txBody>
          </p:sp>
          <p:sp>
            <p:nvSpPr>
              <p:cNvPr id="2077" name="TextBox 2076">
                <a:extLst>
                  <a:ext uri="{FF2B5EF4-FFF2-40B4-BE49-F238E27FC236}">
                    <a16:creationId xmlns:a16="http://schemas.microsoft.com/office/drawing/2014/main" id="{74EFDEA3-8A88-F340-1599-9C3B332ABD22}"/>
                  </a:ext>
                </a:extLst>
              </p:cNvPr>
              <p:cNvSpPr txBox="1"/>
              <p:nvPr/>
            </p:nvSpPr>
            <p:spPr>
              <a:xfrm>
                <a:off x="3961862" y="40283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1</a:t>
                </a:r>
              </a:p>
            </p:txBody>
          </p:sp>
          <p:sp>
            <p:nvSpPr>
              <p:cNvPr id="2078" name="TextBox 2077">
                <a:extLst>
                  <a:ext uri="{FF2B5EF4-FFF2-40B4-BE49-F238E27FC236}">
                    <a16:creationId xmlns:a16="http://schemas.microsoft.com/office/drawing/2014/main" id="{5028C851-356C-A63D-5BB8-192FFFB3643F}"/>
                  </a:ext>
                </a:extLst>
              </p:cNvPr>
              <p:cNvSpPr txBox="1"/>
              <p:nvPr/>
            </p:nvSpPr>
            <p:spPr>
              <a:xfrm>
                <a:off x="3784193" y="40283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1</a:t>
                </a:r>
              </a:p>
            </p:txBody>
          </p:sp>
          <p:sp>
            <p:nvSpPr>
              <p:cNvPr id="2079" name="TextBox 2078">
                <a:extLst>
                  <a:ext uri="{FF2B5EF4-FFF2-40B4-BE49-F238E27FC236}">
                    <a16:creationId xmlns:a16="http://schemas.microsoft.com/office/drawing/2014/main" id="{3C80ACFC-C88D-EBCB-801E-E57BEA2F6DFD}"/>
                  </a:ext>
                </a:extLst>
              </p:cNvPr>
              <p:cNvSpPr txBox="1"/>
              <p:nvPr/>
            </p:nvSpPr>
            <p:spPr>
              <a:xfrm>
                <a:off x="4146007" y="40283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1</a:t>
                </a:r>
              </a:p>
            </p:txBody>
          </p:sp>
          <p:sp>
            <p:nvSpPr>
              <p:cNvPr id="2080" name="TextBox 2079">
                <a:extLst>
                  <a:ext uri="{FF2B5EF4-FFF2-40B4-BE49-F238E27FC236}">
                    <a16:creationId xmlns:a16="http://schemas.microsoft.com/office/drawing/2014/main" id="{3AEB47C0-8431-FDB2-B2A4-E18E62870D75}"/>
                  </a:ext>
                </a:extLst>
              </p:cNvPr>
              <p:cNvSpPr txBox="1"/>
              <p:nvPr/>
            </p:nvSpPr>
            <p:spPr>
              <a:xfrm>
                <a:off x="4542011" y="4028312"/>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8</a:t>
                </a:r>
              </a:p>
            </p:txBody>
          </p:sp>
          <p:sp>
            <p:nvSpPr>
              <p:cNvPr id="2081" name="TextBox 2080">
                <a:extLst>
                  <a:ext uri="{FF2B5EF4-FFF2-40B4-BE49-F238E27FC236}">
                    <a16:creationId xmlns:a16="http://schemas.microsoft.com/office/drawing/2014/main" id="{A7BFD338-2B69-7C94-1645-7E6517A9CDA8}"/>
                  </a:ext>
                </a:extLst>
              </p:cNvPr>
              <p:cNvSpPr txBox="1"/>
              <p:nvPr/>
            </p:nvSpPr>
            <p:spPr>
              <a:xfrm>
                <a:off x="4342725" y="40283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1</a:t>
                </a:r>
              </a:p>
            </p:txBody>
          </p:sp>
          <p:sp>
            <p:nvSpPr>
              <p:cNvPr id="2082" name="TextBox 2081">
                <a:extLst>
                  <a:ext uri="{FF2B5EF4-FFF2-40B4-BE49-F238E27FC236}">
                    <a16:creationId xmlns:a16="http://schemas.microsoft.com/office/drawing/2014/main" id="{A31F7E55-B4EE-12F7-CB8E-419220DD8CA8}"/>
                  </a:ext>
                </a:extLst>
              </p:cNvPr>
              <p:cNvSpPr txBox="1"/>
              <p:nvPr/>
            </p:nvSpPr>
            <p:spPr>
              <a:xfrm>
                <a:off x="5091400" y="4028312"/>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3</a:t>
                </a:r>
              </a:p>
            </p:txBody>
          </p:sp>
          <p:sp>
            <p:nvSpPr>
              <p:cNvPr id="2083" name="TextBox 2082">
                <a:extLst>
                  <a:ext uri="{FF2B5EF4-FFF2-40B4-BE49-F238E27FC236}">
                    <a16:creationId xmlns:a16="http://schemas.microsoft.com/office/drawing/2014/main" id="{2CB51B31-A696-2DC3-8C4F-4CCF3F8111B0}"/>
                  </a:ext>
                </a:extLst>
              </p:cNvPr>
              <p:cNvSpPr txBox="1"/>
              <p:nvPr/>
            </p:nvSpPr>
            <p:spPr>
              <a:xfrm>
                <a:off x="5275419" y="4028312"/>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a:t>
                </a:r>
              </a:p>
            </p:txBody>
          </p:sp>
          <p:sp>
            <p:nvSpPr>
              <p:cNvPr id="2084" name="TextBox 2083">
                <a:extLst>
                  <a:ext uri="{FF2B5EF4-FFF2-40B4-BE49-F238E27FC236}">
                    <a16:creationId xmlns:a16="http://schemas.microsoft.com/office/drawing/2014/main" id="{11463D95-ECEA-C497-88ED-1A73D49CB527}"/>
                  </a:ext>
                </a:extLst>
              </p:cNvPr>
              <p:cNvSpPr txBox="1"/>
              <p:nvPr/>
            </p:nvSpPr>
            <p:spPr>
              <a:xfrm>
                <a:off x="5653362" y="4028312"/>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a:t>
                </a:r>
              </a:p>
            </p:txBody>
          </p:sp>
          <p:sp>
            <p:nvSpPr>
              <p:cNvPr id="2085" name="TextBox 2084">
                <a:extLst>
                  <a:ext uri="{FF2B5EF4-FFF2-40B4-BE49-F238E27FC236}">
                    <a16:creationId xmlns:a16="http://schemas.microsoft.com/office/drawing/2014/main" id="{9E66946A-A966-F850-8BEF-8531E4620458}"/>
                  </a:ext>
                </a:extLst>
              </p:cNvPr>
              <p:cNvSpPr txBox="1"/>
              <p:nvPr/>
            </p:nvSpPr>
            <p:spPr>
              <a:xfrm>
                <a:off x="5460453" y="4028312"/>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a:t>
                </a:r>
              </a:p>
            </p:txBody>
          </p:sp>
          <p:sp>
            <p:nvSpPr>
              <p:cNvPr id="2086" name="TextBox 2085">
                <a:extLst>
                  <a:ext uri="{FF2B5EF4-FFF2-40B4-BE49-F238E27FC236}">
                    <a16:creationId xmlns:a16="http://schemas.microsoft.com/office/drawing/2014/main" id="{BCCA3B1F-E65C-2D3B-9DB3-09F1E3F6D71A}"/>
                  </a:ext>
                </a:extLst>
              </p:cNvPr>
              <p:cNvSpPr txBox="1"/>
              <p:nvPr/>
            </p:nvSpPr>
            <p:spPr>
              <a:xfrm>
                <a:off x="3237471" y="40283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4</a:t>
                </a:r>
              </a:p>
            </p:txBody>
          </p:sp>
          <p:sp>
            <p:nvSpPr>
              <p:cNvPr id="2087" name="TextBox 2086">
                <a:extLst>
                  <a:ext uri="{FF2B5EF4-FFF2-40B4-BE49-F238E27FC236}">
                    <a16:creationId xmlns:a16="http://schemas.microsoft.com/office/drawing/2014/main" id="{E889506E-A83E-F85A-36D7-ABDA27861ED1}"/>
                  </a:ext>
                </a:extLst>
              </p:cNvPr>
              <p:cNvSpPr txBox="1"/>
              <p:nvPr/>
            </p:nvSpPr>
            <p:spPr>
              <a:xfrm>
                <a:off x="4897984" y="4028312"/>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6</a:t>
                </a:r>
              </a:p>
            </p:txBody>
          </p:sp>
          <p:sp>
            <p:nvSpPr>
              <p:cNvPr id="2088" name="TextBox 2087">
                <a:extLst>
                  <a:ext uri="{FF2B5EF4-FFF2-40B4-BE49-F238E27FC236}">
                    <a16:creationId xmlns:a16="http://schemas.microsoft.com/office/drawing/2014/main" id="{1A888A14-79A4-F074-8EBD-28E8A382E8F2}"/>
                  </a:ext>
                </a:extLst>
              </p:cNvPr>
              <p:cNvSpPr txBox="1"/>
              <p:nvPr/>
            </p:nvSpPr>
            <p:spPr>
              <a:xfrm>
                <a:off x="4726538" y="4028312"/>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6</a:t>
                </a:r>
              </a:p>
            </p:txBody>
          </p:sp>
          <p:sp>
            <p:nvSpPr>
              <p:cNvPr id="2089" name="TextBox 2088">
                <a:extLst>
                  <a:ext uri="{FF2B5EF4-FFF2-40B4-BE49-F238E27FC236}">
                    <a16:creationId xmlns:a16="http://schemas.microsoft.com/office/drawing/2014/main" id="{4843F831-7B3C-083A-29B7-7B9CB47BB3A9}"/>
                  </a:ext>
                </a:extLst>
              </p:cNvPr>
              <p:cNvSpPr txBox="1"/>
              <p:nvPr/>
            </p:nvSpPr>
            <p:spPr>
              <a:xfrm>
                <a:off x="5795694" y="4028312"/>
                <a:ext cx="263615"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NE</a:t>
                </a:r>
              </a:p>
            </p:txBody>
          </p:sp>
        </p:grpSp>
        <p:grpSp>
          <p:nvGrpSpPr>
            <p:cNvPr id="1611" name="Graphic 2">
              <a:extLst>
                <a:ext uri="{FF2B5EF4-FFF2-40B4-BE49-F238E27FC236}">
                  <a16:creationId xmlns:a16="http://schemas.microsoft.com/office/drawing/2014/main" id="{21A411C9-48EF-CF32-AB06-6DECAD4997C0}"/>
                </a:ext>
              </a:extLst>
            </p:cNvPr>
            <p:cNvGrpSpPr/>
            <p:nvPr/>
          </p:nvGrpSpPr>
          <p:grpSpPr>
            <a:xfrm>
              <a:off x="855447" y="1279486"/>
              <a:ext cx="290072" cy="1421548"/>
              <a:chOff x="2360397" y="2434247"/>
              <a:chExt cx="290072" cy="1421548"/>
            </a:xfrm>
            <a:solidFill>
              <a:srgbClr val="000000"/>
            </a:solidFill>
          </p:grpSpPr>
          <p:sp>
            <p:nvSpPr>
              <p:cNvPr id="2171" name="TextBox 2170">
                <a:extLst>
                  <a:ext uri="{FF2B5EF4-FFF2-40B4-BE49-F238E27FC236}">
                    <a16:creationId xmlns:a16="http://schemas.microsoft.com/office/drawing/2014/main" id="{9085DF21-4A39-5953-6E75-A94D743AA5D0}"/>
                  </a:ext>
                </a:extLst>
              </p:cNvPr>
              <p:cNvSpPr txBox="1"/>
              <p:nvPr/>
            </p:nvSpPr>
            <p:spPr>
              <a:xfrm>
                <a:off x="2360397" y="2434247"/>
                <a:ext cx="290072" cy="176978"/>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00</a:t>
                </a:r>
              </a:p>
            </p:txBody>
          </p:sp>
          <p:sp>
            <p:nvSpPr>
              <p:cNvPr id="2172" name="TextBox 2171">
                <a:extLst>
                  <a:ext uri="{FF2B5EF4-FFF2-40B4-BE49-F238E27FC236}">
                    <a16:creationId xmlns:a16="http://schemas.microsoft.com/office/drawing/2014/main" id="{4AC15669-F841-6B48-9D2C-72B8FD82D69A}"/>
                  </a:ext>
                </a:extLst>
              </p:cNvPr>
              <p:cNvSpPr txBox="1"/>
              <p:nvPr/>
            </p:nvSpPr>
            <p:spPr>
              <a:xfrm>
                <a:off x="2406169" y="2688241"/>
                <a:ext cx="239563" cy="176978"/>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80</a:t>
                </a:r>
              </a:p>
            </p:txBody>
          </p:sp>
          <p:sp>
            <p:nvSpPr>
              <p:cNvPr id="2173" name="TextBox 2172">
                <a:extLst>
                  <a:ext uri="{FF2B5EF4-FFF2-40B4-BE49-F238E27FC236}">
                    <a16:creationId xmlns:a16="http://schemas.microsoft.com/office/drawing/2014/main" id="{4197614C-D228-28B8-89C8-D16994B818C5}"/>
                  </a:ext>
                </a:extLst>
              </p:cNvPr>
              <p:cNvSpPr txBox="1"/>
              <p:nvPr/>
            </p:nvSpPr>
            <p:spPr>
              <a:xfrm>
                <a:off x="2406169" y="2923185"/>
                <a:ext cx="239563" cy="176978"/>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60</a:t>
                </a:r>
              </a:p>
            </p:txBody>
          </p:sp>
          <p:sp>
            <p:nvSpPr>
              <p:cNvPr id="2174" name="TextBox 2173">
                <a:extLst>
                  <a:ext uri="{FF2B5EF4-FFF2-40B4-BE49-F238E27FC236}">
                    <a16:creationId xmlns:a16="http://schemas.microsoft.com/office/drawing/2014/main" id="{FAF13DC6-E4FD-6632-6383-0AF9758A4E14}"/>
                  </a:ext>
                </a:extLst>
              </p:cNvPr>
              <p:cNvSpPr txBox="1"/>
              <p:nvPr/>
            </p:nvSpPr>
            <p:spPr>
              <a:xfrm>
                <a:off x="2406169" y="3177179"/>
                <a:ext cx="239563" cy="176978"/>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0</a:t>
                </a:r>
              </a:p>
            </p:txBody>
          </p:sp>
          <p:sp>
            <p:nvSpPr>
              <p:cNvPr id="2175" name="TextBox 2174">
                <a:extLst>
                  <a:ext uri="{FF2B5EF4-FFF2-40B4-BE49-F238E27FC236}">
                    <a16:creationId xmlns:a16="http://schemas.microsoft.com/office/drawing/2014/main" id="{378945A0-504F-DF43-5FA3-452983C31617}"/>
                  </a:ext>
                </a:extLst>
              </p:cNvPr>
              <p:cNvSpPr txBox="1"/>
              <p:nvPr/>
            </p:nvSpPr>
            <p:spPr>
              <a:xfrm>
                <a:off x="2406169" y="3431173"/>
                <a:ext cx="239563" cy="176978"/>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0</a:t>
                </a:r>
              </a:p>
            </p:txBody>
          </p:sp>
          <p:sp>
            <p:nvSpPr>
              <p:cNvPr id="2176" name="TextBox 2175">
                <a:extLst>
                  <a:ext uri="{FF2B5EF4-FFF2-40B4-BE49-F238E27FC236}">
                    <a16:creationId xmlns:a16="http://schemas.microsoft.com/office/drawing/2014/main" id="{F90AC0DF-6386-8410-A3D7-711E4C749661}"/>
                  </a:ext>
                </a:extLst>
              </p:cNvPr>
              <p:cNvSpPr txBox="1"/>
              <p:nvPr/>
            </p:nvSpPr>
            <p:spPr>
              <a:xfrm>
                <a:off x="2453469" y="3678817"/>
                <a:ext cx="189052" cy="176978"/>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0</a:t>
                </a:r>
              </a:p>
            </p:txBody>
          </p:sp>
        </p:grpSp>
        <p:sp>
          <p:nvSpPr>
            <p:cNvPr id="1612" name="TextBox 1611">
              <a:extLst>
                <a:ext uri="{FF2B5EF4-FFF2-40B4-BE49-F238E27FC236}">
                  <a16:creationId xmlns:a16="http://schemas.microsoft.com/office/drawing/2014/main" id="{B0D4E9A5-0B25-97BE-CC0F-3AEB0653D707}"/>
                </a:ext>
              </a:extLst>
            </p:cNvPr>
            <p:cNvSpPr txBox="1"/>
            <p:nvPr/>
          </p:nvSpPr>
          <p:spPr>
            <a:xfrm rot="16200000">
              <a:off x="287682" y="1908964"/>
              <a:ext cx="1056144"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DOCR probability (%)</a:t>
              </a:r>
            </a:p>
          </p:txBody>
        </p:sp>
        <p:grpSp>
          <p:nvGrpSpPr>
            <p:cNvPr id="1613" name="Graphic 2">
              <a:extLst>
                <a:ext uri="{FF2B5EF4-FFF2-40B4-BE49-F238E27FC236}">
                  <a16:creationId xmlns:a16="http://schemas.microsoft.com/office/drawing/2014/main" id="{DFFE9CFF-C01D-3353-9636-01120E3379B2}"/>
                </a:ext>
              </a:extLst>
            </p:cNvPr>
            <p:cNvGrpSpPr/>
            <p:nvPr/>
          </p:nvGrpSpPr>
          <p:grpSpPr>
            <a:xfrm>
              <a:off x="1014762" y="2622097"/>
              <a:ext cx="3529009" cy="177232"/>
              <a:chOff x="2519712" y="3776858"/>
              <a:chExt cx="3529009" cy="177232"/>
            </a:xfrm>
            <a:solidFill>
              <a:srgbClr val="000000"/>
            </a:solidFill>
          </p:grpSpPr>
          <p:sp>
            <p:nvSpPr>
              <p:cNvPr id="2152" name="TextBox 2151">
                <a:extLst>
                  <a:ext uri="{FF2B5EF4-FFF2-40B4-BE49-F238E27FC236}">
                    <a16:creationId xmlns:a16="http://schemas.microsoft.com/office/drawing/2014/main" id="{D610E695-8451-3B10-F509-02A4530C7C31}"/>
                  </a:ext>
                </a:extLst>
              </p:cNvPr>
              <p:cNvSpPr txBox="1"/>
              <p:nvPr/>
            </p:nvSpPr>
            <p:spPr>
              <a:xfrm>
                <a:off x="2519712" y="3777112"/>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0</a:t>
                </a:r>
              </a:p>
            </p:txBody>
          </p:sp>
          <p:sp>
            <p:nvSpPr>
              <p:cNvPr id="2153" name="TextBox 2152">
                <a:extLst>
                  <a:ext uri="{FF2B5EF4-FFF2-40B4-BE49-F238E27FC236}">
                    <a16:creationId xmlns:a16="http://schemas.microsoft.com/office/drawing/2014/main" id="{136F4E4C-2770-34E8-BB05-2F69A80EF30D}"/>
                  </a:ext>
                </a:extLst>
              </p:cNvPr>
              <p:cNvSpPr txBox="1"/>
              <p:nvPr/>
            </p:nvSpPr>
            <p:spPr>
              <a:xfrm>
                <a:off x="2710081" y="3777112"/>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a:t>
                </a:r>
              </a:p>
            </p:txBody>
          </p:sp>
          <p:sp>
            <p:nvSpPr>
              <p:cNvPr id="2154" name="TextBox 2153">
                <a:extLst>
                  <a:ext uri="{FF2B5EF4-FFF2-40B4-BE49-F238E27FC236}">
                    <a16:creationId xmlns:a16="http://schemas.microsoft.com/office/drawing/2014/main" id="{9AB58DF3-3080-379F-6BA9-369742E62FA5}"/>
                  </a:ext>
                </a:extLst>
              </p:cNvPr>
              <p:cNvSpPr txBox="1"/>
              <p:nvPr/>
            </p:nvSpPr>
            <p:spPr>
              <a:xfrm>
                <a:off x="2894480" y="3777112"/>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6</a:t>
                </a:r>
              </a:p>
            </p:txBody>
          </p:sp>
          <p:sp>
            <p:nvSpPr>
              <p:cNvPr id="2155" name="TextBox 2154">
                <a:extLst>
                  <a:ext uri="{FF2B5EF4-FFF2-40B4-BE49-F238E27FC236}">
                    <a16:creationId xmlns:a16="http://schemas.microsoft.com/office/drawing/2014/main" id="{7E5E07C5-1CF0-EB33-0630-0B13ABE196AC}"/>
                  </a:ext>
                </a:extLst>
              </p:cNvPr>
              <p:cNvSpPr txBox="1"/>
              <p:nvPr/>
            </p:nvSpPr>
            <p:spPr>
              <a:xfrm>
                <a:off x="3078372" y="3777112"/>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9</a:t>
                </a:r>
              </a:p>
            </p:txBody>
          </p:sp>
          <p:sp>
            <p:nvSpPr>
              <p:cNvPr id="2156" name="TextBox 2155">
                <a:extLst>
                  <a:ext uri="{FF2B5EF4-FFF2-40B4-BE49-F238E27FC236}">
                    <a16:creationId xmlns:a16="http://schemas.microsoft.com/office/drawing/2014/main" id="{E3F79F8B-03B0-B096-8205-CF9C0B961ED0}"/>
                  </a:ext>
                </a:extLst>
              </p:cNvPr>
              <p:cNvSpPr txBox="1"/>
              <p:nvPr/>
            </p:nvSpPr>
            <p:spPr>
              <a:xfrm>
                <a:off x="3412092" y="37771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5</a:t>
                </a:r>
              </a:p>
            </p:txBody>
          </p:sp>
          <p:sp>
            <p:nvSpPr>
              <p:cNvPr id="2157" name="TextBox 2156">
                <a:extLst>
                  <a:ext uri="{FF2B5EF4-FFF2-40B4-BE49-F238E27FC236}">
                    <a16:creationId xmlns:a16="http://schemas.microsoft.com/office/drawing/2014/main" id="{61208BBC-23AD-74F7-9249-7944BE74F997}"/>
                  </a:ext>
                </a:extLst>
              </p:cNvPr>
              <p:cNvSpPr txBox="1"/>
              <p:nvPr/>
            </p:nvSpPr>
            <p:spPr>
              <a:xfrm>
                <a:off x="3596364" y="37771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8</a:t>
                </a:r>
              </a:p>
            </p:txBody>
          </p:sp>
          <p:sp>
            <p:nvSpPr>
              <p:cNvPr id="2158" name="TextBox 2157">
                <a:extLst>
                  <a:ext uri="{FF2B5EF4-FFF2-40B4-BE49-F238E27FC236}">
                    <a16:creationId xmlns:a16="http://schemas.microsoft.com/office/drawing/2014/main" id="{398E305A-D132-5415-A87D-A80B483E7F73}"/>
                  </a:ext>
                </a:extLst>
              </p:cNvPr>
              <p:cNvSpPr txBox="1"/>
              <p:nvPr/>
            </p:nvSpPr>
            <p:spPr>
              <a:xfrm>
                <a:off x="3790289" y="37771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1</a:t>
                </a:r>
              </a:p>
            </p:txBody>
          </p:sp>
          <p:sp>
            <p:nvSpPr>
              <p:cNvPr id="2159" name="TextBox 2158">
                <a:extLst>
                  <a:ext uri="{FF2B5EF4-FFF2-40B4-BE49-F238E27FC236}">
                    <a16:creationId xmlns:a16="http://schemas.microsoft.com/office/drawing/2014/main" id="{13B12D8F-AD5C-0894-354E-58E106B3AB9F}"/>
                  </a:ext>
                </a:extLst>
              </p:cNvPr>
              <p:cNvSpPr txBox="1"/>
              <p:nvPr/>
            </p:nvSpPr>
            <p:spPr>
              <a:xfrm>
                <a:off x="3961988" y="37771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4</a:t>
                </a:r>
              </a:p>
            </p:txBody>
          </p:sp>
          <p:sp>
            <p:nvSpPr>
              <p:cNvPr id="2160" name="TextBox 2159">
                <a:extLst>
                  <a:ext uri="{FF2B5EF4-FFF2-40B4-BE49-F238E27FC236}">
                    <a16:creationId xmlns:a16="http://schemas.microsoft.com/office/drawing/2014/main" id="{56D84212-6E80-EC9F-C7F8-643B5E1B1D49}"/>
                  </a:ext>
                </a:extLst>
              </p:cNvPr>
              <p:cNvSpPr txBox="1"/>
              <p:nvPr/>
            </p:nvSpPr>
            <p:spPr>
              <a:xfrm>
                <a:off x="4146007" y="37771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7</a:t>
                </a:r>
              </a:p>
            </p:txBody>
          </p:sp>
          <p:sp>
            <p:nvSpPr>
              <p:cNvPr id="2161" name="TextBox 2160">
                <a:extLst>
                  <a:ext uri="{FF2B5EF4-FFF2-40B4-BE49-F238E27FC236}">
                    <a16:creationId xmlns:a16="http://schemas.microsoft.com/office/drawing/2014/main" id="{9090D5A3-CC0A-7FCD-9938-6E15B0258146}"/>
                  </a:ext>
                </a:extLst>
              </p:cNvPr>
              <p:cNvSpPr txBox="1"/>
              <p:nvPr/>
            </p:nvSpPr>
            <p:spPr>
              <a:xfrm>
                <a:off x="4336121" y="37771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0</a:t>
                </a:r>
              </a:p>
            </p:txBody>
          </p:sp>
          <p:sp>
            <p:nvSpPr>
              <p:cNvPr id="2162" name="TextBox 2161">
                <a:extLst>
                  <a:ext uri="{FF2B5EF4-FFF2-40B4-BE49-F238E27FC236}">
                    <a16:creationId xmlns:a16="http://schemas.microsoft.com/office/drawing/2014/main" id="{815AA636-CB9D-6CF1-A7C2-BA2EA88C1DAE}"/>
                  </a:ext>
                </a:extLst>
              </p:cNvPr>
              <p:cNvSpPr txBox="1"/>
              <p:nvPr/>
            </p:nvSpPr>
            <p:spPr>
              <a:xfrm>
                <a:off x="4520013" y="37771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3</a:t>
                </a:r>
              </a:p>
            </p:txBody>
          </p:sp>
          <p:sp>
            <p:nvSpPr>
              <p:cNvPr id="2163" name="TextBox 2162">
                <a:extLst>
                  <a:ext uri="{FF2B5EF4-FFF2-40B4-BE49-F238E27FC236}">
                    <a16:creationId xmlns:a16="http://schemas.microsoft.com/office/drawing/2014/main" id="{3861F120-567E-DC41-0605-CF77D1CADAC1}"/>
                  </a:ext>
                </a:extLst>
              </p:cNvPr>
              <p:cNvSpPr txBox="1"/>
              <p:nvPr/>
            </p:nvSpPr>
            <p:spPr>
              <a:xfrm>
                <a:off x="4704159" y="37771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6</a:t>
                </a:r>
              </a:p>
            </p:txBody>
          </p:sp>
          <p:sp>
            <p:nvSpPr>
              <p:cNvPr id="2164" name="TextBox 2163">
                <a:extLst>
                  <a:ext uri="{FF2B5EF4-FFF2-40B4-BE49-F238E27FC236}">
                    <a16:creationId xmlns:a16="http://schemas.microsoft.com/office/drawing/2014/main" id="{2653D6F2-C7C3-F9FE-EC44-D57137B1FE3B}"/>
                  </a:ext>
                </a:extLst>
              </p:cNvPr>
              <p:cNvSpPr txBox="1"/>
              <p:nvPr/>
            </p:nvSpPr>
            <p:spPr>
              <a:xfrm>
                <a:off x="4875604" y="37771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9</a:t>
                </a:r>
              </a:p>
            </p:txBody>
          </p:sp>
          <p:sp>
            <p:nvSpPr>
              <p:cNvPr id="2165" name="TextBox 2164">
                <a:extLst>
                  <a:ext uri="{FF2B5EF4-FFF2-40B4-BE49-F238E27FC236}">
                    <a16:creationId xmlns:a16="http://schemas.microsoft.com/office/drawing/2014/main" id="{165B19DE-7C82-4806-1B39-B605B6404E6F}"/>
                  </a:ext>
                </a:extLst>
              </p:cNvPr>
              <p:cNvSpPr txBox="1"/>
              <p:nvPr/>
            </p:nvSpPr>
            <p:spPr>
              <a:xfrm>
                <a:off x="5067878" y="37771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2</a:t>
                </a:r>
              </a:p>
            </p:txBody>
          </p:sp>
          <p:sp>
            <p:nvSpPr>
              <p:cNvPr id="2166" name="TextBox 2165">
                <a:extLst>
                  <a:ext uri="{FF2B5EF4-FFF2-40B4-BE49-F238E27FC236}">
                    <a16:creationId xmlns:a16="http://schemas.microsoft.com/office/drawing/2014/main" id="{BD15FC23-7777-73DC-61CE-8F76676F5BD9}"/>
                  </a:ext>
                </a:extLst>
              </p:cNvPr>
              <p:cNvSpPr txBox="1"/>
              <p:nvPr/>
            </p:nvSpPr>
            <p:spPr>
              <a:xfrm>
                <a:off x="5251388" y="3776858"/>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5</a:t>
                </a:r>
              </a:p>
            </p:txBody>
          </p:sp>
          <p:sp>
            <p:nvSpPr>
              <p:cNvPr id="2167" name="TextBox 2166">
                <a:extLst>
                  <a:ext uri="{FF2B5EF4-FFF2-40B4-BE49-F238E27FC236}">
                    <a16:creationId xmlns:a16="http://schemas.microsoft.com/office/drawing/2014/main" id="{5EE8D9CD-F8AC-51B4-4728-E123BAE88FE7}"/>
                  </a:ext>
                </a:extLst>
              </p:cNvPr>
              <p:cNvSpPr txBox="1"/>
              <p:nvPr/>
            </p:nvSpPr>
            <p:spPr>
              <a:xfrm>
                <a:off x="5435788" y="37771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8</a:t>
                </a:r>
              </a:p>
            </p:txBody>
          </p:sp>
          <p:sp>
            <p:nvSpPr>
              <p:cNvPr id="2168" name="TextBox 2167">
                <a:extLst>
                  <a:ext uri="{FF2B5EF4-FFF2-40B4-BE49-F238E27FC236}">
                    <a16:creationId xmlns:a16="http://schemas.microsoft.com/office/drawing/2014/main" id="{9DE96BD6-1905-5FBD-4FF1-9D1168A36424}"/>
                  </a:ext>
                </a:extLst>
              </p:cNvPr>
              <p:cNvSpPr txBox="1"/>
              <p:nvPr/>
            </p:nvSpPr>
            <p:spPr>
              <a:xfrm>
                <a:off x="5631109" y="37771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51</a:t>
                </a:r>
              </a:p>
            </p:txBody>
          </p:sp>
          <p:sp>
            <p:nvSpPr>
              <p:cNvPr id="2169" name="TextBox 2168">
                <a:extLst>
                  <a:ext uri="{FF2B5EF4-FFF2-40B4-BE49-F238E27FC236}">
                    <a16:creationId xmlns:a16="http://schemas.microsoft.com/office/drawing/2014/main" id="{8AC2DB9C-6F42-C437-2691-7E866DFB0845}"/>
                  </a:ext>
                </a:extLst>
              </p:cNvPr>
              <p:cNvSpPr txBox="1"/>
              <p:nvPr/>
            </p:nvSpPr>
            <p:spPr>
              <a:xfrm>
                <a:off x="5809159" y="3776858"/>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54</a:t>
                </a:r>
              </a:p>
            </p:txBody>
          </p:sp>
          <p:sp>
            <p:nvSpPr>
              <p:cNvPr id="2170" name="TextBox 2169">
                <a:extLst>
                  <a:ext uri="{FF2B5EF4-FFF2-40B4-BE49-F238E27FC236}">
                    <a16:creationId xmlns:a16="http://schemas.microsoft.com/office/drawing/2014/main" id="{8F5823DC-37B8-1AD0-4CEF-11D178352566}"/>
                  </a:ext>
                </a:extLst>
              </p:cNvPr>
              <p:cNvSpPr txBox="1"/>
              <p:nvPr/>
            </p:nvSpPr>
            <p:spPr>
              <a:xfrm>
                <a:off x="3234804" y="37771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2</a:t>
                </a:r>
              </a:p>
            </p:txBody>
          </p:sp>
        </p:grpSp>
        <p:grpSp>
          <p:nvGrpSpPr>
            <p:cNvPr id="1614" name="Graphic 2">
              <a:extLst>
                <a:ext uri="{FF2B5EF4-FFF2-40B4-BE49-F238E27FC236}">
                  <a16:creationId xmlns:a16="http://schemas.microsoft.com/office/drawing/2014/main" id="{F191655C-EB93-2451-662D-C1B80A91721D}"/>
                </a:ext>
              </a:extLst>
            </p:cNvPr>
            <p:cNvGrpSpPr/>
            <p:nvPr/>
          </p:nvGrpSpPr>
          <p:grpSpPr>
            <a:xfrm>
              <a:off x="1077199" y="1374187"/>
              <a:ext cx="31749" cy="1244569"/>
              <a:chOff x="2582149" y="2528948"/>
              <a:chExt cx="31749" cy="1244569"/>
            </a:xfrm>
          </p:grpSpPr>
          <p:sp>
            <p:nvSpPr>
              <p:cNvPr id="2146" name="Freeform 2144">
                <a:extLst>
                  <a:ext uri="{FF2B5EF4-FFF2-40B4-BE49-F238E27FC236}">
                    <a16:creationId xmlns:a16="http://schemas.microsoft.com/office/drawing/2014/main" id="{1751AE46-A70E-050C-6F2B-EEC5EB3E137F}"/>
                  </a:ext>
                </a:extLst>
              </p:cNvPr>
              <p:cNvSpPr/>
              <p:nvPr/>
            </p:nvSpPr>
            <p:spPr>
              <a:xfrm>
                <a:off x="2582149" y="2528948"/>
                <a:ext cx="31749" cy="12699"/>
              </a:xfrm>
              <a:custGeom>
                <a:avLst/>
                <a:gdLst>
                  <a:gd name="csX0" fmla="*/ 0 w 31749"/>
                  <a:gd name="csY0" fmla="*/ 0 h 12699"/>
                  <a:gd name="csX1" fmla="*/ 31749 w 31749"/>
                  <a:gd name="csY1" fmla="*/ 0 h 12699"/>
                </a:gdLst>
                <a:ahLst/>
                <a:cxnLst>
                  <a:cxn ang="0">
                    <a:pos x="csX0" y="csY0"/>
                  </a:cxn>
                  <a:cxn ang="0">
                    <a:pos x="csX1" y="csY1"/>
                  </a:cxn>
                </a:cxnLst>
                <a:rect l="l" t="t" r="r" b="b"/>
                <a:pathLst>
                  <a:path w="31749" h="12699">
                    <a:moveTo>
                      <a:pt x="0" y="0"/>
                    </a:moveTo>
                    <a:lnTo>
                      <a:pt x="31749" y="0"/>
                    </a:lnTo>
                  </a:path>
                </a:pathLst>
              </a:custGeom>
              <a:ln w="12690"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147" name="Freeform 2145">
                <a:extLst>
                  <a:ext uri="{FF2B5EF4-FFF2-40B4-BE49-F238E27FC236}">
                    <a16:creationId xmlns:a16="http://schemas.microsoft.com/office/drawing/2014/main" id="{4F2EB184-E150-1CF4-D285-61FEC0BE4886}"/>
                  </a:ext>
                </a:extLst>
              </p:cNvPr>
              <p:cNvSpPr/>
              <p:nvPr/>
            </p:nvSpPr>
            <p:spPr>
              <a:xfrm>
                <a:off x="2582149" y="2782942"/>
                <a:ext cx="31749" cy="12699"/>
              </a:xfrm>
              <a:custGeom>
                <a:avLst/>
                <a:gdLst>
                  <a:gd name="csX0" fmla="*/ 0 w 31749"/>
                  <a:gd name="csY0" fmla="*/ 0 h 12699"/>
                  <a:gd name="csX1" fmla="*/ 31749 w 31749"/>
                  <a:gd name="csY1" fmla="*/ 0 h 12699"/>
                </a:gdLst>
                <a:ahLst/>
                <a:cxnLst>
                  <a:cxn ang="0">
                    <a:pos x="csX0" y="csY0"/>
                  </a:cxn>
                  <a:cxn ang="0">
                    <a:pos x="csX1" y="csY1"/>
                  </a:cxn>
                </a:cxnLst>
                <a:rect l="l" t="t" r="r" b="b"/>
                <a:pathLst>
                  <a:path w="31749" h="12699">
                    <a:moveTo>
                      <a:pt x="0" y="0"/>
                    </a:moveTo>
                    <a:lnTo>
                      <a:pt x="31749" y="0"/>
                    </a:lnTo>
                  </a:path>
                </a:pathLst>
              </a:custGeom>
              <a:ln w="12690"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148" name="Freeform 2146">
                <a:extLst>
                  <a:ext uri="{FF2B5EF4-FFF2-40B4-BE49-F238E27FC236}">
                    <a16:creationId xmlns:a16="http://schemas.microsoft.com/office/drawing/2014/main" id="{DEB26A46-73EA-D306-E6AF-FC06AE25DC1C}"/>
                  </a:ext>
                </a:extLst>
              </p:cNvPr>
              <p:cNvSpPr/>
              <p:nvPr/>
            </p:nvSpPr>
            <p:spPr>
              <a:xfrm>
                <a:off x="2582149" y="3017886"/>
                <a:ext cx="31749" cy="12699"/>
              </a:xfrm>
              <a:custGeom>
                <a:avLst/>
                <a:gdLst>
                  <a:gd name="csX0" fmla="*/ 0 w 31749"/>
                  <a:gd name="csY0" fmla="*/ 0 h 12699"/>
                  <a:gd name="csX1" fmla="*/ 31749 w 31749"/>
                  <a:gd name="csY1" fmla="*/ 0 h 12699"/>
                </a:gdLst>
                <a:ahLst/>
                <a:cxnLst>
                  <a:cxn ang="0">
                    <a:pos x="csX0" y="csY0"/>
                  </a:cxn>
                  <a:cxn ang="0">
                    <a:pos x="csX1" y="csY1"/>
                  </a:cxn>
                </a:cxnLst>
                <a:rect l="l" t="t" r="r" b="b"/>
                <a:pathLst>
                  <a:path w="31749" h="12699">
                    <a:moveTo>
                      <a:pt x="0" y="0"/>
                    </a:moveTo>
                    <a:lnTo>
                      <a:pt x="31749" y="0"/>
                    </a:lnTo>
                  </a:path>
                </a:pathLst>
              </a:custGeom>
              <a:ln w="12690"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149" name="Freeform 2147">
                <a:extLst>
                  <a:ext uri="{FF2B5EF4-FFF2-40B4-BE49-F238E27FC236}">
                    <a16:creationId xmlns:a16="http://schemas.microsoft.com/office/drawing/2014/main" id="{02F93243-842A-19D7-7AE2-5E4818048C69}"/>
                  </a:ext>
                </a:extLst>
              </p:cNvPr>
              <p:cNvSpPr/>
              <p:nvPr/>
            </p:nvSpPr>
            <p:spPr>
              <a:xfrm>
                <a:off x="2582149" y="3271880"/>
                <a:ext cx="31749" cy="12699"/>
              </a:xfrm>
              <a:custGeom>
                <a:avLst/>
                <a:gdLst>
                  <a:gd name="csX0" fmla="*/ 0 w 31749"/>
                  <a:gd name="csY0" fmla="*/ 0 h 12699"/>
                  <a:gd name="csX1" fmla="*/ 31749 w 31749"/>
                  <a:gd name="csY1" fmla="*/ 0 h 12699"/>
                </a:gdLst>
                <a:ahLst/>
                <a:cxnLst>
                  <a:cxn ang="0">
                    <a:pos x="csX0" y="csY0"/>
                  </a:cxn>
                  <a:cxn ang="0">
                    <a:pos x="csX1" y="csY1"/>
                  </a:cxn>
                </a:cxnLst>
                <a:rect l="l" t="t" r="r" b="b"/>
                <a:pathLst>
                  <a:path w="31749" h="12699">
                    <a:moveTo>
                      <a:pt x="0" y="0"/>
                    </a:moveTo>
                    <a:lnTo>
                      <a:pt x="31749" y="0"/>
                    </a:lnTo>
                  </a:path>
                </a:pathLst>
              </a:custGeom>
              <a:ln w="12690"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150" name="Freeform 2148">
                <a:extLst>
                  <a:ext uri="{FF2B5EF4-FFF2-40B4-BE49-F238E27FC236}">
                    <a16:creationId xmlns:a16="http://schemas.microsoft.com/office/drawing/2014/main" id="{8557D18A-A71B-40F9-68E9-627AEBB89C75}"/>
                  </a:ext>
                </a:extLst>
              </p:cNvPr>
              <p:cNvSpPr/>
              <p:nvPr/>
            </p:nvSpPr>
            <p:spPr>
              <a:xfrm>
                <a:off x="2582149" y="3525874"/>
                <a:ext cx="31749" cy="12699"/>
              </a:xfrm>
              <a:custGeom>
                <a:avLst/>
                <a:gdLst>
                  <a:gd name="csX0" fmla="*/ 0 w 31749"/>
                  <a:gd name="csY0" fmla="*/ 0 h 12699"/>
                  <a:gd name="csX1" fmla="*/ 31749 w 31749"/>
                  <a:gd name="csY1" fmla="*/ 0 h 12699"/>
                </a:gdLst>
                <a:ahLst/>
                <a:cxnLst>
                  <a:cxn ang="0">
                    <a:pos x="csX0" y="csY0"/>
                  </a:cxn>
                  <a:cxn ang="0">
                    <a:pos x="csX1" y="csY1"/>
                  </a:cxn>
                </a:cxnLst>
                <a:rect l="l" t="t" r="r" b="b"/>
                <a:pathLst>
                  <a:path w="31749" h="12699">
                    <a:moveTo>
                      <a:pt x="0" y="0"/>
                    </a:moveTo>
                    <a:lnTo>
                      <a:pt x="31749" y="0"/>
                    </a:lnTo>
                  </a:path>
                </a:pathLst>
              </a:custGeom>
              <a:ln w="12690"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151" name="Freeform 2149">
                <a:extLst>
                  <a:ext uri="{FF2B5EF4-FFF2-40B4-BE49-F238E27FC236}">
                    <a16:creationId xmlns:a16="http://schemas.microsoft.com/office/drawing/2014/main" id="{107095DF-A01D-CC22-F170-77E393D40064}"/>
                  </a:ext>
                </a:extLst>
              </p:cNvPr>
              <p:cNvSpPr/>
              <p:nvPr/>
            </p:nvSpPr>
            <p:spPr>
              <a:xfrm>
                <a:off x="2582149" y="3773518"/>
                <a:ext cx="31749" cy="12699"/>
              </a:xfrm>
              <a:custGeom>
                <a:avLst/>
                <a:gdLst>
                  <a:gd name="csX0" fmla="*/ 0 w 31749"/>
                  <a:gd name="csY0" fmla="*/ 0 h 12699"/>
                  <a:gd name="csX1" fmla="*/ 31749 w 31749"/>
                  <a:gd name="csY1" fmla="*/ 0 h 12699"/>
                </a:gdLst>
                <a:ahLst/>
                <a:cxnLst>
                  <a:cxn ang="0">
                    <a:pos x="csX0" y="csY0"/>
                  </a:cxn>
                  <a:cxn ang="0">
                    <a:pos x="csX1" y="csY1"/>
                  </a:cxn>
                </a:cxnLst>
                <a:rect l="l" t="t" r="r" b="b"/>
                <a:pathLst>
                  <a:path w="31749" h="12699">
                    <a:moveTo>
                      <a:pt x="0" y="0"/>
                    </a:moveTo>
                    <a:lnTo>
                      <a:pt x="31749" y="0"/>
                    </a:lnTo>
                  </a:path>
                </a:pathLst>
              </a:custGeom>
              <a:ln w="12690"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15" name="Graphic 2">
              <a:extLst>
                <a:ext uri="{FF2B5EF4-FFF2-40B4-BE49-F238E27FC236}">
                  <a16:creationId xmlns:a16="http://schemas.microsoft.com/office/drawing/2014/main" id="{32AFB761-98E1-2389-6BA8-2303A59E7FC5}"/>
                </a:ext>
              </a:extLst>
            </p:cNvPr>
            <p:cNvGrpSpPr/>
            <p:nvPr/>
          </p:nvGrpSpPr>
          <p:grpSpPr>
            <a:xfrm>
              <a:off x="1108948" y="2618757"/>
              <a:ext cx="3314619" cy="31749"/>
              <a:chOff x="2613898" y="3773518"/>
              <a:chExt cx="3314619" cy="31749"/>
            </a:xfrm>
          </p:grpSpPr>
          <p:sp>
            <p:nvSpPr>
              <p:cNvPr id="2127" name="Freeform 2125">
                <a:extLst>
                  <a:ext uri="{FF2B5EF4-FFF2-40B4-BE49-F238E27FC236}">
                    <a16:creationId xmlns:a16="http://schemas.microsoft.com/office/drawing/2014/main" id="{8744B8A2-30EF-6A76-2C8F-0B1A528B714A}"/>
                  </a:ext>
                </a:extLst>
              </p:cNvPr>
              <p:cNvSpPr/>
              <p:nvPr/>
            </p:nvSpPr>
            <p:spPr>
              <a:xfrm>
                <a:off x="2613898"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128" name="Freeform 2126">
                <a:extLst>
                  <a:ext uri="{FF2B5EF4-FFF2-40B4-BE49-F238E27FC236}">
                    <a16:creationId xmlns:a16="http://schemas.microsoft.com/office/drawing/2014/main" id="{1FD70CD2-026F-E41B-F8C6-0F3680B9E66B}"/>
                  </a:ext>
                </a:extLst>
              </p:cNvPr>
              <p:cNvSpPr/>
              <p:nvPr/>
            </p:nvSpPr>
            <p:spPr>
              <a:xfrm>
                <a:off x="2804393"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129" name="Freeform 2127">
                <a:extLst>
                  <a:ext uri="{FF2B5EF4-FFF2-40B4-BE49-F238E27FC236}">
                    <a16:creationId xmlns:a16="http://schemas.microsoft.com/office/drawing/2014/main" id="{82F55A7F-33C1-AF92-B158-A19CE1A3C163}"/>
                  </a:ext>
                </a:extLst>
              </p:cNvPr>
              <p:cNvSpPr/>
              <p:nvPr/>
            </p:nvSpPr>
            <p:spPr>
              <a:xfrm>
                <a:off x="2988539"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130" name="Freeform 2128">
                <a:extLst>
                  <a:ext uri="{FF2B5EF4-FFF2-40B4-BE49-F238E27FC236}">
                    <a16:creationId xmlns:a16="http://schemas.microsoft.com/office/drawing/2014/main" id="{0C588752-F016-4D71-0F5D-6B472E7B36ED}"/>
                  </a:ext>
                </a:extLst>
              </p:cNvPr>
              <p:cNvSpPr/>
              <p:nvPr/>
            </p:nvSpPr>
            <p:spPr>
              <a:xfrm>
                <a:off x="3172684"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131" name="Freeform 2129">
                <a:extLst>
                  <a:ext uri="{FF2B5EF4-FFF2-40B4-BE49-F238E27FC236}">
                    <a16:creationId xmlns:a16="http://schemas.microsoft.com/office/drawing/2014/main" id="{52BF796B-D43C-357B-80D6-18DD36AFC65C}"/>
                  </a:ext>
                </a:extLst>
              </p:cNvPr>
              <p:cNvSpPr/>
              <p:nvPr/>
            </p:nvSpPr>
            <p:spPr>
              <a:xfrm>
                <a:off x="3356830"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132" name="Freeform 2130">
                <a:extLst>
                  <a:ext uri="{FF2B5EF4-FFF2-40B4-BE49-F238E27FC236}">
                    <a16:creationId xmlns:a16="http://schemas.microsoft.com/office/drawing/2014/main" id="{77AFF58E-F942-5986-6DA5-66E91B83E289}"/>
                  </a:ext>
                </a:extLst>
              </p:cNvPr>
              <p:cNvSpPr/>
              <p:nvPr/>
            </p:nvSpPr>
            <p:spPr>
              <a:xfrm>
                <a:off x="3534626"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133" name="Freeform 2131">
                <a:extLst>
                  <a:ext uri="{FF2B5EF4-FFF2-40B4-BE49-F238E27FC236}">
                    <a16:creationId xmlns:a16="http://schemas.microsoft.com/office/drawing/2014/main" id="{6D5C6C07-F541-871D-1870-46FFA9A65B03}"/>
                  </a:ext>
                </a:extLst>
              </p:cNvPr>
              <p:cNvSpPr/>
              <p:nvPr/>
            </p:nvSpPr>
            <p:spPr>
              <a:xfrm>
                <a:off x="3718771"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134" name="Freeform 2132">
                <a:extLst>
                  <a:ext uri="{FF2B5EF4-FFF2-40B4-BE49-F238E27FC236}">
                    <a16:creationId xmlns:a16="http://schemas.microsoft.com/office/drawing/2014/main" id="{AEE3A800-DC21-79D1-5564-6B0F7E48086A}"/>
                  </a:ext>
                </a:extLst>
              </p:cNvPr>
              <p:cNvSpPr/>
              <p:nvPr/>
            </p:nvSpPr>
            <p:spPr>
              <a:xfrm>
                <a:off x="3902917"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135" name="Freeform 2133">
                <a:extLst>
                  <a:ext uri="{FF2B5EF4-FFF2-40B4-BE49-F238E27FC236}">
                    <a16:creationId xmlns:a16="http://schemas.microsoft.com/office/drawing/2014/main" id="{E2E0F5E2-29DA-28C9-5591-E2E062DAAF19}"/>
                  </a:ext>
                </a:extLst>
              </p:cNvPr>
              <p:cNvSpPr/>
              <p:nvPr/>
            </p:nvSpPr>
            <p:spPr>
              <a:xfrm>
                <a:off x="4080712"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136" name="Freeform 2134">
                <a:extLst>
                  <a:ext uri="{FF2B5EF4-FFF2-40B4-BE49-F238E27FC236}">
                    <a16:creationId xmlns:a16="http://schemas.microsoft.com/office/drawing/2014/main" id="{D30ECFB4-15ED-3357-F02C-464C373875FB}"/>
                  </a:ext>
                </a:extLst>
              </p:cNvPr>
              <p:cNvSpPr/>
              <p:nvPr/>
            </p:nvSpPr>
            <p:spPr>
              <a:xfrm>
                <a:off x="4264858"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137" name="Freeform 2135">
                <a:extLst>
                  <a:ext uri="{FF2B5EF4-FFF2-40B4-BE49-F238E27FC236}">
                    <a16:creationId xmlns:a16="http://schemas.microsoft.com/office/drawing/2014/main" id="{AFAA9B52-5620-F3BA-0DD2-A714033D1EDA}"/>
                  </a:ext>
                </a:extLst>
              </p:cNvPr>
              <p:cNvSpPr/>
              <p:nvPr/>
            </p:nvSpPr>
            <p:spPr>
              <a:xfrm>
                <a:off x="4455353"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138" name="Freeform 2136">
                <a:extLst>
                  <a:ext uri="{FF2B5EF4-FFF2-40B4-BE49-F238E27FC236}">
                    <a16:creationId xmlns:a16="http://schemas.microsoft.com/office/drawing/2014/main" id="{99541E0A-D0F9-3BA7-05CD-A913FA339FE5}"/>
                  </a:ext>
                </a:extLst>
              </p:cNvPr>
              <p:cNvSpPr/>
              <p:nvPr/>
            </p:nvSpPr>
            <p:spPr>
              <a:xfrm>
                <a:off x="4639499"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139" name="Freeform 2137">
                <a:extLst>
                  <a:ext uri="{FF2B5EF4-FFF2-40B4-BE49-F238E27FC236}">
                    <a16:creationId xmlns:a16="http://schemas.microsoft.com/office/drawing/2014/main" id="{DED92EDE-A051-4148-9B0E-0A0B878D0991}"/>
                  </a:ext>
                </a:extLst>
              </p:cNvPr>
              <p:cNvSpPr/>
              <p:nvPr/>
            </p:nvSpPr>
            <p:spPr>
              <a:xfrm>
                <a:off x="4823644"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140" name="Freeform 2138">
                <a:extLst>
                  <a:ext uri="{FF2B5EF4-FFF2-40B4-BE49-F238E27FC236}">
                    <a16:creationId xmlns:a16="http://schemas.microsoft.com/office/drawing/2014/main" id="{61B84D3C-3046-F615-1DB9-2DB6535D01F3}"/>
                  </a:ext>
                </a:extLst>
              </p:cNvPr>
              <p:cNvSpPr/>
              <p:nvPr/>
            </p:nvSpPr>
            <p:spPr>
              <a:xfrm>
                <a:off x="5185586"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141" name="Freeform 2139">
                <a:extLst>
                  <a:ext uri="{FF2B5EF4-FFF2-40B4-BE49-F238E27FC236}">
                    <a16:creationId xmlns:a16="http://schemas.microsoft.com/office/drawing/2014/main" id="{1C6D3E8D-F47F-7000-AE86-24233268AD95}"/>
                  </a:ext>
                </a:extLst>
              </p:cNvPr>
              <p:cNvSpPr/>
              <p:nvPr/>
            </p:nvSpPr>
            <p:spPr>
              <a:xfrm>
                <a:off x="5369731"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142" name="Freeform 2140">
                <a:extLst>
                  <a:ext uri="{FF2B5EF4-FFF2-40B4-BE49-F238E27FC236}">
                    <a16:creationId xmlns:a16="http://schemas.microsoft.com/office/drawing/2014/main" id="{685C321E-BE14-C993-3A30-3ABD81DC7A01}"/>
                  </a:ext>
                </a:extLst>
              </p:cNvPr>
              <p:cNvSpPr/>
              <p:nvPr/>
            </p:nvSpPr>
            <p:spPr>
              <a:xfrm>
                <a:off x="5553877"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143" name="Freeform 2141">
                <a:extLst>
                  <a:ext uri="{FF2B5EF4-FFF2-40B4-BE49-F238E27FC236}">
                    <a16:creationId xmlns:a16="http://schemas.microsoft.com/office/drawing/2014/main" id="{99A45C19-A9AB-598B-F869-20BC97F811C9}"/>
                  </a:ext>
                </a:extLst>
              </p:cNvPr>
              <p:cNvSpPr/>
              <p:nvPr/>
            </p:nvSpPr>
            <p:spPr>
              <a:xfrm>
                <a:off x="5744372"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144" name="Freeform 2142">
                <a:extLst>
                  <a:ext uri="{FF2B5EF4-FFF2-40B4-BE49-F238E27FC236}">
                    <a16:creationId xmlns:a16="http://schemas.microsoft.com/office/drawing/2014/main" id="{EE7AFFE3-FF16-F6B6-2447-377A153CEE6E}"/>
                  </a:ext>
                </a:extLst>
              </p:cNvPr>
              <p:cNvSpPr/>
              <p:nvPr/>
            </p:nvSpPr>
            <p:spPr>
              <a:xfrm>
                <a:off x="5928518"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145" name="Freeform 2143">
                <a:extLst>
                  <a:ext uri="{FF2B5EF4-FFF2-40B4-BE49-F238E27FC236}">
                    <a16:creationId xmlns:a16="http://schemas.microsoft.com/office/drawing/2014/main" id="{3C1749D7-CE7E-D077-A2A9-4A8847700F91}"/>
                  </a:ext>
                </a:extLst>
              </p:cNvPr>
              <p:cNvSpPr/>
              <p:nvPr/>
            </p:nvSpPr>
            <p:spPr>
              <a:xfrm>
                <a:off x="4995090"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sp>
          <p:nvSpPr>
            <p:cNvPr id="1616" name="Freeform 1614">
              <a:extLst>
                <a:ext uri="{FF2B5EF4-FFF2-40B4-BE49-F238E27FC236}">
                  <a16:creationId xmlns:a16="http://schemas.microsoft.com/office/drawing/2014/main" id="{26065152-FC3A-B6E8-B685-A7B8EB272DC6}"/>
                </a:ext>
              </a:extLst>
            </p:cNvPr>
            <p:cNvSpPr/>
            <p:nvPr/>
          </p:nvSpPr>
          <p:spPr>
            <a:xfrm>
              <a:off x="1108948" y="1374187"/>
              <a:ext cx="3314619" cy="1244569"/>
            </a:xfrm>
            <a:custGeom>
              <a:avLst/>
              <a:gdLst>
                <a:gd name="csX0" fmla="*/ 0 w 3314619"/>
                <a:gd name="csY0" fmla="*/ 0 h 1244569"/>
                <a:gd name="csX1" fmla="*/ 0 w 3314619"/>
                <a:gd name="csY1" fmla="*/ 1244570 h 1244569"/>
                <a:gd name="csX2" fmla="*/ 3314620 w 3314619"/>
                <a:gd name="csY2" fmla="*/ 1244570 h 1244569"/>
              </a:gdLst>
              <a:ahLst/>
              <a:cxnLst>
                <a:cxn ang="0">
                  <a:pos x="csX0" y="csY0"/>
                </a:cxn>
                <a:cxn ang="0">
                  <a:pos x="csX1" y="csY1"/>
                </a:cxn>
                <a:cxn ang="0">
                  <a:pos x="csX2" y="csY2"/>
                </a:cxn>
              </a:cxnLst>
              <a:rect l="l" t="t" r="r" b="b"/>
              <a:pathLst>
                <a:path w="3314619" h="1244569">
                  <a:moveTo>
                    <a:pt x="0" y="0"/>
                  </a:moveTo>
                  <a:lnTo>
                    <a:pt x="0" y="1244570"/>
                  </a:lnTo>
                  <a:lnTo>
                    <a:pt x="3314620" y="1244570"/>
                  </a:lnTo>
                </a:path>
              </a:pathLst>
            </a:custGeom>
            <a:noFill/>
            <a:ln w="12690" cap="sq">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617" name="Freeform 1615">
              <a:extLst>
                <a:ext uri="{FF2B5EF4-FFF2-40B4-BE49-F238E27FC236}">
                  <a16:creationId xmlns:a16="http://schemas.microsoft.com/office/drawing/2014/main" id="{887679EB-D4B7-DF4F-471C-DD81EE207127}"/>
                </a:ext>
              </a:extLst>
            </p:cNvPr>
            <p:cNvSpPr/>
            <p:nvPr/>
          </p:nvSpPr>
          <p:spPr>
            <a:xfrm>
              <a:off x="3319538" y="1836503"/>
              <a:ext cx="45719" cy="782254"/>
            </a:xfrm>
            <a:custGeom>
              <a:avLst/>
              <a:gdLst>
                <a:gd name="csX0" fmla="*/ 0 w 12699"/>
                <a:gd name="csY0" fmla="*/ 634985 h 634984"/>
                <a:gd name="csX1" fmla="*/ 0 w 12699"/>
                <a:gd name="csY1" fmla="*/ 0 h 634984"/>
              </a:gdLst>
              <a:ahLst/>
              <a:cxnLst>
                <a:cxn ang="0">
                  <a:pos x="csX0" y="csY0"/>
                </a:cxn>
                <a:cxn ang="0">
                  <a:pos x="csX1" y="csY1"/>
                </a:cxn>
              </a:cxnLst>
              <a:rect l="l" t="t" r="r" b="b"/>
              <a:pathLst>
                <a:path w="12699" h="634984">
                  <a:moveTo>
                    <a:pt x="0" y="634985"/>
                  </a:moveTo>
                  <a:lnTo>
                    <a:pt x="0" y="0"/>
                  </a:lnTo>
                </a:path>
              </a:pathLst>
            </a:custGeom>
            <a:ln w="12690" cap="flat">
              <a:solidFill>
                <a:srgbClr val="000000"/>
              </a:solidFill>
              <a:custDash>
                <a:ds d="168000" sp="168000"/>
              </a:custDash>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618" name="TextBox 1617">
              <a:extLst>
                <a:ext uri="{FF2B5EF4-FFF2-40B4-BE49-F238E27FC236}">
                  <a16:creationId xmlns:a16="http://schemas.microsoft.com/office/drawing/2014/main" id="{1BEB340E-F42E-E1B3-C760-CFECEB80DA1E}"/>
                </a:ext>
              </a:extLst>
            </p:cNvPr>
            <p:cNvSpPr txBox="1"/>
            <p:nvPr/>
          </p:nvSpPr>
          <p:spPr>
            <a:xfrm>
              <a:off x="377824" y="2740204"/>
              <a:ext cx="1059751" cy="176978"/>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No. of patients at risk</a:t>
              </a:r>
            </a:p>
          </p:txBody>
        </p:sp>
        <p:sp>
          <p:nvSpPr>
            <p:cNvPr id="1619" name="TextBox 1618">
              <a:extLst>
                <a:ext uri="{FF2B5EF4-FFF2-40B4-BE49-F238E27FC236}">
                  <a16:creationId xmlns:a16="http://schemas.microsoft.com/office/drawing/2014/main" id="{4FD8C567-1969-FAD5-8E3C-1138331A575C}"/>
                </a:ext>
              </a:extLst>
            </p:cNvPr>
            <p:cNvSpPr txBox="1"/>
            <p:nvPr/>
          </p:nvSpPr>
          <p:spPr>
            <a:xfrm>
              <a:off x="2391374" y="2727505"/>
              <a:ext cx="760298"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Time (months)</a:t>
              </a:r>
            </a:p>
          </p:txBody>
        </p:sp>
        <p:sp>
          <p:nvSpPr>
            <p:cNvPr id="1620" name="TextBox 1619">
              <a:extLst>
                <a:ext uri="{FF2B5EF4-FFF2-40B4-BE49-F238E27FC236}">
                  <a16:creationId xmlns:a16="http://schemas.microsoft.com/office/drawing/2014/main" id="{23C84510-887A-8392-73C4-1B65BDD8281E}"/>
                </a:ext>
              </a:extLst>
            </p:cNvPr>
            <p:cNvSpPr txBox="1"/>
            <p:nvPr/>
          </p:nvSpPr>
          <p:spPr>
            <a:xfrm>
              <a:off x="377697" y="3059982"/>
              <a:ext cx="626807" cy="176978"/>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All patients</a:t>
              </a:r>
            </a:p>
          </p:txBody>
        </p:sp>
        <p:sp>
          <p:nvSpPr>
            <p:cNvPr id="1622" name="TextBox 1621">
              <a:extLst>
                <a:ext uri="{FF2B5EF4-FFF2-40B4-BE49-F238E27FC236}">
                  <a16:creationId xmlns:a16="http://schemas.microsoft.com/office/drawing/2014/main" id="{98F7B3A6-6472-9548-B2D9-307E14E299A5}"/>
                </a:ext>
              </a:extLst>
            </p:cNvPr>
            <p:cNvSpPr txBox="1"/>
            <p:nvPr/>
          </p:nvSpPr>
          <p:spPr>
            <a:xfrm>
              <a:off x="371221" y="2968291"/>
              <a:ext cx="606363" cy="176978"/>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BTKi naïve</a:t>
              </a:r>
            </a:p>
          </p:txBody>
        </p:sp>
        <p:grpSp>
          <p:nvGrpSpPr>
            <p:cNvPr id="1623" name="Graphic 2">
              <a:extLst>
                <a:ext uri="{FF2B5EF4-FFF2-40B4-BE49-F238E27FC236}">
                  <a16:creationId xmlns:a16="http://schemas.microsoft.com/office/drawing/2014/main" id="{C3DFF10D-CB45-7B67-5A2F-0DA981DF08FE}"/>
                </a:ext>
              </a:extLst>
            </p:cNvPr>
            <p:cNvGrpSpPr/>
            <p:nvPr/>
          </p:nvGrpSpPr>
          <p:grpSpPr>
            <a:xfrm>
              <a:off x="990859" y="2968291"/>
              <a:ext cx="3383672" cy="176978"/>
              <a:chOff x="2495809" y="4123052"/>
              <a:chExt cx="3383672" cy="176978"/>
            </a:xfrm>
            <a:solidFill>
              <a:srgbClr val="544F4F"/>
            </a:solidFill>
          </p:grpSpPr>
          <p:sp>
            <p:nvSpPr>
              <p:cNvPr id="2090" name="TextBox 2089">
                <a:extLst>
                  <a:ext uri="{FF2B5EF4-FFF2-40B4-BE49-F238E27FC236}">
                    <a16:creationId xmlns:a16="http://schemas.microsoft.com/office/drawing/2014/main" id="{29BAE96A-2A76-DBC5-39F7-946486122B9B}"/>
                  </a:ext>
                </a:extLst>
              </p:cNvPr>
              <p:cNvSpPr txBox="1"/>
              <p:nvPr/>
            </p:nvSpPr>
            <p:spPr>
              <a:xfrm>
                <a:off x="2495809" y="412305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3</a:t>
                </a:r>
              </a:p>
            </p:txBody>
          </p:sp>
          <p:sp>
            <p:nvSpPr>
              <p:cNvPr id="2091" name="TextBox 2090">
                <a:extLst>
                  <a:ext uri="{FF2B5EF4-FFF2-40B4-BE49-F238E27FC236}">
                    <a16:creationId xmlns:a16="http://schemas.microsoft.com/office/drawing/2014/main" id="{479FD884-D3E0-952C-196F-BE4F7EE378B4}"/>
                  </a:ext>
                </a:extLst>
              </p:cNvPr>
              <p:cNvSpPr txBox="1"/>
              <p:nvPr/>
            </p:nvSpPr>
            <p:spPr>
              <a:xfrm>
                <a:off x="2686685" y="412305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1</a:t>
                </a:r>
              </a:p>
            </p:txBody>
          </p:sp>
          <p:sp>
            <p:nvSpPr>
              <p:cNvPr id="2092" name="TextBox 2091">
                <a:extLst>
                  <a:ext uri="{FF2B5EF4-FFF2-40B4-BE49-F238E27FC236}">
                    <a16:creationId xmlns:a16="http://schemas.microsoft.com/office/drawing/2014/main" id="{5B9B1A02-964C-DE70-13D1-05B8DAF7413C}"/>
                  </a:ext>
                </a:extLst>
              </p:cNvPr>
              <p:cNvSpPr txBox="1"/>
              <p:nvPr/>
            </p:nvSpPr>
            <p:spPr>
              <a:xfrm>
                <a:off x="2869053" y="412305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1</a:t>
                </a:r>
              </a:p>
            </p:txBody>
          </p:sp>
          <p:sp>
            <p:nvSpPr>
              <p:cNvPr id="2093" name="TextBox 2092">
                <a:extLst>
                  <a:ext uri="{FF2B5EF4-FFF2-40B4-BE49-F238E27FC236}">
                    <a16:creationId xmlns:a16="http://schemas.microsoft.com/office/drawing/2014/main" id="{4787D16B-6631-BC5F-DB7F-EC232393C5F2}"/>
                  </a:ext>
                </a:extLst>
              </p:cNvPr>
              <p:cNvSpPr txBox="1"/>
              <p:nvPr/>
            </p:nvSpPr>
            <p:spPr>
              <a:xfrm>
                <a:off x="3053453" y="412305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9</a:t>
                </a:r>
              </a:p>
            </p:txBody>
          </p:sp>
          <p:sp>
            <p:nvSpPr>
              <p:cNvPr id="2094" name="TextBox 2093">
                <a:extLst>
                  <a:ext uri="{FF2B5EF4-FFF2-40B4-BE49-F238E27FC236}">
                    <a16:creationId xmlns:a16="http://schemas.microsoft.com/office/drawing/2014/main" id="{11B8BF2E-2AAA-CF75-5216-FC4A188B526D}"/>
                  </a:ext>
                </a:extLst>
              </p:cNvPr>
              <p:cNvSpPr txBox="1"/>
              <p:nvPr/>
            </p:nvSpPr>
            <p:spPr>
              <a:xfrm>
                <a:off x="3415775" y="412305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5</a:t>
                </a:r>
              </a:p>
            </p:txBody>
          </p:sp>
          <p:sp>
            <p:nvSpPr>
              <p:cNvPr id="2095" name="TextBox 2094">
                <a:extLst>
                  <a:ext uri="{FF2B5EF4-FFF2-40B4-BE49-F238E27FC236}">
                    <a16:creationId xmlns:a16="http://schemas.microsoft.com/office/drawing/2014/main" id="{42BECFFF-B391-29BE-AF38-5450ADBC9FC7}"/>
                  </a:ext>
                </a:extLst>
              </p:cNvPr>
              <p:cNvSpPr txBox="1"/>
              <p:nvPr/>
            </p:nvSpPr>
            <p:spPr>
              <a:xfrm>
                <a:off x="3599666" y="412305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4</a:t>
                </a:r>
              </a:p>
            </p:txBody>
          </p:sp>
          <p:sp>
            <p:nvSpPr>
              <p:cNvPr id="2096" name="TextBox 2095">
                <a:extLst>
                  <a:ext uri="{FF2B5EF4-FFF2-40B4-BE49-F238E27FC236}">
                    <a16:creationId xmlns:a16="http://schemas.microsoft.com/office/drawing/2014/main" id="{500D8CB0-B3F7-727C-AC0E-7A1D93026FA8}"/>
                  </a:ext>
                </a:extLst>
              </p:cNvPr>
              <p:cNvSpPr txBox="1"/>
              <p:nvPr/>
            </p:nvSpPr>
            <p:spPr>
              <a:xfrm>
                <a:off x="3961862" y="412305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2</a:t>
                </a:r>
              </a:p>
            </p:txBody>
          </p:sp>
          <p:sp>
            <p:nvSpPr>
              <p:cNvPr id="2097" name="TextBox 2096">
                <a:extLst>
                  <a:ext uri="{FF2B5EF4-FFF2-40B4-BE49-F238E27FC236}">
                    <a16:creationId xmlns:a16="http://schemas.microsoft.com/office/drawing/2014/main" id="{848F09F2-9983-3511-484E-751A070591BB}"/>
                  </a:ext>
                </a:extLst>
              </p:cNvPr>
              <p:cNvSpPr txBox="1"/>
              <p:nvPr/>
            </p:nvSpPr>
            <p:spPr>
              <a:xfrm>
                <a:off x="3784193" y="412305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3</a:t>
                </a:r>
              </a:p>
            </p:txBody>
          </p:sp>
          <p:sp>
            <p:nvSpPr>
              <p:cNvPr id="2098" name="TextBox 2097">
                <a:extLst>
                  <a:ext uri="{FF2B5EF4-FFF2-40B4-BE49-F238E27FC236}">
                    <a16:creationId xmlns:a16="http://schemas.microsoft.com/office/drawing/2014/main" id="{40FAA432-8296-A120-6D5D-B95669674125}"/>
                  </a:ext>
                </a:extLst>
              </p:cNvPr>
              <p:cNvSpPr txBox="1"/>
              <p:nvPr/>
            </p:nvSpPr>
            <p:spPr>
              <a:xfrm>
                <a:off x="4146007" y="412305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2</a:t>
                </a:r>
              </a:p>
            </p:txBody>
          </p:sp>
          <p:sp>
            <p:nvSpPr>
              <p:cNvPr id="2099" name="TextBox 2098">
                <a:extLst>
                  <a:ext uri="{FF2B5EF4-FFF2-40B4-BE49-F238E27FC236}">
                    <a16:creationId xmlns:a16="http://schemas.microsoft.com/office/drawing/2014/main" id="{1A67D6DA-7F17-BD93-60BE-ADE0EDD5810A}"/>
                  </a:ext>
                </a:extLst>
              </p:cNvPr>
              <p:cNvSpPr txBox="1"/>
              <p:nvPr/>
            </p:nvSpPr>
            <p:spPr>
              <a:xfrm>
                <a:off x="4542011" y="4123052"/>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7</a:t>
                </a:r>
              </a:p>
            </p:txBody>
          </p:sp>
          <p:sp>
            <p:nvSpPr>
              <p:cNvPr id="2100" name="TextBox 2099">
                <a:extLst>
                  <a:ext uri="{FF2B5EF4-FFF2-40B4-BE49-F238E27FC236}">
                    <a16:creationId xmlns:a16="http://schemas.microsoft.com/office/drawing/2014/main" id="{9D6D39D5-07D2-A19D-7BF4-0A1C430E709C}"/>
                  </a:ext>
                </a:extLst>
              </p:cNvPr>
              <p:cNvSpPr txBox="1"/>
              <p:nvPr/>
            </p:nvSpPr>
            <p:spPr>
              <a:xfrm>
                <a:off x="4342725" y="412305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0</a:t>
                </a:r>
              </a:p>
            </p:txBody>
          </p:sp>
          <p:sp>
            <p:nvSpPr>
              <p:cNvPr id="2101" name="TextBox 2100">
                <a:extLst>
                  <a:ext uri="{FF2B5EF4-FFF2-40B4-BE49-F238E27FC236}">
                    <a16:creationId xmlns:a16="http://schemas.microsoft.com/office/drawing/2014/main" id="{D3DB57E1-2288-AAC8-CE87-E50F71AE40DB}"/>
                  </a:ext>
                </a:extLst>
              </p:cNvPr>
              <p:cNvSpPr txBox="1"/>
              <p:nvPr/>
            </p:nvSpPr>
            <p:spPr>
              <a:xfrm>
                <a:off x="5091400" y="4123052"/>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3</a:t>
                </a:r>
              </a:p>
            </p:txBody>
          </p:sp>
          <p:sp>
            <p:nvSpPr>
              <p:cNvPr id="2102" name="TextBox 2101">
                <a:extLst>
                  <a:ext uri="{FF2B5EF4-FFF2-40B4-BE49-F238E27FC236}">
                    <a16:creationId xmlns:a16="http://schemas.microsoft.com/office/drawing/2014/main" id="{5096DC39-6462-72A8-B6E8-3D7066BD8EA5}"/>
                  </a:ext>
                </a:extLst>
              </p:cNvPr>
              <p:cNvSpPr txBox="1"/>
              <p:nvPr/>
            </p:nvSpPr>
            <p:spPr>
              <a:xfrm>
                <a:off x="5275419" y="4123052"/>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a:t>
                </a:r>
              </a:p>
            </p:txBody>
          </p:sp>
          <p:sp>
            <p:nvSpPr>
              <p:cNvPr id="2103" name="TextBox 2102">
                <a:extLst>
                  <a:ext uri="{FF2B5EF4-FFF2-40B4-BE49-F238E27FC236}">
                    <a16:creationId xmlns:a16="http://schemas.microsoft.com/office/drawing/2014/main" id="{2677DCF9-D0B8-DB35-F28E-31D857B47468}"/>
                  </a:ext>
                </a:extLst>
              </p:cNvPr>
              <p:cNvSpPr txBox="1"/>
              <p:nvPr/>
            </p:nvSpPr>
            <p:spPr>
              <a:xfrm>
                <a:off x="5615866" y="4123052"/>
                <a:ext cx="263615"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NE</a:t>
                </a:r>
              </a:p>
            </p:txBody>
          </p:sp>
          <p:sp>
            <p:nvSpPr>
              <p:cNvPr id="2104" name="TextBox 2103">
                <a:extLst>
                  <a:ext uri="{FF2B5EF4-FFF2-40B4-BE49-F238E27FC236}">
                    <a16:creationId xmlns:a16="http://schemas.microsoft.com/office/drawing/2014/main" id="{CDB90052-5406-6B58-4642-B622EBD9DB97}"/>
                  </a:ext>
                </a:extLst>
              </p:cNvPr>
              <p:cNvSpPr txBox="1"/>
              <p:nvPr/>
            </p:nvSpPr>
            <p:spPr>
              <a:xfrm>
                <a:off x="5460453" y="4123052"/>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a:t>
                </a:r>
              </a:p>
            </p:txBody>
          </p:sp>
          <p:sp>
            <p:nvSpPr>
              <p:cNvPr id="2105" name="TextBox 2104">
                <a:extLst>
                  <a:ext uri="{FF2B5EF4-FFF2-40B4-BE49-F238E27FC236}">
                    <a16:creationId xmlns:a16="http://schemas.microsoft.com/office/drawing/2014/main" id="{CB1A20F9-D488-AA97-04DD-0194581255B2}"/>
                  </a:ext>
                </a:extLst>
              </p:cNvPr>
              <p:cNvSpPr txBox="1"/>
              <p:nvPr/>
            </p:nvSpPr>
            <p:spPr>
              <a:xfrm>
                <a:off x="3237471" y="412305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9</a:t>
                </a:r>
              </a:p>
            </p:txBody>
          </p:sp>
          <p:sp>
            <p:nvSpPr>
              <p:cNvPr id="2106" name="TextBox 2105">
                <a:extLst>
                  <a:ext uri="{FF2B5EF4-FFF2-40B4-BE49-F238E27FC236}">
                    <a16:creationId xmlns:a16="http://schemas.microsoft.com/office/drawing/2014/main" id="{317761D4-500A-A56B-B298-F5F86A343F5D}"/>
                  </a:ext>
                </a:extLst>
              </p:cNvPr>
              <p:cNvSpPr txBox="1"/>
              <p:nvPr/>
            </p:nvSpPr>
            <p:spPr>
              <a:xfrm>
                <a:off x="4897984" y="4123052"/>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4</a:t>
                </a:r>
              </a:p>
            </p:txBody>
          </p:sp>
          <p:sp>
            <p:nvSpPr>
              <p:cNvPr id="2107" name="TextBox 2106">
                <a:extLst>
                  <a:ext uri="{FF2B5EF4-FFF2-40B4-BE49-F238E27FC236}">
                    <a16:creationId xmlns:a16="http://schemas.microsoft.com/office/drawing/2014/main" id="{A24F6CB3-D709-A008-1116-E5711E6D19C8}"/>
                  </a:ext>
                </a:extLst>
              </p:cNvPr>
              <p:cNvSpPr txBox="1"/>
              <p:nvPr/>
            </p:nvSpPr>
            <p:spPr>
              <a:xfrm>
                <a:off x="4726538" y="4123052"/>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4</a:t>
                </a:r>
              </a:p>
            </p:txBody>
          </p:sp>
        </p:grpSp>
        <p:sp>
          <p:nvSpPr>
            <p:cNvPr id="1624" name="TextBox 1623">
              <a:extLst>
                <a:ext uri="{FF2B5EF4-FFF2-40B4-BE49-F238E27FC236}">
                  <a16:creationId xmlns:a16="http://schemas.microsoft.com/office/drawing/2014/main" id="{50B38086-023F-4762-E169-2180405DA167}"/>
                </a:ext>
              </a:extLst>
            </p:cNvPr>
            <p:cNvSpPr txBox="1"/>
            <p:nvPr/>
          </p:nvSpPr>
          <p:spPr>
            <a:xfrm>
              <a:off x="371221" y="2873551"/>
              <a:ext cx="584716" cy="176978"/>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Prior BTKi</a:t>
              </a:r>
            </a:p>
          </p:txBody>
        </p:sp>
        <p:sp>
          <p:nvSpPr>
            <p:cNvPr id="1626" name="Freeform 1624">
              <a:extLst>
                <a:ext uri="{FF2B5EF4-FFF2-40B4-BE49-F238E27FC236}">
                  <a16:creationId xmlns:a16="http://schemas.microsoft.com/office/drawing/2014/main" id="{2A8072A2-4427-DA95-8837-E76B7670FDBE}"/>
                </a:ext>
              </a:extLst>
            </p:cNvPr>
            <p:cNvSpPr/>
            <p:nvPr/>
          </p:nvSpPr>
          <p:spPr>
            <a:xfrm>
              <a:off x="1109710" y="1375584"/>
              <a:ext cx="3036496" cy="874881"/>
            </a:xfrm>
            <a:custGeom>
              <a:avLst/>
              <a:gdLst>
                <a:gd name="csX0" fmla="*/ 0 w 3036496"/>
                <a:gd name="csY0" fmla="*/ 0 h 874881"/>
                <a:gd name="csX1" fmla="*/ 95121 w 3036496"/>
                <a:gd name="csY1" fmla="*/ 0 h 874881"/>
                <a:gd name="csX2" fmla="*/ 95121 w 3036496"/>
                <a:gd name="csY2" fmla="*/ 54863 h 874881"/>
                <a:gd name="csX3" fmla="*/ 177796 w 3036496"/>
                <a:gd name="csY3" fmla="*/ 54863 h 874881"/>
                <a:gd name="csX4" fmla="*/ 177796 w 3036496"/>
                <a:gd name="csY4" fmla="*/ 109471 h 874881"/>
                <a:gd name="csX5" fmla="*/ 414645 w 3036496"/>
                <a:gd name="csY5" fmla="*/ 109471 h 874881"/>
                <a:gd name="csX6" fmla="*/ 414645 w 3036496"/>
                <a:gd name="csY6" fmla="*/ 162937 h 874881"/>
                <a:gd name="csX7" fmla="*/ 844911 w 3036496"/>
                <a:gd name="csY7" fmla="*/ 162937 h 874881"/>
                <a:gd name="csX8" fmla="*/ 844911 w 3036496"/>
                <a:gd name="csY8" fmla="*/ 217165 h 874881"/>
                <a:gd name="csX9" fmla="*/ 856848 w 3036496"/>
                <a:gd name="csY9" fmla="*/ 217165 h 874881"/>
                <a:gd name="csX10" fmla="*/ 856848 w 3036496"/>
                <a:gd name="csY10" fmla="*/ 276980 h 874881"/>
                <a:gd name="csX11" fmla="*/ 860023 w 3036496"/>
                <a:gd name="csY11" fmla="*/ 276980 h 874881"/>
                <a:gd name="csX12" fmla="*/ 860023 w 3036496"/>
                <a:gd name="csY12" fmla="*/ 336796 h 874881"/>
                <a:gd name="csX13" fmla="*/ 865611 w 3036496"/>
                <a:gd name="csY13" fmla="*/ 336796 h 874881"/>
                <a:gd name="csX14" fmla="*/ 865611 w 3036496"/>
                <a:gd name="csY14" fmla="*/ 390262 h 874881"/>
                <a:gd name="csX15" fmla="*/ 972034 w 3036496"/>
                <a:gd name="csY15" fmla="*/ 390262 h 874881"/>
                <a:gd name="csX16" fmla="*/ 972034 w 3036496"/>
                <a:gd name="csY16" fmla="*/ 447664 h 874881"/>
                <a:gd name="csX17" fmla="*/ 1419826 w 3036496"/>
                <a:gd name="csY17" fmla="*/ 447664 h 874881"/>
                <a:gd name="csX18" fmla="*/ 1419826 w 3036496"/>
                <a:gd name="csY18" fmla="*/ 508623 h 874881"/>
                <a:gd name="csX19" fmla="*/ 2853113 w 3036496"/>
                <a:gd name="csY19" fmla="*/ 508623 h 874881"/>
                <a:gd name="csX20" fmla="*/ 2853113 w 3036496"/>
                <a:gd name="csY20" fmla="*/ 874882 h 874881"/>
                <a:gd name="csX21" fmla="*/ 3036497 w 3036496"/>
                <a:gd name="csY21" fmla="*/ 874882 h 87488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Lst>
              <a:rect l="l" t="t" r="r" b="b"/>
              <a:pathLst>
                <a:path w="3036496" h="874881">
                  <a:moveTo>
                    <a:pt x="0" y="0"/>
                  </a:moveTo>
                  <a:lnTo>
                    <a:pt x="95121" y="0"/>
                  </a:lnTo>
                  <a:lnTo>
                    <a:pt x="95121" y="54863"/>
                  </a:lnTo>
                  <a:lnTo>
                    <a:pt x="177796" y="54863"/>
                  </a:lnTo>
                  <a:lnTo>
                    <a:pt x="177796" y="109471"/>
                  </a:lnTo>
                  <a:lnTo>
                    <a:pt x="414645" y="109471"/>
                  </a:lnTo>
                  <a:lnTo>
                    <a:pt x="414645" y="162937"/>
                  </a:lnTo>
                  <a:lnTo>
                    <a:pt x="844911" y="162937"/>
                  </a:lnTo>
                  <a:lnTo>
                    <a:pt x="844911" y="217165"/>
                  </a:lnTo>
                  <a:lnTo>
                    <a:pt x="856848" y="217165"/>
                  </a:lnTo>
                  <a:lnTo>
                    <a:pt x="856848" y="276980"/>
                  </a:lnTo>
                  <a:lnTo>
                    <a:pt x="860023" y="276980"/>
                  </a:lnTo>
                  <a:lnTo>
                    <a:pt x="860023" y="336796"/>
                  </a:lnTo>
                  <a:lnTo>
                    <a:pt x="865611" y="336796"/>
                  </a:lnTo>
                  <a:lnTo>
                    <a:pt x="865611" y="390262"/>
                  </a:lnTo>
                  <a:lnTo>
                    <a:pt x="972034" y="390262"/>
                  </a:lnTo>
                  <a:lnTo>
                    <a:pt x="972034" y="447664"/>
                  </a:lnTo>
                  <a:lnTo>
                    <a:pt x="1419826" y="447664"/>
                  </a:lnTo>
                  <a:lnTo>
                    <a:pt x="1419826" y="508623"/>
                  </a:lnTo>
                  <a:lnTo>
                    <a:pt x="2853113" y="508623"/>
                  </a:lnTo>
                  <a:lnTo>
                    <a:pt x="2853113" y="874882"/>
                  </a:lnTo>
                  <a:lnTo>
                    <a:pt x="3036497" y="874882"/>
                  </a:lnTo>
                </a:path>
              </a:pathLst>
            </a:custGeom>
            <a:noFill/>
            <a:ln w="19035"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627" name="Freeform 1625">
              <a:extLst>
                <a:ext uri="{FF2B5EF4-FFF2-40B4-BE49-F238E27FC236}">
                  <a16:creationId xmlns:a16="http://schemas.microsoft.com/office/drawing/2014/main" id="{986E5420-C8A2-70BD-B98E-42FC236BCC18}"/>
                </a:ext>
              </a:extLst>
            </p:cNvPr>
            <p:cNvSpPr/>
            <p:nvPr/>
          </p:nvSpPr>
          <p:spPr>
            <a:xfrm>
              <a:off x="1109710" y="1374314"/>
              <a:ext cx="3298745" cy="844021"/>
            </a:xfrm>
            <a:custGeom>
              <a:avLst/>
              <a:gdLst>
                <a:gd name="csX0" fmla="*/ 0 w 3298745"/>
                <a:gd name="csY0" fmla="*/ 0 h 844021"/>
                <a:gd name="csX1" fmla="*/ 91946 w 3298745"/>
                <a:gd name="csY1" fmla="*/ 0 h 844021"/>
                <a:gd name="csX2" fmla="*/ 91946 w 3298745"/>
                <a:gd name="csY2" fmla="*/ 54990 h 844021"/>
                <a:gd name="csX3" fmla="*/ 130553 w 3298745"/>
                <a:gd name="csY3" fmla="*/ 54990 h 844021"/>
                <a:gd name="csX4" fmla="*/ 130553 w 3298745"/>
                <a:gd name="csY4" fmla="*/ 104137 h 844021"/>
                <a:gd name="csX5" fmla="*/ 249676 w 3298745"/>
                <a:gd name="csY5" fmla="*/ 104137 h 844021"/>
                <a:gd name="csX6" fmla="*/ 249676 w 3298745"/>
                <a:gd name="csY6" fmla="*/ 157730 h 844021"/>
                <a:gd name="csX7" fmla="*/ 265297 w 3298745"/>
                <a:gd name="csY7" fmla="*/ 157730 h 844021"/>
                <a:gd name="csX8" fmla="*/ 265297 w 3298745"/>
                <a:gd name="csY8" fmla="*/ 211323 h 844021"/>
                <a:gd name="csX9" fmla="*/ 304158 w 3298745"/>
                <a:gd name="csY9" fmla="*/ 211323 h 844021"/>
                <a:gd name="csX10" fmla="*/ 304158 w 3298745"/>
                <a:gd name="csY10" fmla="*/ 266440 h 844021"/>
                <a:gd name="csX11" fmla="*/ 332986 w 3298745"/>
                <a:gd name="csY11" fmla="*/ 266440 h 844021"/>
                <a:gd name="csX12" fmla="*/ 332986 w 3298745"/>
                <a:gd name="csY12" fmla="*/ 321937 h 844021"/>
                <a:gd name="csX13" fmla="*/ 490716 w 3298745"/>
                <a:gd name="csY13" fmla="*/ 321937 h 844021"/>
                <a:gd name="csX14" fmla="*/ 490716 w 3298745"/>
                <a:gd name="csY14" fmla="*/ 376165 h 844021"/>
                <a:gd name="csX15" fmla="*/ 515989 w 3298745"/>
                <a:gd name="csY15" fmla="*/ 376165 h 844021"/>
                <a:gd name="csX16" fmla="*/ 515989 w 3298745"/>
                <a:gd name="csY16" fmla="*/ 430774 h 844021"/>
                <a:gd name="csX17" fmla="*/ 614157 w 3298745"/>
                <a:gd name="csY17" fmla="*/ 430774 h 844021"/>
                <a:gd name="csX18" fmla="*/ 614157 w 3298745"/>
                <a:gd name="csY18" fmla="*/ 483985 h 844021"/>
                <a:gd name="csX19" fmla="*/ 783698 w 3298745"/>
                <a:gd name="csY19" fmla="*/ 483985 h 844021"/>
                <a:gd name="csX20" fmla="*/ 783698 w 3298745"/>
                <a:gd name="csY20" fmla="*/ 538594 h 844021"/>
                <a:gd name="csX21" fmla="*/ 887581 w 3298745"/>
                <a:gd name="csY21" fmla="*/ 538594 h 844021"/>
                <a:gd name="csX22" fmla="*/ 887581 w 3298745"/>
                <a:gd name="csY22" fmla="*/ 591933 h 844021"/>
                <a:gd name="csX23" fmla="*/ 949810 w 3298745"/>
                <a:gd name="csY23" fmla="*/ 591933 h 844021"/>
                <a:gd name="csX24" fmla="*/ 949810 w 3298745"/>
                <a:gd name="csY24" fmla="*/ 646668 h 844021"/>
                <a:gd name="csX25" fmla="*/ 1916511 w 3298745"/>
                <a:gd name="csY25" fmla="*/ 646668 h 844021"/>
                <a:gd name="csX26" fmla="*/ 1916511 w 3298745"/>
                <a:gd name="csY26" fmla="*/ 714358 h 844021"/>
                <a:gd name="csX27" fmla="*/ 2505903 w 3298745"/>
                <a:gd name="csY27" fmla="*/ 714358 h 844021"/>
                <a:gd name="csX28" fmla="*/ 2505903 w 3298745"/>
                <a:gd name="csY28" fmla="*/ 844021 h 844021"/>
                <a:gd name="csX29" fmla="*/ 3298745 w 3298745"/>
                <a:gd name="csY29" fmla="*/ 844021 h 84402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3298745" h="844021">
                  <a:moveTo>
                    <a:pt x="0" y="0"/>
                  </a:moveTo>
                  <a:lnTo>
                    <a:pt x="91946" y="0"/>
                  </a:lnTo>
                  <a:lnTo>
                    <a:pt x="91946" y="54990"/>
                  </a:lnTo>
                  <a:lnTo>
                    <a:pt x="130553" y="54990"/>
                  </a:lnTo>
                  <a:lnTo>
                    <a:pt x="130553" y="104137"/>
                  </a:lnTo>
                  <a:lnTo>
                    <a:pt x="249676" y="104137"/>
                  </a:lnTo>
                  <a:lnTo>
                    <a:pt x="249676" y="157730"/>
                  </a:lnTo>
                  <a:lnTo>
                    <a:pt x="265297" y="157730"/>
                  </a:lnTo>
                  <a:lnTo>
                    <a:pt x="265297" y="211323"/>
                  </a:lnTo>
                  <a:lnTo>
                    <a:pt x="304158" y="211323"/>
                  </a:lnTo>
                  <a:lnTo>
                    <a:pt x="304158" y="266440"/>
                  </a:lnTo>
                  <a:lnTo>
                    <a:pt x="332986" y="266440"/>
                  </a:lnTo>
                  <a:lnTo>
                    <a:pt x="332986" y="321937"/>
                  </a:lnTo>
                  <a:lnTo>
                    <a:pt x="490716" y="321937"/>
                  </a:lnTo>
                  <a:lnTo>
                    <a:pt x="490716" y="376165"/>
                  </a:lnTo>
                  <a:lnTo>
                    <a:pt x="515989" y="376165"/>
                  </a:lnTo>
                  <a:lnTo>
                    <a:pt x="515989" y="430774"/>
                  </a:lnTo>
                  <a:lnTo>
                    <a:pt x="614157" y="430774"/>
                  </a:lnTo>
                  <a:lnTo>
                    <a:pt x="614157" y="483985"/>
                  </a:lnTo>
                  <a:lnTo>
                    <a:pt x="783698" y="483985"/>
                  </a:lnTo>
                  <a:lnTo>
                    <a:pt x="783698" y="538594"/>
                  </a:lnTo>
                  <a:lnTo>
                    <a:pt x="887581" y="538594"/>
                  </a:lnTo>
                  <a:lnTo>
                    <a:pt x="887581" y="591933"/>
                  </a:lnTo>
                  <a:lnTo>
                    <a:pt x="949810" y="591933"/>
                  </a:lnTo>
                  <a:lnTo>
                    <a:pt x="949810" y="646668"/>
                  </a:lnTo>
                  <a:lnTo>
                    <a:pt x="1916511" y="646668"/>
                  </a:lnTo>
                  <a:lnTo>
                    <a:pt x="1916511" y="714358"/>
                  </a:lnTo>
                  <a:lnTo>
                    <a:pt x="2505903" y="714358"/>
                  </a:lnTo>
                  <a:lnTo>
                    <a:pt x="2505903" y="844021"/>
                  </a:lnTo>
                  <a:lnTo>
                    <a:pt x="3298745" y="844021"/>
                  </a:lnTo>
                </a:path>
              </a:pathLst>
            </a:custGeom>
            <a:noFill/>
            <a:ln w="19035"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628" name="Freeform 1626">
              <a:extLst>
                <a:ext uri="{FF2B5EF4-FFF2-40B4-BE49-F238E27FC236}">
                  <a16:creationId xmlns:a16="http://schemas.microsoft.com/office/drawing/2014/main" id="{BFFD441B-0C57-CBC0-783C-08B7B14740F3}"/>
                </a:ext>
              </a:extLst>
            </p:cNvPr>
            <p:cNvSpPr/>
            <p:nvPr/>
          </p:nvSpPr>
          <p:spPr>
            <a:xfrm>
              <a:off x="1109710" y="1377362"/>
              <a:ext cx="3304333" cy="882628"/>
            </a:xfrm>
            <a:custGeom>
              <a:avLst/>
              <a:gdLst>
                <a:gd name="csX0" fmla="*/ 0 w 3304333"/>
                <a:gd name="csY0" fmla="*/ 0 h 882628"/>
                <a:gd name="csX1" fmla="*/ 94994 w 3304333"/>
                <a:gd name="csY1" fmla="*/ 0 h 882628"/>
                <a:gd name="csX2" fmla="*/ 94994 w 3304333"/>
                <a:gd name="csY2" fmla="*/ 28066 h 882628"/>
                <a:gd name="csX3" fmla="*/ 99693 w 3304333"/>
                <a:gd name="csY3" fmla="*/ 28066 h 882628"/>
                <a:gd name="csX4" fmla="*/ 99693 w 3304333"/>
                <a:gd name="csY4" fmla="*/ 52831 h 882628"/>
                <a:gd name="csX5" fmla="*/ 131061 w 3304333"/>
                <a:gd name="csY5" fmla="*/ 52831 h 882628"/>
                <a:gd name="csX6" fmla="*/ 131061 w 3304333"/>
                <a:gd name="csY6" fmla="*/ 68451 h 882628"/>
                <a:gd name="csX7" fmla="*/ 143126 w 3304333"/>
                <a:gd name="csY7" fmla="*/ 68451 h 882628"/>
                <a:gd name="csX8" fmla="*/ 143126 w 3304333"/>
                <a:gd name="csY8" fmla="*/ 81913 h 882628"/>
                <a:gd name="csX9" fmla="*/ 183384 w 3304333"/>
                <a:gd name="csY9" fmla="*/ 81913 h 882628"/>
                <a:gd name="csX10" fmla="*/ 183384 w 3304333"/>
                <a:gd name="csY10" fmla="*/ 104264 h 882628"/>
                <a:gd name="csX11" fmla="*/ 247644 w 3304333"/>
                <a:gd name="csY11" fmla="*/ 104264 h 882628"/>
                <a:gd name="csX12" fmla="*/ 247644 w 3304333"/>
                <a:gd name="csY12" fmla="*/ 134236 h 882628"/>
                <a:gd name="csX13" fmla="*/ 265805 w 3304333"/>
                <a:gd name="csY13" fmla="*/ 134236 h 882628"/>
                <a:gd name="csX14" fmla="*/ 265805 w 3304333"/>
                <a:gd name="csY14" fmla="*/ 159762 h 882628"/>
                <a:gd name="csX15" fmla="*/ 305936 w 3304333"/>
                <a:gd name="csY15" fmla="*/ 159762 h 882628"/>
                <a:gd name="csX16" fmla="*/ 305936 w 3304333"/>
                <a:gd name="csY16" fmla="*/ 186685 h 882628"/>
                <a:gd name="csX17" fmla="*/ 336034 w 3304333"/>
                <a:gd name="csY17" fmla="*/ 186685 h 882628"/>
                <a:gd name="csX18" fmla="*/ 336034 w 3304333"/>
                <a:gd name="csY18" fmla="*/ 216657 h 882628"/>
                <a:gd name="csX19" fmla="*/ 412486 w 3304333"/>
                <a:gd name="csY19" fmla="*/ 216657 h 882628"/>
                <a:gd name="csX20" fmla="*/ 412486 w 3304333"/>
                <a:gd name="csY20" fmla="*/ 240532 h 882628"/>
                <a:gd name="csX21" fmla="*/ 488811 w 3304333"/>
                <a:gd name="csY21" fmla="*/ 240532 h 882628"/>
                <a:gd name="csX22" fmla="*/ 488811 w 3304333"/>
                <a:gd name="csY22" fmla="*/ 269106 h 882628"/>
                <a:gd name="csX23" fmla="*/ 514973 w 3304333"/>
                <a:gd name="csY23" fmla="*/ 269106 h 882628"/>
                <a:gd name="csX24" fmla="*/ 514973 w 3304333"/>
                <a:gd name="csY24" fmla="*/ 298951 h 882628"/>
                <a:gd name="csX25" fmla="*/ 615427 w 3304333"/>
                <a:gd name="csY25" fmla="*/ 298951 h 882628"/>
                <a:gd name="csX26" fmla="*/ 615427 w 3304333"/>
                <a:gd name="csY26" fmla="*/ 324477 h 882628"/>
                <a:gd name="csX27" fmla="*/ 776205 w 3304333"/>
                <a:gd name="csY27" fmla="*/ 324477 h 882628"/>
                <a:gd name="csX28" fmla="*/ 776205 w 3304333"/>
                <a:gd name="csY28" fmla="*/ 355845 h 882628"/>
                <a:gd name="csX29" fmla="*/ 846434 w 3304333"/>
                <a:gd name="csY29" fmla="*/ 355845 h 882628"/>
                <a:gd name="csX30" fmla="*/ 846434 w 3304333"/>
                <a:gd name="csY30" fmla="*/ 381372 h 882628"/>
                <a:gd name="csX31" fmla="*/ 860531 w 3304333"/>
                <a:gd name="csY31" fmla="*/ 381372 h 882628"/>
                <a:gd name="csX32" fmla="*/ 860531 w 3304333"/>
                <a:gd name="csY32" fmla="*/ 435218 h 882628"/>
                <a:gd name="csX33" fmla="*/ 870691 w 3304333"/>
                <a:gd name="csY33" fmla="*/ 435218 h 882628"/>
                <a:gd name="csX34" fmla="*/ 870691 w 3304333"/>
                <a:gd name="csY34" fmla="*/ 467984 h 882628"/>
                <a:gd name="csX35" fmla="*/ 882629 w 3304333"/>
                <a:gd name="csY35" fmla="*/ 467984 h 882628"/>
                <a:gd name="csX36" fmla="*/ 882629 w 3304333"/>
                <a:gd name="csY36" fmla="*/ 494907 h 882628"/>
                <a:gd name="csX37" fmla="*/ 948921 w 3304333"/>
                <a:gd name="csY37" fmla="*/ 494907 h 882628"/>
                <a:gd name="csX38" fmla="*/ 948921 w 3304333"/>
                <a:gd name="csY38" fmla="*/ 521957 h 882628"/>
                <a:gd name="csX39" fmla="*/ 977114 w 3304333"/>
                <a:gd name="csY39" fmla="*/ 521957 h 882628"/>
                <a:gd name="csX40" fmla="*/ 977114 w 3304333"/>
                <a:gd name="csY40" fmla="*/ 550405 h 882628"/>
                <a:gd name="csX41" fmla="*/ 1421223 w 3304333"/>
                <a:gd name="csY41" fmla="*/ 550405 h 882628"/>
                <a:gd name="csX42" fmla="*/ 1421223 w 3304333"/>
                <a:gd name="csY42" fmla="*/ 579614 h 882628"/>
                <a:gd name="csX43" fmla="*/ 1913590 w 3304333"/>
                <a:gd name="csY43" fmla="*/ 579614 h 882628"/>
                <a:gd name="csX44" fmla="*/ 1913590 w 3304333"/>
                <a:gd name="csY44" fmla="*/ 614919 h 882628"/>
                <a:gd name="csX45" fmla="*/ 2498411 w 3304333"/>
                <a:gd name="csY45" fmla="*/ 614919 h 882628"/>
                <a:gd name="csX46" fmla="*/ 2498411 w 3304333"/>
                <a:gd name="csY46" fmla="*/ 697213 h 882628"/>
                <a:gd name="csX47" fmla="*/ 2852097 w 3304333"/>
                <a:gd name="csY47" fmla="*/ 697213 h 882628"/>
                <a:gd name="csX48" fmla="*/ 2852097 w 3304333"/>
                <a:gd name="csY48" fmla="*/ 882629 h 882628"/>
                <a:gd name="csX49" fmla="*/ 3304333 w 3304333"/>
                <a:gd name="csY49" fmla="*/ 882629 h 88262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Lst>
              <a:rect l="l" t="t" r="r" b="b"/>
              <a:pathLst>
                <a:path w="3304333" h="882628">
                  <a:moveTo>
                    <a:pt x="0" y="0"/>
                  </a:moveTo>
                  <a:lnTo>
                    <a:pt x="94994" y="0"/>
                  </a:lnTo>
                  <a:lnTo>
                    <a:pt x="94994" y="28066"/>
                  </a:lnTo>
                  <a:lnTo>
                    <a:pt x="99693" y="28066"/>
                  </a:lnTo>
                  <a:lnTo>
                    <a:pt x="99693" y="52831"/>
                  </a:lnTo>
                  <a:lnTo>
                    <a:pt x="131061" y="52831"/>
                  </a:lnTo>
                  <a:lnTo>
                    <a:pt x="131061" y="68451"/>
                  </a:lnTo>
                  <a:lnTo>
                    <a:pt x="143126" y="68451"/>
                  </a:lnTo>
                  <a:lnTo>
                    <a:pt x="143126" y="81913"/>
                  </a:lnTo>
                  <a:lnTo>
                    <a:pt x="183384" y="81913"/>
                  </a:lnTo>
                  <a:lnTo>
                    <a:pt x="183384" y="104264"/>
                  </a:lnTo>
                  <a:lnTo>
                    <a:pt x="247644" y="104264"/>
                  </a:lnTo>
                  <a:lnTo>
                    <a:pt x="247644" y="134236"/>
                  </a:lnTo>
                  <a:lnTo>
                    <a:pt x="265805" y="134236"/>
                  </a:lnTo>
                  <a:lnTo>
                    <a:pt x="265805" y="159762"/>
                  </a:lnTo>
                  <a:lnTo>
                    <a:pt x="305936" y="159762"/>
                  </a:lnTo>
                  <a:lnTo>
                    <a:pt x="305936" y="186685"/>
                  </a:lnTo>
                  <a:lnTo>
                    <a:pt x="336034" y="186685"/>
                  </a:lnTo>
                  <a:lnTo>
                    <a:pt x="336034" y="216657"/>
                  </a:lnTo>
                  <a:lnTo>
                    <a:pt x="412486" y="216657"/>
                  </a:lnTo>
                  <a:lnTo>
                    <a:pt x="412486" y="240532"/>
                  </a:lnTo>
                  <a:lnTo>
                    <a:pt x="488811" y="240532"/>
                  </a:lnTo>
                  <a:lnTo>
                    <a:pt x="488811" y="269106"/>
                  </a:lnTo>
                  <a:lnTo>
                    <a:pt x="514973" y="269106"/>
                  </a:lnTo>
                  <a:lnTo>
                    <a:pt x="514973" y="298951"/>
                  </a:lnTo>
                  <a:lnTo>
                    <a:pt x="615427" y="298951"/>
                  </a:lnTo>
                  <a:lnTo>
                    <a:pt x="615427" y="324477"/>
                  </a:lnTo>
                  <a:lnTo>
                    <a:pt x="776205" y="324477"/>
                  </a:lnTo>
                  <a:lnTo>
                    <a:pt x="776205" y="355845"/>
                  </a:lnTo>
                  <a:lnTo>
                    <a:pt x="846434" y="355845"/>
                  </a:lnTo>
                  <a:lnTo>
                    <a:pt x="846434" y="381372"/>
                  </a:lnTo>
                  <a:lnTo>
                    <a:pt x="860531" y="381372"/>
                  </a:lnTo>
                  <a:lnTo>
                    <a:pt x="860531" y="435218"/>
                  </a:lnTo>
                  <a:lnTo>
                    <a:pt x="870691" y="435218"/>
                  </a:lnTo>
                  <a:lnTo>
                    <a:pt x="870691" y="467984"/>
                  </a:lnTo>
                  <a:lnTo>
                    <a:pt x="882629" y="467984"/>
                  </a:lnTo>
                  <a:lnTo>
                    <a:pt x="882629" y="494907"/>
                  </a:lnTo>
                  <a:lnTo>
                    <a:pt x="948921" y="494907"/>
                  </a:lnTo>
                  <a:lnTo>
                    <a:pt x="948921" y="521957"/>
                  </a:lnTo>
                  <a:lnTo>
                    <a:pt x="977114" y="521957"/>
                  </a:lnTo>
                  <a:lnTo>
                    <a:pt x="977114" y="550405"/>
                  </a:lnTo>
                  <a:lnTo>
                    <a:pt x="1421223" y="550405"/>
                  </a:lnTo>
                  <a:lnTo>
                    <a:pt x="1421223" y="579614"/>
                  </a:lnTo>
                  <a:lnTo>
                    <a:pt x="1913590" y="579614"/>
                  </a:lnTo>
                  <a:lnTo>
                    <a:pt x="1913590" y="614919"/>
                  </a:lnTo>
                  <a:lnTo>
                    <a:pt x="2498411" y="614919"/>
                  </a:lnTo>
                  <a:lnTo>
                    <a:pt x="2498411" y="697213"/>
                  </a:lnTo>
                  <a:lnTo>
                    <a:pt x="2852097" y="697213"/>
                  </a:lnTo>
                  <a:lnTo>
                    <a:pt x="2852097" y="882629"/>
                  </a:lnTo>
                  <a:lnTo>
                    <a:pt x="3304333" y="882629"/>
                  </a:lnTo>
                </a:path>
              </a:pathLst>
            </a:custGeom>
            <a:noFill/>
            <a:ln w="19035"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629" name="Freeform 1627">
              <a:extLst>
                <a:ext uri="{FF2B5EF4-FFF2-40B4-BE49-F238E27FC236}">
                  <a16:creationId xmlns:a16="http://schemas.microsoft.com/office/drawing/2014/main" id="{EA0C99EF-FC5B-075E-E2E1-66456148F81B}"/>
                </a:ext>
              </a:extLst>
            </p:cNvPr>
            <p:cNvSpPr/>
            <p:nvPr/>
          </p:nvSpPr>
          <p:spPr>
            <a:xfrm>
              <a:off x="1222483" y="2548909"/>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630" name="Freeform 1628">
              <a:extLst>
                <a:ext uri="{FF2B5EF4-FFF2-40B4-BE49-F238E27FC236}">
                  <a16:creationId xmlns:a16="http://schemas.microsoft.com/office/drawing/2014/main" id="{E3DC6CF8-7DBA-8F3A-2EC4-E97C825DAB45}"/>
                </a:ext>
              </a:extLst>
            </p:cNvPr>
            <p:cNvSpPr/>
            <p:nvPr/>
          </p:nvSpPr>
          <p:spPr>
            <a:xfrm>
              <a:off x="1251057" y="2520335"/>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631" name="TextBox 1630">
              <a:extLst>
                <a:ext uri="{FF2B5EF4-FFF2-40B4-BE49-F238E27FC236}">
                  <a16:creationId xmlns:a16="http://schemas.microsoft.com/office/drawing/2014/main" id="{ECD8F098-6DC7-A08A-B1EA-6A3BFDBC0606}"/>
                </a:ext>
              </a:extLst>
            </p:cNvPr>
            <p:cNvSpPr txBox="1"/>
            <p:nvPr/>
          </p:nvSpPr>
          <p:spPr>
            <a:xfrm>
              <a:off x="1299695" y="2336100"/>
              <a:ext cx="872143" cy="176978"/>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All patients (n=47)</a:t>
              </a:r>
            </a:p>
          </p:txBody>
        </p:sp>
        <p:sp>
          <p:nvSpPr>
            <p:cNvPr id="1632" name="TextBox 1631">
              <a:extLst>
                <a:ext uri="{FF2B5EF4-FFF2-40B4-BE49-F238E27FC236}">
                  <a16:creationId xmlns:a16="http://schemas.microsoft.com/office/drawing/2014/main" id="{A6754688-41E7-FF26-3BF0-6E1AED86F529}"/>
                </a:ext>
              </a:extLst>
            </p:cNvPr>
            <p:cNvSpPr txBox="1"/>
            <p:nvPr/>
          </p:nvSpPr>
          <p:spPr>
            <a:xfrm>
              <a:off x="1288773" y="2445363"/>
              <a:ext cx="530597" cy="176978"/>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Censored</a:t>
              </a:r>
            </a:p>
          </p:txBody>
        </p:sp>
        <p:sp>
          <p:nvSpPr>
            <p:cNvPr id="1633" name="TextBox 1632">
              <a:extLst>
                <a:ext uri="{FF2B5EF4-FFF2-40B4-BE49-F238E27FC236}">
                  <a16:creationId xmlns:a16="http://schemas.microsoft.com/office/drawing/2014/main" id="{F71F9675-8384-D06B-DF90-EC73FD41C059}"/>
                </a:ext>
              </a:extLst>
            </p:cNvPr>
            <p:cNvSpPr txBox="1"/>
            <p:nvPr/>
          </p:nvSpPr>
          <p:spPr>
            <a:xfrm>
              <a:off x="1299695" y="2217612"/>
              <a:ext cx="870940" cy="176978"/>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BTKi naïve (n=23)</a:t>
              </a:r>
            </a:p>
          </p:txBody>
        </p:sp>
        <p:grpSp>
          <p:nvGrpSpPr>
            <p:cNvPr id="1634" name="Graphic 2">
              <a:extLst>
                <a:ext uri="{FF2B5EF4-FFF2-40B4-BE49-F238E27FC236}">
                  <a16:creationId xmlns:a16="http://schemas.microsoft.com/office/drawing/2014/main" id="{63853CA3-EAAC-199D-BC30-03CA39D5BAE0}"/>
                </a:ext>
              </a:extLst>
            </p:cNvPr>
            <p:cNvGrpSpPr/>
            <p:nvPr/>
          </p:nvGrpSpPr>
          <p:grpSpPr>
            <a:xfrm>
              <a:off x="1216768" y="1449878"/>
              <a:ext cx="3220387" cy="797032"/>
              <a:chOff x="2721718" y="2604639"/>
              <a:chExt cx="3220387" cy="797032"/>
            </a:xfrm>
          </p:grpSpPr>
          <p:grpSp>
            <p:nvGrpSpPr>
              <p:cNvPr id="2041" name="Graphic 2">
                <a:extLst>
                  <a:ext uri="{FF2B5EF4-FFF2-40B4-BE49-F238E27FC236}">
                    <a16:creationId xmlns:a16="http://schemas.microsoft.com/office/drawing/2014/main" id="{39DB4AB3-1705-CA45-622B-07A4317B0775}"/>
                  </a:ext>
                </a:extLst>
              </p:cNvPr>
              <p:cNvGrpSpPr/>
              <p:nvPr/>
            </p:nvGrpSpPr>
            <p:grpSpPr>
              <a:xfrm>
                <a:off x="5884958" y="3344523"/>
                <a:ext cx="57148" cy="57148"/>
                <a:chOff x="5884958" y="3344523"/>
                <a:chExt cx="57148" cy="57148"/>
              </a:xfrm>
            </p:grpSpPr>
            <p:sp>
              <p:nvSpPr>
                <p:cNvPr id="2069" name="Freeform 2067">
                  <a:extLst>
                    <a:ext uri="{FF2B5EF4-FFF2-40B4-BE49-F238E27FC236}">
                      <a16:creationId xmlns:a16="http://schemas.microsoft.com/office/drawing/2014/main" id="{C30852A8-D64E-64E6-0E2A-D7CAB12F9EF9}"/>
                    </a:ext>
                  </a:extLst>
                </p:cNvPr>
                <p:cNvSpPr/>
                <p:nvPr/>
              </p:nvSpPr>
              <p:spPr>
                <a:xfrm>
                  <a:off x="5884958" y="3373097"/>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070" name="Freeform 2068">
                  <a:extLst>
                    <a:ext uri="{FF2B5EF4-FFF2-40B4-BE49-F238E27FC236}">
                      <a16:creationId xmlns:a16="http://schemas.microsoft.com/office/drawing/2014/main" id="{E507AB00-7923-9E61-757E-941F11AC5CB7}"/>
                    </a:ext>
                  </a:extLst>
                </p:cNvPr>
                <p:cNvSpPr/>
                <p:nvPr/>
              </p:nvSpPr>
              <p:spPr>
                <a:xfrm>
                  <a:off x="5913532" y="3344523"/>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2042" name="Graphic 2">
                <a:extLst>
                  <a:ext uri="{FF2B5EF4-FFF2-40B4-BE49-F238E27FC236}">
                    <a16:creationId xmlns:a16="http://schemas.microsoft.com/office/drawing/2014/main" id="{97A4C848-41CE-97A3-E4F6-522A8B906D4C}"/>
                  </a:ext>
                </a:extLst>
              </p:cNvPr>
              <p:cNvGrpSpPr/>
              <p:nvPr/>
            </p:nvGrpSpPr>
            <p:grpSpPr>
              <a:xfrm>
                <a:off x="5209334" y="3344523"/>
                <a:ext cx="57148" cy="57148"/>
                <a:chOff x="5209334" y="3344523"/>
                <a:chExt cx="57148" cy="57148"/>
              </a:xfrm>
            </p:grpSpPr>
            <p:sp>
              <p:nvSpPr>
                <p:cNvPr id="2067" name="Freeform 2065">
                  <a:extLst>
                    <a:ext uri="{FF2B5EF4-FFF2-40B4-BE49-F238E27FC236}">
                      <a16:creationId xmlns:a16="http://schemas.microsoft.com/office/drawing/2014/main" id="{1C940718-3166-4645-6F21-D3F50C54F004}"/>
                    </a:ext>
                  </a:extLst>
                </p:cNvPr>
                <p:cNvSpPr/>
                <p:nvPr/>
              </p:nvSpPr>
              <p:spPr>
                <a:xfrm>
                  <a:off x="5209334" y="3373097"/>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068" name="Freeform 2066">
                  <a:extLst>
                    <a:ext uri="{FF2B5EF4-FFF2-40B4-BE49-F238E27FC236}">
                      <a16:creationId xmlns:a16="http://schemas.microsoft.com/office/drawing/2014/main" id="{FBF213E2-54FC-C46A-E679-0FF1ECFD8A60}"/>
                    </a:ext>
                  </a:extLst>
                </p:cNvPr>
                <p:cNvSpPr/>
                <p:nvPr/>
              </p:nvSpPr>
              <p:spPr>
                <a:xfrm>
                  <a:off x="5237908" y="3344523"/>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2043" name="Graphic 2">
                <a:extLst>
                  <a:ext uri="{FF2B5EF4-FFF2-40B4-BE49-F238E27FC236}">
                    <a16:creationId xmlns:a16="http://schemas.microsoft.com/office/drawing/2014/main" id="{44BDB076-F48B-A949-1456-87C398167F19}"/>
                  </a:ext>
                </a:extLst>
              </p:cNvPr>
              <p:cNvGrpSpPr/>
              <p:nvPr/>
            </p:nvGrpSpPr>
            <p:grpSpPr>
              <a:xfrm>
                <a:off x="5315503" y="3344523"/>
                <a:ext cx="57148" cy="57148"/>
                <a:chOff x="5315503" y="3344523"/>
                <a:chExt cx="57148" cy="57148"/>
              </a:xfrm>
            </p:grpSpPr>
            <p:sp>
              <p:nvSpPr>
                <p:cNvPr id="2065" name="Freeform 2063">
                  <a:extLst>
                    <a:ext uri="{FF2B5EF4-FFF2-40B4-BE49-F238E27FC236}">
                      <a16:creationId xmlns:a16="http://schemas.microsoft.com/office/drawing/2014/main" id="{667A9677-A3CB-C1A0-3F14-BA6E92E852D4}"/>
                    </a:ext>
                  </a:extLst>
                </p:cNvPr>
                <p:cNvSpPr/>
                <p:nvPr/>
              </p:nvSpPr>
              <p:spPr>
                <a:xfrm>
                  <a:off x="5315503" y="3373097"/>
                  <a:ext cx="57148" cy="12699"/>
                </a:xfrm>
                <a:custGeom>
                  <a:avLst/>
                  <a:gdLst>
                    <a:gd name="csX0" fmla="*/ 0 w 57148"/>
                    <a:gd name="csY0" fmla="*/ 0 h 12699"/>
                    <a:gd name="csX1" fmla="*/ 57148 w 57148"/>
                    <a:gd name="csY1" fmla="*/ 0 h 12699"/>
                  </a:gdLst>
                  <a:ahLst/>
                  <a:cxnLst>
                    <a:cxn ang="0">
                      <a:pos x="csX0" y="csY0"/>
                    </a:cxn>
                    <a:cxn ang="0">
                      <a:pos x="csX1" y="csY1"/>
                    </a:cxn>
                  </a:cxnLst>
                  <a:rect l="l" t="t" r="r" b="b"/>
                  <a:pathLst>
                    <a:path w="57148" h="12699">
                      <a:moveTo>
                        <a:pt x="0" y="0"/>
                      </a:moveTo>
                      <a:lnTo>
                        <a:pt x="57148" y="0"/>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066" name="Freeform 2064">
                  <a:extLst>
                    <a:ext uri="{FF2B5EF4-FFF2-40B4-BE49-F238E27FC236}">
                      <a16:creationId xmlns:a16="http://schemas.microsoft.com/office/drawing/2014/main" id="{4A81816E-3869-C34F-FAEC-75889960DBE2}"/>
                    </a:ext>
                  </a:extLst>
                </p:cNvPr>
                <p:cNvSpPr/>
                <p:nvPr/>
              </p:nvSpPr>
              <p:spPr>
                <a:xfrm>
                  <a:off x="5344078" y="3344523"/>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2044" name="Graphic 2">
                <a:extLst>
                  <a:ext uri="{FF2B5EF4-FFF2-40B4-BE49-F238E27FC236}">
                    <a16:creationId xmlns:a16="http://schemas.microsoft.com/office/drawing/2014/main" id="{CE2D7A40-D04F-6A22-C140-BE60F542E529}"/>
                  </a:ext>
                </a:extLst>
              </p:cNvPr>
              <p:cNvGrpSpPr/>
              <p:nvPr/>
            </p:nvGrpSpPr>
            <p:grpSpPr>
              <a:xfrm>
                <a:off x="5091989" y="3344523"/>
                <a:ext cx="57148" cy="57148"/>
                <a:chOff x="5091989" y="3344523"/>
                <a:chExt cx="57148" cy="57148"/>
              </a:xfrm>
            </p:grpSpPr>
            <p:sp>
              <p:nvSpPr>
                <p:cNvPr id="2063" name="Freeform 2061">
                  <a:extLst>
                    <a:ext uri="{FF2B5EF4-FFF2-40B4-BE49-F238E27FC236}">
                      <a16:creationId xmlns:a16="http://schemas.microsoft.com/office/drawing/2014/main" id="{F1B2DDE6-AC1F-5E76-EAEA-52CBFC85F280}"/>
                    </a:ext>
                  </a:extLst>
                </p:cNvPr>
                <p:cNvSpPr/>
                <p:nvPr/>
              </p:nvSpPr>
              <p:spPr>
                <a:xfrm>
                  <a:off x="5091989" y="3373097"/>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064" name="Freeform 2062">
                  <a:extLst>
                    <a:ext uri="{FF2B5EF4-FFF2-40B4-BE49-F238E27FC236}">
                      <a16:creationId xmlns:a16="http://schemas.microsoft.com/office/drawing/2014/main" id="{683060D3-C35E-EEDD-7BAC-CCC4CB39D684}"/>
                    </a:ext>
                  </a:extLst>
                </p:cNvPr>
                <p:cNvSpPr/>
                <p:nvPr/>
              </p:nvSpPr>
              <p:spPr>
                <a:xfrm>
                  <a:off x="5120563" y="3344523"/>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2045" name="Graphic 2">
                <a:extLst>
                  <a:ext uri="{FF2B5EF4-FFF2-40B4-BE49-F238E27FC236}">
                    <a16:creationId xmlns:a16="http://schemas.microsoft.com/office/drawing/2014/main" id="{A5DDFE95-E6EB-F20F-2EB0-F11CFEA41413}"/>
                  </a:ext>
                </a:extLst>
              </p:cNvPr>
              <p:cNvGrpSpPr/>
              <p:nvPr/>
            </p:nvGrpSpPr>
            <p:grpSpPr>
              <a:xfrm>
                <a:off x="5090084" y="3214986"/>
                <a:ext cx="57148" cy="57148"/>
                <a:chOff x="5090084" y="3214986"/>
                <a:chExt cx="57148" cy="57148"/>
              </a:xfrm>
            </p:grpSpPr>
            <p:sp>
              <p:nvSpPr>
                <p:cNvPr id="2061" name="Freeform 2059">
                  <a:extLst>
                    <a:ext uri="{FF2B5EF4-FFF2-40B4-BE49-F238E27FC236}">
                      <a16:creationId xmlns:a16="http://schemas.microsoft.com/office/drawing/2014/main" id="{5800DC1B-33B4-B852-7F8D-570129FC4B71}"/>
                    </a:ext>
                  </a:extLst>
                </p:cNvPr>
                <p:cNvSpPr/>
                <p:nvPr/>
              </p:nvSpPr>
              <p:spPr>
                <a:xfrm>
                  <a:off x="5090084" y="3243560"/>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062" name="Freeform 2060">
                  <a:extLst>
                    <a:ext uri="{FF2B5EF4-FFF2-40B4-BE49-F238E27FC236}">
                      <a16:creationId xmlns:a16="http://schemas.microsoft.com/office/drawing/2014/main" id="{959E8A9A-FFF7-0617-B6A4-03AF7D72F10E}"/>
                    </a:ext>
                  </a:extLst>
                </p:cNvPr>
                <p:cNvSpPr/>
                <p:nvPr/>
              </p:nvSpPr>
              <p:spPr>
                <a:xfrm>
                  <a:off x="5118658" y="3214986"/>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2046" name="Graphic 2">
                <a:extLst>
                  <a:ext uri="{FF2B5EF4-FFF2-40B4-BE49-F238E27FC236}">
                    <a16:creationId xmlns:a16="http://schemas.microsoft.com/office/drawing/2014/main" id="{9D1188A8-AD2B-CCA9-8B17-5527C0D80824}"/>
                  </a:ext>
                </a:extLst>
              </p:cNvPr>
              <p:cNvGrpSpPr/>
              <p:nvPr/>
            </p:nvGrpSpPr>
            <p:grpSpPr>
              <a:xfrm>
                <a:off x="5059224" y="3214986"/>
                <a:ext cx="57148" cy="57148"/>
                <a:chOff x="5059224" y="3214986"/>
                <a:chExt cx="57148" cy="57148"/>
              </a:xfrm>
            </p:grpSpPr>
            <p:sp>
              <p:nvSpPr>
                <p:cNvPr id="2059" name="Freeform 2057">
                  <a:extLst>
                    <a:ext uri="{FF2B5EF4-FFF2-40B4-BE49-F238E27FC236}">
                      <a16:creationId xmlns:a16="http://schemas.microsoft.com/office/drawing/2014/main" id="{76491FAA-1204-7177-4CE1-729A37460F70}"/>
                    </a:ext>
                  </a:extLst>
                </p:cNvPr>
                <p:cNvSpPr/>
                <p:nvPr/>
              </p:nvSpPr>
              <p:spPr>
                <a:xfrm>
                  <a:off x="5059224" y="3243560"/>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060" name="Freeform 2058">
                  <a:extLst>
                    <a:ext uri="{FF2B5EF4-FFF2-40B4-BE49-F238E27FC236}">
                      <a16:creationId xmlns:a16="http://schemas.microsoft.com/office/drawing/2014/main" id="{6E675A5D-42A9-6CE1-AD6B-1C3A413B6C82}"/>
                    </a:ext>
                  </a:extLst>
                </p:cNvPr>
                <p:cNvSpPr/>
                <p:nvPr/>
              </p:nvSpPr>
              <p:spPr>
                <a:xfrm>
                  <a:off x="5087798" y="3214986"/>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2047" name="Graphic 2">
                <a:extLst>
                  <a:ext uri="{FF2B5EF4-FFF2-40B4-BE49-F238E27FC236}">
                    <a16:creationId xmlns:a16="http://schemas.microsoft.com/office/drawing/2014/main" id="{BC03C118-4709-1EA5-B35D-3E4D2067EA27}"/>
                  </a:ext>
                </a:extLst>
              </p:cNvPr>
              <p:cNvGrpSpPr/>
              <p:nvPr/>
            </p:nvGrpSpPr>
            <p:grpSpPr>
              <a:xfrm>
                <a:off x="4786053" y="3214986"/>
                <a:ext cx="57148" cy="57148"/>
                <a:chOff x="4786053" y="3214986"/>
                <a:chExt cx="57148" cy="57148"/>
              </a:xfrm>
            </p:grpSpPr>
            <p:sp>
              <p:nvSpPr>
                <p:cNvPr id="2057" name="Freeform 2055">
                  <a:extLst>
                    <a:ext uri="{FF2B5EF4-FFF2-40B4-BE49-F238E27FC236}">
                      <a16:creationId xmlns:a16="http://schemas.microsoft.com/office/drawing/2014/main" id="{E0036EC7-2894-44F1-E537-760C45F0DC9A}"/>
                    </a:ext>
                  </a:extLst>
                </p:cNvPr>
                <p:cNvSpPr/>
                <p:nvPr/>
              </p:nvSpPr>
              <p:spPr>
                <a:xfrm>
                  <a:off x="4786053" y="3243560"/>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058" name="Freeform 2056">
                  <a:extLst>
                    <a:ext uri="{FF2B5EF4-FFF2-40B4-BE49-F238E27FC236}">
                      <a16:creationId xmlns:a16="http://schemas.microsoft.com/office/drawing/2014/main" id="{4B36B21D-E8DB-99B5-5564-A84C5B9518C3}"/>
                    </a:ext>
                  </a:extLst>
                </p:cNvPr>
                <p:cNvSpPr/>
                <p:nvPr/>
              </p:nvSpPr>
              <p:spPr>
                <a:xfrm>
                  <a:off x="4814628" y="3214986"/>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2048" name="Graphic 2">
                <a:extLst>
                  <a:ext uri="{FF2B5EF4-FFF2-40B4-BE49-F238E27FC236}">
                    <a16:creationId xmlns:a16="http://schemas.microsoft.com/office/drawing/2014/main" id="{0C76AEA0-B6DF-1E07-F480-079F2228867C}"/>
                  </a:ext>
                </a:extLst>
              </p:cNvPr>
              <p:cNvGrpSpPr/>
              <p:nvPr/>
            </p:nvGrpSpPr>
            <p:grpSpPr>
              <a:xfrm>
                <a:off x="4693345" y="3214986"/>
                <a:ext cx="57148" cy="57148"/>
                <a:chOff x="4693345" y="3214986"/>
                <a:chExt cx="57148" cy="57148"/>
              </a:xfrm>
            </p:grpSpPr>
            <p:sp>
              <p:nvSpPr>
                <p:cNvPr id="2055" name="Freeform 2053">
                  <a:extLst>
                    <a:ext uri="{FF2B5EF4-FFF2-40B4-BE49-F238E27FC236}">
                      <a16:creationId xmlns:a16="http://schemas.microsoft.com/office/drawing/2014/main" id="{700C67DC-59CA-A5D2-1000-DC38A28CA1DB}"/>
                    </a:ext>
                  </a:extLst>
                </p:cNvPr>
                <p:cNvSpPr/>
                <p:nvPr/>
              </p:nvSpPr>
              <p:spPr>
                <a:xfrm>
                  <a:off x="4693345" y="3243560"/>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056" name="Freeform 2054">
                  <a:extLst>
                    <a:ext uri="{FF2B5EF4-FFF2-40B4-BE49-F238E27FC236}">
                      <a16:creationId xmlns:a16="http://schemas.microsoft.com/office/drawing/2014/main" id="{DBC82B86-D2DD-9619-BF1E-AFE4D66085F8}"/>
                    </a:ext>
                  </a:extLst>
                </p:cNvPr>
                <p:cNvSpPr/>
                <p:nvPr/>
              </p:nvSpPr>
              <p:spPr>
                <a:xfrm>
                  <a:off x="4721920" y="3214986"/>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2049" name="Graphic 2">
                <a:extLst>
                  <a:ext uri="{FF2B5EF4-FFF2-40B4-BE49-F238E27FC236}">
                    <a16:creationId xmlns:a16="http://schemas.microsoft.com/office/drawing/2014/main" id="{4360A1F5-BD31-D842-BCD0-4DF6289A2A62}"/>
                  </a:ext>
                </a:extLst>
              </p:cNvPr>
              <p:cNvGrpSpPr/>
              <p:nvPr/>
            </p:nvGrpSpPr>
            <p:grpSpPr>
              <a:xfrm>
                <a:off x="4481007" y="3147169"/>
                <a:ext cx="57148" cy="57148"/>
                <a:chOff x="4481007" y="3147169"/>
                <a:chExt cx="57148" cy="57148"/>
              </a:xfrm>
            </p:grpSpPr>
            <p:sp>
              <p:nvSpPr>
                <p:cNvPr id="2053" name="Freeform 2051">
                  <a:extLst>
                    <a:ext uri="{FF2B5EF4-FFF2-40B4-BE49-F238E27FC236}">
                      <a16:creationId xmlns:a16="http://schemas.microsoft.com/office/drawing/2014/main" id="{E8D325F6-757B-6798-1CA5-D856B7F06DC9}"/>
                    </a:ext>
                  </a:extLst>
                </p:cNvPr>
                <p:cNvSpPr/>
                <p:nvPr/>
              </p:nvSpPr>
              <p:spPr>
                <a:xfrm>
                  <a:off x="4481007" y="3175744"/>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054" name="Freeform 2052">
                  <a:extLst>
                    <a:ext uri="{FF2B5EF4-FFF2-40B4-BE49-F238E27FC236}">
                      <a16:creationId xmlns:a16="http://schemas.microsoft.com/office/drawing/2014/main" id="{453D2326-5651-EE98-08A7-578584031874}"/>
                    </a:ext>
                  </a:extLst>
                </p:cNvPr>
                <p:cNvSpPr/>
                <p:nvPr/>
              </p:nvSpPr>
              <p:spPr>
                <a:xfrm>
                  <a:off x="4509581" y="3147169"/>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2050" name="Graphic 2">
                <a:extLst>
                  <a:ext uri="{FF2B5EF4-FFF2-40B4-BE49-F238E27FC236}">
                    <a16:creationId xmlns:a16="http://schemas.microsoft.com/office/drawing/2014/main" id="{286B19F1-47CB-26A5-4E4F-09D0E2147454}"/>
                  </a:ext>
                </a:extLst>
              </p:cNvPr>
              <p:cNvGrpSpPr/>
              <p:nvPr/>
            </p:nvGrpSpPr>
            <p:grpSpPr>
              <a:xfrm>
                <a:off x="2721718" y="2604639"/>
                <a:ext cx="57148" cy="57148"/>
                <a:chOff x="2721718" y="2604639"/>
                <a:chExt cx="57148" cy="57148"/>
              </a:xfrm>
            </p:grpSpPr>
            <p:sp>
              <p:nvSpPr>
                <p:cNvPr id="2051" name="Freeform 2049">
                  <a:extLst>
                    <a:ext uri="{FF2B5EF4-FFF2-40B4-BE49-F238E27FC236}">
                      <a16:creationId xmlns:a16="http://schemas.microsoft.com/office/drawing/2014/main" id="{204D4AF6-08FC-EDE9-9882-324C09B7B7FB}"/>
                    </a:ext>
                  </a:extLst>
                </p:cNvPr>
                <p:cNvSpPr/>
                <p:nvPr/>
              </p:nvSpPr>
              <p:spPr>
                <a:xfrm>
                  <a:off x="2721718" y="2633213"/>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052" name="Freeform 2050">
                  <a:extLst>
                    <a:ext uri="{FF2B5EF4-FFF2-40B4-BE49-F238E27FC236}">
                      <a16:creationId xmlns:a16="http://schemas.microsoft.com/office/drawing/2014/main" id="{EACF2F06-31DD-E0A6-1D55-33E77B84DA8D}"/>
                    </a:ext>
                  </a:extLst>
                </p:cNvPr>
                <p:cNvSpPr/>
                <p:nvPr/>
              </p:nvSpPr>
              <p:spPr>
                <a:xfrm>
                  <a:off x="2750293" y="2604639"/>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sp>
          <p:nvSpPr>
            <p:cNvPr id="1635" name="Freeform 1633">
              <a:extLst>
                <a:ext uri="{FF2B5EF4-FFF2-40B4-BE49-F238E27FC236}">
                  <a16:creationId xmlns:a16="http://schemas.microsoft.com/office/drawing/2014/main" id="{B73B355A-BCD5-1300-C2CC-1AA05DE3EF57}"/>
                </a:ext>
              </a:extLst>
            </p:cNvPr>
            <p:cNvSpPr/>
            <p:nvPr/>
          </p:nvSpPr>
          <p:spPr>
            <a:xfrm>
              <a:off x="1189210" y="2202334"/>
              <a:ext cx="136521" cy="12699"/>
            </a:xfrm>
            <a:custGeom>
              <a:avLst/>
              <a:gdLst>
                <a:gd name="csX0" fmla="*/ 0 w 136521"/>
                <a:gd name="csY0" fmla="*/ 0 h 12699"/>
                <a:gd name="csX1" fmla="*/ 136522 w 136521"/>
                <a:gd name="csY1" fmla="*/ 0 h 12699"/>
              </a:gdLst>
              <a:ahLst/>
              <a:cxnLst>
                <a:cxn ang="0">
                  <a:pos x="csX0" y="csY0"/>
                </a:cxn>
                <a:cxn ang="0">
                  <a:pos x="csX1" y="csY1"/>
                </a:cxn>
              </a:cxnLst>
              <a:rect l="l" t="t" r="r" b="b"/>
              <a:pathLst>
                <a:path w="136521" h="12699">
                  <a:moveTo>
                    <a:pt x="0" y="0"/>
                  </a:moveTo>
                  <a:lnTo>
                    <a:pt x="136522" y="0"/>
                  </a:lnTo>
                </a:path>
              </a:pathLst>
            </a:custGeom>
            <a:ln w="19035"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636" name="TextBox 1635">
              <a:extLst>
                <a:ext uri="{FF2B5EF4-FFF2-40B4-BE49-F238E27FC236}">
                  <a16:creationId xmlns:a16="http://schemas.microsoft.com/office/drawing/2014/main" id="{A6E8B449-8E78-5358-0B1E-7F3AF87A48FB}"/>
                </a:ext>
              </a:extLst>
            </p:cNvPr>
            <p:cNvSpPr txBox="1"/>
            <p:nvPr/>
          </p:nvSpPr>
          <p:spPr>
            <a:xfrm>
              <a:off x="1299695" y="2099124"/>
              <a:ext cx="840874" cy="176978"/>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Prior BTKi (n=24)</a:t>
              </a:r>
            </a:p>
          </p:txBody>
        </p:sp>
        <p:grpSp>
          <p:nvGrpSpPr>
            <p:cNvPr id="1637" name="Graphic 2">
              <a:extLst>
                <a:ext uri="{FF2B5EF4-FFF2-40B4-BE49-F238E27FC236}">
                  <a16:creationId xmlns:a16="http://schemas.microsoft.com/office/drawing/2014/main" id="{E3F890FD-A5C9-5F9E-B84F-BD7D827D985B}"/>
                </a:ext>
              </a:extLst>
            </p:cNvPr>
            <p:cNvGrpSpPr/>
            <p:nvPr/>
          </p:nvGrpSpPr>
          <p:grpSpPr>
            <a:xfrm>
              <a:off x="1535658" y="1509947"/>
              <a:ext cx="2623883" cy="769093"/>
              <a:chOff x="3040608" y="2664708"/>
              <a:chExt cx="2623883" cy="769093"/>
            </a:xfrm>
          </p:grpSpPr>
          <p:grpSp>
            <p:nvGrpSpPr>
              <p:cNvPr id="2002" name="Graphic 2">
                <a:extLst>
                  <a:ext uri="{FF2B5EF4-FFF2-40B4-BE49-F238E27FC236}">
                    <a16:creationId xmlns:a16="http://schemas.microsoft.com/office/drawing/2014/main" id="{F802FA8F-4698-0489-711F-A3F3542C8BCE}"/>
                  </a:ext>
                </a:extLst>
              </p:cNvPr>
              <p:cNvGrpSpPr/>
              <p:nvPr/>
            </p:nvGrpSpPr>
            <p:grpSpPr>
              <a:xfrm>
                <a:off x="3763855" y="2949435"/>
                <a:ext cx="57148" cy="57148"/>
                <a:chOff x="3763855" y="2949435"/>
                <a:chExt cx="57148" cy="57148"/>
              </a:xfrm>
            </p:grpSpPr>
            <p:sp>
              <p:nvSpPr>
                <p:cNvPr id="2039" name="Freeform 2037">
                  <a:extLst>
                    <a:ext uri="{FF2B5EF4-FFF2-40B4-BE49-F238E27FC236}">
                      <a16:creationId xmlns:a16="http://schemas.microsoft.com/office/drawing/2014/main" id="{349992B9-51BB-8DC6-DA7F-86C987017216}"/>
                    </a:ext>
                  </a:extLst>
                </p:cNvPr>
                <p:cNvSpPr/>
                <p:nvPr/>
              </p:nvSpPr>
              <p:spPr>
                <a:xfrm>
                  <a:off x="3763855" y="2978009"/>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040" name="Freeform 2038">
                  <a:extLst>
                    <a:ext uri="{FF2B5EF4-FFF2-40B4-BE49-F238E27FC236}">
                      <a16:creationId xmlns:a16="http://schemas.microsoft.com/office/drawing/2014/main" id="{13194C3D-4AB2-0CF4-B968-9EC09899C62B}"/>
                    </a:ext>
                  </a:extLst>
                </p:cNvPr>
                <p:cNvSpPr/>
                <p:nvPr/>
              </p:nvSpPr>
              <p:spPr>
                <a:xfrm>
                  <a:off x="3792429" y="2949435"/>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2003" name="Graphic 2">
                <a:extLst>
                  <a:ext uri="{FF2B5EF4-FFF2-40B4-BE49-F238E27FC236}">
                    <a16:creationId xmlns:a16="http://schemas.microsoft.com/office/drawing/2014/main" id="{EC5DC8E8-E08A-3A75-0D37-0BFBA65DC088}"/>
                  </a:ext>
                </a:extLst>
              </p:cNvPr>
              <p:cNvGrpSpPr/>
              <p:nvPr/>
            </p:nvGrpSpPr>
            <p:grpSpPr>
              <a:xfrm>
                <a:off x="3040608" y="2664708"/>
                <a:ext cx="57148" cy="57148"/>
                <a:chOff x="3040608" y="2664708"/>
                <a:chExt cx="57148" cy="57148"/>
              </a:xfrm>
            </p:grpSpPr>
            <p:sp>
              <p:nvSpPr>
                <p:cNvPr id="2037" name="Freeform 2035">
                  <a:extLst>
                    <a:ext uri="{FF2B5EF4-FFF2-40B4-BE49-F238E27FC236}">
                      <a16:creationId xmlns:a16="http://schemas.microsoft.com/office/drawing/2014/main" id="{1D024D00-FF5A-3655-17A9-0E049104B2F7}"/>
                    </a:ext>
                  </a:extLst>
                </p:cNvPr>
                <p:cNvSpPr/>
                <p:nvPr/>
              </p:nvSpPr>
              <p:spPr>
                <a:xfrm>
                  <a:off x="3040608" y="2693282"/>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038" name="Freeform 2036">
                  <a:extLst>
                    <a:ext uri="{FF2B5EF4-FFF2-40B4-BE49-F238E27FC236}">
                      <a16:creationId xmlns:a16="http://schemas.microsoft.com/office/drawing/2014/main" id="{9DB05DA6-7F1C-9E9C-6DCD-17C0A42C3924}"/>
                    </a:ext>
                  </a:extLst>
                </p:cNvPr>
                <p:cNvSpPr/>
                <p:nvPr/>
              </p:nvSpPr>
              <p:spPr>
                <a:xfrm>
                  <a:off x="3069182" y="2664708"/>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2004" name="Graphic 2">
                <a:extLst>
                  <a:ext uri="{FF2B5EF4-FFF2-40B4-BE49-F238E27FC236}">
                    <a16:creationId xmlns:a16="http://schemas.microsoft.com/office/drawing/2014/main" id="{16888DD8-9E24-15AD-58DB-5B3CF8FADA39}"/>
                  </a:ext>
                </a:extLst>
              </p:cNvPr>
              <p:cNvGrpSpPr/>
              <p:nvPr/>
            </p:nvGrpSpPr>
            <p:grpSpPr>
              <a:xfrm>
                <a:off x="4267652" y="3010267"/>
                <a:ext cx="57148" cy="57148"/>
                <a:chOff x="4267652" y="3010267"/>
                <a:chExt cx="57148" cy="57148"/>
              </a:xfrm>
            </p:grpSpPr>
            <p:sp>
              <p:nvSpPr>
                <p:cNvPr id="2035" name="Freeform 2033">
                  <a:extLst>
                    <a:ext uri="{FF2B5EF4-FFF2-40B4-BE49-F238E27FC236}">
                      <a16:creationId xmlns:a16="http://schemas.microsoft.com/office/drawing/2014/main" id="{3FCDCB65-D64C-57BF-19A6-948372DC289A}"/>
                    </a:ext>
                  </a:extLst>
                </p:cNvPr>
                <p:cNvSpPr/>
                <p:nvPr/>
              </p:nvSpPr>
              <p:spPr>
                <a:xfrm>
                  <a:off x="4267652" y="3038841"/>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036" name="Freeform 2034">
                  <a:extLst>
                    <a:ext uri="{FF2B5EF4-FFF2-40B4-BE49-F238E27FC236}">
                      <a16:creationId xmlns:a16="http://schemas.microsoft.com/office/drawing/2014/main" id="{333EDBB9-8017-95B4-5EB2-43856CAF2B12}"/>
                    </a:ext>
                  </a:extLst>
                </p:cNvPr>
                <p:cNvSpPr/>
                <p:nvPr/>
              </p:nvSpPr>
              <p:spPr>
                <a:xfrm>
                  <a:off x="4296226" y="3010267"/>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2005" name="Graphic 2">
                <a:extLst>
                  <a:ext uri="{FF2B5EF4-FFF2-40B4-BE49-F238E27FC236}">
                    <a16:creationId xmlns:a16="http://schemas.microsoft.com/office/drawing/2014/main" id="{5FD713FB-ADF3-D073-CB46-FB8E1090E233}"/>
                  </a:ext>
                </a:extLst>
              </p:cNvPr>
              <p:cNvGrpSpPr/>
              <p:nvPr/>
            </p:nvGrpSpPr>
            <p:grpSpPr>
              <a:xfrm>
                <a:off x="4355788" y="3010267"/>
                <a:ext cx="57148" cy="57148"/>
                <a:chOff x="4355788" y="3010267"/>
                <a:chExt cx="57148" cy="57148"/>
              </a:xfrm>
            </p:grpSpPr>
            <p:sp>
              <p:nvSpPr>
                <p:cNvPr id="2033" name="Freeform 2031">
                  <a:extLst>
                    <a:ext uri="{FF2B5EF4-FFF2-40B4-BE49-F238E27FC236}">
                      <a16:creationId xmlns:a16="http://schemas.microsoft.com/office/drawing/2014/main" id="{3EE574A8-9BCC-CEB6-F89B-21C649A87E0D}"/>
                    </a:ext>
                  </a:extLst>
                </p:cNvPr>
                <p:cNvSpPr/>
                <p:nvPr/>
              </p:nvSpPr>
              <p:spPr>
                <a:xfrm>
                  <a:off x="4355788" y="3038841"/>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034" name="Freeform 2032">
                  <a:extLst>
                    <a:ext uri="{FF2B5EF4-FFF2-40B4-BE49-F238E27FC236}">
                      <a16:creationId xmlns:a16="http://schemas.microsoft.com/office/drawing/2014/main" id="{C804C2DD-55C7-CF87-D5B2-097AEBD8D65F}"/>
                    </a:ext>
                  </a:extLst>
                </p:cNvPr>
                <p:cNvSpPr/>
                <p:nvPr/>
              </p:nvSpPr>
              <p:spPr>
                <a:xfrm>
                  <a:off x="4384362" y="3010267"/>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2006" name="Graphic 2">
                <a:extLst>
                  <a:ext uri="{FF2B5EF4-FFF2-40B4-BE49-F238E27FC236}">
                    <a16:creationId xmlns:a16="http://schemas.microsoft.com/office/drawing/2014/main" id="{64ECAF73-0B50-AA89-0B78-E309C4B00429}"/>
                  </a:ext>
                </a:extLst>
              </p:cNvPr>
              <p:cNvGrpSpPr/>
              <p:nvPr/>
            </p:nvGrpSpPr>
            <p:grpSpPr>
              <a:xfrm>
                <a:off x="4481134" y="3010267"/>
                <a:ext cx="57148" cy="57148"/>
                <a:chOff x="4481134" y="3010267"/>
                <a:chExt cx="57148" cy="57148"/>
              </a:xfrm>
            </p:grpSpPr>
            <p:sp>
              <p:nvSpPr>
                <p:cNvPr id="2031" name="Freeform 2029">
                  <a:extLst>
                    <a:ext uri="{FF2B5EF4-FFF2-40B4-BE49-F238E27FC236}">
                      <a16:creationId xmlns:a16="http://schemas.microsoft.com/office/drawing/2014/main" id="{A303EAF5-8CA2-7840-181E-DF023D2BCAFD}"/>
                    </a:ext>
                  </a:extLst>
                </p:cNvPr>
                <p:cNvSpPr/>
                <p:nvPr/>
              </p:nvSpPr>
              <p:spPr>
                <a:xfrm>
                  <a:off x="4481134" y="3038841"/>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032" name="Freeform 2030">
                  <a:extLst>
                    <a:ext uri="{FF2B5EF4-FFF2-40B4-BE49-F238E27FC236}">
                      <a16:creationId xmlns:a16="http://schemas.microsoft.com/office/drawing/2014/main" id="{396E410C-6402-145F-9853-A0CF3F42DDDD}"/>
                    </a:ext>
                  </a:extLst>
                </p:cNvPr>
                <p:cNvSpPr/>
                <p:nvPr/>
              </p:nvSpPr>
              <p:spPr>
                <a:xfrm>
                  <a:off x="4509708" y="3010267"/>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2007" name="Graphic 2">
                <a:extLst>
                  <a:ext uri="{FF2B5EF4-FFF2-40B4-BE49-F238E27FC236}">
                    <a16:creationId xmlns:a16="http://schemas.microsoft.com/office/drawing/2014/main" id="{BF26D7D0-5A7B-16A8-F884-4B153DD0C5AA}"/>
                  </a:ext>
                </a:extLst>
              </p:cNvPr>
              <p:cNvGrpSpPr/>
              <p:nvPr/>
            </p:nvGrpSpPr>
            <p:grpSpPr>
              <a:xfrm>
                <a:off x="4590986" y="3010267"/>
                <a:ext cx="57148" cy="57148"/>
                <a:chOff x="4590986" y="3010267"/>
                <a:chExt cx="57148" cy="57148"/>
              </a:xfrm>
            </p:grpSpPr>
            <p:sp>
              <p:nvSpPr>
                <p:cNvPr id="2029" name="Freeform 2027">
                  <a:extLst>
                    <a:ext uri="{FF2B5EF4-FFF2-40B4-BE49-F238E27FC236}">
                      <a16:creationId xmlns:a16="http://schemas.microsoft.com/office/drawing/2014/main" id="{A0B3F89A-3DD8-7386-8B2D-C79CFDAF3C10}"/>
                    </a:ext>
                  </a:extLst>
                </p:cNvPr>
                <p:cNvSpPr/>
                <p:nvPr/>
              </p:nvSpPr>
              <p:spPr>
                <a:xfrm>
                  <a:off x="4590986" y="3038841"/>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030" name="Freeform 2028">
                  <a:extLst>
                    <a:ext uri="{FF2B5EF4-FFF2-40B4-BE49-F238E27FC236}">
                      <a16:creationId xmlns:a16="http://schemas.microsoft.com/office/drawing/2014/main" id="{4A1D52B4-4827-1120-20DA-86226447BA35}"/>
                    </a:ext>
                  </a:extLst>
                </p:cNvPr>
                <p:cNvSpPr/>
                <p:nvPr/>
              </p:nvSpPr>
              <p:spPr>
                <a:xfrm>
                  <a:off x="4619560" y="3010267"/>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2008" name="Graphic 2">
                <a:extLst>
                  <a:ext uri="{FF2B5EF4-FFF2-40B4-BE49-F238E27FC236}">
                    <a16:creationId xmlns:a16="http://schemas.microsoft.com/office/drawing/2014/main" id="{D00F6279-FB72-6CB8-B494-6E680673D3CB}"/>
                  </a:ext>
                </a:extLst>
              </p:cNvPr>
              <p:cNvGrpSpPr/>
              <p:nvPr/>
            </p:nvGrpSpPr>
            <p:grpSpPr>
              <a:xfrm>
                <a:off x="4635181" y="3010267"/>
                <a:ext cx="57148" cy="57148"/>
                <a:chOff x="4635181" y="3010267"/>
                <a:chExt cx="57148" cy="57148"/>
              </a:xfrm>
            </p:grpSpPr>
            <p:sp>
              <p:nvSpPr>
                <p:cNvPr id="2027" name="Freeform 2025">
                  <a:extLst>
                    <a:ext uri="{FF2B5EF4-FFF2-40B4-BE49-F238E27FC236}">
                      <a16:creationId xmlns:a16="http://schemas.microsoft.com/office/drawing/2014/main" id="{27BCB5A9-6E3A-F384-47E8-3A866EB1B645}"/>
                    </a:ext>
                  </a:extLst>
                </p:cNvPr>
                <p:cNvSpPr/>
                <p:nvPr/>
              </p:nvSpPr>
              <p:spPr>
                <a:xfrm>
                  <a:off x="4635181" y="3038841"/>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028" name="Freeform 2026">
                  <a:extLst>
                    <a:ext uri="{FF2B5EF4-FFF2-40B4-BE49-F238E27FC236}">
                      <a16:creationId xmlns:a16="http://schemas.microsoft.com/office/drawing/2014/main" id="{0965F73C-F494-4E0D-BA1F-888F64D980FC}"/>
                    </a:ext>
                  </a:extLst>
                </p:cNvPr>
                <p:cNvSpPr/>
                <p:nvPr/>
              </p:nvSpPr>
              <p:spPr>
                <a:xfrm>
                  <a:off x="4663755" y="3010267"/>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2009" name="Graphic 2">
                <a:extLst>
                  <a:ext uri="{FF2B5EF4-FFF2-40B4-BE49-F238E27FC236}">
                    <a16:creationId xmlns:a16="http://schemas.microsoft.com/office/drawing/2014/main" id="{C2982952-74F4-D752-DE42-3A8BAF4DE999}"/>
                  </a:ext>
                </a:extLst>
              </p:cNvPr>
              <p:cNvGrpSpPr/>
              <p:nvPr/>
            </p:nvGrpSpPr>
            <p:grpSpPr>
              <a:xfrm>
                <a:off x="4664390" y="3010267"/>
                <a:ext cx="57148" cy="57148"/>
                <a:chOff x="4664390" y="3010267"/>
                <a:chExt cx="57148" cy="57148"/>
              </a:xfrm>
            </p:grpSpPr>
            <p:sp>
              <p:nvSpPr>
                <p:cNvPr id="2025" name="Freeform 2023">
                  <a:extLst>
                    <a:ext uri="{FF2B5EF4-FFF2-40B4-BE49-F238E27FC236}">
                      <a16:creationId xmlns:a16="http://schemas.microsoft.com/office/drawing/2014/main" id="{ED213965-A98C-F760-CE3C-8CB9CE76D14C}"/>
                    </a:ext>
                  </a:extLst>
                </p:cNvPr>
                <p:cNvSpPr/>
                <p:nvPr/>
              </p:nvSpPr>
              <p:spPr>
                <a:xfrm>
                  <a:off x="4664390" y="3038841"/>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026" name="Freeform 2024">
                  <a:extLst>
                    <a:ext uri="{FF2B5EF4-FFF2-40B4-BE49-F238E27FC236}">
                      <a16:creationId xmlns:a16="http://schemas.microsoft.com/office/drawing/2014/main" id="{A0902785-356C-9255-CFF4-08135E54E0FF}"/>
                    </a:ext>
                  </a:extLst>
                </p:cNvPr>
                <p:cNvSpPr/>
                <p:nvPr/>
              </p:nvSpPr>
              <p:spPr>
                <a:xfrm>
                  <a:off x="4692964" y="3010267"/>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2010" name="Graphic 2">
                <a:extLst>
                  <a:ext uri="{FF2B5EF4-FFF2-40B4-BE49-F238E27FC236}">
                    <a16:creationId xmlns:a16="http://schemas.microsoft.com/office/drawing/2014/main" id="{8C724139-143A-ADB4-BBD1-D5AF57A18468}"/>
                  </a:ext>
                </a:extLst>
              </p:cNvPr>
              <p:cNvGrpSpPr/>
              <p:nvPr/>
            </p:nvGrpSpPr>
            <p:grpSpPr>
              <a:xfrm>
                <a:off x="4709220" y="3010267"/>
                <a:ext cx="57148" cy="57148"/>
                <a:chOff x="4709220" y="3010267"/>
                <a:chExt cx="57148" cy="57148"/>
              </a:xfrm>
            </p:grpSpPr>
            <p:sp>
              <p:nvSpPr>
                <p:cNvPr id="2023" name="Freeform 2021">
                  <a:extLst>
                    <a:ext uri="{FF2B5EF4-FFF2-40B4-BE49-F238E27FC236}">
                      <a16:creationId xmlns:a16="http://schemas.microsoft.com/office/drawing/2014/main" id="{790F8533-3DBF-96C6-3F4B-95746AC4ACBA}"/>
                    </a:ext>
                  </a:extLst>
                </p:cNvPr>
                <p:cNvSpPr/>
                <p:nvPr/>
              </p:nvSpPr>
              <p:spPr>
                <a:xfrm>
                  <a:off x="4709220" y="3038841"/>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024" name="Freeform 2022">
                  <a:extLst>
                    <a:ext uri="{FF2B5EF4-FFF2-40B4-BE49-F238E27FC236}">
                      <a16:creationId xmlns:a16="http://schemas.microsoft.com/office/drawing/2014/main" id="{E2E30D3D-F46A-8AB8-ECAA-48EEA21AC3EE}"/>
                    </a:ext>
                  </a:extLst>
                </p:cNvPr>
                <p:cNvSpPr/>
                <p:nvPr/>
              </p:nvSpPr>
              <p:spPr>
                <a:xfrm>
                  <a:off x="4737794" y="3010267"/>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2011" name="Graphic 2">
                <a:extLst>
                  <a:ext uri="{FF2B5EF4-FFF2-40B4-BE49-F238E27FC236}">
                    <a16:creationId xmlns:a16="http://schemas.microsoft.com/office/drawing/2014/main" id="{D019F875-3806-0F9E-57DE-4840068C24AA}"/>
                  </a:ext>
                </a:extLst>
              </p:cNvPr>
              <p:cNvGrpSpPr/>
              <p:nvPr/>
            </p:nvGrpSpPr>
            <p:grpSpPr>
              <a:xfrm>
                <a:off x="5109260" y="3010267"/>
                <a:ext cx="57148" cy="57148"/>
                <a:chOff x="5109260" y="3010267"/>
                <a:chExt cx="57148" cy="57148"/>
              </a:xfrm>
            </p:grpSpPr>
            <p:sp>
              <p:nvSpPr>
                <p:cNvPr id="2021" name="Freeform 2019">
                  <a:extLst>
                    <a:ext uri="{FF2B5EF4-FFF2-40B4-BE49-F238E27FC236}">
                      <a16:creationId xmlns:a16="http://schemas.microsoft.com/office/drawing/2014/main" id="{E511FB9C-A489-F71D-8E02-0D0BCB470AEC}"/>
                    </a:ext>
                  </a:extLst>
                </p:cNvPr>
                <p:cNvSpPr/>
                <p:nvPr/>
              </p:nvSpPr>
              <p:spPr>
                <a:xfrm>
                  <a:off x="5109260" y="3038841"/>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022" name="Freeform 2020">
                  <a:extLst>
                    <a:ext uri="{FF2B5EF4-FFF2-40B4-BE49-F238E27FC236}">
                      <a16:creationId xmlns:a16="http://schemas.microsoft.com/office/drawing/2014/main" id="{4857BDF8-5D0C-C741-D2BF-00023536CDC2}"/>
                    </a:ext>
                  </a:extLst>
                </p:cNvPr>
                <p:cNvSpPr/>
                <p:nvPr/>
              </p:nvSpPr>
              <p:spPr>
                <a:xfrm>
                  <a:off x="5137835" y="3010267"/>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2012" name="Graphic 2">
                <a:extLst>
                  <a:ext uri="{FF2B5EF4-FFF2-40B4-BE49-F238E27FC236}">
                    <a16:creationId xmlns:a16="http://schemas.microsoft.com/office/drawing/2014/main" id="{F67C1356-B557-280E-5746-05FFD5ECE129}"/>
                  </a:ext>
                </a:extLst>
              </p:cNvPr>
              <p:cNvGrpSpPr/>
              <p:nvPr/>
            </p:nvGrpSpPr>
            <p:grpSpPr>
              <a:xfrm>
                <a:off x="5193713" y="3010267"/>
                <a:ext cx="57148" cy="57148"/>
                <a:chOff x="5193713" y="3010267"/>
                <a:chExt cx="57148" cy="57148"/>
              </a:xfrm>
            </p:grpSpPr>
            <p:sp>
              <p:nvSpPr>
                <p:cNvPr id="2019" name="Freeform 2017">
                  <a:extLst>
                    <a:ext uri="{FF2B5EF4-FFF2-40B4-BE49-F238E27FC236}">
                      <a16:creationId xmlns:a16="http://schemas.microsoft.com/office/drawing/2014/main" id="{3805BE85-856A-EC5B-F77B-70C9C8BC5E72}"/>
                    </a:ext>
                  </a:extLst>
                </p:cNvPr>
                <p:cNvSpPr/>
                <p:nvPr/>
              </p:nvSpPr>
              <p:spPr>
                <a:xfrm>
                  <a:off x="5193713" y="3038841"/>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020" name="Freeform 2018">
                  <a:extLst>
                    <a:ext uri="{FF2B5EF4-FFF2-40B4-BE49-F238E27FC236}">
                      <a16:creationId xmlns:a16="http://schemas.microsoft.com/office/drawing/2014/main" id="{14042B34-E27D-6CDB-6A7B-029FC5514089}"/>
                    </a:ext>
                  </a:extLst>
                </p:cNvPr>
                <p:cNvSpPr/>
                <p:nvPr/>
              </p:nvSpPr>
              <p:spPr>
                <a:xfrm>
                  <a:off x="5222288" y="3010267"/>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2013" name="Graphic 2">
                <a:extLst>
                  <a:ext uri="{FF2B5EF4-FFF2-40B4-BE49-F238E27FC236}">
                    <a16:creationId xmlns:a16="http://schemas.microsoft.com/office/drawing/2014/main" id="{3F96274A-56DC-8D9B-409B-58B8DAC3EBBB}"/>
                  </a:ext>
                </a:extLst>
              </p:cNvPr>
              <p:cNvGrpSpPr/>
              <p:nvPr/>
            </p:nvGrpSpPr>
            <p:grpSpPr>
              <a:xfrm>
                <a:off x="5607342" y="3376653"/>
                <a:ext cx="57148" cy="57148"/>
                <a:chOff x="5607342" y="3376653"/>
                <a:chExt cx="57148" cy="57148"/>
              </a:xfrm>
            </p:grpSpPr>
            <p:sp>
              <p:nvSpPr>
                <p:cNvPr id="2017" name="Freeform 2015">
                  <a:extLst>
                    <a:ext uri="{FF2B5EF4-FFF2-40B4-BE49-F238E27FC236}">
                      <a16:creationId xmlns:a16="http://schemas.microsoft.com/office/drawing/2014/main" id="{C3AA00DA-5FDE-7057-2B67-116BEBCBC09F}"/>
                    </a:ext>
                  </a:extLst>
                </p:cNvPr>
                <p:cNvSpPr/>
                <p:nvPr/>
              </p:nvSpPr>
              <p:spPr>
                <a:xfrm>
                  <a:off x="5607342" y="3405227"/>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018" name="Freeform 2016">
                  <a:extLst>
                    <a:ext uri="{FF2B5EF4-FFF2-40B4-BE49-F238E27FC236}">
                      <a16:creationId xmlns:a16="http://schemas.microsoft.com/office/drawing/2014/main" id="{BED6E1C2-CD33-6343-B17F-98B04532BAD0}"/>
                    </a:ext>
                  </a:extLst>
                </p:cNvPr>
                <p:cNvSpPr/>
                <p:nvPr/>
              </p:nvSpPr>
              <p:spPr>
                <a:xfrm>
                  <a:off x="5635917" y="3376653"/>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2014" name="Graphic 2">
                <a:extLst>
                  <a:ext uri="{FF2B5EF4-FFF2-40B4-BE49-F238E27FC236}">
                    <a16:creationId xmlns:a16="http://schemas.microsoft.com/office/drawing/2014/main" id="{3ADF5AB1-EEC7-1432-7333-A4134221F969}"/>
                  </a:ext>
                </a:extLst>
              </p:cNvPr>
              <p:cNvGrpSpPr/>
              <p:nvPr/>
            </p:nvGrpSpPr>
            <p:grpSpPr>
              <a:xfrm>
                <a:off x="4469196" y="3010267"/>
                <a:ext cx="57148" cy="57148"/>
                <a:chOff x="4469196" y="3010267"/>
                <a:chExt cx="57148" cy="57148"/>
              </a:xfrm>
            </p:grpSpPr>
            <p:sp>
              <p:nvSpPr>
                <p:cNvPr id="2015" name="Freeform 2013">
                  <a:extLst>
                    <a:ext uri="{FF2B5EF4-FFF2-40B4-BE49-F238E27FC236}">
                      <a16:creationId xmlns:a16="http://schemas.microsoft.com/office/drawing/2014/main" id="{6131B95A-9DDF-9670-3D77-730D14FE64EE}"/>
                    </a:ext>
                  </a:extLst>
                </p:cNvPr>
                <p:cNvSpPr/>
                <p:nvPr/>
              </p:nvSpPr>
              <p:spPr>
                <a:xfrm>
                  <a:off x="4469196" y="3038841"/>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016" name="Freeform 2014">
                  <a:extLst>
                    <a:ext uri="{FF2B5EF4-FFF2-40B4-BE49-F238E27FC236}">
                      <a16:creationId xmlns:a16="http://schemas.microsoft.com/office/drawing/2014/main" id="{0AFF6125-B8CD-6448-F196-3323B8E52157}"/>
                    </a:ext>
                  </a:extLst>
                </p:cNvPr>
                <p:cNvSpPr/>
                <p:nvPr/>
              </p:nvSpPr>
              <p:spPr>
                <a:xfrm>
                  <a:off x="4497770" y="3010267"/>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sp>
          <p:nvSpPr>
            <p:cNvPr id="1638" name="Freeform 1636">
              <a:extLst>
                <a:ext uri="{FF2B5EF4-FFF2-40B4-BE49-F238E27FC236}">
                  <a16:creationId xmlns:a16="http://schemas.microsoft.com/office/drawing/2014/main" id="{14D08561-677D-F2F3-5E67-384C6790A69B}"/>
                </a:ext>
              </a:extLst>
            </p:cNvPr>
            <p:cNvSpPr/>
            <p:nvPr/>
          </p:nvSpPr>
          <p:spPr>
            <a:xfrm>
              <a:off x="1189210" y="2320822"/>
              <a:ext cx="136521" cy="12699"/>
            </a:xfrm>
            <a:custGeom>
              <a:avLst/>
              <a:gdLst>
                <a:gd name="csX0" fmla="*/ 0 w 136521"/>
                <a:gd name="csY0" fmla="*/ 0 h 12699"/>
                <a:gd name="csX1" fmla="*/ 136522 w 136521"/>
                <a:gd name="csY1" fmla="*/ 0 h 12699"/>
              </a:gdLst>
              <a:ahLst/>
              <a:cxnLst>
                <a:cxn ang="0">
                  <a:pos x="csX0" y="csY0"/>
                </a:cxn>
                <a:cxn ang="0">
                  <a:pos x="csX1" y="csY1"/>
                </a:cxn>
              </a:cxnLst>
              <a:rect l="l" t="t" r="r" b="b"/>
              <a:pathLst>
                <a:path w="136521" h="12699">
                  <a:moveTo>
                    <a:pt x="0" y="0"/>
                  </a:moveTo>
                  <a:lnTo>
                    <a:pt x="136522" y="0"/>
                  </a:lnTo>
                </a:path>
              </a:pathLst>
            </a:custGeom>
            <a:ln w="19035"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nvGrpSpPr>
            <p:cNvPr id="1639" name="Graphic 2">
              <a:extLst>
                <a:ext uri="{FF2B5EF4-FFF2-40B4-BE49-F238E27FC236}">
                  <a16:creationId xmlns:a16="http://schemas.microsoft.com/office/drawing/2014/main" id="{77740F4D-BF38-B055-42E7-F5ACC50C41A2}"/>
                </a:ext>
              </a:extLst>
            </p:cNvPr>
            <p:cNvGrpSpPr/>
            <p:nvPr/>
          </p:nvGrpSpPr>
          <p:grpSpPr>
            <a:xfrm>
              <a:off x="1224134" y="1430574"/>
              <a:ext cx="3212133" cy="857991"/>
              <a:chOff x="2729084" y="2585335"/>
              <a:chExt cx="3212133" cy="857991"/>
            </a:xfrm>
          </p:grpSpPr>
          <p:grpSp>
            <p:nvGrpSpPr>
              <p:cNvPr id="1939" name="Graphic 2">
                <a:extLst>
                  <a:ext uri="{FF2B5EF4-FFF2-40B4-BE49-F238E27FC236}">
                    <a16:creationId xmlns:a16="http://schemas.microsoft.com/office/drawing/2014/main" id="{C4F335C1-BED2-E354-8E44-DE6C5DEE202F}"/>
                  </a:ext>
                </a:extLst>
              </p:cNvPr>
              <p:cNvGrpSpPr/>
              <p:nvPr/>
            </p:nvGrpSpPr>
            <p:grpSpPr>
              <a:xfrm>
                <a:off x="3763474" y="3053954"/>
                <a:ext cx="57148" cy="57148"/>
                <a:chOff x="3763474" y="3053954"/>
                <a:chExt cx="57148" cy="57148"/>
              </a:xfrm>
            </p:grpSpPr>
            <p:sp>
              <p:nvSpPr>
                <p:cNvPr id="2000" name="Freeform 1998">
                  <a:extLst>
                    <a:ext uri="{FF2B5EF4-FFF2-40B4-BE49-F238E27FC236}">
                      <a16:creationId xmlns:a16="http://schemas.microsoft.com/office/drawing/2014/main" id="{18AAF5CD-89DF-C402-AECA-EBD0A9854EB4}"/>
                    </a:ext>
                  </a:extLst>
                </p:cNvPr>
                <p:cNvSpPr/>
                <p:nvPr/>
              </p:nvSpPr>
              <p:spPr>
                <a:xfrm>
                  <a:off x="3763474" y="3082528"/>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2001" name="Freeform 1999">
                  <a:extLst>
                    <a:ext uri="{FF2B5EF4-FFF2-40B4-BE49-F238E27FC236}">
                      <a16:creationId xmlns:a16="http://schemas.microsoft.com/office/drawing/2014/main" id="{924A0FCD-0472-FBFF-22CC-381E7182AD08}"/>
                    </a:ext>
                  </a:extLst>
                </p:cNvPr>
                <p:cNvSpPr/>
                <p:nvPr/>
              </p:nvSpPr>
              <p:spPr>
                <a:xfrm>
                  <a:off x="3792048" y="3053954"/>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940" name="Graphic 2">
                <a:extLst>
                  <a:ext uri="{FF2B5EF4-FFF2-40B4-BE49-F238E27FC236}">
                    <a16:creationId xmlns:a16="http://schemas.microsoft.com/office/drawing/2014/main" id="{13E4915A-246C-B04D-6081-EBCD4D589293}"/>
                  </a:ext>
                </a:extLst>
              </p:cNvPr>
              <p:cNvGrpSpPr/>
              <p:nvPr/>
            </p:nvGrpSpPr>
            <p:grpSpPr>
              <a:xfrm>
                <a:off x="3039338" y="2744081"/>
                <a:ext cx="57148" cy="57148"/>
                <a:chOff x="3039338" y="2744081"/>
                <a:chExt cx="57148" cy="57148"/>
              </a:xfrm>
            </p:grpSpPr>
            <p:sp>
              <p:nvSpPr>
                <p:cNvPr id="1998" name="Freeform 1996">
                  <a:extLst>
                    <a:ext uri="{FF2B5EF4-FFF2-40B4-BE49-F238E27FC236}">
                      <a16:creationId xmlns:a16="http://schemas.microsoft.com/office/drawing/2014/main" id="{E8E84C22-8155-90D6-3B07-CC6551253CF2}"/>
                    </a:ext>
                  </a:extLst>
                </p:cNvPr>
                <p:cNvSpPr/>
                <p:nvPr/>
              </p:nvSpPr>
              <p:spPr>
                <a:xfrm>
                  <a:off x="3039338" y="2772655"/>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99" name="Freeform 1997">
                  <a:extLst>
                    <a:ext uri="{FF2B5EF4-FFF2-40B4-BE49-F238E27FC236}">
                      <a16:creationId xmlns:a16="http://schemas.microsoft.com/office/drawing/2014/main" id="{C7C85A20-DC69-86CB-0AFC-2A0A5D4732AA}"/>
                    </a:ext>
                  </a:extLst>
                </p:cNvPr>
                <p:cNvSpPr/>
                <p:nvPr/>
              </p:nvSpPr>
              <p:spPr>
                <a:xfrm>
                  <a:off x="3067912" y="2744081"/>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941" name="Graphic 2">
                <a:extLst>
                  <a:ext uri="{FF2B5EF4-FFF2-40B4-BE49-F238E27FC236}">
                    <a16:creationId xmlns:a16="http://schemas.microsoft.com/office/drawing/2014/main" id="{B0DA32F5-D7C9-696D-DC9D-E91CFB8068F9}"/>
                  </a:ext>
                </a:extLst>
              </p:cNvPr>
              <p:cNvGrpSpPr/>
              <p:nvPr/>
            </p:nvGrpSpPr>
            <p:grpSpPr>
              <a:xfrm>
                <a:off x="2729084" y="2585335"/>
                <a:ext cx="57148" cy="57148"/>
                <a:chOff x="2729084" y="2585335"/>
                <a:chExt cx="57148" cy="57148"/>
              </a:xfrm>
            </p:grpSpPr>
            <p:sp>
              <p:nvSpPr>
                <p:cNvPr id="1996" name="Freeform 1994">
                  <a:extLst>
                    <a:ext uri="{FF2B5EF4-FFF2-40B4-BE49-F238E27FC236}">
                      <a16:creationId xmlns:a16="http://schemas.microsoft.com/office/drawing/2014/main" id="{44A9C9DE-D083-C304-4D17-C29F61FA2E6F}"/>
                    </a:ext>
                  </a:extLst>
                </p:cNvPr>
                <p:cNvSpPr/>
                <p:nvPr/>
              </p:nvSpPr>
              <p:spPr>
                <a:xfrm>
                  <a:off x="2729084" y="2613909"/>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97" name="Freeform 1995">
                  <a:extLst>
                    <a:ext uri="{FF2B5EF4-FFF2-40B4-BE49-F238E27FC236}">
                      <a16:creationId xmlns:a16="http://schemas.microsoft.com/office/drawing/2014/main" id="{586A1F51-CDB1-131F-EB44-00F0B9B6226D}"/>
                    </a:ext>
                  </a:extLst>
                </p:cNvPr>
                <p:cNvSpPr/>
                <p:nvPr/>
              </p:nvSpPr>
              <p:spPr>
                <a:xfrm>
                  <a:off x="2757658" y="2585335"/>
                  <a:ext cx="12699" cy="57148"/>
                </a:xfrm>
                <a:custGeom>
                  <a:avLst/>
                  <a:gdLst>
                    <a:gd name="csX0" fmla="*/ 0 w 12699"/>
                    <a:gd name="csY0" fmla="*/ 57149 h 57148"/>
                    <a:gd name="csX1" fmla="*/ 0 w 12699"/>
                    <a:gd name="csY1" fmla="*/ 0 h 57148"/>
                  </a:gdLst>
                  <a:ahLst/>
                  <a:cxnLst>
                    <a:cxn ang="0">
                      <a:pos x="csX0" y="csY0"/>
                    </a:cxn>
                    <a:cxn ang="0">
                      <a:pos x="csX1" y="csY1"/>
                    </a:cxn>
                  </a:cxnLst>
                  <a:rect l="l" t="t" r="r" b="b"/>
                  <a:pathLst>
                    <a:path w="12699" h="57148">
                      <a:moveTo>
                        <a:pt x="0" y="57149"/>
                      </a:moveTo>
                      <a:lnTo>
                        <a:pt x="0"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942" name="Graphic 2">
                <a:extLst>
                  <a:ext uri="{FF2B5EF4-FFF2-40B4-BE49-F238E27FC236}">
                    <a16:creationId xmlns:a16="http://schemas.microsoft.com/office/drawing/2014/main" id="{C4FBE595-D782-2068-BD0E-AF067D12AFF3}"/>
                  </a:ext>
                </a:extLst>
              </p:cNvPr>
              <p:cNvGrpSpPr/>
              <p:nvPr/>
            </p:nvGrpSpPr>
            <p:grpSpPr>
              <a:xfrm>
                <a:off x="4271208" y="3083163"/>
                <a:ext cx="57148" cy="57148"/>
                <a:chOff x="4271208" y="3083163"/>
                <a:chExt cx="57148" cy="57148"/>
              </a:xfrm>
            </p:grpSpPr>
            <p:sp>
              <p:nvSpPr>
                <p:cNvPr id="1994" name="Freeform 1992">
                  <a:extLst>
                    <a:ext uri="{FF2B5EF4-FFF2-40B4-BE49-F238E27FC236}">
                      <a16:creationId xmlns:a16="http://schemas.microsoft.com/office/drawing/2014/main" id="{7ED43F09-C5D9-A809-086C-0560AD53BD7F}"/>
                    </a:ext>
                  </a:extLst>
                </p:cNvPr>
                <p:cNvSpPr/>
                <p:nvPr/>
              </p:nvSpPr>
              <p:spPr>
                <a:xfrm>
                  <a:off x="4271208" y="3111737"/>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95" name="Freeform 1993">
                  <a:extLst>
                    <a:ext uri="{FF2B5EF4-FFF2-40B4-BE49-F238E27FC236}">
                      <a16:creationId xmlns:a16="http://schemas.microsoft.com/office/drawing/2014/main" id="{9EDDA21A-62D4-78A1-3DCC-2BC5FBCF8242}"/>
                    </a:ext>
                  </a:extLst>
                </p:cNvPr>
                <p:cNvSpPr/>
                <p:nvPr/>
              </p:nvSpPr>
              <p:spPr>
                <a:xfrm>
                  <a:off x="4299782" y="3083163"/>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943" name="Graphic 2">
                <a:extLst>
                  <a:ext uri="{FF2B5EF4-FFF2-40B4-BE49-F238E27FC236}">
                    <a16:creationId xmlns:a16="http://schemas.microsoft.com/office/drawing/2014/main" id="{FA6EBDCE-4503-A95C-4F1F-F7561B0979F0}"/>
                  </a:ext>
                </a:extLst>
              </p:cNvPr>
              <p:cNvGrpSpPr/>
              <p:nvPr/>
            </p:nvGrpSpPr>
            <p:grpSpPr>
              <a:xfrm>
                <a:off x="4360233" y="3083163"/>
                <a:ext cx="57148" cy="57148"/>
                <a:chOff x="4360233" y="3083163"/>
                <a:chExt cx="57148" cy="57148"/>
              </a:xfrm>
            </p:grpSpPr>
            <p:sp>
              <p:nvSpPr>
                <p:cNvPr id="1992" name="Freeform 1990">
                  <a:extLst>
                    <a:ext uri="{FF2B5EF4-FFF2-40B4-BE49-F238E27FC236}">
                      <a16:creationId xmlns:a16="http://schemas.microsoft.com/office/drawing/2014/main" id="{D267AAAB-E7FC-8C56-3405-2C4DCE4788F3}"/>
                    </a:ext>
                  </a:extLst>
                </p:cNvPr>
                <p:cNvSpPr/>
                <p:nvPr/>
              </p:nvSpPr>
              <p:spPr>
                <a:xfrm>
                  <a:off x="4360233" y="3111737"/>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93" name="Freeform 1991">
                  <a:extLst>
                    <a:ext uri="{FF2B5EF4-FFF2-40B4-BE49-F238E27FC236}">
                      <a16:creationId xmlns:a16="http://schemas.microsoft.com/office/drawing/2014/main" id="{1FFD9627-F719-A633-2F1A-A6E7C5A72CE6}"/>
                    </a:ext>
                  </a:extLst>
                </p:cNvPr>
                <p:cNvSpPr/>
                <p:nvPr/>
              </p:nvSpPr>
              <p:spPr>
                <a:xfrm>
                  <a:off x="4388807" y="3083163"/>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944" name="Graphic 2">
                <a:extLst>
                  <a:ext uri="{FF2B5EF4-FFF2-40B4-BE49-F238E27FC236}">
                    <a16:creationId xmlns:a16="http://schemas.microsoft.com/office/drawing/2014/main" id="{C3E3C046-AA3F-A1D8-35B0-C761EF65F126}"/>
                  </a:ext>
                </a:extLst>
              </p:cNvPr>
              <p:cNvGrpSpPr/>
              <p:nvPr/>
            </p:nvGrpSpPr>
            <p:grpSpPr>
              <a:xfrm>
                <a:off x="4474530" y="3083163"/>
                <a:ext cx="57148" cy="57148"/>
                <a:chOff x="4474530" y="3083163"/>
                <a:chExt cx="57148" cy="57148"/>
              </a:xfrm>
            </p:grpSpPr>
            <p:sp>
              <p:nvSpPr>
                <p:cNvPr id="1990" name="Freeform 1988">
                  <a:extLst>
                    <a:ext uri="{FF2B5EF4-FFF2-40B4-BE49-F238E27FC236}">
                      <a16:creationId xmlns:a16="http://schemas.microsoft.com/office/drawing/2014/main" id="{FC019E45-6155-448E-BBD0-6BF1C591837F}"/>
                    </a:ext>
                  </a:extLst>
                </p:cNvPr>
                <p:cNvSpPr/>
                <p:nvPr/>
              </p:nvSpPr>
              <p:spPr>
                <a:xfrm>
                  <a:off x="4474530" y="3111737"/>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91" name="Freeform 1989">
                  <a:extLst>
                    <a:ext uri="{FF2B5EF4-FFF2-40B4-BE49-F238E27FC236}">
                      <a16:creationId xmlns:a16="http://schemas.microsoft.com/office/drawing/2014/main" id="{3839AD39-A329-B509-3A0A-E636501208B5}"/>
                    </a:ext>
                  </a:extLst>
                </p:cNvPr>
                <p:cNvSpPr/>
                <p:nvPr/>
              </p:nvSpPr>
              <p:spPr>
                <a:xfrm>
                  <a:off x="4503104" y="3083163"/>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945" name="Graphic 2">
                <a:extLst>
                  <a:ext uri="{FF2B5EF4-FFF2-40B4-BE49-F238E27FC236}">
                    <a16:creationId xmlns:a16="http://schemas.microsoft.com/office/drawing/2014/main" id="{EDFC8D11-0004-DC3F-BCF0-C9A6C75624BF}"/>
                  </a:ext>
                </a:extLst>
              </p:cNvPr>
              <p:cNvGrpSpPr/>
              <p:nvPr/>
            </p:nvGrpSpPr>
            <p:grpSpPr>
              <a:xfrm>
                <a:off x="4480753" y="3083163"/>
                <a:ext cx="57148" cy="57148"/>
                <a:chOff x="4480753" y="3083163"/>
                <a:chExt cx="57148" cy="57148"/>
              </a:xfrm>
            </p:grpSpPr>
            <p:sp>
              <p:nvSpPr>
                <p:cNvPr id="1988" name="Freeform 1986">
                  <a:extLst>
                    <a:ext uri="{FF2B5EF4-FFF2-40B4-BE49-F238E27FC236}">
                      <a16:creationId xmlns:a16="http://schemas.microsoft.com/office/drawing/2014/main" id="{B266FDBB-430E-491F-44C4-BE78CE9012A8}"/>
                    </a:ext>
                  </a:extLst>
                </p:cNvPr>
                <p:cNvSpPr/>
                <p:nvPr/>
              </p:nvSpPr>
              <p:spPr>
                <a:xfrm>
                  <a:off x="4480753" y="3111737"/>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89" name="Freeform 1987">
                  <a:extLst>
                    <a:ext uri="{FF2B5EF4-FFF2-40B4-BE49-F238E27FC236}">
                      <a16:creationId xmlns:a16="http://schemas.microsoft.com/office/drawing/2014/main" id="{B374C120-AB5A-1A59-65AD-FA1C9532CFA8}"/>
                    </a:ext>
                  </a:extLst>
                </p:cNvPr>
                <p:cNvSpPr/>
                <p:nvPr/>
              </p:nvSpPr>
              <p:spPr>
                <a:xfrm>
                  <a:off x="4509327" y="3083163"/>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946" name="Graphic 2">
                <a:extLst>
                  <a:ext uri="{FF2B5EF4-FFF2-40B4-BE49-F238E27FC236}">
                    <a16:creationId xmlns:a16="http://schemas.microsoft.com/office/drawing/2014/main" id="{AF30FE14-F3DD-0B85-E071-5753E5EBA568}"/>
                  </a:ext>
                </a:extLst>
              </p:cNvPr>
              <p:cNvGrpSpPr/>
              <p:nvPr/>
            </p:nvGrpSpPr>
            <p:grpSpPr>
              <a:xfrm>
                <a:off x="4588700" y="3118468"/>
                <a:ext cx="57148" cy="57148"/>
                <a:chOff x="4588700" y="3118468"/>
                <a:chExt cx="57148" cy="57148"/>
              </a:xfrm>
            </p:grpSpPr>
            <p:sp>
              <p:nvSpPr>
                <p:cNvPr id="1986" name="Freeform 1984">
                  <a:extLst>
                    <a:ext uri="{FF2B5EF4-FFF2-40B4-BE49-F238E27FC236}">
                      <a16:creationId xmlns:a16="http://schemas.microsoft.com/office/drawing/2014/main" id="{1E04AF13-EF43-B08D-4FEE-8C7A0935FC79}"/>
                    </a:ext>
                  </a:extLst>
                </p:cNvPr>
                <p:cNvSpPr/>
                <p:nvPr/>
              </p:nvSpPr>
              <p:spPr>
                <a:xfrm>
                  <a:off x="4588700" y="3147042"/>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87" name="Freeform 1985">
                  <a:extLst>
                    <a:ext uri="{FF2B5EF4-FFF2-40B4-BE49-F238E27FC236}">
                      <a16:creationId xmlns:a16="http://schemas.microsoft.com/office/drawing/2014/main" id="{7210CCAE-1900-250F-84A4-0E3D7CE8291C}"/>
                    </a:ext>
                  </a:extLst>
                </p:cNvPr>
                <p:cNvSpPr/>
                <p:nvPr/>
              </p:nvSpPr>
              <p:spPr>
                <a:xfrm>
                  <a:off x="4617274" y="3118468"/>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947" name="Graphic 2">
                <a:extLst>
                  <a:ext uri="{FF2B5EF4-FFF2-40B4-BE49-F238E27FC236}">
                    <a16:creationId xmlns:a16="http://schemas.microsoft.com/office/drawing/2014/main" id="{C0E2784E-C1E2-AFDD-79F8-85203AD088AF}"/>
                  </a:ext>
                </a:extLst>
              </p:cNvPr>
              <p:cNvGrpSpPr/>
              <p:nvPr/>
            </p:nvGrpSpPr>
            <p:grpSpPr>
              <a:xfrm>
                <a:off x="4639499" y="3118468"/>
                <a:ext cx="57148" cy="57148"/>
                <a:chOff x="4639499" y="3118468"/>
                <a:chExt cx="57148" cy="57148"/>
              </a:xfrm>
            </p:grpSpPr>
            <p:sp>
              <p:nvSpPr>
                <p:cNvPr id="1984" name="Freeform 1982">
                  <a:extLst>
                    <a:ext uri="{FF2B5EF4-FFF2-40B4-BE49-F238E27FC236}">
                      <a16:creationId xmlns:a16="http://schemas.microsoft.com/office/drawing/2014/main" id="{66F0F329-06B6-404E-7DAA-71947A580690}"/>
                    </a:ext>
                  </a:extLst>
                </p:cNvPr>
                <p:cNvSpPr/>
                <p:nvPr/>
              </p:nvSpPr>
              <p:spPr>
                <a:xfrm>
                  <a:off x="4639499" y="3147042"/>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85" name="Freeform 1983">
                  <a:extLst>
                    <a:ext uri="{FF2B5EF4-FFF2-40B4-BE49-F238E27FC236}">
                      <a16:creationId xmlns:a16="http://schemas.microsoft.com/office/drawing/2014/main" id="{406ABC5D-BCE3-2C09-BB71-43BBA9AA5E8D}"/>
                    </a:ext>
                  </a:extLst>
                </p:cNvPr>
                <p:cNvSpPr/>
                <p:nvPr/>
              </p:nvSpPr>
              <p:spPr>
                <a:xfrm>
                  <a:off x="4668073" y="3118468"/>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948" name="Graphic 2">
                <a:extLst>
                  <a:ext uri="{FF2B5EF4-FFF2-40B4-BE49-F238E27FC236}">
                    <a16:creationId xmlns:a16="http://schemas.microsoft.com/office/drawing/2014/main" id="{8DDA0F90-F0E4-0EFE-7B2B-7196D4A4AB38}"/>
                  </a:ext>
                </a:extLst>
              </p:cNvPr>
              <p:cNvGrpSpPr/>
              <p:nvPr/>
            </p:nvGrpSpPr>
            <p:grpSpPr>
              <a:xfrm>
                <a:off x="4664898" y="3118468"/>
                <a:ext cx="57148" cy="57148"/>
                <a:chOff x="4664898" y="3118468"/>
                <a:chExt cx="57148" cy="57148"/>
              </a:xfrm>
            </p:grpSpPr>
            <p:sp>
              <p:nvSpPr>
                <p:cNvPr id="1982" name="Freeform 1980">
                  <a:extLst>
                    <a:ext uri="{FF2B5EF4-FFF2-40B4-BE49-F238E27FC236}">
                      <a16:creationId xmlns:a16="http://schemas.microsoft.com/office/drawing/2014/main" id="{D84DC572-01FA-6344-2309-17D053F83BE8}"/>
                    </a:ext>
                  </a:extLst>
                </p:cNvPr>
                <p:cNvSpPr/>
                <p:nvPr/>
              </p:nvSpPr>
              <p:spPr>
                <a:xfrm>
                  <a:off x="4664898" y="3147042"/>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83" name="Freeform 1981">
                  <a:extLst>
                    <a:ext uri="{FF2B5EF4-FFF2-40B4-BE49-F238E27FC236}">
                      <a16:creationId xmlns:a16="http://schemas.microsoft.com/office/drawing/2014/main" id="{F0E0B1FC-2383-4EDE-8629-E99295143D65}"/>
                    </a:ext>
                  </a:extLst>
                </p:cNvPr>
                <p:cNvSpPr/>
                <p:nvPr/>
              </p:nvSpPr>
              <p:spPr>
                <a:xfrm>
                  <a:off x="4693472" y="3118468"/>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949" name="Graphic 2">
                <a:extLst>
                  <a:ext uri="{FF2B5EF4-FFF2-40B4-BE49-F238E27FC236}">
                    <a16:creationId xmlns:a16="http://schemas.microsoft.com/office/drawing/2014/main" id="{2A8F8A33-DB90-5E3A-EE1E-1E57B066F0D9}"/>
                  </a:ext>
                </a:extLst>
              </p:cNvPr>
              <p:cNvGrpSpPr/>
              <p:nvPr/>
            </p:nvGrpSpPr>
            <p:grpSpPr>
              <a:xfrm>
                <a:off x="4690171" y="3118468"/>
                <a:ext cx="57148" cy="57148"/>
                <a:chOff x="4690171" y="3118468"/>
                <a:chExt cx="57148" cy="57148"/>
              </a:xfrm>
            </p:grpSpPr>
            <p:sp>
              <p:nvSpPr>
                <p:cNvPr id="1980" name="Freeform 1978">
                  <a:extLst>
                    <a:ext uri="{FF2B5EF4-FFF2-40B4-BE49-F238E27FC236}">
                      <a16:creationId xmlns:a16="http://schemas.microsoft.com/office/drawing/2014/main" id="{96F80A42-22BA-378C-8F8F-9F116D5472BD}"/>
                    </a:ext>
                  </a:extLst>
                </p:cNvPr>
                <p:cNvSpPr/>
                <p:nvPr/>
              </p:nvSpPr>
              <p:spPr>
                <a:xfrm>
                  <a:off x="4690171" y="3147042"/>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81" name="Freeform 1979">
                  <a:extLst>
                    <a:ext uri="{FF2B5EF4-FFF2-40B4-BE49-F238E27FC236}">
                      <a16:creationId xmlns:a16="http://schemas.microsoft.com/office/drawing/2014/main" id="{8AED45BE-65F0-A215-F68E-04200F38297D}"/>
                    </a:ext>
                  </a:extLst>
                </p:cNvPr>
                <p:cNvSpPr/>
                <p:nvPr/>
              </p:nvSpPr>
              <p:spPr>
                <a:xfrm>
                  <a:off x="4718745" y="3118468"/>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950" name="Graphic 2">
                <a:extLst>
                  <a:ext uri="{FF2B5EF4-FFF2-40B4-BE49-F238E27FC236}">
                    <a16:creationId xmlns:a16="http://schemas.microsoft.com/office/drawing/2014/main" id="{0A921575-BC76-D685-0064-50A21D1800EE}"/>
                  </a:ext>
                </a:extLst>
              </p:cNvPr>
              <p:cNvGrpSpPr/>
              <p:nvPr/>
            </p:nvGrpSpPr>
            <p:grpSpPr>
              <a:xfrm>
                <a:off x="4709347" y="3118468"/>
                <a:ext cx="57148" cy="57148"/>
                <a:chOff x="4709347" y="3118468"/>
                <a:chExt cx="57148" cy="57148"/>
              </a:xfrm>
            </p:grpSpPr>
            <p:sp>
              <p:nvSpPr>
                <p:cNvPr id="1978" name="Freeform 1976">
                  <a:extLst>
                    <a:ext uri="{FF2B5EF4-FFF2-40B4-BE49-F238E27FC236}">
                      <a16:creationId xmlns:a16="http://schemas.microsoft.com/office/drawing/2014/main" id="{C70AA03C-2BC3-C063-7971-9B2C3E3B6E2D}"/>
                    </a:ext>
                  </a:extLst>
                </p:cNvPr>
                <p:cNvSpPr/>
                <p:nvPr/>
              </p:nvSpPr>
              <p:spPr>
                <a:xfrm>
                  <a:off x="4709347" y="3147042"/>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79" name="Freeform 1977">
                  <a:extLst>
                    <a:ext uri="{FF2B5EF4-FFF2-40B4-BE49-F238E27FC236}">
                      <a16:creationId xmlns:a16="http://schemas.microsoft.com/office/drawing/2014/main" id="{2FE739DD-67E5-3FF0-F352-B0EB218E0661}"/>
                    </a:ext>
                  </a:extLst>
                </p:cNvPr>
                <p:cNvSpPr/>
                <p:nvPr/>
              </p:nvSpPr>
              <p:spPr>
                <a:xfrm>
                  <a:off x="4737921" y="3118468"/>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951" name="Graphic 2">
                <a:extLst>
                  <a:ext uri="{FF2B5EF4-FFF2-40B4-BE49-F238E27FC236}">
                    <a16:creationId xmlns:a16="http://schemas.microsoft.com/office/drawing/2014/main" id="{E4A9FA46-7644-C090-F7C7-57250771DFB9}"/>
                  </a:ext>
                </a:extLst>
              </p:cNvPr>
              <p:cNvGrpSpPr/>
              <p:nvPr/>
            </p:nvGrpSpPr>
            <p:grpSpPr>
              <a:xfrm>
                <a:off x="4785545" y="3118468"/>
                <a:ext cx="57148" cy="57148"/>
                <a:chOff x="4785545" y="3118468"/>
                <a:chExt cx="57148" cy="57148"/>
              </a:xfrm>
            </p:grpSpPr>
            <p:sp>
              <p:nvSpPr>
                <p:cNvPr id="1976" name="Freeform 1974">
                  <a:extLst>
                    <a:ext uri="{FF2B5EF4-FFF2-40B4-BE49-F238E27FC236}">
                      <a16:creationId xmlns:a16="http://schemas.microsoft.com/office/drawing/2014/main" id="{AE79CE23-2938-C797-72DF-02591FA4A9C3}"/>
                    </a:ext>
                  </a:extLst>
                </p:cNvPr>
                <p:cNvSpPr/>
                <p:nvPr/>
              </p:nvSpPr>
              <p:spPr>
                <a:xfrm>
                  <a:off x="4785545" y="3147042"/>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77" name="Freeform 1975">
                  <a:extLst>
                    <a:ext uri="{FF2B5EF4-FFF2-40B4-BE49-F238E27FC236}">
                      <a16:creationId xmlns:a16="http://schemas.microsoft.com/office/drawing/2014/main" id="{1A2DD111-40FA-62BE-060D-C58056BFA6E9}"/>
                    </a:ext>
                  </a:extLst>
                </p:cNvPr>
                <p:cNvSpPr/>
                <p:nvPr/>
              </p:nvSpPr>
              <p:spPr>
                <a:xfrm>
                  <a:off x="4814120" y="3118468"/>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952" name="Graphic 2">
                <a:extLst>
                  <a:ext uri="{FF2B5EF4-FFF2-40B4-BE49-F238E27FC236}">
                    <a16:creationId xmlns:a16="http://schemas.microsoft.com/office/drawing/2014/main" id="{4997D4D8-969A-5AC6-9394-FFA9BC2402ED}"/>
                  </a:ext>
                </a:extLst>
              </p:cNvPr>
              <p:cNvGrpSpPr/>
              <p:nvPr/>
            </p:nvGrpSpPr>
            <p:grpSpPr>
              <a:xfrm>
                <a:off x="5058589" y="3118468"/>
                <a:ext cx="57148" cy="57148"/>
                <a:chOff x="5058589" y="3118468"/>
                <a:chExt cx="57148" cy="57148"/>
              </a:xfrm>
            </p:grpSpPr>
            <p:sp>
              <p:nvSpPr>
                <p:cNvPr id="1974" name="Freeform 1972">
                  <a:extLst>
                    <a:ext uri="{FF2B5EF4-FFF2-40B4-BE49-F238E27FC236}">
                      <a16:creationId xmlns:a16="http://schemas.microsoft.com/office/drawing/2014/main" id="{13384957-54CE-E098-3FBB-4FD378F4AD0E}"/>
                    </a:ext>
                  </a:extLst>
                </p:cNvPr>
                <p:cNvSpPr/>
                <p:nvPr/>
              </p:nvSpPr>
              <p:spPr>
                <a:xfrm>
                  <a:off x="5058589" y="3147042"/>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75" name="Freeform 1973">
                  <a:extLst>
                    <a:ext uri="{FF2B5EF4-FFF2-40B4-BE49-F238E27FC236}">
                      <a16:creationId xmlns:a16="http://schemas.microsoft.com/office/drawing/2014/main" id="{3115BF7E-9D45-EFAF-7A99-E13DBF32C611}"/>
                    </a:ext>
                  </a:extLst>
                </p:cNvPr>
                <p:cNvSpPr/>
                <p:nvPr/>
              </p:nvSpPr>
              <p:spPr>
                <a:xfrm>
                  <a:off x="5087163" y="3118468"/>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953" name="Graphic 2">
                <a:extLst>
                  <a:ext uri="{FF2B5EF4-FFF2-40B4-BE49-F238E27FC236}">
                    <a16:creationId xmlns:a16="http://schemas.microsoft.com/office/drawing/2014/main" id="{23E2C11B-EAE7-2D4F-BCAA-C68298CB5D69}"/>
                  </a:ext>
                </a:extLst>
              </p:cNvPr>
              <p:cNvGrpSpPr/>
              <p:nvPr/>
            </p:nvGrpSpPr>
            <p:grpSpPr>
              <a:xfrm>
                <a:off x="5083988" y="3118468"/>
                <a:ext cx="57148" cy="57148"/>
                <a:chOff x="5083988" y="3118468"/>
                <a:chExt cx="57148" cy="57148"/>
              </a:xfrm>
            </p:grpSpPr>
            <p:sp>
              <p:nvSpPr>
                <p:cNvPr id="1972" name="Freeform 1970">
                  <a:extLst>
                    <a:ext uri="{FF2B5EF4-FFF2-40B4-BE49-F238E27FC236}">
                      <a16:creationId xmlns:a16="http://schemas.microsoft.com/office/drawing/2014/main" id="{1E47AAE9-76BD-1706-0A95-7C18177DE643}"/>
                    </a:ext>
                  </a:extLst>
                </p:cNvPr>
                <p:cNvSpPr/>
                <p:nvPr/>
              </p:nvSpPr>
              <p:spPr>
                <a:xfrm>
                  <a:off x="5083988" y="3147042"/>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73" name="Freeform 1971">
                  <a:extLst>
                    <a:ext uri="{FF2B5EF4-FFF2-40B4-BE49-F238E27FC236}">
                      <a16:creationId xmlns:a16="http://schemas.microsoft.com/office/drawing/2014/main" id="{B9DCC252-6BA4-D61A-1081-CA6DCEB5F62E}"/>
                    </a:ext>
                  </a:extLst>
                </p:cNvPr>
                <p:cNvSpPr/>
                <p:nvPr/>
              </p:nvSpPr>
              <p:spPr>
                <a:xfrm>
                  <a:off x="5112562" y="3118468"/>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954" name="Graphic 2">
                <a:extLst>
                  <a:ext uri="{FF2B5EF4-FFF2-40B4-BE49-F238E27FC236}">
                    <a16:creationId xmlns:a16="http://schemas.microsoft.com/office/drawing/2014/main" id="{ECFDA699-6D5B-1AC7-A9B7-E46E431A54CD}"/>
                  </a:ext>
                </a:extLst>
              </p:cNvPr>
              <p:cNvGrpSpPr/>
              <p:nvPr/>
            </p:nvGrpSpPr>
            <p:grpSpPr>
              <a:xfrm>
                <a:off x="5103038" y="3200762"/>
                <a:ext cx="57148" cy="57148"/>
                <a:chOff x="5103038" y="3200762"/>
                <a:chExt cx="57148" cy="57148"/>
              </a:xfrm>
            </p:grpSpPr>
            <p:sp>
              <p:nvSpPr>
                <p:cNvPr id="1970" name="Freeform 1968">
                  <a:extLst>
                    <a:ext uri="{FF2B5EF4-FFF2-40B4-BE49-F238E27FC236}">
                      <a16:creationId xmlns:a16="http://schemas.microsoft.com/office/drawing/2014/main" id="{F0728979-E4FF-BC19-8B2B-08E73AC07050}"/>
                    </a:ext>
                  </a:extLst>
                </p:cNvPr>
                <p:cNvSpPr/>
                <p:nvPr/>
              </p:nvSpPr>
              <p:spPr>
                <a:xfrm>
                  <a:off x="5103038" y="3229336"/>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71" name="Freeform 1969">
                  <a:extLst>
                    <a:ext uri="{FF2B5EF4-FFF2-40B4-BE49-F238E27FC236}">
                      <a16:creationId xmlns:a16="http://schemas.microsoft.com/office/drawing/2014/main" id="{A43D0402-C9AD-4B5E-F578-7797B2601110}"/>
                    </a:ext>
                  </a:extLst>
                </p:cNvPr>
                <p:cNvSpPr/>
                <p:nvPr/>
              </p:nvSpPr>
              <p:spPr>
                <a:xfrm>
                  <a:off x="5131612" y="3200762"/>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955" name="Graphic 2">
                <a:extLst>
                  <a:ext uri="{FF2B5EF4-FFF2-40B4-BE49-F238E27FC236}">
                    <a16:creationId xmlns:a16="http://schemas.microsoft.com/office/drawing/2014/main" id="{EB82FB18-30A4-76B6-7FDE-A905564B11E7}"/>
                  </a:ext>
                </a:extLst>
              </p:cNvPr>
              <p:cNvGrpSpPr/>
              <p:nvPr/>
            </p:nvGrpSpPr>
            <p:grpSpPr>
              <a:xfrm>
                <a:off x="5185586" y="3200762"/>
                <a:ext cx="57148" cy="57148"/>
                <a:chOff x="5185586" y="3200762"/>
                <a:chExt cx="57148" cy="57148"/>
              </a:xfrm>
            </p:grpSpPr>
            <p:sp>
              <p:nvSpPr>
                <p:cNvPr id="1968" name="Freeform 1966">
                  <a:extLst>
                    <a:ext uri="{FF2B5EF4-FFF2-40B4-BE49-F238E27FC236}">
                      <a16:creationId xmlns:a16="http://schemas.microsoft.com/office/drawing/2014/main" id="{6C6F8146-6293-149B-E097-5EE74976F62A}"/>
                    </a:ext>
                  </a:extLst>
                </p:cNvPr>
                <p:cNvSpPr/>
                <p:nvPr/>
              </p:nvSpPr>
              <p:spPr>
                <a:xfrm>
                  <a:off x="5185586" y="3229336"/>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69" name="Freeform 1967">
                  <a:extLst>
                    <a:ext uri="{FF2B5EF4-FFF2-40B4-BE49-F238E27FC236}">
                      <a16:creationId xmlns:a16="http://schemas.microsoft.com/office/drawing/2014/main" id="{00AA1BDB-0546-6C12-343D-7A8525025DD3}"/>
                    </a:ext>
                  </a:extLst>
                </p:cNvPr>
                <p:cNvSpPr/>
                <p:nvPr/>
              </p:nvSpPr>
              <p:spPr>
                <a:xfrm>
                  <a:off x="5214160" y="3200762"/>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956" name="Graphic 2">
                <a:extLst>
                  <a:ext uri="{FF2B5EF4-FFF2-40B4-BE49-F238E27FC236}">
                    <a16:creationId xmlns:a16="http://schemas.microsoft.com/office/drawing/2014/main" id="{F4F67217-6AC6-9BA3-6729-CBCB9109FCCE}"/>
                  </a:ext>
                </a:extLst>
              </p:cNvPr>
              <p:cNvGrpSpPr/>
              <p:nvPr/>
            </p:nvGrpSpPr>
            <p:grpSpPr>
              <a:xfrm>
                <a:off x="5210985" y="3200762"/>
                <a:ext cx="57148" cy="57148"/>
                <a:chOff x="5210985" y="3200762"/>
                <a:chExt cx="57148" cy="57148"/>
              </a:xfrm>
            </p:grpSpPr>
            <p:sp>
              <p:nvSpPr>
                <p:cNvPr id="1966" name="Freeform 1964">
                  <a:extLst>
                    <a:ext uri="{FF2B5EF4-FFF2-40B4-BE49-F238E27FC236}">
                      <a16:creationId xmlns:a16="http://schemas.microsoft.com/office/drawing/2014/main" id="{320326BF-C8F5-8533-681B-6314EC2D1A71}"/>
                    </a:ext>
                  </a:extLst>
                </p:cNvPr>
                <p:cNvSpPr/>
                <p:nvPr/>
              </p:nvSpPr>
              <p:spPr>
                <a:xfrm>
                  <a:off x="5210985" y="3229336"/>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67" name="Freeform 1965">
                  <a:extLst>
                    <a:ext uri="{FF2B5EF4-FFF2-40B4-BE49-F238E27FC236}">
                      <a16:creationId xmlns:a16="http://schemas.microsoft.com/office/drawing/2014/main" id="{86CF9863-76A6-9D19-4736-6FAFB5DEBDD4}"/>
                    </a:ext>
                  </a:extLst>
                </p:cNvPr>
                <p:cNvSpPr/>
                <p:nvPr/>
              </p:nvSpPr>
              <p:spPr>
                <a:xfrm>
                  <a:off x="5239559" y="3200762"/>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957" name="Graphic 2">
                <a:extLst>
                  <a:ext uri="{FF2B5EF4-FFF2-40B4-BE49-F238E27FC236}">
                    <a16:creationId xmlns:a16="http://schemas.microsoft.com/office/drawing/2014/main" id="{6C895E48-5D14-6430-CF78-98D2738021AD}"/>
                  </a:ext>
                </a:extLst>
              </p:cNvPr>
              <p:cNvGrpSpPr/>
              <p:nvPr/>
            </p:nvGrpSpPr>
            <p:grpSpPr>
              <a:xfrm>
                <a:off x="5318932" y="3200762"/>
                <a:ext cx="57148" cy="57148"/>
                <a:chOff x="5318932" y="3200762"/>
                <a:chExt cx="57148" cy="57148"/>
              </a:xfrm>
            </p:grpSpPr>
            <p:sp>
              <p:nvSpPr>
                <p:cNvPr id="1964" name="Freeform 1962">
                  <a:extLst>
                    <a:ext uri="{FF2B5EF4-FFF2-40B4-BE49-F238E27FC236}">
                      <a16:creationId xmlns:a16="http://schemas.microsoft.com/office/drawing/2014/main" id="{B72D25C3-7F27-5452-04FD-5C95A3B10C9D}"/>
                    </a:ext>
                  </a:extLst>
                </p:cNvPr>
                <p:cNvSpPr/>
                <p:nvPr/>
              </p:nvSpPr>
              <p:spPr>
                <a:xfrm>
                  <a:off x="5318932" y="3229336"/>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65" name="Freeform 1963">
                  <a:extLst>
                    <a:ext uri="{FF2B5EF4-FFF2-40B4-BE49-F238E27FC236}">
                      <a16:creationId xmlns:a16="http://schemas.microsoft.com/office/drawing/2014/main" id="{46095DE3-4384-88B3-5B28-E405806EDB95}"/>
                    </a:ext>
                  </a:extLst>
                </p:cNvPr>
                <p:cNvSpPr/>
                <p:nvPr/>
              </p:nvSpPr>
              <p:spPr>
                <a:xfrm>
                  <a:off x="5347507" y="3200762"/>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958" name="Graphic 2">
                <a:extLst>
                  <a:ext uri="{FF2B5EF4-FFF2-40B4-BE49-F238E27FC236}">
                    <a16:creationId xmlns:a16="http://schemas.microsoft.com/office/drawing/2014/main" id="{B80F4FF8-0E30-ED75-867A-13AA40240E9A}"/>
                  </a:ext>
                </a:extLst>
              </p:cNvPr>
              <p:cNvGrpSpPr/>
              <p:nvPr/>
            </p:nvGrpSpPr>
            <p:grpSpPr>
              <a:xfrm>
                <a:off x="5611025" y="3386178"/>
                <a:ext cx="57148" cy="57148"/>
                <a:chOff x="5611025" y="3386178"/>
                <a:chExt cx="57148" cy="57148"/>
              </a:xfrm>
            </p:grpSpPr>
            <p:sp>
              <p:nvSpPr>
                <p:cNvPr id="1962" name="Freeform 1960">
                  <a:extLst>
                    <a:ext uri="{FF2B5EF4-FFF2-40B4-BE49-F238E27FC236}">
                      <a16:creationId xmlns:a16="http://schemas.microsoft.com/office/drawing/2014/main" id="{22868D7B-0D33-5C08-384C-B270EA093F3A}"/>
                    </a:ext>
                  </a:extLst>
                </p:cNvPr>
                <p:cNvSpPr/>
                <p:nvPr/>
              </p:nvSpPr>
              <p:spPr>
                <a:xfrm>
                  <a:off x="5611025" y="3414752"/>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63" name="Freeform 1961">
                  <a:extLst>
                    <a:ext uri="{FF2B5EF4-FFF2-40B4-BE49-F238E27FC236}">
                      <a16:creationId xmlns:a16="http://schemas.microsoft.com/office/drawing/2014/main" id="{DBD0681D-20FA-B6BF-B33A-37FEFE7F3E7B}"/>
                    </a:ext>
                  </a:extLst>
                </p:cNvPr>
                <p:cNvSpPr/>
                <p:nvPr/>
              </p:nvSpPr>
              <p:spPr>
                <a:xfrm>
                  <a:off x="5639600" y="3386178"/>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959" name="Graphic 2">
                <a:extLst>
                  <a:ext uri="{FF2B5EF4-FFF2-40B4-BE49-F238E27FC236}">
                    <a16:creationId xmlns:a16="http://schemas.microsoft.com/office/drawing/2014/main" id="{D8F09D29-0795-D422-3B00-35B4AF035CEF}"/>
                  </a:ext>
                </a:extLst>
              </p:cNvPr>
              <p:cNvGrpSpPr/>
              <p:nvPr/>
            </p:nvGrpSpPr>
            <p:grpSpPr>
              <a:xfrm>
                <a:off x="5884069" y="3386178"/>
                <a:ext cx="57148" cy="57148"/>
                <a:chOff x="5884069" y="3386178"/>
                <a:chExt cx="57148" cy="57148"/>
              </a:xfrm>
            </p:grpSpPr>
            <p:sp>
              <p:nvSpPr>
                <p:cNvPr id="1960" name="Freeform 1958">
                  <a:extLst>
                    <a:ext uri="{FF2B5EF4-FFF2-40B4-BE49-F238E27FC236}">
                      <a16:creationId xmlns:a16="http://schemas.microsoft.com/office/drawing/2014/main" id="{AA395BFE-2F44-75FD-9999-A6BBD7E76DB4}"/>
                    </a:ext>
                  </a:extLst>
                </p:cNvPr>
                <p:cNvSpPr/>
                <p:nvPr/>
              </p:nvSpPr>
              <p:spPr>
                <a:xfrm>
                  <a:off x="5884069" y="3414752"/>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61" name="Freeform 1959">
                  <a:extLst>
                    <a:ext uri="{FF2B5EF4-FFF2-40B4-BE49-F238E27FC236}">
                      <a16:creationId xmlns:a16="http://schemas.microsoft.com/office/drawing/2014/main" id="{92732BA9-DC61-34CE-C32B-BED6CB8831B2}"/>
                    </a:ext>
                  </a:extLst>
                </p:cNvPr>
                <p:cNvSpPr/>
                <p:nvPr/>
              </p:nvSpPr>
              <p:spPr>
                <a:xfrm>
                  <a:off x="5912643" y="3386178"/>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sp>
          <p:nvSpPr>
            <p:cNvPr id="1640" name="Freeform 1638">
              <a:extLst>
                <a:ext uri="{FF2B5EF4-FFF2-40B4-BE49-F238E27FC236}">
                  <a16:creationId xmlns:a16="http://schemas.microsoft.com/office/drawing/2014/main" id="{15A26F07-6F75-D831-3424-EB4016897069}"/>
                </a:ext>
              </a:extLst>
            </p:cNvPr>
            <p:cNvSpPr/>
            <p:nvPr/>
          </p:nvSpPr>
          <p:spPr>
            <a:xfrm>
              <a:off x="1189210" y="2439183"/>
              <a:ext cx="136521" cy="12699"/>
            </a:xfrm>
            <a:custGeom>
              <a:avLst/>
              <a:gdLst>
                <a:gd name="csX0" fmla="*/ 0 w 136521"/>
                <a:gd name="csY0" fmla="*/ 0 h 12699"/>
                <a:gd name="csX1" fmla="*/ 136522 w 136521"/>
                <a:gd name="csY1" fmla="*/ 0 h 12699"/>
              </a:gdLst>
              <a:ahLst/>
              <a:cxnLst>
                <a:cxn ang="0">
                  <a:pos x="csX0" y="csY0"/>
                </a:cxn>
                <a:cxn ang="0">
                  <a:pos x="csX1" y="csY1"/>
                </a:cxn>
              </a:cxnLst>
              <a:rect l="l" t="t" r="r" b="b"/>
              <a:pathLst>
                <a:path w="136521" h="12699">
                  <a:moveTo>
                    <a:pt x="0" y="0"/>
                  </a:moveTo>
                  <a:lnTo>
                    <a:pt x="136522" y="0"/>
                  </a:lnTo>
                </a:path>
              </a:pathLst>
            </a:custGeom>
            <a:ln w="19035"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670" name="TextBox 1669">
              <a:extLst>
                <a:ext uri="{FF2B5EF4-FFF2-40B4-BE49-F238E27FC236}">
                  <a16:creationId xmlns:a16="http://schemas.microsoft.com/office/drawing/2014/main" id="{FB6E03D4-6261-919A-B77B-84159814F7B4}"/>
                </a:ext>
              </a:extLst>
            </p:cNvPr>
            <p:cNvSpPr txBox="1"/>
            <p:nvPr/>
          </p:nvSpPr>
          <p:spPr>
            <a:xfrm>
              <a:off x="2488131" y="1262310"/>
              <a:ext cx="1611755" cy="561481"/>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6" b="1" i="0" u="none" strike="noStrike" kern="1200" cap="none" spc="0" normalizeH="0" baseline="0" noProof="0" dirty="0">
                  <a:ln/>
                  <a:solidFill>
                    <a:srgbClr val="000000"/>
                  </a:solidFill>
                  <a:effectLst/>
                  <a:uLnTx/>
                  <a:uFillTx/>
                  <a:latin typeface="Arial" panose="020B0604020202020204"/>
                  <a:ea typeface="MS PGothic" panose="020B0600070205080204" pitchFamily="34" charset="-128"/>
                  <a:cs typeface="Arial"/>
                  <a:sym typeface="Arial"/>
                  <a:rtl val="0"/>
                </a:rPr>
                <a:t>36-month DOCR rate (95% CI):</a:t>
              </a:r>
              <a:br>
                <a:rPr kumimoji="0" lang="en-US" sz="1066" b="1" i="0" u="none" strike="noStrike" kern="1200" cap="none" spc="0" normalizeH="0" baseline="0" noProof="0" dirty="0">
                  <a:ln/>
                  <a:solidFill>
                    <a:srgbClr val="000000"/>
                  </a:solidFill>
                  <a:effectLst/>
                  <a:uLnTx/>
                  <a:uFillTx/>
                  <a:latin typeface="Arial" panose="020B0604020202020204"/>
                  <a:ea typeface="MS PGothic" panose="020B0600070205080204" pitchFamily="34" charset="-128"/>
                  <a:cs typeface="Arial"/>
                  <a:sym typeface="Arial"/>
                  <a:rtl val="0"/>
                </a:rPr>
              </a:br>
              <a:r>
                <a:rPr kumimoji="0" lang="en-US" sz="1066" b="0" i="0" u="none" strike="noStrike" kern="1200" cap="none" spc="0" normalizeH="0" baseline="0" noProof="0" dirty="0">
                  <a:ln/>
                  <a:solidFill>
                    <a:srgbClr val="544F4F"/>
                  </a:solidFill>
                  <a:effectLst/>
                  <a:uLnTx/>
                  <a:uFillTx/>
                  <a:latin typeface="Arial" panose="020B0604020202020204"/>
                  <a:ea typeface="MS PGothic" panose="020B0600070205080204" pitchFamily="34" charset="-128"/>
                  <a:cs typeface="Arial"/>
                  <a:sym typeface="Arial"/>
                  <a:rtl val="0"/>
                </a:rPr>
                <a:t>59.1% (38.5, 79.8)</a:t>
              </a:r>
            </a:p>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dirty="0">
                  <a:ln/>
                  <a:solidFill>
                    <a:srgbClr val="0B41CD"/>
                  </a:solidFill>
                  <a:effectLst/>
                  <a:uLnTx/>
                  <a:uFillTx/>
                  <a:latin typeface="Arial" panose="020B0604020202020204"/>
                  <a:ea typeface="MS PGothic" panose="020B0600070205080204" pitchFamily="34" charset="-128"/>
                  <a:cs typeface="Arial"/>
                  <a:sym typeface="Arial"/>
                  <a:rtl val="0"/>
                </a:rPr>
                <a:t>50.5% (35.5, 65.4)</a:t>
              </a:r>
            </a:p>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dirty="0">
                  <a:ln/>
                  <a:solidFill>
                    <a:srgbClr val="BC36F0"/>
                  </a:solidFill>
                  <a:effectLst/>
                  <a:uLnTx/>
                  <a:uFillTx/>
                  <a:latin typeface="Arial" panose="020B0604020202020204"/>
                  <a:ea typeface="MS PGothic" panose="020B0600070205080204" pitchFamily="34" charset="-128"/>
                  <a:cs typeface="Arial"/>
                  <a:sym typeface="Arial"/>
                  <a:rtl val="0"/>
                </a:rPr>
                <a:t>42.7% (22.0, 63.3)</a:t>
              </a:r>
              <a:r>
                <a:rPr kumimoji="0" lang="en-US" sz="1066" b="0" i="0" u="none" strike="noStrike" kern="1200" cap="none" spc="0" normalizeH="0" baseline="0" noProof="0" dirty="0">
                  <a:ln/>
                  <a:solidFill>
                    <a:srgbClr val="544F4F"/>
                  </a:solidFill>
                  <a:effectLst/>
                  <a:uLnTx/>
                  <a:uFillTx/>
                  <a:latin typeface="Arial" panose="020B0604020202020204"/>
                  <a:ea typeface="MS PGothic" panose="020B0600070205080204" pitchFamily="34" charset="-128"/>
                  <a:cs typeface="Arial"/>
                  <a:sym typeface="Arial"/>
                  <a:rtl val="0"/>
                </a:rPr>
                <a:t> </a:t>
              </a:r>
            </a:p>
          </p:txBody>
        </p:sp>
      </p:grpSp>
      <p:grpSp>
        <p:nvGrpSpPr>
          <p:cNvPr id="2180" name="Group 2179">
            <a:extLst>
              <a:ext uri="{FF2B5EF4-FFF2-40B4-BE49-F238E27FC236}">
                <a16:creationId xmlns:a16="http://schemas.microsoft.com/office/drawing/2014/main" id="{BEABE9AA-5701-0273-3B9B-D21E32B31A7C}"/>
              </a:ext>
            </a:extLst>
          </p:cNvPr>
          <p:cNvGrpSpPr/>
          <p:nvPr/>
        </p:nvGrpSpPr>
        <p:grpSpPr>
          <a:xfrm>
            <a:off x="6093324" y="1672403"/>
            <a:ext cx="5575798" cy="2642211"/>
            <a:chOff x="4569992" y="1254690"/>
            <a:chExt cx="4183139" cy="1982270"/>
          </a:xfrm>
        </p:grpSpPr>
        <p:grpSp>
          <p:nvGrpSpPr>
            <p:cNvPr id="1641" name="Graphic 2">
              <a:extLst>
                <a:ext uri="{FF2B5EF4-FFF2-40B4-BE49-F238E27FC236}">
                  <a16:creationId xmlns:a16="http://schemas.microsoft.com/office/drawing/2014/main" id="{42104660-4693-135D-BBE6-3DBBE577B9BE}"/>
                </a:ext>
              </a:extLst>
            </p:cNvPr>
            <p:cNvGrpSpPr/>
            <p:nvPr/>
          </p:nvGrpSpPr>
          <p:grpSpPr>
            <a:xfrm>
              <a:off x="5054218" y="1276946"/>
              <a:ext cx="290072" cy="1421548"/>
              <a:chOff x="6594093" y="2434247"/>
              <a:chExt cx="290072" cy="1421548"/>
            </a:xfrm>
            <a:solidFill>
              <a:srgbClr val="000000"/>
            </a:solidFill>
          </p:grpSpPr>
          <p:sp>
            <p:nvSpPr>
              <p:cNvPr id="1933" name="TextBox 1932">
                <a:extLst>
                  <a:ext uri="{FF2B5EF4-FFF2-40B4-BE49-F238E27FC236}">
                    <a16:creationId xmlns:a16="http://schemas.microsoft.com/office/drawing/2014/main" id="{56448B2D-9E69-2B9D-70E3-5F3AB626C647}"/>
                  </a:ext>
                </a:extLst>
              </p:cNvPr>
              <p:cNvSpPr txBox="1"/>
              <p:nvPr/>
            </p:nvSpPr>
            <p:spPr>
              <a:xfrm>
                <a:off x="6594093" y="2434247"/>
                <a:ext cx="290072" cy="176978"/>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00</a:t>
                </a:r>
              </a:p>
            </p:txBody>
          </p:sp>
          <p:sp>
            <p:nvSpPr>
              <p:cNvPr id="1934" name="TextBox 1933">
                <a:extLst>
                  <a:ext uri="{FF2B5EF4-FFF2-40B4-BE49-F238E27FC236}">
                    <a16:creationId xmlns:a16="http://schemas.microsoft.com/office/drawing/2014/main" id="{6CA0334B-DB8C-13E9-3816-DD08C38933DA}"/>
                  </a:ext>
                </a:extLst>
              </p:cNvPr>
              <p:cNvSpPr txBox="1"/>
              <p:nvPr/>
            </p:nvSpPr>
            <p:spPr>
              <a:xfrm>
                <a:off x="6639865" y="2688241"/>
                <a:ext cx="239563" cy="176978"/>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80</a:t>
                </a:r>
              </a:p>
            </p:txBody>
          </p:sp>
          <p:sp>
            <p:nvSpPr>
              <p:cNvPr id="1935" name="TextBox 1934">
                <a:extLst>
                  <a:ext uri="{FF2B5EF4-FFF2-40B4-BE49-F238E27FC236}">
                    <a16:creationId xmlns:a16="http://schemas.microsoft.com/office/drawing/2014/main" id="{3E006AFA-F7AA-9123-ABE8-AEFE153CE92E}"/>
                  </a:ext>
                </a:extLst>
              </p:cNvPr>
              <p:cNvSpPr txBox="1"/>
              <p:nvPr/>
            </p:nvSpPr>
            <p:spPr>
              <a:xfrm>
                <a:off x="6639865" y="2923185"/>
                <a:ext cx="239563" cy="176978"/>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60</a:t>
                </a:r>
              </a:p>
            </p:txBody>
          </p:sp>
          <p:sp>
            <p:nvSpPr>
              <p:cNvPr id="1936" name="TextBox 1935">
                <a:extLst>
                  <a:ext uri="{FF2B5EF4-FFF2-40B4-BE49-F238E27FC236}">
                    <a16:creationId xmlns:a16="http://schemas.microsoft.com/office/drawing/2014/main" id="{FB0A23FC-A266-80B3-18F8-BB6B54854564}"/>
                  </a:ext>
                </a:extLst>
              </p:cNvPr>
              <p:cNvSpPr txBox="1"/>
              <p:nvPr/>
            </p:nvSpPr>
            <p:spPr>
              <a:xfrm>
                <a:off x="6639865" y="3177179"/>
                <a:ext cx="239563" cy="176978"/>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0</a:t>
                </a:r>
              </a:p>
            </p:txBody>
          </p:sp>
          <p:sp>
            <p:nvSpPr>
              <p:cNvPr id="1937" name="TextBox 1936">
                <a:extLst>
                  <a:ext uri="{FF2B5EF4-FFF2-40B4-BE49-F238E27FC236}">
                    <a16:creationId xmlns:a16="http://schemas.microsoft.com/office/drawing/2014/main" id="{5FB975C3-7CE9-BA9B-CD0B-C2C36C460794}"/>
                  </a:ext>
                </a:extLst>
              </p:cNvPr>
              <p:cNvSpPr txBox="1"/>
              <p:nvPr/>
            </p:nvSpPr>
            <p:spPr>
              <a:xfrm>
                <a:off x="6639865" y="3431173"/>
                <a:ext cx="239563" cy="176978"/>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0</a:t>
                </a:r>
              </a:p>
            </p:txBody>
          </p:sp>
          <p:sp>
            <p:nvSpPr>
              <p:cNvPr id="1938" name="TextBox 1937">
                <a:extLst>
                  <a:ext uri="{FF2B5EF4-FFF2-40B4-BE49-F238E27FC236}">
                    <a16:creationId xmlns:a16="http://schemas.microsoft.com/office/drawing/2014/main" id="{67D4AE74-FB47-E6AE-166D-E4B19A100821}"/>
                  </a:ext>
                </a:extLst>
              </p:cNvPr>
              <p:cNvSpPr txBox="1"/>
              <p:nvPr/>
            </p:nvSpPr>
            <p:spPr>
              <a:xfrm>
                <a:off x="6687291" y="3678817"/>
                <a:ext cx="189052" cy="176978"/>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0</a:t>
                </a:r>
              </a:p>
            </p:txBody>
          </p:sp>
        </p:grpSp>
        <p:sp>
          <p:nvSpPr>
            <p:cNvPr id="1642" name="TextBox 1641">
              <a:extLst>
                <a:ext uri="{FF2B5EF4-FFF2-40B4-BE49-F238E27FC236}">
                  <a16:creationId xmlns:a16="http://schemas.microsoft.com/office/drawing/2014/main" id="{40A15934-4BCD-A767-0B58-1CD241669F57}"/>
                </a:ext>
              </a:extLst>
            </p:cNvPr>
            <p:cNvSpPr txBox="1"/>
            <p:nvPr/>
          </p:nvSpPr>
          <p:spPr>
            <a:xfrm rot="16200000">
              <a:off x="4486453" y="1906424"/>
              <a:ext cx="1056144"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DOCR probability (%)</a:t>
              </a:r>
            </a:p>
          </p:txBody>
        </p:sp>
        <p:grpSp>
          <p:nvGrpSpPr>
            <p:cNvPr id="1643" name="Graphic 2">
              <a:extLst>
                <a:ext uri="{FF2B5EF4-FFF2-40B4-BE49-F238E27FC236}">
                  <a16:creationId xmlns:a16="http://schemas.microsoft.com/office/drawing/2014/main" id="{A131E066-FC32-00E3-F830-6654D5B5960C}"/>
                </a:ext>
              </a:extLst>
            </p:cNvPr>
            <p:cNvGrpSpPr/>
            <p:nvPr/>
          </p:nvGrpSpPr>
          <p:grpSpPr>
            <a:xfrm>
              <a:off x="5213661" y="2619557"/>
              <a:ext cx="3529008" cy="177232"/>
              <a:chOff x="6753536" y="3776858"/>
              <a:chExt cx="3529008" cy="177232"/>
            </a:xfrm>
            <a:solidFill>
              <a:srgbClr val="000000"/>
            </a:solidFill>
          </p:grpSpPr>
          <p:sp>
            <p:nvSpPr>
              <p:cNvPr id="1914" name="TextBox 1913">
                <a:extLst>
                  <a:ext uri="{FF2B5EF4-FFF2-40B4-BE49-F238E27FC236}">
                    <a16:creationId xmlns:a16="http://schemas.microsoft.com/office/drawing/2014/main" id="{BE19FC82-A14C-7630-D13D-047D199EA3BA}"/>
                  </a:ext>
                </a:extLst>
              </p:cNvPr>
              <p:cNvSpPr txBox="1"/>
              <p:nvPr/>
            </p:nvSpPr>
            <p:spPr>
              <a:xfrm>
                <a:off x="6753536" y="3777112"/>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0</a:t>
                </a:r>
              </a:p>
            </p:txBody>
          </p:sp>
          <p:sp>
            <p:nvSpPr>
              <p:cNvPr id="1915" name="TextBox 1914">
                <a:extLst>
                  <a:ext uri="{FF2B5EF4-FFF2-40B4-BE49-F238E27FC236}">
                    <a16:creationId xmlns:a16="http://schemas.microsoft.com/office/drawing/2014/main" id="{A26D1DBE-F42C-8D45-5B33-D8F5D1746651}"/>
                  </a:ext>
                </a:extLst>
              </p:cNvPr>
              <p:cNvSpPr txBox="1"/>
              <p:nvPr/>
            </p:nvSpPr>
            <p:spPr>
              <a:xfrm>
                <a:off x="6943777" y="3777112"/>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a:t>
                </a:r>
              </a:p>
            </p:txBody>
          </p:sp>
          <p:sp>
            <p:nvSpPr>
              <p:cNvPr id="1916" name="TextBox 1915">
                <a:extLst>
                  <a:ext uri="{FF2B5EF4-FFF2-40B4-BE49-F238E27FC236}">
                    <a16:creationId xmlns:a16="http://schemas.microsoft.com/office/drawing/2014/main" id="{AA2115DA-DC96-8C4B-439B-6EAB880B496C}"/>
                  </a:ext>
                </a:extLst>
              </p:cNvPr>
              <p:cNvSpPr txBox="1"/>
              <p:nvPr/>
            </p:nvSpPr>
            <p:spPr>
              <a:xfrm>
                <a:off x="7128177" y="3777112"/>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6</a:t>
                </a:r>
              </a:p>
            </p:txBody>
          </p:sp>
          <p:sp>
            <p:nvSpPr>
              <p:cNvPr id="1917" name="TextBox 1916">
                <a:extLst>
                  <a:ext uri="{FF2B5EF4-FFF2-40B4-BE49-F238E27FC236}">
                    <a16:creationId xmlns:a16="http://schemas.microsoft.com/office/drawing/2014/main" id="{EB58D255-4BB3-017E-DA27-0C1B81CD2096}"/>
                  </a:ext>
                </a:extLst>
              </p:cNvPr>
              <p:cNvSpPr txBox="1"/>
              <p:nvPr/>
            </p:nvSpPr>
            <p:spPr>
              <a:xfrm>
                <a:off x="7312068" y="3777112"/>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9</a:t>
                </a:r>
              </a:p>
            </p:txBody>
          </p:sp>
          <p:sp>
            <p:nvSpPr>
              <p:cNvPr id="1918" name="TextBox 1917">
                <a:extLst>
                  <a:ext uri="{FF2B5EF4-FFF2-40B4-BE49-F238E27FC236}">
                    <a16:creationId xmlns:a16="http://schemas.microsoft.com/office/drawing/2014/main" id="{3BB7BAFC-F53D-EB97-A1DF-303856CEE3D7}"/>
                  </a:ext>
                </a:extLst>
              </p:cNvPr>
              <p:cNvSpPr txBox="1"/>
              <p:nvPr/>
            </p:nvSpPr>
            <p:spPr>
              <a:xfrm>
                <a:off x="7645788" y="37771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5</a:t>
                </a:r>
              </a:p>
            </p:txBody>
          </p:sp>
          <p:sp>
            <p:nvSpPr>
              <p:cNvPr id="1919" name="TextBox 1918">
                <a:extLst>
                  <a:ext uri="{FF2B5EF4-FFF2-40B4-BE49-F238E27FC236}">
                    <a16:creationId xmlns:a16="http://schemas.microsoft.com/office/drawing/2014/main" id="{BAEB36F6-1602-6BC1-FB08-0F3099F28DE7}"/>
                  </a:ext>
                </a:extLst>
              </p:cNvPr>
              <p:cNvSpPr txBox="1"/>
              <p:nvPr/>
            </p:nvSpPr>
            <p:spPr>
              <a:xfrm>
                <a:off x="7830061" y="37771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8</a:t>
                </a:r>
              </a:p>
            </p:txBody>
          </p:sp>
          <p:sp>
            <p:nvSpPr>
              <p:cNvPr id="1920" name="TextBox 1919">
                <a:extLst>
                  <a:ext uri="{FF2B5EF4-FFF2-40B4-BE49-F238E27FC236}">
                    <a16:creationId xmlns:a16="http://schemas.microsoft.com/office/drawing/2014/main" id="{ABEFF3E6-DA31-68D0-ADA0-7F76C2C6159D}"/>
                  </a:ext>
                </a:extLst>
              </p:cNvPr>
              <p:cNvSpPr txBox="1"/>
              <p:nvPr/>
            </p:nvSpPr>
            <p:spPr>
              <a:xfrm>
                <a:off x="8023985" y="37771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1</a:t>
                </a:r>
              </a:p>
            </p:txBody>
          </p:sp>
          <p:sp>
            <p:nvSpPr>
              <p:cNvPr id="1921" name="TextBox 1920">
                <a:extLst>
                  <a:ext uri="{FF2B5EF4-FFF2-40B4-BE49-F238E27FC236}">
                    <a16:creationId xmlns:a16="http://schemas.microsoft.com/office/drawing/2014/main" id="{D8A07E7B-D644-E0AA-48D8-7A362DBD6606}"/>
                  </a:ext>
                </a:extLst>
              </p:cNvPr>
              <p:cNvSpPr txBox="1"/>
              <p:nvPr/>
            </p:nvSpPr>
            <p:spPr>
              <a:xfrm>
                <a:off x="8195685" y="37771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4</a:t>
                </a:r>
              </a:p>
            </p:txBody>
          </p:sp>
          <p:sp>
            <p:nvSpPr>
              <p:cNvPr id="1922" name="TextBox 1921">
                <a:extLst>
                  <a:ext uri="{FF2B5EF4-FFF2-40B4-BE49-F238E27FC236}">
                    <a16:creationId xmlns:a16="http://schemas.microsoft.com/office/drawing/2014/main" id="{81B3556D-42E2-2717-B05D-C7A6B4E6B2BB}"/>
                  </a:ext>
                </a:extLst>
              </p:cNvPr>
              <p:cNvSpPr txBox="1"/>
              <p:nvPr/>
            </p:nvSpPr>
            <p:spPr>
              <a:xfrm>
                <a:off x="8379829" y="37771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7</a:t>
                </a:r>
              </a:p>
            </p:txBody>
          </p:sp>
          <p:sp>
            <p:nvSpPr>
              <p:cNvPr id="1923" name="TextBox 1922">
                <a:extLst>
                  <a:ext uri="{FF2B5EF4-FFF2-40B4-BE49-F238E27FC236}">
                    <a16:creationId xmlns:a16="http://schemas.microsoft.com/office/drawing/2014/main" id="{3A1A6CE6-1611-4D7C-FBBB-7AE525E71B15}"/>
                  </a:ext>
                </a:extLst>
              </p:cNvPr>
              <p:cNvSpPr txBox="1"/>
              <p:nvPr/>
            </p:nvSpPr>
            <p:spPr>
              <a:xfrm>
                <a:off x="8569818" y="37771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0</a:t>
                </a:r>
              </a:p>
            </p:txBody>
          </p:sp>
          <p:sp>
            <p:nvSpPr>
              <p:cNvPr id="1924" name="TextBox 1923">
                <a:extLst>
                  <a:ext uri="{FF2B5EF4-FFF2-40B4-BE49-F238E27FC236}">
                    <a16:creationId xmlns:a16="http://schemas.microsoft.com/office/drawing/2014/main" id="{8656810A-B6D7-55A0-0E60-26E1988B45F7}"/>
                  </a:ext>
                </a:extLst>
              </p:cNvPr>
              <p:cNvSpPr txBox="1"/>
              <p:nvPr/>
            </p:nvSpPr>
            <p:spPr>
              <a:xfrm>
                <a:off x="8753836" y="37771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3</a:t>
                </a:r>
              </a:p>
            </p:txBody>
          </p:sp>
          <p:sp>
            <p:nvSpPr>
              <p:cNvPr id="1925" name="TextBox 1924">
                <a:extLst>
                  <a:ext uri="{FF2B5EF4-FFF2-40B4-BE49-F238E27FC236}">
                    <a16:creationId xmlns:a16="http://schemas.microsoft.com/office/drawing/2014/main" id="{00DE75A7-5DA8-1672-556C-0F9FB305798E}"/>
                  </a:ext>
                </a:extLst>
              </p:cNvPr>
              <p:cNvSpPr txBox="1"/>
              <p:nvPr/>
            </p:nvSpPr>
            <p:spPr>
              <a:xfrm>
                <a:off x="8937981" y="37771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6</a:t>
                </a:r>
              </a:p>
            </p:txBody>
          </p:sp>
          <p:sp>
            <p:nvSpPr>
              <p:cNvPr id="1926" name="TextBox 1925">
                <a:extLst>
                  <a:ext uri="{FF2B5EF4-FFF2-40B4-BE49-F238E27FC236}">
                    <a16:creationId xmlns:a16="http://schemas.microsoft.com/office/drawing/2014/main" id="{11162278-149D-7FE2-20C4-E7048FDE1423}"/>
                  </a:ext>
                </a:extLst>
              </p:cNvPr>
              <p:cNvSpPr txBox="1"/>
              <p:nvPr/>
            </p:nvSpPr>
            <p:spPr>
              <a:xfrm>
                <a:off x="9109301" y="37771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9</a:t>
                </a:r>
              </a:p>
            </p:txBody>
          </p:sp>
          <p:sp>
            <p:nvSpPr>
              <p:cNvPr id="1927" name="TextBox 1926">
                <a:extLst>
                  <a:ext uri="{FF2B5EF4-FFF2-40B4-BE49-F238E27FC236}">
                    <a16:creationId xmlns:a16="http://schemas.microsoft.com/office/drawing/2014/main" id="{1F06F084-2A41-78A0-8A6A-64DCE05530FA}"/>
                  </a:ext>
                </a:extLst>
              </p:cNvPr>
              <p:cNvSpPr txBox="1"/>
              <p:nvPr/>
            </p:nvSpPr>
            <p:spPr>
              <a:xfrm>
                <a:off x="9301574" y="37771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2</a:t>
                </a:r>
              </a:p>
            </p:txBody>
          </p:sp>
          <p:sp>
            <p:nvSpPr>
              <p:cNvPr id="1928" name="TextBox 1927">
                <a:extLst>
                  <a:ext uri="{FF2B5EF4-FFF2-40B4-BE49-F238E27FC236}">
                    <a16:creationId xmlns:a16="http://schemas.microsoft.com/office/drawing/2014/main" id="{786A0BEA-29F9-92DC-0145-D5E6822DFD1D}"/>
                  </a:ext>
                </a:extLst>
              </p:cNvPr>
              <p:cNvSpPr txBox="1"/>
              <p:nvPr/>
            </p:nvSpPr>
            <p:spPr>
              <a:xfrm>
                <a:off x="9485212" y="3776858"/>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5</a:t>
                </a:r>
              </a:p>
            </p:txBody>
          </p:sp>
          <p:sp>
            <p:nvSpPr>
              <p:cNvPr id="1929" name="TextBox 1928">
                <a:extLst>
                  <a:ext uri="{FF2B5EF4-FFF2-40B4-BE49-F238E27FC236}">
                    <a16:creationId xmlns:a16="http://schemas.microsoft.com/office/drawing/2014/main" id="{98FB80B4-0525-4380-1569-396469623885}"/>
                  </a:ext>
                </a:extLst>
              </p:cNvPr>
              <p:cNvSpPr txBox="1"/>
              <p:nvPr/>
            </p:nvSpPr>
            <p:spPr>
              <a:xfrm>
                <a:off x="9669483" y="37771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8</a:t>
                </a:r>
              </a:p>
            </p:txBody>
          </p:sp>
          <p:sp>
            <p:nvSpPr>
              <p:cNvPr id="1930" name="TextBox 1929">
                <a:extLst>
                  <a:ext uri="{FF2B5EF4-FFF2-40B4-BE49-F238E27FC236}">
                    <a16:creationId xmlns:a16="http://schemas.microsoft.com/office/drawing/2014/main" id="{733C519D-A98B-54E3-4AF7-6A129460888F}"/>
                  </a:ext>
                </a:extLst>
              </p:cNvPr>
              <p:cNvSpPr txBox="1"/>
              <p:nvPr/>
            </p:nvSpPr>
            <p:spPr>
              <a:xfrm>
                <a:off x="9864806" y="37771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51</a:t>
                </a:r>
              </a:p>
            </p:txBody>
          </p:sp>
          <p:sp>
            <p:nvSpPr>
              <p:cNvPr id="1931" name="TextBox 1930">
                <a:extLst>
                  <a:ext uri="{FF2B5EF4-FFF2-40B4-BE49-F238E27FC236}">
                    <a16:creationId xmlns:a16="http://schemas.microsoft.com/office/drawing/2014/main" id="{18CE675E-5A77-5BB3-0BA6-028B04CDA5DD}"/>
                  </a:ext>
                </a:extLst>
              </p:cNvPr>
              <p:cNvSpPr txBox="1"/>
              <p:nvPr/>
            </p:nvSpPr>
            <p:spPr>
              <a:xfrm>
                <a:off x="10042982" y="3776858"/>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54</a:t>
                </a:r>
              </a:p>
            </p:txBody>
          </p:sp>
          <p:sp>
            <p:nvSpPr>
              <p:cNvPr id="1932" name="TextBox 1931">
                <a:extLst>
                  <a:ext uri="{FF2B5EF4-FFF2-40B4-BE49-F238E27FC236}">
                    <a16:creationId xmlns:a16="http://schemas.microsoft.com/office/drawing/2014/main" id="{96F9D0F2-011B-E6B6-BA41-3F2F31EB9B7E}"/>
                  </a:ext>
                </a:extLst>
              </p:cNvPr>
              <p:cNvSpPr txBox="1"/>
              <p:nvPr/>
            </p:nvSpPr>
            <p:spPr>
              <a:xfrm>
                <a:off x="7468628" y="3777112"/>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2</a:t>
                </a:r>
              </a:p>
            </p:txBody>
          </p:sp>
        </p:grpSp>
        <p:grpSp>
          <p:nvGrpSpPr>
            <p:cNvPr id="1644" name="Graphic 2">
              <a:extLst>
                <a:ext uri="{FF2B5EF4-FFF2-40B4-BE49-F238E27FC236}">
                  <a16:creationId xmlns:a16="http://schemas.microsoft.com/office/drawing/2014/main" id="{C5DE7276-DCDE-F1E7-F263-CF145BE5B977}"/>
                </a:ext>
              </a:extLst>
            </p:cNvPr>
            <p:cNvGrpSpPr/>
            <p:nvPr/>
          </p:nvGrpSpPr>
          <p:grpSpPr>
            <a:xfrm>
              <a:off x="5275081" y="1371647"/>
              <a:ext cx="31749" cy="1244569"/>
              <a:chOff x="6814956" y="2528948"/>
              <a:chExt cx="31749" cy="1244569"/>
            </a:xfrm>
          </p:grpSpPr>
          <p:sp>
            <p:nvSpPr>
              <p:cNvPr id="1908" name="Freeform 1906">
                <a:extLst>
                  <a:ext uri="{FF2B5EF4-FFF2-40B4-BE49-F238E27FC236}">
                    <a16:creationId xmlns:a16="http://schemas.microsoft.com/office/drawing/2014/main" id="{2AFA4CC9-C720-5DE4-0EB6-5BF1F63BC750}"/>
                  </a:ext>
                </a:extLst>
              </p:cNvPr>
              <p:cNvSpPr/>
              <p:nvPr/>
            </p:nvSpPr>
            <p:spPr>
              <a:xfrm>
                <a:off x="6814956" y="2528948"/>
                <a:ext cx="31749" cy="12699"/>
              </a:xfrm>
              <a:custGeom>
                <a:avLst/>
                <a:gdLst>
                  <a:gd name="csX0" fmla="*/ 0 w 31749"/>
                  <a:gd name="csY0" fmla="*/ 0 h 12699"/>
                  <a:gd name="csX1" fmla="*/ 31749 w 31749"/>
                  <a:gd name="csY1" fmla="*/ 0 h 12699"/>
                </a:gdLst>
                <a:ahLst/>
                <a:cxnLst>
                  <a:cxn ang="0">
                    <a:pos x="csX0" y="csY0"/>
                  </a:cxn>
                  <a:cxn ang="0">
                    <a:pos x="csX1" y="csY1"/>
                  </a:cxn>
                </a:cxnLst>
                <a:rect l="l" t="t" r="r" b="b"/>
                <a:pathLst>
                  <a:path w="31749" h="12699">
                    <a:moveTo>
                      <a:pt x="0" y="0"/>
                    </a:moveTo>
                    <a:lnTo>
                      <a:pt x="31749" y="0"/>
                    </a:lnTo>
                  </a:path>
                </a:pathLst>
              </a:custGeom>
              <a:ln w="12690"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09" name="Freeform 1907">
                <a:extLst>
                  <a:ext uri="{FF2B5EF4-FFF2-40B4-BE49-F238E27FC236}">
                    <a16:creationId xmlns:a16="http://schemas.microsoft.com/office/drawing/2014/main" id="{BCFA4AFB-60CF-14C3-9703-989AFA0D4718}"/>
                  </a:ext>
                </a:extLst>
              </p:cNvPr>
              <p:cNvSpPr/>
              <p:nvPr/>
            </p:nvSpPr>
            <p:spPr>
              <a:xfrm>
                <a:off x="6814956" y="2782942"/>
                <a:ext cx="31749" cy="12699"/>
              </a:xfrm>
              <a:custGeom>
                <a:avLst/>
                <a:gdLst>
                  <a:gd name="csX0" fmla="*/ 0 w 31749"/>
                  <a:gd name="csY0" fmla="*/ 0 h 12699"/>
                  <a:gd name="csX1" fmla="*/ 31749 w 31749"/>
                  <a:gd name="csY1" fmla="*/ 0 h 12699"/>
                </a:gdLst>
                <a:ahLst/>
                <a:cxnLst>
                  <a:cxn ang="0">
                    <a:pos x="csX0" y="csY0"/>
                  </a:cxn>
                  <a:cxn ang="0">
                    <a:pos x="csX1" y="csY1"/>
                  </a:cxn>
                </a:cxnLst>
                <a:rect l="l" t="t" r="r" b="b"/>
                <a:pathLst>
                  <a:path w="31749" h="12699">
                    <a:moveTo>
                      <a:pt x="0" y="0"/>
                    </a:moveTo>
                    <a:lnTo>
                      <a:pt x="31749" y="0"/>
                    </a:lnTo>
                  </a:path>
                </a:pathLst>
              </a:custGeom>
              <a:ln w="12690"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10" name="Freeform 1908">
                <a:extLst>
                  <a:ext uri="{FF2B5EF4-FFF2-40B4-BE49-F238E27FC236}">
                    <a16:creationId xmlns:a16="http://schemas.microsoft.com/office/drawing/2014/main" id="{BF4216C4-472E-AC07-B67E-19B0112CB1E8}"/>
                  </a:ext>
                </a:extLst>
              </p:cNvPr>
              <p:cNvSpPr/>
              <p:nvPr/>
            </p:nvSpPr>
            <p:spPr>
              <a:xfrm>
                <a:off x="6814956" y="3017886"/>
                <a:ext cx="31749" cy="12699"/>
              </a:xfrm>
              <a:custGeom>
                <a:avLst/>
                <a:gdLst>
                  <a:gd name="csX0" fmla="*/ 0 w 31749"/>
                  <a:gd name="csY0" fmla="*/ 0 h 12699"/>
                  <a:gd name="csX1" fmla="*/ 31749 w 31749"/>
                  <a:gd name="csY1" fmla="*/ 0 h 12699"/>
                </a:gdLst>
                <a:ahLst/>
                <a:cxnLst>
                  <a:cxn ang="0">
                    <a:pos x="csX0" y="csY0"/>
                  </a:cxn>
                  <a:cxn ang="0">
                    <a:pos x="csX1" y="csY1"/>
                  </a:cxn>
                </a:cxnLst>
                <a:rect l="l" t="t" r="r" b="b"/>
                <a:pathLst>
                  <a:path w="31749" h="12699">
                    <a:moveTo>
                      <a:pt x="0" y="0"/>
                    </a:moveTo>
                    <a:lnTo>
                      <a:pt x="31749" y="0"/>
                    </a:lnTo>
                  </a:path>
                </a:pathLst>
              </a:custGeom>
              <a:ln w="12690"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11" name="Freeform 1909">
                <a:extLst>
                  <a:ext uri="{FF2B5EF4-FFF2-40B4-BE49-F238E27FC236}">
                    <a16:creationId xmlns:a16="http://schemas.microsoft.com/office/drawing/2014/main" id="{B8DF60C4-6674-DE61-641A-39F2E48235AC}"/>
                  </a:ext>
                </a:extLst>
              </p:cNvPr>
              <p:cNvSpPr/>
              <p:nvPr/>
            </p:nvSpPr>
            <p:spPr>
              <a:xfrm>
                <a:off x="6814956" y="3271880"/>
                <a:ext cx="31749" cy="12699"/>
              </a:xfrm>
              <a:custGeom>
                <a:avLst/>
                <a:gdLst>
                  <a:gd name="csX0" fmla="*/ 0 w 31749"/>
                  <a:gd name="csY0" fmla="*/ 0 h 12699"/>
                  <a:gd name="csX1" fmla="*/ 31749 w 31749"/>
                  <a:gd name="csY1" fmla="*/ 0 h 12699"/>
                </a:gdLst>
                <a:ahLst/>
                <a:cxnLst>
                  <a:cxn ang="0">
                    <a:pos x="csX0" y="csY0"/>
                  </a:cxn>
                  <a:cxn ang="0">
                    <a:pos x="csX1" y="csY1"/>
                  </a:cxn>
                </a:cxnLst>
                <a:rect l="l" t="t" r="r" b="b"/>
                <a:pathLst>
                  <a:path w="31749" h="12699">
                    <a:moveTo>
                      <a:pt x="0" y="0"/>
                    </a:moveTo>
                    <a:lnTo>
                      <a:pt x="31749" y="0"/>
                    </a:lnTo>
                  </a:path>
                </a:pathLst>
              </a:custGeom>
              <a:ln w="12690"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12" name="Freeform 1910">
                <a:extLst>
                  <a:ext uri="{FF2B5EF4-FFF2-40B4-BE49-F238E27FC236}">
                    <a16:creationId xmlns:a16="http://schemas.microsoft.com/office/drawing/2014/main" id="{22AE2285-8DCE-65C3-B300-C1A013DBB587}"/>
                  </a:ext>
                </a:extLst>
              </p:cNvPr>
              <p:cNvSpPr/>
              <p:nvPr/>
            </p:nvSpPr>
            <p:spPr>
              <a:xfrm>
                <a:off x="6814956" y="3525874"/>
                <a:ext cx="31749" cy="12699"/>
              </a:xfrm>
              <a:custGeom>
                <a:avLst/>
                <a:gdLst>
                  <a:gd name="csX0" fmla="*/ 0 w 31749"/>
                  <a:gd name="csY0" fmla="*/ 0 h 12699"/>
                  <a:gd name="csX1" fmla="*/ 31749 w 31749"/>
                  <a:gd name="csY1" fmla="*/ 0 h 12699"/>
                </a:gdLst>
                <a:ahLst/>
                <a:cxnLst>
                  <a:cxn ang="0">
                    <a:pos x="csX0" y="csY0"/>
                  </a:cxn>
                  <a:cxn ang="0">
                    <a:pos x="csX1" y="csY1"/>
                  </a:cxn>
                </a:cxnLst>
                <a:rect l="l" t="t" r="r" b="b"/>
                <a:pathLst>
                  <a:path w="31749" h="12699">
                    <a:moveTo>
                      <a:pt x="0" y="0"/>
                    </a:moveTo>
                    <a:lnTo>
                      <a:pt x="31749" y="0"/>
                    </a:lnTo>
                  </a:path>
                </a:pathLst>
              </a:custGeom>
              <a:ln w="12690"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13" name="Freeform 1911">
                <a:extLst>
                  <a:ext uri="{FF2B5EF4-FFF2-40B4-BE49-F238E27FC236}">
                    <a16:creationId xmlns:a16="http://schemas.microsoft.com/office/drawing/2014/main" id="{EF9BA83E-C69F-1531-C386-62870F14BF6A}"/>
                  </a:ext>
                </a:extLst>
              </p:cNvPr>
              <p:cNvSpPr/>
              <p:nvPr/>
            </p:nvSpPr>
            <p:spPr>
              <a:xfrm>
                <a:off x="6814956" y="3773518"/>
                <a:ext cx="31749" cy="12699"/>
              </a:xfrm>
              <a:custGeom>
                <a:avLst/>
                <a:gdLst>
                  <a:gd name="csX0" fmla="*/ 0 w 31749"/>
                  <a:gd name="csY0" fmla="*/ 0 h 12699"/>
                  <a:gd name="csX1" fmla="*/ 31749 w 31749"/>
                  <a:gd name="csY1" fmla="*/ 0 h 12699"/>
                </a:gdLst>
                <a:ahLst/>
                <a:cxnLst>
                  <a:cxn ang="0">
                    <a:pos x="csX0" y="csY0"/>
                  </a:cxn>
                  <a:cxn ang="0">
                    <a:pos x="csX1" y="csY1"/>
                  </a:cxn>
                </a:cxnLst>
                <a:rect l="l" t="t" r="r" b="b"/>
                <a:pathLst>
                  <a:path w="31749" h="12699">
                    <a:moveTo>
                      <a:pt x="0" y="0"/>
                    </a:moveTo>
                    <a:lnTo>
                      <a:pt x="31749" y="0"/>
                    </a:lnTo>
                  </a:path>
                </a:pathLst>
              </a:custGeom>
              <a:ln w="12690"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45" name="Graphic 2">
              <a:extLst>
                <a:ext uri="{FF2B5EF4-FFF2-40B4-BE49-F238E27FC236}">
                  <a16:creationId xmlns:a16="http://schemas.microsoft.com/office/drawing/2014/main" id="{0CE6CD95-3FFA-45FB-9A44-8C0DD553A131}"/>
                </a:ext>
              </a:extLst>
            </p:cNvPr>
            <p:cNvGrpSpPr/>
            <p:nvPr/>
          </p:nvGrpSpPr>
          <p:grpSpPr>
            <a:xfrm>
              <a:off x="5306830" y="2616217"/>
              <a:ext cx="3314619" cy="31749"/>
              <a:chOff x="6846705" y="3773518"/>
              <a:chExt cx="3314619" cy="31749"/>
            </a:xfrm>
          </p:grpSpPr>
          <p:sp>
            <p:nvSpPr>
              <p:cNvPr id="1888" name="Freeform 1886">
                <a:extLst>
                  <a:ext uri="{FF2B5EF4-FFF2-40B4-BE49-F238E27FC236}">
                    <a16:creationId xmlns:a16="http://schemas.microsoft.com/office/drawing/2014/main" id="{7824C6B9-5683-7473-3F99-BCFA11E81EAC}"/>
                  </a:ext>
                </a:extLst>
              </p:cNvPr>
              <p:cNvSpPr/>
              <p:nvPr/>
            </p:nvSpPr>
            <p:spPr>
              <a:xfrm>
                <a:off x="6846705"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nvGrpSpPr>
              <p:cNvPr id="1889" name="Graphic 2">
                <a:extLst>
                  <a:ext uri="{FF2B5EF4-FFF2-40B4-BE49-F238E27FC236}">
                    <a16:creationId xmlns:a16="http://schemas.microsoft.com/office/drawing/2014/main" id="{5F7DE8E3-373F-6E76-C72E-6E5D5FD4A4A8}"/>
                  </a:ext>
                </a:extLst>
              </p:cNvPr>
              <p:cNvGrpSpPr/>
              <p:nvPr/>
            </p:nvGrpSpPr>
            <p:grpSpPr>
              <a:xfrm>
                <a:off x="7037201" y="3773518"/>
                <a:ext cx="3124124" cy="31749"/>
                <a:chOff x="7037201" y="3773518"/>
                <a:chExt cx="3124124" cy="31749"/>
              </a:xfrm>
            </p:grpSpPr>
            <p:sp>
              <p:nvSpPr>
                <p:cNvPr id="1890" name="Freeform 1888">
                  <a:extLst>
                    <a:ext uri="{FF2B5EF4-FFF2-40B4-BE49-F238E27FC236}">
                      <a16:creationId xmlns:a16="http://schemas.microsoft.com/office/drawing/2014/main" id="{D25AC9B6-85B4-A4A3-632B-5608CB0DE955}"/>
                    </a:ext>
                  </a:extLst>
                </p:cNvPr>
                <p:cNvSpPr/>
                <p:nvPr/>
              </p:nvSpPr>
              <p:spPr>
                <a:xfrm>
                  <a:off x="7037201"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891" name="Freeform 1889">
                  <a:extLst>
                    <a:ext uri="{FF2B5EF4-FFF2-40B4-BE49-F238E27FC236}">
                      <a16:creationId xmlns:a16="http://schemas.microsoft.com/office/drawing/2014/main" id="{A115F363-5B84-A422-682C-9B6B9FCC705A}"/>
                    </a:ext>
                  </a:extLst>
                </p:cNvPr>
                <p:cNvSpPr/>
                <p:nvPr/>
              </p:nvSpPr>
              <p:spPr>
                <a:xfrm>
                  <a:off x="7221346"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892" name="Freeform 1890">
                  <a:extLst>
                    <a:ext uri="{FF2B5EF4-FFF2-40B4-BE49-F238E27FC236}">
                      <a16:creationId xmlns:a16="http://schemas.microsoft.com/office/drawing/2014/main" id="{ECF2A632-3D4C-D3BE-0D91-3C7719534DB2}"/>
                    </a:ext>
                  </a:extLst>
                </p:cNvPr>
                <p:cNvSpPr/>
                <p:nvPr/>
              </p:nvSpPr>
              <p:spPr>
                <a:xfrm>
                  <a:off x="7405492"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893" name="Freeform 1891">
                  <a:extLst>
                    <a:ext uri="{FF2B5EF4-FFF2-40B4-BE49-F238E27FC236}">
                      <a16:creationId xmlns:a16="http://schemas.microsoft.com/office/drawing/2014/main" id="{F931BEEC-17AF-CBA1-8985-FD4E04451C64}"/>
                    </a:ext>
                  </a:extLst>
                </p:cNvPr>
                <p:cNvSpPr/>
                <p:nvPr/>
              </p:nvSpPr>
              <p:spPr>
                <a:xfrm>
                  <a:off x="7589637"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894" name="Freeform 1892">
                  <a:extLst>
                    <a:ext uri="{FF2B5EF4-FFF2-40B4-BE49-F238E27FC236}">
                      <a16:creationId xmlns:a16="http://schemas.microsoft.com/office/drawing/2014/main" id="{8F08B025-EDBD-4E88-32A1-F077C4603689}"/>
                    </a:ext>
                  </a:extLst>
                </p:cNvPr>
                <p:cNvSpPr/>
                <p:nvPr/>
              </p:nvSpPr>
              <p:spPr>
                <a:xfrm>
                  <a:off x="7767433"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895" name="Freeform 1893">
                  <a:extLst>
                    <a:ext uri="{FF2B5EF4-FFF2-40B4-BE49-F238E27FC236}">
                      <a16:creationId xmlns:a16="http://schemas.microsoft.com/office/drawing/2014/main" id="{CC3F7753-D05B-2585-0BCB-6A14D50AFE5D}"/>
                    </a:ext>
                  </a:extLst>
                </p:cNvPr>
                <p:cNvSpPr/>
                <p:nvPr/>
              </p:nvSpPr>
              <p:spPr>
                <a:xfrm>
                  <a:off x="7951579"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896" name="Freeform 1894">
                  <a:extLst>
                    <a:ext uri="{FF2B5EF4-FFF2-40B4-BE49-F238E27FC236}">
                      <a16:creationId xmlns:a16="http://schemas.microsoft.com/office/drawing/2014/main" id="{805A2948-7FD7-F3A5-61A1-B0AACCE1194C}"/>
                    </a:ext>
                  </a:extLst>
                </p:cNvPr>
                <p:cNvSpPr/>
                <p:nvPr/>
              </p:nvSpPr>
              <p:spPr>
                <a:xfrm>
                  <a:off x="8135724"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897" name="Freeform 1895">
                  <a:extLst>
                    <a:ext uri="{FF2B5EF4-FFF2-40B4-BE49-F238E27FC236}">
                      <a16:creationId xmlns:a16="http://schemas.microsoft.com/office/drawing/2014/main" id="{0EB92C85-9191-6842-A933-EC34AD222DCD}"/>
                    </a:ext>
                  </a:extLst>
                </p:cNvPr>
                <p:cNvSpPr/>
                <p:nvPr/>
              </p:nvSpPr>
              <p:spPr>
                <a:xfrm>
                  <a:off x="8313520"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898" name="Freeform 1896">
                  <a:extLst>
                    <a:ext uri="{FF2B5EF4-FFF2-40B4-BE49-F238E27FC236}">
                      <a16:creationId xmlns:a16="http://schemas.microsoft.com/office/drawing/2014/main" id="{E99918BA-0A2B-B143-55C6-2538EA5BEE09}"/>
                    </a:ext>
                  </a:extLst>
                </p:cNvPr>
                <p:cNvSpPr/>
                <p:nvPr/>
              </p:nvSpPr>
              <p:spPr>
                <a:xfrm>
                  <a:off x="8497665"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899" name="Freeform 1897">
                  <a:extLst>
                    <a:ext uri="{FF2B5EF4-FFF2-40B4-BE49-F238E27FC236}">
                      <a16:creationId xmlns:a16="http://schemas.microsoft.com/office/drawing/2014/main" id="{F2502584-635E-C606-C02E-E2CEBB8477BA}"/>
                    </a:ext>
                  </a:extLst>
                </p:cNvPr>
                <p:cNvSpPr/>
                <p:nvPr/>
              </p:nvSpPr>
              <p:spPr>
                <a:xfrm>
                  <a:off x="8688161"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00" name="Freeform 1898">
                  <a:extLst>
                    <a:ext uri="{FF2B5EF4-FFF2-40B4-BE49-F238E27FC236}">
                      <a16:creationId xmlns:a16="http://schemas.microsoft.com/office/drawing/2014/main" id="{01372E7B-AAB0-17DF-0BD6-A28F0B2B9346}"/>
                    </a:ext>
                  </a:extLst>
                </p:cNvPr>
                <p:cNvSpPr/>
                <p:nvPr/>
              </p:nvSpPr>
              <p:spPr>
                <a:xfrm>
                  <a:off x="8872306"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01" name="Freeform 1899">
                  <a:extLst>
                    <a:ext uri="{FF2B5EF4-FFF2-40B4-BE49-F238E27FC236}">
                      <a16:creationId xmlns:a16="http://schemas.microsoft.com/office/drawing/2014/main" id="{6430A106-B992-FD28-3420-05CA59E40D5F}"/>
                    </a:ext>
                  </a:extLst>
                </p:cNvPr>
                <p:cNvSpPr/>
                <p:nvPr/>
              </p:nvSpPr>
              <p:spPr>
                <a:xfrm>
                  <a:off x="9056452"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02" name="Freeform 1900">
                  <a:extLst>
                    <a:ext uri="{FF2B5EF4-FFF2-40B4-BE49-F238E27FC236}">
                      <a16:creationId xmlns:a16="http://schemas.microsoft.com/office/drawing/2014/main" id="{5EF66FF9-5215-A387-E329-194C630DAEC1}"/>
                    </a:ext>
                  </a:extLst>
                </p:cNvPr>
                <p:cNvSpPr/>
                <p:nvPr/>
              </p:nvSpPr>
              <p:spPr>
                <a:xfrm>
                  <a:off x="9418393"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03" name="Freeform 1901">
                  <a:extLst>
                    <a:ext uri="{FF2B5EF4-FFF2-40B4-BE49-F238E27FC236}">
                      <a16:creationId xmlns:a16="http://schemas.microsoft.com/office/drawing/2014/main" id="{CBCA73F3-5FCB-2244-300A-E1BFB5445826}"/>
                    </a:ext>
                  </a:extLst>
                </p:cNvPr>
                <p:cNvSpPr/>
                <p:nvPr/>
              </p:nvSpPr>
              <p:spPr>
                <a:xfrm>
                  <a:off x="9602539"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04" name="Freeform 1902">
                  <a:extLst>
                    <a:ext uri="{FF2B5EF4-FFF2-40B4-BE49-F238E27FC236}">
                      <a16:creationId xmlns:a16="http://schemas.microsoft.com/office/drawing/2014/main" id="{C8D88547-6697-FA04-0EDF-E40B49D329A1}"/>
                    </a:ext>
                  </a:extLst>
                </p:cNvPr>
                <p:cNvSpPr/>
                <p:nvPr/>
              </p:nvSpPr>
              <p:spPr>
                <a:xfrm>
                  <a:off x="9786684"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05" name="Freeform 1903">
                  <a:extLst>
                    <a:ext uri="{FF2B5EF4-FFF2-40B4-BE49-F238E27FC236}">
                      <a16:creationId xmlns:a16="http://schemas.microsoft.com/office/drawing/2014/main" id="{38A0C505-8F5D-06EA-84BB-7A718F433762}"/>
                    </a:ext>
                  </a:extLst>
                </p:cNvPr>
                <p:cNvSpPr/>
                <p:nvPr/>
              </p:nvSpPr>
              <p:spPr>
                <a:xfrm>
                  <a:off x="9977179"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06" name="Freeform 1904">
                  <a:extLst>
                    <a:ext uri="{FF2B5EF4-FFF2-40B4-BE49-F238E27FC236}">
                      <a16:creationId xmlns:a16="http://schemas.microsoft.com/office/drawing/2014/main" id="{0B15CD89-3C1E-3415-3E5D-83367053C54B}"/>
                    </a:ext>
                  </a:extLst>
                </p:cNvPr>
                <p:cNvSpPr/>
                <p:nvPr/>
              </p:nvSpPr>
              <p:spPr>
                <a:xfrm>
                  <a:off x="10161325"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907" name="Freeform 1905">
                  <a:extLst>
                    <a:ext uri="{FF2B5EF4-FFF2-40B4-BE49-F238E27FC236}">
                      <a16:creationId xmlns:a16="http://schemas.microsoft.com/office/drawing/2014/main" id="{66DCCA3A-3EF1-0A80-9929-A501B4967996}"/>
                    </a:ext>
                  </a:extLst>
                </p:cNvPr>
                <p:cNvSpPr/>
                <p:nvPr/>
              </p:nvSpPr>
              <p:spPr>
                <a:xfrm>
                  <a:off x="9227898" y="3773518"/>
                  <a:ext cx="12699" cy="31749"/>
                </a:xfrm>
                <a:custGeom>
                  <a:avLst/>
                  <a:gdLst>
                    <a:gd name="csX0" fmla="*/ 0 w 12699"/>
                    <a:gd name="csY0" fmla="*/ 0 h 31749"/>
                    <a:gd name="csX1" fmla="*/ 0 w 12699"/>
                    <a:gd name="csY1" fmla="*/ 31749 h 31749"/>
                  </a:gdLst>
                  <a:ahLst/>
                  <a:cxnLst>
                    <a:cxn ang="0">
                      <a:pos x="csX0" y="csY0"/>
                    </a:cxn>
                    <a:cxn ang="0">
                      <a:pos x="csX1" y="csY1"/>
                    </a:cxn>
                  </a:cxnLst>
                  <a:rect l="l" t="t" r="r" b="b"/>
                  <a:pathLst>
                    <a:path w="12699" h="31749">
                      <a:moveTo>
                        <a:pt x="0" y="0"/>
                      </a:moveTo>
                      <a:lnTo>
                        <a:pt x="0" y="31749"/>
                      </a:lnTo>
                    </a:path>
                  </a:pathLst>
                </a:custGeom>
                <a:ln w="12690"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sp>
          <p:nvSpPr>
            <p:cNvPr id="1646" name="Freeform 1644">
              <a:extLst>
                <a:ext uri="{FF2B5EF4-FFF2-40B4-BE49-F238E27FC236}">
                  <a16:creationId xmlns:a16="http://schemas.microsoft.com/office/drawing/2014/main" id="{DFE218C0-0481-52B0-F896-95C725F9177D}"/>
                </a:ext>
              </a:extLst>
            </p:cNvPr>
            <p:cNvSpPr/>
            <p:nvPr/>
          </p:nvSpPr>
          <p:spPr>
            <a:xfrm>
              <a:off x="5306830" y="1371647"/>
              <a:ext cx="3314619" cy="1244569"/>
            </a:xfrm>
            <a:custGeom>
              <a:avLst/>
              <a:gdLst>
                <a:gd name="csX0" fmla="*/ 0 w 3314619"/>
                <a:gd name="csY0" fmla="*/ 0 h 1244569"/>
                <a:gd name="csX1" fmla="*/ 0 w 3314619"/>
                <a:gd name="csY1" fmla="*/ 1244570 h 1244569"/>
                <a:gd name="csX2" fmla="*/ 3314620 w 3314619"/>
                <a:gd name="csY2" fmla="*/ 1244570 h 1244569"/>
              </a:gdLst>
              <a:ahLst/>
              <a:cxnLst>
                <a:cxn ang="0">
                  <a:pos x="csX0" y="csY0"/>
                </a:cxn>
                <a:cxn ang="0">
                  <a:pos x="csX1" y="csY1"/>
                </a:cxn>
                <a:cxn ang="0">
                  <a:pos x="csX2" y="csY2"/>
                </a:cxn>
              </a:cxnLst>
              <a:rect l="l" t="t" r="r" b="b"/>
              <a:pathLst>
                <a:path w="3314619" h="1244569">
                  <a:moveTo>
                    <a:pt x="0" y="0"/>
                  </a:moveTo>
                  <a:lnTo>
                    <a:pt x="0" y="1244570"/>
                  </a:lnTo>
                  <a:lnTo>
                    <a:pt x="3314620" y="1244570"/>
                  </a:lnTo>
                </a:path>
              </a:pathLst>
            </a:custGeom>
            <a:noFill/>
            <a:ln w="12690" cap="sq">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647" name="Freeform 1645">
              <a:extLst>
                <a:ext uri="{FF2B5EF4-FFF2-40B4-BE49-F238E27FC236}">
                  <a16:creationId xmlns:a16="http://schemas.microsoft.com/office/drawing/2014/main" id="{C6AB42CC-8087-6A0F-775F-B3EFEA30CD31}"/>
                </a:ext>
              </a:extLst>
            </p:cNvPr>
            <p:cNvSpPr/>
            <p:nvPr/>
          </p:nvSpPr>
          <p:spPr>
            <a:xfrm flipH="1">
              <a:off x="7472110" y="1803400"/>
              <a:ext cx="45719" cy="812817"/>
            </a:xfrm>
            <a:custGeom>
              <a:avLst/>
              <a:gdLst>
                <a:gd name="csX0" fmla="*/ 0 w 12699"/>
                <a:gd name="csY0" fmla="*/ 634985 h 634984"/>
                <a:gd name="csX1" fmla="*/ 0 w 12699"/>
                <a:gd name="csY1" fmla="*/ 0 h 634984"/>
              </a:gdLst>
              <a:ahLst/>
              <a:cxnLst>
                <a:cxn ang="0">
                  <a:pos x="csX0" y="csY0"/>
                </a:cxn>
                <a:cxn ang="0">
                  <a:pos x="csX1" y="csY1"/>
                </a:cxn>
              </a:cxnLst>
              <a:rect l="l" t="t" r="r" b="b"/>
              <a:pathLst>
                <a:path w="12699" h="634984">
                  <a:moveTo>
                    <a:pt x="0" y="634985"/>
                  </a:moveTo>
                  <a:lnTo>
                    <a:pt x="0" y="0"/>
                  </a:lnTo>
                </a:path>
              </a:pathLst>
            </a:custGeom>
            <a:ln w="12690" cap="flat">
              <a:solidFill>
                <a:srgbClr val="000000"/>
              </a:solidFill>
              <a:custDash>
                <a:ds d="168000" sp="168000"/>
              </a:custDash>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648" name="TextBox 1647">
              <a:extLst>
                <a:ext uri="{FF2B5EF4-FFF2-40B4-BE49-F238E27FC236}">
                  <a16:creationId xmlns:a16="http://schemas.microsoft.com/office/drawing/2014/main" id="{4E06C1BF-6322-5E75-7EDE-0732224B8932}"/>
                </a:ext>
              </a:extLst>
            </p:cNvPr>
            <p:cNvSpPr txBox="1"/>
            <p:nvPr/>
          </p:nvSpPr>
          <p:spPr>
            <a:xfrm>
              <a:off x="4576596" y="2737664"/>
              <a:ext cx="1059751" cy="176978"/>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No. of patients at risk</a:t>
              </a:r>
            </a:p>
          </p:txBody>
        </p:sp>
        <p:sp>
          <p:nvSpPr>
            <p:cNvPr id="1649" name="TextBox 1648">
              <a:extLst>
                <a:ext uri="{FF2B5EF4-FFF2-40B4-BE49-F238E27FC236}">
                  <a16:creationId xmlns:a16="http://schemas.microsoft.com/office/drawing/2014/main" id="{50D612DB-6898-8155-651D-9C1AFE3C4141}"/>
                </a:ext>
              </a:extLst>
            </p:cNvPr>
            <p:cNvSpPr txBox="1"/>
            <p:nvPr/>
          </p:nvSpPr>
          <p:spPr>
            <a:xfrm>
              <a:off x="6590273" y="2724965"/>
              <a:ext cx="760298"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Time (months)</a:t>
              </a:r>
            </a:p>
          </p:txBody>
        </p:sp>
        <p:sp>
          <p:nvSpPr>
            <p:cNvPr id="1650" name="TextBox 1649">
              <a:extLst>
                <a:ext uri="{FF2B5EF4-FFF2-40B4-BE49-F238E27FC236}">
                  <a16:creationId xmlns:a16="http://schemas.microsoft.com/office/drawing/2014/main" id="{4B163953-7EDE-195B-968F-C5D5137DA182}"/>
                </a:ext>
              </a:extLst>
            </p:cNvPr>
            <p:cNvSpPr txBox="1"/>
            <p:nvPr/>
          </p:nvSpPr>
          <p:spPr>
            <a:xfrm>
              <a:off x="4576469" y="3059982"/>
              <a:ext cx="626807" cy="176978"/>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All patients</a:t>
              </a:r>
            </a:p>
          </p:txBody>
        </p:sp>
        <p:grpSp>
          <p:nvGrpSpPr>
            <p:cNvPr id="1651" name="Graphic 2">
              <a:extLst>
                <a:ext uri="{FF2B5EF4-FFF2-40B4-BE49-F238E27FC236}">
                  <a16:creationId xmlns:a16="http://schemas.microsoft.com/office/drawing/2014/main" id="{E2929803-6741-5EBC-90E2-CF45A74CE703}"/>
                </a:ext>
              </a:extLst>
            </p:cNvPr>
            <p:cNvGrpSpPr/>
            <p:nvPr/>
          </p:nvGrpSpPr>
          <p:grpSpPr>
            <a:xfrm>
              <a:off x="5189757" y="3059728"/>
              <a:ext cx="3563374" cy="177232"/>
              <a:chOff x="6729632" y="4217029"/>
              <a:chExt cx="3563374" cy="177232"/>
            </a:xfrm>
            <a:solidFill>
              <a:srgbClr val="0B41CD"/>
            </a:solidFill>
          </p:grpSpPr>
          <p:sp>
            <p:nvSpPr>
              <p:cNvPr id="1869" name="TextBox 1868">
                <a:extLst>
                  <a:ext uri="{FF2B5EF4-FFF2-40B4-BE49-F238E27FC236}">
                    <a16:creationId xmlns:a16="http://schemas.microsoft.com/office/drawing/2014/main" id="{6A782B54-CBD4-2601-8166-5C1FC3C2B784}"/>
                  </a:ext>
                </a:extLst>
              </p:cNvPr>
              <p:cNvSpPr txBox="1"/>
              <p:nvPr/>
            </p:nvSpPr>
            <p:spPr>
              <a:xfrm>
                <a:off x="6729632" y="4217029"/>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47</a:t>
                </a:r>
              </a:p>
            </p:txBody>
          </p:sp>
          <p:sp>
            <p:nvSpPr>
              <p:cNvPr id="1870" name="TextBox 1869">
                <a:extLst>
                  <a:ext uri="{FF2B5EF4-FFF2-40B4-BE49-F238E27FC236}">
                    <a16:creationId xmlns:a16="http://schemas.microsoft.com/office/drawing/2014/main" id="{AA00CA98-599D-794F-323A-ECE28E5D3273}"/>
                  </a:ext>
                </a:extLst>
              </p:cNvPr>
              <p:cNvSpPr txBox="1"/>
              <p:nvPr/>
            </p:nvSpPr>
            <p:spPr>
              <a:xfrm>
                <a:off x="6920382" y="4217283"/>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42</a:t>
                </a:r>
              </a:p>
            </p:txBody>
          </p:sp>
          <p:sp>
            <p:nvSpPr>
              <p:cNvPr id="1871" name="TextBox 1870">
                <a:extLst>
                  <a:ext uri="{FF2B5EF4-FFF2-40B4-BE49-F238E27FC236}">
                    <a16:creationId xmlns:a16="http://schemas.microsoft.com/office/drawing/2014/main" id="{547D1D15-97C6-5166-CCEC-CFE6C0841415}"/>
                  </a:ext>
                </a:extLst>
              </p:cNvPr>
              <p:cNvSpPr txBox="1"/>
              <p:nvPr/>
            </p:nvSpPr>
            <p:spPr>
              <a:xfrm>
                <a:off x="7102749" y="4217283"/>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38</a:t>
                </a:r>
              </a:p>
            </p:txBody>
          </p:sp>
          <p:sp>
            <p:nvSpPr>
              <p:cNvPr id="1872" name="TextBox 1871">
                <a:extLst>
                  <a:ext uri="{FF2B5EF4-FFF2-40B4-BE49-F238E27FC236}">
                    <a16:creationId xmlns:a16="http://schemas.microsoft.com/office/drawing/2014/main" id="{3423AB34-281B-9DCD-2FE4-0AEE5DAB11AF}"/>
                  </a:ext>
                </a:extLst>
              </p:cNvPr>
              <p:cNvSpPr txBox="1"/>
              <p:nvPr/>
            </p:nvSpPr>
            <p:spPr>
              <a:xfrm>
                <a:off x="7287148" y="4217283"/>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34</a:t>
                </a:r>
              </a:p>
            </p:txBody>
          </p:sp>
          <p:sp>
            <p:nvSpPr>
              <p:cNvPr id="1873" name="TextBox 1872">
                <a:extLst>
                  <a:ext uri="{FF2B5EF4-FFF2-40B4-BE49-F238E27FC236}">
                    <a16:creationId xmlns:a16="http://schemas.microsoft.com/office/drawing/2014/main" id="{42FEAE64-06F0-4790-1655-3093EA9F28B5}"/>
                  </a:ext>
                </a:extLst>
              </p:cNvPr>
              <p:cNvSpPr txBox="1"/>
              <p:nvPr/>
            </p:nvSpPr>
            <p:spPr>
              <a:xfrm>
                <a:off x="7649598" y="4217283"/>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7</a:t>
                </a:r>
              </a:p>
            </p:txBody>
          </p:sp>
          <p:sp>
            <p:nvSpPr>
              <p:cNvPr id="1874" name="TextBox 1873">
                <a:extLst>
                  <a:ext uri="{FF2B5EF4-FFF2-40B4-BE49-F238E27FC236}">
                    <a16:creationId xmlns:a16="http://schemas.microsoft.com/office/drawing/2014/main" id="{D472E0C3-25A7-7932-5F6B-5FB06EC6233C}"/>
                  </a:ext>
                </a:extLst>
              </p:cNvPr>
              <p:cNvSpPr txBox="1"/>
              <p:nvPr/>
            </p:nvSpPr>
            <p:spPr>
              <a:xfrm>
                <a:off x="7833490" y="4217283"/>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5</a:t>
                </a:r>
              </a:p>
            </p:txBody>
          </p:sp>
          <p:sp>
            <p:nvSpPr>
              <p:cNvPr id="1875" name="TextBox 1874">
                <a:extLst>
                  <a:ext uri="{FF2B5EF4-FFF2-40B4-BE49-F238E27FC236}">
                    <a16:creationId xmlns:a16="http://schemas.microsoft.com/office/drawing/2014/main" id="{D1786780-92BD-4271-CE28-890C1B30AA34}"/>
                  </a:ext>
                </a:extLst>
              </p:cNvPr>
              <p:cNvSpPr txBox="1"/>
              <p:nvPr/>
            </p:nvSpPr>
            <p:spPr>
              <a:xfrm>
                <a:off x="8195558" y="4217283"/>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3</a:t>
                </a:r>
              </a:p>
            </p:txBody>
          </p:sp>
          <p:sp>
            <p:nvSpPr>
              <p:cNvPr id="1876" name="TextBox 1875">
                <a:extLst>
                  <a:ext uri="{FF2B5EF4-FFF2-40B4-BE49-F238E27FC236}">
                    <a16:creationId xmlns:a16="http://schemas.microsoft.com/office/drawing/2014/main" id="{EBAFA580-FC93-736A-EEA3-CD7F464358B7}"/>
                  </a:ext>
                </a:extLst>
              </p:cNvPr>
              <p:cNvSpPr txBox="1"/>
              <p:nvPr/>
            </p:nvSpPr>
            <p:spPr>
              <a:xfrm>
                <a:off x="8017889" y="4217283"/>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4</a:t>
                </a:r>
              </a:p>
            </p:txBody>
          </p:sp>
          <p:sp>
            <p:nvSpPr>
              <p:cNvPr id="1877" name="TextBox 1876">
                <a:extLst>
                  <a:ext uri="{FF2B5EF4-FFF2-40B4-BE49-F238E27FC236}">
                    <a16:creationId xmlns:a16="http://schemas.microsoft.com/office/drawing/2014/main" id="{21F17D7F-A1BF-C100-EF1F-92C5E9DC647D}"/>
                  </a:ext>
                </a:extLst>
              </p:cNvPr>
              <p:cNvSpPr txBox="1"/>
              <p:nvPr/>
            </p:nvSpPr>
            <p:spPr>
              <a:xfrm>
                <a:off x="8379703" y="4217283"/>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3</a:t>
                </a:r>
              </a:p>
            </p:txBody>
          </p:sp>
          <p:sp>
            <p:nvSpPr>
              <p:cNvPr id="1878" name="TextBox 1877">
                <a:extLst>
                  <a:ext uri="{FF2B5EF4-FFF2-40B4-BE49-F238E27FC236}">
                    <a16:creationId xmlns:a16="http://schemas.microsoft.com/office/drawing/2014/main" id="{53B5056C-C19B-D632-2683-38B057B58BDC}"/>
                  </a:ext>
                </a:extLst>
              </p:cNvPr>
              <p:cNvSpPr txBox="1"/>
              <p:nvPr/>
            </p:nvSpPr>
            <p:spPr>
              <a:xfrm>
                <a:off x="8750662" y="4217283"/>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5</a:t>
                </a:r>
              </a:p>
            </p:txBody>
          </p:sp>
          <p:sp>
            <p:nvSpPr>
              <p:cNvPr id="1879" name="TextBox 1878">
                <a:extLst>
                  <a:ext uri="{FF2B5EF4-FFF2-40B4-BE49-F238E27FC236}">
                    <a16:creationId xmlns:a16="http://schemas.microsoft.com/office/drawing/2014/main" id="{59DF9DBB-47FD-1A3B-D938-65E13DD29125}"/>
                  </a:ext>
                </a:extLst>
              </p:cNvPr>
              <p:cNvSpPr txBox="1"/>
              <p:nvPr/>
            </p:nvSpPr>
            <p:spPr>
              <a:xfrm>
                <a:off x="8576422" y="4217283"/>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1</a:t>
                </a:r>
              </a:p>
            </p:txBody>
          </p:sp>
          <p:sp>
            <p:nvSpPr>
              <p:cNvPr id="1880" name="TextBox 1879">
                <a:extLst>
                  <a:ext uri="{FF2B5EF4-FFF2-40B4-BE49-F238E27FC236}">
                    <a16:creationId xmlns:a16="http://schemas.microsoft.com/office/drawing/2014/main" id="{BEC2F5FA-5BED-D184-0B6C-66CF06240A8B}"/>
                  </a:ext>
                </a:extLst>
              </p:cNvPr>
              <p:cNvSpPr txBox="1"/>
              <p:nvPr/>
            </p:nvSpPr>
            <p:spPr>
              <a:xfrm>
                <a:off x="9325224" y="4217283"/>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6</a:t>
                </a:r>
              </a:p>
            </p:txBody>
          </p:sp>
          <p:sp>
            <p:nvSpPr>
              <p:cNvPr id="1881" name="TextBox 1880">
                <a:extLst>
                  <a:ext uri="{FF2B5EF4-FFF2-40B4-BE49-F238E27FC236}">
                    <a16:creationId xmlns:a16="http://schemas.microsoft.com/office/drawing/2014/main" id="{E6B4B2F3-9716-ECD9-9CB9-8FDC58A36E1F}"/>
                  </a:ext>
                </a:extLst>
              </p:cNvPr>
              <p:cNvSpPr txBox="1"/>
              <p:nvPr/>
            </p:nvSpPr>
            <p:spPr>
              <a:xfrm>
                <a:off x="9509115" y="4217283"/>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3</a:t>
                </a:r>
              </a:p>
            </p:txBody>
          </p:sp>
          <p:sp>
            <p:nvSpPr>
              <p:cNvPr id="1882" name="TextBox 1881">
                <a:extLst>
                  <a:ext uri="{FF2B5EF4-FFF2-40B4-BE49-F238E27FC236}">
                    <a16:creationId xmlns:a16="http://schemas.microsoft.com/office/drawing/2014/main" id="{78F0C4A3-7943-B89A-5BD1-6CBB9A3A1FA5}"/>
                  </a:ext>
                </a:extLst>
              </p:cNvPr>
              <p:cNvSpPr txBox="1"/>
              <p:nvPr/>
            </p:nvSpPr>
            <p:spPr>
              <a:xfrm>
                <a:off x="9887058" y="4217283"/>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a:t>
                </a:r>
              </a:p>
            </p:txBody>
          </p:sp>
          <p:sp>
            <p:nvSpPr>
              <p:cNvPr id="1883" name="TextBox 1882">
                <a:extLst>
                  <a:ext uri="{FF2B5EF4-FFF2-40B4-BE49-F238E27FC236}">
                    <a16:creationId xmlns:a16="http://schemas.microsoft.com/office/drawing/2014/main" id="{C44C1E1C-EC65-A6B4-B6F9-9B0BF40E372E}"/>
                  </a:ext>
                </a:extLst>
              </p:cNvPr>
              <p:cNvSpPr txBox="1"/>
              <p:nvPr/>
            </p:nvSpPr>
            <p:spPr>
              <a:xfrm>
                <a:off x="9694277" y="4217283"/>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a:t>
                </a:r>
              </a:p>
            </p:txBody>
          </p:sp>
          <p:sp>
            <p:nvSpPr>
              <p:cNvPr id="1884" name="TextBox 1883">
                <a:extLst>
                  <a:ext uri="{FF2B5EF4-FFF2-40B4-BE49-F238E27FC236}">
                    <a16:creationId xmlns:a16="http://schemas.microsoft.com/office/drawing/2014/main" id="{55FC4694-5CED-0654-F93D-66B4DB428CA6}"/>
                  </a:ext>
                </a:extLst>
              </p:cNvPr>
              <p:cNvSpPr txBox="1"/>
              <p:nvPr/>
            </p:nvSpPr>
            <p:spPr>
              <a:xfrm>
                <a:off x="7471167" y="4217283"/>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33</a:t>
                </a:r>
              </a:p>
            </p:txBody>
          </p:sp>
          <p:sp>
            <p:nvSpPr>
              <p:cNvPr id="1885" name="TextBox 1884">
                <a:extLst>
                  <a:ext uri="{FF2B5EF4-FFF2-40B4-BE49-F238E27FC236}">
                    <a16:creationId xmlns:a16="http://schemas.microsoft.com/office/drawing/2014/main" id="{89D2DA55-E403-06A4-EC9F-2487658F4715}"/>
                  </a:ext>
                </a:extLst>
              </p:cNvPr>
              <p:cNvSpPr txBox="1"/>
              <p:nvPr/>
            </p:nvSpPr>
            <p:spPr>
              <a:xfrm>
                <a:off x="9106634" y="4217283"/>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0</a:t>
                </a:r>
              </a:p>
            </p:txBody>
          </p:sp>
          <p:sp>
            <p:nvSpPr>
              <p:cNvPr id="1886" name="TextBox 1885">
                <a:extLst>
                  <a:ext uri="{FF2B5EF4-FFF2-40B4-BE49-F238E27FC236}">
                    <a16:creationId xmlns:a16="http://schemas.microsoft.com/office/drawing/2014/main" id="{96A60D31-9C06-C0DA-32C3-8F15C156D808}"/>
                  </a:ext>
                </a:extLst>
              </p:cNvPr>
              <p:cNvSpPr txBox="1"/>
              <p:nvPr/>
            </p:nvSpPr>
            <p:spPr>
              <a:xfrm>
                <a:off x="8935188" y="4217283"/>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0</a:t>
                </a:r>
              </a:p>
            </p:txBody>
          </p:sp>
          <p:sp>
            <p:nvSpPr>
              <p:cNvPr id="1887" name="TextBox 1886">
                <a:extLst>
                  <a:ext uri="{FF2B5EF4-FFF2-40B4-BE49-F238E27FC236}">
                    <a16:creationId xmlns:a16="http://schemas.microsoft.com/office/drawing/2014/main" id="{7166C5BA-3876-37D8-B4E2-84CA9C599B8B}"/>
                  </a:ext>
                </a:extLst>
              </p:cNvPr>
              <p:cNvSpPr txBox="1"/>
              <p:nvPr/>
            </p:nvSpPr>
            <p:spPr>
              <a:xfrm>
                <a:off x="10029391" y="4217029"/>
                <a:ext cx="263615"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NE</a:t>
                </a:r>
              </a:p>
            </p:txBody>
          </p:sp>
        </p:grpSp>
        <p:sp>
          <p:nvSpPr>
            <p:cNvPr id="1652" name="TextBox 1651">
              <a:extLst>
                <a:ext uri="{FF2B5EF4-FFF2-40B4-BE49-F238E27FC236}">
                  <a16:creationId xmlns:a16="http://schemas.microsoft.com/office/drawing/2014/main" id="{9CF86F81-8B3B-A43D-BE3D-0C37D264C96D}"/>
                </a:ext>
              </a:extLst>
            </p:cNvPr>
            <p:cNvSpPr txBox="1"/>
            <p:nvPr/>
          </p:nvSpPr>
          <p:spPr>
            <a:xfrm>
              <a:off x="4569992" y="2963338"/>
              <a:ext cx="606363" cy="176978"/>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BTKi naïve</a:t>
              </a:r>
            </a:p>
          </p:txBody>
        </p:sp>
        <p:grpSp>
          <p:nvGrpSpPr>
            <p:cNvPr id="1653" name="Graphic 2">
              <a:extLst>
                <a:ext uri="{FF2B5EF4-FFF2-40B4-BE49-F238E27FC236}">
                  <a16:creationId xmlns:a16="http://schemas.microsoft.com/office/drawing/2014/main" id="{0F445708-80E9-8C95-1A69-26A6F74D0A10}"/>
                </a:ext>
              </a:extLst>
            </p:cNvPr>
            <p:cNvGrpSpPr/>
            <p:nvPr/>
          </p:nvGrpSpPr>
          <p:grpSpPr>
            <a:xfrm>
              <a:off x="5189757" y="2963338"/>
              <a:ext cx="3383546" cy="176978"/>
              <a:chOff x="6729632" y="4120639"/>
              <a:chExt cx="3383546" cy="176978"/>
            </a:xfrm>
            <a:solidFill>
              <a:srgbClr val="544F4F"/>
            </a:solidFill>
          </p:grpSpPr>
          <p:sp>
            <p:nvSpPr>
              <p:cNvPr id="1851" name="TextBox 1850">
                <a:extLst>
                  <a:ext uri="{FF2B5EF4-FFF2-40B4-BE49-F238E27FC236}">
                    <a16:creationId xmlns:a16="http://schemas.microsoft.com/office/drawing/2014/main" id="{3F166B88-27CD-49CE-6AE9-2A231C59ADB9}"/>
                  </a:ext>
                </a:extLst>
              </p:cNvPr>
              <p:cNvSpPr txBox="1"/>
              <p:nvPr/>
            </p:nvSpPr>
            <p:spPr>
              <a:xfrm>
                <a:off x="6729632" y="4120639"/>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3</a:t>
                </a:r>
              </a:p>
            </p:txBody>
          </p:sp>
          <p:sp>
            <p:nvSpPr>
              <p:cNvPr id="1852" name="TextBox 1851">
                <a:extLst>
                  <a:ext uri="{FF2B5EF4-FFF2-40B4-BE49-F238E27FC236}">
                    <a16:creationId xmlns:a16="http://schemas.microsoft.com/office/drawing/2014/main" id="{9893AF73-4A26-0904-5543-801CC43A5999}"/>
                  </a:ext>
                </a:extLst>
              </p:cNvPr>
              <p:cNvSpPr txBox="1"/>
              <p:nvPr/>
            </p:nvSpPr>
            <p:spPr>
              <a:xfrm>
                <a:off x="6920382" y="4120639"/>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1</a:t>
                </a:r>
              </a:p>
            </p:txBody>
          </p:sp>
          <p:sp>
            <p:nvSpPr>
              <p:cNvPr id="1853" name="TextBox 1852">
                <a:extLst>
                  <a:ext uri="{FF2B5EF4-FFF2-40B4-BE49-F238E27FC236}">
                    <a16:creationId xmlns:a16="http://schemas.microsoft.com/office/drawing/2014/main" id="{C062927C-F556-702B-B0B1-8F0BA0E8526C}"/>
                  </a:ext>
                </a:extLst>
              </p:cNvPr>
              <p:cNvSpPr txBox="1"/>
              <p:nvPr/>
            </p:nvSpPr>
            <p:spPr>
              <a:xfrm>
                <a:off x="7102749" y="4120639"/>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1</a:t>
                </a:r>
              </a:p>
            </p:txBody>
          </p:sp>
          <p:sp>
            <p:nvSpPr>
              <p:cNvPr id="1854" name="TextBox 1853">
                <a:extLst>
                  <a:ext uri="{FF2B5EF4-FFF2-40B4-BE49-F238E27FC236}">
                    <a16:creationId xmlns:a16="http://schemas.microsoft.com/office/drawing/2014/main" id="{0BAE31E2-5EFC-891B-EEDA-267E92C136F5}"/>
                  </a:ext>
                </a:extLst>
              </p:cNvPr>
              <p:cNvSpPr txBox="1"/>
              <p:nvPr/>
            </p:nvSpPr>
            <p:spPr>
              <a:xfrm>
                <a:off x="7287149" y="4120639"/>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9</a:t>
                </a:r>
              </a:p>
            </p:txBody>
          </p:sp>
          <p:sp>
            <p:nvSpPr>
              <p:cNvPr id="1855" name="TextBox 1854">
                <a:extLst>
                  <a:ext uri="{FF2B5EF4-FFF2-40B4-BE49-F238E27FC236}">
                    <a16:creationId xmlns:a16="http://schemas.microsoft.com/office/drawing/2014/main" id="{7BC459E2-8FAC-F002-161E-EC368164981D}"/>
                  </a:ext>
                </a:extLst>
              </p:cNvPr>
              <p:cNvSpPr txBox="1"/>
              <p:nvPr/>
            </p:nvSpPr>
            <p:spPr>
              <a:xfrm>
                <a:off x="7649598" y="4120639"/>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5</a:t>
                </a:r>
              </a:p>
            </p:txBody>
          </p:sp>
          <p:sp>
            <p:nvSpPr>
              <p:cNvPr id="1856" name="TextBox 1855">
                <a:extLst>
                  <a:ext uri="{FF2B5EF4-FFF2-40B4-BE49-F238E27FC236}">
                    <a16:creationId xmlns:a16="http://schemas.microsoft.com/office/drawing/2014/main" id="{BE456A48-937F-F90C-1384-EE952D1ED3FA}"/>
                  </a:ext>
                </a:extLst>
              </p:cNvPr>
              <p:cNvSpPr txBox="1"/>
              <p:nvPr/>
            </p:nvSpPr>
            <p:spPr>
              <a:xfrm>
                <a:off x="7833490" y="4120639"/>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4</a:t>
                </a:r>
              </a:p>
            </p:txBody>
          </p:sp>
          <p:sp>
            <p:nvSpPr>
              <p:cNvPr id="1857" name="TextBox 1856">
                <a:extLst>
                  <a:ext uri="{FF2B5EF4-FFF2-40B4-BE49-F238E27FC236}">
                    <a16:creationId xmlns:a16="http://schemas.microsoft.com/office/drawing/2014/main" id="{0E535909-A809-32B3-B913-F04C1521A5CE}"/>
                  </a:ext>
                </a:extLst>
              </p:cNvPr>
              <p:cNvSpPr txBox="1"/>
              <p:nvPr/>
            </p:nvSpPr>
            <p:spPr>
              <a:xfrm>
                <a:off x="8195558" y="4120639"/>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2</a:t>
                </a:r>
              </a:p>
            </p:txBody>
          </p:sp>
          <p:sp>
            <p:nvSpPr>
              <p:cNvPr id="1858" name="TextBox 1857">
                <a:extLst>
                  <a:ext uri="{FF2B5EF4-FFF2-40B4-BE49-F238E27FC236}">
                    <a16:creationId xmlns:a16="http://schemas.microsoft.com/office/drawing/2014/main" id="{DC80C6DD-7F81-922F-B6FE-C01DE6B43947}"/>
                  </a:ext>
                </a:extLst>
              </p:cNvPr>
              <p:cNvSpPr txBox="1"/>
              <p:nvPr/>
            </p:nvSpPr>
            <p:spPr>
              <a:xfrm>
                <a:off x="8017889" y="4120639"/>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3</a:t>
                </a:r>
              </a:p>
            </p:txBody>
          </p:sp>
          <p:sp>
            <p:nvSpPr>
              <p:cNvPr id="1859" name="TextBox 1858">
                <a:extLst>
                  <a:ext uri="{FF2B5EF4-FFF2-40B4-BE49-F238E27FC236}">
                    <a16:creationId xmlns:a16="http://schemas.microsoft.com/office/drawing/2014/main" id="{005D248D-19F6-477E-24A9-E9A7927CFFA8}"/>
                  </a:ext>
                </a:extLst>
              </p:cNvPr>
              <p:cNvSpPr txBox="1"/>
              <p:nvPr/>
            </p:nvSpPr>
            <p:spPr>
              <a:xfrm>
                <a:off x="8379703" y="4120639"/>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2</a:t>
                </a:r>
              </a:p>
            </p:txBody>
          </p:sp>
          <p:sp>
            <p:nvSpPr>
              <p:cNvPr id="1860" name="TextBox 1859">
                <a:extLst>
                  <a:ext uri="{FF2B5EF4-FFF2-40B4-BE49-F238E27FC236}">
                    <a16:creationId xmlns:a16="http://schemas.microsoft.com/office/drawing/2014/main" id="{F715F9C4-A79C-E93C-20E7-4E419AEC9EDC}"/>
                  </a:ext>
                </a:extLst>
              </p:cNvPr>
              <p:cNvSpPr txBox="1"/>
              <p:nvPr/>
            </p:nvSpPr>
            <p:spPr>
              <a:xfrm>
                <a:off x="8775835" y="4120639"/>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7</a:t>
                </a:r>
              </a:p>
            </p:txBody>
          </p:sp>
          <p:sp>
            <p:nvSpPr>
              <p:cNvPr id="1861" name="TextBox 1860">
                <a:extLst>
                  <a:ext uri="{FF2B5EF4-FFF2-40B4-BE49-F238E27FC236}">
                    <a16:creationId xmlns:a16="http://schemas.microsoft.com/office/drawing/2014/main" id="{14AFBA27-A10D-4601-B71E-F44BC35EC953}"/>
                  </a:ext>
                </a:extLst>
              </p:cNvPr>
              <p:cNvSpPr txBox="1"/>
              <p:nvPr/>
            </p:nvSpPr>
            <p:spPr>
              <a:xfrm>
                <a:off x="8576422" y="4120639"/>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0</a:t>
                </a:r>
              </a:p>
            </p:txBody>
          </p:sp>
          <p:sp>
            <p:nvSpPr>
              <p:cNvPr id="1862" name="TextBox 1861">
                <a:extLst>
                  <a:ext uri="{FF2B5EF4-FFF2-40B4-BE49-F238E27FC236}">
                    <a16:creationId xmlns:a16="http://schemas.microsoft.com/office/drawing/2014/main" id="{B560A08F-F7FC-7470-A957-07CB6864081A}"/>
                  </a:ext>
                </a:extLst>
              </p:cNvPr>
              <p:cNvSpPr txBox="1"/>
              <p:nvPr/>
            </p:nvSpPr>
            <p:spPr>
              <a:xfrm>
                <a:off x="9325224" y="4120639"/>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3</a:t>
                </a:r>
              </a:p>
            </p:txBody>
          </p:sp>
          <p:sp>
            <p:nvSpPr>
              <p:cNvPr id="1863" name="TextBox 1862">
                <a:extLst>
                  <a:ext uri="{FF2B5EF4-FFF2-40B4-BE49-F238E27FC236}">
                    <a16:creationId xmlns:a16="http://schemas.microsoft.com/office/drawing/2014/main" id="{AA2B5B42-7895-6DAA-45C0-E3A6020C87F5}"/>
                  </a:ext>
                </a:extLst>
              </p:cNvPr>
              <p:cNvSpPr txBox="1"/>
              <p:nvPr/>
            </p:nvSpPr>
            <p:spPr>
              <a:xfrm>
                <a:off x="9509115" y="4120639"/>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a:t>
                </a:r>
              </a:p>
            </p:txBody>
          </p:sp>
          <p:sp>
            <p:nvSpPr>
              <p:cNvPr id="1864" name="TextBox 1863">
                <a:extLst>
                  <a:ext uri="{FF2B5EF4-FFF2-40B4-BE49-F238E27FC236}">
                    <a16:creationId xmlns:a16="http://schemas.microsoft.com/office/drawing/2014/main" id="{34E83B09-7500-EF0F-8566-5A0CD008A5EB}"/>
                  </a:ext>
                </a:extLst>
              </p:cNvPr>
              <p:cNvSpPr txBox="1"/>
              <p:nvPr/>
            </p:nvSpPr>
            <p:spPr>
              <a:xfrm>
                <a:off x="9849563" y="4120639"/>
                <a:ext cx="263615"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NE</a:t>
                </a:r>
              </a:p>
            </p:txBody>
          </p:sp>
          <p:sp>
            <p:nvSpPr>
              <p:cNvPr id="1865" name="TextBox 1864">
                <a:extLst>
                  <a:ext uri="{FF2B5EF4-FFF2-40B4-BE49-F238E27FC236}">
                    <a16:creationId xmlns:a16="http://schemas.microsoft.com/office/drawing/2014/main" id="{6BFB47F4-864C-980B-5C5A-B6A956EF3F4C}"/>
                  </a:ext>
                </a:extLst>
              </p:cNvPr>
              <p:cNvSpPr txBox="1"/>
              <p:nvPr/>
            </p:nvSpPr>
            <p:spPr>
              <a:xfrm>
                <a:off x="9694277" y="4120639"/>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a:t>
                </a:r>
              </a:p>
            </p:txBody>
          </p:sp>
          <p:sp>
            <p:nvSpPr>
              <p:cNvPr id="1866" name="TextBox 1865">
                <a:extLst>
                  <a:ext uri="{FF2B5EF4-FFF2-40B4-BE49-F238E27FC236}">
                    <a16:creationId xmlns:a16="http://schemas.microsoft.com/office/drawing/2014/main" id="{408F25AF-33B9-8415-CA4D-7C6BAA86C69D}"/>
                  </a:ext>
                </a:extLst>
              </p:cNvPr>
              <p:cNvSpPr txBox="1"/>
              <p:nvPr/>
            </p:nvSpPr>
            <p:spPr>
              <a:xfrm>
                <a:off x="7471167" y="4120639"/>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9</a:t>
                </a:r>
              </a:p>
            </p:txBody>
          </p:sp>
          <p:sp>
            <p:nvSpPr>
              <p:cNvPr id="1867" name="TextBox 1866">
                <a:extLst>
                  <a:ext uri="{FF2B5EF4-FFF2-40B4-BE49-F238E27FC236}">
                    <a16:creationId xmlns:a16="http://schemas.microsoft.com/office/drawing/2014/main" id="{69067B1F-CA9E-3A42-105D-197B5FCF6F68}"/>
                  </a:ext>
                </a:extLst>
              </p:cNvPr>
              <p:cNvSpPr txBox="1"/>
              <p:nvPr/>
            </p:nvSpPr>
            <p:spPr>
              <a:xfrm>
                <a:off x="9131680" y="4120639"/>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4</a:t>
                </a:r>
              </a:p>
            </p:txBody>
          </p:sp>
          <p:sp>
            <p:nvSpPr>
              <p:cNvPr id="1868" name="TextBox 1867">
                <a:extLst>
                  <a:ext uri="{FF2B5EF4-FFF2-40B4-BE49-F238E27FC236}">
                    <a16:creationId xmlns:a16="http://schemas.microsoft.com/office/drawing/2014/main" id="{00CCF23F-C130-37FA-349D-EB4E68C272AC}"/>
                  </a:ext>
                </a:extLst>
              </p:cNvPr>
              <p:cNvSpPr txBox="1"/>
              <p:nvPr/>
            </p:nvSpPr>
            <p:spPr>
              <a:xfrm>
                <a:off x="8960234" y="4120639"/>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4</a:t>
                </a:r>
              </a:p>
            </p:txBody>
          </p:sp>
        </p:grpSp>
        <p:sp>
          <p:nvSpPr>
            <p:cNvPr id="1654" name="TextBox 1653">
              <a:extLst>
                <a:ext uri="{FF2B5EF4-FFF2-40B4-BE49-F238E27FC236}">
                  <a16:creationId xmlns:a16="http://schemas.microsoft.com/office/drawing/2014/main" id="{AEC0E0B6-DCF2-7ED3-FAB8-96156401E47A}"/>
                </a:ext>
              </a:extLst>
            </p:cNvPr>
            <p:cNvSpPr txBox="1"/>
            <p:nvPr/>
          </p:nvSpPr>
          <p:spPr>
            <a:xfrm>
              <a:off x="4569992" y="2866947"/>
              <a:ext cx="584716" cy="176978"/>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Prior BTKi</a:t>
              </a:r>
            </a:p>
          </p:txBody>
        </p:sp>
        <p:grpSp>
          <p:nvGrpSpPr>
            <p:cNvPr id="1655" name="Graphic 2">
              <a:extLst>
                <a:ext uri="{FF2B5EF4-FFF2-40B4-BE49-F238E27FC236}">
                  <a16:creationId xmlns:a16="http://schemas.microsoft.com/office/drawing/2014/main" id="{F8D9F1A2-7457-597C-6F67-E6F97A4DE630}"/>
                </a:ext>
              </a:extLst>
            </p:cNvPr>
            <p:cNvGrpSpPr/>
            <p:nvPr/>
          </p:nvGrpSpPr>
          <p:grpSpPr>
            <a:xfrm>
              <a:off x="5189757" y="2866947"/>
              <a:ext cx="3563374" cy="176978"/>
              <a:chOff x="6729632" y="4024248"/>
              <a:chExt cx="3563374" cy="176978"/>
            </a:xfrm>
            <a:solidFill>
              <a:srgbClr val="BC36F0"/>
            </a:solidFill>
          </p:grpSpPr>
          <p:sp>
            <p:nvSpPr>
              <p:cNvPr id="1832" name="TextBox 1831">
                <a:extLst>
                  <a:ext uri="{FF2B5EF4-FFF2-40B4-BE49-F238E27FC236}">
                    <a16:creationId xmlns:a16="http://schemas.microsoft.com/office/drawing/2014/main" id="{F67891D6-9DC6-F3FD-2D33-13482A260BB0}"/>
                  </a:ext>
                </a:extLst>
              </p:cNvPr>
              <p:cNvSpPr txBox="1"/>
              <p:nvPr/>
            </p:nvSpPr>
            <p:spPr>
              <a:xfrm>
                <a:off x="6729632" y="4024248"/>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24</a:t>
                </a:r>
              </a:p>
            </p:txBody>
          </p:sp>
          <p:sp>
            <p:nvSpPr>
              <p:cNvPr id="1833" name="TextBox 1832">
                <a:extLst>
                  <a:ext uri="{FF2B5EF4-FFF2-40B4-BE49-F238E27FC236}">
                    <a16:creationId xmlns:a16="http://schemas.microsoft.com/office/drawing/2014/main" id="{2D71FD42-0A5B-303C-5E5C-749EE19080E1}"/>
                  </a:ext>
                </a:extLst>
              </p:cNvPr>
              <p:cNvSpPr txBox="1"/>
              <p:nvPr/>
            </p:nvSpPr>
            <p:spPr>
              <a:xfrm>
                <a:off x="6920382" y="4024248"/>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21</a:t>
                </a:r>
              </a:p>
            </p:txBody>
          </p:sp>
          <p:sp>
            <p:nvSpPr>
              <p:cNvPr id="1834" name="TextBox 1833">
                <a:extLst>
                  <a:ext uri="{FF2B5EF4-FFF2-40B4-BE49-F238E27FC236}">
                    <a16:creationId xmlns:a16="http://schemas.microsoft.com/office/drawing/2014/main" id="{C9AB4A77-802E-D7CF-B8D9-EED04F7DBB7E}"/>
                  </a:ext>
                </a:extLst>
              </p:cNvPr>
              <p:cNvSpPr txBox="1"/>
              <p:nvPr/>
            </p:nvSpPr>
            <p:spPr>
              <a:xfrm>
                <a:off x="7102749" y="4024248"/>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7</a:t>
                </a:r>
              </a:p>
            </p:txBody>
          </p:sp>
          <p:sp>
            <p:nvSpPr>
              <p:cNvPr id="1835" name="TextBox 1834">
                <a:extLst>
                  <a:ext uri="{FF2B5EF4-FFF2-40B4-BE49-F238E27FC236}">
                    <a16:creationId xmlns:a16="http://schemas.microsoft.com/office/drawing/2014/main" id="{78DDFE78-CD5C-4DBE-6AA2-1DBD1876F610}"/>
                  </a:ext>
                </a:extLst>
              </p:cNvPr>
              <p:cNvSpPr txBox="1"/>
              <p:nvPr/>
            </p:nvSpPr>
            <p:spPr>
              <a:xfrm>
                <a:off x="7287148" y="4024248"/>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5</a:t>
                </a:r>
              </a:p>
            </p:txBody>
          </p:sp>
          <p:sp>
            <p:nvSpPr>
              <p:cNvPr id="1836" name="TextBox 1835">
                <a:extLst>
                  <a:ext uri="{FF2B5EF4-FFF2-40B4-BE49-F238E27FC236}">
                    <a16:creationId xmlns:a16="http://schemas.microsoft.com/office/drawing/2014/main" id="{80B335E5-D961-BD57-846A-094465A200F1}"/>
                  </a:ext>
                </a:extLst>
              </p:cNvPr>
              <p:cNvSpPr txBox="1"/>
              <p:nvPr/>
            </p:nvSpPr>
            <p:spPr>
              <a:xfrm>
                <a:off x="7649598" y="4024248"/>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2</a:t>
                </a:r>
              </a:p>
            </p:txBody>
          </p:sp>
          <p:sp>
            <p:nvSpPr>
              <p:cNvPr id="1837" name="TextBox 1836">
                <a:extLst>
                  <a:ext uri="{FF2B5EF4-FFF2-40B4-BE49-F238E27FC236}">
                    <a16:creationId xmlns:a16="http://schemas.microsoft.com/office/drawing/2014/main" id="{EF2E4EB8-AD94-8236-828D-9BB65D116E3C}"/>
                  </a:ext>
                </a:extLst>
              </p:cNvPr>
              <p:cNvSpPr txBox="1"/>
              <p:nvPr/>
            </p:nvSpPr>
            <p:spPr>
              <a:xfrm>
                <a:off x="7833490" y="4024248"/>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1</a:t>
                </a:r>
              </a:p>
            </p:txBody>
          </p:sp>
          <p:sp>
            <p:nvSpPr>
              <p:cNvPr id="1838" name="TextBox 1837">
                <a:extLst>
                  <a:ext uri="{FF2B5EF4-FFF2-40B4-BE49-F238E27FC236}">
                    <a16:creationId xmlns:a16="http://schemas.microsoft.com/office/drawing/2014/main" id="{9A705815-5BEC-DB94-B52F-849275A10E86}"/>
                  </a:ext>
                </a:extLst>
              </p:cNvPr>
              <p:cNvSpPr txBox="1"/>
              <p:nvPr/>
            </p:nvSpPr>
            <p:spPr>
              <a:xfrm>
                <a:off x="8195558" y="4024248"/>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1</a:t>
                </a:r>
              </a:p>
            </p:txBody>
          </p:sp>
          <p:sp>
            <p:nvSpPr>
              <p:cNvPr id="1839" name="TextBox 1838">
                <a:extLst>
                  <a:ext uri="{FF2B5EF4-FFF2-40B4-BE49-F238E27FC236}">
                    <a16:creationId xmlns:a16="http://schemas.microsoft.com/office/drawing/2014/main" id="{872A8CB4-1BAE-7F9A-C96F-97A9A4BC24D5}"/>
                  </a:ext>
                </a:extLst>
              </p:cNvPr>
              <p:cNvSpPr txBox="1"/>
              <p:nvPr/>
            </p:nvSpPr>
            <p:spPr>
              <a:xfrm>
                <a:off x="8017889" y="4024248"/>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1</a:t>
                </a:r>
              </a:p>
            </p:txBody>
          </p:sp>
          <p:sp>
            <p:nvSpPr>
              <p:cNvPr id="1840" name="TextBox 1839">
                <a:extLst>
                  <a:ext uri="{FF2B5EF4-FFF2-40B4-BE49-F238E27FC236}">
                    <a16:creationId xmlns:a16="http://schemas.microsoft.com/office/drawing/2014/main" id="{191D4768-C5C4-45EF-5AA3-724E14E877F2}"/>
                  </a:ext>
                </a:extLst>
              </p:cNvPr>
              <p:cNvSpPr txBox="1"/>
              <p:nvPr/>
            </p:nvSpPr>
            <p:spPr>
              <a:xfrm>
                <a:off x="8379703" y="4024248"/>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1</a:t>
                </a:r>
              </a:p>
            </p:txBody>
          </p:sp>
          <p:sp>
            <p:nvSpPr>
              <p:cNvPr id="1841" name="TextBox 1840">
                <a:extLst>
                  <a:ext uri="{FF2B5EF4-FFF2-40B4-BE49-F238E27FC236}">
                    <a16:creationId xmlns:a16="http://schemas.microsoft.com/office/drawing/2014/main" id="{04D71C7D-8E8C-79C8-F171-8C8BF591AFF3}"/>
                  </a:ext>
                </a:extLst>
              </p:cNvPr>
              <p:cNvSpPr txBox="1"/>
              <p:nvPr/>
            </p:nvSpPr>
            <p:spPr>
              <a:xfrm>
                <a:off x="8775835" y="4024248"/>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8</a:t>
                </a:r>
              </a:p>
            </p:txBody>
          </p:sp>
          <p:sp>
            <p:nvSpPr>
              <p:cNvPr id="1842" name="TextBox 1841">
                <a:extLst>
                  <a:ext uri="{FF2B5EF4-FFF2-40B4-BE49-F238E27FC236}">
                    <a16:creationId xmlns:a16="http://schemas.microsoft.com/office/drawing/2014/main" id="{BBD36F7D-23C7-7219-CB05-15A205D32C2B}"/>
                  </a:ext>
                </a:extLst>
              </p:cNvPr>
              <p:cNvSpPr txBox="1"/>
              <p:nvPr/>
            </p:nvSpPr>
            <p:spPr>
              <a:xfrm>
                <a:off x="8576422" y="4024248"/>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1</a:t>
                </a:r>
              </a:p>
            </p:txBody>
          </p:sp>
          <p:sp>
            <p:nvSpPr>
              <p:cNvPr id="1843" name="TextBox 1842">
                <a:extLst>
                  <a:ext uri="{FF2B5EF4-FFF2-40B4-BE49-F238E27FC236}">
                    <a16:creationId xmlns:a16="http://schemas.microsoft.com/office/drawing/2014/main" id="{67B2EC37-CB8D-077F-2934-95E4AB712E52}"/>
                  </a:ext>
                </a:extLst>
              </p:cNvPr>
              <p:cNvSpPr txBox="1"/>
              <p:nvPr/>
            </p:nvSpPr>
            <p:spPr>
              <a:xfrm>
                <a:off x="9325224" y="4024248"/>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3</a:t>
                </a:r>
              </a:p>
            </p:txBody>
          </p:sp>
          <p:sp>
            <p:nvSpPr>
              <p:cNvPr id="1844" name="TextBox 1843">
                <a:extLst>
                  <a:ext uri="{FF2B5EF4-FFF2-40B4-BE49-F238E27FC236}">
                    <a16:creationId xmlns:a16="http://schemas.microsoft.com/office/drawing/2014/main" id="{E9571196-7A41-0128-5B99-B12D16904AF0}"/>
                  </a:ext>
                </a:extLst>
              </p:cNvPr>
              <p:cNvSpPr txBox="1"/>
              <p:nvPr/>
            </p:nvSpPr>
            <p:spPr>
              <a:xfrm>
                <a:off x="9509115" y="4024248"/>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a:t>
                </a:r>
              </a:p>
            </p:txBody>
          </p:sp>
          <p:sp>
            <p:nvSpPr>
              <p:cNvPr id="1845" name="TextBox 1844">
                <a:extLst>
                  <a:ext uri="{FF2B5EF4-FFF2-40B4-BE49-F238E27FC236}">
                    <a16:creationId xmlns:a16="http://schemas.microsoft.com/office/drawing/2014/main" id="{C3AC2CAF-5501-1521-CEC9-C0F083FCF0AF}"/>
                  </a:ext>
                </a:extLst>
              </p:cNvPr>
              <p:cNvSpPr txBox="1"/>
              <p:nvPr/>
            </p:nvSpPr>
            <p:spPr>
              <a:xfrm>
                <a:off x="9887058" y="4024248"/>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a:t>
                </a:r>
              </a:p>
            </p:txBody>
          </p:sp>
          <p:sp>
            <p:nvSpPr>
              <p:cNvPr id="1846" name="TextBox 1845">
                <a:extLst>
                  <a:ext uri="{FF2B5EF4-FFF2-40B4-BE49-F238E27FC236}">
                    <a16:creationId xmlns:a16="http://schemas.microsoft.com/office/drawing/2014/main" id="{71191DD4-AFE9-F2D2-A38B-7E921D0F69F1}"/>
                  </a:ext>
                </a:extLst>
              </p:cNvPr>
              <p:cNvSpPr txBox="1"/>
              <p:nvPr/>
            </p:nvSpPr>
            <p:spPr>
              <a:xfrm>
                <a:off x="9694277" y="4024248"/>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a:t>
                </a:r>
              </a:p>
            </p:txBody>
          </p:sp>
          <p:sp>
            <p:nvSpPr>
              <p:cNvPr id="1847" name="TextBox 1846">
                <a:extLst>
                  <a:ext uri="{FF2B5EF4-FFF2-40B4-BE49-F238E27FC236}">
                    <a16:creationId xmlns:a16="http://schemas.microsoft.com/office/drawing/2014/main" id="{C85944E5-FB9D-770B-6F82-8F6A0B196067}"/>
                  </a:ext>
                </a:extLst>
              </p:cNvPr>
              <p:cNvSpPr txBox="1"/>
              <p:nvPr/>
            </p:nvSpPr>
            <p:spPr>
              <a:xfrm>
                <a:off x="7471167" y="4024248"/>
                <a:ext cx="23956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4</a:t>
                </a:r>
              </a:p>
            </p:txBody>
          </p:sp>
          <p:sp>
            <p:nvSpPr>
              <p:cNvPr id="1848" name="TextBox 1847">
                <a:extLst>
                  <a:ext uri="{FF2B5EF4-FFF2-40B4-BE49-F238E27FC236}">
                    <a16:creationId xmlns:a16="http://schemas.microsoft.com/office/drawing/2014/main" id="{FBC48A92-6232-BDAA-B16B-E5F4D227BF7D}"/>
                  </a:ext>
                </a:extLst>
              </p:cNvPr>
              <p:cNvSpPr txBox="1"/>
              <p:nvPr/>
            </p:nvSpPr>
            <p:spPr>
              <a:xfrm>
                <a:off x="9131680" y="4024248"/>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6</a:t>
                </a:r>
              </a:p>
            </p:txBody>
          </p:sp>
          <p:sp>
            <p:nvSpPr>
              <p:cNvPr id="1849" name="TextBox 1848">
                <a:extLst>
                  <a:ext uri="{FF2B5EF4-FFF2-40B4-BE49-F238E27FC236}">
                    <a16:creationId xmlns:a16="http://schemas.microsoft.com/office/drawing/2014/main" id="{692C40A0-0815-5621-A00A-EB182E82AFA8}"/>
                  </a:ext>
                </a:extLst>
              </p:cNvPr>
              <p:cNvSpPr txBox="1"/>
              <p:nvPr/>
            </p:nvSpPr>
            <p:spPr>
              <a:xfrm>
                <a:off x="8960234" y="4024248"/>
                <a:ext cx="189052"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6</a:t>
                </a:r>
              </a:p>
            </p:txBody>
          </p:sp>
          <p:sp>
            <p:nvSpPr>
              <p:cNvPr id="1850" name="TextBox 1849">
                <a:extLst>
                  <a:ext uri="{FF2B5EF4-FFF2-40B4-BE49-F238E27FC236}">
                    <a16:creationId xmlns:a16="http://schemas.microsoft.com/office/drawing/2014/main" id="{8A866FC6-D2A2-258B-DFB8-B6E7F1CCDA67}"/>
                  </a:ext>
                </a:extLst>
              </p:cNvPr>
              <p:cNvSpPr txBox="1"/>
              <p:nvPr/>
            </p:nvSpPr>
            <p:spPr>
              <a:xfrm>
                <a:off x="10029391" y="4024248"/>
                <a:ext cx="263615" cy="17697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NE</a:t>
                </a:r>
              </a:p>
            </p:txBody>
          </p:sp>
        </p:grpSp>
        <p:sp>
          <p:nvSpPr>
            <p:cNvPr id="1656" name="Freeform 1654">
              <a:extLst>
                <a:ext uri="{FF2B5EF4-FFF2-40B4-BE49-F238E27FC236}">
                  <a16:creationId xmlns:a16="http://schemas.microsoft.com/office/drawing/2014/main" id="{BB57D0CE-7BEB-FFB6-1F6D-97EC23262EE3}"/>
                </a:ext>
              </a:extLst>
            </p:cNvPr>
            <p:cNvSpPr/>
            <p:nvPr/>
          </p:nvSpPr>
          <p:spPr>
            <a:xfrm>
              <a:off x="5306830" y="1373044"/>
              <a:ext cx="3313984" cy="743312"/>
            </a:xfrm>
            <a:custGeom>
              <a:avLst/>
              <a:gdLst>
                <a:gd name="csX0" fmla="*/ 0 w 3313984"/>
                <a:gd name="csY0" fmla="*/ 0 h 743312"/>
                <a:gd name="csX1" fmla="*/ 89533 w 3313984"/>
                <a:gd name="csY1" fmla="*/ 0 h 743312"/>
                <a:gd name="csX2" fmla="*/ 89533 w 3313984"/>
                <a:gd name="csY2" fmla="*/ 51053 h 743312"/>
                <a:gd name="csX3" fmla="*/ 128775 w 3313984"/>
                <a:gd name="csY3" fmla="*/ 51053 h 743312"/>
                <a:gd name="csX4" fmla="*/ 128775 w 3313984"/>
                <a:gd name="csY4" fmla="*/ 101471 h 743312"/>
                <a:gd name="csX5" fmla="*/ 263519 w 3313984"/>
                <a:gd name="csY5" fmla="*/ 101471 h 743312"/>
                <a:gd name="csX6" fmla="*/ 263519 w 3313984"/>
                <a:gd name="csY6" fmla="*/ 157984 h 743312"/>
                <a:gd name="csX7" fmla="*/ 490335 w 3313984"/>
                <a:gd name="csY7" fmla="*/ 157984 h 743312"/>
                <a:gd name="csX8" fmla="*/ 490335 w 3313984"/>
                <a:gd name="csY8" fmla="*/ 224150 h 743312"/>
                <a:gd name="csX9" fmla="*/ 516370 w 3313984"/>
                <a:gd name="csY9" fmla="*/ 224150 h 743312"/>
                <a:gd name="csX10" fmla="*/ 516370 w 3313984"/>
                <a:gd name="csY10" fmla="*/ 286124 h 743312"/>
                <a:gd name="csX11" fmla="*/ 781031 w 3313984"/>
                <a:gd name="csY11" fmla="*/ 286124 h 743312"/>
                <a:gd name="csX12" fmla="*/ 781031 w 3313984"/>
                <a:gd name="csY12" fmla="*/ 355591 h 743312"/>
                <a:gd name="csX13" fmla="*/ 884914 w 3313984"/>
                <a:gd name="csY13" fmla="*/ 355591 h 743312"/>
                <a:gd name="csX14" fmla="*/ 884914 w 3313984"/>
                <a:gd name="csY14" fmla="*/ 423535 h 743312"/>
                <a:gd name="csX15" fmla="*/ 949048 w 3313984"/>
                <a:gd name="csY15" fmla="*/ 423535 h 743312"/>
                <a:gd name="csX16" fmla="*/ 949048 w 3313984"/>
                <a:gd name="csY16" fmla="*/ 490208 h 743312"/>
                <a:gd name="csX17" fmla="*/ 1914606 w 3313984"/>
                <a:gd name="csY17" fmla="*/ 490208 h 743312"/>
                <a:gd name="csX18" fmla="*/ 1914606 w 3313984"/>
                <a:gd name="csY18" fmla="*/ 574026 h 743312"/>
                <a:gd name="csX19" fmla="*/ 2504634 w 3313984"/>
                <a:gd name="csY19" fmla="*/ 574026 h 743312"/>
                <a:gd name="csX20" fmla="*/ 2504634 w 3313984"/>
                <a:gd name="csY20" fmla="*/ 743313 h 743312"/>
                <a:gd name="csX21" fmla="*/ 3313985 w 3313984"/>
                <a:gd name="csY21" fmla="*/ 743313 h 74331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Lst>
              <a:rect l="l" t="t" r="r" b="b"/>
              <a:pathLst>
                <a:path w="3313984" h="743312">
                  <a:moveTo>
                    <a:pt x="0" y="0"/>
                  </a:moveTo>
                  <a:lnTo>
                    <a:pt x="89533" y="0"/>
                  </a:lnTo>
                  <a:lnTo>
                    <a:pt x="89533" y="51053"/>
                  </a:lnTo>
                  <a:lnTo>
                    <a:pt x="128775" y="51053"/>
                  </a:lnTo>
                  <a:lnTo>
                    <a:pt x="128775" y="101471"/>
                  </a:lnTo>
                  <a:lnTo>
                    <a:pt x="263519" y="101471"/>
                  </a:lnTo>
                  <a:lnTo>
                    <a:pt x="263519" y="157984"/>
                  </a:lnTo>
                  <a:lnTo>
                    <a:pt x="490335" y="157984"/>
                  </a:lnTo>
                  <a:lnTo>
                    <a:pt x="490335" y="224150"/>
                  </a:lnTo>
                  <a:lnTo>
                    <a:pt x="516370" y="224150"/>
                  </a:lnTo>
                  <a:lnTo>
                    <a:pt x="516370" y="286124"/>
                  </a:lnTo>
                  <a:lnTo>
                    <a:pt x="781031" y="286124"/>
                  </a:lnTo>
                  <a:lnTo>
                    <a:pt x="781031" y="355591"/>
                  </a:lnTo>
                  <a:lnTo>
                    <a:pt x="884914" y="355591"/>
                  </a:lnTo>
                  <a:lnTo>
                    <a:pt x="884914" y="423535"/>
                  </a:lnTo>
                  <a:lnTo>
                    <a:pt x="949048" y="423535"/>
                  </a:lnTo>
                  <a:lnTo>
                    <a:pt x="949048" y="490208"/>
                  </a:lnTo>
                  <a:lnTo>
                    <a:pt x="1914606" y="490208"/>
                  </a:lnTo>
                  <a:lnTo>
                    <a:pt x="1914606" y="574026"/>
                  </a:lnTo>
                  <a:lnTo>
                    <a:pt x="2504634" y="574026"/>
                  </a:lnTo>
                  <a:lnTo>
                    <a:pt x="2504634" y="743313"/>
                  </a:lnTo>
                  <a:lnTo>
                    <a:pt x="3313985" y="743313"/>
                  </a:lnTo>
                </a:path>
              </a:pathLst>
            </a:custGeom>
            <a:noFill/>
            <a:ln w="19035"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657" name="Freeform 1655">
              <a:extLst>
                <a:ext uri="{FF2B5EF4-FFF2-40B4-BE49-F238E27FC236}">
                  <a16:creationId xmlns:a16="http://schemas.microsoft.com/office/drawing/2014/main" id="{AD5C66EE-C01B-8F67-398E-3923A3CDA4BB}"/>
                </a:ext>
              </a:extLst>
            </p:cNvPr>
            <p:cNvSpPr/>
            <p:nvPr/>
          </p:nvSpPr>
          <p:spPr>
            <a:xfrm>
              <a:off x="5310005" y="1373171"/>
              <a:ext cx="3034210" cy="845926"/>
            </a:xfrm>
            <a:custGeom>
              <a:avLst/>
              <a:gdLst>
                <a:gd name="csX0" fmla="*/ 0 w 3034210"/>
                <a:gd name="csY0" fmla="*/ 0 h 845926"/>
                <a:gd name="csX1" fmla="*/ 95883 w 3034210"/>
                <a:gd name="csY1" fmla="*/ 0 h 845926"/>
                <a:gd name="csX2" fmla="*/ 95883 w 3034210"/>
                <a:gd name="csY2" fmla="*/ 54609 h 845926"/>
                <a:gd name="csX3" fmla="*/ 177034 w 3034210"/>
                <a:gd name="csY3" fmla="*/ 54609 h 845926"/>
                <a:gd name="csX4" fmla="*/ 177034 w 3034210"/>
                <a:gd name="csY4" fmla="*/ 109598 h 845926"/>
                <a:gd name="csX5" fmla="*/ 414772 w 3034210"/>
                <a:gd name="csY5" fmla="*/ 109598 h 845926"/>
                <a:gd name="csX6" fmla="*/ 414772 w 3034210"/>
                <a:gd name="csY6" fmla="*/ 164207 h 845926"/>
                <a:gd name="csX7" fmla="*/ 844149 w 3034210"/>
                <a:gd name="csY7" fmla="*/ 164207 h 845926"/>
                <a:gd name="csX8" fmla="*/ 844149 w 3034210"/>
                <a:gd name="csY8" fmla="*/ 219705 h 845926"/>
                <a:gd name="csX9" fmla="*/ 855197 w 3034210"/>
                <a:gd name="csY9" fmla="*/ 219705 h 845926"/>
                <a:gd name="csX10" fmla="*/ 855197 w 3034210"/>
                <a:gd name="csY10" fmla="*/ 281679 h 845926"/>
                <a:gd name="csX11" fmla="*/ 860658 w 3034210"/>
                <a:gd name="csY11" fmla="*/ 281679 h 845926"/>
                <a:gd name="csX12" fmla="*/ 860658 w 3034210"/>
                <a:gd name="csY12" fmla="*/ 335780 h 845926"/>
                <a:gd name="csX13" fmla="*/ 865230 w 3034210"/>
                <a:gd name="csY13" fmla="*/ 335780 h 845926"/>
                <a:gd name="csX14" fmla="*/ 865230 w 3034210"/>
                <a:gd name="csY14" fmla="*/ 388103 h 845926"/>
                <a:gd name="csX15" fmla="*/ 1421223 w 3034210"/>
                <a:gd name="csY15" fmla="*/ 388103 h 845926"/>
                <a:gd name="csX16" fmla="*/ 1421223 w 3034210"/>
                <a:gd name="csY16" fmla="*/ 455538 h 845926"/>
                <a:gd name="csX17" fmla="*/ 2851716 w 3034210"/>
                <a:gd name="csY17" fmla="*/ 455538 h 845926"/>
                <a:gd name="csX18" fmla="*/ 2851716 w 3034210"/>
                <a:gd name="csY18" fmla="*/ 845926 h 845926"/>
                <a:gd name="csX19" fmla="*/ 3034210 w 3034210"/>
                <a:gd name="csY19" fmla="*/ 845926 h 84592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Lst>
              <a:rect l="l" t="t" r="r" b="b"/>
              <a:pathLst>
                <a:path w="3034210" h="845926">
                  <a:moveTo>
                    <a:pt x="0" y="0"/>
                  </a:moveTo>
                  <a:lnTo>
                    <a:pt x="95883" y="0"/>
                  </a:lnTo>
                  <a:lnTo>
                    <a:pt x="95883" y="54609"/>
                  </a:lnTo>
                  <a:lnTo>
                    <a:pt x="177034" y="54609"/>
                  </a:lnTo>
                  <a:lnTo>
                    <a:pt x="177034" y="109598"/>
                  </a:lnTo>
                  <a:lnTo>
                    <a:pt x="414772" y="109598"/>
                  </a:lnTo>
                  <a:lnTo>
                    <a:pt x="414772" y="164207"/>
                  </a:lnTo>
                  <a:lnTo>
                    <a:pt x="844149" y="164207"/>
                  </a:lnTo>
                  <a:lnTo>
                    <a:pt x="844149" y="219705"/>
                  </a:lnTo>
                  <a:lnTo>
                    <a:pt x="855197" y="219705"/>
                  </a:lnTo>
                  <a:lnTo>
                    <a:pt x="855197" y="281679"/>
                  </a:lnTo>
                  <a:lnTo>
                    <a:pt x="860658" y="281679"/>
                  </a:lnTo>
                  <a:lnTo>
                    <a:pt x="860658" y="335780"/>
                  </a:lnTo>
                  <a:lnTo>
                    <a:pt x="865230" y="335780"/>
                  </a:lnTo>
                  <a:lnTo>
                    <a:pt x="865230" y="388103"/>
                  </a:lnTo>
                  <a:lnTo>
                    <a:pt x="1421223" y="388103"/>
                  </a:lnTo>
                  <a:lnTo>
                    <a:pt x="1421223" y="455538"/>
                  </a:lnTo>
                  <a:lnTo>
                    <a:pt x="2851716" y="455538"/>
                  </a:lnTo>
                  <a:lnTo>
                    <a:pt x="2851716" y="845926"/>
                  </a:lnTo>
                  <a:lnTo>
                    <a:pt x="3034210" y="845926"/>
                  </a:lnTo>
                </a:path>
              </a:pathLst>
            </a:custGeom>
            <a:noFill/>
            <a:ln w="19035"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658" name="Freeform 1656">
              <a:extLst>
                <a:ext uri="{FF2B5EF4-FFF2-40B4-BE49-F238E27FC236}">
                  <a16:creationId xmlns:a16="http://schemas.microsoft.com/office/drawing/2014/main" id="{086BC894-E81F-0FA4-BEF9-C13AAF940EA5}"/>
                </a:ext>
              </a:extLst>
            </p:cNvPr>
            <p:cNvSpPr/>
            <p:nvPr/>
          </p:nvSpPr>
          <p:spPr>
            <a:xfrm>
              <a:off x="5306830" y="1373044"/>
              <a:ext cx="3315508" cy="818368"/>
            </a:xfrm>
            <a:custGeom>
              <a:avLst/>
              <a:gdLst>
                <a:gd name="csX0" fmla="*/ 0 w 3315508"/>
                <a:gd name="csY0" fmla="*/ 0 h 818368"/>
                <a:gd name="csX1" fmla="*/ 88517 w 3315508"/>
                <a:gd name="csY1" fmla="*/ 0 h 818368"/>
                <a:gd name="csX2" fmla="*/ 88517 w 3315508"/>
                <a:gd name="csY2" fmla="*/ 23748 h 818368"/>
                <a:gd name="csX3" fmla="*/ 96137 w 3315508"/>
                <a:gd name="csY3" fmla="*/ 23748 h 818368"/>
                <a:gd name="csX4" fmla="*/ 96137 w 3315508"/>
                <a:gd name="csY4" fmla="*/ 52069 h 818368"/>
                <a:gd name="csX5" fmla="*/ 126997 w 3315508"/>
                <a:gd name="csY5" fmla="*/ 52069 h 818368"/>
                <a:gd name="csX6" fmla="*/ 126997 w 3315508"/>
                <a:gd name="csY6" fmla="*/ 77087 h 818368"/>
                <a:gd name="csX7" fmla="*/ 178812 w 3315508"/>
                <a:gd name="csY7" fmla="*/ 77087 h 818368"/>
                <a:gd name="csX8" fmla="*/ 178812 w 3315508"/>
                <a:gd name="csY8" fmla="*/ 105153 h 818368"/>
                <a:gd name="csX9" fmla="*/ 261614 w 3315508"/>
                <a:gd name="csY9" fmla="*/ 105153 h 818368"/>
                <a:gd name="csX10" fmla="*/ 261614 w 3315508"/>
                <a:gd name="csY10" fmla="*/ 134490 h 818368"/>
                <a:gd name="csX11" fmla="*/ 417820 w 3315508"/>
                <a:gd name="csY11" fmla="*/ 134490 h 818368"/>
                <a:gd name="csX12" fmla="*/ 417820 w 3315508"/>
                <a:gd name="csY12" fmla="*/ 162175 h 818368"/>
                <a:gd name="csX13" fmla="*/ 487160 w 3315508"/>
                <a:gd name="csY13" fmla="*/ 162175 h 818368"/>
                <a:gd name="csX14" fmla="*/ 487160 w 3315508"/>
                <a:gd name="csY14" fmla="*/ 191003 h 818368"/>
                <a:gd name="csX15" fmla="*/ 512560 w 3315508"/>
                <a:gd name="csY15" fmla="*/ 191003 h 818368"/>
                <a:gd name="csX16" fmla="*/ 512560 w 3315508"/>
                <a:gd name="csY16" fmla="*/ 223896 h 818368"/>
                <a:gd name="csX17" fmla="*/ 778999 w 3315508"/>
                <a:gd name="csY17" fmla="*/ 223896 h 818368"/>
                <a:gd name="csX18" fmla="*/ 778999 w 3315508"/>
                <a:gd name="csY18" fmla="*/ 252978 h 818368"/>
                <a:gd name="csX19" fmla="*/ 844784 w 3315508"/>
                <a:gd name="csY19" fmla="*/ 252978 h 818368"/>
                <a:gd name="csX20" fmla="*/ 844784 w 3315508"/>
                <a:gd name="csY20" fmla="*/ 282695 h 818368"/>
                <a:gd name="csX21" fmla="*/ 853420 w 3315508"/>
                <a:gd name="csY21" fmla="*/ 282695 h 818368"/>
                <a:gd name="csX22" fmla="*/ 853420 w 3315508"/>
                <a:gd name="csY22" fmla="*/ 288410 h 818368"/>
                <a:gd name="csX23" fmla="*/ 860785 w 3315508"/>
                <a:gd name="csY23" fmla="*/ 288410 h 818368"/>
                <a:gd name="csX24" fmla="*/ 860785 w 3315508"/>
                <a:gd name="csY24" fmla="*/ 346448 h 818368"/>
                <a:gd name="csX25" fmla="*/ 866627 w 3315508"/>
                <a:gd name="csY25" fmla="*/ 346448 h 818368"/>
                <a:gd name="csX26" fmla="*/ 866627 w 3315508"/>
                <a:gd name="csY26" fmla="*/ 375403 h 818368"/>
                <a:gd name="csX27" fmla="*/ 883645 w 3315508"/>
                <a:gd name="csY27" fmla="*/ 375403 h 818368"/>
                <a:gd name="csX28" fmla="*/ 883645 w 3315508"/>
                <a:gd name="csY28" fmla="*/ 406644 h 818368"/>
                <a:gd name="csX29" fmla="*/ 946762 w 3315508"/>
                <a:gd name="csY29" fmla="*/ 406644 h 818368"/>
                <a:gd name="csX30" fmla="*/ 946762 w 3315508"/>
                <a:gd name="csY30" fmla="*/ 438520 h 818368"/>
                <a:gd name="csX31" fmla="*/ 1420715 w 3315508"/>
                <a:gd name="csY31" fmla="*/ 438520 h 818368"/>
                <a:gd name="csX32" fmla="*/ 1420715 w 3315508"/>
                <a:gd name="csY32" fmla="*/ 472429 h 818368"/>
                <a:gd name="csX33" fmla="*/ 1912828 w 3315508"/>
                <a:gd name="csY33" fmla="*/ 472429 h 818368"/>
                <a:gd name="csX34" fmla="*/ 1912828 w 3315508"/>
                <a:gd name="csY34" fmla="*/ 517512 h 818368"/>
                <a:gd name="csX35" fmla="*/ 2502094 w 3315508"/>
                <a:gd name="csY35" fmla="*/ 517512 h 818368"/>
                <a:gd name="csX36" fmla="*/ 2502094 w 3315508"/>
                <a:gd name="csY36" fmla="*/ 607807 h 818368"/>
                <a:gd name="csX37" fmla="*/ 2854383 w 3315508"/>
                <a:gd name="csY37" fmla="*/ 607807 h 818368"/>
                <a:gd name="csX38" fmla="*/ 2854383 w 3315508"/>
                <a:gd name="csY38" fmla="*/ 818368 h 818368"/>
                <a:gd name="csX39" fmla="*/ 3315509 w 3315508"/>
                <a:gd name="csY39" fmla="*/ 818368 h 81836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Lst>
              <a:rect l="l" t="t" r="r" b="b"/>
              <a:pathLst>
                <a:path w="3315508" h="818368">
                  <a:moveTo>
                    <a:pt x="0" y="0"/>
                  </a:moveTo>
                  <a:lnTo>
                    <a:pt x="88517" y="0"/>
                  </a:lnTo>
                  <a:lnTo>
                    <a:pt x="88517" y="23748"/>
                  </a:lnTo>
                  <a:lnTo>
                    <a:pt x="96137" y="23748"/>
                  </a:lnTo>
                  <a:lnTo>
                    <a:pt x="96137" y="52069"/>
                  </a:lnTo>
                  <a:lnTo>
                    <a:pt x="126997" y="52069"/>
                  </a:lnTo>
                  <a:lnTo>
                    <a:pt x="126997" y="77087"/>
                  </a:lnTo>
                  <a:lnTo>
                    <a:pt x="178812" y="77087"/>
                  </a:lnTo>
                  <a:lnTo>
                    <a:pt x="178812" y="105153"/>
                  </a:lnTo>
                  <a:lnTo>
                    <a:pt x="261614" y="105153"/>
                  </a:lnTo>
                  <a:lnTo>
                    <a:pt x="261614" y="134490"/>
                  </a:lnTo>
                  <a:lnTo>
                    <a:pt x="417820" y="134490"/>
                  </a:lnTo>
                  <a:lnTo>
                    <a:pt x="417820" y="162175"/>
                  </a:lnTo>
                  <a:lnTo>
                    <a:pt x="487160" y="162175"/>
                  </a:lnTo>
                  <a:lnTo>
                    <a:pt x="487160" y="191003"/>
                  </a:lnTo>
                  <a:lnTo>
                    <a:pt x="512560" y="191003"/>
                  </a:lnTo>
                  <a:lnTo>
                    <a:pt x="512560" y="223896"/>
                  </a:lnTo>
                  <a:lnTo>
                    <a:pt x="778999" y="223896"/>
                  </a:lnTo>
                  <a:lnTo>
                    <a:pt x="778999" y="252978"/>
                  </a:lnTo>
                  <a:lnTo>
                    <a:pt x="844784" y="252978"/>
                  </a:lnTo>
                  <a:lnTo>
                    <a:pt x="844784" y="282695"/>
                  </a:lnTo>
                  <a:lnTo>
                    <a:pt x="853420" y="282695"/>
                  </a:lnTo>
                  <a:lnTo>
                    <a:pt x="853420" y="288410"/>
                  </a:lnTo>
                  <a:lnTo>
                    <a:pt x="860785" y="288410"/>
                  </a:lnTo>
                  <a:lnTo>
                    <a:pt x="860785" y="346448"/>
                  </a:lnTo>
                  <a:lnTo>
                    <a:pt x="866627" y="346448"/>
                  </a:lnTo>
                  <a:lnTo>
                    <a:pt x="866627" y="375403"/>
                  </a:lnTo>
                  <a:lnTo>
                    <a:pt x="883645" y="375403"/>
                  </a:lnTo>
                  <a:lnTo>
                    <a:pt x="883645" y="406644"/>
                  </a:lnTo>
                  <a:lnTo>
                    <a:pt x="946762" y="406644"/>
                  </a:lnTo>
                  <a:lnTo>
                    <a:pt x="946762" y="438520"/>
                  </a:lnTo>
                  <a:lnTo>
                    <a:pt x="1420715" y="438520"/>
                  </a:lnTo>
                  <a:lnTo>
                    <a:pt x="1420715" y="472429"/>
                  </a:lnTo>
                  <a:lnTo>
                    <a:pt x="1912828" y="472429"/>
                  </a:lnTo>
                  <a:lnTo>
                    <a:pt x="1912828" y="517512"/>
                  </a:lnTo>
                  <a:lnTo>
                    <a:pt x="2502094" y="517512"/>
                  </a:lnTo>
                  <a:lnTo>
                    <a:pt x="2502094" y="607807"/>
                  </a:lnTo>
                  <a:lnTo>
                    <a:pt x="2854383" y="607807"/>
                  </a:lnTo>
                  <a:lnTo>
                    <a:pt x="2854383" y="818368"/>
                  </a:lnTo>
                  <a:lnTo>
                    <a:pt x="3315509" y="818368"/>
                  </a:lnTo>
                </a:path>
              </a:pathLst>
            </a:custGeom>
            <a:noFill/>
            <a:ln w="19035"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659" name="Freeform 1657">
              <a:extLst>
                <a:ext uri="{FF2B5EF4-FFF2-40B4-BE49-F238E27FC236}">
                  <a16:creationId xmlns:a16="http://schemas.microsoft.com/office/drawing/2014/main" id="{08177891-C1BD-3047-233E-A677FBC906ED}"/>
                </a:ext>
              </a:extLst>
            </p:cNvPr>
            <p:cNvSpPr/>
            <p:nvPr/>
          </p:nvSpPr>
          <p:spPr>
            <a:xfrm>
              <a:off x="5417953" y="2546369"/>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000000"/>
              </a:solidFill>
              <a:prstDash val="solid"/>
              <a:miter/>
            </a:ln>
          </p:spPr>
          <p:txBody>
            <a:bodyP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660" name="Freeform 1658">
              <a:extLst>
                <a:ext uri="{FF2B5EF4-FFF2-40B4-BE49-F238E27FC236}">
                  <a16:creationId xmlns:a16="http://schemas.microsoft.com/office/drawing/2014/main" id="{9E01835B-6045-3AFE-B9F6-2028238C47C5}"/>
                </a:ext>
              </a:extLst>
            </p:cNvPr>
            <p:cNvSpPr/>
            <p:nvPr/>
          </p:nvSpPr>
          <p:spPr>
            <a:xfrm>
              <a:off x="5446527" y="2517795"/>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661" name="TextBox 1660">
              <a:extLst>
                <a:ext uri="{FF2B5EF4-FFF2-40B4-BE49-F238E27FC236}">
                  <a16:creationId xmlns:a16="http://schemas.microsoft.com/office/drawing/2014/main" id="{CA6DBF54-1E63-E949-FC44-A504129E418B}"/>
                </a:ext>
              </a:extLst>
            </p:cNvPr>
            <p:cNvSpPr txBox="1"/>
            <p:nvPr/>
          </p:nvSpPr>
          <p:spPr>
            <a:xfrm>
              <a:off x="5496054" y="2333560"/>
              <a:ext cx="872143" cy="176978"/>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All patients (n=47)</a:t>
              </a:r>
            </a:p>
          </p:txBody>
        </p:sp>
        <p:sp>
          <p:nvSpPr>
            <p:cNvPr id="1662" name="TextBox 1661">
              <a:extLst>
                <a:ext uri="{FF2B5EF4-FFF2-40B4-BE49-F238E27FC236}">
                  <a16:creationId xmlns:a16="http://schemas.microsoft.com/office/drawing/2014/main" id="{7057A3D0-DD2D-355F-5818-09C208CF85EC}"/>
                </a:ext>
              </a:extLst>
            </p:cNvPr>
            <p:cNvSpPr txBox="1"/>
            <p:nvPr/>
          </p:nvSpPr>
          <p:spPr>
            <a:xfrm>
              <a:off x="5485132" y="2442823"/>
              <a:ext cx="530597" cy="176978"/>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Censored</a:t>
              </a:r>
            </a:p>
          </p:txBody>
        </p:sp>
        <p:sp>
          <p:nvSpPr>
            <p:cNvPr id="1663" name="TextBox 1662">
              <a:extLst>
                <a:ext uri="{FF2B5EF4-FFF2-40B4-BE49-F238E27FC236}">
                  <a16:creationId xmlns:a16="http://schemas.microsoft.com/office/drawing/2014/main" id="{1620BFBA-1301-FA2D-4273-77D2E329E953}"/>
                </a:ext>
              </a:extLst>
            </p:cNvPr>
            <p:cNvSpPr txBox="1"/>
            <p:nvPr/>
          </p:nvSpPr>
          <p:spPr>
            <a:xfrm>
              <a:off x="5496054" y="2215072"/>
              <a:ext cx="870940" cy="176978"/>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BTKi naïve (n=23)</a:t>
              </a:r>
            </a:p>
          </p:txBody>
        </p:sp>
        <p:grpSp>
          <p:nvGrpSpPr>
            <p:cNvPr id="1664" name="Graphic 2">
              <a:extLst>
                <a:ext uri="{FF2B5EF4-FFF2-40B4-BE49-F238E27FC236}">
                  <a16:creationId xmlns:a16="http://schemas.microsoft.com/office/drawing/2014/main" id="{02D6539A-7798-0B7A-C7B8-C46A4B2242B2}"/>
                </a:ext>
              </a:extLst>
            </p:cNvPr>
            <p:cNvGrpSpPr/>
            <p:nvPr/>
          </p:nvGrpSpPr>
          <p:grpSpPr>
            <a:xfrm>
              <a:off x="5417953" y="1445941"/>
              <a:ext cx="3215308" cy="698991"/>
              <a:chOff x="6957828" y="2603242"/>
              <a:chExt cx="3215308" cy="698991"/>
            </a:xfrm>
          </p:grpSpPr>
          <p:grpSp>
            <p:nvGrpSpPr>
              <p:cNvPr id="1793" name="Graphic 2">
                <a:extLst>
                  <a:ext uri="{FF2B5EF4-FFF2-40B4-BE49-F238E27FC236}">
                    <a16:creationId xmlns:a16="http://schemas.microsoft.com/office/drawing/2014/main" id="{0B029D75-916D-806C-B9F6-AE141A3461E1}"/>
                  </a:ext>
                </a:extLst>
              </p:cNvPr>
              <p:cNvGrpSpPr/>
              <p:nvPr/>
            </p:nvGrpSpPr>
            <p:grpSpPr>
              <a:xfrm>
                <a:off x="10112685" y="3245084"/>
                <a:ext cx="60450" cy="57148"/>
                <a:chOff x="10112685" y="3245084"/>
                <a:chExt cx="60450" cy="57148"/>
              </a:xfrm>
            </p:grpSpPr>
            <p:sp>
              <p:nvSpPr>
                <p:cNvPr id="1830" name="Freeform 1828">
                  <a:extLst>
                    <a:ext uri="{FF2B5EF4-FFF2-40B4-BE49-F238E27FC236}">
                      <a16:creationId xmlns:a16="http://schemas.microsoft.com/office/drawing/2014/main" id="{CFC99996-AFDD-2E29-A09C-E50906A5D484}"/>
                    </a:ext>
                  </a:extLst>
                </p:cNvPr>
                <p:cNvSpPr/>
                <p:nvPr/>
              </p:nvSpPr>
              <p:spPr>
                <a:xfrm>
                  <a:off x="10112685" y="3273658"/>
                  <a:ext cx="60450" cy="12699"/>
                </a:xfrm>
                <a:custGeom>
                  <a:avLst/>
                  <a:gdLst>
                    <a:gd name="csX0" fmla="*/ 0 w 60450"/>
                    <a:gd name="csY0" fmla="*/ 0 h 12699"/>
                    <a:gd name="csX1" fmla="*/ 60450 w 60450"/>
                    <a:gd name="csY1" fmla="*/ 0 h 12699"/>
                  </a:gdLst>
                  <a:ahLst/>
                  <a:cxnLst>
                    <a:cxn ang="0">
                      <a:pos x="csX0" y="csY0"/>
                    </a:cxn>
                    <a:cxn ang="0">
                      <a:pos x="csX1" y="csY1"/>
                    </a:cxn>
                  </a:cxnLst>
                  <a:rect l="l" t="t" r="r" b="b"/>
                  <a:pathLst>
                    <a:path w="60450" h="12699">
                      <a:moveTo>
                        <a:pt x="0" y="0"/>
                      </a:moveTo>
                      <a:lnTo>
                        <a:pt x="60450" y="0"/>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831" name="Freeform 1829">
                  <a:extLst>
                    <a:ext uri="{FF2B5EF4-FFF2-40B4-BE49-F238E27FC236}">
                      <a16:creationId xmlns:a16="http://schemas.microsoft.com/office/drawing/2014/main" id="{483B0314-4444-6249-62DF-650AC58AEC7C}"/>
                    </a:ext>
                  </a:extLst>
                </p:cNvPr>
                <p:cNvSpPr/>
                <p:nvPr/>
              </p:nvSpPr>
              <p:spPr>
                <a:xfrm>
                  <a:off x="10142910" y="3245084"/>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794" name="Graphic 2">
                <a:extLst>
                  <a:ext uri="{FF2B5EF4-FFF2-40B4-BE49-F238E27FC236}">
                    <a16:creationId xmlns:a16="http://schemas.microsoft.com/office/drawing/2014/main" id="{F51AEFEC-2DAA-819A-3C34-2220957AE15B}"/>
                  </a:ext>
                </a:extLst>
              </p:cNvPr>
              <p:cNvGrpSpPr/>
              <p:nvPr/>
            </p:nvGrpSpPr>
            <p:grpSpPr>
              <a:xfrm>
                <a:off x="9544755" y="3245084"/>
                <a:ext cx="60450" cy="57148"/>
                <a:chOff x="9544755" y="3245084"/>
                <a:chExt cx="60450" cy="57148"/>
              </a:xfrm>
            </p:grpSpPr>
            <p:sp>
              <p:nvSpPr>
                <p:cNvPr id="1828" name="Freeform 1826">
                  <a:extLst>
                    <a:ext uri="{FF2B5EF4-FFF2-40B4-BE49-F238E27FC236}">
                      <a16:creationId xmlns:a16="http://schemas.microsoft.com/office/drawing/2014/main" id="{3853067A-071C-AE0A-EB1F-FC081520FA8A}"/>
                    </a:ext>
                  </a:extLst>
                </p:cNvPr>
                <p:cNvSpPr/>
                <p:nvPr/>
              </p:nvSpPr>
              <p:spPr>
                <a:xfrm>
                  <a:off x="9544755" y="3273658"/>
                  <a:ext cx="60450" cy="12699"/>
                </a:xfrm>
                <a:custGeom>
                  <a:avLst/>
                  <a:gdLst>
                    <a:gd name="csX0" fmla="*/ 0 w 60450"/>
                    <a:gd name="csY0" fmla="*/ 0 h 12699"/>
                    <a:gd name="csX1" fmla="*/ 60451 w 60450"/>
                    <a:gd name="csY1" fmla="*/ 0 h 12699"/>
                  </a:gdLst>
                  <a:ahLst/>
                  <a:cxnLst>
                    <a:cxn ang="0">
                      <a:pos x="csX0" y="csY0"/>
                    </a:cxn>
                    <a:cxn ang="0">
                      <a:pos x="csX1" y="csY1"/>
                    </a:cxn>
                  </a:cxnLst>
                  <a:rect l="l" t="t" r="r" b="b"/>
                  <a:pathLst>
                    <a:path w="60450" h="12699">
                      <a:moveTo>
                        <a:pt x="0" y="0"/>
                      </a:moveTo>
                      <a:lnTo>
                        <a:pt x="60451" y="0"/>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829" name="Freeform 1827">
                  <a:extLst>
                    <a:ext uri="{FF2B5EF4-FFF2-40B4-BE49-F238E27FC236}">
                      <a16:creationId xmlns:a16="http://schemas.microsoft.com/office/drawing/2014/main" id="{32F8E1C8-4757-515A-885E-482B3C3DEEF1}"/>
                    </a:ext>
                  </a:extLst>
                </p:cNvPr>
                <p:cNvSpPr/>
                <p:nvPr/>
              </p:nvSpPr>
              <p:spPr>
                <a:xfrm>
                  <a:off x="9574980" y="3245084"/>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795" name="Graphic 2">
                <a:extLst>
                  <a:ext uri="{FF2B5EF4-FFF2-40B4-BE49-F238E27FC236}">
                    <a16:creationId xmlns:a16="http://schemas.microsoft.com/office/drawing/2014/main" id="{03B763F6-4E5B-776C-ECAD-28D4F029D030}"/>
                  </a:ext>
                </a:extLst>
              </p:cNvPr>
              <p:cNvGrpSpPr/>
              <p:nvPr/>
            </p:nvGrpSpPr>
            <p:grpSpPr>
              <a:xfrm>
                <a:off x="9440998" y="3245084"/>
                <a:ext cx="60577" cy="57148"/>
                <a:chOff x="9440998" y="3245084"/>
                <a:chExt cx="60577" cy="57148"/>
              </a:xfrm>
            </p:grpSpPr>
            <p:sp>
              <p:nvSpPr>
                <p:cNvPr id="1826" name="Freeform 1824">
                  <a:extLst>
                    <a:ext uri="{FF2B5EF4-FFF2-40B4-BE49-F238E27FC236}">
                      <a16:creationId xmlns:a16="http://schemas.microsoft.com/office/drawing/2014/main" id="{CB2C35B3-96C0-4F7E-0F69-485DACFCA385}"/>
                    </a:ext>
                  </a:extLst>
                </p:cNvPr>
                <p:cNvSpPr/>
                <p:nvPr/>
              </p:nvSpPr>
              <p:spPr>
                <a:xfrm>
                  <a:off x="9440998" y="3273658"/>
                  <a:ext cx="60577" cy="12699"/>
                </a:xfrm>
                <a:custGeom>
                  <a:avLst/>
                  <a:gdLst>
                    <a:gd name="csX0" fmla="*/ 0 w 60577"/>
                    <a:gd name="csY0" fmla="*/ 0 h 12699"/>
                    <a:gd name="csX1" fmla="*/ 60577 w 60577"/>
                    <a:gd name="csY1" fmla="*/ 0 h 12699"/>
                  </a:gdLst>
                  <a:ahLst/>
                  <a:cxnLst>
                    <a:cxn ang="0">
                      <a:pos x="csX0" y="csY0"/>
                    </a:cxn>
                    <a:cxn ang="0">
                      <a:pos x="csX1" y="csY1"/>
                    </a:cxn>
                  </a:cxnLst>
                  <a:rect l="l" t="t" r="r" b="b"/>
                  <a:pathLst>
                    <a:path w="60577" h="12699">
                      <a:moveTo>
                        <a:pt x="0" y="0"/>
                      </a:moveTo>
                      <a:lnTo>
                        <a:pt x="60577" y="0"/>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827" name="Freeform 1825">
                  <a:extLst>
                    <a:ext uri="{FF2B5EF4-FFF2-40B4-BE49-F238E27FC236}">
                      <a16:creationId xmlns:a16="http://schemas.microsoft.com/office/drawing/2014/main" id="{A7C434D5-CBBE-1FB3-A7B1-2638CE1B5F05}"/>
                    </a:ext>
                  </a:extLst>
                </p:cNvPr>
                <p:cNvSpPr/>
                <p:nvPr/>
              </p:nvSpPr>
              <p:spPr>
                <a:xfrm>
                  <a:off x="9471351" y="3245084"/>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796" name="Graphic 2">
                <a:extLst>
                  <a:ext uri="{FF2B5EF4-FFF2-40B4-BE49-F238E27FC236}">
                    <a16:creationId xmlns:a16="http://schemas.microsoft.com/office/drawing/2014/main" id="{030D27C5-3CB6-1F89-2978-D98C2180E28A}"/>
                  </a:ext>
                </a:extLst>
              </p:cNvPr>
              <p:cNvGrpSpPr/>
              <p:nvPr/>
            </p:nvGrpSpPr>
            <p:grpSpPr>
              <a:xfrm>
                <a:off x="9319208" y="3075797"/>
                <a:ext cx="60577" cy="57148"/>
                <a:chOff x="9319208" y="3075797"/>
                <a:chExt cx="60577" cy="57148"/>
              </a:xfrm>
            </p:grpSpPr>
            <p:sp>
              <p:nvSpPr>
                <p:cNvPr id="1824" name="Freeform 1822">
                  <a:extLst>
                    <a:ext uri="{FF2B5EF4-FFF2-40B4-BE49-F238E27FC236}">
                      <a16:creationId xmlns:a16="http://schemas.microsoft.com/office/drawing/2014/main" id="{153BA535-7E8D-9D98-AB82-9EEAD18DE873}"/>
                    </a:ext>
                  </a:extLst>
                </p:cNvPr>
                <p:cNvSpPr/>
                <p:nvPr/>
              </p:nvSpPr>
              <p:spPr>
                <a:xfrm>
                  <a:off x="9319208" y="3104371"/>
                  <a:ext cx="60577" cy="12699"/>
                </a:xfrm>
                <a:custGeom>
                  <a:avLst/>
                  <a:gdLst>
                    <a:gd name="csX0" fmla="*/ 0 w 60577"/>
                    <a:gd name="csY0" fmla="*/ 0 h 12699"/>
                    <a:gd name="csX1" fmla="*/ 60578 w 60577"/>
                    <a:gd name="csY1" fmla="*/ 0 h 12699"/>
                  </a:gdLst>
                  <a:ahLst/>
                  <a:cxnLst>
                    <a:cxn ang="0">
                      <a:pos x="csX0" y="csY0"/>
                    </a:cxn>
                    <a:cxn ang="0">
                      <a:pos x="csX1" y="csY1"/>
                    </a:cxn>
                  </a:cxnLst>
                  <a:rect l="l" t="t" r="r" b="b"/>
                  <a:pathLst>
                    <a:path w="60577" h="12699">
                      <a:moveTo>
                        <a:pt x="0" y="0"/>
                      </a:moveTo>
                      <a:lnTo>
                        <a:pt x="60578" y="0"/>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825" name="Freeform 1823">
                  <a:extLst>
                    <a:ext uri="{FF2B5EF4-FFF2-40B4-BE49-F238E27FC236}">
                      <a16:creationId xmlns:a16="http://schemas.microsoft.com/office/drawing/2014/main" id="{8CDE486E-06EF-CBF0-48AF-7578F14A3130}"/>
                    </a:ext>
                  </a:extLst>
                </p:cNvPr>
                <p:cNvSpPr/>
                <p:nvPr/>
              </p:nvSpPr>
              <p:spPr>
                <a:xfrm>
                  <a:off x="9349561" y="3075797"/>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797" name="Graphic 2">
                <a:extLst>
                  <a:ext uri="{FF2B5EF4-FFF2-40B4-BE49-F238E27FC236}">
                    <a16:creationId xmlns:a16="http://schemas.microsoft.com/office/drawing/2014/main" id="{39431F68-8C45-A090-F90F-A335F870670E}"/>
                  </a:ext>
                </a:extLst>
              </p:cNvPr>
              <p:cNvGrpSpPr/>
              <p:nvPr/>
            </p:nvGrpSpPr>
            <p:grpSpPr>
              <a:xfrm>
                <a:off x="9287967" y="3075797"/>
                <a:ext cx="60450" cy="57148"/>
                <a:chOff x="9287967" y="3075797"/>
                <a:chExt cx="60450" cy="57148"/>
              </a:xfrm>
            </p:grpSpPr>
            <p:sp>
              <p:nvSpPr>
                <p:cNvPr id="1822" name="Freeform 1820">
                  <a:extLst>
                    <a:ext uri="{FF2B5EF4-FFF2-40B4-BE49-F238E27FC236}">
                      <a16:creationId xmlns:a16="http://schemas.microsoft.com/office/drawing/2014/main" id="{FB28CC97-6C21-8861-3BDC-6C5062A3610C}"/>
                    </a:ext>
                  </a:extLst>
                </p:cNvPr>
                <p:cNvSpPr/>
                <p:nvPr/>
              </p:nvSpPr>
              <p:spPr>
                <a:xfrm>
                  <a:off x="9287967" y="3104371"/>
                  <a:ext cx="60450" cy="12699"/>
                </a:xfrm>
                <a:custGeom>
                  <a:avLst/>
                  <a:gdLst>
                    <a:gd name="csX0" fmla="*/ 0 w 60450"/>
                    <a:gd name="csY0" fmla="*/ 0 h 12699"/>
                    <a:gd name="csX1" fmla="*/ 60450 w 60450"/>
                    <a:gd name="csY1" fmla="*/ 0 h 12699"/>
                  </a:gdLst>
                  <a:ahLst/>
                  <a:cxnLst>
                    <a:cxn ang="0">
                      <a:pos x="csX0" y="csY0"/>
                    </a:cxn>
                    <a:cxn ang="0">
                      <a:pos x="csX1" y="csY1"/>
                    </a:cxn>
                  </a:cxnLst>
                  <a:rect l="l" t="t" r="r" b="b"/>
                  <a:pathLst>
                    <a:path w="60450" h="12699">
                      <a:moveTo>
                        <a:pt x="0" y="0"/>
                      </a:moveTo>
                      <a:lnTo>
                        <a:pt x="60450" y="0"/>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823" name="Freeform 1821">
                  <a:extLst>
                    <a:ext uri="{FF2B5EF4-FFF2-40B4-BE49-F238E27FC236}">
                      <a16:creationId xmlns:a16="http://schemas.microsoft.com/office/drawing/2014/main" id="{B5CFC187-4874-ED2B-C408-933B63724495}"/>
                    </a:ext>
                  </a:extLst>
                </p:cNvPr>
                <p:cNvSpPr/>
                <p:nvPr/>
              </p:nvSpPr>
              <p:spPr>
                <a:xfrm>
                  <a:off x="9318192" y="3075797"/>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798" name="Graphic 2">
                <a:extLst>
                  <a:ext uri="{FF2B5EF4-FFF2-40B4-BE49-F238E27FC236}">
                    <a16:creationId xmlns:a16="http://schemas.microsoft.com/office/drawing/2014/main" id="{0D629108-F4CE-DD65-F64E-70012053EF84}"/>
                  </a:ext>
                </a:extLst>
              </p:cNvPr>
              <p:cNvGrpSpPr/>
              <p:nvPr/>
            </p:nvGrpSpPr>
            <p:grpSpPr>
              <a:xfrm>
                <a:off x="9016194" y="3075797"/>
                <a:ext cx="60577" cy="57148"/>
                <a:chOff x="9016194" y="3075797"/>
                <a:chExt cx="60577" cy="57148"/>
              </a:xfrm>
            </p:grpSpPr>
            <p:sp>
              <p:nvSpPr>
                <p:cNvPr id="1820" name="Freeform 1818">
                  <a:extLst>
                    <a:ext uri="{FF2B5EF4-FFF2-40B4-BE49-F238E27FC236}">
                      <a16:creationId xmlns:a16="http://schemas.microsoft.com/office/drawing/2014/main" id="{D0488839-41D2-D999-18B9-89C6944231E5}"/>
                    </a:ext>
                  </a:extLst>
                </p:cNvPr>
                <p:cNvSpPr/>
                <p:nvPr/>
              </p:nvSpPr>
              <p:spPr>
                <a:xfrm>
                  <a:off x="9016194" y="3104371"/>
                  <a:ext cx="60577" cy="12699"/>
                </a:xfrm>
                <a:custGeom>
                  <a:avLst/>
                  <a:gdLst>
                    <a:gd name="csX0" fmla="*/ 0 w 60577"/>
                    <a:gd name="csY0" fmla="*/ 0 h 12699"/>
                    <a:gd name="csX1" fmla="*/ 60577 w 60577"/>
                    <a:gd name="csY1" fmla="*/ 0 h 12699"/>
                  </a:gdLst>
                  <a:ahLst/>
                  <a:cxnLst>
                    <a:cxn ang="0">
                      <a:pos x="csX0" y="csY0"/>
                    </a:cxn>
                    <a:cxn ang="0">
                      <a:pos x="csX1" y="csY1"/>
                    </a:cxn>
                  </a:cxnLst>
                  <a:rect l="l" t="t" r="r" b="b"/>
                  <a:pathLst>
                    <a:path w="60577" h="12699">
                      <a:moveTo>
                        <a:pt x="0" y="0"/>
                      </a:moveTo>
                      <a:lnTo>
                        <a:pt x="60577" y="0"/>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821" name="Freeform 1819">
                  <a:extLst>
                    <a:ext uri="{FF2B5EF4-FFF2-40B4-BE49-F238E27FC236}">
                      <a16:creationId xmlns:a16="http://schemas.microsoft.com/office/drawing/2014/main" id="{D5305713-7D00-D976-352A-BD98DF9907C9}"/>
                    </a:ext>
                  </a:extLst>
                </p:cNvPr>
                <p:cNvSpPr/>
                <p:nvPr/>
              </p:nvSpPr>
              <p:spPr>
                <a:xfrm>
                  <a:off x="9046546" y="3075797"/>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799" name="Graphic 2">
                <a:extLst>
                  <a:ext uri="{FF2B5EF4-FFF2-40B4-BE49-F238E27FC236}">
                    <a16:creationId xmlns:a16="http://schemas.microsoft.com/office/drawing/2014/main" id="{95BC907D-3936-A00B-EDBC-A1B5FC4B21F9}"/>
                  </a:ext>
                </a:extLst>
              </p:cNvPr>
              <p:cNvGrpSpPr/>
              <p:nvPr/>
            </p:nvGrpSpPr>
            <p:grpSpPr>
              <a:xfrm>
                <a:off x="8922597" y="3075797"/>
                <a:ext cx="60577" cy="57148"/>
                <a:chOff x="8922597" y="3075797"/>
                <a:chExt cx="60577" cy="57148"/>
              </a:xfrm>
            </p:grpSpPr>
            <p:sp>
              <p:nvSpPr>
                <p:cNvPr id="1818" name="Freeform 1816">
                  <a:extLst>
                    <a:ext uri="{FF2B5EF4-FFF2-40B4-BE49-F238E27FC236}">
                      <a16:creationId xmlns:a16="http://schemas.microsoft.com/office/drawing/2014/main" id="{00C1CD3F-69B0-4F6D-D5F2-5DB4DE9B9541}"/>
                    </a:ext>
                  </a:extLst>
                </p:cNvPr>
                <p:cNvSpPr/>
                <p:nvPr/>
              </p:nvSpPr>
              <p:spPr>
                <a:xfrm>
                  <a:off x="8922597" y="3104371"/>
                  <a:ext cx="60577" cy="12699"/>
                </a:xfrm>
                <a:custGeom>
                  <a:avLst/>
                  <a:gdLst>
                    <a:gd name="csX0" fmla="*/ 0 w 60577"/>
                    <a:gd name="csY0" fmla="*/ 0 h 12699"/>
                    <a:gd name="csX1" fmla="*/ 60577 w 60577"/>
                    <a:gd name="csY1" fmla="*/ 0 h 12699"/>
                  </a:gdLst>
                  <a:ahLst/>
                  <a:cxnLst>
                    <a:cxn ang="0">
                      <a:pos x="csX0" y="csY0"/>
                    </a:cxn>
                    <a:cxn ang="0">
                      <a:pos x="csX1" y="csY1"/>
                    </a:cxn>
                  </a:cxnLst>
                  <a:rect l="l" t="t" r="r" b="b"/>
                  <a:pathLst>
                    <a:path w="60577" h="12699">
                      <a:moveTo>
                        <a:pt x="0" y="0"/>
                      </a:moveTo>
                      <a:lnTo>
                        <a:pt x="60577" y="0"/>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819" name="Freeform 1817">
                  <a:extLst>
                    <a:ext uri="{FF2B5EF4-FFF2-40B4-BE49-F238E27FC236}">
                      <a16:creationId xmlns:a16="http://schemas.microsoft.com/office/drawing/2014/main" id="{8CEC4431-BB14-8061-BC9F-53F5DE211C4C}"/>
                    </a:ext>
                  </a:extLst>
                </p:cNvPr>
                <p:cNvSpPr/>
                <p:nvPr/>
              </p:nvSpPr>
              <p:spPr>
                <a:xfrm>
                  <a:off x="8952822" y="3075797"/>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800" name="Graphic 2">
                <a:extLst>
                  <a:ext uri="{FF2B5EF4-FFF2-40B4-BE49-F238E27FC236}">
                    <a16:creationId xmlns:a16="http://schemas.microsoft.com/office/drawing/2014/main" id="{D80E4164-1E72-83AD-1F5B-1485C93F28C2}"/>
                  </a:ext>
                </a:extLst>
              </p:cNvPr>
              <p:cNvGrpSpPr/>
              <p:nvPr/>
            </p:nvGrpSpPr>
            <p:grpSpPr>
              <a:xfrm>
                <a:off x="8710258" y="2991979"/>
                <a:ext cx="60450" cy="57148"/>
                <a:chOff x="8710258" y="2991979"/>
                <a:chExt cx="60450" cy="57148"/>
              </a:xfrm>
            </p:grpSpPr>
            <p:sp>
              <p:nvSpPr>
                <p:cNvPr id="1816" name="Freeform 1814">
                  <a:extLst>
                    <a:ext uri="{FF2B5EF4-FFF2-40B4-BE49-F238E27FC236}">
                      <a16:creationId xmlns:a16="http://schemas.microsoft.com/office/drawing/2014/main" id="{5DEE8257-F8BB-3860-44AD-D98DBA0A893B}"/>
                    </a:ext>
                  </a:extLst>
                </p:cNvPr>
                <p:cNvSpPr/>
                <p:nvPr/>
              </p:nvSpPr>
              <p:spPr>
                <a:xfrm>
                  <a:off x="8710258" y="3020553"/>
                  <a:ext cx="60450" cy="12699"/>
                </a:xfrm>
                <a:custGeom>
                  <a:avLst/>
                  <a:gdLst>
                    <a:gd name="csX0" fmla="*/ 0 w 60450"/>
                    <a:gd name="csY0" fmla="*/ 0 h 12699"/>
                    <a:gd name="csX1" fmla="*/ 60450 w 60450"/>
                    <a:gd name="csY1" fmla="*/ 0 h 12699"/>
                  </a:gdLst>
                  <a:ahLst/>
                  <a:cxnLst>
                    <a:cxn ang="0">
                      <a:pos x="csX0" y="csY0"/>
                    </a:cxn>
                    <a:cxn ang="0">
                      <a:pos x="csX1" y="csY1"/>
                    </a:cxn>
                  </a:cxnLst>
                  <a:rect l="l" t="t" r="r" b="b"/>
                  <a:pathLst>
                    <a:path w="60450" h="12699">
                      <a:moveTo>
                        <a:pt x="0" y="0"/>
                      </a:moveTo>
                      <a:lnTo>
                        <a:pt x="60450" y="0"/>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817" name="Freeform 1815">
                  <a:extLst>
                    <a:ext uri="{FF2B5EF4-FFF2-40B4-BE49-F238E27FC236}">
                      <a16:creationId xmlns:a16="http://schemas.microsoft.com/office/drawing/2014/main" id="{BB817104-41EE-EDD7-5299-8BF54DA68FFC}"/>
                    </a:ext>
                  </a:extLst>
                </p:cNvPr>
                <p:cNvSpPr/>
                <p:nvPr/>
              </p:nvSpPr>
              <p:spPr>
                <a:xfrm>
                  <a:off x="8740483" y="2991979"/>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801" name="Graphic 2">
                <a:extLst>
                  <a:ext uri="{FF2B5EF4-FFF2-40B4-BE49-F238E27FC236}">
                    <a16:creationId xmlns:a16="http://schemas.microsoft.com/office/drawing/2014/main" id="{E2A712AD-01EE-ADEE-9D5C-091FEE7C8A82}"/>
                  </a:ext>
                </a:extLst>
              </p:cNvPr>
              <p:cNvGrpSpPr/>
              <p:nvPr/>
            </p:nvGrpSpPr>
            <p:grpSpPr>
              <a:xfrm>
                <a:off x="7430002" y="2787895"/>
                <a:ext cx="60577" cy="57148"/>
                <a:chOff x="7430002" y="2787895"/>
                <a:chExt cx="60577" cy="57148"/>
              </a:xfrm>
            </p:grpSpPr>
            <p:sp>
              <p:nvSpPr>
                <p:cNvPr id="1814" name="Freeform 1812">
                  <a:extLst>
                    <a:ext uri="{FF2B5EF4-FFF2-40B4-BE49-F238E27FC236}">
                      <a16:creationId xmlns:a16="http://schemas.microsoft.com/office/drawing/2014/main" id="{4730BDBB-C060-7E9F-7169-927798D8BF36}"/>
                    </a:ext>
                  </a:extLst>
                </p:cNvPr>
                <p:cNvSpPr/>
                <p:nvPr/>
              </p:nvSpPr>
              <p:spPr>
                <a:xfrm>
                  <a:off x="7430002" y="2816469"/>
                  <a:ext cx="60577" cy="12699"/>
                </a:xfrm>
                <a:custGeom>
                  <a:avLst/>
                  <a:gdLst>
                    <a:gd name="csX0" fmla="*/ 0 w 60577"/>
                    <a:gd name="csY0" fmla="*/ 0 h 12699"/>
                    <a:gd name="csX1" fmla="*/ 60578 w 60577"/>
                    <a:gd name="csY1" fmla="*/ 0 h 12699"/>
                  </a:gdLst>
                  <a:ahLst/>
                  <a:cxnLst>
                    <a:cxn ang="0">
                      <a:pos x="csX0" y="csY0"/>
                    </a:cxn>
                    <a:cxn ang="0">
                      <a:pos x="csX1" y="csY1"/>
                    </a:cxn>
                  </a:cxnLst>
                  <a:rect l="l" t="t" r="r" b="b"/>
                  <a:pathLst>
                    <a:path w="60577" h="12699">
                      <a:moveTo>
                        <a:pt x="0" y="0"/>
                      </a:moveTo>
                      <a:lnTo>
                        <a:pt x="60578" y="0"/>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815" name="Freeform 1813">
                  <a:extLst>
                    <a:ext uri="{FF2B5EF4-FFF2-40B4-BE49-F238E27FC236}">
                      <a16:creationId xmlns:a16="http://schemas.microsoft.com/office/drawing/2014/main" id="{0B042863-61A8-83F6-51E9-C812A1C54E6E}"/>
                    </a:ext>
                  </a:extLst>
                </p:cNvPr>
                <p:cNvSpPr/>
                <p:nvPr/>
              </p:nvSpPr>
              <p:spPr>
                <a:xfrm>
                  <a:off x="7460227" y="2787895"/>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802" name="Graphic 2">
                <a:extLst>
                  <a:ext uri="{FF2B5EF4-FFF2-40B4-BE49-F238E27FC236}">
                    <a16:creationId xmlns:a16="http://schemas.microsoft.com/office/drawing/2014/main" id="{2B394AC8-5452-43F4-DA79-E03FE7D24BD5}"/>
                  </a:ext>
                </a:extLst>
              </p:cNvPr>
              <p:cNvGrpSpPr/>
              <p:nvPr/>
            </p:nvGrpSpPr>
            <p:grpSpPr>
              <a:xfrm>
                <a:off x="7147180" y="2659755"/>
                <a:ext cx="60450" cy="57148"/>
                <a:chOff x="7147180" y="2659755"/>
                <a:chExt cx="60450" cy="57148"/>
              </a:xfrm>
            </p:grpSpPr>
            <p:sp>
              <p:nvSpPr>
                <p:cNvPr id="1812" name="Freeform 1810">
                  <a:extLst>
                    <a:ext uri="{FF2B5EF4-FFF2-40B4-BE49-F238E27FC236}">
                      <a16:creationId xmlns:a16="http://schemas.microsoft.com/office/drawing/2014/main" id="{654D5BDB-F6BA-2B17-BC5E-08BBFFDA3A78}"/>
                    </a:ext>
                  </a:extLst>
                </p:cNvPr>
                <p:cNvSpPr/>
                <p:nvPr/>
              </p:nvSpPr>
              <p:spPr>
                <a:xfrm>
                  <a:off x="7147180" y="2688330"/>
                  <a:ext cx="60450" cy="12699"/>
                </a:xfrm>
                <a:custGeom>
                  <a:avLst/>
                  <a:gdLst>
                    <a:gd name="csX0" fmla="*/ 0 w 60450"/>
                    <a:gd name="csY0" fmla="*/ 0 h 12699"/>
                    <a:gd name="csX1" fmla="*/ 60451 w 60450"/>
                    <a:gd name="csY1" fmla="*/ 0 h 12699"/>
                  </a:gdLst>
                  <a:ahLst/>
                  <a:cxnLst>
                    <a:cxn ang="0">
                      <a:pos x="csX0" y="csY0"/>
                    </a:cxn>
                    <a:cxn ang="0">
                      <a:pos x="csX1" y="csY1"/>
                    </a:cxn>
                  </a:cxnLst>
                  <a:rect l="l" t="t" r="r" b="b"/>
                  <a:pathLst>
                    <a:path w="60450" h="12699">
                      <a:moveTo>
                        <a:pt x="0" y="0"/>
                      </a:moveTo>
                      <a:lnTo>
                        <a:pt x="60451" y="0"/>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813" name="Freeform 1811">
                  <a:extLst>
                    <a:ext uri="{FF2B5EF4-FFF2-40B4-BE49-F238E27FC236}">
                      <a16:creationId xmlns:a16="http://schemas.microsoft.com/office/drawing/2014/main" id="{B9360EF1-6D7E-89B5-081A-879025BD749E}"/>
                    </a:ext>
                  </a:extLst>
                </p:cNvPr>
                <p:cNvSpPr/>
                <p:nvPr/>
              </p:nvSpPr>
              <p:spPr>
                <a:xfrm>
                  <a:off x="7177405" y="2659755"/>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803" name="Graphic 2">
                <a:extLst>
                  <a:ext uri="{FF2B5EF4-FFF2-40B4-BE49-F238E27FC236}">
                    <a16:creationId xmlns:a16="http://schemas.microsoft.com/office/drawing/2014/main" id="{1062F1FB-A425-6D01-CD1F-90D4F97449CD}"/>
                  </a:ext>
                </a:extLst>
              </p:cNvPr>
              <p:cNvGrpSpPr/>
              <p:nvPr/>
            </p:nvGrpSpPr>
            <p:grpSpPr>
              <a:xfrm>
                <a:off x="7118225" y="2659755"/>
                <a:ext cx="60577" cy="57148"/>
                <a:chOff x="7118225" y="2659755"/>
                <a:chExt cx="60577" cy="57148"/>
              </a:xfrm>
            </p:grpSpPr>
            <p:sp>
              <p:nvSpPr>
                <p:cNvPr id="1810" name="Freeform 1808">
                  <a:extLst>
                    <a:ext uri="{FF2B5EF4-FFF2-40B4-BE49-F238E27FC236}">
                      <a16:creationId xmlns:a16="http://schemas.microsoft.com/office/drawing/2014/main" id="{89F6CC82-4774-907E-05AE-95723D6CC1E5}"/>
                    </a:ext>
                  </a:extLst>
                </p:cNvPr>
                <p:cNvSpPr/>
                <p:nvPr/>
              </p:nvSpPr>
              <p:spPr>
                <a:xfrm>
                  <a:off x="7118225" y="2688330"/>
                  <a:ext cx="60577" cy="12699"/>
                </a:xfrm>
                <a:custGeom>
                  <a:avLst/>
                  <a:gdLst>
                    <a:gd name="csX0" fmla="*/ 0 w 60577"/>
                    <a:gd name="csY0" fmla="*/ 0 h 12699"/>
                    <a:gd name="csX1" fmla="*/ 60577 w 60577"/>
                    <a:gd name="csY1" fmla="*/ 0 h 12699"/>
                  </a:gdLst>
                  <a:ahLst/>
                  <a:cxnLst>
                    <a:cxn ang="0">
                      <a:pos x="csX0" y="csY0"/>
                    </a:cxn>
                    <a:cxn ang="0">
                      <a:pos x="csX1" y="csY1"/>
                    </a:cxn>
                  </a:cxnLst>
                  <a:rect l="l" t="t" r="r" b="b"/>
                  <a:pathLst>
                    <a:path w="60577" h="12699">
                      <a:moveTo>
                        <a:pt x="0" y="0"/>
                      </a:moveTo>
                      <a:lnTo>
                        <a:pt x="60577" y="0"/>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811" name="Freeform 1809">
                  <a:extLst>
                    <a:ext uri="{FF2B5EF4-FFF2-40B4-BE49-F238E27FC236}">
                      <a16:creationId xmlns:a16="http://schemas.microsoft.com/office/drawing/2014/main" id="{0EE9B53D-C5E8-5E94-611E-5158189B1534}"/>
                    </a:ext>
                  </a:extLst>
                </p:cNvPr>
                <p:cNvSpPr/>
                <p:nvPr/>
              </p:nvSpPr>
              <p:spPr>
                <a:xfrm>
                  <a:off x="7148577" y="2659755"/>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804" name="Graphic 2">
                <a:extLst>
                  <a:ext uri="{FF2B5EF4-FFF2-40B4-BE49-F238E27FC236}">
                    <a16:creationId xmlns:a16="http://schemas.microsoft.com/office/drawing/2014/main" id="{476B5C66-1DEB-6332-08DA-E01BA0B9B61F}"/>
                  </a:ext>
                </a:extLst>
              </p:cNvPr>
              <p:cNvGrpSpPr/>
              <p:nvPr/>
            </p:nvGrpSpPr>
            <p:grpSpPr>
              <a:xfrm>
                <a:off x="7063870" y="2603242"/>
                <a:ext cx="60577" cy="57148"/>
                <a:chOff x="7063870" y="2603242"/>
                <a:chExt cx="60577" cy="57148"/>
              </a:xfrm>
            </p:grpSpPr>
            <p:sp>
              <p:nvSpPr>
                <p:cNvPr id="1808" name="Freeform 1806">
                  <a:extLst>
                    <a:ext uri="{FF2B5EF4-FFF2-40B4-BE49-F238E27FC236}">
                      <a16:creationId xmlns:a16="http://schemas.microsoft.com/office/drawing/2014/main" id="{8BDC41D2-9409-CE09-01E0-2F419A4CC92A}"/>
                    </a:ext>
                  </a:extLst>
                </p:cNvPr>
                <p:cNvSpPr/>
                <p:nvPr/>
              </p:nvSpPr>
              <p:spPr>
                <a:xfrm>
                  <a:off x="7063870" y="2631816"/>
                  <a:ext cx="60577" cy="12699"/>
                </a:xfrm>
                <a:custGeom>
                  <a:avLst/>
                  <a:gdLst>
                    <a:gd name="csX0" fmla="*/ 0 w 60577"/>
                    <a:gd name="csY0" fmla="*/ 0 h 12699"/>
                    <a:gd name="csX1" fmla="*/ 60577 w 60577"/>
                    <a:gd name="csY1" fmla="*/ 0 h 12699"/>
                  </a:gdLst>
                  <a:ahLst/>
                  <a:cxnLst>
                    <a:cxn ang="0">
                      <a:pos x="csX0" y="csY0"/>
                    </a:cxn>
                    <a:cxn ang="0">
                      <a:pos x="csX1" y="csY1"/>
                    </a:cxn>
                  </a:cxnLst>
                  <a:rect l="l" t="t" r="r" b="b"/>
                  <a:pathLst>
                    <a:path w="60577" h="12699">
                      <a:moveTo>
                        <a:pt x="0" y="0"/>
                      </a:moveTo>
                      <a:lnTo>
                        <a:pt x="60577" y="0"/>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809" name="Freeform 1807">
                  <a:extLst>
                    <a:ext uri="{FF2B5EF4-FFF2-40B4-BE49-F238E27FC236}">
                      <a16:creationId xmlns:a16="http://schemas.microsoft.com/office/drawing/2014/main" id="{7CFC7F1C-F122-441C-DB19-ADD5B96EC4F5}"/>
                    </a:ext>
                  </a:extLst>
                </p:cNvPr>
                <p:cNvSpPr/>
                <p:nvPr/>
              </p:nvSpPr>
              <p:spPr>
                <a:xfrm>
                  <a:off x="7094095" y="2603242"/>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805" name="Graphic 2">
                <a:extLst>
                  <a:ext uri="{FF2B5EF4-FFF2-40B4-BE49-F238E27FC236}">
                    <a16:creationId xmlns:a16="http://schemas.microsoft.com/office/drawing/2014/main" id="{D200774F-4238-B524-09E4-AED41E4ED24C}"/>
                  </a:ext>
                </a:extLst>
              </p:cNvPr>
              <p:cNvGrpSpPr/>
              <p:nvPr/>
            </p:nvGrpSpPr>
            <p:grpSpPr>
              <a:xfrm>
                <a:off x="6957828" y="2603242"/>
                <a:ext cx="60577" cy="57148"/>
                <a:chOff x="6957828" y="2603242"/>
                <a:chExt cx="60577" cy="57148"/>
              </a:xfrm>
            </p:grpSpPr>
            <p:sp>
              <p:nvSpPr>
                <p:cNvPr id="1806" name="Freeform 1804">
                  <a:extLst>
                    <a:ext uri="{FF2B5EF4-FFF2-40B4-BE49-F238E27FC236}">
                      <a16:creationId xmlns:a16="http://schemas.microsoft.com/office/drawing/2014/main" id="{A61E144A-575C-9E9A-F8DA-F203E4C9CBD1}"/>
                    </a:ext>
                  </a:extLst>
                </p:cNvPr>
                <p:cNvSpPr/>
                <p:nvPr/>
              </p:nvSpPr>
              <p:spPr>
                <a:xfrm>
                  <a:off x="6957828" y="2631816"/>
                  <a:ext cx="60577" cy="12699"/>
                </a:xfrm>
                <a:custGeom>
                  <a:avLst/>
                  <a:gdLst>
                    <a:gd name="csX0" fmla="*/ 0 w 60577"/>
                    <a:gd name="csY0" fmla="*/ 0 h 12699"/>
                    <a:gd name="csX1" fmla="*/ 60578 w 60577"/>
                    <a:gd name="csY1" fmla="*/ 0 h 12699"/>
                  </a:gdLst>
                  <a:ahLst/>
                  <a:cxnLst>
                    <a:cxn ang="0">
                      <a:pos x="csX0" y="csY0"/>
                    </a:cxn>
                    <a:cxn ang="0">
                      <a:pos x="csX1" y="csY1"/>
                    </a:cxn>
                  </a:cxnLst>
                  <a:rect l="l" t="t" r="r" b="b"/>
                  <a:pathLst>
                    <a:path w="60577" h="12699">
                      <a:moveTo>
                        <a:pt x="0" y="0"/>
                      </a:moveTo>
                      <a:lnTo>
                        <a:pt x="60578" y="0"/>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807" name="Freeform 1805">
                  <a:extLst>
                    <a:ext uri="{FF2B5EF4-FFF2-40B4-BE49-F238E27FC236}">
                      <a16:creationId xmlns:a16="http://schemas.microsoft.com/office/drawing/2014/main" id="{34E59BDC-94B4-EFCF-1B84-3ECA4180F385}"/>
                    </a:ext>
                  </a:extLst>
                </p:cNvPr>
                <p:cNvSpPr/>
                <p:nvPr/>
              </p:nvSpPr>
              <p:spPr>
                <a:xfrm>
                  <a:off x="6988053" y="2603242"/>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sp>
          <p:nvSpPr>
            <p:cNvPr id="1665" name="Freeform 1663">
              <a:extLst>
                <a:ext uri="{FF2B5EF4-FFF2-40B4-BE49-F238E27FC236}">
                  <a16:creationId xmlns:a16="http://schemas.microsoft.com/office/drawing/2014/main" id="{62E066AF-D59B-5436-4B57-54F5AAF0B986}"/>
                </a:ext>
              </a:extLst>
            </p:cNvPr>
            <p:cNvSpPr/>
            <p:nvPr/>
          </p:nvSpPr>
          <p:spPr>
            <a:xfrm>
              <a:off x="5384552" y="2199794"/>
              <a:ext cx="136648" cy="12699"/>
            </a:xfrm>
            <a:custGeom>
              <a:avLst/>
              <a:gdLst>
                <a:gd name="csX0" fmla="*/ 0 w 136648"/>
                <a:gd name="csY0" fmla="*/ 0 h 12699"/>
                <a:gd name="csX1" fmla="*/ 136649 w 136648"/>
                <a:gd name="csY1" fmla="*/ 0 h 12699"/>
              </a:gdLst>
              <a:ahLst/>
              <a:cxnLst>
                <a:cxn ang="0">
                  <a:pos x="csX0" y="csY0"/>
                </a:cxn>
                <a:cxn ang="0">
                  <a:pos x="csX1" y="csY1"/>
                </a:cxn>
              </a:cxnLst>
              <a:rect l="l" t="t" r="r" b="b"/>
              <a:pathLst>
                <a:path w="136648" h="12699">
                  <a:moveTo>
                    <a:pt x="0" y="0"/>
                  </a:moveTo>
                  <a:lnTo>
                    <a:pt x="136649" y="0"/>
                  </a:lnTo>
                </a:path>
              </a:pathLst>
            </a:custGeom>
            <a:ln w="19035" cap="flat">
              <a:solidFill>
                <a:srgbClr val="BC36F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666" name="TextBox 1665">
              <a:extLst>
                <a:ext uri="{FF2B5EF4-FFF2-40B4-BE49-F238E27FC236}">
                  <a16:creationId xmlns:a16="http://schemas.microsoft.com/office/drawing/2014/main" id="{1BFBB5ED-D4B6-238F-7FC7-E9CA8853FAEA}"/>
                </a:ext>
              </a:extLst>
            </p:cNvPr>
            <p:cNvSpPr txBox="1"/>
            <p:nvPr/>
          </p:nvSpPr>
          <p:spPr>
            <a:xfrm>
              <a:off x="5496054" y="2096584"/>
              <a:ext cx="840874" cy="176978"/>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Prior BTKi (n=24)</a:t>
              </a:r>
            </a:p>
          </p:txBody>
        </p:sp>
        <p:grpSp>
          <p:nvGrpSpPr>
            <p:cNvPr id="1667" name="Graphic 2">
              <a:extLst>
                <a:ext uri="{FF2B5EF4-FFF2-40B4-BE49-F238E27FC236}">
                  <a16:creationId xmlns:a16="http://schemas.microsoft.com/office/drawing/2014/main" id="{08740618-356A-BAD8-9AF7-7FB69FBA3773}"/>
                </a:ext>
              </a:extLst>
            </p:cNvPr>
            <p:cNvGrpSpPr/>
            <p:nvPr/>
          </p:nvGrpSpPr>
          <p:grpSpPr>
            <a:xfrm>
              <a:off x="5384552" y="1508804"/>
              <a:ext cx="2974521" cy="809478"/>
              <a:chOff x="6924427" y="2666105"/>
              <a:chExt cx="2974521" cy="809478"/>
            </a:xfrm>
          </p:grpSpPr>
          <p:grpSp>
            <p:nvGrpSpPr>
              <p:cNvPr id="1750" name="Graphic 2">
                <a:extLst>
                  <a:ext uri="{FF2B5EF4-FFF2-40B4-BE49-F238E27FC236}">
                    <a16:creationId xmlns:a16="http://schemas.microsoft.com/office/drawing/2014/main" id="{2B0EF39C-9F36-31A3-3C33-C4E3585BB609}"/>
                  </a:ext>
                </a:extLst>
              </p:cNvPr>
              <p:cNvGrpSpPr/>
              <p:nvPr/>
            </p:nvGrpSpPr>
            <p:grpSpPr>
              <a:xfrm>
                <a:off x="9344735" y="2957436"/>
                <a:ext cx="57148" cy="57148"/>
                <a:chOff x="9344735" y="2957436"/>
                <a:chExt cx="57148" cy="57148"/>
              </a:xfrm>
            </p:grpSpPr>
            <p:sp>
              <p:nvSpPr>
                <p:cNvPr id="1791" name="Freeform 1789">
                  <a:extLst>
                    <a:ext uri="{FF2B5EF4-FFF2-40B4-BE49-F238E27FC236}">
                      <a16:creationId xmlns:a16="http://schemas.microsoft.com/office/drawing/2014/main" id="{3EF269A5-1686-B03E-1D95-112AD5AE0A22}"/>
                    </a:ext>
                  </a:extLst>
                </p:cNvPr>
                <p:cNvSpPr/>
                <p:nvPr/>
              </p:nvSpPr>
              <p:spPr>
                <a:xfrm>
                  <a:off x="9344735" y="2986010"/>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92" name="Freeform 1790">
                  <a:extLst>
                    <a:ext uri="{FF2B5EF4-FFF2-40B4-BE49-F238E27FC236}">
                      <a16:creationId xmlns:a16="http://schemas.microsoft.com/office/drawing/2014/main" id="{CB482399-D6A6-7BF4-A783-C01382035318}"/>
                    </a:ext>
                  </a:extLst>
                </p:cNvPr>
                <p:cNvSpPr/>
                <p:nvPr/>
              </p:nvSpPr>
              <p:spPr>
                <a:xfrm>
                  <a:off x="9373309" y="2957436"/>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751" name="Graphic 2">
                <a:extLst>
                  <a:ext uri="{FF2B5EF4-FFF2-40B4-BE49-F238E27FC236}">
                    <a16:creationId xmlns:a16="http://schemas.microsoft.com/office/drawing/2014/main" id="{D7C391CD-AC6A-14CC-A92E-7B58B1A65BA0}"/>
                  </a:ext>
                </a:extLst>
              </p:cNvPr>
              <p:cNvGrpSpPr/>
              <p:nvPr/>
            </p:nvGrpSpPr>
            <p:grpSpPr>
              <a:xfrm>
                <a:off x="8943552" y="2957436"/>
                <a:ext cx="57148" cy="57148"/>
                <a:chOff x="8943552" y="2957436"/>
                <a:chExt cx="57148" cy="57148"/>
              </a:xfrm>
            </p:grpSpPr>
            <p:sp>
              <p:nvSpPr>
                <p:cNvPr id="1789" name="Freeform 1787">
                  <a:extLst>
                    <a:ext uri="{FF2B5EF4-FFF2-40B4-BE49-F238E27FC236}">
                      <a16:creationId xmlns:a16="http://schemas.microsoft.com/office/drawing/2014/main" id="{84FF6B30-22E1-455A-7FBA-4C69187BD78F}"/>
                    </a:ext>
                  </a:extLst>
                </p:cNvPr>
                <p:cNvSpPr/>
                <p:nvPr/>
              </p:nvSpPr>
              <p:spPr>
                <a:xfrm>
                  <a:off x="8943552" y="2986010"/>
                  <a:ext cx="57148" cy="12699"/>
                </a:xfrm>
                <a:custGeom>
                  <a:avLst/>
                  <a:gdLst>
                    <a:gd name="csX0" fmla="*/ 0 w 57148"/>
                    <a:gd name="csY0" fmla="*/ 0 h 12699"/>
                    <a:gd name="csX1" fmla="*/ 57148 w 57148"/>
                    <a:gd name="csY1" fmla="*/ 0 h 12699"/>
                  </a:gdLst>
                  <a:ahLst/>
                  <a:cxnLst>
                    <a:cxn ang="0">
                      <a:pos x="csX0" y="csY0"/>
                    </a:cxn>
                    <a:cxn ang="0">
                      <a:pos x="csX1" y="csY1"/>
                    </a:cxn>
                  </a:cxnLst>
                  <a:rect l="l" t="t" r="r" b="b"/>
                  <a:pathLst>
                    <a:path w="57148" h="12699">
                      <a:moveTo>
                        <a:pt x="0" y="0"/>
                      </a:moveTo>
                      <a:lnTo>
                        <a:pt x="57148" y="0"/>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90" name="Freeform 1788">
                  <a:extLst>
                    <a:ext uri="{FF2B5EF4-FFF2-40B4-BE49-F238E27FC236}">
                      <a16:creationId xmlns:a16="http://schemas.microsoft.com/office/drawing/2014/main" id="{BF62B75C-4F30-B004-42CA-58473F572CB1}"/>
                    </a:ext>
                  </a:extLst>
                </p:cNvPr>
                <p:cNvSpPr/>
                <p:nvPr/>
              </p:nvSpPr>
              <p:spPr>
                <a:xfrm>
                  <a:off x="8972126" y="2957436"/>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752" name="Graphic 2">
                <a:extLst>
                  <a:ext uri="{FF2B5EF4-FFF2-40B4-BE49-F238E27FC236}">
                    <a16:creationId xmlns:a16="http://schemas.microsoft.com/office/drawing/2014/main" id="{9520A87B-97B1-58ED-BC8C-9F696B9D7062}"/>
                  </a:ext>
                </a:extLst>
              </p:cNvPr>
              <p:cNvGrpSpPr/>
              <p:nvPr/>
            </p:nvGrpSpPr>
            <p:grpSpPr>
              <a:xfrm>
                <a:off x="8899738" y="2957436"/>
                <a:ext cx="57148" cy="57148"/>
                <a:chOff x="8899738" y="2957436"/>
                <a:chExt cx="57148" cy="57148"/>
              </a:xfrm>
            </p:grpSpPr>
            <p:sp>
              <p:nvSpPr>
                <p:cNvPr id="1787" name="Freeform 1785">
                  <a:extLst>
                    <a:ext uri="{FF2B5EF4-FFF2-40B4-BE49-F238E27FC236}">
                      <a16:creationId xmlns:a16="http://schemas.microsoft.com/office/drawing/2014/main" id="{55D71BE1-F740-80D1-AA2B-D3E3A1D71E8E}"/>
                    </a:ext>
                  </a:extLst>
                </p:cNvPr>
                <p:cNvSpPr/>
                <p:nvPr/>
              </p:nvSpPr>
              <p:spPr>
                <a:xfrm>
                  <a:off x="8899738" y="2986010"/>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88" name="Freeform 1786">
                  <a:extLst>
                    <a:ext uri="{FF2B5EF4-FFF2-40B4-BE49-F238E27FC236}">
                      <a16:creationId xmlns:a16="http://schemas.microsoft.com/office/drawing/2014/main" id="{17C3D112-4D8A-C56A-8610-2BDCEC5616BC}"/>
                    </a:ext>
                  </a:extLst>
                </p:cNvPr>
                <p:cNvSpPr/>
                <p:nvPr/>
              </p:nvSpPr>
              <p:spPr>
                <a:xfrm>
                  <a:off x="8928312" y="2957436"/>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753" name="Graphic 2">
                <a:extLst>
                  <a:ext uri="{FF2B5EF4-FFF2-40B4-BE49-F238E27FC236}">
                    <a16:creationId xmlns:a16="http://schemas.microsoft.com/office/drawing/2014/main" id="{A28CD9C8-82CD-FAD0-3CCF-9339F520165A}"/>
                  </a:ext>
                </a:extLst>
              </p:cNvPr>
              <p:cNvGrpSpPr/>
              <p:nvPr/>
            </p:nvGrpSpPr>
            <p:grpSpPr>
              <a:xfrm>
                <a:off x="8870147" y="2957436"/>
                <a:ext cx="57148" cy="57148"/>
                <a:chOff x="8870147" y="2957436"/>
                <a:chExt cx="57148" cy="57148"/>
              </a:xfrm>
            </p:grpSpPr>
            <p:sp>
              <p:nvSpPr>
                <p:cNvPr id="1785" name="Freeform 1783">
                  <a:extLst>
                    <a:ext uri="{FF2B5EF4-FFF2-40B4-BE49-F238E27FC236}">
                      <a16:creationId xmlns:a16="http://schemas.microsoft.com/office/drawing/2014/main" id="{7C3E42A2-9936-3B01-5814-B212E4C69897}"/>
                    </a:ext>
                  </a:extLst>
                </p:cNvPr>
                <p:cNvSpPr/>
                <p:nvPr/>
              </p:nvSpPr>
              <p:spPr>
                <a:xfrm>
                  <a:off x="8870147" y="2986010"/>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86" name="Freeform 1784">
                  <a:extLst>
                    <a:ext uri="{FF2B5EF4-FFF2-40B4-BE49-F238E27FC236}">
                      <a16:creationId xmlns:a16="http://schemas.microsoft.com/office/drawing/2014/main" id="{D1DA032E-5375-3A97-37B8-6EE644249CEC}"/>
                    </a:ext>
                  </a:extLst>
                </p:cNvPr>
                <p:cNvSpPr/>
                <p:nvPr/>
              </p:nvSpPr>
              <p:spPr>
                <a:xfrm>
                  <a:off x="8898722" y="2957436"/>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754" name="Graphic 2">
                <a:extLst>
                  <a:ext uri="{FF2B5EF4-FFF2-40B4-BE49-F238E27FC236}">
                    <a16:creationId xmlns:a16="http://schemas.microsoft.com/office/drawing/2014/main" id="{9FB7EF52-CFF7-DF27-5373-B685C806B10B}"/>
                  </a:ext>
                </a:extLst>
              </p:cNvPr>
              <p:cNvGrpSpPr/>
              <p:nvPr/>
            </p:nvGrpSpPr>
            <p:grpSpPr>
              <a:xfrm>
                <a:off x="8826333" y="2957436"/>
                <a:ext cx="57148" cy="57148"/>
                <a:chOff x="8826333" y="2957436"/>
                <a:chExt cx="57148" cy="57148"/>
              </a:xfrm>
            </p:grpSpPr>
            <p:sp>
              <p:nvSpPr>
                <p:cNvPr id="1783" name="Freeform 1781">
                  <a:extLst>
                    <a:ext uri="{FF2B5EF4-FFF2-40B4-BE49-F238E27FC236}">
                      <a16:creationId xmlns:a16="http://schemas.microsoft.com/office/drawing/2014/main" id="{100C0645-17A7-1BF3-F12A-1F1EFF7393A0}"/>
                    </a:ext>
                  </a:extLst>
                </p:cNvPr>
                <p:cNvSpPr/>
                <p:nvPr/>
              </p:nvSpPr>
              <p:spPr>
                <a:xfrm>
                  <a:off x="8826333" y="2986010"/>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84" name="Freeform 1782">
                  <a:extLst>
                    <a:ext uri="{FF2B5EF4-FFF2-40B4-BE49-F238E27FC236}">
                      <a16:creationId xmlns:a16="http://schemas.microsoft.com/office/drawing/2014/main" id="{B10F870C-21C9-8785-BA68-FF1675DB7A39}"/>
                    </a:ext>
                  </a:extLst>
                </p:cNvPr>
                <p:cNvSpPr/>
                <p:nvPr/>
              </p:nvSpPr>
              <p:spPr>
                <a:xfrm>
                  <a:off x="8854908" y="2957436"/>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755" name="Graphic 2">
                <a:extLst>
                  <a:ext uri="{FF2B5EF4-FFF2-40B4-BE49-F238E27FC236}">
                    <a16:creationId xmlns:a16="http://schemas.microsoft.com/office/drawing/2014/main" id="{2350C73A-E3F5-693B-CB96-0E3D457F5DA4}"/>
                  </a:ext>
                </a:extLst>
              </p:cNvPr>
              <p:cNvGrpSpPr/>
              <p:nvPr/>
            </p:nvGrpSpPr>
            <p:grpSpPr>
              <a:xfrm>
                <a:off x="8717624" y="2957436"/>
                <a:ext cx="57148" cy="57148"/>
                <a:chOff x="8717624" y="2957436"/>
                <a:chExt cx="57148" cy="57148"/>
              </a:xfrm>
            </p:grpSpPr>
            <p:sp>
              <p:nvSpPr>
                <p:cNvPr id="1781" name="Freeform 1779">
                  <a:extLst>
                    <a:ext uri="{FF2B5EF4-FFF2-40B4-BE49-F238E27FC236}">
                      <a16:creationId xmlns:a16="http://schemas.microsoft.com/office/drawing/2014/main" id="{2693DBB6-E45D-D4AF-DCBE-40738882B52A}"/>
                    </a:ext>
                  </a:extLst>
                </p:cNvPr>
                <p:cNvSpPr/>
                <p:nvPr/>
              </p:nvSpPr>
              <p:spPr>
                <a:xfrm>
                  <a:off x="8717624" y="2986010"/>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82" name="Freeform 1780">
                  <a:extLst>
                    <a:ext uri="{FF2B5EF4-FFF2-40B4-BE49-F238E27FC236}">
                      <a16:creationId xmlns:a16="http://schemas.microsoft.com/office/drawing/2014/main" id="{AA25B35A-D868-100D-DD0A-D9F52AE2D188}"/>
                    </a:ext>
                  </a:extLst>
                </p:cNvPr>
                <p:cNvSpPr/>
                <p:nvPr/>
              </p:nvSpPr>
              <p:spPr>
                <a:xfrm>
                  <a:off x="8746198" y="2957436"/>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756" name="Graphic 2">
                <a:extLst>
                  <a:ext uri="{FF2B5EF4-FFF2-40B4-BE49-F238E27FC236}">
                    <a16:creationId xmlns:a16="http://schemas.microsoft.com/office/drawing/2014/main" id="{E7D74E01-62F2-102E-2C12-F34A7E66BE3C}"/>
                  </a:ext>
                </a:extLst>
              </p:cNvPr>
              <p:cNvGrpSpPr/>
              <p:nvPr/>
            </p:nvGrpSpPr>
            <p:grpSpPr>
              <a:xfrm>
                <a:off x="8705432" y="2957436"/>
                <a:ext cx="57148" cy="57148"/>
                <a:chOff x="8705432" y="2957436"/>
                <a:chExt cx="57148" cy="57148"/>
              </a:xfrm>
            </p:grpSpPr>
            <p:sp>
              <p:nvSpPr>
                <p:cNvPr id="1779" name="Freeform 1777">
                  <a:extLst>
                    <a:ext uri="{FF2B5EF4-FFF2-40B4-BE49-F238E27FC236}">
                      <a16:creationId xmlns:a16="http://schemas.microsoft.com/office/drawing/2014/main" id="{2DB729AC-1245-B8C6-9BE1-CB5A68BF1487}"/>
                    </a:ext>
                  </a:extLst>
                </p:cNvPr>
                <p:cNvSpPr/>
                <p:nvPr/>
              </p:nvSpPr>
              <p:spPr>
                <a:xfrm>
                  <a:off x="8705432" y="2986010"/>
                  <a:ext cx="57148" cy="12699"/>
                </a:xfrm>
                <a:custGeom>
                  <a:avLst/>
                  <a:gdLst>
                    <a:gd name="csX0" fmla="*/ 0 w 57148"/>
                    <a:gd name="csY0" fmla="*/ 0 h 12699"/>
                    <a:gd name="csX1" fmla="*/ 57148 w 57148"/>
                    <a:gd name="csY1" fmla="*/ 0 h 12699"/>
                  </a:gdLst>
                  <a:ahLst/>
                  <a:cxnLst>
                    <a:cxn ang="0">
                      <a:pos x="csX0" y="csY0"/>
                    </a:cxn>
                    <a:cxn ang="0">
                      <a:pos x="csX1" y="csY1"/>
                    </a:cxn>
                  </a:cxnLst>
                  <a:rect l="l" t="t" r="r" b="b"/>
                  <a:pathLst>
                    <a:path w="57148" h="12699">
                      <a:moveTo>
                        <a:pt x="0" y="0"/>
                      </a:moveTo>
                      <a:lnTo>
                        <a:pt x="57148" y="0"/>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80" name="Freeform 1778">
                  <a:extLst>
                    <a:ext uri="{FF2B5EF4-FFF2-40B4-BE49-F238E27FC236}">
                      <a16:creationId xmlns:a16="http://schemas.microsoft.com/office/drawing/2014/main" id="{F66E4DD8-96C5-19B6-1F90-D0533FA04813}"/>
                    </a:ext>
                  </a:extLst>
                </p:cNvPr>
                <p:cNvSpPr/>
                <p:nvPr/>
              </p:nvSpPr>
              <p:spPr>
                <a:xfrm>
                  <a:off x="8734007" y="2957436"/>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757" name="Graphic 2">
                <a:extLst>
                  <a:ext uri="{FF2B5EF4-FFF2-40B4-BE49-F238E27FC236}">
                    <a16:creationId xmlns:a16="http://schemas.microsoft.com/office/drawing/2014/main" id="{B7442FEA-24A2-CE22-555F-3AB01D849E5D}"/>
                  </a:ext>
                </a:extLst>
              </p:cNvPr>
              <p:cNvGrpSpPr/>
              <p:nvPr/>
            </p:nvGrpSpPr>
            <p:grpSpPr>
              <a:xfrm>
                <a:off x="8590881" y="2957436"/>
                <a:ext cx="57148" cy="57148"/>
                <a:chOff x="8590881" y="2957436"/>
                <a:chExt cx="57148" cy="57148"/>
              </a:xfrm>
            </p:grpSpPr>
            <p:sp>
              <p:nvSpPr>
                <p:cNvPr id="1777" name="Freeform 1775">
                  <a:extLst>
                    <a:ext uri="{FF2B5EF4-FFF2-40B4-BE49-F238E27FC236}">
                      <a16:creationId xmlns:a16="http://schemas.microsoft.com/office/drawing/2014/main" id="{89B762B6-35FE-DC73-F5E8-47E12AA0DA5C}"/>
                    </a:ext>
                  </a:extLst>
                </p:cNvPr>
                <p:cNvSpPr/>
                <p:nvPr/>
              </p:nvSpPr>
              <p:spPr>
                <a:xfrm>
                  <a:off x="8590881" y="2986010"/>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78" name="Freeform 1776">
                  <a:extLst>
                    <a:ext uri="{FF2B5EF4-FFF2-40B4-BE49-F238E27FC236}">
                      <a16:creationId xmlns:a16="http://schemas.microsoft.com/office/drawing/2014/main" id="{BC5E5688-664F-B49E-4C5E-624177A882BC}"/>
                    </a:ext>
                  </a:extLst>
                </p:cNvPr>
                <p:cNvSpPr/>
                <p:nvPr/>
              </p:nvSpPr>
              <p:spPr>
                <a:xfrm>
                  <a:off x="8619455" y="2957436"/>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758" name="Graphic 2">
                <a:extLst>
                  <a:ext uri="{FF2B5EF4-FFF2-40B4-BE49-F238E27FC236}">
                    <a16:creationId xmlns:a16="http://schemas.microsoft.com/office/drawing/2014/main" id="{3D8F95B7-949D-B217-C079-D1F4384AE5AA}"/>
                  </a:ext>
                </a:extLst>
              </p:cNvPr>
              <p:cNvGrpSpPr/>
              <p:nvPr/>
            </p:nvGrpSpPr>
            <p:grpSpPr>
              <a:xfrm>
                <a:off x="8502745" y="2957436"/>
                <a:ext cx="57148" cy="57148"/>
                <a:chOff x="8502745" y="2957436"/>
                <a:chExt cx="57148" cy="57148"/>
              </a:xfrm>
            </p:grpSpPr>
            <p:sp>
              <p:nvSpPr>
                <p:cNvPr id="1775" name="Freeform 1773">
                  <a:extLst>
                    <a:ext uri="{FF2B5EF4-FFF2-40B4-BE49-F238E27FC236}">
                      <a16:creationId xmlns:a16="http://schemas.microsoft.com/office/drawing/2014/main" id="{FCA55CE3-915F-4084-5EB2-C4ABC246D0BF}"/>
                    </a:ext>
                  </a:extLst>
                </p:cNvPr>
                <p:cNvSpPr/>
                <p:nvPr/>
              </p:nvSpPr>
              <p:spPr>
                <a:xfrm>
                  <a:off x="8502745" y="2986010"/>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76" name="Freeform 1774">
                  <a:extLst>
                    <a:ext uri="{FF2B5EF4-FFF2-40B4-BE49-F238E27FC236}">
                      <a16:creationId xmlns:a16="http://schemas.microsoft.com/office/drawing/2014/main" id="{F9A9F891-FF75-C421-120F-D593BA6FCC5E}"/>
                    </a:ext>
                  </a:extLst>
                </p:cNvPr>
                <p:cNvSpPr/>
                <p:nvPr/>
              </p:nvSpPr>
              <p:spPr>
                <a:xfrm>
                  <a:off x="8531319" y="2957436"/>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759" name="Graphic 2">
                <a:extLst>
                  <a:ext uri="{FF2B5EF4-FFF2-40B4-BE49-F238E27FC236}">
                    <a16:creationId xmlns:a16="http://schemas.microsoft.com/office/drawing/2014/main" id="{1C04BEC7-334F-ADF6-DAE3-12A171A05AD2}"/>
                  </a:ext>
                </a:extLst>
              </p:cNvPr>
              <p:cNvGrpSpPr/>
              <p:nvPr/>
            </p:nvGrpSpPr>
            <p:grpSpPr>
              <a:xfrm>
                <a:off x="7998567" y="2889874"/>
                <a:ext cx="57148" cy="57148"/>
                <a:chOff x="7998567" y="2889874"/>
                <a:chExt cx="57148" cy="57148"/>
              </a:xfrm>
            </p:grpSpPr>
            <p:sp>
              <p:nvSpPr>
                <p:cNvPr id="1773" name="Freeform 1771">
                  <a:extLst>
                    <a:ext uri="{FF2B5EF4-FFF2-40B4-BE49-F238E27FC236}">
                      <a16:creationId xmlns:a16="http://schemas.microsoft.com/office/drawing/2014/main" id="{8B602D1B-EB4D-38CD-488C-DD1CEE147A40}"/>
                    </a:ext>
                  </a:extLst>
                </p:cNvPr>
                <p:cNvSpPr/>
                <p:nvPr/>
              </p:nvSpPr>
              <p:spPr>
                <a:xfrm>
                  <a:off x="7998567" y="2918448"/>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74" name="Freeform 1772">
                  <a:extLst>
                    <a:ext uri="{FF2B5EF4-FFF2-40B4-BE49-F238E27FC236}">
                      <a16:creationId xmlns:a16="http://schemas.microsoft.com/office/drawing/2014/main" id="{46BF04B9-5BA8-37AC-105A-74258E96FD82}"/>
                    </a:ext>
                  </a:extLst>
                </p:cNvPr>
                <p:cNvSpPr/>
                <p:nvPr/>
              </p:nvSpPr>
              <p:spPr>
                <a:xfrm>
                  <a:off x="8027142" y="2889874"/>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760" name="Graphic 2">
                <a:extLst>
                  <a:ext uri="{FF2B5EF4-FFF2-40B4-BE49-F238E27FC236}">
                    <a16:creationId xmlns:a16="http://schemas.microsoft.com/office/drawing/2014/main" id="{1827A3EA-AFD3-2706-4B5F-2701D0E34EEE}"/>
                  </a:ext>
                </a:extLst>
              </p:cNvPr>
              <p:cNvGrpSpPr/>
              <p:nvPr/>
            </p:nvGrpSpPr>
            <p:grpSpPr>
              <a:xfrm>
                <a:off x="7793213" y="2889874"/>
                <a:ext cx="57148" cy="57148"/>
                <a:chOff x="7793213" y="2889874"/>
                <a:chExt cx="57148" cy="57148"/>
              </a:xfrm>
            </p:grpSpPr>
            <p:sp>
              <p:nvSpPr>
                <p:cNvPr id="1771" name="Freeform 1769">
                  <a:extLst>
                    <a:ext uri="{FF2B5EF4-FFF2-40B4-BE49-F238E27FC236}">
                      <a16:creationId xmlns:a16="http://schemas.microsoft.com/office/drawing/2014/main" id="{8CD1150F-1660-5A97-262E-972A4584CF80}"/>
                    </a:ext>
                  </a:extLst>
                </p:cNvPr>
                <p:cNvSpPr/>
                <p:nvPr/>
              </p:nvSpPr>
              <p:spPr>
                <a:xfrm>
                  <a:off x="7793213" y="2918448"/>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72" name="Freeform 1770">
                  <a:extLst>
                    <a:ext uri="{FF2B5EF4-FFF2-40B4-BE49-F238E27FC236}">
                      <a16:creationId xmlns:a16="http://schemas.microsoft.com/office/drawing/2014/main" id="{651D0F4A-C9CB-2D73-F6EC-BA1371F4A212}"/>
                    </a:ext>
                  </a:extLst>
                </p:cNvPr>
                <p:cNvSpPr/>
                <p:nvPr/>
              </p:nvSpPr>
              <p:spPr>
                <a:xfrm>
                  <a:off x="7821788" y="2889874"/>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761" name="Graphic 2">
                <a:extLst>
                  <a:ext uri="{FF2B5EF4-FFF2-40B4-BE49-F238E27FC236}">
                    <a16:creationId xmlns:a16="http://schemas.microsoft.com/office/drawing/2014/main" id="{DE7313B1-1404-82CA-013F-ED35813C644D}"/>
                  </a:ext>
                </a:extLst>
              </p:cNvPr>
              <p:cNvGrpSpPr/>
              <p:nvPr/>
            </p:nvGrpSpPr>
            <p:grpSpPr>
              <a:xfrm>
                <a:off x="7276463" y="2666105"/>
                <a:ext cx="57148" cy="57148"/>
                <a:chOff x="7276463" y="2666105"/>
                <a:chExt cx="57148" cy="57148"/>
              </a:xfrm>
            </p:grpSpPr>
            <p:sp>
              <p:nvSpPr>
                <p:cNvPr id="1769" name="Freeform 1767">
                  <a:extLst>
                    <a:ext uri="{FF2B5EF4-FFF2-40B4-BE49-F238E27FC236}">
                      <a16:creationId xmlns:a16="http://schemas.microsoft.com/office/drawing/2014/main" id="{3E86EF51-9029-DC6F-5714-8BFDAC7E050A}"/>
                    </a:ext>
                  </a:extLst>
                </p:cNvPr>
                <p:cNvSpPr/>
                <p:nvPr/>
              </p:nvSpPr>
              <p:spPr>
                <a:xfrm>
                  <a:off x="7276463" y="2694679"/>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70" name="Freeform 1768">
                  <a:extLst>
                    <a:ext uri="{FF2B5EF4-FFF2-40B4-BE49-F238E27FC236}">
                      <a16:creationId xmlns:a16="http://schemas.microsoft.com/office/drawing/2014/main" id="{3880E940-D12A-E264-C572-ADA2E56BEE44}"/>
                    </a:ext>
                  </a:extLst>
                </p:cNvPr>
                <p:cNvSpPr/>
                <p:nvPr/>
              </p:nvSpPr>
              <p:spPr>
                <a:xfrm>
                  <a:off x="7305037" y="2666105"/>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762" name="Graphic 2">
                <a:extLst>
                  <a:ext uri="{FF2B5EF4-FFF2-40B4-BE49-F238E27FC236}">
                    <a16:creationId xmlns:a16="http://schemas.microsoft.com/office/drawing/2014/main" id="{276274CA-9564-70DE-6987-6EFA91138339}"/>
                  </a:ext>
                </a:extLst>
              </p:cNvPr>
              <p:cNvGrpSpPr/>
              <p:nvPr/>
            </p:nvGrpSpPr>
            <p:grpSpPr>
              <a:xfrm>
                <a:off x="9428045" y="2957436"/>
                <a:ext cx="57148" cy="57148"/>
                <a:chOff x="9428045" y="2957436"/>
                <a:chExt cx="57148" cy="57148"/>
              </a:xfrm>
            </p:grpSpPr>
            <p:sp>
              <p:nvSpPr>
                <p:cNvPr id="1767" name="Freeform 1765">
                  <a:extLst>
                    <a:ext uri="{FF2B5EF4-FFF2-40B4-BE49-F238E27FC236}">
                      <a16:creationId xmlns:a16="http://schemas.microsoft.com/office/drawing/2014/main" id="{B2207E59-6262-F624-C6DB-C41089972ADF}"/>
                    </a:ext>
                  </a:extLst>
                </p:cNvPr>
                <p:cNvSpPr/>
                <p:nvPr/>
              </p:nvSpPr>
              <p:spPr>
                <a:xfrm>
                  <a:off x="9428045" y="2986010"/>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68" name="Freeform 1766">
                  <a:extLst>
                    <a:ext uri="{FF2B5EF4-FFF2-40B4-BE49-F238E27FC236}">
                      <a16:creationId xmlns:a16="http://schemas.microsoft.com/office/drawing/2014/main" id="{AD88D635-997E-34F9-876B-6B335A869A03}"/>
                    </a:ext>
                  </a:extLst>
                </p:cNvPr>
                <p:cNvSpPr/>
                <p:nvPr/>
              </p:nvSpPr>
              <p:spPr>
                <a:xfrm>
                  <a:off x="9456619" y="2957436"/>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763" name="Graphic 2">
                <a:extLst>
                  <a:ext uri="{FF2B5EF4-FFF2-40B4-BE49-F238E27FC236}">
                    <a16:creationId xmlns:a16="http://schemas.microsoft.com/office/drawing/2014/main" id="{23B76762-F4CE-918F-D55A-37CA04418D8B}"/>
                  </a:ext>
                </a:extLst>
              </p:cNvPr>
              <p:cNvGrpSpPr/>
              <p:nvPr/>
            </p:nvGrpSpPr>
            <p:grpSpPr>
              <a:xfrm>
                <a:off x="9841801" y="3347824"/>
                <a:ext cx="57148" cy="57148"/>
                <a:chOff x="9841801" y="3347824"/>
                <a:chExt cx="57148" cy="57148"/>
              </a:xfrm>
            </p:grpSpPr>
            <p:sp>
              <p:nvSpPr>
                <p:cNvPr id="1765" name="Freeform 1763">
                  <a:extLst>
                    <a:ext uri="{FF2B5EF4-FFF2-40B4-BE49-F238E27FC236}">
                      <a16:creationId xmlns:a16="http://schemas.microsoft.com/office/drawing/2014/main" id="{DE7318F2-2758-8EF3-4527-9E2F5BA4DCEE}"/>
                    </a:ext>
                  </a:extLst>
                </p:cNvPr>
                <p:cNvSpPr/>
                <p:nvPr/>
              </p:nvSpPr>
              <p:spPr>
                <a:xfrm>
                  <a:off x="9841801" y="3376399"/>
                  <a:ext cx="57148" cy="12699"/>
                </a:xfrm>
                <a:custGeom>
                  <a:avLst/>
                  <a:gdLst>
                    <a:gd name="csX0" fmla="*/ 0 w 57148"/>
                    <a:gd name="csY0" fmla="*/ 0 h 12699"/>
                    <a:gd name="csX1" fmla="*/ 57149 w 57148"/>
                    <a:gd name="csY1" fmla="*/ 0 h 12699"/>
                  </a:gdLst>
                  <a:ahLst/>
                  <a:cxnLst>
                    <a:cxn ang="0">
                      <a:pos x="csX0" y="csY0"/>
                    </a:cxn>
                    <a:cxn ang="0">
                      <a:pos x="csX1" y="csY1"/>
                    </a:cxn>
                  </a:cxnLst>
                  <a:rect l="l" t="t" r="r" b="b"/>
                  <a:pathLst>
                    <a:path w="57148" h="12699">
                      <a:moveTo>
                        <a:pt x="0" y="0"/>
                      </a:moveTo>
                      <a:lnTo>
                        <a:pt x="57149" y="0"/>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66" name="Freeform 1764">
                  <a:extLst>
                    <a:ext uri="{FF2B5EF4-FFF2-40B4-BE49-F238E27FC236}">
                      <a16:creationId xmlns:a16="http://schemas.microsoft.com/office/drawing/2014/main" id="{4321738B-B05D-808F-76B9-9A48C5B63EB5}"/>
                    </a:ext>
                  </a:extLst>
                </p:cNvPr>
                <p:cNvSpPr/>
                <p:nvPr/>
              </p:nvSpPr>
              <p:spPr>
                <a:xfrm>
                  <a:off x="9870375" y="3347824"/>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sp>
            <p:nvSpPr>
              <p:cNvPr id="1764" name="Freeform 1762">
                <a:extLst>
                  <a:ext uri="{FF2B5EF4-FFF2-40B4-BE49-F238E27FC236}">
                    <a16:creationId xmlns:a16="http://schemas.microsoft.com/office/drawing/2014/main" id="{C796716E-DA48-88F5-C4EF-6CE7BBFA014F}"/>
                  </a:ext>
                </a:extLst>
              </p:cNvPr>
              <p:cNvSpPr/>
              <p:nvPr/>
            </p:nvSpPr>
            <p:spPr>
              <a:xfrm>
                <a:off x="6924427" y="3475583"/>
                <a:ext cx="136648" cy="12699"/>
              </a:xfrm>
              <a:custGeom>
                <a:avLst/>
                <a:gdLst>
                  <a:gd name="csX0" fmla="*/ 0 w 136648"/>
                  <a:gd name="csY0" fmla="*/ 0 h 12699"/>
                  <a:gd name="csX1" fmla="*/ 136649 w 136648"/>
                  <a:gd name="csY1" fmla="*/ 0 h 12699"/>
                </a:gdLst>
                <a:ahLst/>
                <a:cxnLst>
                  <a:cxn ang="0">
                    <a:pos x="csX0" y="csY0"/>
                  </a:cxn>
                  <a:cxn ang="0">
                    <a:pos x="csX1" y="csY1"/>
                  </a:cxn>
                </a:cxnLst>
                <a:rect l="l" t="t" r="r" b="b"/>
                <a:pathLst>
                  <a:path w="136648" h="12699">
                    <a:moveTo>
                      <a:pt x="0" y="0"/>
                    </a:moveTo>
                    <a:lnTo>
                      <a:pt x="136649" y="0"/>
                    </a:lnTo>
                  </a:path>
                </a:pathLst>
              </a:custGeom>
              <a:ln w="19035" cap="flat">
                <a:solidFill>
                  <a:srgbClr val="544F4F"/>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68" name="Graphic 2">
              <a:extLst>
                <a:ext uri="{FF2B5EF4-FFF2-40B4-BE49-F238E27FC236}">
                  <a16:creationId xmlns:a16="http://schemas.microsoft.com/office/drawing/2014/main" id="{85F8938D-D54B-3098-90F6-CFF37239572A}"/>
                </a:ext>
              </a:extLst>
            </p:cNvPr>
            <p:cNvGrpSpPr/>
            <p:nvPr/>
          </p:nvGrpSpPr>
          <p:grpSpPr>
            <a:xfrm>
              <a:off x="5415921" y="1421557"/>
              <a:ext cx="3219118" cy="798556"/>
              <a:chOff x="6955796" y="2578858"/>
              <a:chExt cx="3219118" cy="798556"/>
            </a:xfrm>
          </p:grpSpPr>
          <p:grpSp>
            <p:nvGrpSpPr>
              <p:cNvPr id="1672" name="Graphic 2">
                <a:extLst>
                  <a:ext uri="{FF2B5EF4-FFF2-40B4-BE49-F238E27FC236}">
                    <a16:creationId xmlns:a16="http://schemas.microsoft.com/office/drawing/2014/main" id="{305549BC-29D2-614C-85BE-DC89C0FCD1A0}"/>
                  </a:ext>
                </a:extLst>
              </p:cNvPr>
              <p:cNvGrpSpPr/>
              <p:nvPr/>
            </p:nvGrpSpPr>
            <p:grpSpPr>
              <a:xfrm>
                <a:off x="10114336" y="3320266"/>
                <a:ext cx="60577" cy="57148"/>
                <a:chOff x="10114336" y="3320266"/>
                <a:chExt cx="60577" cy="57148"/>
              </a:xfrm>
            </p:grpSpPr>
            <p:sp>
              <p:nvSpPr>
                <p:cNvPr id="1748" name="Freeform 1746">
                  <a:extLst>
                    <a:ext uri="{FF2B5EF4-FFF2-40B4-BE49-F238E27FC236}">
                      <a16:creationId xmlns:a16="http://schemas.microsoft.com/office/drawing/2014/main" id="{E07A70F8-0BED-10C0-9D28-E49441F26D4D}"/>
                    </a:ext>
                  </a:extLst>
                </p:cNvPr>
                <p:cNvSpPr/>
                <p:nvPr/>
              </p:nvSpPr>
              <p:spPr>
                <a:xfrm>
                  <a:off x="10114336" y="3348840"/>
                  <a:ext cx="60577" cy="12699"/>
                </a:xfrm>
                <a:custGeom>
                  <a:avLst/>
                  <a:gdLst>
                    <a:gd name="csX0" fmla="*/ 0 w 60577"/>
                    <a:gd name="csY0" fmla="*/ 0 h 12699"/>
                    <a:gd name="csX1" fmla="*/ 60578 w 60577"/>
                    <a:gd name="csY1" fmla="*/ 0 h 12699"/>
                  </a:gdLst>
                  <a:ahLst/>
                  <a:cxnLst>
                    <a:cxn ang="0">
                      <a:pos x="csX0" y="csY0"/>
                    </a:cxn>
                    <a:cxn ang="0">
                      <a:pos x="csX1" y="csY1"/>
                    </a:cxn>
                  </a:cxnLst>
                  <a:rect l="l" t="t" r="r" b="b"/>
                  <a:pathLst>
                    <a:path w="60577" h="12699">
                      <a:moveTo>
                        <a:pt x="0" y="0"/>
                      </a:moveTo>
                      <a:lnTo>
                        <a:pt x="60578"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49" name="Freeform 1747">
                  <a:extLst>
                    <a:ext uri="{FF2B5EF4-FFF2-40B4-BE49-F238E27FC236}">
                      <a16:creationId xmlns:a16="http://schemas.microsoft.com/office/drawing/2014/main" id="{E64F280C-07A9-9128-A157-B38DC1B116CA}"/>
                    </a:ext>
                  </a:extLst>
                </p:cNvPr>
                <p:cNvSpPr/>
                <p:nvPr/>
              </p:nvSpPr>
              <p:spPr>
                <a:xfrm>
                  <a:off x="10144688" y="3320266"/>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73" name="Graphic 2">
                <a:extLst>
                  <a:ext uri="{FF2B5EF4-FFF2-40B4-BE49-F238E27FC236}">
                    <a16:creationId xmlns:a16="http://schemas.microsoft.com/office/drawing/2014/main" id="{471086FD-7A01-26B9-8374-0D264DEF7E22}"/>
                  </a:ext>
                </a:extLst>
              </p:cNvPr>
              <p:cNvGrpSpPr/>
              <p:nvPr/>
            </p:nvGrpSpPr>
            <p:grpSpPr>
              <a:xfrm>
                <a:off x="9837229" y="3320266"/>
                <a:ext cx="60450" cy="57148"/>
                <a:chOff x="9837229" y="3320266"/>
                <a:chExt cx="60450" cy="57148"/>
              </a:xfrm>
            </p:grpSpPr>
            <p:sp>
              <p:nvSpPr>
                <p:cNvPr id="1746" name="Freeform 1744">
                  <a:extLst>
                    <a:ext uri="{FF2B5EF4-FFF2-40B4-BE49-F238E27FC236}">
                      <a16:creationId xmlns:a16="http://schemas.microsoft.com/office/drawing/2014/main" id="{6002F7DF-62A1-9877-CBBD-635BE0975E2E}"/>
                    </a:ext>
                  </a:extLst>
                </p:cNvPr>
                <p:cNvSpPr/>
                <p:nvPr/>
              </p:nvSpPr>
              <p:spPr>
                <a:xfrm>
                  <a:off x="9837229" y="3348840"/>
                  <a:ext cx="60450" cy="12699"/>
                </a:xfrm>
                <a:custGeom>
                  <a:avLst/>
                  <a:gdLst>
                    <a:gd name="csX0" fmla="*/ 0 w 60450"/>
                    <a:gd name="csY0" fmla="*/ 0 h 12699"/>
                    <a:gd name="csX1" fmla="*/ 60450 w 60450"/>
                    <a:gd name="csY1" fmla="*/ 0 h 12699"/>
                  </a:gdLst>
                  <a:ahLst/>
                  <a:cxnLst>
                    <a:cxn ang="0">
                      <a:pos x="csX0" y="csY0"/>
                    </a:cxn>
                    <a:cxn ang="0">
                      <a:pos x="csX1" y="csY1"/>
                    </a:cxn>
                  </a:cxnLst>
                  <a:rect l="l" t="t" r="r" b="b"/>
                  <a:pathLst>
                    <a:path w="60450" h="12699">
                      <a:moveTo>
                        <a:pt x="0" y="0"/>
                      </a:moveTo>
                      <a:lnTo>
                        <a:pt x="60450"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47" name="Freeform 1745">
                  <a:extLst>
                    <a:ext uri="{FF2B5EF4-FFF2-40B4-BE49-F238E27FC236}">
                      <a16:creationId xmlns:a16="http://schemas.microsoft.com/office/drawing/2014/main" id="{74BE04AB-B3FA-8905-FD5C-3B7911D8FC81}"/>
                    </a:ext>
                  </a:extLst>
                </p:cNvPr>
                <p:cNvSpPr/>
                <p:nvPr/>
              </p:nvSpPr>
              <p:spPr>
                <a:xfrm>
                  <a:off x="9867454" y="3320266"/>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74" name="Graphic 2">
                <a:extLst>
                  <a:ext uri="{FF2B5EF4-FFF2-40B4-BE49-F238E27FC236}">
                    <a16:creationId xmlns:a16="http://schemas.microsoft.com/office/drawing/2014/main" id="{89461BA3-80F3-ECBC-EDF6-6A1CD88BE2DF}"/>
                  </a:ext>
                </a:extLst>
              </p:cNvPr>
              <p:cNvGrpSpPr/>
              <p:nvPr/>
            </p:nvGrpSpPr>
            <p:grpSpPr>
              <a:xfrm>
                <a:off x="9546533" y="3109578"/>
                <a:ext cx="60450" cy="57148"/>
                <a:chOff x="9546533" y="3109578"/>
                <a:chExt cx="60450" cy="57148"/>
              </a:xfrm>
            </p:grpSpPr>
            <p:sp>
              <p:nvSpPr>
                <p:cNvPr id="1744" name="Freeform 1742">
                  <a:extLst>
                    <a:ext uri="{FF2B5EF4-FFF2-40B4-BE49-F238E27FC236}">
                      <a16:creationId xmlns:a16="http://schemas.microsoft.com/office/drawing/2014/main" id="{83A9F799-926E-B15A-82F3-9E76159B9BEC}"/>
                    </a:ext>
                  </a:extLst>
                </p:cNvPr>
                <p:cNvSpPr/>
                <p:nvPr/>
              </p:nvSpPr>
              <p:spPr>
                <a:xfrm>
                  <a:off x="9546533" y="3138153"/>
                  <a:ext cx="60450" cy="12699"/>
                </a:xfrm>
                <a:custGeom>
                  <a:avLst/>
                  <a:gdLst>
                    <a:gd name="csX0" fmla="*/ 0 w 60450"/>
                    <a:gd name="csY0" fmla="*/ 0 h 12699"/>
                    <a:gd name="csX1" fmla="*/ 60450 w 60450"/>
                    <a:gd name="csY1" fmla="*/ 0 h 12699"/>
                  </a:gdLst>
                  <a:ahLst/>
                  <a:cxnLst>
                    <a:cxn ang="0">
                      <a:pos x="csX0" y="csY0"/>
                    </a:cxn>
                    <a:cxn ang="0">
                      <a:pos x="csX1" y="csY1"/>
                    </a:cxn>
                  </a:cxnLst>
                  <a:rect l="l" t="t" r="r" b="b"/>
                  <a:pathLst>
                    <a:path w="60450" h="12699">
                      <a:moveTo>
                        <a:pt x="0" y="0"/>
                      </a:moveTo>
                      <a:lnTo>
                        <a:pt x="60450"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45" name="Freeform 1743">
                  <a:extLst>
                    <a:ext uri="{FF2B5EF4-FFF2-40B4-BE49-F238E27FC236}">
                      <a16:creationId xmlns:a16="http://schemas.microsoft.com/office/drawing/2014/main" id="{C22226E3-C9DE-322E-6449-B0523410BECD}"/>
                    </a:ext>
                  </a:extLst>
                </p:cNvPr>
                <p:cNvSpPr/>
                <p:nvPr/>
              </p:nvSpPr>
              <p:spPr>
                <a:xfrm>
                  <a:off x="9576758" y="3109578"/>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75" name="Graphic 2">
                <a:extLst>
                  <a:ext uri="{FF2B5EF4-FFF2-40B4-BE49-F238E27FC236}">
                    <a16:creationId xmlns:a16="http://schemas.microsoft.com/office/drawing/2014/main" id="{37157550-15D2-45F4-F9B4-3A03DE6540FD}"/>
                  </a:ext>
                </a:extLst>
              </p:cNvPr>
              <p:cNvGrpSpPr/>
              <p:nvPr/>
            </p:nvGrpSpPr>
            <p:grpSpPr>
              <a:xfrm>
                <a:off x="9440109" y="3109578"/>
                <a:ext cx="60577" cy="57148"/>
                <a:chOff x="9440109" y="3109578"/>
                <a:chExt cx="60577" cy="57148"/>
              </a:xfrm>
            </p:grpSpPr>
            <p:sp>
              <p:nvSpPr>
                <p:cNvPr id="1742" name="Freeform 1740">
                  <a:extLst>
                    <a:ext uri="{FF2B5EF4-FFF2-40B4-BE49-F238E27FC236}">
                      <a16:creationId xmlns:a16="http://schemas.microsoft.com/office/drawing/2014/main" id="{2CE1D329-8752-7DE4-B686-7C85DA25092D}"/>
                    </a:ext>
                  </a:extLst>
                </p:cNvPr>
                <p:cNvSpPr/>
                <p:nvPr/>
              </p:nvSpPr>
              <p:spPr>
                <a:xfrm>
                  <a:off x="9440109" y="3138153"/>
                  <a:ext cx="60577" cy="12699"/>
                </a:xfrm>
                <a:custGeom>
                  <a:avLst/>
                  <a:gdLst>
                    <a:gd name="csX0" fmla="*/ 0 w 60577"/>
                    <a:gd name="csY0" fmla="*/ 0 h 12699"/>
                    <a:gd name="csX1" fmla="*/ 60577 w 60577"/>
                    <a:gd name="csY1" fmla="*/ 0 h 12699"/>
                  </a:gdLst>
                  <a:ahLst/>
                  <a:cxnLst>
                    <a:cxn ang="0">
                      <a:pos x="csX0" y="csY0"/>
                    </a:cxn>
                    <a:cxn ang="0">
                      <a:pos x="csX1" y="csY1"/>
                    </a:cxn>
                  </a:cxnLst>
                  <a:rect l="l" t="t" r="r" b="b"/>
                  <a:pathLst>
                    <a:path w="60577" h="12699">
                      <a:moveTo>
                        <a:pt x="0" y="0"/>
                      </a:moveTo>
                      <a:lnTo>
                        <a:pt x="60577"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43" name="Freeform 1741">
                  <a:extLst>
                    <a:ext uri="{FF2B5EF4-FFF2-40B4-BE49-F238E27FC236}">
                      <a16:creationId xmlns:a16="http://schemas.microsoft.com/office/drawing/2014/main" id="{041562B7-08A5-5907-212A-26E8BF29E3FC}"/>
                    </a:ext>
                  </a:extLst>
                </p:cNvPr>
                <p:cNvSpPr/>
                <p:nvPr/>
              </p:nvSpPr>
              <p:spPr>
                <a:xfrm>
                  <a:off x="9470462" y="3109578"/>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76" name="Graphic 2">
                <a:extLst>
                  <a:ext uri="{FF2B5EF4-FFF2-40B4-BE49-F238E27FC236}">
                    <a16:creationId xmlns:a16="http://schemas.microsoft.com/office/drawing/2014/main" id="{CF930225-3782-8D79-2381-6CA1B515D0B3}"/>
                  </a:ext>
                </a:extLst>
              </p:cNvPr>
              <p:cNvGrpSpPr/>
              <p:nvPr/>
            </p:nvGrpSpPr>
            <p:grpSpPr>
              <a:xfrm>
                <a:off x="9421822" y="3109578"/>
                <a:ext cx="60577" cy="57148"/>
                <a:chOff x="9421822" y="3109578"/>
                <a:chExt cx="60577" cy="57148"/>
              </a:xfrm>
            </p:grpSpPr>
            <p:sp>
              <p:nvSpPr>
                <p:cNvPr id="1740" name="Freeform 1738">
                  <a:extLst>
                    <a:ext uri="{FF2B5EF4-FFF2-40B4-BE49-F238E27FC236}">
                      <a16:creationId xmlns:a16="http://schemas.microsoft.com/office/drawing/2014/main" id="{C436F1F2-CC48-C069-4FAD-AFDF61BE5C51}"/>
                    </a:ext>
                  </a:extLst>
                </p:cNvPr>
                <p:cNvSpPr/>
                <p:nvPr/>
              </p:nvSpPr>
              <p:spPr>
                <a:xfrm>
                  <a:off x="9421822" y="3138153"/>
                  <a:ext cx="60577" cy="12699"/>
                </a:xfrm>
                <a:custGeom>
                  <a:avLst/>
                  <a:gdLst>
                    <a:gd name="csX0" fmla="*/ 0 w 60577"/>
                    <a:gd name="csY0" fmla="*/ 0 h 12699"/>
                    <a:gd name="csX1" fmla="*/ 60577 w 60577"/>
                    <a:gd name="csY1" fmla="*/ 0 h 12699"/>
                  </a:gdLst>
                  <a:ahLst/>
                  <a:cxnLst>
                    <a:cxn ang="0">
                      <a:pos x="csX0" y="csY0"/>
                    </a:cxn>
                    <a:cxn ang="0">
                      <a:pos x="csX1" y="csY1"/>
                    </a:cxn>
                  </a:cxnLst>
                  <a:rect l="l" t="t" r="r" b="b"/>
                  <a:pathLst>
                    <a:path w="60577" h="12699">
                      <a:moveTo>
                        <a:pt x="0" y="0"/>
                      </a:moveTo>
                      <a:lnTo>
                        <a:pt x="60577"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41" name="Freeform 1739">
                  <a:extLst>
                    <a:ext uri="{FF2B5EF4-FFF2-40B4-BE49-F238E27FC236}">
                      <a16:creationId xmlns:a16="http://schemas.microsoft.com/office/drawing/2014/main" id="{C72C7F2D-69E6-C129-85D2-D7BAD88DA727}"/>
                    </a:ext>
                  </a:extLst>
                </p:cNvPr>
                <p:cNvSpPr/>
                <p:nvPr/>
              </p:nvSpPr>
              <p:spPr>
                <a:xfrm>
                  <a:off x="9452047" y="3109578"/>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77" name="Graphic 2">
                <a:extLst>
                  <a:ext uri="{FF2B5EF4-FFF2-40B4-BE49-F238E27FC236}">
                    <a16:creationId xmlns:a16="http://schemas.microsoft.com/office/drawing/2014/main" id="{07DF9A62-F05A-615D-981E-53B5A3AD901D}"/>
                  </a:ext>
                </a:extLst>
              </p:cNvPr>
              <p:cNvGrpSpPr/>
              <p:nvPr/>
            </p:nvGrpSpPr>
            <p:grpSpPr>
              <a:xfrm>
                <a:off x="9339020" y="3109578"/>
                <a:ext cx="60450" cy="57148"/>
                <a:chOff x="9339020" y="3109578"/>
                <a:chExt cx="60450" cy="57148"/>
              </a:xfrm>
            </p:grpSpPr>
            <p:sp>
              <p:nvSpPr>
                <p:cNvPr id="1738" name="Freeform 1736">
                  <a:extLst>
                    <a:ext uri="{FF2B5EF4-FFF2-40B4-BE49-F238E27FC236}">
                      <a16:creationId xmlns:a16="http://schemas.microsoft.com/office/drawing/2014/main" id="{B72A9EF6-7375-5564-E058-7A7869B43DB5}"/>
                    </a:ext>
                  </a:extLst>
                </p:cNvPr>
                <p:cNvSpPr/>
                <p:nvPr/>
              </p:nvSpPr>
              <p:spPr>
                <a:xfrm>
                  <a:off x="9339020" y="3138153"/>
                  <a:ext cx="60450" cy="12699"/>
                </a:xfrm>
                <a:custGeom>
                  <a:avLst/>
                  <a:gdLst>
                    <a:gd name="csX0" fmla="*/ 0 w 60450"/>
                    <a:gd name="csY0" fmla="*/ 0 h 12699"/>
                    <a:gd name="csX1" fmla="*/ 60451 w 60450"/>
                    <a:gd name="csY1" fmla="*/ 0 h 12699"/>
                  </a:gdLst>
                  <a:ahLst/>
                  <a:cxnLst>
                    <a:cxn ang="0">
                      <a:pos x="csX0" y="csY0"/>
                    </a:cxn>
                    <a:cxn ang="0">
                      <a:pos x="csX1" y="csY1"/>
                    </a:cxn>
                  </a:cxnLst>
                  <a:rect l="l" t="t" r="r" b="b"/>
                  <a:pathLst>
                    <a:path w="60450" h="12699">
                      <a:moveTo>
                        <a:pt x="0" y="0"/>
                      </a:moveTo>
                      <a:lnTo>
                        <a:pt x="60451"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39" name="Freeform 1737">
                  <a:extLst>
                    <a:ext uri="{FF2B5EF4-FFF2-40B4-BE49-F238E27FC236}">
                      <a16:creationId xmlns:a16="http://schemas.microsoft.com/office/drawing/2014/main" id="{EE17CA7B-21B8-38B2-F60E-AA8A2A20C7EB}"/>
                    </a:ext>
                  </a:extLst>
                </p:cNvPr>
                <p:cNvSpPr/>
                <p:nvPr/>
              </p:nvSpPr>
              <p:spPr>
                <a:xfrm>
                  <a:off x="9369245" y="3109578"/>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78" name="Graphic 2">
                <a:extLst>
                  <a:ext uri="{FF2B5EF4-FFF2-40B4-BE49-F238E27FC236}">
                    <a16:creationId xmlns:a16="http://schemas.microsoft.com/office/drawing/2014/main" id="{4B1D8329-1985-272F-5EF1-8F0079809C6E}"/>
                  </a:ext>
                </a:extLst>
              </p:cNvPr>
              <p:cNvGrpSpPr/>
              <p:nvPr/>
            </p:nvGrpSpPr>
            <p:grpSpPr>
              <a:xfrm>
                <a:off x="9318573" y="3019283"/>
                <a:ext cx="60450" cy="57148"/>
                <a:chOff x="9318573" y="3019283"/>
                <a:chExt cx="60450" cy="57148"/>
              </a:xfrm>
            </p:grpSpPr>
            <p:sp>
              <p:nvSpPr>
                <p:cNvPr id="1736" name="Freeform 1734">
                  <a:extLst>
                    <a:ext uri="{FF2B5EF4-FFF2-40B4-BE49-F238E27FC236}">
                      <a16:creationId xmlns:a16="http://schemas.microsoft.com/office/drawing/2014/main" id="{79B27D2B-FD84-C86C-B340-1DAB6381111A}"/>
                    </a:ext>
                  </a:extLst>
                </p:cNvPr>
                <p:cNvSpPr/>
                <p:nvPr/>
              </p:nvSpPr>
              <p:spPr>
                <a:xfrm>
                  <a:off x="9318573" y="3047858"/>
                  <a:ext cx="60450" cy="12699"/>
                </a:xfrm>
                <a:custGeom>
                  <a:avLst/>
                  <a:gdLst>
                    <a:gd name="csX0" fmla="*/ 0 w 60450"/>
                    <a:gd name="csY0" fmla="*/ 0 h 12699"/>
                    <a:gd name="csX1" fmla="*/ 60451 w 60450"/>
                    <a:gd name="csY1" fmla="*/ 0 h 12699"/>
                  </a:gdLst>
                  <a:ahLst/>
                  <a:cxnLst>
                    <a:cxn ang="0">
                      <a:pos x="csX0" y="csY0"/>
                    </a:cxn>
                    <a:cxn ang="0">
                      <a:pos x="csX1" y="csY1"/>
                    </a:cxn>
                  </a:cxnLst>
                  <a:rect l="l" t="t" r="r" b="b"/>
                  <a:pathLst>
                    <a:path w="60450" h="12699">
                      <a:moveTo>
                        <a:pt x="0" y="0"/>
                      </a:moveTo>
                      <a:lnTo>
                        <a:pt x="60451"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37" name="Freeform 1735">
                  <a:extLst>
                    <a:ext uri="{FF2B5EF4-FFF2-40B4-BE49-F238E27FC236}">
                      <a16:creationId xmlns:a16="http://schemas.microsoft.com/office/drawing/2014/main" id="{40FCCE30-F37E-F2C3-788C-4D9A02F9C982}"/>
                    </a:ext>
                  </a:extLst>
                </p:cNvPr>
                <p:cNvSpPr/>
                <p:nvPr/>
              </p:nvSpPr>
              <p:spPr>
                <a:xfrm>
                  <a:off x="9348799" y="3019283"/>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79" name="Graphic 2">
                <a:extLst>
                  <a:ext uri="{FF2B5EF4-FFF2-40B4-BE49-F238E27FC236}">
                    <a16:creationId xmlns:a16="http://schemas.microsoft.com/office/drawing/2014/main" id="{86B09B24-6FB5-415B-086C-E41E975DE415}"/>
                  </a:ext>
                </a:extLst>
              </p:cNvPr>
              <p:cNvGrpSpPr/>
              <p:nvPr/>
            </p:nvGrpSpPr>
            <p:grpSpPr>
              <a:xfrm>
                <a:off x="9287078" y="3019283"/>
                <a:ext cx="60450" cy="57148"/>
                <a:chOff x="9287078" y="3019283"/>
                <a:chExt cx="60450" cy="57148"/>
              </a:xfrm>
            </p:grpSpPr>
            <p:sp>
              <p:nvSpPr>
                <p:cNvPr id="1734" name="Freeform 1732">
                  <a:extLst>
                    <a:ext uri="{FF2B5EF4-FFF2-40B4-BE49-F238E27FC236}">
                      <a16:creationId xmlns:a16="http://schemas.microsoft.com/office/drawing/2014/main" id="{85E6CB48-D3D9-8AD3-CCAA-BE85A595830B}"/>
                    </a:ext>
                  </a:extLst>
                </p:cNvPr>
                <p:cNvSpPr/>
                <p:nvPr/>
              </p:nvSpPr>
              <p:spPr>
                <a:xfrm>
                  <a:off x="9287078" y="3047858"/>
                  <a:ext cx="60450" cy="12699"/>
                </a:xfrm>
                <a:custGeom>
                  <a:avLst/>
                  <a:gdLst>
                    <a:gd name="csX0" fmla="*/ 0 w 60450"/>
                    <a:gd name="csY0" fmla="*/ 0 h 12699"/>
                    <a:gd name="csX1" fmla="*/ 60450 w 60450"/>
                    <a:gd name="csY1" fmla="*/ 0 h 12699"/>
                  </a:gdLst>
                  <a:ahLst/>
                  <a:cxnLst>
                    <a:cxn ang="0">
                      <a:pos x="csX0" y="csY0"/>
                    </a:cxn>
                    <a:cxn ang="0">
                      <a:pos x="csX1" y="csY1"/>
                    </a:cxn>
                  </a:cxnLst>
                  <a:rect l="l" t="t" r="r" b="b"/>
                  <a:pathLst>
                    <a:path w="60450" h="12699">
                      <a:moveTo>
                        <a:pt x="0" y="0"/>
                      </a:moveTo>
                      <a:lnTo>
                        <a:pt x="60450"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35" name="Freeform 1733">
                  <a:extLst>
                    <a:ext uri="{FF2B5EF4-FFF2-40B4-BE49-F238E27FC236}">
                      <a16:creationId xmlns:a16="http://schemas.microsoft.com/office/drawing/2014/main" id="{E70CCA9E-CB6A-9996-7FB6-4D77BD419AC1}"/>
                    </a:ext>
                  </a:extLst>
                </p:cNvPr>
                <p:cNvSpPr/>
                <p:nvPr/>
              </p:nvSpPr>
              <p:spPr>
                <a:xfrm>
                  <a:off x="9317303" y="3019283"/>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80" name="Graphic 2">
                <a:extLst>
                  <a:ext uri="{FF2B5EF4-FFF2-40B4-BE49-F238E27FC236}">
                    <a16:creationId xmlns:a16="http://schemas.microsoft.com/office/drawing/2014/main" id="{07F4EB2B-7E91-07CB-3452-4AAE9E8A280F}"/>
                  </a:ext>
                </a:extLst>
              </p:cNvPr>
              <p:cNvGrpSpPr/>
              <p:nvPr/>
            </p:nvGrpSpPr>
            <p:grpSpPr>
              <a:xfrm>
                <a:off x="9014924" y="3019283"/>
                <a:ext cx="60577" cy="57148"/>
                <a:chOff x="9014924" y="3019283"/>
                <a:chExt cx="60577" cy="57148"/>
              </a:xfrm>
            </p:grpSpPr>
            <p:sp>
              <p:nvSpPr>
                <p:cNvPr id="1732" name="Freeform 1730">
                  <a:extLst>
                    <a:ext uri="{FF2B5EF4-FFF2-40B4-BE49-F238E27FC236}">
                      <a16:creationId xmlns:a16="http://schemas.microsoft.com/office/drawing/2014/main" id="{38FE900A-D68D-0377-0C95-989FE56BBD04}"/>
                    </a:ext>
                  </a:extLst>
                </p:cNvPr>
                <p:cNvSpPr/>
                <p:nvPr/>
              </p:nvSpPr>
              <p:spPr>
                <a:xfrm>
                  <a:off x="9014924" y="3047858"/>
                  <a:ext cx="60577" cy="12699"/>
                </a:xfrm>
                <a:custGeom>
                  <a:avLst/>
                  <a:gdLst>
                    <a:gd name="csX0" fmla="*/ 0 w 60577"/>
                    <a:gd name="csY0" fmla="*/ 0 h 12699"/>
                    <a:gd name="csX1" fmla="*/ 60577 w 60577"/>
                    <a:gd name="csY1" fmla="*/ 0 h 12699"/>
                  </a:gdLst>
                  <a:ahLst/>
                  <a:cxnLst>
                    <a:cxn ang="0">
                      <a:pos x="csX0" y="csY0"/>
                    </a:cxn>
                    <a:cxn ang="0">
                      <a:pos x="csX1" y="csY1"/>
                    </a:cxn>
                  </a:cxnLst>
                  <a:rect l="l" t="t" r="r" b="b"/>
                  <a:pathLst>
                    <a:path w="60577" h="12699">
                      <a:moveTo>
                        <a:pt x="0" y="0"/>
                      </a:moveTo>
                      <a:lnTo>
                        <a:pt x="60577"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33" name="Freeform 1731">
                  <a:extLst>
                    <a:ext uri="{FF2B5EF4-FFF2-40B4-BE49-F238E27FC236}">
                      <a16:creationId xmlns:a16="http://schemas.microsoft.com/office/drawing/2014/main" id="{65366C16-8B38-F9C3-BA33-E313E95E6CC1}"/>
                    </a:ext>
                  </a:extLst>
                </p:cNvPr>
                <p:cNvSpPr/>
                <p:nvPr/>
              </p:nvSpPr>
              <p:spPr>
                <a:xfrm>
                  <a:off x="9045276" y="3019283"/>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81" name="Graphic 2">
                <a:extLst>
                  <a:ext uri="{FF2B5EF4-FFF2-40B4-BE49-F238E27FC236}">
                    <a16:creationId xmlns:a16="http://schemas.microsoft.com/office/drawing/2014/main" id="{4E1A5E19-B6EA-004F-9B53-3D5C6734CE5D}"/>
                  </a:ext>
                </a:extLst>
              </p:cNvPr>
              <p:cNvGrpSpPr/>
              <p:nvPr/>
            </p:nvGrpSpPr>
            <p:grpSpPr>
              <a:xfrm>
                <a:off x="8939742" y="3019283"/>
                <a:ext cx="60450" cy="57148"/>
                <a:chOff x="8939742" y="3019283"/>
                <a:chExt cx="60450" cy="57148"/>
              </a:xfrm>
            </p:grpSpPr>
            <p:sp>
              <p:nvSpPr>
                <p:cNvPr id="1730" name="Freeform 1728">
                  <a:extLst>
                    <a:ext uri="{FF2B5EF4-FFF2-40B4-BE49-F238E27FC236}">
                      <a16:creationId xmlns:a16="http://schemas.microsoft.com/office/drawing/2014/main" id="{88406663-D623-3CF5-ECDA-4D1AA1B4CF2C}"/>
                    </a:ext>
                  </a:extLst>
                </p:cNvPr>
                <p:cNvSpPr/>
                <p:nvPr/>
              </p:nvSpPr>
              <p:spPr>
                <a:xfrm>
                  <a:off x="8939742" y="3047858"/>
                  <a:ext cx="60450" cy="12699"/>
                </a:xfrm>
                <a:custGeom>
                  <a:avLst/>
                  <a:gdLst>
                    <a:gd name="csX0" fmla="*/ 0 w 60450"/>
                    <a:gd name="csY0" fmla="*/ 0 h 12699"/>
                    <a:gd name="csX1" fmla="*/ 60451 w 60450"/>
                    <a:gd name="csY1" fmla="*/ 0 h 12699"/>
                  </a:gdLst>
                  <a:ahLst/>
                  <a:cxnLst>
                    <a:cxn ang="0">
                      <a:pos x="csX0" y="csY0"/>
                    </a:cxn>
                    <a:cxn ang="0">
                      <a:pos x="csX1" y="csY1"/>
                    </a:cxn>
                  </a:cxnLst>
                  <a:rect l="l" t="t" r="r" b="b"/>
                  <a:pathLst>
                    <a:path w="60450" h="12699">
                      <a:moveTo>
                        <a:pt x="0" y="0"/>
                      </a:moveTo>
                      <a:lnTo>
                        <a:pt x="60451"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31" name="Freeform 1729">
                  <a:extLst>
                    <a:ext uri="{FF2B5EF4-FFF2-40B4-BE49-F238E27FC236}">
                      <a16:creationId xmlns:a16="http://schemas.microsoft.com/office/drawing/2014/main" id="{0AD893C1-6EA3-A9ED-7DA5-C0D73A309485}"/>
                    </a:ext>
                  </a:extLst>
                </p:cNvPr>
                <p:cNvSpPr/>
                <p:nvPr/>
              </p:nvSpPr>
              <p:spPr>
                <a:xfrm>
                  <a:off x="8969967" y="3019283"/>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82" name="Graphic 2">
                <a:extLst>
                  <a:ext uri="{FF2B5EF4-FFF2-40B4-BE49-F238E27FC236}">
                    <a16:creationId xmlns:a16="http://schemas.microsoft.com/office/drawing/2014/main" id="{B823B29B-2506-53F9-6B36-7A2F55693909}"/>
                  </a:ext>
                </a:extLst>
              </p:cNvPr>
              <p:cNvGrpSpPr/>
              <p:nvPr/>
            </p:nvGrpSpPr>
            <p:grpSpPr>
              <a:xfrm>
                <a:off x="8921835" y="3019283"/>
                <a:ext cx="60450" cy="57148"/>
                <a:chOff x="8921835" y="3019283"/>
                <a:chExt cx="60450" cy="57148"/>
              </a:xfrm>
            </p:grpSpPr>
            <p:sp>
              <p:nvSpPr>
                <p:cNvPr id="1728" name="Freeform 1726">
                  <a:extLst>
                    <a:ext uri="{FF2B5EF4-FFF2-40B4-BE49-F238E27FC236}">
                      <a16:creationId xmlns:a16="http://schemas.microsoft.com/office/drawing/2014/main" id="{20479B92-3DD5-D583-C1BE-DD7F2857E154}"/>
                    </a:ext>
                  </a:extLst>
                </p:cNvPr>
                <p:cNvSpPr/>
                <p:nvPr/>
              </p:nvSpPr>
              <p:spPr>
                <a:xfrm>
                  <a:off x="8921835" y="3047858"/>
                  <a:ext cx="60450" cy="12699"/>
                </a:xfrm>
                <a:custGeom>
                  <a:avLst/>
                  <a:gdLst>
                    <a:gd name="csX0" fmla="*/ 0 w 60450"/>
                    <a:gd name="csY0" fmla="*/ 0 h 12699"/>
                    <a:gd name="csX1" fmla="*/ 60451 w 60450"/>
                    <a:gd name="csY1" fmla="*/ 0 h 12699"/>
                  </a:gdLst>
                  <a:ahLst/>
                  <a:cxnLst>
                    <a:cxn ang="0">
                      <a:pos x="csX0" y="csY0"/>
                    </a:cxn>
                    <a:cxn ang="0">
                      <a:pos x="csX1" y="csY1"/>
                    </a:cxn>
                  </a:cxnLst>
                  <a:rect l="l" t="t" r="r" b="b"/>
                  <a:pathLst>
                    <a:path w="60450" h="12699">
                      <a:moveTo>
                        <a:pt x="0" y="0"/>
                      </a:moveTo>
                      <a:lnTo>
                        <a:pt x="60451"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29" name="Freeform 1727">
                  <a:extLst>
                    <a:ext uri="{FF2B5EF4-FFF2-40B4-BE49-F238E27FC236}">
                      <a16:creationId xmlns:a16="http://schemas.microsoft.com/office/drawing/2014/main" id="{E7E9E68B-BA61-7C85-0B0A-9F071F60D83A}"/>
                    </a:ext>
                  </a:extLst>
                </p:cNvPr>
                <p:cNvSpPr/>
                <p:nvPr/>
              </p:nvSpPr>
              <p:spPr>
                <a:xfrm>
                  <a:off x="8952060" y="3019283"/>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83" name="Graphic 2">
                <a:extLst>
                  <a:ext uri="{FF2B5EF4-FFF2-40B4-BE49-F238E27FC236}">
                    <a16:creationId xmlns:a16="http://schemas.microsoft.com/office/drawing/2014/main" id="{38D9E2FD-C2E8-951B-303F-32F77D622D80}"/>
                  </a:ext>
                </a:extLst>
              </p:cNvPr>
              <p:cNvGrpSpPr/>
              <p:nvPr/>
            </p:nvGrpSpPr>
            <p:grpSpPr>
              <a:xfrm>
                <a:off x="8895674" y="3019283"/>
                <a:ext cx="60577" cy="57148"/>
                <a:chOff x="8895674" y="3019283"/>
                <a:chExt cx="60577" cy="57148"/>
              </a:xfrm>
            </p:grpSpPr>
            <p:sp>
              <p:nvSpPr>
                <p:cNvPr id="1726" name="Freeform 1724">
                  <a:extLst>
                    <a:ext uri="{FF2B5EF4-FFF2-40B4-BE49-F238E27FC236}">
                      <a16:creationId xmlns:a16="http://schemas.microsoft.com/office/drawing/2014/main" id="{62D562FA-C635-5331-7FAD-97C4EF690B83}"/>
                    </a:ext>
                  </a:extLst>
                </p:cNvPr>
                <p:cNvSpPr/>
                <p:nvPr/>
              </p:nvSpPr>
              <p:spPr>
                <a:xfrm>
                  <a:off x="8895674" y="3047858"/>
                  <a:ext cx="60577" cy="12699"/>
                </a:xfrm>
                <a:custGeom>
                  <a:avLst/>
                  <a:gdLst>
                    <a:gd name="csX0" fmla="*/ 0 w 60577"/>
                    <a:gd name="csY0" fmla="*/ 0 h 12699"/>
                    <a:gd name="csX1" fmla="*/ 60577 w 60577"/>
                    <a:gd name="csY1" fmla="*/ 0 h 12699"/>
                  </a:gdLst>
                  <a:ahLst/>
                  <a:cxnLst>
                    <a:cxn ang="0">
                      <a:pos x="csX0" y="csY0"/>
                    </a:cxn>
                    <a:cxn ang="0">
                      <a:pos x="csX1" y="csY1"/>
                    </a:cxn>
                  </a:cxnLst>
                  <a:rect l="l" t="t" r="r" b="b"/>
                  <a:pathLst>
                    <a:path w="60577" h="12699">
                      <a:moveTo>
                        <a:pt x="0" y="0"/>
                      </a:moveTo>
                      <a:lnTo>
                        <a:pt x="60577"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27" name="Freeform 1725">
                  <a:extLst>
                    <a:ext uri="{FF2B5EF4-FFF2-40B4-BE49-F238E27FC236}">
                      <a16:creationId xmlns:a16="http://schemas.microsoft.com/office/drawing/2014/main" id="{339AF720-14BB-B7A1-0167-6F6414F2C8E8}"/>
                    </a:ext>
                  </a:extLst>
                </p:cNvPr>
                <p:cNvSpPr/>
                <p:nvPr/>
              </p:nvSpPr>
              <p:spPr>
                <a:xfrm>
                  <a:off x="8926026" y="3019283"/>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84" name="Graphic 2">
                <a:extLst>
                  <a:ext uri="{FF2B5EF4-FFF2-40B4-BE49-F238E27FC236}">
                    <a16:creationId xmlns:a16="http://schemas.microsoft.com/office/drawing/2014/main" id="{B06E0BF9-9C20-A48D-ECDC-54BF4B74A8F1}"/>
                  </a:ext>
                </a:extLst>
              </p:cNvPr>
              <p:cNvGrpSpPr/>
              <p:nvPr/>
            </p:nvGrpSpPr>
            <p:grpSpPr>
              <a:xfrm>
                <a:off x="8864432" y="3019283"/>
                <a:ext cx="60450" cy="57148"/>
                <a:chOff x="8864432" y="3019283"/>
                <a:chExt cx="60450" cy="57148"/>
              </a:xfrm>
            </p:grpSpPr>
            <p:sp>
              <p:nvSpPr>
                <p:cNvPr id="1724" name="Freeform 1722">
                  <a:extLst>
                    <a:ext uri="{FF2B5EF4-FFF2-40B4-BE49-F238E27FC236}">
                      <a16:creationId xmlns:a16="http://schemas.microsoft.com/office/drawing/2014/main" id="{DA291A89-B4A6-3F16-3EA9-F8A716DA1FB1}"/>
                    </a:ext>
                  </a:extLst>
                </p:cNvPr>
                <p:cNvSpPr/>
                <p:nvPr/>
              </p:nvSpPr>
              <p:spPr>
                <a:xfrm>
                  <a:off x="8864432" y="3047858"/>
                  <a:ext cx="60450" cy="12699"/>
                </a:xfrm>
                <a:custGeom>
                  <a:avLst/>
                  <a:gdLst>
                    <a:gd name="csX0" fmla="*/ 0 w 60450"/>
                    <a:gd name="csY0" fmla="*/ 0 h 12699"/>
                    <a:gd name="csX1" fmla="*/ 60451 w 60450"/>
                    <a:gd name="csY1" fmla="*/ 0 h 12699"/>
                  </a:gdLst>
                  <a:ahLst/>
                  <a:cxnLst>
                    <a:cxn ang="0">
                      <a:pos x="csX0" y="csY0"/>
                    </a:cxn>
                    <a:cxn ang="0">
                      <a:pos x="csX1" y="csY1"/>
                    </a:cxn>
                  </a:cxnLst>
                  <a:rect l="l" t="t" r="r" b="b"/>
                  <a:pathLst>
                    <a:path w="60450" h="12699">
                      <a:moveTo>
                        <a:pt x="0" y="0"/>
                      </a:moveTo>
                      <a:lnTo>
                        <a:pt x="60451"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25" name="Freeform 1723">
                  <a:extLst>
                    <a:ext uri="{FF2B5EF4-FFF2-40B4-BE49-F238E27FC236}">
                      <a16:creationId xmlns:a16="http://schemas.microsoft.com/office/drawing/2014/main" id="{451D0BFF-BB64-ABA3-5824-B498DB002626}"/>
                    </a:ext>
                  </a:extLst>
                </p:cNvPr>
                <p:cNvSpPr/>
                <p:nvPr/>
              </p:nvSpPr>
              <p:spPr>
                <a:xfrm>
                  <a:off x="8894658" y="3019283"/>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85" name="Graphic 2">
                <a:extLst>
                  <a:ext uri="{FF2B5EF4-FFF2-40B4-BE49-F238E27FC236}">
                    <a16:creationId xmlns:a16="http://schemas.microsoft.com/office/drawing/2014/main" id="{C90A1E20-33FE-0944-EC6A-C52AFB4B5A46}"/>
                  </a:ext>
                </a:extLst>
              </p:cNvPr>
              <p:cNvGrpSpPr/>
              <p:nvPr/>
            </p:nvGrpSpPr>
            <p:grpSpPr>
              <a:xfrm>
                <a:off x="8823412" y="3019283"/>
                <a:ext cx="60577" cy="57148"/>
                <a:chOff x="8823412" y="3019283"/>
                <a:chExt cx="60577" cy="57148"/>
              </a:xfrm>
            </p:grpSpPr>
            <p:sp>
              <p:nvSpPr>
                <p:cNvPr id="1722" name="Freeform 1720">
                  <a:extLst>
                    <a:ext uri="{FF2B5EF4-FFF2-40B4-BE49-F238E27FC236}">
                      <a16:creationId xmlns:a16="http://schemas.microsoft.com/office/drawing/2014/main" id="{2D61E8E7-79F4-59F9-B65F-6CCD6C1E8031}"/>
                    </a:ext>
                  </a:extLst>
                </p:cNvPr>
                <p:cNvSpPr/>
                <p:nvPr/>
              </p:nvSpPr>
              <p:spPr>
                <a:xfrm>
                  <a:off x="8823412" y="3047858"/>
                  <a:ext cx="60577" cy="12699"/>
                </a:xfrm>
                <a:custGeom>
                  <a:avLst/>
                  <a:gdLst>
                    <a:gd name="csX0" fmla="*/ 0 w 60577"/>
                    <a:gd name="csY0" fmla="*/ 0 h 12699"/>
                    <a:gd name="csX1" fmla="*/ 60577 w 60577"/>
                    <a:gd name="csY1" fmla="*/ 0 h 12699"/>
                  </a:gdLst>
                  <a:ahLst/>
                  <a:cxnLst>
                    <a:cxn ang="0">
                      <a:pos x="csX0" y="csY0"/>
                    </a:cxn>
                    <a:cxn ang="0">
                      <a:pos x="csX1" y="csY1"/>
                    </a:cxn>
                  </a:cxnLst>
                  <a:rect l="l" t="t" r="r" b="b"/>
                  <a:pathLst>
                    <a:path w="60577" h="12699">
                      <a:moveTo>
                        <a:pt x="0" y="0"/>
                      </a:moveTo>
                      <a:lnTo>
                        <a:pt x="60577"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23" name="Freeform 1721">
                  <a:extLst>
                    <a:ext uri="{FF2B5EF4-FFF2-40B4-BE49-F238E27FC236}">
                      <a16:creationId xmlns:a16="http://schemas.microsoft.com/office/drawing/2014/main" id="{6C1D6C18-7652-BD1B-5D1B-FCA6F0726062}"/>
                    </a:ext>
                  </a:extLst>
                </p:cNvPr>
                <p:cNvSpPr/>
                <p:nvPr/>
              </p:nvSpPr>
              <p:spPr>
                <a:xfrm>
                  <a:off x="8853638" y="3019283"/>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86" name="Graphic 2">
                <a:extLst>
                  <a:ext uri="{FF2B5EF4-FFF2-40B4-BE49-F238E27FC236}">
                    <a16:creationId xmlns:a16="http://schemas.microsoft.com/office/drawing/2014/main" id="{D8F48FF4-7E6D-1F11-D579-8E13BACAF69F}"/>
                  </a:ext>
                </a:extLst>
              </p:cNvPr>
              <p:cNvGrpSpPr/>
              <p:nvPr/>
            </p:nvGrpSpPr>
            <p:grpSpPr>
              <a:xfrm>
                <a:off x="8709242" y="2974200"/>
                <a:ext cx="60577" cy="57148"/>
                <a:chOff x="8709242" y="2974200"/>
                <a:chExt cx="60577" cy="57148"/>
              </a:xfrm>
            </p:grpSpPr>
            <p:sp>
              <p:nvSpPr>
                <p:cNvPr id="1720" name="Freeform 1718">
                  <a:extLst>
                    <a:ext uri="{FF2B5EF4-FFF2-40B4-BE49-F238E27FC236}">
                      <a16:creationId xmlns:a16="http://schemas.microsoft.com/office/drawing/2014/main" id="{C0D5A929-A736-24CF-341F-DEEFB0C31A80}"/>
                    </a:ext>
                  </a:extLst>
                </p:cNvPr>
                <p:cNvSpPr/>
                <p:nvPr/>
              </p:nvSpPr>
              <p:spPr>
                <a:xfrm>
                  <a:off x="8709242" y="3002774"/>
                  <a:ext cx="60577" cy="12699"/>
                </a:xfrm>
                <a:custGeom>
                  <a:avLst/>
                  <a:gdLst>
                    <a:gd name="csX0" fmla="*/ 0 w 60577"/>
                    <a:gd name="csY0" fmla="*/ 0 h 12699"/>
                    <a:gd name="csX1" fmla="*/ 60577 w 60577"/>
                    <a:gd name="csY1" fmla="*/ 0 h 12699"/>
                  </a:gdLst>
                  <a:ahLst/>
                  <a:cxnLst>
                    <a:cxn ang="0">
                      <a:pos x="csX0" y="csY0"/>
                    </a:cxn>
                    <a:cxn ang="0">
                      <a:pos x="csX1" y="csY1"/>
                    </a:cxn>
                  </a:cxnLst>
                  <a:rect l="l" t="t" r="r" b="b"/>
                  <a:pathLst>
                    <a:path w="60577" h="12699">
                      <a:moveTo>
                        <a:pt x="0" y="0"/>
                      </a:moveTo>
                      <a:lnTo>
                        <a:pt x="60577"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21" name="Freeform 1719">
                  <a:extLst>
                    <a:ext uri="{FF2B5EF4-FFF2-40B4-BE49-F238E27FC236}">
                      <a16:creationId xmlns:a16="http://schemas.microsoft.com/office/drawing/2014/main" id="{5CACB491-8957-1963-15F9-6B4DFDC671F7}"/>
                    </a:ext>
                  </a:extLst>
                </p:cNvPr>
                <p:cNvSpPr/>
                <p:nvPr/>
              </p:nvSpPr>
              <p:spPr>
                <a:xfrm>
                  <a:off x="8739594" y="2974200"/>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87" name="Graphic 2">
                <a:extLst>
                  <a:ext uri="{FF2B5EF4-FFF2-40B4-BE49-F238E27FC236}">
                    <a16:creationId xmlns:a16="http://schemas.microsoft.com/office/drawing/2014/main" id="{31B36AF5-1D10-884C-1490-B3C2838809BC}"/>
                  </a:ext>
                </a:extLst>
              </p:cNvPr>
              <p:cNvGrpSpPr/>
              <p:nvPr/>
            </p:nvGrpSpPr>
            <p:grpSpPr>
              <a:xfrm>
                <a:off x="8702892" y="2974200"/>
                <a:ext cx="60450" cy="57148"/>
                <a:chOff x="8702892" y="2974200"/>
                <a:chExt cx="60450" cy="57148"/>
              </a:xfrm>
            </p:grpSpPr>
            <p:sp>
              <p:nvSpPr>
                <p:cNvPr id="1718" name="Freeform 1716">
                  <a:extLst>
                    <a:ext uri="{FF2B5EF4-FFF2-40B4-BE49-F238E27FC236}">
                      <a16:creationId xmlns:a16="http://schemas.microsoft.com/office/drawing/2014/main" id="{389D522D-5382-77F5-95BF-01A7E4CBC3F8}"/>
                    </a:ext>
                  </a:extLst>
                </p:cNvPr>
                <p:cNvSpPr/>
                <p:nvPr/>
              </p:nvSpPr>
              <p:spPr>
                <a:xfrm>
                  <a:off x="8702892" y="3002774"/>
                  <a:ext cx="60450" cy="12699"/>
                </a:xfrm>
                <a:custGeom>
                  <a:avLst/>
                  <a:gdLst>
                    <a:gd name="csX0" fmla="*/ 0 w 60450"/>
                    <a:gd name="csY0" fmla="*/ 0 h 12699"/>
                    <a:gd name="csX1" fmla="*/ 60450 w 60450"/>
                    <a:gd name="csY1" fmla="*/ 0 h 12699"/>
                  </a:gdLst>
                  <a:ahLst/>
                  <a:cxnLst>
                    <a:cxn ang="0">
                      <a:pos x="csX0" y="csY0"/>
                    </a:cxn>
                    <a:cxn ang="0">
                      <a:pos x="csX1" y="csY1"/>
                    </a:cxn>
                  </a:cxnLst>
                  <a:rect l="l" t="t" r="r" b="b"/>
                  <a:pathLst>
                    <a:path w="60450" h="12699">
                      <a:moveTo>
                        <a:pt x="0" y="0"/>
                      </a:moveTo>
                      <a:lnTo>
                        <a:pt x="60450"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19" name="Freeform 1717">
                  <a:extLst>
                    <a:ext uri="{FF2B5EF4-FFF2-40B4-BE49-F238E27FC236}">
                      <a16:creationId xmlns:a16="http://schemas.microsoft.com/office/drawing/2014/main" id="{5615C90D-D3B7-EC85-AC97-271D1F552547}"/>
                    </a:ext>
                  </a:extLst>
                </p:cNvPr>
                <p:cNvSpPr/>
                <p:nvPr/>
              </p:nvSpPr>
              <p:spPr>
                <a:xfrm>
                  <a:off x="8733118" y="2974200"/>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88" name="Graphic 2">
                <a:extLst>
                  <a:ext uri="{FF2B5EF4-FFF2-40B4-BE49-F238E27FC236}">
                    <a16:creationId xmlns:a16="http://schemas.microsoft.com/office/drawing/2014/main" id="{7617966C-26A0-A3F4-95D2-2B8636B84F73}"/>
                  </a:ext>
                </a:extLst>
              </p:cNvPr>
              <p:cNvGrpSpPr/>
              <p:nvPr/>
            </p:nvGrpSpPr>
            <p:grpSpPr>
              <a:xfrm>
                <a:off x="8587960" y="2974200"/>
                <a:ext cx="60577" cy="57148"/>
                <a:chOff x="8587960" y="2974200"/>
                <a:chExt cx="60577" cy="57148"/>
              </a:xfrm>
            </p:grpSpPr>
            <p:sp>
              <p:nvSpPr>
                <p:cNvPr id="1716" name="Freeform 1714">
                  <a:extLst>
                    <a:ext uri="{FF2B5EF4-FFF2-40B4-BE49-F238E27FC236}">
                      <a16:creationId xmlns:a16="http://schemas.microsoft.com/office/drawing/2014/main" id="{CDC01198-C4F3-0172-7608-F5F43AF4E2B9}"/>
                    </a:ext>
                  </a:extLst>
                </p:cNvPr>
                <p:cNvSpPr/>
                <p:nvPr/>
              </p:nvSpPr>
              <p:spPr>
                <a:xfrm>
                  <a:off x="8587960" y="3002774"/>
                  <a:ext cx="60577" cy="12699"/>
                </a:xfrm>
                <a:custGeom>
                  <a:avLst/>
                  <a:gdLst>
                    <a:gd name="csX0" fmla="*/ 0 w 60577"/>
                    <a:gd name="csY0" fmla="*/ 0 h 12699"/>
                    <a:gd name="csX1" fmla="*/ 60578 w 60577"/>
                    <a:gd name="csY1" fmla="*/ 0 h 12699"/>
                  </a:gdLst>
                  <a:ahLst/>
                  <a:cxnLst>
                    <a:cxn ang="0">
                      <a:pos x="csX0" y="csY0"/>
                    </a:cxn>
                    <a:cxn ang="0">
                      <a:pos x="csX1" y="csY1"/>
                    </a:cxn>
                  </a:cxnLst>
                  <a:rect l="l" t="t" r="r" b="b"/>
                  <a:pathLst>
                    <a:path w="60577" h="12699">
                      <a:moveTo>
                        <a:pt x="0" y="0"/>
                      </a:moveTo>
                      <a:lnTo>
                        <a:pt x="60578"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17" name="Freeform 1715">
                  <a:extLst>
                    <a:ext uri="{FF2B5EF4-FFF2-40B4-BE49-F238E27FC236}">
                      <a16:creationId xmlns:a16="http://schemas.microsoft.com/office/drawing/2014/main" id="{B0922A17-8DC7-1976-122D-DC956E4294E4}"/>
                    </a:ext>
                  </a:extLst>
                </p:cNvPr>
                <p:cNvSpPr/>
                <p:nvPr/>
              </p:nvSpPr>
              <p:spPr>
                <a:xfrm>
                  <a:off x="8618312" y="2974200"/>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89" name="Graphic 2">
                <a:extLst>
                  <a:ext uri="{FF2B5EF4-FFF2-40B4-BE49-F238E27FC236}">
                    <a16:creationId xmlns:a16="http://schemas.microsoft.com/office/drawing/2014/main" id="{B41A6D04-7021-5C29-0FA8-EEF8300E359A}"/>
                  </a:ext>
                </a:extLst>
              </p:cNvPr>
              <p:cNvGrpSpPr/>
              <p:nvPr/>
            </p:nvGrpSpPr>
            <p:grpSpPr>
              <a:xfrm>
                <a:off x="8499062" y="2974200"/>
                <a:ext cx="60577" cy="57148"/>
                <a:chOff x="8499062" y="2974200"/>
                <a:chExt cx="60577" cy="57148"/>
              </a:xfrm>
            </p:grpSpPr>
            <p:sp>
              <p:nvSpPr>
                <p:cNvPr id="1714" name="Freeform 1712">
                  <a:extLst>
                    <a:ext uri="{FF2B5EF4-FFF2-40B4-BE49-F238E27FC236}">
                      <a16:creationId xmlns:a16="http://schemas.microsoft.com/office/drawing/2014/main" id="{ACB68DCE-FE3D-B992-F5CA-36A236A1604B}"/>
                    </a:ext>
                  </a:extLst>
                </p:cNvPr>
                <p:cNvSpPr/>
                <p:nvPr/>
              </p:nvSpPr>
              <p:spPr>
                <a:xfrm>
                  <a:off x="8499062" y="3002774"/>
                  <a:ext cx="60577" cy="12699"/>
                </a:xfrm>
                <a:custGeom>
                  <a:avLst/>
                  <a:gdLst>
                    <a:gd name="csX0" fmla="*/ 0 w 60577"/>
                    <a:gd name="csY0" fmla="*/ 0 h 12699"/>
                    <a:gd name="csX1" fmla="*/ 60578 w 60577"/>
                    <a:gd name="csY1" fmla="*/ 0 h 12699"/>
                  </a:gdLst>
                  <a:ahLst/>
                  <a:cxnLst>
                    <a:cxn ang="0">
                      <a:pos x="csX0" y="csY0"/>
                    </a:cxn>
                    <a:cxn ang="0">
                      <a:pos x="csX1" y="csY1"/>
                    </a:cxn>
                  </a:cxnLst>
                  <a:rect l="l" t="t" r="r" b="b"/>
                  <a:pathLst>
                    <a:path w="60577" h="12699">
                      <a:moveTo>
                        <a:pt x="0" y="0"/>
                      </a:moveTo>
                      <a:lnTo>
                        <a:pt x="60578"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15" name="Freeform 1713">
                  <a:extLst>
                    <a:ext uri="{FF2B5EF4-FFF2-40B4-BE49-F238E27FC236}">
                      <a16:creationId xmlns:a16="http://schemas.microsoft.com/office/drawing/2014/main" id="{30BFA154-7EB6-F6E6-26D3-69839F3C3BED}"/>
                    </a:ext>
                  </a:extLst>
                </p:cNvPr>
                <p:cNvSpPr/>
                <p:nvPr/>
              </p:nvSpPr>
              <p:spPr>
                <a:xfrm>
                  <a:off x="8529415" y="2974200"/>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90" name="Graphic 2">
                <a:extLst>
                  <a:ext uri="{FF2B5EF4-FFF2-40B4-BE49-F238E27FC236}">
                    <a16:creationId xmlns:a16="http://schemas.microsoft.com/office/drawing/2014/main" id="{4AB831D2-1A2E-3648-E5FF-828E33EC00E6}"/>
                  </a:ext>
                </a:extLst>
              </p:cNvPr>
              <p:cNvGrpSpPr/>
              <p:nvPr/>
            </p:nvGrpSpPr>
            <p:grpSpPr>
              <a:xfrm>
                <a:off x="7993234" y="2940291"/>
                <a:ext cx="60577" cy="57148"/>
                <a:chOff x="7993234" y="2940291"/>
                <a:chExt cx="60577" cy="57148"/>
              </a:xfrm>
            </p:grpSpPr>
            <p:sp>
              <p:nvSpPr>
                <p:cNvPr id="1712" name="Freeform 1710">
                  <a:extLst>
                    <a:ext uri="{FF2B5EF4-FFF2-40B4-BE49-F238E27FC236}">
                      <a16:creationId xmlns:a16="http://schemas.microsoft.com/office/drawing/2014/main" id="{C2976897-7565-C22F-A144-E79A6F60ACD8}"/>
                    </a:ext>
                  </a:extLst>
                </p:cNvPr>
                <p:cNvSpPr/>
                <p:nvPr/>
              </p:nvSpPr>
              <p:spPr>
                <a:xfrm>
                  <a:off x="7993234" y="2968866"/>
                  <a:ext cx="60577" cy="12699"/>
                </a:xfrm>
                <a:custGeom>
                  <a:avLst/>
                  <a:gdLst>
                    <a:gd name="csX0" fmla="*/ 0 w 60577"/>
                    <a:gd name="csY0" fmla="*/ 0 h 12699"/>
                    <a:gd name="csX1" fmla="*/ 60578 w 60577"/>
                    <a:gd name="csY1" fmla="*/ 0 h 12699"/>
                  </a:gdLst>
                  <a:ahLst/>
                  <a:cxnLst>
                    <a:cxn ang="0">
                      <a:pos x="csX0" y="csY0"/>
                    </a:cxn>
                    <a:cxn ang="0">
                      <a:pos x="csX1" y="csY1"/>
                    </a:cxn>
                  </a:cxnLst>
                  <a:rect l="l" t="t" r="r" b="b"/>
                  <a:pathLst>
                    <a:path w="60577" h="12699">
                      <a:moveTo>
                        <a:pt x="0" y="0"/>
                      </a:moveTo>
                      <a:lnTo>
                        <a:pt x="60578"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13" name="Freeform 1711">
                  <a:extLst>
                    <a:ext uri="{FF2B5EF4-FFF2-40B4-BE49-F238E27FC236}">
                      <a16:creationId xmlns:a16="http://schemas.microsoft.com/office/drawing/2014/main" id="{A97388F9-54ED-3F9C-001B-1DAC990BCCA2}"/>
                    </a:ext>
                  </a:extLst>
                </p:cNvPr>
                <p:cNvSpPr/>
                <p:nvPr/>
              </p:nvSpPr>
              <p:spPr>
                <a:xfrm>
                  <a:off x="8023586" y="2940291"/>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91" name="Graphic 2">
                <a:extLst>
                  <a:ext uri="{FF2B5EF4-FFF2-40B4-BE49-F238E27FC236}">
                    <a16:creationId xmlns:a16="http://schemas.microsoft.com/office/drawing/2014/main" id="{663EF867-D840-B49F-51AE-075E33E8DC49}"/>
                  </a:ext>
                </a:extLst>
              </p:cNvPr>
              <p:cNvGrpSpPr/>
              <p:nvPr/>
            </p:nvGrpSpPr>
            <p:grpSpPr>
              <a:xfrm>
                <a:off x="7788260" y="2940291"/>
                <a:ext cx="60577" cy="57148"/>
                <a:chOff x="7788260" y="2940291"/>
                <a:chExt cx="60577" cy="57148"/>
              </a:xfrm>
            </p:grpSpPr>
            <p:sp>
              <p:nvSpPr>
                <p:cNvPr id="1710" name="Freeform 1708">
                  <a:extLst>
                    <a:ext uri="{FF2B5EF4-FFF2-40B4-BE49-F238E27FC236}">
                      <a16:creationId xmlns:a16="http://schemas.microsoft.com/office/drawing/2014/main" id="{4D052B30-5CCD-0D89-9F79-A328E1A057B2}"/>
                    </a:ext>
                  </a:extLst>
                </p:cNvPr>
                <p:cNvSpPr/>
                <p:nvPr/>
              </p:nvSpPr>
              <p:spPr>
                <a:xfrm>
                  <a:off x="7788260" y="2968866"/>
                  <a:ext cx="60577" cy="12699"/>
                </a:xfrm>
                <a:custGeom>
                  <a:avLst/>
                  <a:gdLst>
                    <a:gd name="csX0" fmla="*/ 0 w 60577"/>
                    <a:gd name="csY0" fmla="*/ 0 h 12699"/>
                    <a:gd name="csX1" fmla="*/ 60578 w 60577"/>
                    <a:gd name="csY1" fmla="*/ 0 h 12699"/>
                  </a:gdLst>
                  <a:ahLst/>
                  <a:cxnLst>
                    <a:cxn ang="0">
                      <a:pos x="csX0" y="csY0"/>
                    </a:cxn>
                    <a:cxn ang="0">
                      <a:pos x="csX1" y="csY1"/>
                    </a:cxn>
                  </a:cxnLst>
                  <a:rect l="l" t="t" r="r" b="b"/>
                  <a:pathLst>
                    <a:path w="60577" h="12699">
                      <a:moveTo>
                        <a:pt x="0" y="0"/>
                      </a:moveTo>
                      <a:lnTo>
                        <a:pt x="60578"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11" name="Freeform 1709">
                  <a:extLst>
                    <a:ext uri="{FF2B5EF4-FFF2-40B4-BE49-F238E27FC236}">
                      <a16:creationId xmlns:a16="http://schemas.microsoft.com/office/drawing/2014/main" id="{247EEB77-7A30-75D1-F624-CED6269576D5}"/>
                    </a:ext>
                  </a:extLst>
                </p:cNvPr>
                <p:cNvSpPr/>
                <p:nvPr/>
              </p:nvSpPr>
              <p:spPr>
                <a:xfrm>
                  <a:off x="7818486" y="2940291"/>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92" name="Graphic 2">
                <a:extLst>
                  <a:ext uri="{FF2B5EF4-FFF2-40B4-BE49-F238E27FC236}">
                    <a16:creationId xmlns:a16="http://schemas.microsoft.com/office/drawing/2014/main" id="{E7C980AD-AD1A-1AC2-C538-0E75B8B6FE16}"/>
                  </a:ext>
                </a:extLst>
              </p:cNvPr>
              <p:cNvGrpSpPr/>
              <p:nvPr/>
            </p:nvGrpSpPr>
            <p:grpSpPr>
              <a:xfrm>
                <a:off x="7427843" y="2725667"/>
                <a:ext cx="60577" cy="57148"/>
                <a:chOff x="7427843" y="2725667"/>
                <a:chExt cx="60577" cy="57148"/>
              </a:xfrm>
            </p:grpSpPr>
            <p:sp>
              <p:nvSpPr>
                <p:cNvPr id="1708" name="Freeform 1706">
                  <a:extLst>
                    <a:ext uri="{FF2B5EF4-FFF2-40B4-BE49-F238E27FC236}">
                      <a16:creationId xmlns:a16="http://schemas.microsoft.com/office/drawing/2014/main" id="{C2F51A86-C449-5E3A-4A7A-5FF9E0AE7541}"/>
                    </a:ext>
                  </a:extLst>
                </p:cNvPr>
                <p:cNvSpPr/>
                <p:nvPr/>
              </p:nvSpPr>
              <p:spPr>
                <a:xfrm>
                  <a:off x="7427843" y="2754241"/>
                  <a:ext cx="60577" cy="12699"/>
                </a:xfrm>
                <a:custGeom>
                  <a:avLst/>
                  <a:gdLst>
                    <a:gd name="csX0" fmla="*/ 0 w 60577"/>
                    <a:gd name="csY0" fmla="*/ 0 h 12699"/>
                    <a:gd name="csX1" fmla="*/ 60577 w 60577"/>
                    <a:gd name="csY1" fmla="*/ 0 h 12699"/>
                  </a:gdLst>
                  <a:ahLst/>
                  <a:cxnLst>
                    <a:cxn ang="0">
                      <a:pos x="csX0" y="csY0"/>
                    </a:cxn>
                    <a:cxn ang="0">
                      <a:pos x="csX1" y="csY1"/>
                    </a:cxn>
                  </a:cxnLst>
                  <a:rect l="l" t="t" r="r" b="b"/>
                  <a:pathLst>
                    <a:path w="60577" h="12699">
                      <a:moveTo>
                        <a:pt x="0" y="0"/>
                      </a:moveTo>
                      <a:lnTo>
                        <a:pt x="60577"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09" name="Freeform 1707">
                  <a:extLst>
                    <a:ext uri="{FF2B5EF4-FFF2-40B4-BE49-F238E27FC236}">
                      <a16:creationId xmlns:a16="http://schemas.microsoft.com/office/drawing/2014/main" id="{BDC793D1-6CA6-4AF7-9B57-0BF6A00F3FFA}"/>
                    </a:ext>
                  </a:extLst>
                </p:cNvPr>
                <p:cNvSpPr/>
                <p:nvPr/>
              </p:nvSpPr>
              <p:spPr>
                <a:xfrm>
                  <a:off x="7458068" y="2725667"/>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93" name="Graphic 2">
                <a:extLst>
                  <a:ext uri="{FF2B5EF4-FFF2-40B4-BE49-F238E27FC236}">
                    <a16:creationId xmlns:a16="http://schemas.microsoft.com/office/drawing/2014/main" id="{32467D1C-B9EF-4C4E-0E0A-C2D07BDB1D7D}"/>
                  </a:ext>
                </a:extLst>
              </p:cNvPr>
              <p:cNvGrpSpPr/>
              <p:nvPr/>
            </p:nvGrpSpPr>
            <p:grpSpPr>
              <a:xfrm>
                <a:off x="7272399" y="2663946"/>
                <a:ext cx="60577" cy="57148"/>
                <a:chOff x="7272399" y="2663946"/>
                <a:chExt cx="60577" cy="57148"/>
              </a:xfrm>
            </p:grpSpPr>
            <p:sp>
              <p:nvSpPr>
                <p:cNvPr id="1706" name="Freeform 1704">
                  <a:extLst>
                    <a:ext uri="{FF2B5EF4-FFF2-40B4-BE49-F238E27FC236}">
                      <a16:creationId xmlns:a16="http://schemas.microsoft.com/office/drawing/2014/main" id="{96DF76C4-B3AB-462C-70C1-75A20BDC4BA9}"/>
                    </a:ext>
                  </a:extLst>
                </p:cNvPr>
                <p:cNvSpPr/>
                <p:nvPr/>
              </p:nvSpPr>
              <p:spPr>
                <a:xfrm>
                  <a:off x="7272399" y="2692520"/>
                  <a:ext cx="60577" cy="12699"/>
                </a:xfrm>
                <a:custGeom>
                  <a:avLst/>
                  <a:gdLst>
                    <a:gd name="csX0" fmla="*/ 0 w 60577"/>
                    <a:gd name="csY0" fmla="*/ 0 h 12699"/>
                    <a:gd name="csX1" fmla="*/ 60578 w 60577"/>
                    <a:gd name="csY1" fmla="*/ 0 h 12699"/>
                  </a:gdLst>
                  <a:ahLst/>
                  <a:cxnLst>
                    <a:cxn ang="0">
                      <a:pos x="csX0" y="csY0"/>
                    </a:cxn>
                    <a:cxn ang="0">
                      <a:pos x="csX1" y="csY1"/>
                    </a:cxn>
                  </a:cxnLst>
                  <a:rect l="l" t="t" r="r" b="b"/>
                  <a:pathLst>
                    <a:path w="60577" h="12699">
                      <a:moveTo>
                        <a:pt x="0" y="0"/>
                      </a:moveTo>
                      <a:lnTo>
                        <a:pt x="60578"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07" name="Freeform 1705">
                  <a:extLst>
                    <a:ext uri="{FF2B5EF4-FFF2-40B4-BE49-F238E27FC236}">
                      <a16:creationId xmlns:a16="http://schemas.microsoft.com/office/drawing/2014/main" id="{DCD20454-2D87-C322-5C25-D37B51BEA558}"/>
                    </a:ext>
                  </a:extLst>
                </p:cNvPr>
                <p:cNvSpPr/>
                <p:nvPr/>
              </p:nvSpPr>
              <p:spPr>
                <a:xfrm>
                  <a:off x="7302751" y="2663946"/>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94" name="Graphic 2">
                <a:extLst>
                  <a:ext uri="{FF2B5EF4-FFF2-40B4-BE49-F238E27FC236}">
                    <a16:creationId xmlns:a16="http://schemas.microsoft.com/office/drawing/2014/main" id="{EC158BDF-E59F-4521-2FCE-C60ACF875E42}"/>
                  </a:ext>
                </a:extLst>
              </p:cNvPr>
              <p:cNvGrpSpPr/>
              <p:nvPr/>
            </p:nvGrpSpPr>
            <p:grpSpPr>
              <a:xfrm>
                <a:off x="7145402" y="2636261"/>
                <a:ext cx="60577" cy="57148"/>
                <a:chOff x="7145402" y="2636261"/>
                <a:chExt cx="60577" cy="57148"/>
              </a:xfrm>
            </p:grpSpPr>
            <p:sp>
              <p:nvSpPr>
                <p:cNvPr id="1704" name="Freeform 1702">
                  <a:extLst>
                    <a:ext uri="{FF2B5EF4-FFF2-40B4-BE49-F238E27FC236}">
                      <a16:creationId xmlns:a16="http://schemas.microsoft.com/office/drawing/2014/main" id="{D9BBAD10-4E9F-7CD8-5666-4EF90CAF6D72}"/>
                    </a:ext>
                  </a:extLst>
                </p:cNvPr>
                <p:cNvSpPr/>
                <p:nvPr/>
              </p:nvSpPr>
              <p:spPr>
                <a:xfrm>
                  <a:off x="7145402" y="2664835"/>
                  <a:ext cx="60577" cy="12699"/>
                </a:xfrm>
                <a:custGeom>
                  <a:avLst/>
                  <a:gdLst>
                    <a:gd name="csX0" fmla="*/ 0 w 60577"/>
                    <a:gd name="csY0" fmla="*/ 0 h 12699"/>
                    <a:gd name="csX1" fmla="*/ 60578 w 60577"/>
                    <a:gd name="csY1" fmla="*/ 0 h 12699"/>
                  </a:gdLst>
                  <a:ahLst/>
                  <a:cxnLst>
                    <a:cxn ang="0">
                      <a:pos x="csX0" y="csY0"/>
                    </a:cxn>
                    <a:cxn ang="0">
                      <a:pos x="csX1" y="csY1"/>
                    </a:cxn>
                  </a:cxnLst>
                  <a:rect l="l" t="t" r="r" b="b"/>
                  <a:pathLst>
                    <a:path w="60577" h="12699">
                      <a:moveTo>
                        <a:pt x="0" y="0"/>
                      </a:moveTo>
                      <a:lnTo>
                        <a:pt x="60578"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05" name="Freeform 1703">
                  <a:extLst>
                    <a:ext uri="{FF2B5EF4-FFF2-40B4-BE49-F238E27FC236}">
                      <a16:creationId xmlns:a16="http://schemas.microsoft.com/office/drawing/2014/main" id="{49760F1F-5BB4-23A0-47A2-A6D5DCB2A827}"/>
                    </a:ext>
                  </a:extLst>
                </p:cNvPr>
                <p:cNvSpPr/>
                <p:nvPr/>
              </p:nvSpPr>
              <p:spPr>
                <a:xfrm>
                  <a:off x="7175627" y="2636261"/>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95" name="Graphic 2">
                <a:extLst>
                  <a:ext uri="{FF2B5EF4-FFF2-40B4-BE49-F238E27FC236}">
                    <a16:creationId xmlns:a16="http://schemas.microsoft.com/office/drawing/2014/main" id="{9EF66C0F-BE67-F5A1-BB96-E3084D9F4930}"/>
                  </a:ext>
                </a:extLst>
              </p:cNvPr>
              <p:cNvGrpSpPr/>
              <p:nvPr/>
            </p:nvGrpSpPr>
            <p:grpSpPr>
              <a:xfrm>
                <a:off x="7116828" y="2636261"/>
                <a:ext cx="60577" cy="57148"/>
                <a:chOff x="7116828" y="2636261"/>
                <a:chExt cx="60577" cy="57148"/>
              </a:xfrm>
            </p:grpSpPr>
            <p:sp>
              <p:nvSpPr>
                <p:cNvPr id="1702" name="Freeform 1700">
                  <a:extLst>
                    <a:ext uri="{FF2B5EF4-FFF2-40B4-BE49-F238E27FC236}">
                      <a16:creationId xmlns:a16="http://schemas.microsoft.com/office/drawing/2014/main" id="{D5BA9EE5-DE68-F8CA-72EA-2F1118611EC2}"/>
                    </a:ext>
                  </a:extLst>
                </p:cNvPr>
                <p:cNvSpPr/>
                <p:nvPr/>
              </p:nvSpPr>
              <p:spPr>
                <a:xfrm>
                  <a:off x="7116828" y="2664835"/>
                  <a:ext cx="60577" cy="12699"/>
                </a:xfrm>
                <a:custGeom>
                  <a:avLst/>
                  <a:gdLst>
                    <a:gd name="csX0" fmla="*/ 0 w 60577"/>
                    <a:gd name="csY0" fmla="*/ 0 h 12699"/>
                    <a:gd name="csX1" fmla="*/ 60578 w 60577"/>
                    <a:gd name="csY1" fmla="*/ 0 h 12699"/>
                  </a:gdLst>
                  <a:ahLst/>
                  <a:cxnLst>
                    <a:cxn ang="0">
                      <a:pos x="csX0" y="csY0"/>
                    </a:cxn>
                    <a:cxn ang="0">
                      <a:pos x="csX1" y="csY1"/>
                    </a:cxn>
                  </a:cxnLst>
                  <a:rect l="l" t="t" r="r" b="b"/>
                  <a:pathLst>
                    <a:path w="60577" h="12699">
                      <a:moveTo>
                        <a:pt x="0" y="0"/>
                      </a:moveTo>
                      <a:lnTo>
                        <a:pt x="60578"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03" name="Freeform 1701">
                  <a:extLst>
                    <a:ext uri="{FF2B5EF4-FFF2-40B4-BE49-F238E27FC236}">
                      <a16:creationId xmlns:a16="http://schemas.microsoft.com/office/drawing/2014/main" id="{E2D34611-D3E5-0A48-F43E-B01CEF7235CD}"/>
                    </a:ext>
                  </a:extLst>
                </p:cNvPr>
                <p:cNvSpPr/>
                <p:nvPr/>
              </p:nvSpPr>
              <p:spPr>
                <a:xfrm>
                  <a:off x="7147180" y="2636261"/>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96" name="Graphic 2">
                <a:extLst>
                  <a:ext uri="{FF2B5EF4-FFF2-40B4-BE49-F238E27FC236}">
                    <a16:creationId xmlns:a16="http://schemas.microsoft.com/office/drawing/2014/main" id="{CD62B29B-4E33-8A30-9046-8826C76711BD}"/>
                  </a:ext>
                </a:extLst>
              </p:cNvPr>
              <p:cNvGrpSpPr/>
              <p:nvPr/>
            </p:nvGrpSpPr>
            <p:grpSpPr>
              <a:xfrm>
                <a:off x="7062092" y="2606924"/>
                <a:ext cx="60577" cy="57148"/>
                <a:chOff x="7062092" y="2606924"/>
                <a:chExt cx="60577" cy="57148"/>
              </a:xfrm>
            </p:grpSpPr>
            <p:sp>
              <p:nvSpPr>
                <p:cNvPr id="1700" name="Freeform 1698">
                  <a:extLst>
                    <a:ext uri="{FF2B5EF4-FFF2-40B4-BE49-F238E27FC236}">
                      <a16:creationId xmlns:a16="http://schemas.microsoft.com/office/drawing/2014/main" id="{09253629-D427-789D-4717-808A83FDB445}"/>
                    </a:ext>
                  </a:extLst>
                </p:cNvPr>
                <p:cNvSpPr/>
                <p:nvPr/>
              </p:nvSpPr>
              <p:spPr>
                <a:xfrm>
                  <a:off x="7062092" y="2635499"/>
                  <a:ext cx="60577" cy="12699"/>
                </a:xfrm>
                <a:custGeom>
                  <a:avLst/>
                  <a:gdLst>
                    <a:gd name="csX0" fmla="*/ 0 w 60577"/>
                    <a:gd name="csY0" fmla="*/ 0 h 12699"/>
                    <a:gd name="csX1" fmla="*/ 60578 w 60577"/>
                    <a:gd name="csY1" fmla="*/ 0 h 12699"/>
                  </a:gdLst>
                  <a:ahLst/>
                  <a:cxnLst>
                    <a:cxn ang="0">
                      <a:pos x="csX0" y="csY0"/>
                    </a:cxn>
                    <a:cxn ang="0">
                      <a:pos x="csX1" y="csY1"/>
                    </a:cxn>
                  </a:cxnLst>
                  <a:rect l="l" t="t" r="r" b="b"/>
                  <a:pathLst>
                    <a:path w="60577" h="12699">
                      <a:moveTo>
                        <a:pt x="0" y="0"/>
                      </a:moveTo>
                      <a:lnTo>
                        <a:pt x="60578"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701" name="Freeform 1699">
                  <a:extLst>
                    <a:ext uri="{FF2B5EF4-FFF2-40B4-BE49-F238E27FC236}">
                      <a16:creationId xmlns:a16="http://schemas.microsoft.com/office/drawing/2014/main" id="{4C9A40E5-28E8-863F-75C1-C0D4BC7850C8}"/>
                    </a:ext>
                  </a:extLst>
                </p:cNvPr>
                <p:cNvSpPr/>
                <p:nvPr/>
              </p:nvSpPr>
              <p:spPr>
                <a:xfrm>
                  <a:off x="7092317" y="2606924"/>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697" name="Graphic 2">
                <a:extLst>
                  <a:ext uri="{FF2B5EF4-FFF2-40B4-BE49-F238E27FC236}">
                    <a16:creationId xmlns:a16="http://schemas.microsoft.com/office/drawing/2014/main" id="{A65ED7B5-4168-BFEA-4A86-43B91CB74AA7}"/>
                  </a:ext>
                </a:extLst>
              </p:cNvPr>
              <p:cNvGrpSpPr/>
              <p:nvPr/>
            </p:nvGrpSpPr>
            <p:grpSpPr>
              <a:xfrm>
                <a:off x="6955796" y="2578858"/>
                <a:ext cx="60450" cy="57148"/>
                <a:chOff x="6955796" y="2578858"/>
                <a:chExt cx="60450" cy="57148"/>
              </a:xfrm>
            </p:grpSpPr>
            <p:sp>
              <p:nvSpPr>
                <p:cNvPr id="1698" name="Freeform 1696">
                  <a:extLst>
                    <a:ext uri="{FF2B5EF4-FFF2-40B4-BE49-F238E27FC236}">
                      <a16:creationId xmlns:a16="http://schemas.microsoft.com/office/drawing/2014/main" id="{C5349F99-2E48-267B-7A09-A5B6299F8DAC}"/>
                    </a:ext>
                  </a:extLst>
                </p:cNvPr>
                <p:cNvSpPr/>
                <p:nvPr/>
              </p:nvSpPr>
              <p:spPr>
                <a:xfrm>
                  <a:off x="6955796" y="2607432"/>
                  <a:ext cx="60450" cy="12699"/>
                </a:xfrm>
                <a:custGeom>
                  <a:avLst/>
                  <a:gdLst>
                    <a:gd name="csX0" fmla="*/ 0 w 60450"/>
                    <a:gd name="csY0" fmla="*/ 0 h 12699"/>
                    <a:gd name="csX1" fmla="*/ 60451 w 60450"/>
                    <a:gd name="csY1" fmla="*/ 0 h 12699"/>
                  </a:gdLst>
                  <a:ahLst/>
                  <a:cxnLst>
                    <a:cxn ang="0">
                      <a:pos x="csX0" y="csY0"/>
                    </a:cxn>
                    <a:cxn ang="0">
                      <a:pos x="csX1" y="csY1"/>
                    </a:cxn>
                  </a:cxnLst>
                  <a:rect l="l" t="t" r="r" b="b"/>
                  <a:pathLst>
                    <a:path w="60450" h="12699">
                      <a:moveTo>
                        <a:pt x="0" y="0"/>
                      </a:moveTo>
                      <a:lnTo>
                        <a:pt x="60451" y="0"/>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699" name="Freeform 1697">
                  <a:extLst>
                    <a:ext uri="{FF2B5EF4-FFF2-40B4-BE49-F238E27FC236}">
                      <a16:creationId xmlns:a16="http://schemas.microsoft.com/office/drawing/2014/main" id="{3F141DE8-9BCE-926A-A202-12219411109C}"/>
                    </a:ext>
                  </a:extLst>
                </p:cNvPr>
                <p:cNvSpPr/>
                <p:nvPr/>
              </p:nvSpPr>
              <p:spPr>
                <a:xfrm>
                  <a:off x="6986021" y="2578858"/>
                  <a:ext cx="12699" cy="57148"/>
                </a:xfrm>
                <a:custGeom>
                  <a:avLst/>
                  <a:gdLst>
                    <a:gd name="csX0" fmla="*/ 0 w 12699"/>
                    <a:gd name="csY0" fmla="*/ 0 h 57148"/>
                    <a:gd name="csX1" fmla="*/ 0 w 12699"/>
                    <a:gd name="csY1" fmla="*/ 57149 h 57148"/>
                  </a:gdLst>
                  <a:ahLst/>
                  <a:cxnLst>
                    <a:cxn ang="0">
                      <a:pos x="csX0" y="csY0"/>
                    </a:cxn>
                    <a:cxn ang="0">
                      <a:pos x="csX1" y="csY1"/>
                    </a:cxn>
                  </a:cxnLst>
                  <a:rect l="l" t="t" r="r" b="b"/>
                  <a:pathLst>
                    <a:path w="12699" h="57148">
                      <a:moveTo>
                        <a:pt x="0" y="0"/>
                      </a:moveTo>
                      <a:lnTo>
                        <a:pt x="0" y="57149"/>
                      </a:lnTo>
                    </a:path>
                  </a:pathLst>
                </a:custGeom>
                <a:ln w="9518"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grpSp>
        </p:grpSp>
        <p:sp>
          <p:nvSpPr>
            <p:cNvPr id="1669" name="Freeform 1667">
              <a:extLst>
                <a:ext uri="{FF2B5EF4-FFF2-40B4-BE49-F238E27FC236}">
                  <a16:creationId xmlns:a16="http://schemas.microsoft.com/office/drawing/2014/main" id="{FF25C0C6-85DE-C5E4-4E6E-48AD3DEAB79B}"/>
                </a:ext>
              </a:extLst>
            </p:cNvPr>
            <p:cNvSpPr/>
            <p:nvPr/>
          </p:nvSpPr>
          <p:spPr>
            <a:xfrm>
              <a:off x="5384552" y="2436643"/>
              <a:ext cx="136648" cy="12699"/>
            </a:xfrm>
            <a:custGeom>
              <a:avLst/>
              <a:gdLst>
                <a:gd name="csX0" fmla="*/ 0 w 136648"/>
                <a:gd name="csY0" fmla="*/ 0 h 12699"/>
                <a:gd name="csX1" fmla="*/ 136649 w 136648"/>
                <a:gd name="csY1" fmla="*/ 0 h 12699"/>
              </a:gdLst>
              <a:ahLst/>
              <a:cxnLst>
                <a:cxn ang="0">
                  <a:pos x="csX0" y="csY0"/>
                </a:cxn>
                <a:cxn ang="0">
                  <a:pos x="csX1" y="csY1"/>
                </a:cxn>
              </a:cxnLst>
              <a:rect l="l" t="t" r="r" b="b"/>
              <a:pathLst>
                <a:path w="136648" h="12699">
                  <a:moveTo>
                    <a:pt x="0" y="0"/>
                  </a:moveTo>
                  <a:lnTo>
                    <a:pt x="136649" y="0"/>
                  </a:lnTo>
                </a:path>
              </a:pathLst>
            </a:custGeom>
            <a:ln w="19035"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a:ea typeface="MS PGothic" panose="020B0600070205080204" pitchFamily="34" charset="-128"/>
                <a:cs typeface="+mn-cs"/>
              </a:endParaRPr>
            </a:p>
          </p:txBody>
        </p:sp>
        <p:sp>
          <p:nvSpPr>
            <p:cNvPr id="1671" name="TextBox 1670">
              <a:extLst>
                <a:ext uri="{FF2B5EF4-FFF2-40B4-BE49-F238E27FC236}">
                  <a16:creationId xmlns:a16="http://schemas.microsoft.com/office/drawing/2014/main" id="{01C2C1B3-48C9-EAB9-9311-0E711C9EF0C4}"/>
                </a:ext>
              </a:extLst>
            </p:cNvPr>
            <p:cNvSpPr txBox="1"/>
            <p:nvPr/>
          </p:nvSpPr>
          <p:spPr>
            <a:xfrm>
              <a:off x="6681638" y="1254690"/>
              <a:ext cx="1640618" cy="561481"/>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6" b="1" i="0" u="none" strike="noStrike" kern="1200" cap="none" spc="0" normalizeH="0" baseline="0" noProof="0" dirty="0">
                  <a:ln/>
                  <a:solidFill>
                    <a:srgbClr val="000000"/>
                  </a:solidFill>
                  <a:effectLst/>
                  <a:uLnTx/>
                  <a:uFillTx/>
                  <a:latin typeface="Arial" panose="020B0604020202020204"/>
                  <a:ea typeface="MS PGothic" panose="020B0600070205080204" pitchFamily="34" charset="-128"/>
                  <a:cs typeface="Arial"/>
                  <a:sym typeface="Arial"/>
                  <a:rtl val="0"/>
                </a:rPr>
                <a:t>36-month DOCR rate (95% CI): </a:t>
              </a:r>
            </a:p>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dirty="0">
                  <a:ln/>
                  <a:solidFill>
                    <a:srgbClr val="544F4F"/>
                  </a:solidFill>
                  <a:effectLst/>
                  <a:uLnTx/>
                  <a:uFillTx/>
                  <a:latin typeface="Arial" panose="020B0604020202020204"/>
                  <a:ea typeface="MS PGothic" panose="020B0600070205080204" pitchFamily="34" charset="-128"/>
                  <a:cs typeface="Arial"/>
                  <a:sym typeface="Arial"/>
                  <a:rtl val="0"/>
                </a:rPr>
                <a:t>63.4% (43.0, 83.8)</a:t>
              </a:r>
            </a:p>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58.3% (42.7, 73.9)</a:t>
              </a:r>
            </a:p>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53.7% (30.7, 76.6)</a:t>
              </a:r>
            </a:p>
          </p:txBody>
        </p:sp>
      </p:grpSp>
      <p:sp>
        <p:nvSpPr>
          <p:cNvPr id="3" name="TextBox 2">
            <a:extLst>
              <a:ext uri="{FF2B5EF4-FFF2-40B4-BE49-F238E27FC236}">
                <a16:creationId xmlns:a16="http://schemas.microsoft.com/office/drawing/2014/main" id="{8C79FE41-43EB-0DB5-A32F-823DD74DA18C}"/>
              </a:ext>
            </a:extLst>
          </p:cNvPr>
          <p:cNvSpPr txBox="1"/>
          <p:nvPr/>
        </p:nvSpPr>
        <p:spPr>
          <a:xfrm>
            <a:off x="9514400" y="6442700"/>
            <a:ext cx="2407903" cy="338554"/>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544F4F">
                    <a:lumMod val="50000"/>
                  </a:srgbClr>
                </a:solidFill>
                <a:effectLst/>
                <a:uLnTx/>
                <a:uFillTx/>
                <a:latin typeface="Arial" panose="020B0604020202020204"/>
                <a:ea typeface="MS PGothic" panose="020B0600070205080204" pitchFamily="34" charset="-128"/>
                <a:cs typeface="+mn-cs"/>
              </a:rPr>
              <a:t>Karimi et al. ASCO 2026</a:t>
            </a:r>
          </a:p>
        </p:txBody>
      </p:sp>
    </p:spTree>
    <p:extLst>
      <p:ext uri="{BB962C8B-B14F-4D97-AF65-F5344CB8AC3E}">
        <p14:creationId xmlns:p14="http://schemas.microsoft.com/office/powerpoint/2010/main" val="41040139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881B77-BBC4-5DE1-2E56-6ABBF1C706A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0DDEFD8-554C-C977-0290-1706CCD49584}"/>
              </a:ext>
            </a:extLst>
          </p:cNvPr>
          <p:cNvSpPr>
            <a:spLocks noGrp="1"/>
          </p:cNvSpPr>
          <p:nvPr>
            <p:ph type="title"/>
          </p:nvPr>
        </p:nvSpPr>
        <p:spPr>
          <a:xfrm>
            <a:off x="530039" y="242908"/>
            <a:ext cx="11020197" cy="906972"/>
          </a:xfrm>
        </p:spPr>
        <p:txBody>
          <a:bodyPr/>
          <a:lstStyle/>
          <a:p>
            <a:r>
              <a:rPr lang="en-GB" dirty="0"/>
              <a:t>Progression-free survival</a:t>
            </a:r>
          </a:p>
        </p:txBody>
      </p:sp>
      <p:sp>
        <p:nvSpPr>
          <p:cNvPr id="4" name="Text Placeholder 3">
            <a:extLst>
              <a:ext uri="{FF2B5EF4-FFF2-40B4-BE49-F238E27FC236}">
                <a16:creationId xmlns:a16="http://schemas.microsoft.com/office/drawing/2014/main" id="{9529453A-5D11-2F08-5727-8AF4129C86CC}"/>
              </a:ext>
            </a:extLst>
          </p:cNvPr>
          <p:cNvSpPr>
            <a:spLocks noGrp="1"/>
          </p:cNvSpPr>
          <p:nvPr>
            <p:ph type="body" sz="quarter" idx="11"/>
          </p:nvPr>
        </p:nvSpPr>
        <p:spPr>
          <a:xfrm>
            <a:off x="528768" y="6077097"/>
            <a:ext cx="10262911" cy="541518"/>
          </a:xfrm>
        </p:spPr>
        <p:txBody>
          <a:bodyPr/>
          <a:lstStyle/>
          <a:p>
            <a:pPr>
              <a:spcAft>
                <a:spcPts val="0"/>
              </a:spcAft>
              <a:buSzPts val="650"/>
            </a:pPr>
            <a:r>
              <a:rPr lang="en-GB" sz="933" dirty="0"/>
              <a:t>*INV-assessed. </a:t>
            </a:r>
            <a:r>
              <a:rPr lang="en-GB" sz="933" baseline="30000" dirty="0"/>
              <a:t>†</a:t>
            </a:r>
            <a:r>
              <a:rPr lang="en-GB" sz="933" dirty="0"/>
              <a:t>Median PFS follow-up was 36.0 months (range: 0–55) overall, </a:t>
            </a:r>
            <a:br>
              <a:rPr lang="en-GB" sz="933" dirty="0"/>
            </a:br>
            <a:r>
              <a:rPr lang="en-GB" sz="933" dirty="0"/>
              <a:t>and 43.7 months (range: 0–55) and 35.9 months (range: 2–51) in the prior-BTKi and BTKi-naïve cohorts, respectively. </a:t>
            </a:r>
          </a:p>
        </p:txBody>
      </p:sp>
      <p:sp>
        <p:nvSpPr>
          <p:cNvPr id="25" name="Rounded Rectangle 2015">
            <a:extLst>
              <a:ext uri="{FF2B5EF4-FFF2-40B4-BE49-F238E27FC236}">
                <a16:creationId xmlns:a16="http://schemas.microsoft.com/office/drawing/2014/main" id="{F202917B-B6B6-D8F5-2E2C-1D13D7BBF49D}"/>
              </a:ext>
            </a:extLst>
          </p:cNvPr>
          <p:cNvSpPr/>
          <p:nvPr/>
        </p:nvSpPr>
        <p:spPr>
          <a:xfrm>
            <a:off x="539352" y="5386109"/>
            <a:ext cx="11134463" cy="690987"/>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6923" rtl="0" eaLnBrk="0" fontAlgn="base" latinLnBrk="0" hangingPunct="0">
              <a:lnSpc>
                <a:spcPct val="100000"/>
              </a:lnSpc>
              <a:spcBef>
                <a:spcPct val="0"/>
              </a:spcBef>
              <a:spcAft>
                <a:spcPct val="0"/>
              </a:spcAft>
              <a:buClrTx/>
              <a:buSzTx/>
              <a:buFontTx/>
              <a:buNone/>
              <a:tabLst/>
              <a:defRPr/>
            </a:pPr>
            <a:r>
              <a:rPr kumimoji="0" lang="en-GB" sz="1866" b="0" i="0" u="none" strike="noStrike" kern="1200" cap="none" spc="0" normalizeH="0" baseline="0" noProof="0" dirty="0">
                <a:ln>
                  <a:noFill/>
                </a:ln>
                <a:solidFill>
                  <a:srgbClr val="FFFFFF"/>
                </a:solidFill>
                <a:effectLst/>
                <a:uLnTx/>
                <a:uFillTx/>
                <a:latin typeface="Arial" panose="020B0604020202020204"/>
                <a:ea typeface="+mn-ea"/>
                <a:cs typeface="+mn-cs"/>
              </a:rPr>
              <a:t>Clinically meaningful PFS was achieved with glofitamab monotherapy after 3.5 years of follow-up; </a:t>
            </a:r>
          </a:p>
          <a:p>
            <a:pPr marL="0" marR="0" lvl="0" indent="0" algn="ctr" defTabSz="1096923" rtl="0" eaLnBrk="0" fontAlgn="base" latinLnBrk="0" hangingPunct="0">
              <a:lnSpc>
                <a:spcPct val="100000"/>
              </a:lnSpc>
              <a:spcBef>
                <a:spcPct val="0"/>
              </a:spcBef>
              <a:spcAft>
                <a:spcPct val="0"/>
              </a:spcAft>
              <a:buClrTx/>
              <a:buSzTx/>
              <a:buFontTx/>
              <a:buNone/>
              <a:tabLst/>
              <a:defRPr/>
            </a:pPr>
            <a:r>
              <a:rPr kumimoji="0" lang="en-GB" sz="1866" b="0" i="0" u="none" strike="noStrike" kern="1200" cap="none" spc="0" normalizeH="0" baseline="0" noProof="0" dirty="0">
                <a:ln>
                  <a:noFill/>
                </a:ln>
                <a:solidFill>
                  <a:srgbClr val="FFFFFF"/>
                </a:solidFill>
                <a:effectLst/>
                <a:uLnTx/>
                <a:uFillTx/>
                <a:latin typeface="Arial" panose="020B0604020202020204"/>
                <a:ea typeface="+mn-ea"/>
                <a:cs typeface="+mn-cs"/>
              </a:rPr>
              <a:t>COVID-19 censoring further extended the median PFS from 18.0 to 23.5 months</a:t>
            </a:r>
          </a:p>
        </p:txBody>
      </p:sp>
      <p:graphicFrame>
        <p:nvGraphicFramePr>
          <p:cNvPr id="289" name="Google Shape;264;p27">
            <a:extLst>
              <a:ext uri="{FF2B5EF4-FFF2-40B4-BE49-F238E27FC236}">
                <a16:creationId xmlns:a16="http://schemas.microsoft.com/office/drawing/2014/main" id="{3F9CE1DE-F674-7454-F071-0AF720104E29}"/>
              </a:ext>
            </a:extLst>
          </p:cNvPr>
          <p:cNvGraphicFramePr/>
          <p:nvPr/>
        </p:nvGraphicFramePr>
        <p:xfrm>
          <a:off x="549313" y="4361632"/>
          <a:ext cx="5518297" cy="950784"/>
        </p:xfrm>
        <a:graphic>
          <a:graphicData uri="http://schemas.openxmlformats.org/drawingml/2006/table">
            <a:tbl>
              <a:tblPr>
                <a:gradFill>
                  <a:gsLst>
                    <a:gs pos="0">
                      <a:srgbClr val="FFFFFF"/>
                    </a:gs>
                    <a:gs pos="50000">
                      <a:srgbClr val="FBFBFE"/>
                    </a:gs>
                    <a:gs pos="100000">
                      <a:srgbClr val="FAFBFD"/>
                    </a:gs>
                  </a:gsLst>
                  <a:lin ang="5400012" scaled="0"/>
                </a:gradFill>
              </a:tblPr>
              <a:tblGrid>
                <a:gridCol w="1775452">
                  <a:extLst>
                    <a:ext uri="{9D8B030D-6E8A-4147-A177-3AD203B41FA5}">
                      <a16:colId xmlns:a16="http://schemas.microsoft.com/office/drawing/2014/main" val="20000"/>
                    </a:ext>
                  </a:extLst>
                </a:gridCol>
                <a:gridCol w="1247615">
                  <a:extLst>
                    <a:ext uri="{9D8B030D-6E8A-4147-A177-3AD203B41FA5}">
                      <a16:colId xmlns:a16="http://schemas.microsoft.com/office/drawing/2014/main" val="4233076067"/>
                    </a:ext>
                  </a:extLst>
                </a:gridCol>
                <a:gridCol w="1247615">
                  <a:extLst>
                    <a:ext uri="{9D8B030D-6E8A-4147-A177-3AD203B41FA5}">
                      <a16:colId xmlns:a16="http://schemas.microsoft.com/office/drawing/2014/main" val="1513472702"/>
                    </a:ext>
                  </a:extLst>
                </a:gridCol>
                <a:gridCol w="1247615">
                  <a:extLst>
                    <a:ext uri="{9D8B030D-6E8A-4147-A177-3AD203B41FA5}">
                      <a16:colId xmlns:a16="http://schemas.microsoft.com/office/drawing/2014/main" val="20001"/>
                    </a:ext>
                  </a:extLst>
                </a:gridCol>
              </a:tblGrid>
              <a:tr h="475280">
                <a:tc>
                  <a:txBody>
                    <a:bodyPr/>
                    <a:lstStyle/>
                    <a:p>
                      <a:pPr marL="0" marR="0" lvl="0" indent="0" algn="l" rtl="0">
                        <a:lnSpc>
                          <a:spcPct val="100000"/>
                        </a:lnSpc>
                        <a:spcBef>
                          <a:spcPts val="0"/>
                        </a:spcBef>
                        <a:spcAft>
                          <a:spcPts val="0"/>
                        </a:spcAft>
                        <a:buClr>
                          <a:srgbClr val="000000"/>
                        </a:buClr>
                        <a:buSzPts val="1000"/>
                        <a:buFont typeface="Arial"/>
                        <a:buNone/>
                      </a:pPr>
                      <a:r>
                        <a:rPr lang="en-ZA" sz="1200" b="1" u="none" strike="noStrike" cap="none" dirty="0">
                          <a:solidFill>
                            <a:schemeClr val="bg1"/>
                          </a:solidFill>
                          <a:latin typeface="Arial"/>
                          <a:ea typeface="Arial"/>
                          <a:cs typeface="Arial"/>
                          <a:sym typeface="Arial"/>
                        </a:rPr>
                        <a:t>PFS</a:t>
                      </a:r>
                      <a:endParaRPr sz="1200" b="1" u="none" strike="noStrike" cap="none" dirty="0">
                        <a:solidFill>
                          <a:schemeClr val="bg1"/>
                        </a:solidFill>
                        <a:latin typeface="Arial"/>
                        <a:ea typeface="Arial"/>
                        <a:cs typeface="Arial"/>
                        <a:sym typeface="Arial"/>
                      </a:endParaRPr>
                    </a:p>
                  </a:txBody>
                  <a:tcPr marL="109699" marR="109699" marT="54816" marB="54816" anchor="ctr">
                    <a:lnL w="12700" cap="flat" cmpd="sng">
                      <a:solidFill>
                        <a:schemeClr val="dk2"/>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12700" cap="flat" cmpd="sng">
                      <a:solidFill>
                        <a:schemeClr val="dk2"/>
                      </a:solidFill>
                      <a:prstDash val="solid"/>
                      <a:round/>
                      <a:headEnd type="none" w="sm" len="sm"/>
                      <a:tailEnd type="none" w="sm" len="sm"/>
                    </a:lnT>
                    <a:lnB w="12700" cap="flat" cmpd="sng" algn="ctr">
                      <a:solidFill>
                        <a:schemeClr val="bg2">
                          <a:lumMod val="20000"/>
                          <a:lumOff val="80000"/>
                        </a:schemeClr>
                      </a:solidFill>
                      <a:prstDash val="solid"/>
                      <a:round/>
                      <a:headEnd type="none" w="med" len="med"/>
                      <a:tailEnd type="none" w="med" len="med"/>
                    </a:lnB>
                    <a:solidFill>
                      <a:schemeClr val="dk2"/>
                    </a:solidFill>
                  </a:tcPr>
                </a:tc>
                <a:tc>
                  <a:txBody>
                    <a:bodyPr/>
                    <a:lstStyle/>
                    <a:p>
                      <a:pPr marL="0" marR="0" lvl="0" indent="0" algn="ctr" rtl="0">
                        <a:lnSpc>
                          <a:spcPct val="100000"/>
                        </a:lnSpc>
                        <a:spcBef>
                          <a:spcPts val="0"/>
                        </a:spcBef>
                        <a:spcAft>
                          <a:spcPts val="0"/>
                        </a:spcAft>
                        <a:buClr>
                          <a:schemeClr val="lt1"/>
                        </a:buClr>
                        <a:buSzPts val="1100"/>
                        <a:buFont typeface="Arial"/>
                        <a:buNone/>
                      </a:pPr>
                      <a:r>
                        <a:rPr lang="en" sz="1200" b="1" dirty="0">
                          <a:solidFill>
                            <a:schemeClr val="lt1"/>
                          </a:solidFill>
                          <a:latin typeface="+mn-lt"/>
                        </a:rPr>
                        <a:t>Prior BTKi</a:t>
                      </a:r>
                      <a:endParaRPr sz="1200" dirty="0">
                        <a:latin typeface="+mn-lt"/>
                      </a:endParaRPr>
                    </a:p>
                    <a:p>
                      <a:pPr marL="0" marR="0" lvl="0" indent="0" algn="ctr" rtl="0">
                        <a:lnSpc>
                          <a:spcPct val="100000"/>
                        </a:lnSpc>
                        <a:spcBef>
                          <a:spcPts val="0"/>
                        </a:spcBef>
                        <a:spcAft>
                          <a:spcPts val="0"/>
                        </a:spcAft>
                        <a:buClr>
                          <a:schemeClr val="lt1"/>
                        </a:buClr>
                        <a:buSzPts val="1100"/>
                        <a:buFont typeface="Arial"/>
                        <a:buNone/>
                      </a:pPr>
                      <a:r>
                        <a:rPr lang="en" sz="1200" b="1" u="none" strike="noStrike" cap="none" dirty="0">
                          <a:solidFill>
                            <a:schemeClr val="lt1"/>
                          </a:solidFill>
                          <a:latin typeface="+mn-lt"/>
                          <a:ea typeface="Arial"/>
                          <a:cs typeface="Arial"/>
                          <a:sym typeface="Arial"/>
                        </a:rPr>
                        <a:t>(</a:t>
                      </a:r>
                      <a:r>
                        <a:rPr lang="en" sz="1200" b="1" dirty="0">
                          <a:solidFill>
                            <a:schemeClr val="lt1"/>
                          </a:solidFill>
                          <a:latin typeface="+mn-lt"/>
                        </a:rPr>
                        <a:t>n</a:t>
                      </a:r>
                      <a:r>
                        <a:rPr lang="en" sz="1200" b="1" u="none" strike="noStrike" cap="none" dirty="0">
                          <a:solidFill>
                            <a:schemeClr val="lt1"/>
                          </a:solidFill>
                          <a:latin typeface="+mn-lt"/>
                          <a:ea typeface="Arial"/>
                          <a:cs typeface="Arial"/>
                          <a:sym typeface="Arial"/>
                        </a:rPr>
                        <a:t>=</a:t>
                      </a:r>
                      <a:r>
                        <a:rPr lang="en" sz="1200" b="1" dirty="0">
                          <a:solidFill>
                            <a:schemeClr val="lt1"/>
                          </a:solidFill>
                          <a:latin typeface="+mn-lt"/>
                        </a:rPr>
                        <a:t>34</a:t>
                      </a:r>
                      <a:r>
                        <a:rPr lang="en" sz="1200" b="1" u="none" strike="noStrike" cap="none" dirty="0">
                          <a:solidFill>
                            <a:schemeClr val="lt1"/>
                          </a:solidFill>
                          <a:latin typeface="+mn-lt"/>
                          <a:ea typeface="Arial"/>
                          <a:cs typeface="Arial"/>
                          <a:sym typeface="Arial"/>
                        </a:rPr>
                        <a:t>)</a:t>
                      </a:r>
                      <a:endParaRPr sz="1200" dirty="0">
                        <a:latin typeface="+mn-lt"/>
                      </a:endParaRPr>
                    </a:p>
                  </a:txBody>
                  <a:tcPr marL="109699" marR="109699" marT="54816" marB="54816"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dk2"/>
                      </a:solidFill>
                      <a:prstDash val="solid"/>
                      <a:round/>
                      <a:headEnd type="none" w="sm" len="sm"/>
                      <a:tailEnd type="none" w="sm" len="sm"/>
                    </a:lnT>
                    <a:lnB w="12700" cap="flat" cmpd="sng" algn="ctr">
                      <a:solidFill>
                        <a:schemeClr val="bg2">
                          <a:lumMod val="20000"/>
                          <a:lumOff val="80000"/>
                        </a:schemeClr>
                      </a:solidFill>
                      <a:prstDash val="solid"/>
                      <a:round/>
                      <a:headEnd type="none" w="med" len="med"/>
                      <a:tailEnd type="none" w="med" len="med"/>
                    </a:lnB>
                    <a:solidFill>
                      <a:schemeClr val="accent2"/>
                    </a:solidFill>
                  </a:tcPr>
                </a:tc>
                <a:tc>
                  <a:txBody>
                    <a:bodyPr/>
                    <a:lstStyle/>
                    <a:p>
                      <a:pPr marL="0" marR="0" lvl="0" indent="0" algn="ctr" rtl="0">
                        <a:lnSpc>
                          <a:spcPct val="100000"/>
                        </a:lnSpc>
                        <a:spcBef>
                          <a:spcPts val="0"/>
                        </a:spcBef>
                        <a:spcAft>
                          <a:spcPts val="0"/>
                        </a:spcAft>
                        <a:buClr>
                          <a:schemeClr val="lt1"/>
                        </a:buClr>
                        <a:buSzPts val="1100"/>
                        <a:buFont typeface="Arial"/>
                        <a:buNone/>
                      </a:pPr>
                      <a:r>
                        <a:rPr lang="en" sz="1200" b="1" dirty="0">
                          <a:solidFill>
                            <a:schemeClr val="lt1"/>
                          </a:solidFill>
                          <a:latin typeface="+mn-lt"/>
                        </a:rPr>
                        <a:t>BTKi naive</a:t>
                      </a:r>
                      <a:endParaRPr sz="1200" dirty="0">
                        <a:latin typeface="+mn-lt"/>
                      </a:endParaRPr>
                    </a:p>
                    <a:p>
                      <a:pPr marL="0" marR="0" lvl="0" indent="0" algn="ctr" rtl="0">
                        <a:lnSpc>
                          <a:spcPct val="100000"/>
                        </a:lnSpc>
                        <a:spcBef>
                          <a:spcPts val="0"/>
                        </a:spcBef>
                        <a:spcAft>
                          <a:spcPts val="0"/>
                        </a:spcAft>
                        <a:buClr>
                          <a:schemeClr val="lt1"/>
                        </a:buClr>
                        <a:buSzPts val="1100"/>
                        <a:buFont typeface="Arial"/>
                        <a:buNone/>
                      </a:pPr>
                      <a:r>
                        <a:rPr lang="en" sz="1200" b="1" u="none" strike="noStrike" cap="none" dirty="0">
                          <a:solidFill>
                            <a:schemeClr val="lt1"/>
                          </a:solidFill>
                          <a:latin typeface="+mn-lt"/>
                          <a:ea typeface="Arial"/>
                          <a:cs typeface="Arial"/>
                          <a:sym typeface="Arial"/>
                        </a:rPr>
                        <a:t>(</a:t>
                      </a:r>
                      <a:r>
                        <a:rPr lang="en" sz="1200" b="1" dirty="0">
                          <a:solidFill>
                            <a:schemeClr val="lt1"/>
                          </a:solidFill>
                          <a:latin typeface="+mn-lt"/>
                        </a:rPr>
                        <a:t>n</a:t>
                      </a:r>
                      <a:r>
                        <a:rPr lang="en" sz="1200" b="1" u="none" strike="noStrike" cap="none" dirty="0">
                          <a:solidFill>
                            <a:schemeClr val="lt1"/>
                          </a:solidFill>
                          <a:latin typeface="+mn-lt"/>
                          <a:ea typeface="Arial"/>
                          <a:cs typeface="Arial"/>
                          <a:sym typeface="Arial"/>
                        </a:rPr>
                        <a:t>=</a:t>
                      </a:r>
                      <a:r>
                        <a:rPr lang="en" sz="1200" b="1" dirty="0">
                          <a:solidFill>
                            <a:schemeClr val="lt1"/>
                          </a:solidFill>
                          <a:latin typeface="+mn-lt"/>
                        </a:rPr>
                        <a:t>27</a:t>
                      </a:r>
                      <a:r>
                        <a:rPr lang="en" sz="1200" b="1" u="none" strike="noStrike" cap="none" dirty="0">
                          <a:solidFill>
                            <a:schemeClr val="lt1"/>
                          </a:solidFill>
                          <a:latin typeface="+mn-lt"/>
                          <a:ea typeface="Arial"/>
                          <a:cs typeface="Arial"/>
                          <a:sym typeface="Arial"/>
                        </a:rPr>
                        <a:t>)</a:t>
                      </a:r>
                      <a:endParaRPr sz="1200" b="1" dirty="0">
                        <a:solidFill>
                          <a:schemeClr val="lt1"/>
                        </a:solidFill>
                        <a:latin typeface="+mn-lt"/>
                      </a:endParaRPr>
                    </a:p>
                  </a:txBody>
                  <a:tcPr marL="109699" marR="109699" marT="54816" marB="54816"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dk2"/>
                      </a:solidFill>
                      <a:prstDash val="solid"/>
                      <a:round/>
                      <a:headEnd type="none" w="sm" len="sm"/>
                      <a:tailEnd type="none" w="sm" len="sm"/>
                    </a:lnT>
                    <a:lnB w="12700" cap="flat" cmpd="sng" algn="ctr">
                      <a:solidFill>
                        <a:schemeClr val="bg2">
                          <a:lumMod val="20000"/>
                          <a:lumOff val="80000"/>
                        </a:schemeClr>
                      </a:solidFill>
                      <a:prstDash val="solid"/>
                      <a:round/>
                      <a:headEnd type="none" w="med" len="med"/>
                      <a:tailEnd type="none" w="med" len="med"/>
                    </a:lnB>
                    <a:solidFill>
                      <a:schemeClr val="bg2"/>
                    </a:solidFill>
                  </a:tcPr>
                </a:tc>
                <a:tc>
                  <a:txBody>
                    <a:bodyPr/>
                    <a:lstStyle/>
                    <a:p>
                      <a:pPr marL="0" marR="0" lvl="0" indent="0" algn="ctr" rtl="0">
                        <a:lnSpc>
                          <a:spcPct val="100000"/>
                        </a:lnSpc>
                        <a:spcBef>
                          <a:spcPts val="0"/>
                        </a:spcBef>
                        <a:spcAft>
                          <a:spcPts val="0"/>
                        </a:spcAft>
                        <a:buClr>
                          <a:schemeClr val="lt1"/>
                        </a:buClr>
                        <a:buSzPts val="1000"/>
                        <a:buFont typeface="Arial"/>
                        <a:buNone/>
                      </a:pPr>
                      <a:r>
                        <a:rPr lang="en" sz="1200" b="1" i="0" u="none" strike="noStrike" cap="none" dirty="0">
                          <a:solidFill>
                            <a:schemeClr val="lt1"/>
                          </a:solidFill>
                          <a:latin typeface="Arial"/>
                          <a:ea typeface="Arial"/>
                          <a:cs typeface="Arial"/>
                          <a:sym typeface="Arial"/>
                        </a:rPr>
                        <a:t>All patients (N=61)</a:t>
                      </a:r>
                      <a:endParaRPr sz="1200" b="1" i="0" u="none" strike="noStrike" cap="none" dirty="0">
                        <a:solidFill>
                          <a:schemeClr val="lt1"/>
                        </a:solidFill>
                        <a:latin typeface="Arial"/>
                        <a:ea typeface="Arial"/>
                        <a:cs typeface="Arial"/>
                        <a:sym typeface="Arial"/>
                      </a:endParaRPr>
                    </a:p>
                  </a:txBody>
                  <a:tcPr marL="109699" marR="109699" marT="54816" marB="54816" anchor="ctr">
                    <a:lnL w="9525" cap="flat" cmpd="sng" algn="ctr">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chemeClr val="dk2"/>
                      </a:solidFill>
                      <a:prstDash val="solid"/>
                      <a:round/>
                      <a:headEnd type="none" w="sm" len="sm"/>
                      <a:tailEnd type="none" w="sm" len="sm"/>
                    </a:lnT>
                    <a:lnB w="12700" cap="flat" cmpd="sng" algn="ctr">
                      <a:solidFill>
                        <a:schemeClr val="bg2">
                          <a:lumMod val="20000"/>
                          <a:lumOff val="80000"/>
                        </a:schemeClr>
                      </a:solidFill>
                      <a:prstDash val="solid"/>
                      <a:round/>
                      <a:headEnd type="none" w="med" len="med"/>
                      <a:tailEnd type="none" w="med" len="med"/>
                    </a:lnB>
                    <a:solidFill>
                      <a:schemeClr val="dk2"/>
                    </a:solidFill>
                  </a:tcPr>
                </a:tc>
                <a:extLst>
                  <a:ext uri="{0D108BD9-81ED-4DB2-BD59-A6C34878D82A}">
                    <a16:rowId xmlns:a16="http://schemas.microsoft.com/office/drawing/2014/main" val="10000"/>
                  </a:ext>
                </a:extLst>
              </a:tr>
              <a:tr h="475280">
                <a:tc>
                  <a:txBody>
                    <a:bodyPr/>
                    <a:lstStyle/>
                    <a:p>
                      <a:pPr marL="0" marR="0" lvl="0" indent="0" algn="l" defTabSz="684560" rtl="0" eaLnBrk="1" fontAlgn="auto" latinLnBrk="0" hangingPunct="1">
                        <a:lnSpc>
                          <a:spcPct val="100000"/>
                        </a:lnSpc>
                        <a:spcBef>
                          <a:spcPts val="0"/>
                        </a:spcBef>
                        <a:spcAft>
                          <a:spcPts val="0"/>
                        </a:spcAft>
                        <a:buClr>
                          <a:srgbClr val="000000"/>
                        </a:buClr>
                        <a:buSzPts val="1000"/>
                        <a:buFont typeface="Arial"/>
                        <a:buNone/>
                        <a:tabLst/>
                        <a:defRPr/>
                      </a:pPr>
                      <a:r>
                        <a:rPr lang="en-GB" sz="1200" b="1" u="none" strike="noStrike" cap="none" dirty="0"/>
                        <a:t>Median PFS</a:t>
                      </a:r>
                      <a:r>
                        <a:rPr lang="en-GB" sz="1200" b="0" u="none" strike="noStrike" cap="none" dirty="0"/>
                        <a:t>, months (95% CI)</a:t>
                      </a:r>
                      <a:endParaRPr lang="en-GB" sz="1200" b="0" dirty="0"/>
                    </a:p>
                  </a:txBody>
                  <a:tcPr marL="109699" marR="109699" marT="54816" marB="54816" anchor="ctr">
                    <a:lnL w="9525" cap="flat" cmpd="sng">
                      <a:solidFill>
                        <a:srgbClr val="000000">
                          <a:alpha val="0"/>
                        </a:srgbClr>
                      </a:solidFill>
                      <a:prstDash val="solid"/>
                      <a:round/>
                      <a:headEnd type="none" w="sm" len="sm"/>
                      <a:tailEnd type="none" w="sm" len="sm"/>
                    </a:lnL>
                    <a:lnR w="12700" cap="flat" cmpd="sng" algn="ctr">
                      <a:solidFill>
                        <a:schemeClr val="dk2"/>
                      </a:solidFill>
                      <a:prstDash val="solid"/>
                      <a:round/>
                      <a:headEnd type="none" w="sm" len="sm"/>
                      <a:tailEnd type="none" w="sm" len="sm"/>
                    </a:lnR>
                    <a:lnT w="12700" cap="flat" cmpd="sng" algn="ctr">
                      <a:solidFill>
                        <a:schemeClr val="bg2">
                          <a:lumMod val="20000"/>
                          <a:lumOff val="80000"/>
                        </a:schemeClr>
                      </a:solidFill>
                      <a:prstDash val="solid"/>
                      <a:round/>
                      <a:headEnd type="none" w="med" len="med"/>
                      <a:tailEnd type="none" w="med" len="med"/>
                    </a:lnT>
                    <a:lnB w="12700" cap="flat" cmpd="sng">
                      <a:solidFill>
                        <a:srgbClr val="D8D8D8"/>
                      </a:solidFill>
                      <a:prstDash val="solid"/>
                      <a:round/>
                      <a:headEnd type="none" w="sm" len="sm"/>
                      <a:tailEnd type="none" w="sm" len="sm"/>
                    </a:lnB>
                  </a:tcPr>
                </a:tc>
                <a:tc>
                  <a:txBody>
                    <a:bodyPr/>
                    <a:lstStyle/>
                    <a:p>
                      <a:pPr marL="0" marR="0" lvl="0" indent="0" algn="ctr" defTabSz="684560" rtl="0" eaLnBrk="1" fontAlgn="auto" latinLnBrk="0" hangingPunct="1">
                        <a:lnSpc>
                          <a:spcPct val="100000"/>
                        </a:lnSpc>
                        <a:spcBef>
                          <a:spcPts val="0"/>
                        </a:spcBef>
                        <a:spcAft>
                          <a:spcPts val="0"/>
                        </a:spcAft>
                        <a:buClr>
                          <a:srgbClr val="000000"/>
                        </a:buClr>
                        <a:buSzPts val="1000"/>
                        <a:buFont typeface="Arial"/>
                        <a:buNone/>
                        <a:tabLst/>
                        <a:defRPr/>
                      </a:pPr>
                      <a:r>
                        <a:rPr lang="en-GB" sz="1200" b="0" dirty="0">
                          <a:solidFill>
                            <a:schemeClr val="tx1"/>
                          </a:solidFill>
                        </a:rPr>
                        <a:t>11.3 </a:t>
                      </a:r>
                    </a:p>
                    <a:p>
                      <a:pPr marL="0" marR="0" lvl="0" indent="0" algn="ctr" defTabSz="684560" rtl="0" eaLnBrk="1" fontAlgn="auto" latinLnBrk="0" hangingPunct="1">
                        <a:lnSpc>
                          <a:spcPct val="100000"/>
                        </a:lnSpc>
                        <a:spcBef>
                          <a:spcPts val="0"/>
                        </a:spcBef>
                        <a:spcAft>
                          <a:spcPts val="0"/>
                        </a:spcAft>
                        <a:buClr>
                          <a:srgbClr val="000000"/>
                        </a:buClr>
                        <a:buSzPts val="1000"/>
                        <a:buFont typeface="Arial"/>
                        <a:buNone/>
                        <a:tabLst/>
                        <a:defRPr/>
                      </a:pPr>
                      <a:r>
                        <a:rPr lang="en-GB" sz="1200" b="0" dirty="0">
                          <a:solidFill>
                            <a:schemeClr val="tx1"/>
                          </a:solidFill>
                        </a:rPr>
                        <a:t>(5.1, 32.6)</a:t>
                      </a:r>
                    </a:p>
                  </a:txBody>
                  <a:tcPr marL="109699" marR="109699" marT="54816" marB="54816" anchor="ctr">
                    <a:lnL w="12700" cap="flat" cmpd="sng" algn="ctr">
                      <a:solidFill>
                        <a:schemeClr val="dk2"/>
                      </a:solidFill>
                      <a:prstDash val="solid"/>
                      <a:round/>
                      <a:headEnd type="none" w="sm" len="sm"/>
                      <a:tailEnd type="none" w="sm" len="sm"/>
                    </a:lnL>
                    <a:lnR w="12700" cap="flat" cmpd="sng" algn="ctr">
                      <a:solidFill>
                        <a:schemeClr val="dk2"/>
                      </a:solidFill>
                      <a:prstDash val="solid"/>
                      <a:round/>
                      <a:headEnd type="none" w="sm" len="sm"/>
                      <a:tailEnd type="none" w="sm" len="sm"/>
                    </a:lnR>
                    <a:lnT w="12700" cap="flat" cmpd="sng" algn="ctr">
                      <a:solidFill>
                        <a:schemeClr val="bg2">
                          <a:lumMod val="20000"/>
                          <a:lumOff val="80000"/>
                        </a:schemeClr>
                      </a:solidFill>
                      <a:prstDash val="solid"/>
                      <a:round/>
                      <a:headEnd type="none" w="med" len="med"/>
                      <a:tailEnd type="none" w="med" len="med"/>
                    </a:lnT>
                    <a:lnB w="12700" cap="flat" cmpd="sng">
                      <a:solidFill>
                        <a:srgbClr val="D8D8D8"/>
                      </a:solidFill>
                      <a:prstDash val="solid"/>
                      <a:round/>
                      <a:headEnd type="none" w="sm" len="sm"/>
                      <a:tailEnd type="none" w="sm" len="sm"/>
                    </a:lnB>
                    <a:solidFill>
                      <a:schemeClr val="accent2">
                        <a:lumMod val="20000"/>
                        <a:lumOff val="80000"/>
                      </a:schemeClr>
                    </a:solidFill>
                  </a:tcPr>
                </a:tc>
                <a:tc>
                  <a:txBody>
                    <a:bodyPr/>
                    <a:lstStyle/>
                    <a:p>
                      <a:pPr marL="0" marR="0" lvl="0" indent="0" algn="ctr" defTabSz="684560" rtl="0" eaLnBrk="1" fontAlgn="auto" latinLnBrk="0" hangingPunct="1">
                        <a:lnSpc>
                          <a:spcPct val="100000"/>
                        </a:lnSpc>
                        <a:spcBef>
                          <a:spcPts val="0"/>
                        </a:spcBef>
                        <a:spcAft>
                          <a:spcPts val="0"/>
                        </a:spcAft>
                        <a:buClr>
                          <a:srgbClr val="000000"/>
                        </a:buClr>
                        <a:buSzPts val="1000"/>
                        <a:buFont typeface="Arial"/>
                        <a:buNone/>
                        <a:tabLst/>
                        <a:defRPr/>
                      </a:pPr>
                      <a:r>
                        <a:rPr lang="en-GB" sz="1200" b="0" dirty="0">
                          <a:solidFill>
                            <a:schemeClr val="tx1"/>
                          </a:solidFill>
                        </a:rPr>
                        <a:t>28.5 </a:t>
                      </a:r>
                    </a:p>
                    <a:p>
                      <a:pPr marL="0" marR="0" lvl="0" indent="0" algn="ctr" defTabSz="684560" rtl="0" eaLnBrk="1" fontAlgn="auto" latinLnBrk="0" hangingPunct="1">
                        <a:lnSpc>
                          <a:spcPct val="100000"/>
                        </a:lnSpc>
                        <a:spcBef>
                          <a:spcPts val="0"/>
                        </a:spcBef>
                        <a:spcAft>
                          <a:spcPts val="0"/>
                        </a:spcAft>
                        <a:buClr>
                          <a:srgbClr val="000000"/>
                        </a:buClr>
                        <a:buSzPts val="1000"/>
                        <a:buFont typeface="Arial"/>
                        <a:buNone/>
                        <a:tabLst/>
                        <a:defRPr/>
                      </a:pPr>
                      <a:r>
                        <a:rPr lang="en-GB" sz="1200" b="0" dirty="0">
                          <a:solidFill>
                            <a:schemeClr val="tx1"/>
                          </a:solidFill>
                        </a:rPr>
                        <a:t>(17.0, NE)</a:t>
                      </a:r>
                    </a:p>
                  </a:txBody>
                  <a:tcPr marL="109699" marR="109699" marT="54816" marB="54816" anchor="ctr">
                    <a:lnL w="12700" cap="flat" cmpd="sng" algn="ctr">
                      <a:solidFill>
                        <a:schemeClr val="dk2"/>
                      </a:solidFill>
                      <a:prstDash val="solid"/>
                      <a:round/>
                      <a:headEnd type="none" w="sm" len="sm"/>
                      <a:tailEnd type="none" w="sm" len="sm"/>
                    </a:lnL>
                    <a:lnR w="12700" cap="flat" cmpd="sng" algn="ctr">
                      <a:solidFill>
                        <a:schemeClr val="dk2"/>
                      </a:solidFill>
                      <a:prstDash val="solid"/>
                      <a:round/>
                      <a:headEnd type="none" w="sm" len="sm"/>
                      <a:tailEnd type="none" w="sm" len="sm"/>
                    </a:lnR>
                    <a:lnT w="12700" cap="flat" cmpd="sng" algn="ctr">
                      <a:solidFill>
                        <a:schemeClr val="bg2">
                          <a:lumMod val="20000"/>
                          <a:lumOff val="80000"/>
                        </a:schemeClr>
                      </a:solidFill>
                      <a:prstDash val="solid"/>
                      <a:round/>
                      <a:headEnd type="none" w="med" len="med"/>
                      <a:tailEnd type="none" w="med" len="med"/>
                    </a:lnT>
                    <a:lnB w="12700" cap="flat" cmpd="sng">
                      <a:solidFill>
                        <a:srgbClr val="D8D8D8"/>
                      </a:solidFill>
                      <a:prstDash val="solid"/>
                      <a:round/>
                      <a:headEnd type="none" w="sm" len="sm"/>
                      <a:tailEnd type="none" w="sm" len="sm"/>
                    </a:lnB>
                    <a:solidFill>
                      <a:schemeClr val="bg2">
                        <a:lumMod val="20000"/>
                        <a:lumOff val="80000"/>
                      </a:schemeClr>
                    </a:solidFill>
                  </a:tcPr>
                </a:tc>
                <a:tc>
                  <a:txBody>
                    <a:bodyPr/>
                    <a:lstStyle/>
                    <a:p>
                      <a:pPr marL="0" marR="0" lvl="0" indent="0" algn="ctr" rtl="0">
                        <a:lnSpc>
                          <a:spcPct val="100000"/>
                        </a:lnSpc>
                        <a:spcBef>
                          <a:spcPts val="0"/>
                        </a:spcBef>
                        <a:spcAft>
                          <a:spcPts val="0"/>
                        </a:spcAft>
                        <a:buClr>
                          <a:srgbClr val="000000"/>
                        </a:buClr>
                        <a:buSzPts val="1000"/>
                        <a:buFont typeface="Arial"/>
                        <a:buNone/>
                      </a:pPr>
                      <a:r>
                        <a:rPr lang="en-ZA" sz="1200" dirty="0"/>
                        <a:t>18.0 </a:t>
                      </a:r>
                      <a:br>
                        <a:rPr lang="en-ZA" sz="1200" dirty="0"/>
                      </a:br>
                      <a:r>
                        <a:rPr lang="en-ZA" sz="1200" dirty="0"/>
                        <a:t>(</a:t>
                      </a:r>
                      <a:r>
                        <a:rPr lang="en-US" sz="1200" dirty="0"/>
                        <a:t>11.3, 42.8</a:t>
                      </a:r>
                      <a:r>
                        <a:rPr lang="en-ZA" sz="1200" dirty="0"/>
                        <a:t>)</a:t>
                      </a:r>
                      <a:endParaRPr sz="1200" dirty="0"/>
                    </a:p>
                  </a:txBody>
                  <a:tcPr marL="0" marR="0" marT="0" marB="0" anchor="ctr">
                    <a:lnL w="12700" cap="flat" cmpd="sng" algn="ctr">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lgn="ctr">
                      <a:solidFill>
                        <a:schemeClr val="bg2">
                          <a:lumMod val="20000"/>
                          <a:lumOff val="80000"/>
                        </a:schemeClr>
                      </a:solidFill>
                      <a:prstDash val="solid"/>
                      <a:round/>
                      <a:headEnd type="none" w="med" len="med"/>
                      <a:tailEnd type="none" w="med" len="med"/>
                    </a:lnT>
                    <a:lnB w="12700" cap="flat" cmpd="sng">
                      <a:solidFill>
                        <a:srgbClr val="DCDADA"/>
                      </a:solidFill>
                      <a:prstDash val="solid"/>
                      <a:round/>
                      <a:headEnd type="none" w="sm" len="sm"/>
                      <a:tailEnd type="none" w="sm" len="sm"/>
                    </a:lnB>
                    <a:solidFill>
                      <a:schemeClr val="tx2">
                        <a:lumMod val="20000"/>
                        <a:lumOff val="80000"/>
                      </a:schemeClr>
                    </a:solidFill>
                  </a:tcPr>
                </a:tc>
                <a:extLst>
                  <a:ext uri="{0D108BD9-81ED-4DB2-BD59-A6C34878D82A}">
                    <a16:rowId xmlns:a16="http://schemas.microsoft.com/office/drawing/2014/main" val="4252844302"/>
                  </a:ext>
                </a:extLst>
              </a:tr>
            </a:tbl>
          </a:graphicData>
        </a:graphic>
      </p:graphicFrame>
      <p:graphicFrame>
        <p:nvGraphicFramePr>
          <p:cNvPr id="290" name="Google Shape;265;p27">
            <a:extLst>
              <a:ext uri="{FF2B5EF4-FFF2-40B4-BE49-F238E27FC236}">
                <a16:creationId xmlns:a16="http://schemas.microsoft.com/office/drawing/2014/main" id="{CB37D099-6CC8-4536-C879-068994BAEACB}"/>
              </a:ext>
            </a:extLst>
          </p:cNvPr>
          <p:cNvGraphicFramePr/>
          <p:nvPr/>
        </p:nvGraphicFramePr>
        <p:xfrm>
          <a:off x="6135989" y="4361633"/>
          <a:ext cx="5518297" cy="950784"/>
        </p:xfrm>
        <a:graphic>
          <a:graphicData uri="http://schemas.openxmlformats.org/drawingml/2006/table">
            <a:tbl>
              <a:tblPr>
                <a:gradFill>
                  <a:gsLst>
                    <a:gs pos="0">
                      <a:srgbClr val="FFFFFF"/>
                    </a:gs>
                    <a:gs pos="50000">
                      <a:srgbClr val="FBFBFE"/>
                    </a:gs>
                    <a:gs pos="100000">
                      <a:srgbClr val="FAFBFD"/>
                    </a:gs>
                  </a:gsLst>
                  <a:lin ang="5400012" scaled="0"/>
                </a:gradFill>
              </a:tblPr>
              <a:tblGrid>
                <a:gridCol w="1775452">
                  <a:extLst>
                    <a:ext uri="{9D8B030D-6E8A-4147-A177-3AD203B41FA5}">
                      <a16:colId xmlns:a16="http://schemas.microsoft.com/office/drawing/2014/main" val="20000"/>
                    </a:ext>
                  </a:extLst>
                </a:gridCol>
                <a:gridCol w="1247615">
                  <a:extLst>
                    <a:ext uri="{9D8B030D-6E8A-4147-A177-3AD203B41FA5}">
                      <a16:colId xmlns:a16="http://schemas.microsoft.com/office/drawing/2014/main" val="2547271723"/>
                    </a:ext>
                  </a:extLst>
                </a:gridCol>
                <a:gridCol w="1247615">
                  <a:extLst>
                    <a:ext uri="{9D8B030D-6E8A-4147-A177-3AD203B41FA5}">
                      <a16:colId xmlns:a16="http://schemas.microsoft.com/office/drawing/2014/main" val="3485437772"/>
                    </a:ext>
                  </a:extLst>
                </a:gridCol>
                <a:gridCol w="1247615">
                  <a:extLst>
                    <a:ext uri="{9D8B030D-6E8A-4147-A177-3AD203B41FA5}">
                      <a16:colId xmlns:a16="http://schemas.microsoft.com/office/drawing/2014/main" val="20001"/>
                    </a:ext>
                  </a:extLst>
                </a:gridCol>
              </a:tblGrid>
              <a:tr h="475280">
                <a:tc>
                  <a:txBody>
                    <a:bodyPr/>
                    <a:lstStyle/>
                    <a:p>
                      <a:pPr marL="0" marR="0" lvl="0" indent="0" algn="l" rtl="0">
                        <a:lnSpc>
                          <a:spcPct val="100000"/>
                        </a:lnSpc>
                        <a:spcBef>
                          <a:spcPts val="0"/>
                        </a:spcBef>
                        <a:spcAft>
                          <a:spcPts val="0"/>
                        </a:spcAft>
                        <a:buClr>
                          <a:srgbClr val="000000"/>
                        </a:buClr>
                        <a:buSzPts val="1000"/>
                        <a:buFont typeface="Arial"/>
                        <a:buNone/>
                      </a:pPr>
                      <a:r>
                        <a:rPr lang="en-US" sz="1200" b="1" dirty="0">
                          <a:solidFill>
                            <a:schemeClr val="lt1"/>
                          </a:solidFill>
                        </a:rPr>
                        <a:t>PFS</a:t>
                      </a:r>
                      <a:endParaRPr sz="2400" dirty="0"/>
                    </a:p>
                  </a:txBody>
                  <a:tcPr marL="109699" marR="109699" marT="54816" marB="54816" anchor="ctr">
                    <a:lnL w="12700" cap="flat" cmpd="sng">
                      <a:solidFill>
                        <a:schemeClr val="dk2"/>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12700" cap="flat" cmpd="sng">
                      <a:solidFill>
                        <a:schemeClr val="dk2"/>
                      </a:solidFill>
                      <a:prstDash val="solid"/>
                      <a:round/>
                      <a:headEnd type="none" w="sm" len="sm"/>
                      <a:tailEnd type="none" w="sm" len="sm"/>
                    </a:lnT>
                    <a:lnB w="12700" cap="flat" cmpd="sng" algn="ctr">
                      <a:solidFill>
                        <a:schemeClr val="bg2">
                          <a:lumMod val="20000"/>
                          <a:lumOff val="80000"/>
                        </a:schemeClr>
                      </a:solidFill>
                      <a:prstDash val="solid"/>
                      <a:round/>
                      <a:headEnd type="none" w="med" len="med"/>
                      <a:tailEnd type="none" w="med" len="med"/>
                    </a:lnB>
                    <a:solidFill>
                      <a:schemeClr val="dk2"/>
                    </a:solidFill>
                  </a:tcPr>
                </a:tc>
                <a:tc>
                  <a:txBody>
                    <a:bodyPr/>
                    <a:lstStyle/>
                    <a:p>
                      <a:pPr marL="0" marR="0" lvl="0" indent="0" algn="ctr" rtl="0">
                        <a:lnSpc>
                          <a:spcPct val="100000"/>
                        </a:lnSpc>
                        <a:spcBef>
                          <a:spcPts val="0"/>
                        </a:spcBef>
                        <a:spcAft>
                          <a:spcPts val="0"/>
                        </a:spcAft>
                        <a:buClr>
                          <a:schemeClr val="lt1"/>
                        </a:buClr>
                        <a:buSzPts val="1100"/>
                        <a:buFont typeface="Arial"/>
                        <a:buNone/>
                      </a:pPr>
                      <a:r>
                        <a:rPr lang="en-US" sz="1200" b="1" u="none" strike="noStrike" cap="none" dirty="0">
                          <a:solidFill>
                            <a:schemeClr val="lt1"/>
                          </a:solidFill>
                          <a:latin typeface="Arial"/>
                          <a:ea typeface="Arial"/>
                          <a:cs typeface="Arial"/>
                          <a:sym typeface="Arial"/>
                        </a:rPr>
                        <a:t>Prior BTKi</a:t>
                      </a:r>
                      <a:endParaRPr sz="1200" u="none" strike="noStrike" cap="none" dirty="0">
                        <a:latin typeface="Arial"/>
                        <a:ea typeface="Arial"/>
                        <a:cs typeface="Arial"/>
                        <a:sym typeface="Arial"/>
                      </a:endParaRPr>
                    </a:p>
                    <a:p>
                      <a:pPr marL="0" marR="0" lvl="0" indent="0" algn="ctr" rtl="0">
                        <a:lnSpc>
                          <a:spcPct val="100000"/>
                        </a:lnSpc>
                        <a:spcBef>
                          <a:spcPts val="0"/>
                        </a:spcBef>
                        <a:spcAft>
                          <a:spcPts val="0"/>
                        </a:spcAft>
                        <a:buClr>
                          <a:schemeClr val="lt1"/>
                        </a:buClr>
                        <a:buSzPts val="1100"/>
                        <a:buFont typeface="Arial"/>
                        <a:buNone/>
                      </a:pPr>
                      <a:r>
                        <a:rPr lang="en-US" sz="1200" b="1" u="none" strike="noStrike" cap="none" dirty="0">
                          <a:solidFill>
                            <a:schemeClr val="lt1"/>
                          </a:solidFill>
                          <a:latin typeface="Arial"/>
                          <a:ea typeface="Arial"/>
                          <a:cs typeface="Arial"/>
                          <a:sym typeface="Arial"/>
                        </a:rPr>
                        <a:t>(n=34)</a:t>
                      </a:r>
                      <a:endParaRPr sz="1200" u="none" strike="noStrike" cap="none" dirty="0">
                        <a:latin typeface="Arial"/>
                        <a:ea typeface="Arial"/>
                        <a:cs typeface="Arial"/>
                        <a:sym typeface="Arial"/>
                      </a:endParaRPr>
                    </a:p>
                  </a:txBody>
                  <a:tcPr marL="109699" marR="109699" marT="54816" marB="54816"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dk2"/>
                      </a:solidFill>
                      <a:prstDash val="solid"/>
                      <a:round/>
                      <a:headEnd type="none" w="sm" len="sm"/>
                      <a:tailEnd type="none" w="sm" len="sm"/>
                    </a:lnT>
                    <a:lnB w="12700" cap="flat" cmpd="sng" algn="ctr">
                      <a:solidFill>
                        <a:schemeClr val="bg2">
                          <a:lumMod val="20000"/>
                          <a:lumOff val="80000"/>
                        </a:schemeClr>
                      </a:solidFill>
                      <a:prstDash val="solid"/>
                      <a:round/>
                      <a:headEnd type="none" w="med" len="med"/>
                      <a:tailEnd type="none" w="med" len="med"/>
                    </a:lnB>
                    <a:solidFill>
                      <a:schemeClr val="accent2"/>
                    </a:solidFill>
                  </a:tcPr>
                </a:tc>
                <a:tc>
                  <a:txBody>
                    <a:bodyPr/>
                    <a:lstStyle/>
                    <a:p>
                      <a:pPr marL="0" marR="0" lvl="0" indent="0" algn="ctr" rtl="0">
                        <a:lnSpc>
                          <a:spcPct val="100000"/>
                        </a:lnSpc>
                        <a:spcBef>
                          <a:spcPts val="0"/>
                        </a:spcBef>
                        <a:spcAft>
                          <a:spcPts val="0"/>
                        </a:spcAft>
                        <a:buClr>
                          <a:schemeClr val="lt1"/>
                        </a:buClr>
                        <a:buSzPts val="1100"/>
                        <a:buFont typeface="Arial"/>
                        <a:buNone/>
                      </a:pPr>
                      <a:r>
                        <a:rPr lang="en-US" sz="1200" b="1" u="none" strike="noStrike" cap="none" dirty="0">
                          <a:solidFill>
                            <a:schemeClr val="lt1"/>
                          </a:solidFill>
                          <a:latin typeface="Arial"/>
                          <a:ea typeface="Arial"/>
                          <a:cs typeface="Arial"/>
                          <a:sym typeface="Arial"/>
                        </a:rPr>
                        <a:t>BTKi naive</a:t>
                      </a:r>
                      <a:endParaRPr sz="1200" u="none" strike="noStrike" cap="none" dirty="0">
                        <a:latin typeface="Arial"/>
                        <a:ea typeface="Arial"/>
                        <a:cs typeface="Arial"/>
                        <a:sym typeface="Arial"/>
                      </a:endParaRPr>
                    </a:p>
                    <a:p>
                      <a:pPr marL="0" marR="0" lvl="0" indent="0" algn="ctr" rtl="0">
                        <a:lnSpc>
                          <a:spcPct val="100000"/>
                        </a:lnSpc>
                        <a:spcBef>
                          <a:spcPts val="0"/>
                        </a:spcBef>
                        <a:spcAft>
                          <a:spcPts val="0"/>
                        </a:spcAft>
                        <a:buClr>
                          <a:schemeClr val="lt1"/>
                        </a:buClr>
                        <a:buSzPts val="1100"/>
                        <a:buFont typeface="Arial"/>
                        <a:buNone/>
                      </a:pPr>
                      <a:r>
                        <a:rPr lang="en-US" sz="1200" b="1" u="none" strike="noStrike" cap="none" dirty="0">
                          <a:solidFill>
                            <a:schemeClr val="lt1"/>
                          </a:solidFill>
                          <a:latin typeface="Arial"/>
                          <a:ea typeface="Arial"/>
                          <a:cs typeface="Arial"/>
                          <a:sym typeface="Arial"/>
                        </a:rPr>
                        <a:t>(n=27)</a:t>
                      </a:r>
                      <a:endParaRPr sz="1200" b="1" u="none" strike="noStrike" cap="none" dirty="0">
                        <a:solidFill>
                          <a:schemeClr val="lt1"/>
                        </a:solidFill>
                        <a:latin typeface="Arial"/>
                        <a:ea typeface="Arial"/>
                        <a:cs typeface="Arial"/>
                        <a:sym typeface="Arial"/>
                      </a:endParaRPr>
                    </a:p>
                  </a:txBody>
                  <a:tcPr marL="109699" marR="109699" marT="54816" marB="54816"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dk2"/>
                      </a:solidFill>
                      <a:prstDash val="solid"/>
                      <a:round/>
                      <a:headEnd type="none" w="sm" len="sm"/>
                      <a:tailEnd type="none" w="sm" len="sm"/>
                    </a:lnT>
                    <a:lnB w="12700" cap="flat" cmpd="sng" algn="ctr">
                      <a:solidFill>
                        <a:schemeClr val="bg2">
                          <a:lumMod val="20000"/>
                          <a:lumOff val="80000"/>
                        </a:schemeClr>
                      </a:solidFill>
                      <a:prstDash val="solid"/>
                      <a:round/>
                      <a:headEnd type="none" w="med" len="med"/>
                      <a:tailEnd type="none" w="med" len="med"/>
                    </a:lnB>
                    <a:solidFill>
                      <a:schemeClr val="bg2"/>
                    </a:solidFill>
                  </a:tcPr>
                </a:tc>
                <a:tc>
                  <a:txBody>
                    <a:bodyPr/>
                    <a:lstStyle/>
                    <a:p>
                      <a:pPr marL="0" marR="0" lvl="0" indent="0" algn="ctr" rtl="0">
                        <a:lnSpc>
                          <a:spcPct val="100000"/>
                        </a:lnSpc>
                        <a:spcBef>
                          <a:spcPts val="0"/>
                        </a:spcBef>
                        <a:spcAft>
                          <a:spcPts val="0"/>
                        </a:spcAft>
                        <a:buClr>
                          <a:schemeClr val="lt1"/>
                        </a:buClr>
                        <a:buSzPts val="1000"/>
                        <a:buFont typeface="Arial"/>
                        <a:buNone/>
                      </a:pPr>
                      <a:r>
                        <a:rPr lang="en-US" sz="1200" b="1" i="0" u="none" strike="noStrike" cap="none" dirty="0">
                          <a:solidFill>
                            <a:schemeClr val="lt1"/>
                          </a:solidFill>
                          <a:latin typeface="Arial"/>
                          <a:ea typeface="Arial"/>
                          <a:cs typeface="Arial"/>
                          <a:sym typeface="Arial"/>
                        </a:rPr>
                        <a:t>All patients (N=61)</a:t>
                      </a:r>
                      <a:endParaRPr sz="1200" b="1" i="0" u="none" strike="noStrike" cap="none" dirty="0">
                        <a:solidFill>
                          <a:schemeClr val="lt1"/>
                        </a:solidFill>
                        <a:latin typeface="Arial"/>
                        <a:ea typeface="Arial"/>
                        <a:cs typeface="Arial"/>
                        <a:sym typeface="Arial"/>
                      </a:endParaRPr>
                    </a:p>
                  </a:txBody>
                  <a:tcPr marL="109699" marR="109699" marT="54816" marB="54816" anchor="ctr">
                    <a:lnL w="9525" cap="flat" cmpd="sng" algn="ctr">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chemeClr val="dk2"/>
                      </a:solidFill>
                      <a:prstDash val="solid"/>
                      <a:round/>
                      <a:headEnd type="none" w="sm" len="sm"/>
                      <a:tailEnd type="none" w="sm" len="sm"/>
                    </a:lnT>
                    <a:lnB w="12700" cap="flat" cmpd="sng" algn="ctr">
                      <a:solidFill>
                        <a:schemeClr val="bg2">
                          <a:lumMod val="20000"/>
                          <a:lumOff val="80000"/>
                        </a:schemeClr>
                      </a:solidFill>
                      <a:prstDash val="solid"/>
                      <a:round/>
                      <a:headEnd type="none" w="med" len="med"/>
                      <a:tailEnd type="none" w="med" len="med"/>
                    </a:lnB>
                    <a:solidFill>
                      <a:schemeClr val="dk2"/>
                    </a:solidFill>
                  </a:tcPr>
                </a:tc>
                <a:extLst>
                  <a:ext uri="{0D108BD9-81ED-4DB2-BD59-A6C34878D82A}">
                    <a16:rowId xmlns:a16="http://schemas.microsoft.com/office/drawing/2014/main" val="10000"/>
                  </a:ext>
                </a:extLst>
              </a:tr>
              <a:tr h="475280">
                <a:tc>
                  <a:txBody>
                    <a:bodyPr/>
                    <a:lstStyle/>
                    <a:p>
                      <a:pPr marL="0" marR="0" lvl="0" indent="0" algn="l" rtl="0">
                        <a:lnSpc>
                          <a:spcPct val="100000"/>
                        </a:lnSpc>
                        <a:spcBef>
                          <a:spcPts val="0"/>
                        </a:spcBef>
                        <a:spcAft>
                          <a:spcPts val="0"/>
                        </a:spcAft>
                        <a:buClr>
                          <a:srgbClr val="000000"/>
                        </a:buClr>
                        <a:buSzPts val="1000"/>
                        <a:buFont typeface="Arial"/>
                        <a:buNone/>
                      </a:pPr>
                      <a:r>
                        <a:rPr lang="en-US" sz="1200" b="1" u="none" strike="noStrike" cap="none" dirty="0"/>
                        <a:t>Median </a:t>
                      </a:r>
                      <a:r>
                        <a:rPr lang="en-US" sz="1200" b="1" dirty="0"/>
                        <a:t>PFS</a:t>
                      </a:r>
                      <a:r>
                        <a:rPr lang="en-US" sz="1200" b="0" u="none" strike="noStrike" cap="none" dirty="0"/>
                        <a:t>, months (95% CI)</a:t>
                      </a:r>
                      <a:endParaRPr sz="1200" b="0" u="none" strike="noStrike" cap="none" dirty="0"/>
                    </a:p>
                  </a:txBody>
                  <a:tcPr marL="109699" marR="109699" marT="54816" marB="54816" anchor="ctr">
                    <a:lnL w="9525" cap="flat" cmpd="sng">
                      <a:solidFill>
                        <a:srgbClr val="000000">
                          <a:alpha val="0"/>
                        </a:srgbClr>
                      </a:solidFill>
                      <a:prstDash val="solid"/>
                      <a:round/>
                      <a:headEnd type="none" w="sm" len="sm"/>
                      <a:tailEnd type="none" w="sm" len="sm"/>
                    </a:lnL>
                    <a:lnR w="12700" cap="flat" cmpd="sng" algn="ctr">
                      <a:solidFill>
                        <a:schemeClr val="dk2"/>
                      </a:solidFill>
                      <a:prstDash val="solid"/>
                      <a:round/>
                      <a:headEnd type="none" w="sm" len="sm"/>
                      <a:tailEnd type="none" w="sm" len="sm"/>
                    </a:lnR>
                    <a:lnT w="12700" cap="flat" cmpd="sng" algn="ctr">
                      <a:solidFill>
                        <a:schemeClr val="bg2">
                          <a:lumMod val="20000"/>
                          <a:lumOff val="80000"/>
                        </a:schemeClr>
                      </a:solidFill>
                      <a:prstDash val="solid"/>
                      <a:round/>
                      <a:headEnd type="none" w="med" len="med"/>
                      <a:tailEnd type="none" w="med" len="med"/>
                    </a:lnT>
                    <a:lnB w="12700" cap="flat" cmpd="sng">
                      <a:solidFill>
                        <a:srgbClr val="D8D8D8"/>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dirty="0">
                          <a:solidFill>
                            <a:schemeClr val="dk1"/>
                          </a:solidFill>
                        </a:rPr>
                        <a:t>16.8</a:t>
                      </a:r>
                      <a:endParaRPr sz="2400" dirty="0"/>
                    </a:p>
                    <a:p>
                      <a:pPr marL="0" marR="0" lvl="0" indent="0" algn="ctr" rtl="0">
                        <a:lnSpc>
                          <a:spcPct val="100000"/>
                        </a:lnSpc>
                        <a:spcBef>
                          <a:spcPts val="0"/>
                        </a:spcBef>
                        <a:spcAft>
                          <a:spcPts val="0"/>
                        </a:spcAft>
                        <a:buClr>
                          <a:srgbClr val="000000"/>
                        </a:buClr>
                        <a:buSzPts val="1000"/>
                        <a:buFont typeface="Arial"/>
                        <a:buNone/>
                      </a:pPr>
                      <a:r>
                        <a:rPr lang="en-US" sz="1200" b="0" u="none" strike="noStrike" cap="none" dirty="0">
                          <a:solidFill>
                            <a:schemeClr val="dk1"/>
                          </a:solidFill>
                        </a:rPr>
                        <a:t>(</a:t>
                      </a:r>
                      <a:r>
                        <a:rPr lang="en-US" sz="1200" dirty="0">
                          <a:solidFill>
                            <a:schemeClr val="dk1"/>
                          </a:solidFill>
                        </a:rPr>
                        <a:t>5.2, NE</a:t>
                      </a:r>
                      <a:r>
                        <a:rPr lang="en-US" sz="1200" b="0" u="none" strike="noStrike" cap="none" dirty="0">
                          <a:solidFill>
                            <a:schemeClr val="dk1"/>
                          </a:solidFill>
                        </a:rPr>
                        <a:t>)</a:t>
                      </a:r>
                      <a:endParaRPr sz="2400" dirty="0"/>
                    </a:p>
                  </a:txBody>
                  <a:tcPr marL="109699" marR="109699" marT="54816" marB="54816" anchor="ctr">
                    <a:lnL w="12700" cap="flat" cmpd="sng" algn="ctr">
                      <a:solidFill>
                        <a:schemeClr val="dk2"/>
                      </a:solidFill>
                      <a:prstDash val="solid"/>
                      <a:round/>
                      <a:headEnd type="none" w="sm" len="sm"/>
                      <a:tailEnd type="none" w="sm" len="sm"/>
                    </a:lnL>
                    <a:lnR w="12700" cap="flat" cmpd="sng" algn="ctr">
                      <a:solidFill>
                        <a:schemeClr val="dk2"/>
                      </a:solidFill>
                      <a:prstDash val="solid"/>
                      <a:round/>
                      <a:headEnd type="none" w="sm" len="sm"/>
                      <a:tailEnd type="none" w="sm" len="sm"/>
                    </a:lnR>
                    <a:lnT w="12700" cap="flat" cmpd="sng" algn="ctr">
                      <a:solidFill>
                        <a:schemeClr val="bg2">
                          <a:lumMod val="20000"/>
                          <a:lumOff val="80000"/>
                        </a:schemeClr>
                      </a:solidFill>
                      <a:prstDash val="solid"/>
                      <a:round/>
                      <a:headEnd type="none" w="med" len="med"/>
                      <a:tailEnd type="none" w="med" len="med"/>
                    </a:lnT>
                    <a:lnB w="12700" cap="flat" cmpd="sng">
                      <a:solidFill>
                        <a:srgbClr val="D8D8D8"/>
                      </a:solidFill>
                      <a:prstDash val="solid"/>
                      <a:round/>
                      <a:headEnd type="none" w="sm" len="sm"/>
                      <a:tailEnd type="none" w="sm" len="sm"/>
                    </a:lnB>
                    <a:solidFill>
                      <a:schemeClr val="accent2">
                        <a:lumMod val="20000"/>
                        <a:lumOff val="80000"/>
                      </a:schemeClr>
                    </a:solidFill>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dirty="0">
                          <a:solidFill>
                            <a:schemeClr val="dk1"/>
                          </a:solidFill>
                        </a:rPr>
                        <a:t>50.0</a:t>
                      </a:r>
                      <a:endParaRPr sz="2400" dirty="0"/>
                    </a:p>
                    <a:p>
                      <a:pPr marL="0" marR="0" lvl="0" indent="0" algn="ctr" rtl="0">
                        <a:lnSpc>
                          <a:spcPct val="100000"/>
                        </a:lnSpc>
                        <a:spcBef>
                          <a:spcPts val="0"/>
                        </a:spcBef>
                        <a:spcAft>
                          <a:spcPts val="0"/>
                        </a:spcAft>
                        <a:buClr>
                          <a:srgbClr val="000000"/>
                        </a:buClr>
                        <a:buSzPts val="1000"/>
                        <a:buFont typeface="Arial"/>
                        <a:buNone/>
                      </a:pPr>
                      <a:r>
                        <a:rPr lang="en-US" sz="1200" b="0" u="none" strike="noStrike" cap="none" dirty="0">
                          <a:solidFill>
                            <a:schemeClr val="dk1"/>
                          </a:solidFill>
                        </a:rPr>
                        <a:t>(</a:t>
                      </a:r>
                      <a:r>
                        <a:rPr lang="en-US" sz="1200" dirty="0">
                          <a:solidFill>
                            <a:schemeClr val="dk1"/>
                          </a:solidFill>
                        </a:rPr>
                        <a:t>19.6, </a:t>
                      </a:r>
                      <a:r>
                        <a:rPr lang="en-US" sz="1200" b="0" u="none" strike="noStrike" cap="none" dirty="0">
                          <a:solidFill>
                            <a:schemeClr val="dk1"/>
                          </a:solidFill>
                        </a:rPr>
                        <a:t>NE)</a:t>
                      </a:r>
                      <a:endParaRPr sz="2400" dirty="0"/>
                    </a:p>
                  </a:txBody>
                  <a:tcPr marL="109699" marR="109699" marT="54816" marB="54816" anchor="ctr">
                    <a:lnL w="12700" cap="flat" cmpd="sng" algn="ctr">
                      <a:solidFill>
                        <a:schemeClr val="dk2"/>
                      </a:solidFill>
                      <a:prstDash val="solid"/>
                      <a:round/>
                      <a:headEnd type="none" w="sm" len="sm"/>
                      <a:tailEnd type="none" w="sm" len="sm"/>
                    </a:lnL>
                    <a:lnR w="12700" cap="flat" cmpd="sng" algn="ctr">
                      <a:solidFill>
                        <a:schemeClr val="dk2"/>
                      </a:solidFill>
                      <a:prstDash val="solid"/>
                      <a:round/>
                      <a:headEnd type="none" w="sm" len="sm"/>
                      <a:tailEnd type="none" w="sm" len="sm"/>
                    </a:lnR>
                    <a:lnT w="12700" cap="flat" cmpd="sng" algn="ctr">
                      <a:solidFill>
                        <a:schemeClr val="bg2">
                          <a:lumMod val="20000"/>
                          <a:lumOff val="80000"/>
                        </a:schemeClr>
                      </a:solidFill>
                      <a:prstDash val="solid"/>
                      <a:round/>
                      <a:headEnd type="none" w="med" len="med"/>
                      <a:tailEnd type="none" w="med" len="med"/>
                    </a:lnT>
                    <a:lnB w="12700" cap="flat" cmpd="sng">
                      <a:solidFill>
                        <a:srgbClr val="D8D8D8"/>
                      </a:solidFill>
                      <a:prstDash val="solid"/>
                      <a:round/>
                      <a:headEnd type="none" w="sm" len="sm"/>
                      <a:tailEnd type="none" w="sm" len="sm"/>
                    </a:lnB>
                    <a:solidFill>
                      <a:schemeClr val="bg2">
                        <a:lumMod val="20000"/>
                        <a:lumOff val="80000"/>
                      </a:schemeClr>
                    </a:solidFill>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dirty="0"/>
                        <a:t>23.5</a:t>
                      </a:r>
                      <a:r>
                        <a:rPr lang="en-US" sz="1200" u="none" strike="noStrike" cap="none" dirty="0"/>
                        <a:t> </a:t>
                      </a:r>
                      <a:br>
                        <a:rPr lang="en-US" sz="1200" u="none" strike="noStrike" cap="none" dirty="0"/>
                      </a:br>
                      <a:r>
                        <a:rPr lang="en-US" sz="1200" i="0" u="none" strike="noStrike" cap="none" dirty="0">
                          <a:latin typeface="Arial"/>
                          <a:ea typeface="Arial"/>
                          <a:cs typeface="Arial"/>
                          <a:sym typeface="Arial"/>
                        </a:rPr>
                        <a:t>(</a:t>
                      </a:r>
                      <a:r>
                        <a:rPr lang="en-US" sz="1200" dirty="0"/>
                        <a:t>15.6, NE</a:t>
                      </a:r>
                      <a:r>
                        <a:rPr lang="en-US" sz="1200" i="0" u="none" strike="noStrike" cap="none" dirty="0">
                          <a:latin typeface="Arial"/>
                          <a:ea typeface="Arial"/>
                          <a:cs typeface="Arial"/>
                          <a:sym typeface="Arial"/>
                        </a:rPr>
                        <a:t>)</a:t>
                      </a:r>
                      <a:endParaRPr sz="1200" u="none" strike="noStrike" cap="none" dirty="0"/>
                    </a:p>
                  </a:txBody>
                  <a:tcPr marL="0" marR="0" marT="0" marB="0" anchor="ctr">
                    <a:lnL w="12700" cap="flat" cmpd="sng" algn="ctr">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lgn="ctr">
                      <a:solidFill>
                        <a:schemeClr val="bg2">
                          <a:lumMod val="20000"/>
                          <a:lumOff val="80000"/>
                        </a:schemeClr>
                      </a:solidFill>
                      <a:prstDash val="solid"/>
                      <a:round/>
                      <a:headEnd type="none" w="med" len="med"/>
                      <a:tailEnd type="none" w="med" len="med"/>
                    </a:lnT>
                    <a:lnB w="12700" cap="flat" cmpd="sng">
                      <a:solidFill>
                        <a:srgbClr val="DCDADA"/>
                      </a:solidFill>
                      <a:prstDash val="solid"/>
                      <a:round/>
                      <a:headEnd type="none" w="sm" len="sm"/>
                      <a:tailEnd type="none" w="sm" len="sm"/>
                    </a:lnB>
                    <a:solidFill>
                      <a:schemeClr val="tx2">
                        <a:lumMod val="20000"/>
                        <a:lumOff val="80000"/>
                      </a:schemeClr>
                    </a:solidFill>
                  </a:tcPr>
                </a:tc>
                <a:extLst>
                  <a:ext uri="{0D108BD9-81ED-4DB2-BD59-A6C34878D82A}">
                    <a16:rowId xmlns:a16="http://schemas.microsoft.com/office/drawing/2014/main" val="1963069303"/>
                  </a:ext>
                </a:extLst>
              </a:tr>
            </a:tbl>
          </a:graphicData>
        </a:graphic>
      </p:graphicFrame>
      <p:sp>
        <p:nvSpPr>
          <p:cNvPr id="1538" name="Google Shape;270;p27">
            <a:extLst>
              <a:ext uri="{FF2B5EF4-FFF2-40B4-BE49-F238E27FC236}">
                <a16:creationId xmlns:a16="http://schemas.microsoft.com/office/drawing/2014/main" id="{D0E0EB38-1D66-5A28-6CA5-50F4253D921B}"/>
              </a:ext>
            </a:extLst>
          </p:cNvPr>
          <p:cNvSpPr/>
          <p:nvPr/>
        </p:nvSpPr>
        <p:spPr>
          <a:xfrm>
            <a:off x="6124395" y="1496072"/>
            <a:ext cx="5528254" cy="2810017"/>
          </a:xfrm>
          <a:prstGeom prst="rect">
            <a:avLst/>
          </a:prstGeom>
          <a:noFill/>
          <a:ln w="12700" cap="flat" cmpd="sng">
            <a:solidFill>
              <a:schemeClr val="dk2"/>
            </a:solidFill>
            <a:prstDash val="solid"/>
            <a:round/>
            <a:headEnd type="none" w="sm" len="sm"/>
            <a:tailEnd type="none" w="sm" len="sm"/>
          </a:ln>
        </p:spPr>
        <p:txBody>
          <a:bodyPr spcFirstLastPara="1" wrap="square" lIns="121862" tIns="60915" rIns="121862" bIns="60915" anchor="ctr" anchorCtr="0">
            <a:noAutofit/>
          </a:bodyPr>
          <a:lstStyle/>
          <a:p>
            <a:pPr marL="0" marR="0" lvl="0" indent="0" algn="ctr" defTabSz="914400" rtl="0" eaLnBrk="0" fontAlgn="base" latinLnBrk="0" hangingPunct="0">
              <a:lnSpc>
                <a:spcPct val="100000"/>
              </a:lnSpc>
              <a:spcBef>
                <a:spcPts val="0"/>
              </a:spcBef>
              <a:spcAft>
                <a:spcPts val="0"/>
              </a:spcAft>
              <a:buClr>
                <a:srgbClr val="FFFFFF"/>
              </a:buClr>
              <a:buSzPts val="1600"/>
              <a:buFontTx/>
              <a:buNone/>
              <a:tabLst/>
              <a:defRPr/>
            </a:pPr>
            <a:endParaRPr kumimoji="0" sz="2133" b="0" i="1"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288" name="Google Shape;260;p27">
            <a:extLst>
              <a:ext uri="{FF2B5EF4-FFF2-40B4-BE49-F238E27FC236}">
                <a16:creationId xmlns:a16="http://schemas.microsoft.com/office/drawing/2014/main" id="{5356EFA8-8470-ED19-9113-90798DA149B7}"/>
              </a:ext>
            </a:extLst>
          </p:cNvPr>
          <p:cNvSpPr/>
          <p:nvPr/>
        </p:nvSpPr>
        <p:spPr>
          <a:xfrm>
            <a:off x="6133185" y="1360297"/>
            <a:ext cx="5509098" cy="331098"/>
          </a:xfrm>
          <a:prstGeom prst="round1Rect">
            <a:avLst>
              <a:gd name="adj" fmla="val 16667"/>
            </a:avLst>
          </a:prstGeom>
          <a:solidFill>
            <a:schemeClr val="dk2"/>
          </a:solidFill>
          <a:ln w="25400" cap="flat" cmpd="sng">
            <a:solidFill>
              <a:schemeClr val="dk2"/>
            </a:solidFill>
            <a:prstDash val="solid"/>
            <a:round/>
            <a:headEnd type="none" w="sm" len="sm"/>
            <a:tailEnd type="none" w="sm" len="sm"/>
          </a:ln>
        </p:spPr>
        <p:txBody>
          <a:bodyPr spcFirstLastPara="1" wrap="square" lIns="121862" tIns="60915" rIns="121862" bIns="60915" anchor="ctr" anchorCtr="0">
            <a:noAutofit/>
          </a:bodyPr>
          <a:lstStyle/>
          <a:p>
            <a:pPr marL="0" marR="0" lvl="0" indent="0" algn="ctr" defTabSz="914400" rtl="0" eaLnBrk="0" fontAlgn="base" latinLnBrk="0" hangingPunct="0">
              <a:lnSpc>
                <a:spcPct val="100000"/>
              </a:lnSpc>
              <a:spcBef>
                <a:spcPts val="0"/>
              </a:spcBef>
              <a:spcAft>
                <a:spcPts val="0"/>
              </a:spcAft>
              <a:buClr>
                <a:srgbClr val="FFFFFF"/>
              </a:buClr>
              <a:buSzPts val="1200"/>
              <a:buFontTx/>
              <a:buNone/>
              <a:tabLst/>
              <a:defRPr/>
            </a:pPr>
            <a:r>
              <a:rPr kumimoji="0" lang="en" sz="1599" b="1" i="0" u="none" strike="noStrike" kern="1200" cap="none" spc="0" normalizeH="0" baseline="0" noProof="0" dirty="0">
                <a:ln>
                  <a:noFill/>
                </a:ln>
                <a:solidFill>
                  <a:srgbClr val="FFFFFF"/>
                </a:solidFill>
                <a:effectLst/>
                <a:uLnTx/>
                <a:uFillTx/>
                <a:latin typeface="Arial"/>
                <a:ea typeface="Arial"/>
                <a:cs typeface="Arial"/>
                <a:sym typeface="Arial"/>
              </a:rPr>
              <a:t>PFS COVID-19 sensitivity*</a:t>
            </a:r>
            <a:endParaRPr kumimoji="0" sz="1599" b="1"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287" name="Google Shape;259;p27">
            <a:extLst>
              <a:ext uri="{FF2B5EF4-FFF2-40B4-BE49-F238E27FC236}">
                <a16:creationId xmlns:a16="http://schemas.microsoft.com/office/drawing/2014/main" id="{3A97D829-35A1-84A7-D5E4-0936A6CA2D49}"/>
              </a:ext>
            </a:extLst>
          </p:cNvPr>
          <p:cNvSpPr/>
          <p:nvPr/>
        </p:nvSpPr>
        <p:spPr>
          <a:xfrm>
            <a:off x="549717" y="1360297"/>
            <a:ext cx="5517892" cy="331098"/>
          </a:xfrm>
          <a:prstGeom prst="round1Rect">
            <a:avLst>
              <a:gd name="adj" fmla="val 16667"/>
            </a:avLst>
          </a:prstGeom>
          <a:solidFill>
            <a:schemeClr val="dk2"/>
          </a:solidFill>
          <a:ln w="25400" cap="flat" cmpd="sng">
            <a:solidFill>
              <a:schemeClr val="dk2"/>
            </a:solidFill>
            <a:prstDash val="solid"/>
            <a:round/>
            <a:headEnd type="none" w="sm" len="sm"/>
            <a:tailEnd type="none" w="sm" len="sm"/>
          </a:ln>
        </p:spPr>
        <p:txBody>
          <a:bodyPr spcFirstLastPara="1" wrap="square" lIns="121862" tIns="60915" rIns="121862" bIns="60915" anchor="ctr" anchorCtr="0">
            <a:noAutofit/>
          </a:bodyPr>
          <a:lstStyle/>
          <a:p>
            <a:pPr marL="0" marR="0" lvl="0" indent="0" algn="ctr" defTabSz="914400" rtl="0" eaLnBrk="0" fontAlgn="base" latinLnBrk="0" hangingPunct="0">
              <a:lnSpc>
                <a:spcPct val="100000"/>
              </a:lnSpc>
              <a:spcBef>
                <a:spcPct val="0"/>
              </a:spcBef>
              <a:spcAft>
                <a:spcPct val="0"/>
              </a:spcAft>
              <a:buClr>
                <a:srgbClr val="FFFFFF"/>
              </a:buClr>
              <a:buSzPts val="1200"/>
              <a:buFontTx/>
              <a:buNone/>
              <a:tabLst/>
              <a:defRPr/>
            </a:pPr>
            <a:r>
              <a:rPr kumimoji="0" lang="en" sz="1599" b="1" i="0" u="none" strike="noStrike" kern="1200" cap="none" spc="0" normalizeH="0" baseline="0" noProof="0" dirty="0">
                <a:ln>
                  <a:noFill/>
                </a:ln>
                <a:solidFill>
                  <a:srgbClr val="FFFFFF"/>
                </a:solidFill>
                <a:effectLst/>
                <a:uLnTx/>
                <a:uFillTx/>
                <a:latin typeface="Arial"/>
                <a:ea typeface="Arial"/>
                <a:cs typeface="Arial"/>
                <a:sym typeface="Arial"/>
              </a:rPr>
              <a:t>PFS*</a:t>
            </a:r>
            <a:r>
              <a:rPr kumimoji="0" lang="en" sz="1599" b="1" i="0" u="none" strike="noStrike" kern="1200" cap="none" spc="0" normalizeH="0" baseline="30000" noProof="0" dirty="0">
                <a:ln>
                  <a:noFill/>
                </a:ln>
                <a:solidFill>
                  <a:srgbClr val="FFFFFF"/>
                </a:solidFill>
                <a:effectLst/>
                <a:uLnTx/>
                <a:uFillTx/>
                <a:latin typeface="Arial" panose="020B0604020202020204" pitchFamily="34" charset="0"/>
                <a:ea typeface="Arial"/>
                <a:cs typeface="Arial"/>
                <a:sym typeface="Arial"/>
              </a:rPr>
              <a:t>†</a:t>
            </a:r>
            <a:endParaRPr kumimoji="0" sz="1599" b="1"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1604" name="Freeform 1675">
            <a:extLst>
              <a:ext uri="{FF2B5EF4-FFF2-40B4-BE49-F238E27FC236}">
                <a16:creationId xmlns:a16="http://schemas.microsoft.com/office/drawing/2014/main" id="{60A678DA-5318-84F2-5E9D-4376355C98C3}"/>
              </a:ext>
            </a:extLst>
          </p:cNvPr>
          <p:cNvSpPr/>
          <p:nvPr/>
        </p:nvSpPr>
        <p:spPr>
          <a:xfrm>
            <a:off x="9845279" y="2549797"/>
            <a:ext cx="60940" cy="935681"/>
          </a:xfrm>
          <a:custGeom>
            <a:avLst/>
            <a:gdLst>
              <a:gd name="connsiteX0" fmla="*/ 0 w 12700"/>
              <a:gd name="connsiteY0" fmla="*/ 366770 h 366769"/>
              <a:gd name="connsiteX1" fmla="*/ 0 w 12700"/>
              <a:gd name="connsiteY1" fmla="*/ 0 h 366769"/>
            </a:gdLst>
            <a:ahLst/>
            <a:cxnLst>
              <a:cxn ang="0">
                <a:pos x="connsiteX0" y="connsiteY0"/>
              </a:cxn>
              <a:cxn ang="0">
                <a:pos x="connsiteX1" y="connsiteY1"/>
              </a:cxn>
            </a:cxnLst>
            <a:rect l="l" t="t" r="r" b="b"/>
            <a:pathLst>
              <a:path w="12700" h="366769">
                <a:moveTo>
                  <a:pt x="0" y="366770"/>
                </a:moveTo>
                <a:lnTo>
                  <a:pt x="0" y="0"/>
                </a:lnTo>
              </a:path>
            </a:pathLst>
          </a:custGeom>
          <a:ln w="12690" cap="flat">
            <a:solidFill>
              <a:srgbClr val="000000"/>
            </a:solidFill>
            <a:custDash>
              <a:ds d="164775" sp="164775"/>
            </a:custDash>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nvGrpSpPr>
          <p:cNvPr id="1633" name="Group 1632">
            <a:extLst>
              <a:ext uri="{FF2B5EF4-FFF2-40B4-BE49-F238E27FC236}">
                <a16:creationId xmlns:a16="http://schemas.microsoft.com/office/drawing/2014/main" id="{4BC3CAA9-DA94-E1A3-D668-99ACAD53EDCC}"/>
              </a:ext>
            </a:extLst>
          </p:cNvPr>
          <p:cNvGrpSpPr/>
          <p:nvPr/>
        </p:nvGrpSpPr>
        <p:grpSpPr>
          <a:xfrm>
            <a:off x="528768" y="1617760"/>
            <a:ext cx="5570608" cy="2683484"/>
            <a:chOff x="390499" y="1213694"/>
            <a:chExt cx="4139808" cy="2013234"/>
          </a:xfrm>
        </p:grpSpPr>
        <p:sp>
          <p:nvSpPr>
            <p:cNvPr id="1537" name="Google Shape;269;p27">
              <a:extLst>
                <a:ext uri="{FF2B5EF4-FFF2-40B4-BE49-F238E27FC236}">
                  <a16:creationId xmlns:a16="http://schemas.microsoft.com/office/drawing/2014/main" id="{31E0CABC-4BCB-4965-A4B6-E66229FA194E}"/>
                </a:ext>
              </a:extLst>
            </p:cNvPr>
            <p:cNvSpPr/>
            <p:nvPr/>
          </p:nvSpPr>
          <p:spPr>
            <a:xfrm>
              <a:off x="398364" y="1213694"/>
              <a:ext cx="4113266" cy="2013234"/>
            </a:xfrm>
            <a:prstGeom prst="rect">
              <a:avLst/>
            </a:prstGeom>
            <a:noFill/>
            <a:ln w="12700" cap="flat" cmpd="sng">
              <a:solidFill>
                <a:schemeClr val="dk2"/>
              </a:solidFill>
              <a:prstDash val="solid"/>
              <a:round/>
              <a:headEnd type="none" w="sm" len="sm"/>
              <a:tailEnd type="none" w="sm" len="sm"/>
            </a:ln>
          </p:spPr>
          <p:txBody>
            <a:bodyPr spcFirstLastPara="1" wrap="square" lIns="121862" tIns="60915" rIns="121862" bIns="60915" anchor="ctr" anchorCtr="0">
              <a:noAutofit/>
            </a:bodyPr>
            <a:lstStyle/>
            <a:p>
              <a:pPr marL="0" marR="0" lvl="0" indent="0" algn="ctr" defTabSz="914400" rtl="0" eaLnBrk="0" fontAlgn="base" latinLnBrk="0" hangingPunct="0">
                <a:lnSpc>
                  <a:spcPct val="100000"/>
                </a:lnSpc>
                <a:spcBef>
                  <a:spcPts val="0"/>
                </a:spcBef>
                <a:spcAft>
                  <a:spcPts val="0"/>
                </a:spcAft>
                <a:buClr>
                  <a:srgbClr val="FFFFFF"/>
                </a:buClr>
                <a:buSzPts val="1600"/>
                <a:buFontTx/>
                <a:buNone/>
                <a:tabLst/>
                <a:defRPr/>
              </a:pPr>
              <a:endParaRPr kumimoji="0" sz="2133" b="0" i="1" u="none" strike="noStrike" kern="1200" cap="none" spc="0" normalizeH="0" baseline="0" noProof="0" dirty="0">
                <a:ln>
                  <a:noFill/>
                </a:ln>
                <a:solidFill>
                  <a:srgbClr val="FFFFFF"/>
                </a:solidFill>
                <a:effectLst/>
                <a:uLnTx/>
                <a:uFillTx/>
                <a:latin typeface="Arial"/>
                <a:ea typeface="Arial"/>
                <a:cs typeface="Arial"/>
                <a:sym typeface="Arial"/>
              </a:endParaRPr>
            </a:p>
          </p:txBody>
        </p:sp>
        <p:grpSp>
          <p:nvGrpSpPr>
            <p:cNvPr id="1603" name="Group 1602">
              <a:extLst>
                <a:ext uri="{FF2B5EF4-FFF2-40B4-BE49-F238E27FC236}">
                  <a16:creationId xmlns:a16="http://schemas.microsoft.com/office/drawing/2014/main" id="{66100608-0212-C5F0-B228-71472810934B}"/>
                </a:ext>
              </a:extLst>
            </p:cNvPr>
            <p:cNvGrpSpPr/>
            <p:nvPr/>
          </p:nvGrpSpPr>
          <p:grpSpPr>
            <a:xfrm>
              <a:off x="390499" y="1327597"/>
              <a:ext cx="4139808" cy="1899294"/>
              <a:chOff x="390499" y="1321247"/>
              <a:chExt cx="4139808" cy="1899294"/>
            </a:xfrm>
          </p:grpSpPr>
          <p:sp>
            <p:nvSpPr>
              <p:cNvPr id="3" name="TextBox 2">
                <a:extLst>
                  <a:ext uri="{FF2B5EF4-FFF2-40B4-BE49-F238E27FC236}">
                    <a16:creationId xmlns:a16="http://schemas.microsoft.com/office/drawing/2014/main" id="{F247A080-C7D9-494B-F4AE-31BB65AB5B8B}"/>
                  </a:ext>
                </a:extLst>
              </p:cNvPr>
              <p:cNvSpPr txBox="1"/>
              <p:nvPr/>
            </p:nvSpPr>
            <p:spPr>
              <a:xfrm>
                <a:off x="398119" y="2719556"/>
                <a:ext cx="1049751" cy="176978"/>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No. of patients at risk</a:t>
                </a:r>
              </a:p>
            </p:txBody>
          </p:sp>
          <p:sp>
            <p:nvSpPr>
              <p:cNvPr id="5" name="TextBox 4">
                <a:extLst>
                  <a:ext uri="{FF2B5EF4-FFF2-40B4-BE49-F238E27FC236}">
                    <a16:creationId xmlns:a16="http://schemas.microsoft.com/office/drawing/2014/main" id="{4D7F1730-D6BB-D584-E718-A31179214651}"/>
                  </a:ext>
                </a:extLst>
              </p:cNvPr>
              <p:cNvSpPr txBox="1"/>
              <p:nvPr/>
            </p:nvSpPr>
            <p:spPr>
              <a:xfrm>
                <a:off x="2416647" y="2701753"/>
                <a:ext cx="753123"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Time (months)</a:t>
                </a:r>
              </a:p>
            </p:txBody>
          </p:sp>
          <p:sp>
            <p:nvSpPr>
              <p:cNvPr id="6" name="TextBox 5">
                <a:extLst>
                  <a:ext uri="{FF2B5EF4-FFF2-40B4-BE49-F238E27FC236}">
                    <a16:creationId xmlns:a16="http://schemas.microsoft.com/office/drawing/2014/main" id="{342BAA2D-C334-8914-F0C8-AA3252B9BE3C}"/>
                  </a:ext>
                </a:extLst>
              </p:cNvPr>
              <p:cNvSpPr txBox="1"/>
              <p:nvPr/>
            </p:nvSpPr>
            <p:spPr>
              <a:xfrm rot="16200000">
                <a:off x="394816" y="1889074"/>
                <a:ext cx="967149" cy="17530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PFS probability (%)</a:t>
                </a:r>
              </a:p>
            </p:txBody>
          </p:sp>
          <p:grpSp>
            <p:nvGrpSpPr>
              <p:cNvPr id="7" name="Graphic 4">
                <a:extLst>
                  <a:ext uri="{FF2B5EF4-FFF2-40B4-BE49-F238E27FC236}">
                    <a16:creationId xmlns:a16="http://schemas.microsoft.com/office/drawing/2014/main" id="{6C9C7870-D83A-565B-A0CB-D427CB6E4188}"/>
                  </a:ext>
                </a:extLst>
              </p:cNvPr>
              <p:cNvGrpSpPr/>
              <p:nvPr/>
            </p:nvGrpSpPr>
            <p:grpSpPr>
              <a:xfrm>
                <a:off x="1129467" y="1349570"/>
                <a:ext cx="31751" cy="1252468"/>
                <a:chOff x="3675348" y="2762459"/>
                <a:chExt cx="31751" cy="1252468"/>
              </a:xfrm>
            </p:grpSpPr>
            <p:sp>
              <p:nvSpPr>
                <p:cNvPr id="8" name="Freeform 1626">
                  <a:extLst>
                    <a:ext uri="{FF2B5EF4-FFF2-40B4-BE49-F238E27FC236}">
                      <a16:creationId xmlns:a16="http://schemas.microsoft.com/office/drawing/2014/main" id="{6710807A-162A-FED3-85EE-4170A9728803}"/>
                    </a:ext>
                  </a:extLst>
                </p:cNvPr>
                <p:cNvSpPr/>
                <p:nvPr/>
              </p:nvSpPr>
              <p:spPr>
                <a:xfrm>
                  <a:off x="3675348" y="2762459"/>
                  <a:ext cx="31751" cy="12644"/>
                </a:xfrm>
                <a:custGeom>
                  <a:avLst/>
                  <a:gdLst>
                    <a:gd name="connsiteX0" fmla="*/ 0 w 31751"/>
                    <a:gd name="connsiteY0" fmla="*/ 0 h 12644"/>
                    <a:gd name="connsiteX1" fmla="*/ 31752 w 31751"/>
                    <a:gd name="connsiteY1" fmla="*/ 0 h 12644"/>
                  </a:gdLst>
                  <a:ahLst/>
                  <a:cxnLst>
                    <a:cxn ang="0">
                      <a:pos x="connsiteX0" y="connsiteY0"/>
                    </a:cxn>
                    <a:cxn ang="0">
                      <a:pos x="connsiteX1" y="connsiteY1"/>
                    </a:cxn>
                  </a:cxnLst>
                  <a:rect l="l" t="t" r="r" b="b"/>
                  <a:pathLst>
                    <a:path w="31751" h="12644">
                      <a:moveTo>
                        <a:pt x="0" y="0"/>
                      </a:moveTo>
                      <a:lnTo>
                        <a:pt x="31752" y="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0" name="Freeform 1627">
                  <a:extLst>
                    <a:ext uri="{FF2B5EF4-FFF2-40B4-BE49-F238E27FC236}">
                      <a16:creationId xmlns:a16="http://schemas.microsoft.com/office/drawing/2014/main" id="{85C4B4DF-7313-4133-D054-0299643CD534}"/>
                    </a:ext>
                  </a:extLst>
                </p:cNvPr>
                <p:cNvSpPr/>
                <p:nvPr/>
              </p:nvSpPr>
              <p:spPr>
                <a:xfrm>
                  <a:off x="3675348" y="3017694"/>
                  <a:ext cx="31751" cy="12644"/>
                </a:xfrm>
                <a:custGeom>
                  <a:avLst/>
                  <a:gdLst>
                    <a:gd name="connsiteX0" fmla="*/ 0 w 31751"/>
                    <a:gd name="connsiteY0" fmla="*/ 0 h 12644"/>
                    <a:gd name="connsiteX1" fmla="*/ 31752 w 31751"/>
                    <a:gd name="connsiteY1" fmla="*/ 0 h 12644"/>
                  </a:gdLst>
                  <a:ahLst/>
                  <a:cxnLst>
                    <a:cxn ang="0">
                      <a:pos x="connsiteX0" y="connsiteY0"/>
                    </a:cxn>
                    <a:cxn ang="0">
                      <a:pos x="connsiteX1" y="connsiteY1"/>
                    </a:cxn>
                  </a:cxnLst>
                  <a:rect l="l" t="t" r="r" b="b"/>
                  <a:pathLst>
                    <a:path w="31751" h="12644">
                      <a:moveTo>
                        <a:pt x="0" y="0"/>
                      </a:moveTo>
                      <a:lnTo>
                        <a:pt x="31752" y="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026" name="Freeform 1628">
                  <a:extLst>
                    <a:ext uri="{FF2B5EF4-FFF2-40B4-BE49-F238E27FC236}">
                      <a16:creationId xmlns:a16="http://schemas.microsoft.com/office/drawing/2014/main" id="{85031680-8A9B-483B-C4A2-4187025647AF}"/>
                    </a:ext>
                  </a:extLst>
                </p:cNvPr>
                <p:cNvSpPr/>
                <p:nvPr/>
              </p:nvSpPr>
              <p:spPr>
                <a:xfrm>
                  <a:off x="3675348" y="3267012"/>
                  <a:ext cx="31751" cy="12644"/>
                </a:xfrm>
                <a:custGeom>
                  <a:avLst/>
                  <a:gdLst>
                    <a:gd name="connsiteX0" fmla="*/ 0 w 31751"/>
                    <a:gd name="connsiteY0" fmla="*/ 0 h 12644"/>
                    <a:gd name="connsiteX1" fmla="*/ 31752 w 31751"/>
                    <a:gd name="connsiteY1" fmla="*/ 0 h 12644"/>
                  </a:gdLst>
                  <a:ahLst/>
                  <a:cxnLst>
                    <a:cxn ang="0">
                      <a:pos x="connsiteX0" y="connsiteY0"/>
                    </a:cxn>
                    <a:cxn ang="0">
                      <a:pos x="connsiteX1" y="connsiteY1"/>
                    </a:cxn>
                  </a:cxnLst>
                  <a:rect l="l" t="t" r="r" b="b"/>
                  <a:pathLst>
                    <a:path w="31751" h="12644">
                      <a:moveTo>
                        <a:pt x="0" y="0"/>
                      </a:moveTo>
                      <a:lnTo>
                        <a:pt x="31752" y="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028" name="Freeform 1629">
                  <a:extLst>
                    <a:ext uri="{FF2B5EF4-FFF2-40B4-BE49-F238E27FC236}">
                      <a16:creationId xmlns:a16="http://schemas.microsoft.com/office/drawing/2014/main" id="{17BF9B58-284A-E4B7-97AF-D6A3FDCBD592}"/>
                    </a:ext>
                  </a:extLst>
                </p:cNvPr>
                <p:cNvSpPr/>
                <p:nvPr/>
              </p:nvSpPr>
              <p:spPr>
                <a:xfrm>
                  <a:off x="3675348" y="3516317"/>
                  <a:ext cx="31751" cy="12644"/>
                </a:xfrm>
                <a:custGeom>
                  <a:avLst/>
                  <a:gdLst>
                    <a:gd name="connsiteX0" fmla="*/ 0 w 31751"/>
                    <a:gd name="connsiteY0" fmla="*/ 0 h 12644"/>
                    <a:gd name="connsiteX1" fmla="*/ 31752 w 31751"/>
                    <a:gd name="connsiteY1" fmla="*/ 0 h 12644"/>
                  </a:gdLst>
                  <a:ahLst/>
                  <a:cxnLst>
                    <a:cxn ang="0">
                      <a:pos x="connsiteX0" y="connsiteY0"/>
                    </a:cxn>
                    <a:cxn ang="0">
                      <a:pos x="connsiteX1" y="connsiteY1"/>
                    </a:cxn>
                  </a:cxnLst>
                  <a:rect l="l" t="t" r="r" b="b"/>
                  <a:pathLst>
                    <a:path w="31751" h="12644">
                      <a:moveTo>
                        <a:pt x="0" y="0"/>
                      </a:moveTo>
                      <a:lnTo>
                        <a:pt x="31752" y="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97" name="Freeform 1630">
                  <a:extLst>
                    <a:ext uri="{FF2B5EF4-FFF2-40B4-BE49-F238E27FC236}">
                      <a16:creationId xmlns:a16="http://schemas.microsoft.com/office/drawing/2014/main" id="{2E2F8EE6-19B3-56D5-7CA3-4EA3B603BD97}"/>
                    </a:ext>
                  </a:extLst>
                </p:cNvPr>
                <p:cNvSpPr/>
                <p:nvPr/>
              </p:nvSpPr>
              <p:spPr>
                <a:xfrm>
                  <a:off x="3675348" y="3765622"/>
                  <a:ext cx="31751" cy="12644"/>
                </a:xfrm>
                <a:custGeom>
                  <a:avLst/>
                  <a:gdLst>
                    <a:gd name="connsiteX0" fmla="*/ 0 w 31751"/>
                    <a:gd name="connsiteY0" fmla="*/ 0 h 12644"/>
                    <a:gd name="connsiteX1" fmla="*/ 31752 w 31751"/>
                    <a:gd name="connsiteY1" fmla="*/ 0 h 12644"/>
                  </a:gdLst>
                  <a:ahLst/>
                  <a:cxnLst>
                    <a:cxn ang="0">
                      <a:pos x="connsiteX0" y="connsiteY0"/>
                    </a:cxn>
                    <a:cxn ang="0">
                      <a:pos x="connsiteX1" y="connsiteY1"/>
                    </a:cxn>
                  </a:cxnLst>
                  <a:rect l="l" t="t" r="r" b="b"/>
                  <a:pathLst>
                    <a:path w="31751" h="12644">
                      <a:moveTo>
                        <a:pt x="0" y="0"/>
                      </a:moveTo>
                      <a:lnTo>
                        <a:pt x="31752" y="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98" name="Freeform 1631">
                  <a:extLst>
                    <a:ext uri="{FF2B5EF4-FFF2-40B4-BE49-F238E27FC236}">
                      <a16:creationId xmlns:a16="http://schemas.microsoft.com/office/drawing/2014/main" id="{1F3724E6-FF51-2980-38B6-1B01DF3BF4D1}"/>
                    </a:ext>
                  </a:extLst>
                </p:cNvPr>
                <p:cNvSpPr/>
                <p:nvPr/>
              </p:nvSpPr>
              <p:spPr>
                <a:xfrm>
                  <a:off x="3675348" y="4014927"/>
                  <a:ext cx="31751" cy="12644"/>
                </a:xfrm>
                <a:custGeom>
                  <a:avLst/>
                  <a:gdLst>
                    <a:gd name="connsiteX0" fmla="*/ 0 w 31751"/>
                    <a:gd name="connsiteY0" fmla="*/ 0 h 12644"/>
                    <a:gd name="connsiteX1" fmla="*/ 31752 w 31751"/>
                    <a:gd name="connsiteY1" fmla="*/ 0 h 12644"/>
                  </a:gdLst>
                  <a:ahLst/>
                  <a:cxnLst>
                    <a:cxn ang="0">
                      <a:pos x="connsiteX0" y="connsiteY0"/>
                    </a:cxn>
                    <a:cxn ang="0">
                      <a:pos x="connsiteX1" y="connsiteY1"/>
                    </a:cxn>
                  </a:cxnLst>
                  <a:rect l="l" t="t" r="r" b="b"/>
                  <a:pathLst>
                    <a:path w="31751" h="12644">
                      <a:moveTo>
                        <a:pt x="0" y="0"/>
                      </a:moveTo>
                      <a:lnTo>
                        <a:pt x="31752" y="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299" name="Graphic 4">
                <a:extLst>
                  <a:ext uri="{FF2B5EF4-FFF2-40B4-BE49-F238E27FC236}">
                    <a16:creationId xmlns:a16="http://schemas.microsoft.com/office/drawing/2014/main" id="{95323B7C-8343-BF75-B542-C2023E17BC39}"/>
                  </a:ext>
                </a:extLst>
              </p:cNvPr>
              <p:cNvGrpSpPr/>
              <p:nvPr/>
            </p:nvGrpSpPr>
            <p:grpSpPr>
              <a:xfrm>
                <a:off x="1161218" y="2602038"/>
                <a:ext cx="3238658" cy="31610"/>
                <a:chOff x="3707099" y="4014927"/>
                <a:chExt cx="3238658" cy="31610"/>
              </a:xfrm>
            </p:grpSpPr>
            <p:sp>
              <p:nvSpPr>
                <p:cNvPr id="300" name="Freeform 1654">
                  <a:extLst>
                    <a:ext uri="{FF2B5EF4-FFF2-40B4-BE49-F238E27FC236}">
                      <a16:creationId xmlns:a16="http://schemas.microsoft.com/office/drawing/2014/main" id="{07DA99DC-406E-FEC1-9882-DA852F4360F5}"/>
                    </a:ext>
                  </a:extLst>
                </p:cNvPr>
                <p:cNvSpPr/>
                <p:nvPr/>
              </p:nvSpPr>
              <p:spPr>
                <a:xfrm>
                  <a:off x="3707099"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01" name="Freeform 1655">
                  <a:extLst>
                    <a:ext uri="{FF2B5EF4-FFF2-40B4-BE49-F238E27FC236}">
                      <a16:creationId xmlns:a16="http://schemas.microsoft.com/office/drawing/2014/main" id="{82A9936E-5BFA-5D98-8763-B93CEE33680C}"/>
                    </a:ext>
                  </a:extLst>
                </p:cNvPr>
                <p:cNvSpPr/>
                <p:nvPr/>
              </p:nvSpPr>
              <p:spPr>
                <a:xfrm>
                  <a:off x="3878558"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02" name="Freeform 1656">
                  <a:extLst>
                    <a:ext uri="{FF2B5EF4-FFF2-40B4-BE49-F238E27FC236}">
                      <a16:creationId xmlns:a16="http://schemas.microsoft.com/office/drawing/2014/main" id="{A58AAC16-D58D-0934-BED9-A3CECEF809C7}"/>
                    </a:ext>
                  </a:extLst>
                </p:cNvPr>
                <p:cNvSpPr/>
                <p:nvPr/>
              </p:nvSpPr>
              <p:spPr>
                <a:xfrm>
                  <a:off x="4050016"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03" name="Freeform 1657">
                  <a:extLst>
                    <a:ext uri="{FF2B5EF4-FFF2-40B4-BE49-F238E27FC236}">
                      <a16:creationId xmlns:a16="http://schemas.microsoft.com/office/drawing/2014/main" id="{580F7EAA-05EA-0EAB-D6DC-5B05E7E45E2F}"/>
                    </a:ext>
                  </a:extLst>
                </p:cNvPr>
                <p:cNvSpPr/>
                <p:nvPr/>
              </p:nvSpPr>
              <p:spPr>
                <a:xfrm>
                  <a:off x="4215124"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04" name="Freeform 1658">
                  <a:extLst>
                    <a:ext uri="{FF2B5EF4-FFF2-40B4-BE49-F238E27FC236}">
                      <a16:creationId xmlns:a16="http://schemas.microsoft.com/office/drawing/2014/main" id="{14D19B06-CB36-4708-A0EC-1632BC2510B7}"/>
                    </a:ext>
                  </a:extLst>
                </p:cNvPr>
                <p:cNvSpPr/>
                <p:nvPr/>
              </p:nvSpPr>
              <p:spPr>
                <a:xfrm>
                  <a:off x="4386582"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05" name="Freeform 1659">
                  <a:extLst>
                    <a:ext uri="{FF2B5EF4-FFF2-40B4-BE49-F238E27FC236}">
                      <a16:creationId xmlns:a16="http://schemas.microsoft.com/office/drawing/2014/main" id="{CB98A956-1C51-EBDF-765B-78BD41211B32}"/>
                    </a:ext>
                  </a:extLst>
                </p:cNvPr>
                <p:cNvSpPr/>
                <p:nvPr/>
              </p:nvSpPr>
              <p:spPr>
                <a:xfrm>
                  <a:off x="4558041"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06" name="Freeform 1660">
                  <a:extLst>
                    <a:ext uri="{FF2B5EF4-FFF2-40B4-BE49-F238E27FC236}">
                      <a16:creationId xmlns:a16="http://schemas.microsoft.com/office/drawing/2014/main" id="{D97549D3-3161-1FE0-2E6B-0CE626CED90B}"/>
                    </a:ext>
                  </a:extLst>
                </p:cNvPr>
                <p:cNvSpPr/>
                <p:nvPr/>
              </p:nvSpPr>
              <p:spPr>
                <a:xfrm>
                  <a:off x="4729499"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07" name="Freeform 1661">
                  <a:extLst>
                    <a:ext uri="{FF2B5EF4-FFF2-40B4-BE49-F238E27FC236}">
                      <a16:creationId xmlns:a16="http://schemas.microsoft.com/office/drawing/2014/main" id="{DBF739A5-1CD8-1FF1-31C9-2BC12F11DFD0}"/>
                    </a:ext>
                  </a:extLst>
                </p:cNvPr>
                <p:cNvSpPr/>
                <p:nvPr/>
              </p:nvSpPr>
              <p:spPr>
                <a:xfrm>
                  <a:off x="4900958"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08" name="Freeform 1662">
                  <a:extLst>
                    <a:ext uri="{FF2B5EF4-FFF2-40B4-BE49-F238E27FC236}">
                      <a16:creationId xmlns:a16="http://schemas.microsoft.com/office/drawing/2014/main" id="{6BE8D704-8DA1-07B6-6DC7-3B85B6DD76D2}"/>
                    </a:ext>
                  </a:extLst>
                </p:cNvPr>
                <p:cNvSpPr/>
                <p:nvPr/>
              </p:nvSpPr>
              <p:spPr>
                <a:xfrm>
                  <a:off x="5072416"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09" name="Freeform 1663">
                  <a:extLst>
                    <a:ext uri="{FF2B5EF4-FFF2-40B4-BE49-F238E27FC236}">
                      <a16:creationId xmlns:a16="http://schemas.microsoft.com/office/drawing/2014/main" id="{40D2AB5E-3AEC-26A1-74A3-A6881D67118A}"/>
                    </a:ext>
                  </a:extLst>
                </p:cNvPr>
                <p:cNvSpPr/>
                <p:nvPr/>
              </p:nvSpPr>
              <p:spPr>
                <a:xfrm>
                  <a:off x="5237524"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10" name="Freeform 1664">
                  <a:extLst>
                    <a:ext uri="{FF2B5EF4-FFF2-40B4-BE49-F238E27FC236}">
                      <a16:creationId xmlns:a16="http://schemas.microsoft.com/office/drawing/2014/main" id="{FF7CA69B-185B-692E-BEE0-20CC00DAD740}"/>
                    </a:ext>
                  </a:extLst>
                </p:cNvPr>
                <p:cNvSpPr/>
                <p:nvPr/>
              </p:nvSpPr>
              <p:spPr>
                <a:xfrm>
                  <a:off x="5408982"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11" name="Freeform 1665">
                  <a:extLst>
                    <a:ext uri="{FF2B5EF4-FFF2-40B4-BE49-F238E27FC236}">
                      <a16:creationId xmlns:a16="http://schemas.microsoft.com/office/drawing/2014/main" id="{43B81056-BC73-94BF-2B13-4E2D515A8BAB}"/>
                    </a:ext>
                  </a:extLst>
                </p:cNvPr>
                <p:cNvSpPr/>
                <p:nvPr/>
              </p:nvSpPr>
              <p:spPr>
                <a:xfrm>
                  <a:off x="5580441"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12" name="Freeform 1666">
                  <a:extLst>
                    <a:ext uri="{FF2B5EF4-FFF2-40B4-BE49-F238E27FC236}">
                      <a16:creationId xmlns:a16="http://schemas.microsoft.com/office/drawing/2014/main" id="{B01F7C18-62C0-4295-A9E9-7DC4F4D8D3F4}"/>
                    </a:ext>
                  </a:extLst>
                </p:cNvPr>
                <p:cNvSpPr/>
                <p:nvPr/>
              </p:nvSpPr>
              <p:spPr>
                <a:xfrm>
                  <a:off x="5751899"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13" name="Freeform 1667">
                  <a:extLst>
                    <a:ext uri="{FF2B5EF4-FFF2-40B4-BE49-F238E27FC236}">
                      <a16:creationId xmlns:a16="http://schemas.microsoft.com/office/drawing/2014/main" id="{E49C6021-51B5-7701-DCD8-95FC54DB9C28}"/>
                    </a:ext>
                  </a:extLst>
                </p:cNvPr>
                <p:cNvSpPr/>
                <p:nvPr/>
              </p:nvSpPr>
              <p:spPr>
                <a:xfrm>
                  <a:off x="6094816"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14" name="Freeform 1668">
                  <a:extLst>
                    <a:ext uri="{FF2B5EF4-FFF2-40B4-BE49-F238E27FC236}">
                      <a16:creationId xmlns:a16="http://schemas.microsoft.com/office/drawing/2014/main" id="{401ED56D-CF62-5294-00FD-2309C550C133}"/>
                    </a:ext>
                  </a:extLst>
                </p:cNvPr>
                <p:cNvSpPr/>
                <p:nvPr/>
              </p:nvSpPr>
              <p:spPr>
                <a:xfrm>
                  <a:off x="6259924"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15" name="Freeform 1669">
                  <a:extLst>
                    <a:ext uri="{FF2B5EF4-FFF2-40B4-BE49-F238E27FC236}">
                      <a16:creationId xmlns:a16="http://schemas.microsoft.com/office/drawing/2014/main" id="{423D1C88-1AB1-905C-99BD-265D529C904A}"/>
                    </a:ext>
                  </a:extLst>
                </p:cNvPr>
                <p:cNvSpPr/>
                <p:nvPr/>
              </p:nvSpPr>
              <p:spPr>
                <a:xfrm>
                  <a:off x="6431382"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16" name="Freeform 1670">
                  <a:extLst>
                    <a:ext uri="{FF2B5EF4-FFF2-40B4-BE49-F238E27FC236}">
                      <a16:creationId xmlns:a16="http://schemas.microsoft.com/office/drawing/2014/main" id="{0D4CBD7C-31CF-12FC-67CD-6815895757CE}"/>
                    </a:ext>
                  </a:extLst>
                </p:cNvPr>
                <p:cNvSpPr/>
                <p:nvPr/>
              </p:nvSpPr>
              <p:spPr>
                <a:xfrm>
                  <a:off x="6602841"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17" name="Freeform 1671">
                  <a:extLst>
                    <a:ext uri="{FF2B5EF4-FFF2-40B4-BE49-F238E27FC236}">
                      <a16:creationId xmlns:a16="http://schemas.microsoft.com/office/drawing/2014/main" id="{119DD0DD-FEFF-0EA8-4BC1-8D5042BEDCF4}"/>
                    </a:ext>
                  </a:extLst>
                </p:cNvPr>
                <p:cNvSpPr/>
                <p:nvPr/>
              </p:nvSpPr>
              <p:spPr>
                <a:xfrm>
                  <a:off x="6774299"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18" name="Freeform 1672">
                  <a:extLst>
                    <a:ext uri="{FF2B5EF4-FFF2-40B4-BE49-F238E27FC236}">
                      <a16:creationId xmlns:a16="http://schemas.microsoft.com/office/drawing/2014/main" id="{403184E5-46D1-3231-7E32-180A49349042}"/>
                    </a:ext>
                  </a:extLst>
                </p:cNvPr>
                <p:cNvSpPr/>
                <p:nvPr/>
              </p:nvSpPr>
              <p:spPr>
                <a:xfrm>
                  <a:off x="6945758"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19" name="Freeform 1673">
                  <a:extLst>
                    <a:ext uri="{FF2B5EF4-FFF2-40B4-BE49-F238E27FC236}">
                      <a16:creationId xmlns:a16="http://schemas.microsoft.com/office/drawing/2014/main" id="{077546BB-5FD2-FB53-44D0-8732D64E985B}"/>
                    </a:ext>
                  </a:extLst>
                </p:cNvPr>
                <p:cNvSpPr/>
                <p:nvPr/>
              </p:nvSpPr>
              <p:spPr>
                <a:xfrm>
                  <a:off x="5923358"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sp>
            <p:nvSpPr>
              <p:cNvPr id="1088" name="Freeform 1674">
                <a:extLst>
                  <a:ext uri="{FF2B5EF4-FFF2-40B4-BE49-F238E27FC236}">
                    <a16:creationId xmlns:a16="http://schemas.microsoft.com/office/drawing/2014/main" id="{FF428E16-391C-AB20-ACF1-E544D0D4FCB0}"/>
                  </a:ext>
                </a:extLst>
              </p:cNvPr>
              <p:cNvSpPr/>
              <p:nvPr/>
            </p:nvSpPr>
            <p:spPr>
              <a:xfrm>
                <a:off x="1161218" y="1349570"/>
                <a:ext cx="3238658" cy="1252468"/>
              </a:xfrm>
              <a:custGeom>
                <a:avLst/>
                <a:gdLst>
                  <a:gd name="connsiteX0" fmla="*/ 0 w 3238658"/>
                  <a:gd name="connsiteY0" fmla="*/ 0 h 1252468"/>
                  <a:gd name="connsiteX1" fmla="*/ 0 w 3238658"/>
                  <a:gd name="connsiteY1" fmla="*/ 1252469 h 1252468"/>
                  <a:gd name="connsiteX2" fmla="*/ 3238658 w 3238658"/>
                  <a:gd name="connsiteY2" fmla="*/ 1252469 h 1252468"/>
                </a:gdLst>
                <a:ahLst/>
                <a:cxnLst>
                  <a:cxn ang="0">
                    <a:pos x="connsiteX0" y="connsiteY0"/>
                  </a:cxn>
                  <a:cxn ang="0">
                    <a:pos x="connsiteX1" y="connsiteY1"/>
                  </a:cxn>
                  <a:cxn ang="0">
                    <a:pos x="connsiteX2" y="connsiteY2"/>
                  </a:cxn>
                </a:cxnLst>
                <a:rect l="l" t="t" r="r" b="b"/>
                <a:pathLst>
                  <a:path w="3238658" h="1252468">
                    <a:moveTo>
                      <a:pt x="0" y="0"/>
                    </a:moveTo>
                    <a:lnTo>
                      <a:pt x="0" y="1252469"/>
                    </a:lnTo>
                    <a:lnTo>
                      <a:pt x="3238658" y="1252469"/>
                    </a:lnTo>
                  </a:path>
                </a:pathLst>
              </a:custGeom>
              <a:noFill/>
              <a:ln w="12690" cap="sq">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089" name="Freeform 1675">
                <a:extLst>
                  <a:ext uri="{FF2B5EF4-FFF2-40B4-BE49-F238E27FC236}">
                    <a16:creationId xmlns:a16="http://schemas.microsoft.com/office/drawing/2014/main" id="{4A023496-CBB2-15D8-6514-AA31674F526A}"/>
                  </a:ext>
                </a:extLst>
              </p:cNvPr>
              <p:cNvSpPr/>
              <p:nvPr/>
            </p:nvSpPr>
            <p:spPr>
              <a:xfrm>
                <a:off x="3206346" y="1954331"/>
                <a:ext cx="45719" cy="647708"/>
              </a:xfrm>
              <a:custGeom>
                <a:avLst/>
                <a:gdLst>
                  <a:gd name="connsiteX0" fmla="*/ 0 w 12700"/>
                  <a:gd name="connsiteY0" fmla="*/ 366770 h 366769"/>
                  <a:gd name="connsiteX1" fmla="*/ 0 w 12700"/>
                  <a:gd name="connsiteY1" fmla="*/ 0 h 366769"/>
                </a:gdLst>
                <a:ahLst/>
                <a:cxnLst>
                  <a:cxn ang="0">
                    <a:pos x="connsiteX0" y="connsiteY0"/>
                  </a:cxn>
                  <a:cxn ang="0">
                    <a:pos x="connsiteX1" y="connsiteY1"/>
                  </a:cxn>
                </a:cxnLst>
                <a:rect l="l" t="t" r="r" b="b"/>
                <a:pathLst>
                  <a:path w="12700" h="366769">
                    <a:moveTo>
                      <a:pt x="0" y="366770"/>
                    </a:moveTo>
                    <a:lnTo>
                      <a:pt x="0" y="0"/>
                    </a:lnTo>
                  </a:path>
                </a:pathLst>
              </a:custGeom>
              <a:ln w="12690" cap="flat">
                <a:solidFill>
                  <a:srgbClr val="000000"/>
                </a:solidFill>
                <a:custDash>
                  <a:ds d="164775" sp="164775"/>
                </a:custDash>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12" name="Freeform 1742">
                <a:extLst>
                  <a:ext uri="{FF2B5EF4-FFF2-40B4-BE49-F238E27FC236}">
                    <a16:creationId xmlns:a16="http://schemas.microsoft.com/office/drawing/2014/main" id="{06B514CD-5888-6967-7572-0004028F2B08}"/>
                  </a:ext>
                </a:extLst>
              </p:cNvPr>
              <p:cNvSpPr/>
              <p:nvPr/>
            </p:nvSpPr>
            <p:spPr>
              <a:xfrm>
                <a:off x="1161053" y="1349557"/>
                <a:ext cx="2906156" cy="942825"/>
              </a:xfrm>
              <a:custGeom>
                <a:avLst/>
                <a:gdLst>
                  <a:gd name="connsiteX0" fmla="*/ 0 w 2906156"/>
                  <a:gd name="connsiteY0" fmla="*/ 0 h 942825"/>
                  <a:gd name="connsiteX1" fmla="*/ 94201 w 2906156"/>
                  <a:gd name="connsiteY1" fmla="*/ 0 h 942825"/>
                  <a:gd name="connsiteX2" fmla="*/ 94201 w 2906156"/>
                  <a:gd name="connsiteY2" fmla="*/ 45127 h 942825"/>
                  <a:gd name="connsiteX3" fmla="*/ 185708 w 2906156"/>
                  <a:gd name="connsiteY3" fmla="*/ 45127 h 942825"/>
                  <a:gd name="connsiteX4" fmla="*/ 185708 w 2906156"/>
                  <a:gd name="connsiteY4" fmla="*/ 93124 h 942825"/>
                  <a:gd name="connsiteX5" fmla="*/ 224953 w 2906156"/>
                  <a:gd name="connsiteY5" fmla="*/ 93124 h 942825"/>
                  <a:gd name="connsiteX6" fmla="*/ 224953 w 2906156"/>
                  <a:gd name="connsiteY6" fmla="*/ 139554 h 942825"/>
                  <a:gd name="connsiteX7" fmla="*/ 285142 w 2906156"/>
                  <a:gd name="connsiteY7" fmla="*/ 139554 h 942825"/>
                  <a:gd name="connsiteX8" fmla="*/ 285142 w 2906156"/>
                  <a:gd name="connsiteY8" fmla="*/ 186679 h 942825"/>
                  <a:gd name="connsiteX9" fmla="*/ 466748 w 2906156"/>
                  <a:gd name="connsiteY9" fmla="*/ 186679 h 942825"/>
                  <a:gd name="connsiteX10" fmla="*/ 466748 w 2906156"/>
                  <a:gd name="connsiteY10" fmla="*/ 233816 h 942825"/>
                  <a:gd name="connsiteX11" fmla="*/ 509511 w 2906156"/>
                  <a:gd name="connsiteY11" fmla="*/ 233816 h 942825"/>
                  <a:gd name="connsiteX12" fmla="*/ 509511 w 2906156"/>
                  <a:gd name="connsiteY12" fmla="*/ 281636 h 942825"/>
                  <a:gd name="connsiteX13" fmla="*/ 873434 w 2906156"/>
                  <a:gd name="connsiteY13" fmla="*/ 281636 h 942825"/>
                  <a:gd name="connsiteX14" fmla="*/ 873434 w 2906156"/>
                  <a:gd name="connsiteY14" fmla="*/ 329292 h 942825"/>
                  <a:gd name="connsiteX15" fmla="*/ 952801 w 2906156"/>
                  <a:gd name="connsiteY15" fmla="*/ 329292 h 942825"/>
                  <a:gd name="connsiteX16" fmla="*/ 952801 w 2906156"/>
                  <a:gd name="connsiteY16" fmla="*/ 379224 h 942825"/>
                  <a:gd name="connsiteX17" fmla="*/ 965120 w 2906156"/>
                  <a:gd name="connsiteY17" fmla="*/ 379224 h 942825"/>
                  <a:gd name="connsiteX18" fmla="*/ 965120 w 2906156"/>
                  <a:gd name="connsiteY18" fmla="*/ 428802 h 942825"/>
                  <a:gd name="connsiteX19" fmla="*/ 1112943 w 2906156"/>
                  <a:gd name="connsiteY19" fmla="*/ 428802 h 942825"/>
                  <a:gd name="connsiteX20" fmla="*/ 1112943 w 2906156"/>
                  <a:gd name="connsiteY20" fmla="*/ 475585 h 942825"/>
                  <a:gd name="connsiteX21" fmla="*/ 1225572 w 2906156"/>
                  <a:gd name="connsiteY21" fmla="*/ 475585 h 942825"/>
                  <a:gd name="connsiteX22" fmla="*/ 1225572 w 2906156"/>
                  <a:gd name="connsiteY22" fmla="*/ 527439 h 942825"/>
                  <a:gd name="connsiteX23" fmla="*/ 1335381 w 2906156"/>
                  <a:gd name="connsiteY23" fmla="*/ 527439 h 942825"/>
                  <a:gd name="connsiteX24" fmla="*/ 1335381 w 2906156"/>
                  <a:gd name="connsiteY24" fmla="*/ 579116 h 942825"/>
                  <a:gd name="connsiteX25" fmla="*/ 1616942 w 2906156"/>
                  <a:gd name="connsiteY25" fmla="*/ 579116 h 942825"/>
                  <a:gd name="connsiteX26" fmla="*/ 1616942 w 2906156"/>
                  <a:gd name="connsiteY26" fmla="*/ 633081 h 942825"/>
                  <a:gd name="connsiteX27" fmla="*/ 2840875 w 2906156"/>
                  <a:gd name="connsiteY27" fmla="*/ 633081 h 942825"/>
                  <a:gd name="connsiteX28" fmla="*/ 2840875 w 2906156"/>
                  <a:gd name="connsiteY28" fmla="*/ 942825 h 942825"/>
                  <a:gd name="connsiteX29" fmla="*/ 2906156 w 2906156"/>
                  <a:gd name="connsiteY29" fmla="*/ 942825 h 942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06156" h="942825">
                    <a:moveTo>
                      <a:pt x="0" y="0"/>
                    </a:moveTo>
                    <a:lnTo>
                      <a:pt x="94201" y="0"/>
                    </a:lnTo>
                    <a:lnTo>
                      <a:pt x="94201" y="45127"/>
                    </a:lnTo>
                    <a:lnTo>
                      <a:pt x="185708" y="45127"/>
                    </a:lnTo>
                    <a:lnTo>
                      <a:pt x="185708" y="93124"/>
                    </a:lnTo>
                    <a:lnTo>
                      <a:pt x="224953" y="93124"/>
                    </a:lnTo>
                    <a:lnTo>
                      <a:pt x="224953" y="139554"/>
                    </a:lnTo>
                    <a:lnTo>
                      <a:pt x="285142" y="139554"/>
                    </a:lnTo>
                    <a:lnTo>
                      <a:pt x="285142" y="186679"/>
                    </a:lnTo>
                    <a:lnTo>
                      <a:pt x="466748" y="186679"/>
                    </a:lnTo>
                    <a:lnTo>
                      <a:pt x="466748" y="233816"/>
                    </a:lnTo>
                    <a:lnTo>
                      <a:pt x="509511" y="233816"/>
                    </a:lnTo>
                    <a:lnTo>
                      <a:pt x="509511" y="281636"/>
                    </a:lnTo>
                    <a:lnTo>
                      <a:pt x="873434" y="281636"/>
                    </a:lnTo>
                    <a:lnTo>
                      <a:pt x="873434" y="329292"/>
                    </a:lnTo>
                    <a:lnTo>
                      <a:pt x="952801" y="329292"/>
                    </a:lnTo>
                    <a:lnTo>
                      <a:pt x="952801" y="379224"/>
                    </a:lnTo>
                    <a:lnTo>
                      <a:pt x="965120" y="379224"/>
                    </a:lnTo>
                    <a:lnTo>
                      <a:pt x="965120" y="428802"/>
                    </a:lnTo>
                    <a:lnTo>
                      <a:pt x="1112943" y="428802"/>
                    </a:lnTo>
                    <a:lnTo>
                      <a:pt x="1112943" y="475585"/>
                    </a:lnTo>
                    <a:lnTo>
                      <a:pt x="1225572" y="475585"/>
                    </a:lnTo>
                    <a:lnTo>
                      <a:pt x="1225572" y="527439"/>
                    </a:lnTo>
                    <a:lnTo>
                      <a:pt x="1335381" y="527439"/>
                    </a:lnTo>
                    <a:lnTo>
                      <a:pt x="1335381" y="579116"/>
                    </a:lnTo>
                    <a:lnTo>
                      <a:pt x="1616942" y="579116"/>
                    </a:lnTo>
                    <a:lnTo>
                      <a:pt x="1616942" y="633081"/>
                    </a:lnTo>
                    <a:lnTo>
                      <a:pt x="2840875" y="633081"/>
                    </a:lnTo>
                    <a:lnTo>
                      <a:pt x="2840875" y="942825"/>
                    </a:lnTo>
                    <a:lnTo>
                      <a:pt x="2906156" y="942825"/>
                    </a:lnTo>
                  </a:path>
                </a:pathLst>
              </a:custGeom>
              <a:noFill/>
              <a:ln w="1903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13" name="Freeform 1743">
                <a:extLst>
                  <a:ext uri="{FF2B5EF4-FFF2-40B4-BE49-F238E27FC236}">
                    <a16:creationId xmlns:a16="http://schemas.microsoft.com/office/drawing/2014/main" id="{B39B02A6-722F-B82C-EEF3-88C40F2FCA41}"/>
                  </a:ext>
                </a:extLst>
              </p:cNvPr>
              <p:cNvSpPr/>
              <p:nvPr/>
            </p:nvSpPr>
            <p:spPr>
              <a:xfrm>
                <a:off x="1161142" y="1349696"/>
                <a:ext cx="3144076" cy="929068"/>
              </a:xfrm>
              <a:custGeom>
                <a:avLst/>
                <a:gdLst>
                  <a:gd name="connsiteX0" fmla="*/ 0 w 3144076"/>
                  <a:gd name="connsiteY0" fmla="*/ 0 h 929068"/>
                  <a:gd name="connsiteX1" fmla="*/ 28576 w 3144076"/>
                  <a:gd name="connsiteY1" fmla="*/ 0 h 929068"/>
                  <a:gd name="connsiteX2" fmla="*/ 28576 w 3144076"/>
                  <a:gd name="connsiteY2" fmla="*/ 35581 h 929068"/>
                  <a:gd name="connsiteX3" fmla="*/ 36260 w 3144076"/>
                  <a:gd name="connsiteY3" fmla="*/ 35581 h 929068"/>
                  <a:gd name="connsiteX4" fmla="*/ 36260 w 3144076"/>
                  <a:gd name="connsiteY4" fmla="*/ 74196 h 929068"/>
                  <a:gd name="connsiteX5" fmla="*/ 54346 w 3144076"/>
                  <a:gd name="connsiteY5" fmla="*/ 74196 h 929068"/>
                  <a:gd name="connsiteX6" fmla="*/ 54346 w 3144076"/>
                  <a:gd name="connsiteY6" fmla="*/ 111914 h 929068"/>
                  <a:gd name="connsiteX7" fmla="*/ 69256 w 3144076"/>
                  <a:gd name="connsiteY7" fmla="*/ 111914 h 929068"/>
                  <a:gd name="connsiteX8" fmla="*/ 69256 w 3144076"/>
                  <a:gd name="connsiteY8" fmla="*/ 188386 h 929068"/>
                  <a:gd name="connsiteX9" fmla="*/ 79023 w 3144076"/>
                  <a:gd name="connsiteY9" fmla="*/ 188386 h 929068"/>
                  <a:gd name="connsiteX10" fmla="*/ 79023 w 3144076"/>
                  <a:gd name="connsiteY10" fmla="*/ 226748 h 929068"/>
                  <a:gd name="connsiteX11" fmla="*/ 109771 w 3144076"/>
                  <a:gd name="connsiteY11" fmla="*/ 226748 h 929068"/>
                  <a:gd name="connsiteX12" fmla="*/ 109771 w 3144076"/>
                  <a:gd name="connsiteY12" fmla="*/ 264858 h 929068"/>
                  <a:gd name="connsiteX13" fmla="*/ 120072 w 3144076"/>
                  <a:gd name="connsiteY13" fmla="*/ 264858 h 929068"/>
                  <a:gd name="connsiteX14" fmla="*/ 120072 w 3144076"/>
                  <a:gd name="connsiteY14" fmla="*/ 304143 h 929068"/>
                  <a:gd name="connsiteX15" fmla="*/ 175764 w 3144076"/>
                  <a:gd name="connsiteY15" fmla="*/ 304143 h 929068"/>
                  <a:gd name="connsiteX16" fmla="*/ 175764 w 3144076"/>
                  <a:gd name="connsiteY16" fmla="*/ 341595 h 929068"/>
                  <a:gd name="connsiteX17" fmla="*/ 185531 w 3144076"/>
                  <a:gd name="connsiteY17" fmla="*/ 341595 h 929068"/>
                  <a:gd name="connsiteX18" fmla="*/ 185531 w 3144076"/>
                  <a:gd name="connsiteY18" fmla="*/ 379565 h 929068"/>
                  <a:gd name="connsiteX19" fmla="*/ 196885 w 3144076"/>
                  <a:gd name="connsiteY19" fmla="*/ 379565 h 929068"/>
                  <a:gd name="connsiteX20" fmla="*/ 196885 w 3144076"/>
                  <a:gd name="connsiteY20" fmla="*/ 419116 h 929068"/>
                  <a:gd name="connsiteX21" fmla="*/ 287301 w 3144076"/>
                  <a:gd name="connsiteY21" fmla="*/ 419116 h 929068"/>
                  <a:gd name="connsiteX22" fmla="*/ 287301 w 3144076"/>
                  <a:gd name="connsiteY22" fmla="*/ 457226 h 929068"/>
                  <a:gd name="connsiteX23" fmla="*/ 295086 w 3144076"/>
                  <a:gd name="connsiteY23" fmla="*/ 457226 h 929068"/>
                  <a:gd name="connsiteX24" fmla="*/ 295086 w 3144076"/>
                  <a:gd name="connsiteY24" fmla="*/ 499002 h 929068"/>
                  <a:gd name="connsiteX25" fmla="*/ 348797 w 3144076"/>
                  <a:gd name="connsiteY25" fmla="*/ 499002 h 929068"/>
                  <a:gd name="connsiteX26" fmla="*/ 348797 w 3144076"/>
                  <a:gd name="connsiteY26" fmla="*/ 537630 h 929068"/>
                  <a:gd name="connsiteX27" fmla="*/ 498995 w 3144076"/>
                  <a:gd name="connsiteY27" fmla="*/ 537630 h 929068"/>
                  <a:gd name="connsiteX28" fmla="*/ 498995 w 3144076"/>
                  <a:gd name="connsiteY28" fmla="*/ 576132 h 929068"/>
                  <a:gd name="connsiteX29" fmla="*/ 509689 w 3144076"/>
                  <a:gd name="connsiteY29" fmla="*/ 576132 h 929068"/>
                  <a:gd name="connsiteX30" fmla="*/ 509689 w 3144076"/>
                  <a:gd name="connsiteY30" fmla="*/ 615948 h 929068"/>
                  <a:gd name="connsiteX31" fmla="*/ 641940 w 3144076"/>
                  <a:gd name="connsiteY31" fmla="*/ 615948 h 929068"/>
                  <a:gd name="connsiteX32" fmla="*/ 641940 w 3144076"/>
                  <a:gd name="connsiteY32" fmla="*/ 656688 h 929068"/>
                  <a:gd name="connsiteX33" fmla="*/ 681528 w 3144076"/>
                  <a:gd name="connsiteY33" fmla="*/ 656688 h 929068"/>
                  <a:gd name="connsiteX34" fmla="*/ 681528 w 3144076"/>
                  <a:gd name="connsiteY34" fmla="*/ 696100 h 929068"/>
                  <a:gd name="connsiteX35" fmla="*/ 888612 w 3144076"/>
                  <a:gd name="connsiteY35" fmla="*/ 696100 h 929068"/>
                  <a:gd name="connsiteX36" fmla="*/ 888612 w 3144076"/>
                  <a:gd name="connsiteY36" fmla="*/ 735651 h 929068"/>
                  <a:gd name="connsiteX37" fmla="*/ 954337 w 3144076"/>
                  <a:gd name="connsiteY37" fmla="*/ 735651 h 929068"/>
                  <a:gd name="connsiteX38" fmla="*/ 954337 w 3144076"/>
                  <a:gd name="connsiteY38" fmla="*/ 775733 h 929068"/>
                  <a:gd name="connsiteX39" fmla="*/ 1026401 w 3144076"/>
                  <a:gd name="connsiteY39" fmla="*/ 775733 h 929068"/>
                  <a:gd name="connsiteX40" fmla="*/ 1026248 w 3144076"/>
                  <a:gd name="connsiteY40" fmla="*/ 815752 h 929068"/>
                  <a:gd name="connsiteX41" fmla="*/ 1848474 w 3144076"/>
                  <a:gd name="connsiteY41" fmla="*/ 815752 h 929068"/>
                  <a:gd name="connsiteX42" fmla="*/ 1851166 w 3144076"/>
                  <a:gd name="connsiteY42" fmla="*/ 864153 h 929068"/>
                  <a:gd name="connsiteX43" fmla="*/ 2430315 w 3144076"/>
                  <a:gd name="connsiteY43" fmla="*/ 864153 h 929068"/>
                  <a:gd name="connsiteX44" fmla="*/ 2430315 w 3144076"/>
                  <a:gd name="connsiteY44" fmla="*/ 929069 h 929068"/>
                  <a:gd name="connsiteX45" fmla="*/ 3144077 w 3144076"/>
                  <a:gd name="connsiteY45" fmla="*/ 929069 h 929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4076" h="929068">
                    <a:moveTo>
                      <a:pt x="0" y="0"/>
                    </a:moveTo>
                    <a:lnTo>
                      <a:pt x="28576" y="0"/>
                    </a:lnTo>
                    <a:lnTo>
                      <a:pt x="28576" y="35581"/>
                    </a:lnTo>
                    <a:lnTo>
                      <a:pt x="36260" y="35581"/>
                    </a:lnTo>
                    <a:lnTo>
                      <a:pt x="36260" y="74196"/>
                    </a:lnTo>
                    <a:lnTo>
                      <a:pt x="54346" y="74196"/>
                    </a:lnTo>
                    <a:lnTo>
                      <a:pt x="54346" y="111914"/>
                    </a:lnTo>
                    <a:lnTo>
                      <a:pt x="69256" y="111914"/>
                    </a:lnTo>
                    <a:lnTo>
                      <a:pt x="69256" y="188386"/>
                    </a:lnTo>
                    <a:lnTo>
                      <a:pt x="79023" y="188386"/>
                    </a:lnTo>
                    <a:lnTo>
                      <a:pt x="79023" y="226748"/>
                    </a:lnTo>
                    <a:lnTo>
                      <a:pt x="109771" y="226748"/>
                    </a:lnTo>
                    <a:lnTo>
                      <a:pt x="109771" y="264858"/>
                    </a:lnTo>
                    <a:lnTo>
                      <a:pt x="120072" y="264858"/>
                    </a:lnTo>
                    <a:lnTo>
                      <a:pt x="120072" y="304143"/>
                    </a:lnTo>
                    <a:lnTo>
                      <a:pt x="175764" y="304143"/>
                    </a:lnTo>
                    <a:lnTo>
                      <a:pt x="175764" y="341595"/>
                    </a:lnTo>
                    <a:lnTo>
                      <a:pt x="185531" y="341595"/>
                    </a:lnTo>
                    <a:lnTo>
                      <a:pt x="185531" y="379565"/>
                    </a:lnTo>
                    <a:lnTo>
                      <a:pt x="196885" y="379565"/>
                    </a:lnTo>
                    <a:lnTo>
                      <a:pt x="196885" y="419116"/>
                    </a:lnTo>
                    <a:lnTo>
                      <a:pt x="287301" y="419116"/>
                    </a:lnTo>
                    <a:lnTo>
                      <a:pt x="287301" y="457226"/>
                    </a:lnTo>
                    <a:lnTo>
                      <a:pt x="295086" y="457226"/>
                    </a:lnTo>
                    <a:lnTo>
                      <a:pt x="295086" y="499002"/>
                    </a:lnTo>
                    <a:lnTo>
                      <a:pt x="348797" y="499002"/>
                    </a:lnTo>
                    <a:lnTo>
                      <a:pt x="348797" y="537630"/>
                    </a:lnTo>
                    <a:lnTo>
                      <a:pt x="498995" y="537630"/>
                    </a:lnTo>
                    <a:lnTo>
                      <a:pt x="498995" y="576132"/>
                    </a:lnTo>
                    <a:lnTo>
                      <a:pt x="509689" y="576132"/>
                    </a:lnTo>
                    <a:lnTo>
                      <a:pt x="509689" y="615948"/>
                    </a:lnTo>
                    <a:lnTo>
                      <a:pt x="641940" y="615948"/>
                    </a:lnTo>
                    <a:lnTo>
                      <a:pt x="641940" y="656688"/>
                    </a:lnTo>
                    <a:lnTo>
                      <a:pt x="681528" y="656688"/>
                    </a:lnTo>
                    <a:lnTo>
                      <a:pt x="681528" y="696100"/>
                    </a:lnTo>
                    <a:lnTo>
                      <a:pt x="888612" y="696100"/>
                    </a:lnTo>
                    <a:lnTo>
                      <a:pt x="888612" y="735651"/>
                    </a:lnTo>
                    <a:lnTo>
                      <a:pt x="954337" y="735651"/>
                    </a:lnTo>
                    <a:lnTo>
                      <a:pt x="954337" y="775733"/>
                    </a:lnTo>
                    <a:lnTo>
                      <a:pt x="1026401" y="775733"/>
                    </a:lnTo>
                    <a:lnTo>
                      <a:pt x="1026248" y="815752"/>
                    </a:lnTo>
                    <a:lnTo>
                      <a:pt x="1848474" y="815752"/>
                    </a:lnTo>
                    <a:lnTo>
                      <a:pt x="1851166" y="864153"/>
                    </a:lnTo>
                    <a:lnTo>
                      <a:pt x="2430315" y="864153"/>
                    </a:lnTo>
                    <a:lnTo>
                      <a:pt x="2430315" y="929069"/>
                    </a:lnTo>
                    <a:lnTo>
                      <a:pt x="3144077" y="929069"/>
                    </a:lnTo>
                  </a:path>
                </a:pathLst>
              </a:custGeom>
              <a:noFill/>
              <a:ln w="1903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14" name="Freeform 1744">
                <a:extLst>
                  <a:ext uri="{FF2B5EF4-FFF2-40B4-BE49-F238E27FC236}">
                    <a16:creationId xmlns:a16="http://schemas.microsoft.com/office/drawing/2014/main" id="{4F243CF2-DC06-6D83-703D-12796CBCBC85}"/>
                  </a:ext>
                </a:extLst>
              </p:cNvPr>
              <p:cNvSpPr/>
              <p:nvPr/>
            </p:nvSpPr>
            <p:spPr>
              <a:xfrm>
                <a:off x="1161282" y="1349696"/>
                <a:ext cx="3140978" cy="964446"/>
              </a:xfrm>
              <a:custGeom>
                <a:avLst/>
                <a:gdLst>
                  <a:gd name="connsiteX0" fmla="*/ 0 w 3140978"/>
                  <a:gd name="connsiteY0" fmla="*/ 0 h 964446"/>
                  <a:gd name="connsiteX1" fmla="*/ 30393 w 3140978"/>
                  <a:gd name="connsiteY1" fmla="*/ 0 h 964446"/>
                  <a:gd name="connsiteX2" fmla="*/ 30393 w 3140978"/>
                  <a:gd name="connsiteY2" fmla="*/ 22443 h 964446"/>
                  <a:gd name="connsiteX3" fmla="*/ 40236 w 3140978"/>
                  <a:gd name="connsiteY3" fmla="*/ 22443 h 964446"/>
                  <a:gd name="connsiteX4" fmla="*/ 40236 w 3140978"/>
                  <a:gd name="connsiteY4" fmla="*/ 46505 h 964446"/>
                  <a:gd name="connsiteX5" fmla="*/ 61674 w 3140978"/>
                  <a:gd name="connsiteY5" fmla="*/ 46505 h 964446"/>
                  <a:gd name="connsiteX6" fmla="*/ 61674 w 3140978"/>
                  <a:gd name="connsiteY6" fmla="*/ 64523 h 964446"/>
                  <a:gd name="connsiteX7" fmla="*/ 75467 w 3140978"/>
                  <a:gd name="connsiteY7" fmla="*/ 64523 h 964446"/>
                  <a:gd name="connsiteX8" fmla="*/ 75467 w 3140978"/>
                  <a:gd name="connsiteY8" fmla="*/ 108196 h 964446"/>
                  <a:gd name="connsiteX9" fmla="*/ 85196 w 3140978"/>
                  <a:gd name="connsiteY9" fmla="*/ 108196 h 964446"/>
                  <a:gd name="connsiteX10" fmla="*/ 85196 w 3140978"/>
                  <a:gd name="connsiteY10" fmla="*/ 126315 h 964446"/>
                  <a:gd name="connsiteX11" fmla="*/ 96893 w 3140978"/>
                  <a:gd name="connsiteY11" fmla="*/ 126315 h 964446"/>
                  <a:gd name="connsiteX12" fmla="*/ 96893 w 3140978"/>
                  <a:gd name="connsiteY12" fmla="*/ 148885 h 964446"/>
                  <a:gd name="connsiteX13" fmla="*/ 114509 w 3140978"/>
                  <a:gd name="connsiteY13" fmla="*/ 148885 h 964446"/>
                  <a:gd name="connsiteX14" fmla="*/ 114509 w 3140978"/>
                  <a:gd name="connsiteY14" fmla="*/ 166903 h 964446"/>
                  <a:gd name="connsiteX15" fmla="*/ 124352 w 3140978"/>
                  <a:gd name="connsiteY15" fmla="*/ 166903 h 964446"/>
                  <a:gd name="connsiteX16" fmla="*/ 124352 w 3140978"/>
                  <a:gd name="connsiteY16" fmla="*/ 190965 h 964446"/>
                  <a:gd name="connsiteX17" fmla="*/ 179041 w 3140978"/>
                  <a:gd name="connsiteY17" fmla="*/ 190965 h 964446"/>
                  <a:gd name="connsiteX18" fmla="*/ 179041 w 3140978"/>
                  <a:gd name="connsiteY18" fmla="*/ 210576 h 964446"/>
                  <a:gd name="connsiteX19" fmla="*/ 188896 w 3140978"/>
                  <a:gd name="connsiteY19" fmla="*/ 210576 h 964446"/>
                  <a:gd name="connsiteX20" fmla="*/ 188896 w 3140978"/>
                  <a:gd name="connsiteY20" fmla="*/ 251164 h 964446"/>
                  <a:gd name="connsiteX21" fmla="*/ 202562 w 3140978"/>
                  <a:gd name="connsiteY21" fmla="*/ 251164 h 964446"/>
                  <a:gd name="connsiteX22" fmla="*/ 202562 w 3140978"/>
                  <a:gd name="connsiteY22" fmla="*/ 275226 h 964446"/>
                  <a:gd name="connsiteX23" fmla="*/ 226084 w 3140978"/>
                  <a:gd name="connsiteY23" fmla="*/ 275226 h 964446"/>
                  <a:gd name="connsiteX24" fmla="*/ 226084 w 3140978"/>
                  <a:gd name="connsiteY24" fmla="*/ 297796 h 964446"/>
                  <a:gd name="connsiteX25" fmla="*/ 286678 w 3140978"/>
                  <a:gd name="connsiteY25" fmla="*/ 297796 h 964446"/>
                  <a:gd name="connsiteX26" fmla="*/ 286678 w 3140978"/>
                  <a:gd name="connsiteY26" fmla="*/ 315927 h 964446"/>
                  <a:gd name="connsiteX27" fmla="*/ 294566 w 3140978"/>
                  <a:gd name="connsiteY27" fmla="*/ 315927 h 964446"/>
                  <a:gd name="connsiteX28" fmla="*/ 294566 w 3140978"/>
                  <a:gd name="connsiteY28" fmla="*/ 336904 h 964446"/>
                  <a:gd name="connsiteX29" fmla="*/ 300344 w 3140978"/>
                  <a:gd name="connsiteY29" fmla="*/ 336904 h 964446"/>
                  <a:gd name="connsiteX30" fmla="*/ 300344 w 3140978"/>
                  <a:gd name="connsiteY30" fmla="*/ 356515 h 964446"/>
                  <a:gd name="connsiteX31" fmla="*/ 351210 w 3140978"/>
                  <a:gd name="connsiteY31" fmla="*/ 356515 h 964446"/>
                  <a:gd name="connsiteX32" fmla="*/ 351210 w 3140978"/>
                  <a:gd name="connsiteY32" fmla="*/ 380577 h 964446"/>
                  <a:gd name="connsiteX33" fmla="*/ 466735 w 3140978"/>
                  <a:gd name="connsiteY33" fmla="*/ 380577 h 964446"/>
                  <a:gd name="connsiteX34" fmla="*/ 466735 w 3140978"/>
                  <a:gd name="connsiteY34" fmla="*/ 403147 h 964446"/>
                  <a:gd name="connsiteX35" fmla="*/ 501840 w 3140978"/>
                  <a:gd name="connsiteY35" fmla="*/ 403147 h 964446"/>
                  <a:gd name="connsiteX36" fmla="*/ 501840 w 3140978"/>
                  <a:gd name="connsiteY36" fmla="*/ 427209 h 964446"/>
                  <a:gd name="connsiteX37" fmla="*/ 511683 w 3140978"/>
                  <a:gd name="connsiteY37" fmla="*/ 427209 h 964446"/>
                  <a:gd name="connsiteX38" fmla="*/ 511683 w 3140978"/>
                  <a:gd name="connsiteY38" fmla="*/ 466418 h 964446"/>
                  <a:gd name="connsiteX39" fmla="*/ 646665 w 3140978"/>
                  <a:gd name="connsiteY39" fmla="*/ 466418 h 964446"/>
                  <a:gd name="connsiteX40" fmla="*/ 646665 w 3140978"/>
                  <a:gd name="connsiteY40" fmla="*/ 489001 h 964446"/>
                  <a:gd name="connsiteX41" fmla="*/ 683865 w 3140978"/>
                  <a:gd name="connsiteY41" fmla="*/ 489001 h 964446"/>
                  <a:gd name="connsiteX42" fmla="*/ 683865 w 3140978"/>
                  <a:gd name="connsiteY42" fmla="*/ 508498 h 964446"/>
                  <a:gd name="connsiteX43" fmla="*/ 873650 w 3140978"/>
                  <a:gd name="connsiteY43" fmla="*/ 508498 h 964446"/>
                  <a:gd name="connsiteX44" fmla="*/ 873650 w 3140978"/>
                  <a:gd name="connsiteY44" fmla="*/ 534039 h 964446"/>
                  <a:gd name="connsiteX45" fmla="*/ 887316 w 3140978"/>
                  <a:gd name="connsiteY45" fmla="*/ 534039 h 964446"/>
                  <a:gd name="connsiteX46" fmla="*/ 887316 w 3140978"/>
                  <a:gd name="connsiteY46" fmla="*/ 556622 h 964446"/>
                  <a:gd name="connsiteX47" fmla="*/ 951848 w 3140978"/>
                  <a:gd name="connsiteY47" fmla="*/ 556622 h 964446"/>
                  <a:gd name="connsiteX48" fmla="*/ 951848 w 3140978"/>
                  <a:gd name="connsiteY48" fmla="*/ 600282 h 964446"/>
                  <a:gd name="connsiteX49" fmla="*/ 967495 w 3140978"/>
                  <a:gd name="connsiteY49" fmla="*/ 600282 h 964446"/>
                  <a:gd name="connsiteX50" fmla="*/ 967495 w 3140978"/>
                  <a:gd name="connsiteY50" fmla="*/ 624344 h 964446"/>
                  <a:gd name="connsiteX51" fmla="*/ 1028204 w 3140978"/>
                  <a:gd name="connsiteY51" fmla="*/ 624344 h 964446"/>
                  <a:gd name="connsiteX52" fmla="*/ 1028204 w 3140978"/>
                  <a:gd name="connsiteY52" fmla="*/ 640984 h 964446"/>
                  <a:gd name="connsiteX53" fmla="*/ 1112320 w 3140978"/>
                  <a:gd name="connsiteY53" fmla="*/ 640984 h 964446"/>
                  <a:gd name="connsiteX54" fmla="*/ 1112320 w 3140978"/>
                  <a:gd name="connsiteY54" fmla="*/ 665046 h 964446"/>
                  <a:gd name="connsiteX55" fmla="*/ 1231414 w 3140978"/>
                  <a:gd name="connsiteY55" fmla="*/ 665046 h 964446"/>
                  <a:gd name="connsiteX56" fmla="*/ 1231414 w 3140978"/>
                  <a:gd name="connsiteY56" fmla="*/ 687615 h 964446"/>
                  <a:gd name="connsiteX57" fmla="*/ 1337210 w 3140978"/>
                  <a:gd name="connsiteY57" fmla="*/ 687615 h 964446"/>
                  <a:gd name="connsiteX58" fmla="*/ 1337210 w 3140978"/>
                  <a:gd name="connsiteY58" fmla="*/ 713157 h 964446"/>
                  <a:gd name="connsiteX59" fmla="*/ 1617030 w 3140978"/>
                  <a:gd name="connsiteY59" fmla="*/ 713157 h 964446"/>
                  <a:gd name="connsiteX60" fmla="*/ 1617030 w 3140978"/>
                  <a:gd name="connsiteY60" fmla="*/ 731276 h 964446"/>
                  <a:gd name="connsiteX61" fmla="*/ 1851763 w 3140978"/>
                  <a:gd name="connsiteY61" fmla="*/ 731276 h 964446"/>
                  <a:gd name="connsiteX62" fmla="*/ 1851763 w 3140978"/>
                  <a:gd name="connsiteY62" fmla="*/ 762861 h 964446"/>
                  <a:gd name="connsiteX63" fmla="*/ 2426911 w 3140978"/>
                  <a:gd name="connsiteY63" fmla="*/ 762861 h 964446"/>
                  <a:gd name="connsiteX64" fmla="*/ 2426911 w 3140978"/>
                  <a:gd name="connsiteY64" fmla="*/ 817029 h 964446"/>
                  <a:gd name="connsiteX65" fmla="*/ 2847124 w 3140978"/>
                  <a:gd name="connsiteY65" fmla="*/ 817029 h 964446"/>
                  <a:gd name="connsiteX66" fmla="*/ 2847124 w 3140978"/>
                  <a:gd name="connsiteY66" fmla="*/ 964447 h 964446"/>
                  <a:gd name="connsiteX67" fmla="*/ 3140978 w 3140978"/>
                  <a:gd name="connsiteY67" fmla="*/ 964447 h 964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140978" h="964446">
                    <a:moveTo>
                      <a:pt x="0" y="0"/>
                    </a:moveTo>
                    <a:lnTo>
                      <a:pt x="30393" y="0"/>
                    </a:lnTo>
                    <a:lnTo>
                      <a:pt x="30393" y="22443"/>
                    </a:lnTo>
                    <a:lnTo>
                      <a:pt x="40236" y="22443"/>
                    </a:lnTo>
                    <a:lnTo>
                      <a:pt x="40236" y="46505"/>
                    </a:lnTo>
                    <a:lnTo>
                      <a:pt x="61674" y="46505"/>
                    </a:lnTo>
                    <a:lnTo>
                      <a:pt x="61674" y="64523"/>
                    </a:lnTo>
                    <a:lnTo>
                      <a:pt x="75467" y="64523"/>
                    </a:lnTo>
                    <a:lnTo>
                      <a:pt x="75467" y="108196"/>
                    </a:lnTo>
                    <a:lnTo>
                      <a:pt x="85196" y="108196"/>
                    </a:lnTo>
                    <a:lnTo>
                      <a:pt x="85196" y="126315"/>
                    </a:lnTo>
                    <a:lnTo>
                      <a:pt x="96893" y="126315"/>
                    </a:lnTo>
                    <a:lnTo>
                      <a:pt x="96893" y="148885"/>
                    </a:lnTo>
                    <a:lnTo>
                      <a:pt x="114509" y="148885"/>
                    </a:lnTo>
                    <a:lnTo>
                      <a:pt x="114509" y="166903"/>
                    </a:lnTo>
                    <a:lnTo>
                      <a:pt x="124352" y="166903"/>
                    </a:lnTo>
                    <a:lnTo>
                      <a:pt x="124352" y="190965"/>
                    </a:lnTo>
                    <a:lnTo>
                      <a:pt x="179041" y="190965"/>
                    </a:lnTo>
                    <a:lnTo>
                      <a:pt x="179041" y="210576"/>
                    </a:lnTo>
                    <a:lnTo>
                      <a:pt x="188896" y="210576"/>
                    </a:lnTo>
                    <a:lnTo>
                      <a:pt x="188896" y="251164"/>
                    </a:lnTo>
                    <a:lnTo>
                      <a:pt x="202562" y="251164"/>
                    </a:lnTo>
                    <a:lnTo>
                      <a:pt x="202562" y="275226"/>
                    </a:lnTo>
                    <a:lnTo>
                      <a:pt x="226084" y="275226"/>
                    </a:lnTo>
                    <a:lnTo>
                      <a:pt x="226084" y="297796"/>
                    </a:lnTo>
                    <a:lnTo>
                      <a:pt x="286678" y="297796"/>
                    </a:lnTo>
                    <a:lnTo>
                      <a:pt x="286678" y="315927"/>
                    </a:lnTo>
                    <a:lnTo>
                      <a:pt x="294566" y="315927"/>
                    </a:lnTo>
                    <a:lnTo>
                      <a:pt x="294566" y="336904"/>
                    </a:lnTo>
                    <a:lnTo>
                      <a:pt x="300344" y="336904"/>
                    </a:lnTo>
                    <a:lnTo>
                      <a:pt x="300344" y="356515"/>
                    </a:lnTo>
                    <a:lnTo>
                      <a:pt x="351210" y="356515"/>
                    </a:lnTo>
                    <a:lnTo>
                      <a:pt x="351210" y="380577"/>
                    </a:lnTo>
                    <a:lnTo>
                      <a:pt x="466735" y="380577"/>
                    </a:lnTo>
                    <a:lnTo>
                      <a:pt x="466735" y="403147"/>
                    </a:lnTo>
                    <a:lnTo>
                      <a:pt x="501840" y="403147"/>
                    </a:lnTo>
                    <a:lnTo>
                      <a:pt x="501840" y="427209"/>
                    </a:lnTo>
                    <a:lnTo>
                      <a:pt x="511683" y="427209"/>
                    </a:lnTo>
                    <a:lnTo>
                      <a:pt x="511683" y="466418"/>
                    </a:lnTo>
                    <a:lnTo>
                      <a:pt x="646665" y="466418"/>
                    </a:lnTo>
                    <a:lnTo>
                      <a:pt x="646665" y="489001"/>
                    </a:lnTo>
                    <a:lnTo>
                      <a:pt x="683865" y="489001"/>
                    </a:lnTo>
                    <a:lnTo>
                      <a:pt x="683865" y="508498"/>
                    </a:lnTo>
                    <a:lnTo>
                      <a:pt x="873650" y="508498"/>
                    </a:lnTo>
                    <a:lnTo>
                      <a:pt x="873650" y="534039"/>
                    </a:lnTo>
                    <a:lnTo>
                      <a:pt x="887316" y="534039"/>
                    </a:lnTo>
                    <a:lnTo>
                      <a:pt x="887316" y="556622"/>
                    </a:lnTo>
                    <a:lnTo>
                      <a:pt x="951848" y="556622"/>
                    </a:lnTo>
                    <a:lnTo>
                      <a:pt x="951848" y="600282"/>
                    </a:lnTo>
                    <a:lnTo>
                      <a:pt x="967495" y="600282"/>
                    </a:lnTo>
                    <a:lnTo>
                      <a:pt x="967495" y="624344"/>
                    </a:lnTo>
                    <a:lnTo>
                      <a:pt x="1028204" y="624344"/>
                    </a:lnTo>
                    <a:lnTo>
                      <a:pt x="1028204" y="640984"/>
                    </a:lnTo>
                    <a:lnTo>
                      <a:pt x="1112320" y="640984"/>
                    </a:lnTo>
                    <a:lnTo>
                      <a:pt x="1112320" y="665046"/>
                    </a:lnTo>
                    <a:lnTo>
                      <a:pt x="1231414" y="665046"/>
                    </a:lnTo>
                    <a:lnTo>
                      <a:pt x="1231414" y="687615"/>
                    </a:lnTo>
                    <a:lnTo>
                      <a:pt x="1337210" y="687615"/>
                    </a:lnTo>
                    <a:lnTo>
                      <a:pt x="1337210" y="713157"/>
                    </a:lnTo>
                    <a:lnTo>
                      <a:pt x="1617030" y="713157"/>
                    </a:lnTo>
                    <a:lnTo>
                      <a:pt x="1617030" y="731276"/>
                    </a:lnTo>
                    <a:lnTo>
                      <a:pt x="1851763" y="731276"/>
                    </a:lnTo>
                    <a:lnTo>
                      <a:pt x="1851763" y="762861"/>
                    </a:lnTo>
                    <a:lnTo>
                      <a:pt x="2426911" y="762861"/>
                    </a:lnTo>
                    <a:lnTo>
                      <a:pt x="2426911" y="817029"/>
                    </a:lnTo>
                    <a:lnTo>
                      <a:pt x="2847124" y="817029"/>
                    </a:lnTo>
                    <a:lnTo>
                      <a:pt x="2847124" y="964447"/>
                    </a:lnTo>
                    <a:lnTo>
                      <a:pt x="3140978" y="964447"/>
                    </a:lnTo>
                  </a:path>
                </a:pathLst>
              </a:custGeom>
              <a:noFill/>
              <a:ln w="1903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nvGrpSpPr>
              <p:cNvPr id="1115" name="Graphic 4">
                <a:extLst>
                  <a:ext uri="{FF2B5EF4-FFF2-40B4-BE49-F238E27FC236}">
                    <a16:creationId xmlns:a16="http://schemas.microsoft.com/office/drawing/2014/main" id="{F1ABD87D-B479-F927-9D5E-2FDD0BF0D3B5}"/>
                  </a:ext>
                </a:extLst>
              </p:cNvPr>
              <p:cNvGrpSpPr/>
              <p:nvPr/>
            </p:nvGrpSpPr>
            <p:grpSpPr>
              <a:xfrm>
                <a:off x="1135817" y="1325824"/>
                <a:ext cx="57152" cy="53421"/>
                <a:chOff x="3681698" y="2738713"/>
                <a:chExt cx="57152" cy="53421"/>
              </a:xfrm>
            </p:grpSpPr>
            <p:sp>
              <p:nvSpPr>
                <p:cNvPr id="1116" name="Freeform 1746">
                  <a:extLst>
                    <a:ext uri="{FF2B5EF4-FFF2-40B4-BE49-F238E27FC236}">
                      <a16:creationId xmlns:a16="http://schemas.microsoft.com/office/drawing/2014/main" id="{55ABD74E-E6C8-77A3-6817-5776C6D3B5A8}"/>
                    </a:ext>
                  </a:extLst>
                </p:cNvPr>
                <p:cNvSpPr/>
                <p:nvPr/>
              </p:nvSpPr>
              <p:spPr>
                <a:xfrm>
                  <a:off x="3681698" y="2762459"/>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17" name="Freeform 1747">
                  <a:extLst>
                    <a:ext uri="{FF2B5EF4-FFF2-40B4-BE49-F238E27FC236}">
                      <a16:creationId xmlns:a16="http://schemas.microsoft.com/office/drawing/2014/main" id="{C0FD5293-55FA-006D-E82B-98C8763C5631}"/>
                    </a:ext>
                  </a:extLst>
                </p:cNvPr>
                <p:cNvSpPr/>
                <p:nvPr/>
              </p:nvSpPr>
              <p:spPr>
                <a:xfrm>
                  <a:off x="3713449" y="2738713"/>
                  <a:ext cx="12700" cy="53421"/>
                </a:xfrm>
                <a:custGeom>
                  <a:avLst/>
                  <a:gdLst>
                    <a:gd name="connsiteX0" fmla="*/ 0 w 12700"/>
                    <a:gd name="connsiteY0" fmla="*/ 0 h 53421"/>
                    <a:gd name="connsiteX1" fmla="*/ 0 w 12700"/>
                    <a:gd name="connsiteY1" fmla="*/ 53422 h 53421"/>
                  </a:gdLst>
                  <a:ahLst/>
                  <a:cxnLst>
                    <a:cxn ang="0">
                      <a:pos x="connsiteX0" y="connsiteY0"/>
                    </a:cxn>
                    <a:cxn ang="0">
                      <a:pos x="connsiteX1" y="connsiteY1"/>
                    </a:cxn>
                  </a:cxnLst>
                  <a:rect l="l" t="t" r="r" b="b"/>
                  <a:pathLst>
                    <a:path w="12700" h="53421">
                      <a:moveTo>
                        <a:pt x="0" y="0"/>
                      </a:moveTo>
                      <a:lnTo>
                        <a:pt x="0" y="53422"/>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sp>
            <p:nvSpPr>
              <p:cNvPr id="1118" name="Freeform 1748">
                <a:extLst>
                  <a:ext uri="{FF2B5EF4-FFF2-40B4-BE49-F238E27FC236}">
                    <a16:creationId xmlns:a16="http://schemas.microsoft.com/office/drawing/2014/main" id="{882BA689-7BC7-52D4-6A94-C494ECFD60C3}"/>
                  </a:ext>
                </a:extLst>
              </p:cNvPr>
              <p:cNvSpPr/>
              <p:nvPr/>
            </p:nvSpPr>
            <p:spPr>
              <a:xfrm>
                <a:off x="1238438" y="2534771"/>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19" name="Freeform 1749">
                <a:extLst>
                  <a:ext uri="{FF2B5EF4-FFF2-40B4-BE49-F238E27FC236}">
                    <a16:creationId xmlns:a16="http://schemas.microsoft.com/office/drawing/2014/main" id="{D0330300-E3B1-F5EC-1109-87A82490FDA1}"/>
                  </a:ext>
                </a:extLst>
              </p:cNvPr>
              <p:cNvSpPr/>
              <p:nvPr/>
            </p:nvSpPr>
            <p:spPr>
              <a:xfrm>
                <a:off x="1267014" y="2506322"/>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20" name="TextBox 1119">
                <a:extLst>
                  <a:ext uri="{FF2B5EF4-FFF2-40B4-BE49-F238E27FC236}">
                    <a16:creationId xmlns:a16="http://schemas.microsoft.com/office/drawing/2014/main" id="{49644406-6B37-471A-757F-510A43D0F3E3}"/>
                  </a:ext>
                </a:extLst>
              </p:cNvPr>
              <p:cNvSpPr txBox="1"/>
              <p:nvPr/>
            </p:nvSpPr>
            <p:spPr>
              <a:xfrm>
                <a:off x="1316577" y="2322668"/>
                <a:ext cx="878208" cy="176978"/>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All patients (N=61)</a:t>
                </a:r>
              </a:p>
            </p:txBody>
          </p:sp>
          <p:sp>
            <p:nvSpPr>
              <p:cNvPr id="1121" name="TextBox 1120">
                <a:extLst>
                  <a:ext uri="{FF2B5EF4-FFF2-40B4-BE49-F238E27FC236}">
                    <a16:creationId xmlns:a16="http://schemas.microsoft.com/office/drawing/2014/main" id="{AF5607CA-BBA8-02C0-1B59-318853E1CCBA}"/>
                  </a:ext>
                </a:extLst>
              </p:cNvPr>
              <p:cNvSpPr txBox="1"/>
              <p:nvPr/>
            </p:nvSpPr>
            <p:spPr>
              <a:xfrm>
                <a:off x="1305578" y="2427900"/>
                <a:ext cx="525590" cy="176978"/>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Censored</a:t>
                </a:r>
              </a:p>
            </p:txBody>
          </p:sp>
          <p:sp>
            <p:nvSpPr>
              <p:cNvPr id="1122" name="TextBox 1121">
                <a:extLst>
                  <a:ext uri="{FF2B5EF4-FFF2-40B4-BE49-F238E27FC236}">
                    <a16:creationId xmlns:a16="http://schemas.microsoft.com/office/drawing/2014/main" id="{968DC876-AA02-ECA3-D0B2-C9C288731F0F}"/>
                  </a:ext>
                </a:extLst>
              </p:cNvPr>
              <p:cNvSpPr txBox="1"/>
              <p:nvPr/>
            </p:nvSpPr>
            <p:spPr>
              <a:xfrm>
                <a:off x="1316577" y="2204723"/>
                <a:ext cx="862721" cy="176978"/>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BTKi naïve (n=27)</a:t>
                </a:r>
              </a:p>
            </p:txBody>
          </p:sp>
          <p:grpSp>
            <p:nvGrpSpPr>
              <p:cNvPr id="1123" name="Graphic 4">
                <a:extLst>
                  <a:ext uri="{FF2B5EF4-FFF2-40B4-BE49-F238E27FC236}">
                    <a16:creationId xmlns:a16="http://schemas.microsoft.com/office/drawing/2014/main" id="{8610C750-8BAF-9D50-9E96-B03ACB30A81F}"/>
                  </a:ext>
                </a:extLst>
              </p:cNvPr>
              <p:cNvGrpSpPr/>
              <p:nvPr/>
            </p:nvGrpSpPr>
            <p:grpSpPr>
              <a:xfrm>
                <a:off x="1134458" y="1321247"/>
                <a:ext cx="3181594" cy="985954"/>
                <a:chOff x="3680339" y="2734136"/>
                <a:chExt cx="3181594" cy="985954"/>
              </a:xfrm>
            </p:grpSpPr>
            <p:grpSp>
              <p:nvGrpSpPr>
                <p:cNvPr id="1124" name="Graphic 4">
                  <a:extLst>
                    <a:ext uri="{FF2B5EF4-FFF2-40B4-BE49-F238E27FC236}">
                      <a16:creationId xmlns:a16="http://schemas.microsoft.com/office/drawing/2014/main" id="{F69FCD14-5F7F-F81A-687E-7E34BBEAA545}"/>
                    </a:ext>
                  </a:extLst>
                </p:cNvPr>
                <p:cNvGrpSpPr/>
                <p:nvPr/>
              </p:nvGrpSpPr>
              <p:grpSpPr>
                <a:xfrm>
                  <a:off x="6804781" y="3663192"/>
                  <a:ext cx="57152" cy="56898"/>
                  <a:chOff x="6804781" y="3663192"/>
                  <a:chExt cx="57152" cy="56898"/>
                </a:xfrm>
              </p:grpSpPr>
              <p:sp>
                <p:nvSpPr>
                  <p:cNvPr id="1155" name="Freeform 1785">
                    <a:extLst>
                      <a:ext uri="{FF2B5EF4-FFF2-40B4-BE49-F238E27FC236}">
                        <a16:creationId xmlns:a16="http://schemas.microsoft.com/office/drawing/2014/main" id="{E933DF56-5378-779C-D1DA-DB68F25A066D}"/>
                      </a:ext>
                    </a:extLst>
                  </p:cNvPr>
                  <p:cNvSpPr/>
                  <p:nvPr/>
                </p:nvSpPr>
                <p:spPr>
                  <a:xfrm>
                    <a:off x="6804781" y="3691641"/>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56" name="Freeform 1786">
                    <a:extLst>
                      <a:ext uri="{FF2B5EF4-FFF2-40B4-BE49-F238E27FC236}">
                        <a16:creationId xmlns:a16="http://schemas.microsoft.com/office/drawing/2014/main" id="{EF28E3A1-2E43-5B72-244C-6AD203DCF16C}"/>
                      </a:ext>
                    </a:extLst>
                  </p:cNvPr>
                  <p:cNvSpPr/>
                  <p:nvPr/>
                </p:nvSpPr>
                <p:spPr>
                  <a:xfrm>
                    <a:off x="6833357" y="3663192"/>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125" name="Graphic 4">
                  <a:extLst>
                    <a:ext uri="{FF2B5EF4-FFF2-40B4-BE49-F238E27FC236}">
                      <a16:creationId xmlns:a16="http://schemas.microsoft.com/office/drawing/2014/main" id="{53327D6F-200E-3561-3D89-EB59AB2C3709}"/>
                    </a:ext>
                  </a:extLst>
                </p:cNvPr>
                <p:cNvGrpSpPr/>
                <p:nvPr/>
              </p:nvGrpSpPr>
              <p:grpSpPr>
                <a:xfrm>
                  <a:off x="6336153" y="3663192"/>
                  <a:ext cx="57152" cy="56898"/>
                  <a:chOff x="6336153" y="3663192"/>
                  <a:chExt cx="57152" cy="56898"/>
                </a:xfrm>
              </p:grpSpPr>
              <p:sp>
                <p:nvSpPr>
                  <p:cNvPr id="1153" name="Freeform 1783">
                    <a:extLst>
                      <a:ext uri="{FF2B5EF4-FFF2-40B4-BE49-F238E27FC236}">
                        <a16:creationId xmlns:a16="http://schemas.microsoft.com/office/drawing/2014/main" id="{CF7B76AE-C2F1-E3E2-EC8C-53A0FEACD2D4}"/>
                      </a:ext>
                    </a:extLst>
                  </p:cNvPr>
                  <p:cNvSpPr/>
                  <p:nvPr/>
                </p:nvSpPr>
                <p:spPr>
                  <a:xfrm>
                    <a:off x="6336153" y="3691641"/>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54" name="Freeform 1784">
                    <a:extLst>
                      <a:ext uri="{FF2B5EF4-FFF2-40B4-BE49-F238E27FC236}">
                        <a16:creationId xmlns:a16="http://schemas.microsoft.com/office/drawing/2014/main" id="{380BDC3B-DECC-BC28-C292-2B57EC9BBFCC}"/>
                      </a:ext>
                    </a:extLst>
                  </p:cNvPr>
                  <p:cNvSpPr/>
                  <p:nvPr/>
                </p:nvSpPr>
                <p:spPr>
                  <a:xfrm>
                    <a:off x="6364730" y="3663192"/>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126" name="Graphic 4">
                  <a:extLst>
                    <a:ext uri="{FF2B5EF4-FFF2-40B4-BE49-F238E27FC236}">
                      <a16:creationId xmlns:a16="http://schemas.microsoft.com/office/drawing/2014/main" id="{BC152BCA-A803-9999-AAC6-AC2B15D0603F}"/>
                    </a:ext>
                  </a:extLst>
                </p:cNvPr>
                <p:cNvGrpSpPr/>
                <p:nvPr/>
              </p:nvGrpSpPr>
              <p:grpSpPr>
                <a:xfrm>
                  <a:off x="6255085" y="3663192"/>
                  <a:ext cx="57152" cy="56898"/>
                  <a:chOff x="6255085" y="3663192"/>
                  <a:chExt cx="57152" cy="56898"/>
                </a:xfrm>
              </p:grpSpPr>
              <p:sp>
                <p:nvSpPr>
                  <p:cNvPr id="1151" name="Freeform 1781">
                    <a:extLst>
                      <a:ext uri="{FF2B5EF4-FFF2-40B4-BE49-F238E27FC236}">
                        <a16:creationId xmlns:a16="http://schemas.microsoft.com/office/drawing/2014/main" id="{77B8DB57-611A-A978-0B61-7126D3080B26}"/>
                      </a:ext>
                    </a:extLst>
                  </p:cNvPr>
                  <p:cNvSpPr/>
                  <p:nvPr/>
                </p:nvSpPr>
                <p:spPr>
                  <a:xfrm>
                    <a:off x="6255085" y="3691641"/>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52" name="Freeform 1782">
                    <a:extLst>
                      <a:ext uri="{FF2B5EF4-FFF2-40B4-BE49-F238E27FC236}">
                        <a16:creationId xmlns:a16="http://schemas.microsoft.com/office/drawing/2014/main" id="{983F70C2-DF87-7D95-0637-3AD7AD1AB4AF}"/>
                      </a:ext>
                    </a:extLst>
                  </p:cNvPr>
                  <p:cNvSpPr/>
                  <p:nvPr/>
                </p:nvSpPr>
                <p:spPr>
                  <a:xfrm>
                    <a:off x="6283661" y="3663192"/>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127" name="Graphic 4">
                  <a:extLst>
                    <a:ext uri="{FF2B5EF4-FFF2-40B4-BE49-F238E27FC236}">
                      <a16:creationId xmlns:a16="http://schemas.microsoft.com/office/drawing/2014/main" id="{78DF762C-D12C-6EBF-8C0C-D3CF9067B25F}"/>
                    </a:ext>
                  </a:extLst>
                </p:cNvPr>
                <p:cNvGrpSpPr/>
                <p:nvPr/>
              </p:nvGrpSpPr>
              <p:grpSpPr>
                <a:xfrm>
                  <a:off x="6189283" y="3663192"/>
                  <a:ext cx="57152" cy="56898"/>
                  <a:chOff x="6189283" y="3663192"/>
                  <a:chExt cx="57152" cy="56898"/>
                </a:xfrm>
              </p:grpSpPr>
              <p:sp>
                <p:nvSpPr>
                  <p:cNvPr id="1149" name="Freeform 1779">
                    <a:extLst>
                      <a:ext uri="{FF2B5EF4-FFF2-40B4-BE49-F238E27FC236}">
                        <a16:creationId xmlns:a16="http://schemas.microsoft.com/office/drawing/2014/main" id="{30572B79-499E-5ABD-FCDA-D020AEB278F1}"/>
                      </a:ext>
                    </a:extLst>
                  </p:cNvPr>
                  <p:cNvSpPr/>
                  <p:nvPr/>
                </p:nvSpPr>
                <p:spPr>
                  <a:xfrm>
                    <a:off x="6189283" y="3691641"/>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50" name="Freeform 1780">
                    <a:extLst>
                      <a:ext uri="{FF2B5EF4-FFF2-40B4-BE49-F238E27FC236}">
                        <a16:creationId xmlns:a16="http://schemas.microsoft.com/office/drawing/2014/main" id="{AD23D126-8031-AD79-A8EA-1F24A7906B7C}"/>
                      </a:ext>
                    </a:extLst>
                  </p:cNvPr>
                  <p:cNvSpPr/>
                  <p:nvPr/>
                </p:nvSpPr>
                <p:spPr>
                  <a:xfrm>
                    <a:off x="6217860" y="3663192"/>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128" name="Graphic 4">
                  <a:extLst>
                    <a:ext uri="{FF2B5EF4-FFF2-40B4-BE49-F238E27FC236}">
                      <a16:creationId xmlns:a16="http://schemas.microsoft.com/office/drawing/2014/main" id="{1C35E819-CC11-A18D-FE8D-176C59727DDF}"/>
                    </a:ext>
                  </a:extLst>
                </p:cNvPr>
                <p:cNvGrpSpPr/>
                <p:nvPr/>
              </p:nvGrpSpPr>
              <p:grpSpPr>
                <a:xfrm>
                  <a:off x="6158865" y="3663192"/>
                  <a:ext cx="57152" cy="56898"/>
                  <a:chOff x="6158865" y="3663192"/>
                  <a:chExt cx="57152" cy="56898"/>
                </a:xfrm>
              </p:grpSpPr>
              <p:sp>
                <p:nvSpPr>
                  <p:cNvPr id="1147" name="Freeform 1777">
                    <a:extLst>
                      <a:ext uri="{FF2B5EF4-FFF2-40B4-BE49-F238E27FC236}">
                        <a16:creationId xmlns:a16="http://schemas.microsoft.com/office/drawing/2014/main" id="{2AC9ADB5-ACA2-A865-FA96-5224F101E5DC}"/>
                      </a:ext>
                    </a:extLst>
                  </p:cNvPr>
                  <p:cNvSpPr/>
                  <p:nvPr/>
                </p:nvSpPr>
                <p:spPr>
                  <a:xfrm>
                    <a:off x="6158865" y="3691641"/>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48" name="Freeform 1778">
                    <a:extLst>
                      <a:ext uri="{FF2B5EF4-FFF2-40B4-BE49-F238E27FC236}">
                        <a16:creationId xmlns:a16="http://schemas.microsoft.com/office/drawing/2014/main" id="{D15FEFA9-F37F-5D24-47E4-DB9A5B37A68F}"/>
                      </a:ext>
                    </a:extLst>
                  </p:cNvPr>
                  <p:cNvSpPr/>
                  <p:nvPr/>
                </p:nvSpPr>
                <p:spPr>
                  <a:xfrm>
                    <a:off x="6187442" y="3663192"/>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129" name="Graphic 4">
                  <a:extLst>
                    <a:ext uri="{FF2B5EF4-FFF2-40B4-BE49-F238E27FC236}">
                      <a16:creationId xmlns:a16="http://schemas.microsoft.com/office/drawing/2014/main" id="{92DA4BF0-CE41-3300-B8E5-AE8137874550}"/>
                    </a:ext>
                  </a:extLst>
                </p:cNvPr>
                <p:cNvGrpSpPr/>
                <p:nvPr/>
              </p:nvGrpSpPr>
              <p:grpSpPr>
                <a:xfrm>
                  <a:off x="6029840" y="3598277"/>
                  <a:ext cx="57152" cy="56898"/>
                  <a:chOff x="6029840" y="3598277"/>
                  <a:chExt cx="57152" cy="56898"/>
                </a:xfrm>
              </p:grpSpPr>
              <p:sp>
                <p:nvSpPr>
                  <p:cNvPr id="1145" name="Freeform 1775">
                    <a:extLst>
                      <a:ext uri="{FF2B5EF4-FFF2-40B4-BE49-F238E27FC236}">
                        <a16:creationId xmlns:a16="http://schemas.microsoft.com/office/drawing/2014/main" id="{4C3A86E8-0D50-3BFE-47A6-87D54AB77FEF}"/>
                      </a:ext>
                    </a:extLst>
                  </p:cNvPr>
                  <p:cNvSpPr/>
                  <p:nvPr/>
                </p:nvSpPr>
                <p:spPr>
                  <a:xfrm>
                    <a:off x="6029840" y="3626726"/>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46" name="Freeform 1776">
                    <a:extLst>
                      <a:ext uri="{FF2B5EF4-FFF2-40B4-BE49-F238E27FC236}">
                        <a16:creationId xmlns:a16="http://schemas.microsoft.com/office/drawing/2014/main" id="{FF36763F-F6AD-9973-D7D6-F125FAB6A5C0}"/>
                      </a:ext>
                    </a:extLst>
                  </p:cNvPr>
                  <p:cNvSpPr/>
                  <p:nvPr/>
                </p:nvSpPr>
                <p:spPr>
                  <a:xfrm>
                    <a:off x="6058416" y="3598277"/>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130" name="Graphic 4">
                  <a:extLst>
                    <a:ext uri="{FF2B5EF4-FFF2-40B4-BE49-F238E27FC236}">
                      <a16:creationId xmlns:a16="http://schemas.microsoft.com/office/drawing/2014/main" id="{46CB89D3-68DA-FC17-2E5C-B5D094FDD268}"/>
                    </a:ext>
                  </a:extLst>
                </p:cNvPr>
                <p:cNvGrpSpPr/>
                <p:nvPr/>
              </p:nvGrpSpPr>
              <p:grpSpPr>
                <a:xfrm>
                  <a:off x="5707447" y="3598277"/>
                  <a:ext cx="57152" cy="56898"/>
                  <a:chOff x="5707447" y="3598277"/>
                  <a:chExt cx="57152" cy="56898"/>
                </a:xfrm>
              </p:grpSpPr>
              <p:sp>
                <p:nvSpPr>
                  <p:cNvPr id="1143" name="Freeform 1773">
                    <a:extLst>
                      <a:ext uri="{FF2B5EF4-FFF2-40B4-BE49-F238E27FC236}">
                        <a16:creationId xmlns:a16="http://schemas.microsoft.com/office/drawing/2014/main" id="{9C1A2578-1378-6028-B81E-1C4D9561979B}"/>
                      </a:ext>
                    </a:extLst>
                  </p:cNvPr>
                  <p:cNvSpPr/>
                  <p:nvPr/>
                </p:nvSpPr>
                <p:spPr>
                  <a:xfrm>
                    <a:off x="5707447" y="3626726"/>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44" name="Freeform 1774">
                    <a:extLst>
                      <a:ext uri="{FF2B5EF4-FFF2-40B4-BE49-F238E27FC236}">
                        <a16:creationId xmlns:a16="http://schemas.microsoft.com/office/drawing/2014/main" id="{922349CB-D089-BDD2-B06B-F96A53E97312}"/>
                      </a:ext>
                    </a:extLst>
                  </p:cNvPr>
                  <p:cNvSpPr/>
                  <p:nvPr/>
                </p:nvSpPr>
                <p:spPr>
                  <a:xfrm>
                    <a:off x="5736023" y="3598277"/>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131" name="Graphic 4">
                  <a:extLst>
                    <a:ext uri="{FF2B5EF4-FFF2-40B4-BE49-F238E27FC236}">
                      <a16:creationId xmlns:a16="http://schemas.microsoft.com/office/drawing/2014/main" id="{48CE435A-EE77-5014-2C4B-36029484A8B3}"/>
                    </a:ext>
                  </a:extLst>
                </p:cNvPr>
                <p:cNvGrpSpPr/>
                <p:nvPr/>
              </p:nvGrpSpPr>
              <p:grpSpPr>
                <a:xfrm>
                  <a:off x="5500490" y="3549988"/>
                  <a:ext cx="57152" cy="56898"/>
                  <a:chOff x="5500490" y="3549988"/>
                  <a:chExt cx="57152" cy="56898"/>
                </a:xfrm>
              </p:grpSpPr>
              <p:sp>
                <p:nvSpPr>
                  <p:cNvPr id="1141" name="Freeform 1771">
                    <a:extLst>
                      <a:ext uri="{FF2B5EF4-FFF2-40B4-BE49-F238E27FC236}">
                        <a16:creationId xmlns:a16="http://schemas.microsoft.com/office/drawing/2014/main" id="{D79A9208-1F73-EA7F-244C-7F9853C02BCF}"/>
                      </a:ext>
                    </a:extLst>
                  </p:cNvPr>
                  <p:cNvSpPr/>
                  <p:nvPr/>
                </p:nvSpPr>
                <p:spPr>
                  <a:xfrm>
                    <a:off x="5500490" y="3578438"/>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42" name="Freeform 1772">
                    <a:extLst>
                      <a:ext uri="{FF2B5EF4-FFF2-40B4-BE49-F238E27FC236}">
                        <a16:creationId xmlns:a16="http://schemas.microsoft.com/office/drawing/2014/main" id="{FC91A7BE-7713-A7D4-2ABD-0DDB364DE8AC}"/>
                      </a:ext>
                    </a:extLst>
                  </p:cNvPr>
                  <p:cNvSpPr/>
                  <p:nvPr/>
                </p:nvSpPr>
                <p:spPr>
                  <a:xfrm>
                    <a:off x="5529067" y="3549988"/>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132" name="Graphic 4">
                  <a:extLst>
                    <a:ext uri="{FF2B5EF4-FFF2-40B4-BE49-F238E27FC236}">
                      <a16:creationId xmlns:a16="http://schemas.microsoft.com/office/drawing/2014/main" id="{7CBECBA7-37BD-C687-EF71-360302F0A36D}"/>
                    </a:ext>
                  </a:extLst>
                </p:cNvPr>
                <p:cNvGrpSpPr/>
                <p:nvPr/>
              </p:nvGrpSpPr>
              <p:grpSpPr>
                <a:xfrm>
                  <a:off x="3875332" y="3153252"/>
                  <a:ext cx="57152" cy="56898"/>
                  <a:chOff x="3875332" y="3153252"/>
                  <a:chExt cx="57152" cy="56898"/>
                </a:xfrm>
              </p:grpSpPr>
              <p:sp>
                <p:nvSpPr>
                  <p:cNvPr id="1139" name="Freeform 1769">
                    <a:extLst>
                      <a:ext uri="{FF2B5EF4-FFF2-40B4-BE49-F238E27FC236}">
                        <a16:creationId xmlns:a16="http://schemas.microsoft.com/office/drawing/2014/main" id="{F57A3A27-01DB-8250-400E-4576D708E5C9}"/>
                      </a:ext>
                    </a:extLst>
                  </p:cNvPr>
                  <p:cNvSpPr/>
                  <p:nvPr/>
                </p:nvSpPr>
                <p:spPr>
                  <a:xfrm>
                    <a:off x="3875332" y="3181702"/>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40" name="Freeform 1770">
                    <a:extLst>
                      <a:ext uri="{FF2B5EF4-FFF2-40B4-BE49-F238E27FC236}">
                        <a16:creationId xmlns:a16="http://schemas.microsoft.com/office/drawing/2014/main" id="{D9029591-1780-A5BF-4DEF-7788C00BA29E}"/>
                      </a:ext>
                    </a:extLst>
                  </p:cNvPr>
                  <p:cNvSpPr/>
                  <p:nvPr/>
                </p:nvSpPr>
                <p:spPr>
                  <a:xfrm>
                    <a:off x="3903908" y="3153252"/>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133" name="Graphic 4">
                  <a:extLst>
                    <a:ext uri="{FF2B5EF4-FFF2-40B4-BE49-F238E27FC236}">
                      <a16:creationId xmlns:a16="http://schemas.microsoft.com/office/drawing/2014/main" id="{1D8612D5-59AF-5026-8DEA-B16BCBF9ECA4}"/>
                    </a:ext>
                  </a:extLst>
                </p:cNvPr>
                <p:cNvGrpSpPr/>
                <p:nvPr/>
              </p:nvGrpSpPr>
              <p:grpSpPr>
                <a:xfrm>
                  <a:off x="3680339" y="2734136"/>
                  <a:ext cx="57152" cy="56898"/>
                  <a:chOff x="3680339" y="2734136"/>
                  <a:chExt cx="57152" cy="56898"/>
                </a:xfrm>
              </p:grpSpPr>
              <p:sp>
                <p:nvSpPr>
                  <p:cNvPr id="1137" name="Freeform 1767">
                    <a:extLst>
                      <a:ext uri="{FF2B5EF4-FFF2-40B4-BE49-F238E27FC236}">
                        <a16:creationId xmlns:a16="http://schemas.microsoft.com/office/drawing/2014/main" id="{B970D07A-1F4B-160D-23D2-1C6B1178BC6D}"/>
                      </a:ext>
                    </a:extLst>
                  </p:cNvPr>
                  <p:cNvSpPr/>
                  <p:nvPr/>
                </p:nvSpPr>
                <p:spPr>
                  <a:xfrm>
                    <a:off x="3680339" y="2762585"/>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38" name="Freeform 1768">
                    <a:extLst>
                      <a:ext uri="{FF2B5EF4-FFF2-40B4-BE49-F238E27FC236}">
                        <a16:creationId xmlns:a16="http://schemas.microsoft.com/office/drawing/2014/main" id="{8AA91FE5-2AC3-40B8-DB9D-C7D8ED5850E5}"/>
                      </a:ext>
                    </a:extLst>
                  </p:cNvPr>
                  <p:cNvSpPr/>
                  <p:nvPr/>
                </p:nvSpPr>
                <p:spPr>
                  <a:xfrm>
                    <a:off x="3708141" y="2734136"/>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134" name="Graphic 4">
                  <a:extLst>
                    <a:ext uri="{FF2B5EF4-FFF2-40B4-BE49-F238E27FC236}">
                      <a16:creationId xmlns:a16="http://schemas.microsoft.com/office/drawing/2014/main" id="{A8D681C2-CE44-1D9A-F6E1-5F159E316331}"/>
                    </a:ext>
                  </a:extLst>
                </p:cNvPr>
                <p:cNvGrpSpPr/>
                <p:nvPr/>
              </p:nvGrpSpPr>
              <p:grpSpPr>
                <a:xfrm>
                  <a:off x="3685559" y="2734136"/>
                  <a:ext cx="57152" cy="56898"/>
                  <a:chOff x="3685559" y="2734136"/>
                  <a:chExt cx="57152" cy="56898"/>
                </a:xfrm>
              </p:grpSpPr>
              <p:sp>
                <p:nvSpPr>
                  <p:cNvPr id="1135" name="Freeform 1765">
                    <a:extLst>
                      <a:ext uri="{FF2B5EF4-FFF2-40B4-BE49-F238E27FC236}">
                        <a16:creationId xmlns:a16="http://schemas.microsoft.com/office/drawing/2014/main" id="{6AF44E40-709A-F78D-B434-180B88FECB1B}"/>
                      </a:ext>
                    </a:extLst>
                  </p:cNvPr>
                  <p:cNvSpPr/>
                  <p:nvPr/>
                </p:nvSpPr>
                <p:spPr>
                  <a:xfrm>
                    <a:off x="3685559" y="2762585"/>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36" name="Freeform 1766">
                    <a:extLst>
                      <a:ext uri="{FF2B5EF4-FFF2-40B4-BE49-F238E27FC236}">
                        <a16:creationId xmlns:a16="http://schemas.microsoft.com/office/drawing/2014/main" id="{07539567-8687-4A66-F090-C6D8FCAFFE81}"/>
                      </a:ext>
                    </a:extLst>
                  </p:cNvPr>
                  <p:cNvSpPr/>
                  <p:nvPr/>
                </p:nvSpPr>
                <p:spPr>
                  <a:xfrm>
                    <a:off x="3713361" y="2734136"/>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sp>
            <p:nvSpPr>
              <p:cNvPr id="1157" name="Freeform 1787">
                <a:extLst>
                  <a:ext uri="{FF2B5EF4-FFF2-40B4-BE49-F238E27FC236}">
                    <a16:creationId xmlns:a16="http://schemas.microsoft.com/office/drawing/2014/main" id="{4BB90BA5-8A0E-D152-9C53-D053B81C12AD}"/>
                  </a:ext>
                </a:extLst>
              </p:cNvPr>
              <p:cNvSpPr/>
              <p:nvPr/>
            </p:nvSpPr>
            <p:spPr>
              <a:xfrm>
                <a:off x="1205061" y="2189699"/>
                <a:ext cx="136595" cy="12644"/>
              </a:xfrm>
              <a:custGeom>
                <a:avLst/>
                <a:gdLst>
                  <a:gd name="connsiteX0" fmla="*/ 0 w 136595"/>
                  <a:gd name="connsiteY0" fmla="*/ 0 h 12644"/>
                  <a:gd name="connsiteX1" fmla="*/ 136595 w 136595"/>
                  <a:gd name="connsiteY1" fmla="*/ 0 h 12644"/>
                </a:gdLst>
                <a:ahLst/>
                <a:cxnLst>
                  <a:cxn ang="0">
                    <a:pos x="connsiteX0" y="connsiteY0"/>
                  </a:cxn>
                  <a:cxn ang="0">
                    <a:pos x="connsiteX1" y="connsiteY1"/>
                  </a:cxn>
                </a:cxnLst>
                <a:rect l="l" t="t" r="r" b="b"/>
                <a:pathLst>
                  <a:path w="136595" h="12644">
                    <a:moveTo>
                      <a:pt x="0" y="0"/>
                    </a:moveTo>
                    <a:lnTo>
                      <a:pt x="136595" y="0"/>
                    </a:lnTo>
                  </a:path>
                </a:pathLst>
              </a:custGeom>
              <a:ln w="1903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58" name="TextBox 1157">
                <a:extLst>
                  <a:ext uri="{FF2B5EF4-FFF2-40B4-BE49-F238E27FC236}">
                    <a16:creationId xmlns:a16="http://schemas.microsoft.com/office/drawing/2014/main" id="{47CCB09B-F7B6-CC7F-0C6E-14F0495E2B76}"/>
                  </a:ext>
                </a:extLst>
              </p:cNvPr>
              <p:cNvSpPr txBox="1"/>
              <p:nvPr/>
            </p:nvSpPr>
            <p:spPr>
              <a:xfrm>
                <a:off x="1316577" y="2086778"/>
                <a:ext cx="832939" cy="176978"/>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Prior BTKi (n=34)</a:t>
                </a:r>
              </a:p>
            </p:txBody>
          </p:sp>
          <p:grpSp>
            <p:nvGrpSpPr>
              <p:cNvPr id="1159" name="Graphic 4">
                <a:extLst>
                  <a:ext uri="{FF2B5EF4-FFF2-40B4-BE49-F238E27FC236}">
                    <a16:creationId xmlns:a16="http://schemas.microsoft.com/office/drawing/2014/main" id="{B6FBE566-A6A8-7C5A-BC16-74982531050F}"/>
                  </a:ext>
                </a:extLst>
              </p:cNvPr>
              <p:cNvGrpSpPr/>
              <p:nvPr/>
            </p:nvGrpSpPr>
            <p:grpSpPr>
              <a:xfrm>
                <a:off x="1625667" y="1554924"/>
                <a:ext cx="2454014" cy="765895"/>
                <a:chOff x="4171548" y="2967813"/>
                <a:chExt cx="2454014" cy="765895"/>
              </a:xfrm>
            </p:grpSpPr>
            <p:grpSp>
              <p:nvGrpSpPr>
                <p:cNvPr id="1160" name="Graphic 4">
                  <a:extLst>
                    <a:ext uri="{FF2B5EF4-FFF2-40B4-BE49-F238E27FC236}">
                      <a16:creationId xmlns:a16="http://schemas.microsoft.com/office/drawing/2014/main" id="{3FABBADC-3DB8-7329-AE86-2DC6F2026F23}"/>
                    </a:ext>
                  </a:extLst>
                </p:cNvPr>
                <p:cNvGrpSpPr/>
                <p:nvPr/>
              </p:nvGrpSpPr>
              <p:grpSpPr>
                <a:xfrm>
                  <a:off x="4171548" y="2967813"/>
                  <a:ext cx="57152" cy="56898"/>
                  <a:chOff x="4171548" y="2967813"/>
                  <a:chExt cx="57152" cy="56898"/>
                </a:xfrm>
              </p:grpSpPr>
              <p:sp>
                <p:nvSpPr>
                  <p:cNvPr id="1191" name="Freeform 1821">
                    <a:extLst>
                      <a:ext uri="{FF2B5EF4-FFF2-40B4-BE49-F238E27FC236}">
                        <a16:creationId xmlns:a16="http://schemas.microsoft.com/office/drawing/2014/main" id="{CD6DDA6B-0CBA-417D-3E68-7E04126E7A45}"/>
                      </a:ext>
                    </a:extLst>
                  </p:cNvPr>
                  <p:cNvSpPr/>
                  <p:nvPr/>
                </p:nvSpPr>
                <p:spPr>
                  <a:xfrm>
                    <a:off x="4171548" y="2996262"/>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92" name="Freeform 1822">
                    <a:extLst>
                      <a:ext uri="{FF2B5EF4-FFF2-40B4-BE49-F238E27FC236}">
                        <a16:creationId xmlns:a16="http://schemas.microsoft.com/office/drawing/2014/main" id="{64E2695C-649A-6DE2-424D-7D26DD747C2C}"/>
                      </a:ext>
                    </a:extLst>
                  </p:cNvPr>
                  <p:cNvSpPr/>
                  <p:nvPr/>
                </p:nvSpPr>
                <p:spPr>
                  <a:xfrm>
                    <a:off x="4200125" y="2967813"/>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161" name="Graphic 4">
                  <a:extLst>
                    <a:ext uri="{FF2B5EF4-FFF2-40B4-BE49-F238E27FC236}">
                      <a16:creationId xmlns:a16="http://schemas.microsoft.com/office/drawing/2014/main" id="{33C97C07-6BD9-E5BB-FC3F-BBE4022991EB}"/>
                    </a:ext>
                  </a:extLst>
                </p:cNvPr>
                <p:cNvGrpSpPr/>
                <p:nvPr/>
              </p:nvGrpSpPr>
              <p:grpSpPr>
                <a:xfrm>
                  <a:off x="4834101" y="3209595"/>
                  <a:ext cx="57152" cy="56898"/>
                  <a:chOff x="4834101" y="3209595"/>
                  <a:chExt cx="57152" cy="56898"/>
                </a:xfrm>
              </p:grpSpPr>
              <p:sp>
                <p:nvSpPr>
                  <p:cNvPr id="1189" name="Freeform 1819">
                    <a:extLst>
                      <a:ext uri="{FF2B5EF4-FFF2-40B4-BE49-F238E27FC236}">
                        <a16:creationId xmlns:a16="http://schemas.microsoft.com/office/drawing/2014/main" id="{A456CD1D-33FB-C251-9C6C-5913D524C134}"/>
                      </a:ext>
                    </a:extLst>
                  </p:cNvPr>
                  <p:cNvSpPr/>
                  <p:nvPr/>
                </p:nvSpPr>
                <p:spPr>
                  <a:xfrm>
                    <a:off x="4834101" y="3238044"/>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90" name="Freeform 1820">
                    <a:extLst>
                      <a:ext uri="{FF2B5EF4-FFF2-40B4-BE49-F238E27FC236}">
                        <a16:creationId xmlns:a16="http://schemas.microsoft.com/office/drawing/2014/main" id="{C9FFFD4A-66B7-0E25-2CCC-3ECD90DD2B11}"/>
                      </a:ext>
                    </a:extLst>
                  </p:cNvPr>
                  <p:cNvSpPr/>
                  <p:nvPr/>
                </p:nvSpPr>
                <p:spPr>
                  <a:xfrm>
                    <a:off x="4862678" y="3209595"/>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162" name="Graphic 4">
                  <a:extLst>
                    <a:ext uri="{FF2B5EF4-FFF2-40B4-BE49-F238E27FC236}">
                      <a16:creationId xmlns:a16="http://schemas.microsoft.com/office/drawing/2014/main" id="{2A6D94D4-506E-DD7B-867A-BD7219A7C749}"/>
                    </a:ext>
                  </a:extLst>
                </p:cNvPr>
                <p:cNvGrpSpPr/>
                <p:nvPr/>
              </p:nvGrpSpPr>
              <p:grpSpPr>
                <a:xfrm>
                  <a:off x="5295286" y="3366812"/>
                  <a:ext cx="57152" cy="56898"/>
                  <a:chOff x="5295286" y="3366812"/>
                  <a:chExt cx="57152" cy="56898"/>
                </a:xfrm>
              </p:grpSpPr>
              <p:sp>
                <p:nvSpPr>
                  <p:cNvPr id="1187" name="Freeform 1817">
                    <a:extLst>
                      <a:ext uri="{FF2B5EF4-FFF2-40B4-BE49-F238E27FC236}">
                        <a16:creationId xmlns:a16="http://schemas.microsoft.com/office/drawing/2014/main" id="{1E23EA60-C583-394B-0387-99CE40A11E2C}"/>
                      </a:ext>
                    </a:extLst>
                  </p:cNvPr>
                  <p:cNvSpPr/>
                  <p:nvPr/>
                </p:nvSpPr>
                <p:spPr>
                  <a:xfrm>
                    <a:off x="5295286" y="3395262"/>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88" name="Freeform 1818">
                    <a:extLst>
                      <a:ext uri="{FF2B5EF4-FFF2-40B4-BE49-F238E27FC236}">
                        <a16:creationId xmlns:a16="http://schemas.microsoft.com/office/drawing/2014/main" id="{75AAD8CB-3218-DB76-4DAC-886A1586756F}"/>
                      </a:ext>
                    </a:extLst>
                  </p:cNvPr>
                  <p:cNvSpPr/>
                  <p:nvPr/>
                </p:nvSpPr>
                <p:spPr>
                  <a:xfrm>
                    <a:off x="5323863" y="3366812"/>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163" name="Graphic 4">
                  <a:extLst>
                    <a:ext uri="{FF2B5EF4-FFF2-40B4-BE49-F238E27FC236}">
                      <a16:creationId xmlns:a16="http://schemas.microsoft.com/office/drawing/2014/main" id="{5ED991A9-3CD2-6894-5AA6-FDDE4F6AC875}"/>
                    </a:ext>
                  </a:extLst>
                </p:cNvPr>
                <p:cNvGrpSpPr/>
                <p:nvPr/>
              </p:nvGrpSpPr>
              <p:grpSpPr>
                <a:xfrm>
                  <a:off x="5393399" y="3366812"/>
                  <a:ext cx="57152" cy="56898"/>
                  <a:chOff x="5393399" y="3366812"/>
                  <a:chExt cx="57152" cy="56898"/>
                </a:xfrm>
              </p:grpSpPr>
              <p:sp>
                <p:nvSpPr>
                  <p:cNvPr id="1185" name="Freeform 1815">
                    <a:extLst>
                      <a:ext uri="{FF2B5EF4-FFF2-40B4-BE49-F238E27FC236}">
                        <a16:creationId xmlns:a16="http://schemas.microsoft.com/office/drawing/2014/main" id="{258FACE9-E4CF-B8D3-2FEB-14A0FB0189EB}"/>
                      </a:ext>
                    </a:extLst>
                  </p:cNvPr>
                  <p:cNvSpPr/>
                  <p:nvPr/>
                </p:nvSpPr>
                <p:spPr>
                  <a:xfrm>
                    <a:off x="5393399" y="3395262"/>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86" name="Freeform 1816">
                    <a:extLst>
                      <a:ext uri="{FF2B5EF4-FFF2-40B4-BE49-F238E27FC236}">
                        <a16:creationId xmlns:a16="http://schemas.microsoft.com/office/drawing/2014/main" id="{8FEA9647-2D30-2A04-708E-D912C406B320}"/>
                      </a:ext>
                    </a:extLst>
                  </p:cNvPr>
                  <p:cNvSpPr/>
                  <p:nvPr/>
                </p:nvSpPr>
                <p:spPr>
                  <a:xfrm>
                    <a:off x="5421975" y="3366812"/>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164" name="Graphic 4">
                  <a:extLst>
                    <a:ext uri="{FF2B5EF4-FFF2-40B4-BE49-F238E27FC236}">
                      <a16:creationId xmlns:a16="http://schemas.microsoft.com/office/drawing/2014/main" id="{B26F31A1-30BB-C43D-D1F5-FF58A4D0C824}"/>
                    </a:ext>
                  </a:extLst>
                </p:cNvPr>
                <p:cNvGrpSpPr/>
                <p:nvPr/>
              </p:nvGrpSpPr>
              <p:grpSpPr>
                <a:xfrm>
                  <a:off x="5493289" y="3366812"/>
                  <a:ext cx="57152" cy="56898"/>
                  <a:chOff x="5493289" y="3366812"/>
                  <a:chExt cx="57152" cy="56898"/>
                </a:xfrm>
              </p:grpSpPr>
              <p:sp>
                <p:nvSpPr>
                  <p:cNvPr id="1183" name="Freeform 1813">
                    <a:extLst>
                      <a:ext uri="{FF2B5EF4-FFF2-40B4-BE49-F238E27FC236}">
                        <a16:creationId xmlns:a16="http://schemas.microsoft.com/office/drawing/2014/main" id="{6675AD5B-8BF7-79E3-0DDD-67E06EAC1108}"/>
                      </a:ext>
                    </a:extLst>
                  </p:cNvPr>
                  <p:cNvSpPr/>
                  <p:nvPr/>
                </p:nvSpPr>
                <p:spPr>
                  <a:xfrm>
                    <a:off x="5493289" y="3395262"/>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84" name="Freeform 1814">
                    <a:extLst>
                      <a:ext uri="{FF2B5EF4-FFF2-40B4-BE49-F238E27FC236}">
                        <a16:creationId xmlns:a16="http://schemas.microsoft.com/office/drawing/2014/main" id="{8B212AC1-9192-C0D8-C8F4-1877846E22E8}"/>
                      </a:ext>
                    </a:extLst>
                  </p:cNvPr>
                  <p:cNvSpPr/>
                  <p:nvPr/>
                </p:nvSpPr>
                <p:spPr>
                  <a:xfrm>
                    <a:off x="5521866" y="3366812"/>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165" name="Graphic 4">
                  <a:extLst>
                    <a:ext uri="{FF2B5EF4-FFF2-40B4-BE49-F238E27FC236}">
                      <a16:creationId xmlns:a16="http://schemas.microsoft.com/office/drawing/2014/main" id="{46F7BF81-9EF4-7B36-3487-8E79BB64054B}"/>
                    </a:ext>
                  </a:extLst>
                </p:cNvPr>
                <p:cNvGrpSpPr/>
                <p:nvPr/>
              </p:nvGrpSpPr>
              <p:grpSpPr>
                <a:xfrm>
                  <a:off x="5626696" y="3366812"/>
                  <a:ext cx="57152" cy="56898"/>
                  <a:chOff x="5626696" y="3366812"/>
                  <a:chExt cx="57152" cy="56898"/>
                </a:xfrm>
              </p:grpSpPr>
              <p:sp>
                <p:nvSpPr>
                  <p:cNvPr id="1181" name="Freeform 1811">
                    <a:extLst>
                      <a:ext uri="{FF2B5EF4-FFF2-40B4-BE49-F238E27FC236}">
                        <a16:creationId xmlns:a16="http://schemas.microsoft.com/office/drawing/2014/main" id="{DFE44103-D38B-4FFF-9C02-F9D8B31266E5}"/>
                      </a:ext>
                    </a:extLst>
                  </p:cNvPr>
                  <p:cNvSpPr/>
                  <p:nvPr/>
                </p:nvSpPr>
                <p:spPr>
                  <a:xfrm>
                    <a:off x="5626696" y="3395262"/>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82" name="Freeform 1812">
                    <a:extLst>
                      <a:ext uri="{FF2B5EF4-FFF2-40B4-BE49-F238E27FC236}">
                        <a16:creationId xmlns:a16="http://schemas.microsoft.com/office/drawing/2014/main" id="{2D9B8E0A-31E7-F583-549B-A740C3DC3805}"/>
                      </a:ext>
                    </a:extLst>
                  </p:cNvPr>
                  <p:cNvSpPr/>
                  <p:nvPr/>
                </p:nvSpPr>
                <p:spPr>
                  <a:xfrm>
                    <a:off x="5655273" y="3366812"/>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166" name="Graphic 4">
                  <a:extLst>
                    <a:ext uri="{FF2B5EF4-FFF2-40B4-BE49-F238E27FC236}">
                      <a16:creationId xmlns:a16="http://schemas.microsoft.com/office/drawing/2014/main" id="{6CBA0C5B-AFF6-A783-D485-3CE4F9D9D106}"/>
                    </a:ext>
                  </a:extLst>
                </p:cNvPr>
                <p:cNvGrpSpPr/>
                <p:nvPr/>
              </p:nvGrpSpPr>
              <p:grpSpPr>
                <a:xfrm>
                  <a:off x="5654219" y="3366812"/>
                  <a:ext cx="57152" cy="56898"/>
                  <a:chOff x="5654219" y="3366812"/>
                  <a:chExt cx="57152" cy="56898"/>
                </a:xfrm>
              </p:grpSpPr>
              <p:sp>
                <p:nvSpPr>
                  <p:cNvPr id="1179" name="Freeform 1809">
                    <a:extLst>
                      <a:ext uri="{FF2B5EF4-FFF2-40B4-BE49-F238E27FC236}">
                        <a16:creationId xmlns:a16="http://schemas.microsoft.com/office/drawing/2014/main" id="{04068BB9-B072-52C1-7222-E0821C46ABAA}"/>
                      </a:ext>
                    </a:extLst>
                  </p:cNvPr>
                  <p:cNvSpPr/>
                  <p:nvPr/>
                </p:nvSpPr>
                <p:spPr>
                  <a:xfrm>
                    <a:off x="5654219" y="3395262"/>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80" name="Freeform 1810">
                    <a:extLst>
                      <a:ext uri="{FF2B5EF4-FFF2-40B4-BE49-F238E27FC236}">
                        <a16:creationId xmlns:a16="http://schemas.microsoft.com/office/drawing/2014/main" id="{9BBDE399-5412-B3C7-B51E-AD9BC6A09FBB}"/>
                      </a:ext>
                    </a:extLst>
                  </p:cNvPr>
                  <p:cNvSpPr/>
                  <p:nvPr/>
                </p:nvSpPr>
                <p:spPr>
                  <a:xfrm>
                    <a:off x="5682795" y="3366812"/>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167" name="Graphic 4">
                  <a:extLst>
                    <a:ext uri="{FF2B5EF4-FFF2-40B4-BE49-F238E27FC236}">
                      <a16:creationId xmlns:a16="http://schemas.microsoft.com/office/drawing/2014/main" id="{78013CAA-D9FA-1449-8284-97CC7758DCA3}"/>
                    </a:ext>
                  </a:extLst>
                </p:cNvPr>
                <p:cNvGrpSpPr/>
                <p:nvPr/>
              </p:nvGrpSpPr>
              <p:grpSpPr>
                <a:xfrm>
                  <a:off x="5721913" y="3366812"/>
                  <a:ext cx="57152" cy="56898"/>
                  <a:chOff x="5721913" y="3366812"/>
                  <a:chExt cx="57152" cy="56898"/>
                </a:xfrm>
              </p:grpSpPr>
              <p:sp>
                <p:nvSpPr>
                  <p:cNvPr id="1177" name="Freeform 1807">
                    <a:extLst>
                      <a:ext uri="{FF2B5EF4-FFF2-40B4-BE49-F238E27FC236}">
                        <a16:creationId xmlns:a16="http://schemas.microsoft.com/office/drawing/2014/main" id="{EB1D879F-FF48-8BAA-0975-0C65DA7FA6D4}"/>
                      </a:ext>
                    </a:extLst>
                  </p:cNvPr>
                  <p:cNvSpPr/>
                  <p:nvPr/>
                </p:nvSpPr>
                <p:spPr>
                  <a:xfrm>
                    <a:off x="5721913" y="3395262"/>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78" name="Freeform 1808">
                    <a:extLst>
                      <a:ext uri="{FF2B5EF4-FFF2-40B4-BE49-F238E27FC236}">
                        <a16:creationId xmlns:a16="http://schemas.microsoft.com/office/drawing/2014/main" id="{70970FF3-9C6B-DF11-78BF-DBAB796D31E8}"/>
                      </a:ext>
                    </a:extLst>
                  </p:cNvPr>
                  <p:cNvSpPr/>
                  <p:nvPr/>
                </p:nvSpPr>
                <p:spPr>
                  <a:xfrm>
                    <a:off x="5750489" y="3366812"/>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168" name="Graphic 4">
                  <a:extLst>
                    <a:ext uri="{FF2B5EF4-FFF2-40B4-BE49-F238E27FC236}">
                      <a16:creationId xmlns:a16="http://schemas.microsoft.com/office/drawing/2014/main" id="{82D48968-CF6C-C101-1948-F62548A292F9}"/>
                    </a:ext>
                  </a:extLst>
                </p:cNvPr>
                <p:cNvGrpSpPr/>
                <p:nvPr/>
              </p:nvGrpSpPr>
              <p:grpSpPr>
                <a:xfrm>
                  <a:off x="6081290" y="3366812"/>
                  <a:ext cx="57152" cy="56898"/>
                  <a:chOff x="6081290" y="3366812"/>
                  <a:chExt cx="57152" cy="56898"/>
                </a:xfrm>
              </p:grpSpPr>
              <p:sp>
                <p:nvSpPr>
                  <p:cNvPr id="1175" name="Freeform 1805">
                    <a:extLst>
                      <a:ext uri="{FF2B5EF4-FFF2-40B4-BE49-F238E27FC236}">
                        <a16:creationId xmlns:a16="http://schemas.microsoft.com/office/drawing/2014/main" id="{62DC3C8E-0093-0388-27DB-A7046CC9D1CB}"/>
                      </a:ext>
                    </a:extLst>
                  </p:cNvPr>
                  <p:cNvSpPr/>
                  <p:nvPr/>
                </p:nvSpPr>
                <p:spPr>
                  <a:xfrm>
                    <a:off x="6081290" y="3395262"/>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76" name="Freeform 1806">
                    <a:extLst>
                      <a:ext uri="{FF2B5EF4-FFF2-40B4-BE49-F238E27FC236}">
                        <a16:creationId xmlns:a16="http://schemas.microsoft.com/office/drawing/2014/main" id="{04752FB7-73B9-8545-AE70-730C372E4231}"/>
                      </a:ext>
                    </a:extLst>
                  </p:cNvPr>
                  <p:cNvSpPr/>
                  <p:nvPr/>
                </p:nvSpPr>
                <p:spPr>
                  <a:xfrm>
                    <a:off x="6109866" y="3366812"/>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169" name="Graphic 4">
                  <a:extLst>
                    <a:ext uri="{FF2B5EF4-FFF2-40B4-BE49-F238E27FC236}">
                      <a16:creationId xmlns:a16="http://schemas.microsoft.com/office/drawing/2014/main" id="{9538E9BB-B700-F833-CA97-F4681D43F885}"/>
                    </a:ext>
                  </a:extLst>
                </p:cNvPr>
                <p:cNvGrpSpPr/>
                <p:nvPr/>
              </p:nvGrpSpPr>
              <p:grpSpPr>
                <a:xfrm>
                  <a:off x="6178729" y="3366812"/>
                  <a:ext cx="57152" cy="56898"/>
                  <a:chOff x="6178729" y="3366812"/>
                  <a:chExt cx="57152" cy="56898"/>
                </a:xfrm>
              </p:grpSpPr>
              <p:sp>
                <p:nvSpPr>
                  <p:cNvPr id="1173" name="Freeform 1803">
                    <a:extLst>
                      <a:ext uri="{FF2B5EF4-FFF2-40B4-BE49-F238E27FC236}">
                        <a16:creationId xmlns:a16="http://schemas.microsoft.com/office/drawing/2014/main" id="{D2582448-C330-2A74-326C-2F3FD6F6DB24}"/>
                      </a:ext>
                    </a:extLst>
                  </p:cNvPr>
                  <p:cNvSpPr/>
                  <p:nvPr/>
                </p:nvSpPr>
                <p:spPr>
                  <a:xfrm>
                    <a:off x="6178729" y="3395262"/>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74" name="Freeform 1804">
                    <a:extLst>
                      <a:ext uri="{FF2B5EF4-FFF2-40B4-BE49-F238E27FC236}">
                        <a16:creationId xmlns:a16="http://schemas.microsoft.com/office/drawing/2014/main" id="{F4978BEC-C09B-E513-BB80-977192827D1F}"/>
                      </a:ext>
                    </a:extLst>
                  </p:cNvPr>
                  <p:cNvSpPr/>
                  <p:nvPr/>
                </p:nvSpPr>
                <p:spPr>
                  <a:xfrm>
                    <a:off x="6207305" y="3366812"/>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170" name="Graphic 4">
                  <a:extLst>
                    <a:ext uri="{FF2B5EF4-FFF2-40B4-BE49-F238E27FC236}">
                      <a16:creationId xmlns:a16="http://schemas.microsoft.com/office/drawing/2014/main" id="{A6E5C30F-C369-7E1D-1862-07C250593B15}"/>
                    </a:ext>
                  </a:extLst>
                </p:cNvPr>
                <p:cNvGrpSpPr/>
                <p:nvPr/>
              </p:nvGrpSpPr>
              <p:grpSpPr>
                <a:xfrm>
                  <a:off x="6568409" y="3676809"/>
                  <a:ext cx="57152" cy="56898"/>
                  <a:chOff x="6568409" y="3676809"/>
                  <a:chExt cx="57152" cy="56898"/>
                </a:xfrm>
              </p:grpSpPr>
              <p:sp>
                <p:nvSpPr>
                  <p:cNvPr id="1171" name="Freeform 1801">
                    <a:extLst>
                      <a:ext uri="{FF2B5EF4-FFF2-40B4-BE49-F238E27FC236}">
                        <a16:creationId xmlns:a16="http://schemas.microsoft.com/office/drawing/2014/main" id="{B79A3EFD-AEE4-43BA-9C92-C22F9B46DF7C}"/>
                      </a:ext>
                    </a:extLst>
                  </p:cNvPr>
                  <p:cNvSpPr/>
                  <p:nvPr/>
                </p:nvSpPr>
                <p:spPr>
                  <a:xfrm>
                    <a:off x="6568409" y="3705259"/>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172" name="Freeform 1802">
                    <a:extLst>
                      <a:ext uri="{FF2B5EF4-FFF2-40B4-BE49-F238E27FC236}">
                        <a16:creationId xmlns:a16="http://schemas.microsoft.com/office/drawing/2014/main" id="{0300FA05-61E1-3E96-0BC4-F044E894D7DA}"/>
                      </a:ext>
                    </a:extLst>
                  </p:cNvPr>
                  <p:cNvSpPr/>
                  <p:nvPr/>
                </p:nvSpPr>
                <p:spPr>
                  <a:xfrm>
                    <a:off x="6596986" y="3676809"/>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sp>
            <p:nvSpPr>
              <p:cNvPr id="1193" name="Freeform 1823">
                <a:extLst>
                  <a:ext uri="{FF2B5EF4-FFF2-40B4-BE49-F238E27FC236}">
                    <a16:creationId xmlns:a16="http://schemas.microsoft.com/office/drawing/2014/main" id="{4B32FDB1-7CCA-4B45-62DA-1785B4A2048B}"/>
                  </a:ext>
                </a:extLst>
              </p:cNvPr>
              <p:cNvSpPr/>
              <p:nvPr/>
            </p:nvSpPr>
            <p:spPr>
              <a:xfrm>
                <a:off x="1205061" y="2307644"/>
                <a:ext cx="136595" cy="12644"/>
              </a:xfrm>
              <a:custGeom>
                <a:avLst/>
                <a:gdLst>
                  <a:gd name="connsiteX0" fmla="*/ 0 w 136595"/>
                  <a:gd name="connsiteY0" fmla="*/ 0 h 12644"/>
                  <a:gd name="connsiteX1" fmla="*/ 136595 w 136595"/>
                  <a:gd name="connsiteY1" fmla="*/ 0 h 12644"/>
                </a:gdLst>
                <a:ahLst/>
                <a:cxnLst>
                  <a:cxn ang="0">
                    <a:pos x="connsiteX0" y="connsiteY0"/>
                  </a:cxn>
                  <a:cxn ang="0">
                    <a:pos x="connsiteX1" y="connsiteY1"/>
                  </a:cxn>
                </a:cxnLst>
                <a:rect l="l" t="t" r="r" b="b"/>
                <a:pathLst>
                  <a:path w="136595" h="12644">
                    <a:moveTo>
                      <a:pt x="0" y="0"/>
                    </a:moveTo>
                    <a:lnTo>
                      <a:pt x="136595" y="0"/>
                    </a:lnTo>
                  </a:path>
                </a:pathLst>
              </a:custGeom>
              <a:ln w="1903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nvGrpSpPr>
              <p:cNvPr id="1194" name="Graphic 4">
                <a:extLst>
                  <a:ext uri="{FF2B5EF4-FFF2-40B4-BE49-F238E27FC236}">
                    <a16:creationId xmlns:a16="http://schemas.microsoft.com/office/drawing/2014/main" id="{55634254-F0FD-3826-D418-2D3C917B8840}"/>
                  </a:ext>
                </a:extLst>
              </p:cNvPr>
              <p:cNvGrpSpPr/>
              <p:nvPr/>
            </p:nvGrpSpPr>
            <p:grpSpPr>
              <a:xfrm>
                <a:off x="1335674" y="1596472"/>
                <a:ext cx="2984811" cy="746132"/>
                <a:chOff x="3881555" y="3009361"/>
                <a:chExt cx="2984811" cy="746132"/>
              </a:xfrm>
            </p:grpSpPr>
            <p:grpSp>
              <p:nvGrpSpPr>
                <p:cNvPr id="1195" name="Graphic 4">
                  <a:extLst>
                    <a:ext uri="{FF2B5EF4-FFF2-40B4-BE49-F238E27FC236}">
                      <a16:creationId xmlns:a16="http://schemas.microsoft.com/office/drawing/2014/main" id="{677CD4B5-38E6-9F92-C3C5-A7A87EE3E41D}"/>
                    </a:ext>
                  </a:extLst>
                </p:cNvPr>
                <p:cNvGrpSpPr/>
                <p:nvPr/>
              </p:nvGrpSpPr>
              <p:grpSpPr>
                <a:xfrm>
                  <a:off x="3881555" y="3009361"/>
                  <a:ext cx="57152" cy="56898"/>
                  <a:chOff x="3881555" y="3009361"/>
                  <a:chExt cx="57152" cy="56898"/>
                </a:xfrm>
              </p:grpSpPr>
              <p:sp>
                <p:nvSpPr>
                  <p:cNvPr id="1250" name="Freeform 1880">
                    <a:extLst>
                      <a:ext uri="{FF2B5EF4-FFF2-40B4-BE49-F238E27FC236}">
                        <a16:creationId xmlns:a16="http://schemas.microsoft.com/office/drawing/2014/main" id="{E9D0C709-8E7A-8A67-F7D9-B8A7D5E2643B}"/>
                      </a:ext>
                    </a:extLst>
                  </p:cNvPr>
                  <p:cNvSpPr/>
                  <p:nvPr/>
                </p:nvSpPr>
                <p:spPr>
                  <a:xfrm>
                    <a:off x="3881555" y="3037811"/>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51" name="Freeform 1881">
                    <a:extLst>
                      <a:ext uri="{FF2B5EF4-FFF2-40B4-BE49-F238E27FC236}">
                        <a16:creationId xmlns:a16="http://schemas.microsoft.com/office/drawing/2014/main" id="{85285702-48FB-7DCA-967C-8B016B516910}"/>
                      </a:ext>
                    </a:extLst>
                  </p:cNvPr>
                  <p:cNvSpPr/>
                  <p:nvPr/>
                </p:nvSpPr>
                <p:spPr>
                  <a:xfrm>
                    <a:off x="3910131" y="3009361"/>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196" name="Graphic 4">
                  <a:extLst>
                    <a:ext uri="{FF2B5EF4-FFF2-40B4-BE49-F238E27FC236}">
                      <a16:creationId xmlns:a16="http://schemas.microsoft.com/office/drawing/2014/main" id="{32362BEA-6A4A-5F50-63B8-305394F9A1F2}"/>
                    </a:ext>
                  </a:extLst>
                </p:cNvPr>
                <p:cNvGrpSpPr/>
                <p:nvPr/>
              </p:nvGrpSpPr>
              <p:grpSpPr>
                <a:xfrm>
                  <a:off x="4173695" y="3137321"/>
                  <a:ext cx="57152" cy="56898"/>
                  <a:chOff x="4173695" y="3137321"/>
                  <a:chExt cx="57152" cy="56898"/>
                </a:xfrm>
              </p:grpSpPr>
              <p:sp>
                <p:nvSpPr>
                  <p:cNvPr id="1248" name="Freeform 1878">
                    <a:extLst>
                      <a:ext uri="{FF2B5EF4-FFF2-40B4-BE49-F238E27FC236}">
                        <a16:creationId xmlns:a16="http://schemas.microsoft.com/office/drawing/2014/main" id="{8BBD92C2-EEFA-C1B7-27BF-43D4F659327B}"/>
                      </a:ext>
                    </a:extLst>
                  </p:cNvPr>
                  <p:cNvSpPr/>
                  <p:nvPr/>
                </p:nvSpPr>
                <p:spPr>
                  <a:xfrm>
                    <a:off x="4173695" y="3165770"/>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49" name="Freeform 1879">
                    <a:extLst>
                      <a:ext uri="{FF2B5EF4-FFF2-40B4-BE49-F238E27FC236}">
                        <a16:creationId xmlns:a16="http://schemas.microsoft.com/office/drawing/2014/main" id="{A699DC56-4FEF-94E4-4701-92DE5FA15074}"/>
                      </a:ext>
                    </a:extLst>
                  </p:cNvPr>
                  <p:cNvSpPr/>
                  <p:nvPr/>
                </p:nvSpPr>
                <p:spPr>
                  <a:xfrm>
                    <a:off x="4202271" y="3137321"/>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197" name="Graphic 4">
                  <a:extLst>
                    <a:ext uri="{FF2B5EF4-FFF2-40B4-BE49-F238E27FC236}">
                      <a16:creationId xmlns:a16="http://schemas.microsoft.com/office/drawing/2014/main" id="{2B0CB26F-E293-9920-8EA5-3F6033759D03}"/>
                    </a:ext>
                  </a:extLst>
                </p:cNvPr>
                <p:cNvGrpSpPr/>
                <p:nvPr/>
              </p:nvGrpSpPr>
              <p:grpSpPr>
                <a:xfrm>
                  <a:off x="4833924" y="3399143"/>
                  <a:ext cx="57152" cy="56898"/>
                  <a:chOff x="4833924" y="3399143"/>
                  <a:chExt cx="57152" cy="56898"/>
                </a:xfrm>
              </p:grpSpPr>
              <p:sp>
                <p:nvSpPr>
                  <p:cNvPr id="1246" name="Freeform 1876">
                    <a:extLst>
                      <a:ext uri="{FF2B5EF4-FFF2-40B4-BE49-F238E27FC236}">
                        <a16:creationId xmlns:a16="http://schemas.microsoft.com/office/drawing/2014/main" id="{6707DC52-12C0-AE5D-A575-C3C62DE724AE}"/>
                      </a:ext>
                    </a:extLst>
                  </p:cNvPr>
                  <p:cNvSpPr/>
                  <p:nvPr/>
                </p:nvSpPr>
                <p:spPr>
                  <a:xfrm>
                    <a:off x="4833924" y="3427593"/>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47" name="Freeform 1877">
                    <a:extLst>
                      <a:ext uri="{FF2B5EF4-FFF2-40B4-BE49-F238E27FC236}">
                        <a16:creationId xmlns:a16="http://schemas.microsoft.com/office/drawing/2014/main" id="{F22B84F9-498D-E1C5-B030-94CBA2896498}"/>
                      </a:ext>
                    </a:extLst>
                  </p:cNvPr>
                  <p:cNvSpPr/>
                  <p:nvPr/>
                </p:nvSpPr>
                <p:spPr>
                  <a:xfrm>
                    <a:off x="4862500" y="3399143"/>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198" name="Graphic 4">
                  <a:extLst>
                    <a:ext uri="{FF2B5EF4-FFF2-40B4-BE49-F238E27FC236}">
                      <a16:creationId xmlns:a16="http://schemas.microsoft.com/office/drawing/2014/main" id="{A504FABA-F5A6-A7E2-EB2F-4754742469C4}"/>
                    </a:ext>
                  </a:extLst>
                </p:cNvPr>
                <p:cNvGrpSpPr/>
                <p:nvPr/>
              </p:nvGrpSpPr>
              <p:grpSpPr>
                <a:xfrm>
                  <a:off x="5297700" y="3465412"/>
                  <a:ext cx="57152" cy="56898"/>
                  <a:chOff x="5297700" y="3465412"/>
                  <a:chExt cx="57152" cy="56898"/>
                </a:xfrm>
              </p:grpSpPr>
              <p:sp>
                <p:nvSpPr>
                  <p:cNvPr id="1244" name="Freeform 1874">
                    <a:extLst>
                      <a:ext uri="{FF2B5EF4-FFF2-40B4-BE49-F238E27FC236}">
                        <a16:creationId xmlns:a16="http://schemas.microsoft.com/office/drawing/2014/main" id="{95FA1A7D-B951-BFF2-ED27-1AF4F2A056E6}"/>
                      </a:ext>
                    </a:extLst>
                  </p:cNvPr>
                  <p:cNvSpPr/>
                  <p:nvPr/>
                </p:nvSpPr>
                <p:spPr>
                  <a:xfrm>
                    <a:off x="5297700" y="3493861"/>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45" name="Freeform 1875">
                    <a:extLst>
                      <a:ext uri="{FF2B5EF4-FFF2-40B4-BE49-F238E27FC236}">
                        <a16:creationId xmlns:a16="http://schemas.microsoft.com/office/drawing/2014/main" id="{25DE35FB-112C-0F90-EF6F-31A5FB6838F7}"/>
                      </a:ext>
                    </a:extLst>
                  </p:cNvPr>
                  <p:cNvSpPr/>
                  <p:nvPr/>
                </p:nvSpPr>
                <p:spPr>
                  <a:xfrm>
                    <a:off x="5326276" y="3465412"/>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199" name="Graphic 4">
                  <a:extLst>
                    <a:ext uri="{FF2B5EF4-FFF2-40B4-BE49-F238E27FC236}">
                      <a16:creationId xmlns:a16="http://schemas.microsoft.com/office/drawing/2014/main" id="{B0FC9E6A-2E4A-6515-E5D1-CAD69183F5E3}"/>
                    </a:ext>
                  </a:extLst>
                </p:cNvPr>
                <p:cNvGrpSpPr/>
                <p:nvPr/>
              </p:nvGrpSpPr>
              <p:grpSpPr>
                <a:xfrm>
                  <a:off x="5393081" y="3465412"/>
                  <a:ext cx="57152" cy="56898"/>
                  <a:chOff x="5393081" y="3465412"/>
                  <a:chExt cx="57152" cy="56898"/>
                </a:xfrm>
              </p:grpSpPr>
              <p:sp>
                <p:nvSpPr>
                  <p:cNvPr id="1242" name="Freeform 1872">
                    <a:extLst>
                      <a:ext uri="{FF2B5EF4-FFF2-40B4-BE49-F238E27FC236}">
                        <a16:creationId xmlns:a16="http://schemas.microsoft.com/office/drawing/2014/main" id="{DCEAEBB1-4AB6-C9FB-0E00-82CC1CEA1C00}"/>
                      </a:ext>
                    </a:extLst>
                  </p:cNvPr>
                  <p:cNvSpPr/>
                  <p:nvPr/>
                </p:nvSpPr>
                <p:spPr>
                  <a:xfrm>
                    <a:off x="5393081" y="3493861"/>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43" name="Freeform 1873">
                    <a:extLst>
                      <a:ext uri="{FF2B5EF4-FFF2-40B4-BE49-F238E27FC236}">
                        <a16:creationId xmlns:a16="http://schemas.microsoft.com/office/drawing/2014/main" id="{E848E0DB-951F-DF27-8781-364CDA613949}"/>
                      </a:ext>
                    </a:extLst>
                  </p:cNvPr>
                  <p:cNvSpPr/>
                  <p:nvPr/>
                </p:nvSpPr>
                <p:spPr>
                  <a:xfrm>
                    <a:off x="5421658" y="3465412"/>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200" name="Graphic 4">
                  <a:extLst>
                    <a:ext uri="{FF2B5EF4-FFF2-40B4-BE49-F238E27FC236}">
                      <a16:creationId xmlns:a16="http://schemas.microsoft.com/office/drawing/2014/main" id="{602F19A1-5895-E8E5-C366-8DA47E3339E4}"/>
                    </a:ext>
                  </a:extLst>
                </p:cNvPr>
                <p:cNvGrpSpPr/>
                <p:nvPr/>
              </p:nvGrpSpPr>
              <p:grpSpPr>
                <a:xfrm>
                  <a:off x="5494623" y="3465412"/>
                  <a:ext cx="57152" cy="56898"/>
                  <a:chOff x="5494623" y="3465412"/>
                  <a:chExt cx="57152" cy="56898"/>
                </a:xfrm>
              </p:grpSpPr>
              <p:sp>
                <p:nvSpPr>
                  <p:cNvPr id="1240" name="Freeform 1870">
                    <a:extLst>
                      <a:ext uri="{FF2B5EF4-FFF2-40B4-BE49-F238E27FC236}">
                        <a16:creationId xmlns:a16="http://schemas.microsoft.com/office/drawing/2014/main" id="{65A0319C-56AC-3A26-716D-57CE2C189DC1}"/>
                      </a:ext>
                    </a:extLst>
                  </p:cNvPr>
                  <p:cNvSpPr/>
                  <p:nvPr/>
                </p:nvSpPr>
                <p:spPr>
                  <a:xfrm>
                    <a:off x="5494623" y="3493861"/>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41" name="Freeform 1871">
                    <a:extLst>
                      <a:ext uri="{FF2B5EF4-FFF2-40B4-BE49-F238E27FC236}">
                        <a16:creationId xmlns:a16="http://schemas.microsoft.com/office/drawing/2014/main" id="{2D987633-52C0-363C-34B0-EB5FB31494B9}"/>
                      </a:ext>
                    </a:extLst>
                  </p:cNvPr>
                  <p:cNvSpPr/>
                  <p:nvPr/>
                </p:nvSpPr>
                <p:spPr>
                  <a:xfrm>
                    <a:off x="5523199" y="3465412"/>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201" name="Graphic 4">
                  <a:extLst>
                    <a:ext uri="{FF2B5EF4-FFF2-40B4-BE49-F238E27FC236}">
                      <a16:creationId xmlns:a16="http://schemas.microsoft.com/office/drawing/2014/main" id="{4160F928-1060-BEA4-0F40-93B38D30F063}"/>
                    </a:ext>
                  </a:extLst>
                </p:cNvPr>
                <p:cNvGrpSpPr/>
                <p:nvPr/>
              </p:nvGrpSpPr>
              <p:grpSpPr>
                <a:xfrm>
                  <a:off x="5628005" y="3496946"/>
                  <a:ext cx="57152" cy="56898"/>
                  <a:chOff x="5628005" y="3496946"/>
                  <a:chExt cx="57152" cy="56898"/>
                </a:xfrm>
              </p:grpSpPr>
              <p:sp>
                <p:nvSpPr>
                  <p:cNvPr id="1238" name="Freeform 1868">
                    <a:extLst>
                      <a:ext uri="{FF2B5EF4-FFF2-40B4-BE49-F238E27FC236}">
                        <a16:creationId xmlns:a16="http://schemas.microsoft.com/office/drawing/2014/main" id="{92EDE108-BA7C-C0AB-38BB-CC31CDE25F17}"/>
                      </a:ext>
                    </a:extLst>
                  </p:cNvPr>
                  <p:cNvSpPr/>
                  <p:nvPr/>
                </p:nvSpPr>
                <p:spPr>
                  <a:xfrm>
                    <a:off x="5628005" y="3525395"/>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39" name="Freeform 1869">
                    <a:extLst>
                      <a:ext uri="{FF2B5EF4-FFF2-40B4-BE49-F238E27FC236}">
                        <a16:creationId xmlns:a16="http://schemas.microsoft.com/office/drawing/2014/main" id="{ABEDE7CC-D8C4-113A-ED89-FA4B7AD9F420}"/>
                      </a:ext>
                    </a:extLst>
                  </p:cNvPr>
                  <p:cNvSpPr/>
                  <p:nvPr/>
                </p:nvSpPr>
                <p:spPr>
                  <a:xfrm>
                    <a:off x="5656581" y="3496946"/>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202" name="Graphic 4">
                  <a:extLst>
                    <a:ext uri="{FF2B5EF4-FFF2-40B4-BE49-F238E27FC236}">
                      <a16:creationId xmlns:a16="http://schemas.microsoft.com/office/drawing/2014/main" id="{99E181A1-3A2F-E79D-8979-2967EA79D3A9}"/>
                    </a:ext>
                  </a:extLst>
                </p:cNvPr>
                <p:cNvGrpSpPr/>
                <p:nvPr/>
              </p:nvGrpSpPr>
              <p:grpSpPr>
                <a:xfrm>
                  <a:off x="5653533" y="3496946"/>
                  <a:ext cx="57152" cy="56898"/>
                  <a:chOff x="5653533" y="3496946"/>
                  <a:chExt cx="57152" cy="56898"/>
                </a:xfrm>
              </p:grpSpPr>
              <p:sp>
                <p:nvSpPr>
                  <p:cNvPr id="1236" name="Freeform 1866">
                    <a:extLst>
                      <a:ext uri="{FF2B5EF4-FFF2-40B4-BE49-F238E27FC236}">
                        <a16:creationId xmlns:a16="http://schemas.microsoft.com/office/drawing/2014/main" id="{365D1452-11D4-423A-BD81-1DEF66F5FF0F}"/>
                      </a:ext>
                    </a:extLst>
                  </p:cNvPr>
                  <p:cNvSpPr/>
                  <p:nvPr/>
                </p:nvSpPr>
                <p:spPr>
                  <a:xfrm>
                    <a:off x="5653533" y="3525395"/>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37" name="Freeform 1867">
                    <a:extLst>
                      <a:ext uri="{FF2B5EF4-FFF2-40B4-BE49-F238E27FC236}">
                        <a16:creationId xmlns:a16="http://schemas.microsoft.com/office/drawing/2014/main" id="{D8010E7B-D3B3-23C1-13A7-ABF0EFED9D74}"/>
                      </a:ext>
                    </a:extLst>
                  </p:cNvPr>
                  <p:cNvSpPr/>
                  <p:nvPr/>
                </p:nvSpPr>
                <p:spPr>
                  <a:xfrm>
                    <a:off x="5682109" y="3496946"/>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203" name="Graphic 4">
                  <a:extLst>
                    <a:ext uri="{FF2B5EF4-FFF2-40B4-BE49-F238E27FC236}">
                      <a16:creationId xmlns:a16="http://schemas.microsoft.com/office/drawing/2014/main" id="{00363E49-4BB9-EAE2-4702-6C936023623B}"/>
                    </a:ext>
                  </a:extLst>
                </p:cNvPr>
                <p:cNvGrpSpPr/>
                <p:nvPr/>
              </p:nvGrpSpPr>
              <p:grpSpPr>
                <a:xfrm>
                  <a:off x="5710724" y="3496946"/>
                  <a:ext cx="57152" cy="56898"/>
                  <a:chOff x="5710724" y="3496946"/>
                  <a:chExt cx="57152" cy="56898"/>
                </a:xfrm>
              </p:grpSpPr>
              <p:sp>
                <p:nvSpPr>
                  <p:cNvPr id="1234" name="Freeform 1864">
                    <a:extLst>
                      <a:ext uri="{FF2B5EF4-FFF2-40B4-BE49-F238E27FC236}">
                        <a16:creationId xmlns:a16="http://schemas.microsoft.com/office/drawing/2014/main" id="{25C09CE7-1BE8-A9C6-9DB0-8D6967693995}"/>
                      </a:ext>
                    </a:extLst>
                  </p:cNvPr>
                  <p:cNvSpPr/>
                  <p:nvPr/>
                </p:nvSpPr>
                <p:spPr>
                  <a:xfrm>
                    <a:off x="5710724" y="3525395"/>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35" name="Freeform 1865">
                    <a:extLst>
                      <a:ext uri="{FF2B5EF4-FFF2-40B4-BE49-F238E27FC236}">
                        <a16:creationId xmlns:a16="http://schemas.microsoft.com/office/drawing/2014/main" id="{2F9E4111-0120-9EB5-829F-6053B42E1D47}"/>
                      </a:ext>
                    </a:extLst>
                  </p:cNvPr>
                  <p:cNvSpPr/>
                  <p:nvPr/>
                </p:nvSpPr>
                <p:spPr>
                  <a:xfrm>
                    <a:off x="5739300" y="3496946"/>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204" name="Graphic 4">
                  <a:extLst>
                    <a:ext uri="{FF2B5EF4-FFF2-40B4-BE49-F238E27FC236}">
                      <a16:creationId xmlns:a16="http://schemas.microsoft.com/office/drawing/2014/main" id="{0DEC1045-0E60-6742-EA38-A3EF2A802AF9}"/>
                    </a:ext>
                  </a:extLst>
                </p:cNvPr>
                <p:cNvGrpSpPr/>
                <p:nvPr/>
              </p:nvGrpSpPr>
              <p:grpSpPr>
                <a:xfrm>
                  <a:off x="5723208" y="3496946"/>
                  <a:ext cx="57152" cy="56898"/>
                  <a:chOff x="5723208" y="3496946"/>
                  <a:chExt cx="57152" cy="56898"/>
                </a:xfrm>
              </p:grpSpPr>
              <p:sp>
                <p:nvSpPr>
                  <p:cNvPr id="1232" name="Freeform 1862">
                    <a:extLst>
                      <a:ext uri="{FF2B5EF4-FFF2-40B4-BE49-F238E27FC236}">
                        <a16:creationId xmlns:a16="http://schemas.microsoft.com/office/drawing/2014/main" id="{1C36368B-D40A-E32A-6DBE-09B51ADDCFDF}"/>
                      </a:ext>
                    </a:extLst>
                  </p:cNvPr>
                  <p:cNvSpPr/>
                  <p:nvPr/>
                </p:nvSpPr>
                <p:spPr>
                  <a:xfrm>
                    <a:off x="5723208" y="3525395"/>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33" name="Freeform 1863">
                    <a:extLst>
                      <a:ext uri="{FF2B5EF4-FFF2-40B4-BE49-F238E27FC236}">
                        <a16:creationId xmlns:a16="http://schemas.microsoft.com/office/drawing/2014/main" id="{2E35BE3F-0CAF-2895-A8F3-B3F7DECBF637}"/>
                      </a:ext>
                    </a:extLst>
                  </p:cNvPr>
                  <p:cNvSpPr/>
                  <p:nvPr/>
                </p:nvSpPr>
                <p:spPr>
                  <a:xfrm>
                    <a:off x="5751785" y="3496946"/>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205" name="Graphic 4">
                  <a:extLst>
                    <a:ext uri="{FF2B5EF4-FFF2-40B4-BE49-F238E27FC236}">
                      <a16:creationId xmlns:a16="http://schemas.microsoft.com/office/drawing/2014/main" id="{D64D0DA5-374B-68E2-0634-FF5312FBFB2D}"/>
                    </a:ext>
                  </a:extLst>
                </p:cNvPr>
                <p:cNvGrpSpPr/>
                <p:nvPr/>
              </p:nvGrpSpPr>
              <p:grpSpPr>
                <a:xfrm>
                  <a:off x="5729546" y="3496946"/>
                  <a:ext cx="57152" cy="56898"/>
                  <a:chOff x="5729546" y="3496946"/>
                  <a:chExt cx="57152" cy="56898"/>
                </a:xfrm>
              </p:grpSpPr>
              <p:sp>
                <p:nvSpPr>
                  <p:cNvPr id="1230" name="Freeform 1860">
                    <a:extLst>
                      <a:ext uri="{FF2B5EF4-FFF2-40B4-BE49-F238E27FC236}">
                        <a16:creationId xmlns:a16="http://schemas.microsoft.com/office/drawing/2014/main" id="{68A8A6A5-B6A0-E848-74C5-AF53629AB083}"/>
                      </a:ext>
                    </a:extLst>
                  </p:cNvPr>
                  <p:cNvSpPr/>
                  <p:nvPr/>
                </p:nvSpPr>
                <p:spPr>
                  <a:xfrm>
                    <a:off x="5729546" y="3525395"/>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31" name="Freeform 1861">
                    <a:extLst>
                      <a:ext uri="{FF2B5EF4-FFF2-40B4-BE49-F238E27FC236}">
                        <a16:creationId xmlns:a16="http://schemas.microsoft.com/office/drawing/2014/main" id="{D05A440F-C2BD-F9A5-AD0C-D857A554B925}"/>
                      </a:ext>
                    </a:extLst>
                  </p:cNvPr>
                  <p:cNvSpPr/>
                  <p:nvPr/>
                </p:nvSpPr>
                <p:spPr>
                  <a:xfrm>
                    <a:off x="5758122" y="3496946"/>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206" name="Graphic 4">
                  <a:extLst>
                    <a:ext uri="{FF2B5EF4-FFF2-40B4-BE49-F238E27FC236}">
                      <a16:creationId xmlns:a16="http://schemas.microsoft.com/office/drawing/2014/main" id="{8AF54035-994D-C405-BAC5-D547650641B4}"/>
                    </a:ext>
                  </a:extLst>
                </p:cNvPr>
                <p:cNvGrpSpPr/>
                <p:nvPr/>
              </p:nvGrpSpPr>
              <p:grpSpPr>
                <a:xfrm>
                  <a:off x="6028011" y="3496946"/>
                  <a:ext cx="57152" cy="56898"/>
                  <a:chOff x="6028011" y="3496946"/>
                  <a:chExt cx="57152" cy="56898"/>
                </a:xfrm>
              </p:grpSpPr>
              <p:sp>
                <p:nvSpPr>
                  <p:cNvPr id="1228" name="Freeform 1858">
                    <a:extLst>
                      <a:ext uri="{FF2B5EF4-FFF2-40B4-BE49-F238E27FC236}">
                        <a16:creationId xmlns:a16="http://schemas.microsoft.com/office/drawing/2014/main" id="{B95B3940-8223-6C5E-C654-733DB86914FB}"/>
                      </a:ext>
                    </a:extLst>
                  </p:cNvPr>
                  <p:cNvSpPr/>
                  <p:nvPr/>
                </p:nvSpPr>
                <p:spPr>
                  <a:xfrm>
                    <a:off x="6028011" y="3525395"/>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29" name="Freeform 1859">
                    <a:extLst>
                      <a:ext uri="{FF2B5EF4-FFF2-40B4-BE49-F238E27FC236}">
                        <a16:creationId xmlns:a16="http://schemas.microsoft.com/office/drawing/2014/main" id="{43BE903D-5B38-8E97-E091-499368A65B7E}"/>
                      </a:ext>
                    </a:extLst>
                  </p:cNvPr>
                  <p:cNvSpPr/>
                  <p:nvPr/>
                </p:nvSpPr>
                <p:spPr>
                  <a:xfrm>
                    <a:off x="6056587" y="3496946"/>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207" name="Graphic 4">
                  <a:extLst>
                    <a:ext uri="{FF2B5EF4-FFF2-40B4-BE49-F238E27FC236}">
                      <a16:creationId xmlns:a16="http://schemas.microsoft.com/office/drawing/2014/main" id="{B6F45E5B-DD63-8A77-4831-411B26562A74}"/>
                    </a:ext>
                  </a:extLst>
                </p:cNvPr>
                <p:cNvGrpSpPr/>
                <p:nvPr/>
              </p:nvGrpSpPr>
              <p:grpSpPr>
                <a:xfrm>
                  <a:off x="6085240" y="3496946"/>
                  <a:ext cx="57152" cy="56898"/>
                  <a:chOff x="6085240" y="3496946"/>
                  <a:chExt cx="57152" cy="56898"/>
                </a:xfrm>
              </p:grpSpPr>
              <p:sp>
                <p:nvSpPr>
                  <p:cNvPr id="1226" name="Freeform 1856">
                    <a:extLst>
                      <a:ext uri="{FF2B5EF4-FFF2-40B4-BE49-F238E27FC236}">
                        <a16:creationId xmlns:a16="http://schemas.microsoft.com/office/drawing/2014/main" id="{AB6A0854-F0BF-61D4-101B-C42C838236B0}"/>
                      </a:ext>
                    </a:extLst>
                  </p:cNvPr>
                  <p:cNvSpPr/>
                  <p:nvPr/>
                </p:nvSpPr>
                <p:spPr>
                  <a:xfrm>
                    <a:off x="6085240" y="3525395"/>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27" name="Freeform 1857">
                    <a:extLst>
                      <a:ext uri="{FF2B5EF4-FFF2-40B4-BE49-F238E27FC236}">
                        <a16:creationId xmlns:a16="http://schemas.microsoft.com/office/drawing/2014/main" id="{173FD638-F296-2836-CC22-3A1BBFA9E15E}"/>
                      </a:ext>
                    </a:extLst>
                  </p:cNvPr>
                  <p:cNvSpPr/>
                  <p:nvPr/>
                </p:nvSpPr>
                <p:spPr>
                  <a:xfrm>
                    <a:off x="6113816" y="3496946"/>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208" name="Graphic 4">
                  <a:extLst>
                    <a:ext uri="{FF2B5EF4-FFF2-40B4-BE49-F238E27FC236}">
                      <a16:creationId xmlns:a16="http://schemas.microsoft.com/office/drawing/2014/main" id="{6C50F94C-C785-DFA0-26D1-B458D8E96A3F}"/>
                    </a:ext>
                  </a:extLst>
                </p:cNvPr>
                <p:cNvGrpSpPr/>
                <p:nvPr/>
              </p:nvGrpSpPr>
              <p:grpSpPr>
                <a:xfrm>
                  <a:off x="6161520" y="3551000"/>
                  <a:ext cx="57152" cy="56898"/>
                  <a:chOff x="6161520" y="3551000"/>
                  <a:chExt cx="57152" cy="56898"/>
                </a:xfrm>
              </p:grpSpPr>
              <p:sp>
                <p:nvSpPr>
                  <p:cNvPr id="1224" name="Freeform 1854">
                    <a:extLst>
                      <a:ext uri="{FF2B5EF4-FFF2-40B4-BE49-F238E27FC236}">
                        <a16:creationId xmlns:a16="http://schemas.microsoft.com/office/drawing/2014/main" id="{7793D2D9-5669-8E34-803F-7884FD577A79}"/>
                      </a:ext>
                    </a:extLst>
                  </p:cNvPr>
                  <p:cNvSpPr/>
                  <p:nvPr/>
                </p:nvSpPr>
                <p:spPr>
                  <a:xfrm>
                    <a:off x="6161520" y="3579449"/>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25" name="Freeform 1855">
                    <a:extLst>
                      <a:ext uri="{FF2B5EF4-FFF2-40B4-BE49-F238E27FC236}">
                        <a16:creationId xmlns:a16="http://schemas.microsoft.com/office/drawing/2014/main" id="{2636519A-072B-C38F-49AA-67DFD02EF651}"/>
                      </a:ext>
                    </a:extLst>
                  </p:cNvPr>
                  <p:cNvSpPr/>
                  <p:nvPr/>
                </p:nvSpPr>
                <p:spPr>
                  <a:xfrm>
                    <a:off x="6190096" y="3551000"/>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209" name="Graphic 4">
                  <a:extLst>
                    <a:ext uri="{FF2B5EF4-FFF2-40B4-BE49-F238E27FC236}">
                      <a16:creationId xmlns:a16="http://schemas.microsoft.com/office/drawing/2014/main" id="{A330A54C-8E0B-F66E-4548-52CE9AD1ED34}"/>
                    </a:ext>
                  </a:extLst>
                </p:cNvPr>
                <p:cNvGrpSpPr/>
                <p:nvPr/>
              </p:nvGrpSpPr>
              <p:grpSpPr>
                <a:xfrm>
                  <a:off x="6186857" y="3551000"/>
                  <a:ext cx="57152" cy="56898"/>
                  <a:chOff x="6186857" y="3551000"/>
                  <a:chExt cx="57152" cy="56898"/>
                </a:xfrm>
              </p:grpSpPr>
              <p:sp>
                <p:nvSpPr>
                  <p:cNvPr id="1222" name="Freeform 1852">
                    <a:extLst>
                      <a:ext uri="{FF2B5EF4-FFF2-40B4-BE49-F238E27FC236}">
                        <a16:creationId xmlns:a16="http://schemas.microsoft.com/office/drawing/2014/main" id="{F66EDAC8-0514-6BC7-8563-4BC847F834DE}"/>
                      </a:ext>
                    </a:extLst>
                  </p:cNvPr>
                  <p:cNvSpPr/>
                  <p:nvPr/>
                </p:nvSpPr>
                <p:spPr>
                  <a:xfrm>
                    <a:off x="6186857" y="3579449"/>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23" name="Freeform 1853">
                    <a:extLst>
                      <a:ext uri="{FF2B5EF4-FFF2-40B4-BE49-F238E27FC236}">
                        <a16:creationId xmlns:a16="http://schemas.microsoft.com/office/drawing/2014/main" id="{A50094F2-5C1C-6028-D568-21BC7A290AF2}"/>
                      </a:ext>
                    </a:extLst>
                  </p:cNvPr>
                  <p:cNvSpPr/>
                  <p:nvPr/>
                </p:nvSpPr>
                <p:spPr>
                  <a:xfrm>
                    <a:off x="6215434" y="3551000"/>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210" name="Graphic 4">
                  <a:extLst>
                    <a:ext uri="{FF2B5EF4-FFF2-40B4-BE49-F238E27FC236}">
                      <a16:creationId xmlns:a16="http://schemas.microsoft.com/office/drawing/2014/main" id="{00493AAE-9A2B-3381-5809-4B302C157FDF}"/>
                    </a:ext>
                  </a:extLst>
                </p:cNvPr>
                <p:cNvGrpSpPr/>
                <p:nvPr/>
              </p:nvGrpSpPr>
              <p:grpSpPr>
                <a:xfrm>
                  <a:off x="6256660" y="3551000"/>
                  <a:ext cx="57152" cy="56898"/>
                  <a:chOff x="6256660" y="3551000"/>
                  <a:chExt cx="57152" cy="56898"/>
                </a:xfrm>
              </p:grpSpPr>
              <p:sp>
                <p:nvSpPr>
                  <p:cNvPr id="1220" name="Freeform 1850">
                    <a:extLst>
                      <a:ext uri="{FF2B5EF4-FFF2-40B4-BE49-F238E27FC236}">
                        <a16:creationId xmlns:a16="http://schemas.microsoft.com/office/drawing/2014/main" id="{9CF830CF-D107-FCB9-D7AB-E223039F5D18}"/>
                      </a:ext>
                    </a:extLst>
                  </p:cNvPr>
                  <p:cNvSpPr/>
                  <p:nvPr/>
                </p:nvSpPr>
                <p:spPr>
                  <a:xfrm>
                    <a:off x="6256660" y="3579449"/>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21" name="Freeform 1851">
                    <a:extLst>
                      <a:ext uri="{FF2B5EF4-FFF2-40B4-BE49-F238E27FC236}">
                        <a16:creationId xmlns:a16="http://schemas.microsoft.com/office/drawing/2014/main" id="{FB4FD6E7-D2EB-C4A8-67BB-79ADE60FDB57}"/>
                      </a:ext>
                    </a:extLst>
                  </p:cNvPr>
                  <p:cNvSpPr/>
                  <p:nvPr/>
                </p:nvSpPr>
                <p:spPr>
                  <a:xfrm>
                    <a:off x="6285236" y="3551000"/>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211" name="Graphic 4">
                  <a:extLst>
                    <a:ext uri="{FF2B5EF4-FFF2-40B4-BE49-F238E27FC236}">
                      <a16:creationId xmlns:a16="http://schemas.microsoft.com/office/drawing/2014/main" id="{AAD34784-8E93-9CD2-A51E-E6F80C5BB176}"/>
                    </a:ext>
                  </a:extLst>
                </p:cNvPr>
                <p:cNvGrpSpPr/>
                <p:nvPr/>
              </p:nvGrpSpPr>
              <p:grpSpPr>
                <a:xfrm>
                  <a:off x="6332927" y="3551000"/>
                  <a:ext cx="57152" cy="56898"/>
                  <a:chOff x="6332927" y="3551000"/>
                  <a:chExt cx="57152" cy="56898"/>
                </a:xfrm>
              </p:grpSpPr>
              <p:sp>
                <p:nvSpPr>
                  <p:cNvPr id="1218" name="Freeform 1848">
                    <a:extLst>
                      <a:ext uri="{FF2B5EF4-FFF2-40B4-BE49-F238E27FC236}">
                        <a16:creationId xmlns:a16="http://schemas.microsoft.com/office/drawing/2014/main" id="{774DC144-6E17-0C71-554F-BD1D04123C99}"/>
                      </a:ext>
                    </a:extLst>
                  </p:cNvPr>
                  <p:cNvSpPr/>
                  <p:nvPr/>
                </p:nvSpPr>
                <p:spPr>
                  <a:xfrm>
                    <a:off x="6332927" y="3579449"/>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19" name="Freeform 1849">
                    <a:extLst>
                      <a:ext uri="{FF2B5EF4-FFF2-40B4-BE49-F238E27FC236}">
                        <a16:creationId xmlns:a16="http://schemas.microsoft.com/office/drawing/2014/main" id="{D387B33F-4F4D-2665-343B-7E5F731486AF}"/>
                      </a:ext>
                    </a:extLst>
                  </p:cNvPr>
                  <p:cNvSpPr/>
                  <p:nvPr/>
                </p:nvSpPr>
                <p:spPr>
                  <a:xfrm>
                    <a:off x="6361504" y="3551000"/>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212" name="Graphic 4">
                  <a:extLst>
                    <a:ext uri="{FF2B5EF4-FFF2-40B4-BE49-F238E27FC236}">
                      <a16:creationId xmlns:a16="http://schemas.microsoft.com/office/drawing/2014/main" id="{8CFAF7B4-1CC6-CACC-4142-68CA8AC77E9A}"/>
                    </a:ext>
                  </a:extLst>
                </p:cNvPr>
                <p:cNvGrpSpPr/>
                <p:nvPr/>
              </p:nvGrpSpPr>
              <p:grpSpPr>
                <a:xfrm>
                  <a:off x="6567939" y="3698595"/>
                  <a:ext cx="57152" cy="56898"/>
                  <a:chOff x="6567939" y="3698595"/>
                  <a:chExt cx="57152" cy="56898"/>
                </a:xfrm>
              </p:grpSpPr>
              <p:sp>
                <p:nvSpPr>
                  <p:cNvPr id="1216" name="Freeform 1846">
                    <a:extLst>
                      <a:ext uri="{FF2B5EF4-FFF2-40B4-BE49-F238E27FC236}">
                        <a16:creationId xmlns:a16="http://schemas.microsoft.com/office/drawing/2014/main" id="{E7522C14-175E-C2C9-4F32-86515FCF7E7B}"/>
                      </a:ext>
                    </a:extLst>
                  </p:cNvPr>
                  <p:cNvSpPr/>
                  <p:nvPr/>
                </p:nvSpPr>
                <p:spPr>
                  <a:xfrm>
                    <a:off x="6567939" y="3727045"/>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17" name="Freeform 1847">
                    <a:extLst>
                      <a:ext uri="{FF2B5EF4-FFF2-40B4-BE49-F238E27FC236}">
                        <a16:creationId xmlns:a16="http://schemas.microsoft.com/office/drawing/2014/main" id="{D01B41ED-81AA-9C78-3F71-4809966B8C68}"/>
                      </a:ext>
                    </a:extLst>
                  </p:cNvPr>
                  <p:cNvSpPr/>
                  <p:nvPr/>
                </p:nvSpPr>
                <p:spPr>
                  <a:xfrm>
                    <a:off x="6596516" y="3698595"/>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213" name="Graphic 4">
                  <a:extLst>
                    <a:ext uri="{FF2B5EF4-FFF2-40B4-BE49-F238E27FC236}">
                      <a16:creationId xmlns:a16="http://schemas.microsoft.com/office/drawing/2014/main" id="{FB1C9DF8-D6EA-8D97-6584-3A14DF3094BA}"/>
                    </a:ext>
                  </a:extLst>
                </p:cNvPr>
                <p:cNvGrpSpPr/>
                <p:nvPr/>
              </p:nvGrpSpPr>
              <p:grpSpPr>
                <a:xfrm>
                  <a:off x="6809213" y="3698595"/>
                  <a:ext cx="57152" cy="56898"/>
                  <a:chOff x="6809213" y="3698595"/>
                  <a:chExt cx="57152" cy="56898"/>
                </a:xfrm>
              </p:grpSpPr>
              <p:sp>
                <p:nvSpPr>
                  <p:cNvPr id="1214" name="Freeform 1844">
                    <a:extLst>
                      <a:ext uri="{FF2B5EF4-FFF2-40B4-BE49-F238E27FC236}">
                        <a16:creationId xmlns:a16="http://schemas.microsoft.com/office/drawing/2014/main" id="{4BE290B4-DACC-AFDE-ECA0-0D65F2A4711F}"/>
                      </a:ext>
                    </a:extLst>
                  </p:cNvPr>
                  <p:cNvSpPr/>
                  <p:nvPr/>
                </p:nvSpPr>
                <p:spPr>
                  <a:xfrm>
                    <a:off x="6809213" y="3727045"/>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15" name="Freeform 1845">
                    <a:extLst>
                      <a:ext uri="{FF2B5EF4-FFF2-40B4-BE49-F238E27FC236}">
                        <a16:creationId xmlns:a16="http://schemas.microsoft.com/office/drawing/2014/main" id="{F5BCCDB8-03E0-939F-301C-01D27199B64A}"/>
                      </a:ext>
                    </a:extLst>
                  </p:cNvPr>
                  <p:cNvSpPr/>
                  <p:nvPr/>
                </p:nvSpPr>
                <p:spPr>
                  <a:xfrm>
                    <a:off x="6837790" y="3698595"/>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sp>
            <p:nvSpPr>
              <p:cNvPr id="1252" name="Freeform 1882">
                <a:extLst>
                  <a:ext uri="{FF2B5EF4-FFF2-40B4-BE49-F238E27FC236}">
                    <a16:creationId xmlns:a16="http://schemas.microsoft.com/office/drawing/2014/main" id="{7B9A2A25-557D-66E3-1F27-5BBB16BBC910}"/>
                  </a:ext>
                </a:extLst>
              </p:cNvPr>
              <p:cNvSpPr/>
              <p:nvPr/>
            </p:nvSpPr>
            <p:spPr>
              <a:xfrm>
                <a:off x="1205061" y="2425576"/>
                <a:ext cx="136595" cy="12644"/>
              </a:xfrm>
              <a:custGeom>
                <a:avLst/>
                <a:gdLst>
                  <a:gd name="connsiteX0" fmla="*/ 0 w 136595"/>
                  <a:gd name="connsiteY0" fmla="*/ 0 h 12644"/>
                  <a:gd name="connsiteX1" fmla="*/ 136595 w 136595"/>
                  <a:gd name="connsiteY1" fmla="*/ 0 h 12644"/>
                </a:gdLst>
                <a:ahLst/>
                <a:cxnLst>
                  <a:cxn ang="0">
                    <a:pos x="connsiteX0" y="connsiteY0"/>
                  </a:cxn>
                  <a:cxn ang="0">
                    <a:pos x="connsiteX1" y="connsiteY1"/>
                  </a:cxn>
                </a:cxnLst>
                <a:rect l="l" t="t" r="r" b="b"/>
                <a:pathLst>
                  <a:path w="136595" h="12644">
                    <a:moveTo>
                      <a:pt x="0" y="0"/>
                    </a:moveTo>
                    <a:lnTo>
                      <a:pt x="136595" y="0"/>
                    </a:lnTo>
                  </a:path>
                </a:pathLst>
              </a:custGeom>
              <a:ln w="1903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53" name="TextBox 1252">
                <a:extLst>
                  <a:ext uri="{FF2B5EF4-FFF2-40B4-BE49-F238E27FC236}">
                    <a16:creationId xmlns:a16="http://schemas.microsoft.com/office/drawing/2014/main" id="{3947FF47-D111-0841-F764-8772DAB1516E}"/>
                  </a:ext>
                </a:extLst>
              </p:cNvPr>
              <p:cNvSpPr txBox="1"/>
              <p:nvPr/>
            </p:nvSpPr>
            <p:spPr>
              <a:xfrm>
                <a:off x="2451411" y="1330859"/>
                <a:ext cx="1494097" cy="561481"/>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6-month PFS rate (95% CI):</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544F4F"/>
                    </a:solidFill>
                    <a:effectLst/>
                    <a:uLnTx/>
                    <a:uFillTx/>
                    <a:latin typeface="Arial" panose="020B0604020202020204" pitchFamily="34" charset="0"/>
                    <a:ea typeface="MS PGothic" panose="020B0600070205080204" pitchFamily="34" charset="-128"/>
                    <a:cs typeface="Arial"/>
                    <a:sym typeface="Arial"/>
                    <a:rtl val="0"/>
                  </a:rPr>
                  <a:t>49.7% (30.2, 69.1)</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39.4% (26.6, 52.2)</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31.0% (14.7, 47.4)</a:t>
                </a:r>
              </a:p>
            </p:txBody>
          </p:sp>
          <p:sp>
            <p:nvSpPr>
              <p:cNvPr id="1539" name="TextBox 1538">
                <a:extLst>
                  <a:ext uri="{FF2B5EF4-FFF2-40B4-BE49-F238E27FC236}">
                    <a16:creationId xmlns:a16="http://schemas.microsoft.com/office/drawing/2014/main" id="{212ECB07-060B-89E2-1FD0-75AC9449FFFC}"/>
                  </a:ext>
                </a:extLst>
              </p:cNvPr>
              <p:cNvSpPr txBox="1"/>
              <p:nvPr/>
            </p:nvSpPr>
            <p:spPr>
              <a:xfrm>
                <a:off x="391629" y="2942561"/>
                <a:ext cx="600641" cy="176978"/>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33" b="1"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BTKi naïve</a:t>
                </a:r>
              </a:p>
            </p:txBody>
          </p:sp>
          <p:grpSp>
            <p:nvGrpSpPr>
              <p:cNvPr id="1540" name="Graphic 4">
                <a:extLst>
                  <a:ext uri="{FF2B5EF4-FFF2-40B4-BE49-F238E27FC236}">
                    <a16:creationId xmlns:a16="http://schemas.microsoft.com/office/drawing/2014/main" id="{65ABD12A-E0F8-5837-E4D3-D1A865042D2A}"/>
                  </a:ext>
                </a:extLst>
              </p:cNvPr>
              <p:cNvGrpSpPr/>
              <p:nvPr/>
            </p:nvGrpSpPr>
            <p:grpSpPr>
              <a:xfrm>
                <a:off x="1044473" y="2948504"/>
                <a:ext cx="3142930" cy="176978"/>
                <a:chOff x="3590354" y="4361393"/>
                <a:chExt cx="3142930" cy="176978"/>
              </a:xfrm>
              <a:solidFill>
                <a:srgbClr val="544F4F"/>
              </a:solidFill>
            </p:grpSpPr>
            <p:sp>
              <p:nvSpPr>
                <p:cNvPr id="1541" name="TextBox 1540">
                  <a:extLst>
                    <a:ext uri="{FF2B5EF4-FFF2-40B4-BE49-F238E27FC236}">
                      <a16:creationId xmlns:a16="http://schemas.microsoft.com/office/drawing/2014/main" id="{3EB61DB0-7087-6549-6E33-E145978F259E}"/>
                    </a:ext>
                  </a:extLst>
                </p:cNvPr>
                <p:cNvSpPr txBox="1"/>
                <p:nvPr/>
              </p:nvSpPr>
              <p:spPr>
                <a:xfrm>
                  <a:off x="3590354" y="4361393"/>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7</a:t>
                  </a:r>
                </a:p>
              </p:txBody>
            </p:sp>
            <p:sp>
              <p:nvSpPr>
                <p:cNvPr id="1542" name="TextBox 1541">
                  <a:extLst>
                    <a:ext uri="{FF2B5EF4-FFF2-40B4-BE49-F238E27FC236}">
                      <a16:creationId xmlns:a16="http://schemas.microsoft.com/office/drawing/2014/main" id="{64ABFDDF-0BE5-0110-9855-97DF00016818}"/>
                    </a:ext>
                  </a:extLst>
                </p:cNvPr>
                <p:cNvSpPr txBox="1"/>
                <p:nvPr/>
              </p:nvSpPr>
              <p:spPr>
                <a:xfrm>
                  <a:off x="3761775" y="4361393"/>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6</a:t>
                  </a:r>
                </a:p>
              </p:txBody>
            </p:sp>
            <p:sp>
              <p:nvSpPr>
                <p:cNvPr id="1543" name="TextBox 1542">
                  <a:extLst>
                    <a:ext uri="{FF2B5EF4-FFF2-40B4-BE49-F238E27FC236}">
                      <a16:creationId xmlns:a16="http://schemas.microsoft.com/office/drawing/2014/main" id="{02131223-3A8A-6E73-7D01-BB835957E486}"/>
                    </a:ext>
                  </a:extLst>
                </p:cNvPr>
                <p:cNvSpPr txBox="1"/>
                <p:nvPr/>
              </p:nvSpPr>
              <p:spPr>
                <a:xfrm>
                  <a:off x="3933220" y="4361393"/>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3</a:t>
                  </a:r>
                </a:p>
              </p:txBody>
            </p:sp>
            <p:sp>
              <p:nvSpPr>
                <p:cNvPr id="1544" name="TextBox 1543">
                  <a:extLst>
                    <a:ext uri="{FF2B5EF4-FFF2-40B4-BE49-F238E27FC236}">
                      <a16:creationId xmlns:a16="http://schemas.microsoft.com/office/drawing/2014/main" id="{A79CE34A-5B3E-D309-9A0E-CA4C3029F64A}"/>
                    </a:ext>
                  </a:extLst>
                </p:cNvPr>
                <p:cNvSpPr txBox="1"/>
                <p:nvPr/>
              </p:nvSpPr>
              <p:spPr>
                <a:xfrm>
                  <a:off x="4098466" y="4361393"/>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0</a:t>
                  </a:r>
                </a:p>
              </p:txBody>
            </p:sp>
            <p:sp>
              <p:nvSpPr>
                <p:cNvPr id="1545" name="TextBox 1544">
                  <a:extLst>
                    <a:ext uri="{FF2B5EF4-FFF2-40B4-BE49-F238E27FC236}">
                      <a16:creationId xmlns:a16="http://schemas.microsoft.com/office/drawing/2014/main" id="{B8705B17-A34D-054B-0D49-16BE2BB4F4A5}"/>
                    </a:ext>
                  </a:extLst>
                </p:cNvPr>
                <p:cNvSpPr txBox="1"/>
                <p:nvPr/>
              </p:nvSpPr>
              <p:spPr>
                <a:xfrm>
                  <a:off x="4441384" y="4361393"/>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0</a:t>
                  </a:r>
                </a:p>
              </p:txBody>
            </p:sp>
            <p:sp>
              <p:nvSpPr>
                <p:cNvPr id="1546" name="TextBox 1545">
                  <a:extLst>
                    <a:ext uri="{FF2B5EF4-FFF2-40B4-BE49-F238E27FC236}">
                      <a16:creationId xmlns:a16="http://schemas.microsoft.com/office/drawing/2014/main" id="{43C5C0DD-B8C2-A0ED-E77B-95A88FE183D8}"/>
                    </a:ext>
                  </a:extLst>
                </p:cNvPr>
                <p:cNvSpPr txBox="1"/>
                <p:nvPr/>
              </p:nvSpPr>
              <p:spPr>
                <a:xfrm>
                  <a:off x="4609236" y="4361393"/>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7</a:t>
                  </a:r>
                </a:p>
              </p:txBody>
            </p:sp>
            <p:sp>
              <p:nvSpPr>
                <p:cNvPr id="1547" name="TextBox 1546">
                  <a:extLst>
                    <a:ext uri="{FF2B5EF4-FFF2-40B4-BE49-F238E27FC236}">
                      <a16:creationId xmlns:a16="http://schemas.microsoft.com/office/drawing/2014/main" id="{BF13D290-B912-462E-CAB8-F745A49DBA1C}"/>
                    </a:ext>
                  </a:extLst>
                </p:cNvPr>
                <p:cNvSpPr txBox="1"/>
                <p:nvPr/>
              </p:nvSpPr>
              <p:spPr>
                <a:xfrm>
                  <a:off x="4952114" y="4361393"/>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3</a:t>
                  </a:r>
                </a:p>
              </p:txBody>
            </p:sp>
            <p:sp>
              <p:nvSpPr>
                <p:cNvPr id="1548" name="TextBox 1547">
                  <a:extLst>
                    <a:ext uri="{FF2B5EF4-FFF2-40B4-BE49-F238E27FC236}">
                      <a16:creationId xmlns:a16="http://schemas.microsoft.com/office/drawing/2014/main" id="{04C95D8D-4819-7641-F834-7AF4D3E685BB}"/>
                    </a:ext>
                  </a:extLst>
                </p:cNvPr>
                <p:cNvSpPr txBox="1"/>
                <p:nvPr/>
              </p:nvSpPr>
              <p:spPr>
                <a:xfrm>
                  <a:off x="4780427" y="4361393"/>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5</a:t>
                  </a:r>
                </a:p>
              </p:txBody>
            </p:sp>
            <p:sp>
              <p:nvSpPr>
                <p:cNvPr id="1549" name="TextBox 1548">
                  <a:extLst>
                    <a:ext uri="{FF2B5EF4-FFF2-40B4-BE49-F238E27FC236}">
                      <a16:creationId xmlns:a16="http://schemas.microsoft.com/office/drawing/2014/main" id="{86D6686D-058E-C77A-B921-408D094EEBF8}"/>
                    </a:ext>
                  </a:extLst>
                </p:cNvPr>
                <p:cNvSpPr txBox="1"/>
                <p:nvPr/>
              </p:nvSpPr>
              <p:spPr>
                <a:xfrm>
                  <a:off x="5117235" y="4361393"/>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3</a:t>
                  </a:r>
                </a:p>
              </p:txBody>
            </p:sp>
            <p:sp>
              <p:nvSpPr>
                <p:cNvPr id="1550" name="TextBox 1549">
                  <a:extLst>
                    <a:ext uri="{FF2B5EF4-FFF2-40B4-BE49-F238E27FC236}">
                      <a16:creationId xmlns:a16="http://schemas.microsoft.com/office/drawing/2014/main" id="{ED79FD0A-A1A2-CABD-FE02-2F8D492D88FD}"/>
                    </a:ext>
                  </a:extLst>
                </p:cNvPr>
                <p:cNvSpPr txBox="1"/>
                <p:nvPr/>
              </p:nvSpPr>
              <p:spPr>
                <a:xfrm>
                  <a:off x="5487921" y="4361393"/>
                  <a:ext cx="187268"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9</a:t>
                  </a:r>
                </a:p>
              </p:txBody>
            </p:sp>
            <p:sp>
              <p:nvSpPr>
                <p:cNvPr id="1551" name="TextBox 1550">
                  <a:extLst>
                    <a:ext uri="{FF2B5EF4-FFF2-40B4-BE49-F238E27FC236}">
                      <a16:creationId xmlns:a16="http://schemas.microsoft.com/office/drawing/2014/main" id="{96FF788F-8DDB-DDEF-F17B-DFF63C1E51DF}"/>
                    </a:ext>
                  </a:extLst>
                </p:cNvPr>
                <p:cNvSpPr txBox="1"/>
                <p:nvPr/>
              </p:nvSpPr>
              <p:spPr>
                <a:xfrm>
                  <a:off x="5294852" y="4361393"/>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1</a:t>
                  </a:r>
                </a:p>
              </p:txBody>
            </p:sp>
            <p:sp>
              <p:nvSpPr>
                <p:cNvPr id="1552" name="TextBox 1551">
                  <a:extLst>
                    <a:ext uri="{FF2B5EF4-FFF2-40B4-BE49-F238E27FC236}">
                      <a16:creationId xmlns:a16="http://schemas.microsoft.com/office/drawing/2014/main" id="{F2125E3C-7C8E-E8E9-2A39-BA1B4CD603AB}"/>
                    </a:ext>
                  </a:extLst>
                </p:cNvPr>
                <p:cNvSpPr txBox="1"/>
                <p:nvPr/>
              </p:nvSpPr>
              <p:spPr>
                <a:xfrm>
                  <a:off x="6003808" y="4361393"/>
                  <a:ext cx="187268"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4</a:t>
                  </a:r>
                </a:p>
              </p:txBody>
            </p:sp>
            <p:sp>
              <p:nvSpPr>
                <p:cNvPr id="1553" name="TextBox 1552">
                  <a:extLst>
                    <a:ext uri="{FF2B5EF4-FFF2-40B4-BE49-F238E27FC236}">
                      <a16:creationId xmlns:a16="http://schemas.microsoft.com/office/drawing/2014/main" id="{B6089D6F-93FD-122D-E2C9-B6CEF7FA5934}"/>
                    </a:ext>
                  </a:extLst>
                </p:cNvPr>
                <p:cNvSpPr txBox="1"/>
                <p:nvPr/>
              </p:nvSpPr>
              <p:spPr>
                <a:xfrm>
                  <a:off x="6168395" y="4361393"/>
                  <a:ext cx="187268"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a:t>
                  </a:r>
                </a:p>
              </p:txBody>
            </p:sp>
            <p:sp>
              <p:nvSpPr>
                <p:cNvPr id="1554" name="TextBox 1553">
                  <a:extLst>
                    <a:ext uri="{FF2B5EF4-FFF2-40B4-BE49-F238E27FC236}">
                      <a16:creationId xmlns:a16="http://schemas.microsoft.com/office/drawing/2014/main" id="{1B32CF3B-82F4-A7CD-52C0-0D1FEB619F93}"/>
                    </a:ext>
                  </a:extLst>
                </p:cNvPr>
                <p:cNvSpPr txBox="1"/>
                <p:nvPr/>
              </p:nvSpPr>
              <p:spPr>
                <a:xfrm>
                  <a:off x="6339854" y="4361393"/>
                  <a:ext cx="187268"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a:t>
                  </a:r>
                </a:p>
              </p:txBody>
            </p:sp>
            <p:sp>
              <p:nvSpPr>
                <p:cNvPr id="1555" name="TextBox 1554">
                  <a:extLst>
                    <a:ext uri="{FF2B5EF4-FFF2-40B4-BE49-F238E27FC236}">
                      <a16:creationId xmlns:a16="http://schemas.microsoft.com/office/drawing/2014/main" id="{D2EF3E26-098C-2305-E1D7-33817D593878}"/>
                    </a:ext>
                  </a:extLst>
                </p:cNvPr>
                <p:cNvSpPr txBox="1"/>
                <p:nvPr/>
              </p:nvSpPr>
              <p:spPr>
                <a:xfrm>
                  <a:off x="4269926" y="4361393"/>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0</a:t>
                  </a:r>
                </a:p>
              </p:txBody>
            </p:sp>
            <p:sp>
              <p:nvSpPr>
                <p:cNvPr id="1556" name="TextBox 1555">
                  <a:extLst>
                    <a:ext uri="{FF2B5EF4-FFF2-40B4-BE49-F238E27FC236}">
                      <a16:creationId xmlns:a16="http://schemas.microsoft.com/office/drawing/2014/main" id="{FAE59CC2-AEC4-9D13-EA5A-B38C46B69A9C}"/>
                    </a:ext>
                  </a:extLst>
                </p:cNvPr>
                <p:cNvSpPr txBox="1"/>
                <p:nvPr/>
              </p:nvSpPr>
              <p:spPr>
                <a:xfrm>
                  <a:off x="5832348" y="4361393"/>
                  <a:ext cx="187268"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4</a:t>
                  </a:r>
                </a:p>
              </p:txBody>
            </p:sp>
            <p:sp>
              <p:nvSpPr>
                <p:cNvPr id="1557" name="TextBox 1556">
                  <a:extLst>
                    <a:ext uri="{FF2B5EF4-FFF2-40B4-BE49-F238E27FC236}">
                      <a16:creationId xmlns:a16="http://schemas.microsoft.com/office/drawing/2014/main" id="{C93B0F0F-A5A1-7F44-E27D-1405F23D8F0F}"/>
                    </a:ext>
                  </a:extLst>
                </p:cNvPr>
                <p:cNvSpPr txBox="1"/>
                <p:nvPr/>
              </p:nvSpPr>
              <p:spPr>
                <a:xfrm>
                  <a:off x="5659202" y="4361393"/>
                  <a:ext cx="187268"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5</a:t>
                  </a:r>
                </a:p>
              </p:txBody>
            </p:sp>
            <p:sp>
              <p:nvSpPr>
                <p:cNvPr id="1558" name="TextBox 1557">
                  <a:extLst>
                    <a:ext uri="{FF2B5EF4-FFF2-40B4-BE49-F238E27FC236}">
                      <a16:creationId xmlns:a16="http://schemas.microsoft.com/office/drawing/2014/main" id="{BFAD1F4D-6FAF-21D7-68B5-55A970441C60}"/>
                    </a:ext>
                  </a:extLst>
                </p:cNvPr>
                <p:cNvSpPr txBox="1"/>
                <p:nvPr/>
              </p:nvSpPr>
              <p:spPr>
                <a:xfrm>
                  <a:off x="6472157" y="4361393"/>
                  <a:ext cx="261127"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NE</a:t>
                  </a:r>
                </a:p>
              </p:txBody>
            </p:sp>
          </p:grpSp>
          <p:sp>
            <p:nvSpPr>
              <p:cNvPr id="1559" name="TextBox 1558">
                <a:extLst>
                  <a:ext uri="{FF2B5EF4-FFF2-40B4-BE49-F238E27FC236}">
                    <a16:creationId xmlns:a16="http://schemas.microsoft.com/office/drawing/2014/main" id="{1DD1BD9E-26E2-DB25-7220-E02A5B462810}"/>
                  </a:ext>
                </a:extLst>
              </p:cNvPr>
              <p:cNvSpPr txBox="1"/>
              <p:nvPr/>
            </p:nvSpPr>
            <p:spPr>
              <a:xfrm>
                <a:off x="391629" y="2841585"/>
                <a:ext cx="579198" cy="176978"/>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33" b="1"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Prior BTKi</a:t>
                </a:r>
              </a:p>
            </p:txBody>
          </p:sp>
          <p:grpSp>
            <p:nvGrpSpPr>
              <p:cNvPr id="1560" name="Graphic 4">
                <a:extLst>
                  <a:ext uri="{FF2B5EF4-FFF2-40B4-BE49-F238E27FC236}">
                    <a16:creationId xmlns:a16="http://schemas.microsoft.com/office/drawing/2014/main" id="{D85CF76A-9C47-3FF1-1032-8709736A400C}"/>
                  </a:ext>
                </a:extLst>
              </p:cNvPr>
              <p:cNvGrpSpPr/>
              <p:nvPr/>
            </p:nvGrpSpPr>
            <p:grpSpPr>
              <a:xfrm>
                <a:off x="1043977" y="2847502"/>
                <a:ext cx="3486330" cy="176978"/>
                <a:chOff x="3589858" y="4260391"/>
                <a:chExt cx="3486330" cy="176978"/>
              </a:xfrm>
              <a:solidFill>
                <a:srgbClr val="BC36F0"/>
              </a:solidFill>
            </p:grpSpPr>
            <p:sp>
              <p:nvSpPr>
                <p:cNvPr id="1561" name="TextBox 1560">
                  <a:extLst>
                    <a:ext uri="{FF2B5EF4-FFF2-40B4-BE49-F238E27FC236}">
                      <a16:creationId xmlns:a16="http://schemas.microsoft.com/office/drawing/2014/main" id="{9E9764C5-CF85-26E9-118D-B4C0FF71BAB3}"/>
                    </a:ext>
                  </a:extLst>
                </p:cNvPr>
                <p:cNvSpPr txBox="1"/>
                <p:nvPr/>
              </p:nvSpPr>
              <p:spPr>
                <a:xfrm>
                  <a:off x="3589858" y="4260391"/>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34</a:t>
                  </a:r>
                </a:p>
              </p:txBody>
            </p:sp>
            <p:sp>
              <p:nvSpPr>
                <p:cNvPr id="1562" name="TextBox 1561">
                  <a:extLst>
                    <a:ext uri="{FF2B5EF4-FFF2-40B4-BE49-F238E27FC236}">
                      <a16:creationId xmlns:a16="http://schemas.microsoft.com/office/drawing/2014/main" id="{261DAF9E-6703-8F52-8340-D4FB273EF629}"/>
                    </a:ext>
                  </a:extLst>
                </p:cNvPr>
                <p:cNvSpPr txBox="1"/>
                <p:nvPr/>
              </p:nvSpPr>
              <p:spPr>
                <a:xfrm>
                  <a:off x="3761544" y="4260391"/>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25</a:t>
                  </a:r>
                </a:p>
              </p:txBody>
            </p:sp>
            <p:sp>
              <p:nvSpPr>
                <p:cNvPr id="1563" name="TextBox 1562">
                  <a:extLst>
                    <a:ext uri="{FF2B5EF4-FFF2-40B4-BE49-F238E27FC236}">
                      <a16:creationId xmlns:a16="http://schemas.microsoft.com/office/drawing/2014/main" id="{48A6CF63-D51A-3F7A-4246-D704FF00C3A0}"/>
                    </a:ext>
                  </a:extLst>
                </p:cNvPr>
                <p:cNvSpPr txBox="1"/>
                <p:nvPr/>
              </p:nvSpPr>
              <p:spPr>
                <a:xfrm>
                  <a:off x="3929663" y="4260391"/>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9</a:t>
                  </a:r>
                </a:p>
              </p:txBody>
            </p:sp>
            <p:sp>
              <p:nvSpPr>
                <p:cNvPr id="1564" name="TextBox 1563">
                  <a:extLst>
                    <a:ext uri="{FF2B5EF4-FFF2-40B4-BE49-F238E27FC236}">
                      <a16:creationId xmlns:a16="http://schemas.microsoft.com/office/drawing/2014/main" id="{45FECA9E-D305-0E1A-8090-E9A1D6D47580}"/>
                    </a:ext>
                  </a:extLst>
                </p:cNvPr>
                <p:cNvSpPr txBox="1"/>
                <p:nvPr/>
              </p:nvSpPr>
              <p:spPr>
                <a:xfrm>
                  <a:off x="4094821" y="4260391"/>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6</a:t>
                  </a:r>
                </a:p>
              </p:txBody>
            </p:sp>
            <p:sp>
              <p:nvSpPr>
                <p:cNvPr id="1565" name="TextBox 1564">
                  <a:extLst>
                    <a:ext uri="{FF2B5EF4-FFF2-40B4-BE49-F238E27FC236}">
                      <a16:creationId xmlns:a16="http://schemas.microsoft.com/office/drawing/2014/main" id="{83A79CC3-7AD8-9C87-B96B-57D967FF76F7}"/>
                    </a:ext>
                  </a:extLst>
                </p:cNvPr>
                <p:cNvSpPr txBox="1"/>
                <p:nvPr/>
              </p:nvSpPr>
              <p:spPr>
                <a:xfrm>
                  <a:off x="4437866" y="4260391"/>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4</a:t>
                  </a:r>
                </a:p>
              </p:txBody>
            </p:sp>
            <p:sp>
              <p:nvSpPr>
                <p:cNvPr id="1566" name="TextBox 1565">
                  <a:extLst>
                    <a:ext uri="{FF2B5EF4-FFF2-40B4-BE49-F238E27FC236}">
                      <a16:creationId xmlns:a16="http://schemas.microsoft.com/office/drawing/2014/main" id="{5EC1CCDD-D594-BACF-0B5A-7BC377202730}"/>
                    </a:ext>
                  </a:extLst>
                </p:cNvPr>
                <p:cNvSpPr txBox="1"/>
                <p:nvPr/>
              </p:nvSpPr>
              <p:spPr>
                <a:xfrm>
                  <a:off x="4609553" y="4260391"/>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2</a:t>
                  </a:r>
                </a:p>
              </p:txBody>
            </p:sp>
            <p:sp>
              <p:nvSpPr>
                <p:cNvPr id="1567" name="TextBox 1566">
                  <a:extLst>
                    <a:ext uri="{FF2B5EF4-FFF2-40B4-BE49-F238E27FC236}">
                      <a16:creationId xmlns:a16="http://schemas.microsoft.com/office/drawing/2014/main" id="{B47FDFC5-AB01-936A-A967-61EA87570B98}"/>
                    </a:ext>
                  </a:extLst>
                </p:cNvPr>
                <p:cNvSpPr txBox="1"/>
                <p:nvPr/>
              </p:nvSpPr>
              <p:spPr>
                <a:xfrm>
                  <a:off x="4958299" y="4260391"/>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1</a:t>
                  </a:r>
                </a:p>
              </p:txBody>
            </p:sp>
            <p:sp>
              <p:nvSpPr>
                <p:cNvPr id="1568" name="TextBox 1567">
                  <a:extLst>
                    <a:ext uri="{FF2B5EF4-FFF2-40B4-BE49-F238E27FC236}">
                      <a16:creationId xmlns:a16="http://schemas.microsoft.com/office/drawing/2014/main" id="{F075228D-F01E-E16F-7DA3-63B95EF62FF7}"/>
                    </a:ext>
                  </a:extLst>
                </p:cNvPr>
                <p:cNvSpPr txBox="1"/>
                <p:nvPr/>
              </p:nvSpPr>
              <p:spPr>
                <a:xfrm>
                  <a:off x="4786828" y="4260391"/>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1</a:t>
                  </a:r>
                </a:p>
              </p:txBody>
            </p:sp>
            <p:sp>
              <p:nvSpPr>
                <p:cNvPr id="1569" name="TextBox 1568">
                  <a:extLst>
                    <a:ext uri="{FF2B5EF4-FFF2-40B4-BE49-F238E27FC236}">
                      <a16:creationId xmlns:a16="http://schemas.microsoft.com/office/drawing/2014/main" id="{B812123A-A0A2-0109-3666-49CE573CA955}"/>
                    </a:ext>
                  </a:extLst>
                </p:cNvPr>
                <p:cNvSpPr txBox="1"/>
                <p:nvPr/>
              </p:nvSpPr>
              <p:spPr>
                <a:xfrm>
                  <a:off x="5123408" y="4260391"/>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1</a:t>
                  </a:r>
                </a:p>
              </p:txBody>
            </p:sp>
            <p:sp>
              <p:nvSpPr>
                <p:cNvPr id="1570" name="TextBox 1569">
                  <a:extLst>
                    <a:ext uri="{FF2B5EF4-FFF2-40B4-BE49-F238E27FC236}">
                      <a16:creationId xmlns:a16="http://schemas.microsoft.com/office/drawing/2014/main" id="{580E18E8-9024-6195-30F8-634F96B6CD3D}"/>
                    </a:ext>
                  </a:extLst>
                </p:cNvPr>
                <p:cNvSpPr txBox="1"/>
                <p:nvPr/>
              </p:nvSpPr>
              <p:spPr>
                <a:xfrm>
                  <a:off x="5487958" y="4260391"/>
                  <a:ext cx="187268"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8</a:t>
                  </a:r>
                </a:p>
              </p:txBody>
            </p:sp>
            <p:sp>
              <p:nvSpPr>
                <p:cNvPr id="1571" name="TextBox 1570">
                  <a:extLst>
                    <a:ext uri="{FF2B5EF4-FFF2-40B4-BE49-F238E27FC236}">
                      <a16:creationId xmlns:a16="http://schemas.microsoft.com/office/drawing/2014/main" id="{8EA330B9-BC20-CF47-CE70-D796E85A8238}"/>
                    </a:ext>
                  </a:extLst>
                </p:cNvPr>
                <p:cNvSpPr txBox="1"/>
                <p:nvPr/>
              </p:nvSpPr>
              <p:spPr>
                <a:xfrm>
                  <a:off x="5294852" y="4260391"/>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1</a:t>
                  </a:r>
                </a:p>
              </p:txBody>
            </p:sp>
            <p:sp>
              <p:nvSpPr>
                <p:cNvPr id="1572" name="TextBox 1571">
                  <a:extLst>
                    <a:ext uri="{FF2B5EF4-FFF2-40B4-BE49-F238E27FC236}">
                      <a16:creationId xmlns:a16="http://schemas.microsoft.com/office/drawing/2014/main" id="{5885A6BD-37B6-66F3-35AD-13589577CF97}"/>
                    </a:ext>
                  </a:extLst>
                </p:cNvPr>
                <p:cNvSpPr txBox="1"/>
                <p:nvPr/>
              </p:nvSpPr>
              <p:spPr>
                <a:xfrm>
                  <a:off x="6002511" y="4260391"/>
                  <a:ext cx="187268"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6</a:t>
                  </a:r>
                </a:p>
              </p:txBody>
            </p:sp>
            <p:sp>
              <p:nvSpPr>
                <p:cNvPr id="1573" name="TextBox 1572">
                  <a:extLst>
                    <a:ext uri="{FF2B5EF4-FFF2-40B4-BE49-F238E27FC236}">
                      <a16:creationId xmlns:a16="http://schemas.microsoft.com/office/drawing/2014/main" id="{191ABEC3-ACE5-C940-8FC7-75C25AE8FDD6}"/>
                    </a:ext>
                  </a:extLst>
                </p:cNvPr>
                <p:cNvSpPr txBox="1"/>
                <p:nvPr/>
              </p:nvSpPr>
              <p:spPr>
                <a:xfrm>
                  <a:off x="6167443" y="4260391"/>
                  <a:ext cx="187268"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3</a:t>
                  </a:r>
                </a:p>
              </p:txBody>
            </p:sp>
            <p:sp>
              <p:nvSpPr>
                <p:cNvPr id="1574" name="TextBox 1573">
                  <a:extLst>
                    <a:ext uri="{FF2B5EF4-FFF2-40B4-BE49-F238E27FC236}">
                      <a16:creationId xmlns:a16="http://schemas.microsoft.com/office/drawing/2014/main" id="{07C4E104-1DAF-B70C-A228-B5C4EC7C8D48}"/>
                    </a:ext>
                  </a:extLst>
                </p:cNvPr>
                <p:cNvSpPr txBox="1"/>
                <p:nvPr/>
              </p:nvSpPr>
              <p:spPr>
                <a:xfrm>
                  <a:off x="6342152" y="4260391"/>
                  <a:ext cx="187268"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a:t>
                  </a:r>
                </a:p>
              </p:txBody>
            </p:sp>
            <p:sp>
              <p:nvSpPr>
                <p:cNvPr id="1575" name="TextBox 1574">
                  <a:extLst>
                    <a:ext uri="{FF2B5EF4-FFF2-40B4-BE49-F238E27FC236}">
                      <a16:creationId xmlns:a16="http://schemas.microsoft.com/office/drawing/2014/main" id="{07DCB1BF-C954-02C1-1552-0A1216A6AF79}"/>
                    </a:ext>
                  </a:extLst>
                </p:cNvPr>
                <p:cNvSpPr txBox="1"/>
                <p:nvPr/>
              </p:nvSpPr>
              <p:spPr>
                <a:xfrm>
                  <a:off x="4266409" y="4260391"/>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4</a:t>
                  </a:r>
                </a:p>
              </p:txBody>
            </p:sp>
            <p:sp>
              <p:nvSpPr>
                <p:cNvPr id="1576" name="TextBox 1575">
                  <a:extLst>
                    <a:ext uri="{FF2B5EF4-FFF2-40B4-BE49-F238E27FC236}">
                      <a16:creationId xmlns:a16="http://schemas.microsoft.com/office/drawing/2014/main" id="{68579457-48D8-CFF2-C448-09C29FFB5C7D}"/>
                    </a:ext>
                  </a:extLst>
                </p:cNvPr>
                <p:cNvSpPr txBox="1"/>
                <p:nvPr/>
              </p:nvSpPr>
              <p:spPr>
                <a:xfrm>
                  <a:off x="5830698" y="4260391"/>
                  <a:ext cx="187268"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7</a:t>
                  </a:r>
                </a:p>
              </p:txBody>
            </p:sp>
            <p:sp>
              <p:nvSpPr>
                <p:cNvPr id="1577" name="TextBox 1576">
                  <a:extLst>
                    <a:ext uri="{FF2B5EF4-FFF2-40B4-BE49-F238E27FC236}">
                      <a16:creationId xmlns:a16="http://schemas.microsoft.com/office/drawing/2014/main" id="{877DAB92-584E-F43C-CF7E-08C69B316548}"/>
                    </a:ext>
                  </a:extLst>
                </p:cNvPr>
                <p:cNvSpPr txBox="1"/>
                <p:nvPr/>
              </p:nvSpPr>
              <p:spPr>
                <a:xfrm>
                  <a:off x="5659239" y="4260391"/>
                  <a:ext cx="187268"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7</a:t>
                  </a:r>
                </a:p>
              </p:txBody>
            </p:sp>
            <p:sp>
              <p:nvSpPr>
                <p:cNvPr id="1578" name="TextBox 1577">
                  <a:extLst>
                    <a:ext uri="{FF2B5EF4-FFF2-40B4-BE49-F238E27FC236}">
                      <a16:creationId xmlns:a16="http://schemas.microsoft.com/office/drawing/2014/main" id="{218A4B45-AF4C-E943-8401-CE2C70B4720E}"/>
                    </a:ext>
                  </a:extLst>
                </p:cNvPr>
                <p:cNvSpPr txBox="1"/>
                <p:nvPr/>
              </p:nvSpPr>
              <p:spPr>
                <a:xfrm>
                  <a:off x="6815061" y="4260391"/>
                  <a:ext cx="261127"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NE</a:t>
                  </a:r>
                </a:p>
              </p:txBody>
            </p:sp>
            <p:sp>
              <p:nvSpPr>
                <p:cNvPr id="1579" name="TextBox 1578">
                  <a:extLst>
                    <a:ext uri="{FF2B5EF4-FFF2-40B4-BE49-F238E27FC236}">
                      <a16:creationId xmlns:a16="http://schemas.microsoft.com/office/drawing/2014/main" id="{57476427-E032-F367-38B3-4D8F44A047EB}"/>
                    </a:ext>
                  </a:extLst>
                </p:cNvPr>
                <p:cNvSpPr txBox="1"/>
                <p:nvPr/>
              </p:nvSpPr>
              <p:spPr>
                <a:xfrm>
                  <a:off x="6513610" y="4260391"/>
                  <a:ext cx="187268"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a:t>
                  </a:r>
                </a:p>
              </p:txBody>
            </p:sp>
            <p:sp>
              <p:nvSpPr>
                <p:cNvPr id="1580" name="TextBox 1579">
                  <a:extLst>
                    <a:ext uri="{FF2B5EF4-FFF2-40B4-BE49-F238E27FC236}">
                      <a16:creationId xmlns:a16="http://schemas.microsoft.com/office/drawing/2014/main" id="{EDE7A66A-FAAC-A176-DF16-1A64CDB9362B}"/>
                    </a:ext>
                  </a:extLst>
                </p:cNvPr>
                <p:cNvSpPr txBox="1"/>
                <p:nvPr/>
              </p:nvSpPr>
              <p:spPr>
                <a:xfrm>
                  <a:off x="6685069" y="4260391"/>
                  <a:ext cx="187268"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a:t>
                  </a:r>
                </a:p>
              </p:txBody>
            </p:sp>
          </p:grpSp>
          <p:sp>
            <p:nvSpPr>
              <p:cNvPr id="1581" name="TextBox 1580">
                <a:extLst>
                  <a:ext uri="{FF2B5EF4-FFF2-40B4-BE49-F238E27FC236}">
                    <a16:creationId xmlns:a16="http://schemas.microsoft.com/office/drawing/2014/main" id="{C91C73E7-055F-EF63-4163-9F36232BCE81}"/>
                  </a:ext>
                </a:extLst>
              </p:cNvPr>
              <p:cNvSpPr txBox="1"/>
              <p:nvPr/>
            </p:nvSpPr>
            <p:spPr>
              <a:xfrm>
                <a:off x="390499" y="3037620"/>
                <a:ext cx="620892" cy="176978"/>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33" b="1"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All patients</a:t>
                </a:r>
              </a:p>
            </p:txBody>
          </p:sp>
          <p:grpSp>
            <p:nvGrpSpPr>
              <p:cNvPr id="1582" name="Graphic 4">
                <a:extLst>
                  <a:ext uri="{FF2B5EF4-FFF2-40B4-BE49-F238E27FC236}">
                    <a16:creationId xmlns:a16="http://schemas.microsoft.com/office/drawing/2014/main" id="{5EA5B1AD-35C5-0FA2-C14E-B96157F3C662}"/>
                  </a:ext>
                </a:extLst>
              </p:cNvPr>
              <p:cNvGrpSpPr/>
              <p:nvPr/>
            </p:nvGrpSpPr>
            <p:grpSpPr>
              <a:xfrm>
                <a:off x="1050201" y="3043563"/>
                <a:ext cx="3480106" cy="176978"/>
                <a:chOff x="3596082" y="4456452"/>
                <a:chExt cx="3480106" cy="176978"/>
              </a:xfrm>
              <a:solidFill>
                <a:srgbClr val="0B41CD"/>
              </a:solidFill>
            </p:grpSpPr>
            <p:sp>
              <p:nvSpPr>
                <p:cNvPr id="1583" name="TextBox 1582">
                  <a:extLst>
                    <a:ext uri="{FF2B5EF4-FFF2-40B4-BE49-F238E27FC236}">
                      <a16:creationId xmlns:a16="http://schemas.microsoft.com/office/drawing/2014/main" id="{EDEF2732-532A-F129-D7FB-CD1C96B69D2C}"/>
                    </a:ext>
                  </a:extLst>
                </p:cNvPr>
                <p:cNvSpPr txBox="1"/>
                <p:nvPr/>
              </p:nvSpPr>
              <p:spPr>
                <a:xfrm>
                  <a:off x="3596082" y="4456452"/>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61</a:t>
                  </a:r>
                </a:p>
              </p:txBody>
            </p:sp>
            <p:sp>
              <p:nvSpPr>
                <p:cNvPr id="1584" name="TextBox 1583">
                  <a:extLst>
                    <a:ext uri="{FF2B5EF4-FFF2-40B4-BE49-F238E27FC236}">
                      <a16:creationId xmlns:a16="http://schemas.microsoft.com/office/drawing/2014/main" id="{05089149-33C3-6096-BAF9-C269DACBDB54}"/>
                    </a:ext>
                  </a:extLst>
                </p:cNvPr>
                <p:cNvSpPr txBox="1"/>
                <p:nvPr/>
              </p:nvSpPr>
              <p:spPr>
                <a:xfrm>
                  <a:off x="3767361" y="4456452"/>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51</a:t>
                  </a:r>
                </a:p>
              </p:txBody>
            </p:sp>
            <p:sp>
              <p:nvSpPr>
                <p:cNvPr id="1585" name="TextBox 1584">
                  <a:extLst>
                    <a:ext uri="{FF2B5EF4-FFF2-40B4-BE49-F238E27FC236}">
                      <a16:creationId xmlns:a16="http://schemas.microsoft.com/office/drawing/2014/main" id="{2AC0217B-E628-E7C2-EBED-92544CDC71EA}"/>
                    </a:ext>
                  </a:extLst>
                </p:cNvPr>
                <p:cNvSpPr txBox="1"/>
                <p:nvPr/>
              </p:nvSpPr>
              <p:spPr>
                <a:xfrm>
                  <a:off x="3934337" y="4456452"/>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42</a:t>
                  </a:r>
                </a:p>
              </p:txBody>
            </p:sp>
            <p:sp>
              <p:nvSpPr>
                <p:cNvPr id="1586" name="TextBox 1585">
                  <a:extLst>
                    <a:ext uri="{FF2B5EF4-FFF2-40B4-BE49-F238E27FC236}">
                      <a16:creationId xmlns:a16="http://schemas.microsoft.com/office/drawing/2014/main" id="{C269E906-E0C9-DBB2-4572-D1CDEAFA8B3B}"/>
                    </a:ext>
                  </a:extLst>
                </p:cNvPr>
                <p:cNvSpPr txBox="1"/>
                <p:nvPr/>
              </p:nvSpPr>
              <p:spPr>
                <a:xfrm>
                  <a:off x="4097756" y="4456452"/>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36</a:t>
                  </a:r>
                </a:p>
              </p:txBody>
            </p:sp>
            <p:sp>
              <p:nvSpPr>
                <p:cNvPr id="1587" name="TextBox 1586">
                  <a:extLst>
                    <a:ext uri="{FF2B5EF4-FFF2-40B4-BE49-F238E27FC236}">
                      <a16:creationId xmlns:a16="http://schemas.microsoft.com/office/drawing/2014/main" id="{DFBA8F51-436F-3BB0-2952-9F5AC7D9E45C}"/>
                    </a:ext>
                  </a:extLst>
                </p:cNvPr>
                <p:cNvSpPr txBox="1"/>
                <p:nvPr/>
              </p:nvSpPr>
              <p:spPr>
                <a:xfrm>
                  <a:off x="4440800" y="4456452"/>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34</a:t>
                  </a:r>
                </a:p>
              </p:txBody>
            </p:sp>
            <p:sp>
              <p:nvSpPr>
                <p:cNvPr id="1588" name="TextBox 1587">
                  <a:extLst>
                    <a:ext uri="{FF2B5EF4-FFF2-40B4-BE49-F238E27FC236}">
                      <a16:creationId xmlns:a16="http://schemas.microsoft.com/office/drawing/2014/main" id="{6F5B2C8E-0BFE-734B-7184-5A963EEE1C2E}"/>
                    </a:ext>
                  </a:extLst>
                </p:cNvPr>
                <p:cNvSpPr txBox="1"/>
                <p:nvPr/>
              </p:nvSpPr>
              <p:spPr>
                <a:xfrm>
                  <a:off x="4612665" y="4456452"/>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9</a:t>
                  </a:r>
                </a:p>
              </p:txBody>
            </p:sp>
            <p:sp>
              <p:nvSpPr>
                <p:cNvPr id="1589" name="TextBox 1588">
                  <a:extLst>
                    <a:ext uri="{FF2B5EF4-FFF2-40B4-BE49-F238E27FC236}">
                      <a16:creationId xmlns:a16="http://schemas.microsoft.com/office/drawing/2014/main" id="{12D4075C-2A8F-D2A3-83CD-19EB609709D9}"/>
                    </a:ext>
                  </a:extLst>
                </p:cNvPr>
                <p:cNvSpPr txBox="1"/>
                <p:nvPr/>
              </p:nvSpPr>
              <p:spPr>
                <a:xfrm>
                  <a:off x="4955758" y="4456452"/>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4</a:t>
                  </a:r>
                </a:p>
              </p:txBody>
            </p:sp>
            <p:sp>
              <p:nvSpPr>
                <p:cNvPr id="1590" name="TextBox 1589">
                  <a:extLst>
                    <a:ext uri="{FF2B5EF4-FFF2-40B4-BE49-F238E27FC236}">
                      <a16:creationId xmlns:a16="http://schemas.microsoft.com/office/drawing/2014/main" id="{BA1D2915-1D95-FCF3-5974-8F00A846DAED}"/>
                    </a:ext>
                  </a:extLst>
                </p:cNvPr>
                <p:cNvSpPr txBox="1"/>
                <p:nvPr/>
              </p:nvSpPr>
              <p:spPr>
                <a:xfrm>
                  <a:off x="4784174" y="4456452"/>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6</a:t>
                  </a:r>
                </a:p>
              </p:txBody>
            </p:sp>
            <p:sp>
              <p:nvSpPr>
                <p:cNvPr id="1591" name="TextBox 1590">
                  <a:extLst>
                    <a:ext uri="{FF2B5EF4-FFF2-40B4-BE49-F238E27FC236}">
                      <a16:creationId xmlns:a16="http://schemas.microsoft.com/office/drawing/2014/main" id="{6BE5B6E4-8849-21A4-A722-BAF6FE274CC4}"/>
                    </a:ext>
                  </a:extLst>
                </p:cNvPr>
                <p:cNvSpPr txBox="1"/>
                <p:nvPr/>
              </p:nvSpPr>
              <p:spPr>
                <a:xfrm>
                  <a:off x="5120879" y="4456452"/>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4</a:t>
                  </a:r>
                </a:p>
              </p:txBody>
            </p:sp>
            <p:sp>
              <p:nvSpPr>
                <p:cNvPr id="1592" name="TextBox 1591">
                  <a:extLst>
                    <a:ext uri="{FF2B5EF4-FFF2-40B4-BE49-F238E27FC236}">
                      <a16:creationId xmlns:a16="http://schemas.microsoft.com/office/drawing/2014/main" id="{4DF1403C-BD44-7630-DAE8-EC1E2C08A76A}"/>
                    </a:ext>
                  </a:extLst>
                </p:cNvPr>
                <p:cNvSpPr txBox="1"/>
                <p:nvPr/>
              </p:nvSpPr>
              <p:spPr>
                <a:xfrm>
                  <a:off x="5460191" y="4456452"/>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7</a:t>
                  </a:r>
                </a:p>
              </p:txBody>
            </p:sp>
            <p:sp>
              <p:nvSpPr>
                <p:cNvPr id="1593" name="TextBox 1592">
                  <a:extLst>
                    <a:ext uri="{FF2B5EF4-FFF2-40B4-BE49-F238E27FC236}">
                      <a16:creationId xmlns:a16="http://schemas.microsoft.com/office/drawing/2014/main" id="{256AE42D-D1E6-84C4-DC4E-1364018BCE05}"/>
                    </a:ext>
                  </a:extLst>
                </p:cNvPr>
                <p:cNvSpPr txBox="1"/>
                <p:nvPr/>
              </p:nvSpPr>
              <p:spPr>
                <a:xfrm>
                  <a:off x="5292554" y="4456452"/>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2</a:t>
                  </a:r>
                </a:p>
              </p:txBody>
            </p:sp>
            <p:sp>
              <p:nvSpPr>
                <p:cNvPr id="1594" name="TextBox 1593">
                  <a:extLst>
                    <a:ext uri="{FF2B5EF4-FFF2-40B4-BE49-F238E27FC236}">
                      <a16:creationId xmlns:a16="http://schemas.microsoft.com/office/drawing/2014/main" id="{F834FEAB-642B-1055-9B2F-A92A423DECB4}"/>
                    </a:ext>
                  </a:extLst>
                </p:cNvPr>
                <p:cNvSpPr txBox="1"/>
                <p:nvPr/>
              </p:nvSpPr>
              <p:spPr>
                <a:xfrm>
                  <a:off x="5974641" y="4456452"/>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0</a:t>
                  </a:r>
                </a:p>
              </p:txBody>
            </p:sp>
            <p:sp>
              <p:nvSpPr>
                <p:cNvPr id="1595" name="TextBox 1594">
                  <a:extLst>
                    <a:ext uri="{FF2B5EF4-FFF2-40B4-BE49-F238E27FC236}">
                      <a16:creationId xmlns:a16="http://schemas.microsoft.com/office/drawing/2014/main" id="{51F7B02D-F5C8-FA76-C90D-39C461F3F315}"/>
                    </a:ext>
                  </a:extLst>
                </p:cNvPr>
                <p:cNvSpPr txBox="1"/>
                <p:nvPr/>
              </p:nvSpPr>
              <p:spPr>
                <a:xfrm>
                  <a:off x="6167227" y="4456452"/>
                  <a:ext cx="187268"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5</a:t>
                  </a:r>
                </a:p>
              </p:txBody>
            </p:sp>
            <p:sp>
              <p:nvSpPr>
                <p:cNvPr id="1596" name="TextBox 1595">
                  <a:extLst>
                    <a:ext uri="{FF2B5EF4-FFF2-40B4-BE49-F238E27FC236}">
                      <a16:creationId xmlns:a16="http://schemas.microsoft.com/office/drawing/2014/main" id="{1371A181-367E-1A92-D92C-057EA3CF1209}"/>
                    </a:ext>
                  </a:extLst>
                </p:cNvPr>
                <p:cNvSpPr txBox="1"/>
                <p:nvPr/>
              </p:nvSpPr>
              <p:spPr>
                <a:xfrm>
                  <a:off x="6338900" y="4456452"/>
                  <a:ext cx="187268"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3</a:t>
                  </a:r>
                </a:p>
              </p:txBody>
            </p:sp>
            <p:sp>
              <p:nvSpPr>
                <p:cNvPr id="1597" name="TextBox 1596">
                  <a:extLst>
                    <a:ext uri="{FF2B5EF4-FFF2-40B4-BE49-F238E27FC236}">
                      <a16:creationId xmlns:a16="http://schemas.microsoft.com/office/drawing/2014/main" id="{D3DD0F4F-B4C2-A574-936E-C3EB52C1E365}"/>
                    </a:ext>
                  </a:extLst>
                </p:cNvPr>
                <p:cNvSpPr txBox="1"/>
                <p:nvPr/>
              </p:nvSpPr>
              <p:spPr>
                <a:xfrm>
                  <a:off x="4269341" y="4456452"/>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34</a:t>
                  </a:r>
                </a:p>
              </p:txBody>
            </p:sp>
            <p:sp>
              <p:nvSpPr>
                <p:cNvPr id="1598" name="TextBox 1597">
                  <a:extLst>
                    <a:ext uri="{FF2B5EF4-FFF2-40B4-BE49-F238E27FC236}">
                      <a16:creationId xmlns:a16="http://schemas.microsoft.com/office/drawing/2014/main" id="{7858FEC3-0D96-8BF2-E6D9-971279AB28BA}"/>
                    </a:ext>
                  </a:extLst>
                </p:cNvPr>
                <p:cNvSpPr txBox="1"/>
                <p:nvPr/>
              </p:nvSpPr>
              <p:spPr>
                <a:xfrm>
                  <a:off x="5809242" y="4456452"/>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1</a:t>
                  </a:r>
                </a:p>
              </p:txBody>
            </p:sp>
            <p:sp>
              <p:nvSpPr>
                <p:cNvPr id="1599" name="TextBox 1598">
                  <a:extLst>
                    <a:ext uri="{FF2B5EF4-FFF2-40B4-BE49-F238E27FC236}">
                      <a16:creationId xmlns:a16="http://schemas.microsoft.com/office/drawing/2014/main" id="{1B728985-601B-E6AE-83B6-52DE15BA1652}"/>
                    </a:ext>
                  </a:extLst>
                </p:cNvPr>
                <p:cNvSpPr txBox="1"/>
                <p:nvPr/>
              </p:nvSpPr>
              <p:spPr>
                <a:xfrm>
                  <a:off x="5631965" y="4456452"/>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2</a:t>
                  </a:r>
                </a:p>
              </p:txBody>
            </p:sp>
            <p:sp>
              <p:nvSpPr>
                <p:cNvPr id="1600" name="TextBox 1599">
                  <a:extLst>
                    <a:ext uri="{FF2B5EF4-FFF2-40B4-BE49-F238E27FC236}">
                      <a16:creationId xmlns:a16="http://schemas.microsoft.com/office/drawing/2014/main" id="{E4F57611-DB61-CD3B-B0CE-AA932D01F11B}"/>
                    </a:ext>
                  </a:extLst>
                </p:cNvPr>
                <p:cNvSpPr txBox="1"/>
                <p:nvPr/>
              </p:nvSpPr>
              <p:spPr>
                <a:xfrm>
                  <a:off x="6815061" y="4456452"/>
                  <a:ext cx="261127"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NE</a:t>
                  </a:r>
                </a:p>
              </p:txBody>
            </p:sp>
            <p:sp>
              <p:nvSpPr>
                <p:cNvPr id="1601" name="TextBox 1600">
                  <a:extLst>
                    <a:ext uri="{FF2B5EF4-FFF2-40B4-BE49-F238E27FC236}">
                      <a16:creationId xmlns:a16="http://schemas.microsoft.com/office/drawing/2014/main" id="{BC99A735-FB66-1F33-12FF-35DE5F87F192}"/>
                    </a:ext>
                  </a:extLst>
                </p:cNvPr>
                <p:cNvSpPr txBox="1"/>
                <p:nvPr/>
              </p:nvSpPr>
              <p:spPr>
                <a:xfrm>
                  <a:off x="6513611" y="4456452"/>
                  <a:ext cx="187268"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a:t>
                  </a:r>
                </a:p>
              </p:txBody>
            </p:sp>
            <p:sp>
              <p:nvSpPr>
                <p:cNvPr id="1602" name="TextBox 1601">
                  <a:extLst>
                    <a:ext uri="{FF2B5EF4-FFF2-40B4-BE49-F238E27FC236}">
                      <a16:creationId xmlns:a16="http://schemas.microsoft.com/office/drawing/2014/main" id="{A2E1015C-4C6E-552F-230B-F74D1C223A0C}"/>
                    </a:ext>
                  </a:extLst>
                </p:cNvPr>
                <p:cNvSpPr txBox="1"/>
                <p:nvPr/>
              </p:nvSpPr>
              <p:spPr>
                <a:xfrm>
                  <a:off x="6685069" y="4456452"/>
                  <a:ext cx="187268"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a:t>
                  </a:r>
                </a:p>
              </p:txBody>
            </p:sp>
          </p:grpSp>
        </p:grpSp>
        <p:grpSp>
          <p:nvGrpSpPr>
            <p:cNvPr id="1605" name="Graphic 4">
              <a:extLst>
                <a:ext uri="{FF2B5EF4-FFF2-40B4-BE49-F238E27FC236}">
                  <a16:creationId xmlns:a16="http://schemas.microsoft.com/office/drawing/2014/main" id="{A4981477-EC64-1D14-077E-C125C751B52E}"/>
                </a:ext>
              </a:extLst>
            </p:cNvPr>
            <p:cNvGrpSpPr/>
            <p:nvPr/>
          </p:nvGrpSpPr>
          <p:grpSpPr>
            <a:xfrm>
              <a:off x="922492" y="1252989"/>
              <a:ext cx="287335" cy="1429434"/>
              <a:chOff x="3468373" y="2667908"/>
              <a:chExt cx="287335" cy="1429434"/>
            </a:xfrm>
            <a:solidFill>
              <a:srgbClr val="000000"/>
            </a:solidFill>
          </p:grpSpPr>
          <p:sp>
            <p:nvSpPr>
              <p:cNvPr id="1606" name="TextBox 1605">
                <a:extLst>
                  <a:ext uri="{FF2B5EF4-FFF2-40B4-BE49-F238E27FC236}">
                    <a16:creationId xmlns:a16="http://schemas.microsoft.com/office/drawing/2014/main" id="{198910ED-EB1C-F3A1-7DFE-C1685632FC6A}"/>
                  </a:ext>
                </a:extLst>
              </p:cNvPr>
              <p:cNvSpPr txBox="1"/>
              <p:nvPr/>
            </p:nvSpPr>
            <p:spPr>
              <a:xfrm>
                <a:off x="3468373" y="2667908"/>
                <a:ext cx="287335" cy="176978"/>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00</a:t>
                </a:r>
              </a:p>
            </p:txBody>
          </p:sp>
          <p:sp>
            <p:nvSpPr>
              <p:cNvPr id="1607" name="TextBox 1606">
                <a:extLst>
                  <a:ext uri="{FF2B5EF4-FFF2-40B4-BE49-F238E27FC236}">
                    <a16:creationId xmlns:a16="http://schemas.microsoft.com/office/drawing/2014/main" id="{0C831D0A-0080-0977-FFD7-8A9F906B24B1}"/>
                  </a:ext>
                </a:extLst>
              </p:cNvPr>
              <p:cNvSpPr txBox="1"/>
              <p:nvPr/>
            </p:nvSpPr>
            <p:spPr>
              <a:xfrm>
                <a:off x="3513609" y="2923143"/>
                <a:ext cx="237302" cy="176978"/>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80</a:t>
                </a:r>
              </a:p>
            </p:txBody>
          </p:sp>
          <p:sp>
            <p:nvSpPr>
              <p:cNvPr id="1608" name="TextBox 1607">
                <a:extLst>
                  <a:ext uri="{FF2B5EF4-FFF2-40B4-BE49-F238E27FC236}">
                    <a16:creationId xmlns:a16="http://schemas.microsoft.com/office/drawing/2014/main" id="{D3382237-2232-A06A-5672-095767548C7A}"/>
                  </a:ext>
                </a:extLst>
              </p:cNvPr>
              <p:cNvSpPr txBox="1"/>
              <p:nvPr/>
            </p:nvSpPr>
            <p:spPr>
              <a:xfrm>
                <a:off x="3513609" y="3172448"/>
                <a:ext cx="237302" cy="176978"/>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60</a:t>
                </a:r>
              </a:p>
            </p:txBody>
          </p:sp>
          <p:sp>
            <p:nvSpPr>
              <p:cNvPr id="1609" name="TextBox 1608">
                <a:extLst>
                  <a:ext uri="{FF2B5EF4-FFF2-40B4-BE49-F238E27FC236}">
                    <a16:creationId xmlns:a16="http://schemas.microsoft.com/office/drawing/2014/main" id="{98A3302E-6030-30D7-2743-4C69731C6853}"/>
                  </a:ext>
                </a:extLst>
              </p:cNvPr>
              <p:cNvSpPr txBox="1"/>
              <p:nvPr/>
            </p:nvSpPr>
            <p:spPr>
              <a:xfrm>
                <a:off x="3513609" y="3421754"/>
                <a:ext cx="237302" cy="176978"/>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0</a:t>
                </a:r>
              </a:p>
            </p:txBody>
          </p:sp>
          <p:sp>
            <p:nvSpPr>
              <p:cNvPr id="1610" name="TextBox 1609">
                <a:extLst>
                  <a:ext uri="{FF2B5EF4-FFF2-40B4-BE49-F238E27FC236}">
                    <a16:creationId xmlns:a16="http://schemas.microsoft.com/office/drawing/2014/main" id="{7E814D41-9314-A286-2124-FC02D511F90B}"/>
                  </a:ext>
                </a:extLst>
              </p:cNvPr>
              <p:cNvSpPr txBox="1"/>
              <p:nvPr/>
            </p:nvSpPr>
            <p:spPr>
              <a:xfrm>
                <a:off x="3513609" y="3671059"/>
                <a:ext cx="237302" cy="176978"/>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0</a:t>
                </a:r>
              </a:p>
            </p:txBody>
          </p:sp>
          <p:sp>
            <p:nvSpPr>
              <p:cNvPr id="1611" name="TextBox 1610">
                <a:extLst>
                  <a:ext uri="{FF2B5EF4-FFF2-40B4-BE49-F238E27FC236}">
                    <a16:creationId xmlns:a16="http://schemas.microsoft.com/office/drawing/2014/main" id="{925C107B-2F3C-2510-20B9-1692E0DD46F7}"/>
                  </a:ext>
                </a:extLst>
              </p:cNvPr>
              <p:cNvSpPr txBox="1"/>
              <p:nvPr/>
            </p:nvSpPr>
            <p:spPr>
              <a:xfrm>
                <a:off x="3560549" y="3920364"/>
                <a:ext cx="187268" cy="176978"/>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0</a:t>
                </a:r>
              </a:p>
            </p:txBody>
          </p:sp>
        </p:grpSp>
        <p:grpSp>
          <p:nvGrpSpPr>
            <p:cNvPr id="1612" name="Graphic 4">
              <a:extLst>
                <a:ext uri="{FF2B5EF4-FFF2-40B4-BE49-F238E27FC236}">
                  <a16:creationId xmlns:a16="http://schemas.microsoft.com/office/drawing/2014/main" id="{4747CECA-3F95-0F4B-2092-0A6648E74B6E}"/>
                </a:ext>
              </a:extLst>
            </p:cNvPr>
            <p:cNvGrpSpPr/>
            <p:nvPr/>
          </p:nvGrpSpPr>
          <p:grpSpPr>
            <a:xfrm>
              <a:off x="1068876" y="2602721"/>
              <a:ext cx="3450986" cy="176978"/>
              <a:chOff x="3614757" y="4011377"/>
              <a:chExt cx="3450986" cy="176978"/>
            </a:xfrm>
            <a:solidFill>
              <a:srgbClr val="000000"/>
            </a:solidFill>
          </p:grpSpPr>
          <p:sp>
            <p:nvSpPr>
              <p:cNvPr id="1613" name="TextBox 1612">
                <a:extLst>
                  <a:ext uri="{FF2B5EF4-FFF2-40B4-BE49-F238E27FC236}">
                    <a16:creationId xmlns:a16="http://schemas.microsoft.com/office/drawing/2014/main" id="{CD9CA265-2CF8-2B6C-A285-B5CC2787B369}"/>
                  </a:ext>
                </a:extLst>
              </p:cNvPr>
              <p:cNvSpPr txBox="1"/>
              <p:nvPr/>
            </p:nvSpPr>
            <p:spPr>
              <a:xfrm>
                <a:off x="3614757" y="4011377"/>
                <a:ext cx="187268"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0</a:t>
                </a:r>
              </a:p>
            </p:txBody>
          </p:sp>
          <p:sp>
            <p:nvSpPr>
              <p:cNvPr id="1614" name="TextBox 1613">
                <a:extLst>
                  <a:ext uri="{FF2B5EF4-FFF2-40B4-BE49-F238E27FC236}">
                    <a16:creationId xmlns:a16="http://schemas.microsoft.com/office/drawing/2014/main" id="{8578D94C-5757-0B63-1D5E-A67A6069B373}"/>
                  </a:ext>
                </a:extLst>
              </p:cNvPr>
              <p:cNvSpPr txBox="1"/>
              <p:nvPr/>
            </p:nvSpPr>
            <p:spPr>
              <a:xfrm>
                <a:off x="3786076" y="4011377"/>
                <a:ext cx="187268"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a:t>
                </a:r>
              </a:p>
            </p:txBody>
          </p:sp>
          <p:sp>
            <p:nvSpPr>
              <p:cNvPr id="1615" name="TextBox 1614">
                <a:extLst>
                  <a:ext uri="{FF2B5EF4-FFF2-40B4-BE49-F238E27FC236}">
                    <a16:creationId xmlns:a16="http://schemas.microsoft.com/office/drawing/2014/main" id="{5DEEB497-84DE-12C1-FAC0-086574AF0EEF}"/>
                  </a:ext>
                </a:extLst>
              </p:cNvPr>
              <p:cNvSpPr txBox="1"/>
              <p:nvPr/>
            </p:nvSpPr>
            <p:spPr>
              <a:xfrm>
                <a:off x="3957712" y="4011377"/>
                <a:ext cx="187268"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6</a:t>
                </a:r>
              </a:p>
            </p:txBody>
          </p:sp>
          <p:sp>
            <p:nvSpPr>
              <p:cNvPr id="1616" name="TextBox 1615">
                <a:extLst>
                  <a:ext uri="{FF2B5EF4-FFF2-40B4-BE49-F238E27FC236}">
                    <a16:creationId xmlns:a16="http://schemas.microsoft.com/office/drawing/2014/main" id="{54BFDD85-CBE1-E771-3453-245BEB93AE16}"/>
                  </a:ext>
                </a:extLst>
              </p:cNvPr>
              <p:cNvSpPr txBox="1"/>
              <p:nvPr/>
            </p:nvSpPr>
            <p:spPr>
              <a:xfrm>
                <a:off x="4122605" y="4011377"/>
                <a:ext cx="187268"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9</a:t>
                </a:r>
              </a:p>
            </p:txBody>
          </p:sp>
          <p:sp>
            <p:nvSpPr>
              <p:cNvPr id="1617" name="TextBox 1616">
                <a:extLst>
                  <a:ext uri="{FF2B5EF4-FFF2-40B4-BE49-F238E27FC236}">
                    <a16:creationId xmlns:a16="http://schemas.microsoft.com/office/drawing/2014/main" id="{6CDE5DC8-1F59-795F-CD57-57BA5880AE42}"/>
                  </a:ext>
                </a:extLst>
              </p:cNvPr>
              <p:cNvSpPr txBox="1"/>
              <p:nvPr/>
            </p:nvSpPr>
            <p:spPr>
              <a:xfrm>
                <a:off x="4437510" y="4011377"/>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5</a:t>
                </a:r>
              </a:p>
            </p:txBody>
          </p:sp>
          <p:sp>
            <p:nvSpPr>
              <p:cNvPr id="1618" name="TextBox 1617">
                <a:extLst>
                  <a:ext uri="{FF2B5EF4-FFF2-40B4-BE49-F238E27FC236}">
                    <a16:creationId xmlns:a16="http://schemas.microsoft.com/office/drawing/2014/main" id="{D7AA135F-B553-6E20-4500-5C32226B72C3}"/>
                  </a:ext>
                </a:extLst>
              </p:cNvPr>
              <p:cNvSpPr txBox="1"/>
              <p:nvPr/>
            </p:nvSpPr>
            <p:spPr>
              <a:xfrm>
                <a:off x="4609146" y="4011377"/>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8</a:t>
                </a:r>
              </a:p>
            </p:txBody>
          </p:sp>
          <p:sp>
            <p:nvSpPr>
              <p:cNvPr id="1619" name="TextBox 1618">
                <a:extLst>
                  <a:ext uri="{FF2B5EF4-FFF2-40B4-BE49-F238E27FC236}">
                    <a16:creationId xmlns:a16="http://schemas.microsoft.com/office/drawing/2014/main" id="{4E465F45-1B6F-54E9-DA07-74EFE5A93E6A}"/>
                  </a:ext>
                </a:extLst>
              </p:cNvPr>
              <p:cNvSpPr txBox="1"/>
              <p:nvPr/>
            </p:nvSpPr>
            <p:spPr>
              <a:xfrm>
                <a:off x="4790345" y="4011377"/>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1</a:t>
                </a:r>
              </a:p>
            </p:txBody>
          </p:sp>
          <p:sp>
            <p:nvSpPr>
              <p:cNvPr id="1620" name="TextBox 1619">
                <a:extLst>
                  <a:ext uri="{FF2B5EF4-FFF2-40B4-BE49-F238E27FC236}">
                    <a16:creationId xmlns:a16="http://schemas.microsoft.com/office/drawing/2014/main" id="{6B042E2A-8EA5-DCD9-A898-565BD69B6061}"/>
                  </a:ext>
                </a:extLst>
              </p:cNvPr>
              <p:cNvSpPr txBox="1"/>
              <p:nvPr/>
            </p:nvSpPr>
            <p:spPr>
              <a:xfrm>
                <a:off x="4955758" y="4011377"/>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4</a:t>
                </a:r>
              </a:p>
            </p:txBody>
          </p:sp>
          <p:sp>
            <p:nvSpPr>
              <p:cNvPr id="1621" name="TextBox 1620">
                <a:extLst>
                  <a:ext uri="{FF2B5EF4-FFF2-40B4-BE49-F238E27FC236}">
                    <a16:creationId xmlns:a16="http://schemas.microsoft.com/office/drawing/2014/main" id="{A6AF9726-AEB6-6D18-4A0F-21F5497A7A40}"/>
                  </a:ext>
                </a:extLst>
              </p:cNvPr>
              <p:cNvSpPr txBox="1"/>
              <p:nvPr/>
            </p:nvSpPr>
            <p:spPr>
              <a:xfrm>
                <a:off x="5120790" y="4011377"/>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7</a:t>
                </a:r>
              </a:p>
            </p:txBody>
          </p:sp>
          <p:sp>
            <p:nvSpPr>
              <p:cNvPr id="1622" name="TextBox 1621">
                <a:extLst>
                  <a:ext uri="{FF2B5EF4-FFF2-40B4-BE49-F238E27FC236}">
                    <a16:creationId xmlns:a16="http://schemas.microsoft.com/office/drawing/2014/main" id="{5958E956-0126-A7FC-88CD-69F2751573F0}"/>
                  </a:ext>
                </a:extLst>
              </p:cNvPr>
              <p:cNvSpPr txBox="1"/>
              <p:nvPr/>
            </p:nvSpPr>
            <p:spPr>
              <a:xfrm>
                <a:off x="5291754" y="4011377"/>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0</a:t>
                </a:r>
              </a:p>
            </p:txBody>
          </p:sp>
          <p:sp>
            <p:nvSpPr>
              <p:cNvPr id="1623" name="TextBox 1622">
                <a:extLst>
                  <a:ext uri="{FF2B5EF4-FFF2-40B4-BE49-F238E27FC236}">
                    <a16:creationId xmlns:a16="http://schemas.microsoft.com/office/drawing/2014/main" id="{92D761BF-827F-128F-1607-D4D142897ED0}"/>
                  </a:ext>
                </a:extLst>
              </p:cNvPr>
              <p:cNvSpPr txBox="1"/>
              <p:nvPr/>
            </p:nvSpPr>
            <p:spPr>
              <a:xfrm>
                <a:off x="5463073" y="4011377"/>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3</a:t>
                </a:r>
              </a:p>
            </p:txBody>
          </p:sp>
          <p:sp>
            <p:nvSpPr>
              <p:cNvPr id="1624" name="TextBox 1623">
                <a:extLst>
                  <a:ext uri="{FF2B5EF4-FFF2-40B4-BE49-F238E27FC236}">
                    <a16:creationId xmlns:a16="http://schemas.microsoft.com/office/drawing/2014/main" id="{DA410E51-A950-D03C-1D7A-0B7CC056C939}"/>
                  </a:ext>
                </a:extLst>
              </p:cNvPr>
              <p:cNvSpPr txBox="1"/>
              <p:nvPr/>
            </p:nvSpPr>
            <p:spPr>
              <a:xfrm>
                <a:off x="5634530" y="4011377"/>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6</a:t>
                </a:r>
              </a:p>
            </p:txBody>
          </p:sp>
          <p:sp>
            <p:nvSpPr>
              <p:cNvPr id="1625" name="TextBox 1624">
                <a:extLst>
                  <a:ext uri="{FF2B5EF4-FFF2-40B4-BE49-F238E27FC236}">
                    <a16:creationId xmlns:a16="http://schemas.microsoft.com/office/drawing/2014/main" id="{08C0A548-5EC7-F6AD-013A-ED2E2DCDDF82}"/>
                  </a:ext>
                </a:extLst>
              </p:cNvPr>
              <p:cNvSpPr txBox="1"/>
              <p:nvPr/>
            </p:nvSpPr>
            <p:spPr>
              <a:xfrm>
                <a:off x="5805952" y="4011377"/>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9</a:t>
                </a:r>
              </a:p>
            </p:txBody>
          </p:sp>
          <p:sp>
            <p:nvSpPr>
              <p:cNvPr id="1626" name="TextBox 1625">
                <a:extLst>
                  <a:ext uri="{FF2B5EF4-FFF2-40B4-BE49-F238E27FC236}">
                    <a16:creationId xmlns:a16="http://schemas.microsoft.com/office/drawing/2014/main" id="{7AB8E3A3-8934-46CE-C20A-D0580ACDD154}"/>
                  </a:ext>
                </a:extLst>
              </p:cNvPr>
              <p:cNvSpPr txBox="1"/>
              <p:nvPr/>
            </p:nvSpPr>
            <p:spPr>
              <a:xfrm>
                <a:off x="5979149" y="4011377"/>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2</a:t>
                </a:r>
              </a:p>
            </p:txBody>
          </p:sp>
          <p:sp>
            <p:nvSpPr>
              <p:cNvPr id="1627" name="TextBox 1626">
                <a:extLst>
                  <a:ext uri="{FF2B5EF4-FFF2-40B4-BE49-F238E27FC236}">
                    <a16:creationId xmlns:a16="http://schemas.microsoft.com/office/drawing/2014/main" id="{1ACDDD7F-9BF3-5F35-AEEF-A3A81A00265E}"/>
                  </a:ext>
                </a:extLst>
              </p:cNvPr>
              <p:cNvSpPr txBox="1"/>
              <p:nvPr/>
            </p:nvSpPr>
            <p:spPr>
              <a:xfrm>
                <a:off x="6143661" y="4011377"/>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5</a:t>
                </a:r>
              </a:p>
            </p:txBody>
          </p:sp>
          <p:sp>
            <p:nvSpPr>
              <p:cNvPr id="1628" name="TextBox 1627">
                <a:extLst>
                  <a:ext uri="{FF2B5EF4-FFF2-40B4-BE49-F238E27FC236}">
                    <a16:creationId xmlns:a16="http://schemas.microsoft.com/office/drawing/2014/main" id="{490C2D3C-C3FF-CF91-36EA-5FFD38838B8E}"/>
                  </a:ext>
                </a:extLst>
              </p:cNvPr>
              <p:cNvSpPr txBox="1"/>
              <p:nvPr/>
            </p:nvSpPr>
            <p:spPr>
              <a:xfrm>
                <a:off x="6315310" y="4011377"/>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8</a:t>
                </a:r>
              </a:p>
            </p:txBody>
          </p:sp>
          <p:sp>
            <p:nvSpPr>
              <p:cNvPr id="1629" name="TextBox 1628">
                <a:extLst>
                  <a:ext uri="{FF2B5EF4-FFF2-40B4-BE49-F238E27FC236}">
                    <a16:creationId xmlns:a16="http://schemas.microsoft.com/office/drawing/2014/main" id="{DBBFF072-DFF0-74BB-79A3-E1989B42B322}"/>
                  </a:ext>
                </a:extLst>
              </p:cNvPr>
              <p:cNvSpPr txBox="1"/>
              <p:nvPr/>
            </p:nvSpPr>
            <p:spPr>
              <a:xfrm>
                <a:off x="6491658" y="4011377"/>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51</a:t>
                </a:r>
              </a:p>
            </p:txBody>
          </p:sp>
          <p:sp>
            <p:nvSpPr>
              <p:cNvPr id="1630" name="TextBox 1629">
                <a:extLst>
                  <a:ext uri="{FF2B5EF4-FFF2-40B4-BE49-F238E27FC236}">
                    <a16:creationId xmlns:a16="http://schemas.microsoft.com/office/drawing/2014/main" id="{6990BCF5-CE74-696D-C7E0-B39F797877D8}"/>
                  </a:ext>
                </a:extLst>
              </p:cNvPr>
              <p:cNvSpPr txBox="1"/>
              <p:nvPr/>
            </p:nvSpPr>
            <p:spPr>
              <a:xfrm>
                <a:off x="6657058" y="4011377"/>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54</a:t>
                </a:r>
              </a:p>
            </p:txBody>
          </p:sp>
          <p:sp>
            <p:nvSpPr>
              <p:cNvPr id="1631" name="TextBox 1630">
                <a:extLst>
                  <a:ext uri="{FF2B5EF4-FFF2-40B4-BE49-F238E27FC236}">
                    <a16:creationId xmlns:a16="http://schemas.microsoft.com/office/drawing/2014/main" id="{765629F0-8885-35E8-E3C1-16439C63E029}"/>
                  </a:ext>
                </a:extLst>
              </p:cNvPr>
              <p:cNvSpPr txBox="1"/>
              <p:nvPr/>
            </p:nvSpPr>
            <p:spPr>
              <a:xfrm>
                <a:off x="4266635" y="4011377"/>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2</a:t>
                </a:r>
              </a:p>
            </p:txBody>
          </p:sp>
          <p:sp>
            <p:nvSpPr>
              <p:cNvPr id="1632" name="TextBox 1631">
                <a:extLst>
                  <a:ext uri="{FF2B5EF4-FFF2-40B4-BE49-F238E27FC236}">
                    <a16:creationId xmlns:a16="http://schemas.microsoft.com/office/drawing/2014/main" id="{8E1B6E20-B965-7072-E76A-E906AA45FA6A}"/>
                  </a:ext>
                </a:extLst>
              </p:cNvPr>
              <p:cNvSpPr txBox="1"/>
              <p:nvPr/>
            </p:nvSpPr>
            <p:spPr>
              <a:xfrm>
                <a:off x="6828441" y="4011377"/>
                <a:ext cx="237302"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57</a:t>
                </a:r>
              </a:p>
            </p:txBody>
          </p:sp>
        </p:grpSp>
      </p:grpSp>
      <p:grpSp>
        <p:nvGrpSpPr>
          <p:cNvPr id="1641" name="Group 1640">
            <a:extLst>
              <a:ext uri="{FF2B5EF4-FFF2-40B4-BE49-F238E27FC236}">
                <a16:creationId xmlns:a16="http://schemas.microsoft.com/office/drawing/2014/main" id="{0C6EB709-852A-3DD0-87DC-450AD277C1BC}"/>
              </a:ext>
            </a:extLst>
          </p:cNvPr>
          <p:cNvGrpSpPr/>
          <p:nvPr/>
        </p:nvGrpSpPr>
        <p:grpSpPr>
          <a:xfrm>
            <a:off x="6073944" y="1694965"/>
            <a:ext cx="5559830" cy="2615690"/>
            <a:chOff x="4568839" y="1271616"/>
            <a:chExt cx="4138904" cy="1962373"/>
          </a:xfrm>
        </p:grpSpPr>
        <p:grpSp>
          <p:nvGrpSpPr>
            <p:cNvPr id="1536" name="Group 1535">
              <a:extLst>
                <a:ext uri="{FF2B5EF4-FFF2-40B4-BE49-F238E27FC236}">
                  <a16:creationId xmlns:a16="http://schemas.microsoft.com/office/drawing/2014/main" id="{EA5B309F-3561-6DCA-C1CB-B7F0C7550FBB}"/>
                </a:ext>
              </a:extLst>
            </p:cNvPr>
            <p:cNvGrpSpPr/>
            <p:nvPr/>
          </p:nvGrpSpPr>
          <p:grpSpPr>
            <a:xfrm>
              <a:off x="4568839" y="1313079"/>
              <a:ext cx="4138904" cy="1920910"/>
              <a:chOff x="4594239" y="1294029"/>
              <a:chExt cx="4138904" cy="1920910"/>
            </a:xfrm>
          </p:grpSpPr>
          <p:sp>
            <p:nvSpPr>
              <p:cNvPr id="1255" name="TextBox 1254">
                <a:extLst>
                  <a:ext uri="{FF2B5EF4-FFF2-40B4-BE49-F238E27FC236}">
                    <a16:creationId xmlns:a16="http://schemas.microsoft.com/office/drawing/2014/main" id="{0965AC28-C6CC-316A-6FDF-9050EFF1B3A4}"/>
                  </a:ext>
                </a:extLst>
              </p:cNvPr>
              <p:cNvSpPr txBox="1"/>
              <p:nvPr/>
            </p:nvSpPr>
            <p:spPr>
              <a:xfrm>
                <a:off x="4600716" y="2719556"/>
                <a:ext cx="1051556" cy="176978"/>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No. of patients at risk</a:t>
                </a:r>
              </a:p>
            </p:txBody>
          </p:sp>
          <p:sp>
            <p:nvSpPr>
              <p:cNvPr id="1256" name="TextBox 1255">
                <a:extLst>
                  <a:ext uri="{FF2B5EF4-FFF2-40B4-BE49-F238E27FC236}">
                    <a16:creationId xmlns:a16="http://schemas.microsoft.com/office/drawing/2014/main" id="{FC3D5B56-2FE6-5C67-0183-54EE856B8EE4}"/>
                  </a:ext>
                </a:extLst>
              </p:cNvPr>
              <p:cNvSpPr txBox="1"/>
              <p:nvPr/>
            </p:nvSpPr>
            <p:spPr>
              <a:xfrm>
                <a:off x="6618596" y="2701753"/>
                <a:ext cx="754419"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Time (months)</a:t>
                </a:r>
              </a:p>
            </p:txBody>
          </p:sp>
          <p:sp>
            <p:nvSpPr>
              <p:cNvPr id="1257" name="TextBox 1256">
                <a:extLst>
                  <a:ext uri="{FF2B5EF4-FFF2-40B4-BE49-F238E27FC236}">
                    <a16:creationId xmlns:a16="http://schemas.microsoft.com/office/drawing/2014/main" id="{D61997EC-11BC-C820-DAA0-FECAECFE23B7}"/>
                  </a:ext>
                </a:extLst>
              </p:cNvPr>
              <p:cNvSpPr txBox="1"/>
              <p:nvPr/>
            </p:nvSpPr>
            <p:spPr>
              <a:xfrm rot="16200000">
                <a:off x="4597427" y="1888922"/>
                <a:ext cx="967149" cy="1756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PFS probability (%)</a:t>
                </a:r>
              </a:p>
            </p:txBody>
          </p:sp>
          <p:grpSp>
            <p:nvGrpSpPr>
              <p:cNvPr id="1258" name="Graphic 4">
                <a:extLst>
                  <a:ext uri="{FF2B5EF4-FFF2-40B4-BE49-F238E27FC236}">
                    <a16:creationId xmlns:a16="http://schemas.microsoft.com/office/drawing/2014/main" id="{BCF634B3-42C3-8B2A-FA76-9E834614B395}"/>
                  </a:ext>
                </a:extLst>
              </p:cNvPr>
              <p:cNvGrpSpPr/>
              <p:nvPr/>
            </p:nvGrpSpPr>
            <p:grpSpPr>
              <a:xfrm>
                <a:off x="5332064" y="1349570"/>
                <a:ext cx="31751" cy="1252468"/>
                <a:chOff x="7877945" y="2762459"/>
                <a:chExt cx="31751" cy="1252468"/>
              </a:xfrm>
            </p:grpSpPr>
            <p:sp>
              <p:nvSpPr>
                <p:cNvPr id="1259" name="Freeform 1894">
                  <a:extLst>
                    <a:ext uri="{FF2B5EF4-FFF2-40B4-BE49-F238E27FC236}">
                      <a16:creationId xmlns:a16="http://schemas.microsoft.com/office/drawing/2014/main" id="{28A2D725-CFA4-24C0-A336-878F0A97463D}"/>
                    </a:ext>
                  </a:extLst>
                </p:cNvPr>
                <p:cNvSpPr/>
                <p:nvPr/>
              </p:nvSpPr>
              <p:spPr>
                <a:xfrm>
                  <a:off x="7877945" y="2762459"/>
                  <a:ext cx="31751" cy="12644"/>
                </a:xfrm>
                <a:custGeom>
                  <a:avLst/>
                  <a:gdLst>
                    <a:gd name="connsiteX0" fmla="*/ 0 w 31751"/>
                    <a:gd name="connsiteY0" fmla="*/ 0 h 12644"/>
                    <a:gd name="connsiteX1" fmla="*/ 31751 w 31751"/>
                    <a:gd name="connsiteY1" fmla="*/ 0 h 12644"/>
                  </a:gdLst>
                  <a:ahLst/>
                  <a:cxnLst>
                    <a:cxn ang="0">
                      <a:pos x="connsiteX0" y="connsiteY0"/>
                    </a:cxn>
                    <a:cxn ang="0">
                      <a:pos x="connsiteX1" y="connsiteY1"/>
                    </a:cxn>
                  </a:cxnLst>
                  <a:rect l="l" t="t" r="r" b="b"/>
                  <a:pathLst>
                    <a:path w="31751" h="12644">
                      <a:moveTo>
                        <a:pt x="0" y="0"/>
                      </a:moveTo>
                      <a:lnTo>
                        <a:pt x="31751" y="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60" name="Freeform 1895">
                  <a:extLst>
                    <a:ext uri="{FF2B5EF4-FFF2-40B4-BE49-F238E27FC236}">
                      <a16:creationId xmlns:a16="http://schemas.microsoft.com/office/drawing/2014/main" id="{6FBD9D1E-C6A4-F011-AF0B-DDD4388EE637}"/>
                    </a:ext>
                  </a:extLst>
                </p:cNvPr>
                <p:cNvSpPr/>
                <p:nvPr/>
              </p:nvSpPr>
              <p:spPr>
                <a:xfrm>
                  <a:off x="7877945" y="3017694"/>
                  <a:ext cx="31751" cy="12644"/>
                </a:xfrm>
                <a:custGeom>
                  <a:avLst/>
                  <a:gdLst>
                    <a:gd name="connsiteX0" fmla="*/ 0 w 31751"/>
                    <a:gd name="connsiteY0" fmla="*/ 0 h 12644"/>
                    <a:gd name="connsiteX1" fmla="*/ 31751 w 31751"/>
                    <a:gd name="connsiteY1" fmla="*/ 0 h 12644"/>
                  </a:gdLst>
                  <a:ahLst/>
                  <a:cxnLst>
                    <a:cxn ang="0">
                      <a:pos x="connsiteX0" y="connsiteY0"/>
                    </a:cxn>
                    <a:cxn ang="0">
                      <a:pos x="connsiteX1" y="connsiteY1"/>
                    </a:cxn>
                  </a:cxnLst>
                  <a:rect l="l" t="t" r="r" b="b"/>
                  <a:pathLst>
                    <a:path w="31751" h="12644">
                      <a:moveTo>
                        <a:pt x="0" y="0"/>
                      </a:moveTo>
                      <a:lnTo>
                        <a:pt x="31751" y="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61" name="Freeform 1896">
                  <a:extLst>
                    <a:ext uri="{FF2B5EF4-FFF2-40B4-BE49-F238E27FC236}">
                      <a16:creationId xmlns:a16="http://schemas.microsoft.com/office/drawing/2014/main" id="{5CAD0A6A-4830-8E11-C851-5806B43AB52C}"/>
                    </a:ext>
                  </a:extLst>
                </p:cNvPr>
                <p:cNvSpPr/>
                <p:nvPr/>
              </p:nvSpPr>
              <p:spPr>
                <a:xfrm>
                  <a:off x="7877945" y="3267012"/>
                  <a:ext cx="31751" cy="12644"/>
                </a:xfrm>
                <a:custGeom>
                  <a:avLst/>
                  <a:gdLst>
                    <a:gd name="connsiteX0" fmla="*/ 0 w 31751"/>
                    <a:gd name="connsiteY0" fmla="*/ 0 h 12644"/>
                    <a:gd name="connsiteX1" fmla="*/ 31751 w 31751"/>
                    <a:gd name="connsiteY1" fmla="*/ 0 h 12644"/>
                  </a:gdLst>
                  <a:ahLst/>
                  <a:cxnLst>
                    <a:cxn ang="0">
                      <a:pos x="connsiteX0" y="connsiteY0"/>
                    </a:cxn>
                    <a:cxn ang="0">
                      <a:pos x="connsiteX1" y="connsiteY1"/>
                    </a:cxn>
                  </a:cxnLst>
                  <a:rect l="l" t="t" r="r" b="b"/>
                  <a:pathLst>
                    <a:path w="31751" h="12644">
                      <a:moveTo>
                        <a:pt x="0" y="0"/>
                      </a:moveTo>
                      <a:lnTo>
                        <a:pt x="31751" y="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62" name="Freeform 1897">
                  <a:extLst>
                    <a:ext uri="{FF2B5EF4-FFF2-40B4-BE49-F238E27FC236}">
                      <a16:creationId xmlns:a16="http://schemas.microsoft.com/office/drawing/2014/main" id="{C4A93537-B124-DB16-A3D5-FBA2D6DEC74B}"/>
                    </a:ext>
                  </a:extLst>
                </p:cNvPr>
                <p:cNvSpPr/>
                <p:nvPr/>
              </p:nvSpPr>
              <p:spPr>
                <a:xfrm>
                  <a:off x="7877945" y="3516317"/>
                  <a:ext cx="31751" cy="12644"/>
                </a:xfrm>
                <a:custGeom>
                  <a:avLst/>
                  <a:gdLst>
                    <a:gd name="connsiteX0" fmla="*/ 0 w 31751"/>
                    <a:gd name="connsiteY0" fmla="*/ 0 h 12644"/>
                    <a:gd name="connsiteX1" fmla="*/ 31751 w 31751"/>
                    <a:gd name="connsiteY1" fmla="*/ 0 h 12644"/>
                  </a:gdLst>
                  <a:ahLst/>
                  <a:cxnLst>
                    <a:cxn ang="0">
                      <a:pos x="connsiteX0" y="connsiteY0"/>
                    </a:cxn>
                    <a:cxn ang="0">
                      <a:pos x="connsiteX1" y="connsiteY1"/>
                    </a:cxn>
                  </a:cxnLst>
                  <a:rect l="l" t="t" r="r" b="b"/>
                  <a:pathLst>
                    <a:path w="31751" h="12644">
                      <a:moveTo>
                        <a:pt x="0" y="0"/>
                      </a:moveTo>
                      <a:lnTo>
                        <a:pt x="31751" y="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63" name="Freeform 1898">
                  <a:extLst>
                    <a:ext uri="{FF2B5EF4-FFF2-40B4-BE49-F238E27FC236}">
                      <a16:creationId xmlns:a16="http://schemas.microsoft.com/office/drawing/2014/main" id="{FE7092D7-4F01-ECA7-91DB-EA26B8B4C292}"/>
                    </a:ext>
                  </a:extLst>
                </p:cNvPr>
                <p:cNvSpPr/>
                <p:nvPr/>
              </p:nvSpPr>
              <p:spPr>
                <a:xfrm>
                  <a:off x="7877945" y="3765622"/>
                  <a:ext cx="31751" cy="12644"/>
                </a:xfrm>
                <a:custGeom>
                  <a:avLst/>
                  <a:gdLst>
                    <a:gd name="connsiteX0" fmla="*/ 0 w 31751"/>
                    <a:gd name="connsiteY0" fmla="*/ 0 h 12644"/>
                    <a:gd name="connsiteX1" fmla="*/ 31751 w 31751"/>
                    <a:gd name="connsiteY1" fmla="*/ 0 h 12644"/>
                  </a:gdLst>
                  <a:ahLst/>
                  <a:cxnLst>
                    <a:cxn ang="0">
                      <a:pos x="connsiteX0" y="connsiteY0"/>
                    </a:cxn>
                    <a:cxn ang="0">
                      <a:pos x="connsiteX1" y="connsiteY1"/>
                    </a:cxn>
                  </a:cxnLst>
                  <a:rect l="l" t="t" r="r" b="b"/>
                  <a:pathLst>
                    <a:path w="31751" h="12644">
                      <a:moveTo>
                        <a:pt x="0" y="0"/>
                      </a:moveTo>
                      <a:lnTo>
                        <a:pt x="31751" y="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64" name="Freeform 1899">
                  <a:extLst>
                    <a:ext uri="{FF2B5EF4-FFF2-40B4-BE49-F238E27FC236}">
                      <a16:creationId xmlns:a16="http://schemas.microsoft.com/office/drawing/2014/main" id="{1A51F20F-60E7-62F8-7837-8D02FCE9B7DA}"/>
                    </a:ext>
                  </a:extLst>
                </p:cNvPr>
                <p:cNvSpPr/>
                <p:nvPr/>
              </p:nvSpPr>
              <p:spPr>
                <a:xfrm>
                  <a:off x="7877945" y="4014927"/>
                  <a:ext cx="31751" cy="12644"/>
                </a:xfrm>
                <a:custGeom>
                  <a:avLst/>
                  <a:gdLst>
                    <a:gd name="connsiteX0" fmla="*/ 0 w 31751"/>
                    <a:gd name="connsiteY0" fmla="*/ 0 h 12644"/>
                    <a:gd name="connsiteX1" fmla="*/ 31751 w 31751"/>
                    <a:gd name="connsiteY1" fmla="*/ 0 h 12644"/>
                  </a:gdLst>
                  <a:ahLst/>
                  <a:cxnLst>
                    <a:cxn ang="0">
                      <a:pos x="connsiteX0" y="connsiteY0"/>
                    </a:cxn>
                    <a:cxn ang="0">
                      <a:pos x="connsiteX1" y="connsiteY1"/>
                    </a:cxn>
                  </a:cxnLst>
                  <a:rect l="l" t="t" r="r" b="b"/>
                  <a:pathLst>
                    <a:path w="31751" h="12644">
                      <a:moveTo>
                        <a:pt x="0" y="0"/>
                      </a:moveTo>
                      <a:lnTo>
                        <a:pt x="31751" y="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265" name="Graphic 4">
                <a:extLst>
                  <a:ext uri="{FF2B5EF4-FFF2-40B4-BE49-F238E27FC236}">
                    <a16:creationId xmlns:a16="http://schemas.microsoft.com/office/drawing/2014/main" id="{8967AE72-DB15-120D-B36E-C5245078EB77}"/>
                  </a:ext>
                </a:extLst>
              </p:cNvPr>
              <p:cNvGrpSpPr/>
              <p:nvPr/>
            </p:nvGrpSpPr>
            <p:grpSpPr>
              <a:xfrm>
                <a:off x="5271311" y="2598488"/>
                <a:ext cx="3451351" cy="176978"/>
                <a:chOff x="7817192" y="4011377"/>
                <a:chExt cx="3451351" cy="176978"/>
              </a:xfrm>
              <a:solidFill>
                <a:srgbClr val="000000"/>
              </a:solidFill>
            </p:grpSpPr>
            <p:sp>
              <p:nvSpPr>
                <p:cNvPr id="1266" name="TextBox 1265">
                  <a:extLst>
                    <a:ext uri="{FF2B5EF4-FFF2-40B4-BE49-F238E27FC236}">
                      <a16:creationId xmlns:a16="http://schemas.microsoft.com/office/drawing/2014/main" id="{5C34EAA8-5A54-EAB7-C750-9A5F6697DEDB}"/>
                    </a:ext>
                  </a:extLst>
                </p:cNvPr>
                <p:cNvSpPr txBox="1"/>
                <p:nvPr/>
              </p:nvSpPr>
              <p:spPr>
                <a:xfrm>
                  <a:off x="7817192" y="4011377"/>
                  <a:ext cx="18759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0</a:t>
                  </a:r>
                </a:p>
              </p:txBody>
            </p:sp>
            <p:sp>
              <p:nvSpPr>
                <p:cNvPr id="1267" name="TextBox 1266">
                  <a:extLst>
                    <a:ext uri="{FF2B5EF4-FFF2-40B4-BE49-F238E27FC236}">
                      <a16:creationId xmlns:a16="http://schemas.microsoft.com/office/drawing/2014/main" id="{86822534-D693-2674-40F7-1FCCDF6CE5A2}"/>
                    </a:ext>
                  </a:extLst>
                </p:cNvPr>
                <p:cNvSpPr txBox="1"/>
                <p:nvPr/>
              </p:nvSpPr>
              <p:spPr>
                <a:xfrm>
                  <a:off x="7988523" y="4011377"/>
                  <a:ext cx="18759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a:t>
                  </a:r>
                </a:p>
              </p:txBody>
            </p:sp>
            <p:sp>
              <p:nvSpPr>
                <p:cNvPr id="1268" name="TextBox 1267">
                  <a:extLst>
                    <a:ext uri="{FF2B5EF4-FFF2-40B4-BE49-F238E27FC236}">
                      <a16:creationId xmlns:a16="http://schemas.microsoft.com/office/drawing/2014/main" id="{7BC0D0C9-F26D-D210-EEFC-AAA891FA962F}"/>
                    </a:ext>
                  </a:extLst>
                </p:cNvPr>
                <p:cNvSpPr txBox="1"/>
                <p:nvPr/>
              </p:nvSpPr>
              <p:spPr>
                <a:xfrm>
                  <a:off x="8160159" y="4011377"/>
                  <a:ext cx="18759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6</a:t>
                  </a:r>
                </a:p>
              </p:txBody>
            </p:sp>
            <p:sp>
              <p:nvSpPr>
                <p:cNvPr id="1269" name="TextBox 1268">
                  <a:extLst>
                    <a:ext uri="{FF2B5EF4-FFF2-40B4-BE49-F238E27FC236}">
                      <a16:creationId xmlns:a16="http://schemas.microsoft.com/office/drawing/2014/main" id="{58A35F37-2E7A-DA60-2F5B-16676D82CA3C}"/>
                    </a:ext>
                  </a:extLst>
                </p:cNvPr>
                <p:cNvSpPr txBox="1"/>
                <p:nvPr/>
              </p:nvSpPr>
              <p:spPr>
                <a:xfrm>
                  <a:off x="8325039" y="4011377"/>
                  <a:ext cx="18759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9</a:t>
                  </a:r>
                </a:p>
              </p:txBody>
            </p:sp>
            <p:sp>
              <p:nvSpPr>
                <p:cNvPr id="1270" name="TextBox 1269">
                  <a:extLst>
                    <a:ext uri="{FF2B5EF4-FFF2-40B4-BE49-F238E27FC236}">
                      <a16:creationId xmlns:a16="http://schemas.microsoft.com/office/drawing/2014/main" id="{28F6AAD0-0274-26FD-DDAB-83837D03EF42}"/>
                    </a:ext>
                  </a:extLst>
                </p:cNvPr>
                <p:cNvSpPr txBox="1"/>
                <p:nvPr/>
              </p:nvSpPr>
              <p:spPr>
                <a:xfrm>
                  <a:off x="8639916" y="4011377"/>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5</a:t>
                  </a:r>
                </a:p>
              </p:txBody>
            </p:sp>
            <p:sp>
              <p:nvSpPr>
                <p:cNvPr id="1271" name="TextBox 1270">
                  <a:extLst>
                    <a:ext uri="{FF2B5EF4-FFF2-40B4-BE49-F238E27FC236}">
                      <a16:creationId xmlns:a16="http://schemas.microsoft.com/office/drawing/2014/main" id="{58B7ADE3-58F7-2088-B750-96B183C30351}"/>
                    </a:ext>
                  </a:extLst>
                </p:cNvPr>
                <p:cNvSpPr txBox="1"/>
                <p:nvPr/>
              </p:nvSpPr>
              <p:spPr>
                <a:xfrm>
                  <a:off x="8811553" y="4011377"/>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8</a:t>
                  </a:r>
                </a:p>
              </p:txBody>
            </p:sp>
            <p:sp>
              <p:nvSpPr>
                <p:cNvPr id="1272" name="TextBox 1271">
                  <a:extLst>
                    <a:ext uri="{FF2B5EF4-FFF2-40B4-BE49-F238E27FC236}">
                      <a16:creationId xmlns:a16="http://schemas.microsoft.com/office/drawing/2014/main" id="{AF7970CE-4CEA-01F1-10D0-5A9D4ED5D25D}"/>
                    </a:ext>
                  </a:extLst>
                </p:cNvPr>
                <p:cNvSpPr txBox="1"/>
                <p:nvPr/>
              </p:nvSpPr>
              <p:spPr>
                <a:xfrm>
                  <a:off x="8992753" y="4011377"/>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1</a:t>
                  </a:r>
                </a:p>
              </p:txBody>
            </p:sp>
            <p:sp>
              <p:nvSpPr>
                <p:cNvPr id="1273" name="TextBox 1272">
                  <a:extLst>
                    <a:ext uri="{FF2B5EF4-FFF2-40B4-BE49-F238E27FC236}">
                      <a16:creationId xmlns:a16="http://schemas.microsoft.com/office/drawing/2014/main" id="{556D4578-EC7D-C19B-EA22-622CFE777130}"/>
                    </a:ext>
                  </a:extLst>
                </p:cNvPr>
                <p:cNvSpPr txBox="1"/>
                <p:nvPr/>
              </p:nvSpPr>
              <p:spPr>
                <a:xfrm>
                  <a:off x="9158165" y="4011377"/>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4</a:t>
                  </a:r>
                </a:p>
              </p:txBody>
            </p:sp>
            <p:sp>
              <p:nvSpPr>
                <p:cNvPr id="1274" name="TextBox 1273">
                  <a:extLst>
                    <a:ext uri="{FF2B5EF4-FFF2-40B4-BE49-F238E27FC236}">
                      <a16:creationId xmlns:a16="http://schemas.microsoft.com/office/drawing/2014/main" id="{919FAAEB-84AE-3CC6-DFB8-8B358180992C}"/>
                    </a:ext>
                  </a:extLst>
                </p:cNvPr>
                <p:cNvSpPr txBox="1"/>
                <p:nvPr/>
              </p:nvSpPr>
              <p:spPr>
                <a:xfrm>
                  <a:off x="9323185" y="4011377"/>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7</a:t>
                  </a:r>
                </a:p>
              </p:txBody>
            </p:sp>
            <p:sp>
              <p:nvSpPr>
                <p:cNvPr id="1275" name="TextBox 1274">
                  <a:extLst>
                    <a:ext uri="{FF2B5EF4-FFF2-40B4-BE49-F238E27FC236}">
                      <a16:creationId xmlns:a16="http://schemas.microsoft.com/office/drawing/2014/main" id="{639256B7-12FF-217D-45D7-CF9338A9092C}"/>
                    </a:ext>
                  </a:extLst>
                </p:cNvPr>
                <p:cNvSpPr txBox="1"/>
                <p:nvPr/>
              </p:nvSpPr>
              <p:spPr>
                <a:xfrm>
                  <a:off x="9494160" y="4011377"/>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0</a:t>
                  </a:r>
                </a:p>
              </p:txBody>
            </p:sp>
            <p:sp>
              <p:nvSpPr>
                <p:cNvPr id="1276" name="TextBox 1275">
                  <a:extLst>
                    <a:ext uri="{FF2B5EF4-FFF2-40B4-BE49-F238E27FC236}">
                      <a16:creationId xmlns:a16="http://schemas.microsoft.com/office/drawing/2014/main" id="{C73B4819-47FD-EB00-6194-FC48523FCA9F}"/>
                    </a:ext>
                  </a:extLst>
                </p:cNvPr>
                <p:cNvSpPr txBox="1"/>
                <p:nvPr/>
              </p:nvSpPr>
              <p:spPr>
                <a:xfrm>
                  <a:off x="9665466" y="4011377"/>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3</a:t>
                  </a:r>
                </a:p>
              </p:txBody>
            </p:sp>
            <p:sp>
              <p:nvSpPr>
                <p:cNvPr id="1277" name="TextBox 1276">
                  <a:extLst>
                    <a:ext uri="{FF2B5EF4-FFF2-40B4-BE49-F238E27FC236}">
                      <a16:creationId xmlns:a16="http://schemas.microsoft.com/office/drawing/2014/main" id="{F90060DC-BD2B-E083-D77A-691F1BBAAF24}"/>
                    </a:ext>
                  </a:extLst>
                </p:cNvPr>
                <p:cNvSpPr txBox="1"/>
                <p:nvPr/>
              </p:nvSpPr>
              <p:spPr>
                <a:xfrm>
                  <a:off x="9836937" y="4011377"/>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6</a:t>
                  </a:r>
                </a:p>
              </p:txBody>
            </p:sp>
            <p:sp>
              <p:nvSpPr>
                <p:cNvPr id="1278" name="TextBox 1277">
                  <a:extLst>
                    <a:ext uri="{FF2B5EF4-FFF2-40B4-BE49-F238E27FC236}">
                      <a16:creationId xmlns:a16="http://schemas.microsoft.com/office/drawing/2014/main" id="{C7FC3810-488A-51FB-D31A-E564D0543FFA}"/>
                    </a:ext>
                  </a:extLst>
                </p:cNvPr>
                <p:cNvSpPr txBox="1"/>
                <p:nvPr/>
              </p:nvSpPr>
              <p:spPr>
                <a:xfrm>
                  <a:off x="10008358" y="4011377"/>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9</a:t>
                  </a:r>
                </a:p>
              </p:txBody>
            </p:sp>
            <p:sp>
              <p:nvSpPr>
                <p:cNvPr id="1279" name="TextBox 1278">
                  <a:extLst>
                    <a:ext uri="{FF2B5EF4-FFF2-40B4-BE49-F238E27FC236}">
                      <a16:creationId xmlns:a16="http://schemas.microsoft.com/office/drawing/2014/main" id="{9A443914-A91A-A889-5893-4D85E506DE2E}"/>
                    </a:ext>
                  </a:extLst>
                </p:cNvPr>
                <p:cNvSpPr txBox="1"/>
                <p:nvPr/>
              </p:nvSpPr>
              <p:spPr>
                <a:xfrm>
                  <a:off x="10181543" y="4011377"/>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2</a:t>
                  </a:r>
                </a:p>
              </p:txBody>
            </p:sp>
            <p:sp>
              <p:nvSpPr>
                <p:cNvPr id="1280" name="TextBox 1279">
                  <a:extLst>
                    <a:ext uri="{FF2B5EF4-FFF2-40B4-BE49-F238E27FC236}">
                      <a16:creationId xmlns:a16="http://schemas.microsoft.com/office/drawing/2014/main" id="{2FEBDC9D-1CBE-4F05-9631-E7D6833BD64C}"/>
                    </a:ext>
                  </a:extLst>
                </p:cNvPr>
                <p:cNvSpPr txBox="1"/>
                <p:nvPr/>
              </p:nvSpPr>
              <p:spPr>
                <a:xfrm>
                  <a:off x="10346055" y="4011377"/>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5</a:t>
                  </a:r>
                </a:p>
              </p:txBody>
            </p:sp>
            <p:sp>
              <p:nvSpPr>
                <p:cNvPr id="1281" name="TextBox 1280">
                  <a:extLst>
                    <a:ext uri="{FF2B5EF4-FFF2-40B4-BE49-F238E27FC236}">
                      <a16:creationId xmlns:a16="http://schemas.microsoft.com/office/drawing/2014/main" id="{5F2FD06A-824D-3463-AACF-40A894654F30}"/>
                    </a:ext>
                  </a:extLst>
                </p:cNvPr>
                <p:cNvSpPr txBox="1"/>
                <p:nvPr/>
              </p:nvSpPr>
              <p:spPr>
                <a:xfrm>
                  <a:off x="10517715" y="4011377"/>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8</a:t>
                  </a:r>
                </a:p>
              </p:txBody>
            </p:sp>
            <p:sp>
              <p:nvSpPr>
                <p:cNvPr id="1282" name="TextBox 1281">
                  <a:extLst>
                    <a:ext uri="{FF2B5EF4-FFF2-40B4-BE49-F238E27FC236}">
                      <a16:creationId xmlns:a16="http://schemas.microsoft.com/office/drawing/2014/main" id="{62EA3FDD-70A3-940A-7A5D-EBC8C44748DF}"/>
                    </a:ext>
                  </a:extLst>
                </p:cNvPr>
                <p:cNvSpPr txBox="1"/>
                <p:nvPr/>
              </p:nvSpPr>
              <p:spPr>
                <a:xfrm>
                  <a:off x="10694064" y="4011377"/>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51</a:t>
                  </a:r>
                </a:p>
              </p:txBody>
            </p:sp>
            <p:sp>
              <p:nvSpPr>
                <p:cNvPr id="1283" name="TextBox 1282">
                  <a:extLst>
                    <a:ext uri="{FF2B5EF4-FFF2-40B4-BE49-F238E27FC236}">
                      <a16:creationId xmlns:a16="http://schemas.microsoft.com/office/drawing/2014/main" id="{67A79454-9A8B-C9EF-3E60-FB52E31ABF13}"/>
                    </a:ext>
                  </a:extLst>
                </p:cNvPr>
                <p:cNvSpPr txBox="1"/>
                <p:nvPr/>
              </p:nvSpPr>
              <p:spPr>
                <a:xfrm>
                  <a:off x="10859464" y="4011377"/>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54</a:t>
                  </a:r>
                </a:p>
              </p:txBody>
            </p:sp>
            <p:sp>
              <p:nvSpPr>
                <p:cNvPr id="1284" name="TextBox 1283">
                  <a:extLst>
                    <a:ext uri="{FF2B5EF4-FFF2-40B4-BE49-F238E27FC236}">
                      <a16:creationId xmlns:a16="http://schemas.microsoft.com/office/drawing/2014/main" id="{1D074F3B-A2CB-F977-73C1-C15EB739038F}"/>
                    </a:ext>
                  </a:extLst>
                </p:cNvPr>
                <p:cNvSpPr txBox="1"/>
                <p:nvPr/>
              </p:nvSpPr>
              <p:spPr>
                <a:xfrm>
                  <a:off x="8469031" y="4011377"/>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2</a:t>
                  </a:r>
                </a:p>
              </p:txBody>
            </p:sp>
            <p:sp>
              <p:nvSpPr>
                <p:cNvPr id="1285" name="TextBox 1284">
                  <a:extLst>
                    <a:ext uri="{FF2B5EF4-FFF2-40B4-BE49-F238E27FC236}">
                      <a16:creationId xmlns:a16="http://schemas.microsoft.com/office/drawing/2014/main" id="{ED645BF2-8351-4CED-E506-24FF88CF5798}"/>
                    </a:ext>
                  </a:extLst>
                </p:cNvPr>
                <p:cNvSpPr txBox="1"/>
                <p:nvPr/>
              </p:nvSpPr>
              <p:spPr>
                <a:xfrm>
                  <a:off x="11030833" y="4011377"/>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57</a:t>
                  </a:r>
                </a:p>
              </p:txBody>
            </p:sp>
          </p:grpSp>
          <p:grpSp>
            <p:nvGrpSpPr>
              <p:cNvPr id="1286" name="Graphic 4">
                <a:extLst>
                  <a:ext uri="{FF2B5EF4-FFF2-40B4-BE49-F238E27FC236}">
                    <a16:creationId xmlns:a16="http://schemas.microsoft.com/office/drawing/2014/main" id="{D24CA9A4-0659-87E3-ADDB-7F41D9C84120}"/>
                  </a:ext>
                </a:extLst>
              </p:cNvPr>
              <p:cNvGrpSpPr/>
              <p:nvPr/>
            </p:nvGrpSpPr>
            <p:grpSpPr>
              <a:xfrm>
                <a:off x="5363816" y="2602038"/>
                <a:ext cx="3238658" cy="31610"/>
                <a:chOff x="7909697" y="4014927"/>
                <a:chExt cx="3238658" cy="31610"/>
              </a:xfrm>
            </p:grpSpPr>
            <p:sp>
              <p:nvSpPr>
                <p:cNvPr id="1287" name="Freeform 1922">
                  <a:extLst>
                    <a:ext uri="{FF2B5EF4-FFF2-40B4-BE49-F238E27FC236}">
                      <a16:creationId xmlns:a16="http://schemas.microsoft.com/office/drawing/2014/main" id="{02D00923-0C5C-E167-70D7-269E927FC2E2}"/>
                    </a:ext>
                  </a:extLst>
                </p:cNvPr>
                <p:cNvSpPr/>
                <p:nvPr/>
              </p:nvSpPr>
              <p:spPr>
                <a:xfrm>
                  <a:off x="7909697"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88" name="Freeform 1923">
                  <a:extLst>
                    <a:ext uri="{FF2B5EF4-FFF2-40B4-BE49-F238E27FC236}">
                      <a16:creationId xmlns:a16="http://schemas.microsoft.com/office/drawing/2014/main" id="{85CD22B1-008A-B6BC-52AA-DC500C94383D}"/>
                    </a:ext>
                  </a:extLst>
                </p:cNvPr>
                <p:cNvSpPr/>
                <p:nvPr/>
              </p:nvSpPr>
              <p:spPr>
                <a:xfrm>
                  <a:off x="8081155"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89" name="Freeform 1924">
                  <a:extLst>
                    <a:ext uri="{FF2B5EF4-FFF2-40B4-BE49-F238E27FC236}">
                      <a16:creationId xmlns:a16="http://schemas.microsoft.com/office/drawing/2014/main" id="{7A053A2A-2349-0608-40C3-5D441A9B5AFE}"/>
                    </a:ext>
                  </a:extLst>
                </p:cNvPr>
                <p:cNvSpPr/>
                <p:nvPr/>
              </p:nvSpPr>
              <p:spPr>
                <a:xfrm>
                  <a:off x="8252613"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90" name="Freeform 1925">
                  <a:extLst>
                    <a:ext uri="{FF2B5EF4-FFF2-40B4-BE49-F238E27FC236}">
                      <a16:creationId xmlns:a16="http://schemas.microsoft.com/office/drawing/2014/main" id="{FFC5CE10-5CC7-A004-E1B2-7F73B8BF5249}"/>
                    </a:ext>
                  </a:extLst>
                </p:cNvPr>
                <p:cNvSpPr/>
                <p:nvPr/>
              </p:nvSpPr>
              <p:spPr>
                <a:xfrm>
                  <a:off x="8417721"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91" name="Freeform 1926">
                  <a:extLst>
                    <a:ext uri="{FF2B5EF4-FFF2-40B4-BE49-F238E27FC236}">
                      <a16:creationId xmlns:a16="http://schemas.microsoft.com/office/drawing/2014/main" id="{ED1E51EF-5DF2-E331-6A6D-A07F29BF0ACB}"/>
                    </a:ext>
                  </a:extLst>
                </p:cNvPr>
                <p:cNvSpPr/>
                <p:nvPr/>
              </p:nvSpPr>
              <p:spPr>
                <a:xfrm>
                  <a:off x="8589180"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92" name="Freeform 1927">
                  <a:extLst>
                    <a:ext uri="{FF2B5EF4-FFF2-40B4-BE49-F238E27FC236}">
                      <a16:creationId xmlns:a16="http://schemas.microsoft.com/office/drawing/2014/main" id="{061159EF-1EDA-8A2C-77F0-060E3FD9C01D}"/>
                    </a:ext>
                  </a:extLst>
                </p:cNvPr>
                <p:cNvSpPr/>
                <p:nvPr/>
              </p:nvSpPr>
              <p:spPr>
                <a:xfrm>
                  <a:off x="8760638"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93" name="Freeform 1928">
                  <a:extLst>
                    <a:ext uri="{FF2B5EF4-FFF2-40B4-BE49-F238E27FC236}">
                      <a16:creationId xmlns:a16="http://schemas.microsoft.com/office/drawing/2014/main" id="{9597F97D-7124-C923-6C6A-F4277F2908E8}"/>
                    </a:ext>
                  </a:extLst>
                </p:cNvPr>
                <p:cNvSpPr/>
                <p:nvPr/>
              </p:nvSpPr>
              <p:spPr>
                <a:xfrm>
                  <a:off x="8932097"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94" name="Freeform 1929">
                  <a:extLst>
                    <a:ext uri="{FF2B5EF4-FFF2-40B4-BE49-F238E27FC236}">
                      <a16:creationId xmlns:a16="http://schemas.microsoft.com/office/drawing/2014/main" id="{51777A28-235F-9FAB-D420-C1515C905B09}"/>
                    </a:ext>
                  </a:extLst>
                </p:cNvPr>
                <p:cNvSpPr/>
                <p:nvPr/>
              </p:nvSpPr>
              <p:spPr>
                <a:xfrm>
                  <a:off x="9103555"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95" name="Freeform 1930">
                  <a:extLst>
                    <a:ext uri="{FF2B5EF4-FFF2-40B4-BE49-F238E27FC236}">
                      <a16:creationId xmlns:a16="http://schemas.microsoft.com/office/drawing/2014/main" id="{1A899EAB-26C1-1DC6-2D79-84F6C35EE7B0}"/>
                    </a:ext>
                  </a:extLst>
                </p:cNvPr>
                <p:cNvSpPr/>
                <p:nvPr/>
              </p:nvSpPr>
              <p:spPr>
                <a:xfrm>
                  <a:off x="9275013"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96" name="Freeform 1931">
                  <a:extLst>
                    <a:ext uri="{FF2B5EF4-FFF2-40B4-BE49-F238E27FC236}">
                      <a16:creationId xmlns:a16="http://schemas.microsoft.com/office/drawing/2014/main" id="{D137F901-967A-BF1A-502A-CE28411F9DB1}"/>
                    </a:ext>
                  </a:extLst>
                </p:cNvPr>
                <p:cNvSpPr/>
                <p:nvPr/>
              </p:nvSpPr>
              <p:spPr>
                <a:xfrm>
                  <a:off x="9440121"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97" name="Freeform 1932">
                  <a:extLst>
                    <a:ext uri="{FF2B5EF4-FFF2-40B4-BE49-F238E27FC236}">
                      <a16:creationId xmlns:a16="http://schemas.microsoft.com/office/drawing/2014/main" id="{17D2DBBC-3AD7-A468-5F9F-5D2D1E717386}"/>
                    </a:ext>
                  </a:extLst>
                </p:cNvPr>
                <p:cNvSpPr/>
                <p:nvPr/>
              </p:nvSpPr>
              <p:spPr>
                <a:xfrm>
                  <a:off x="9611580"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98" name="Freeform 1933">
                  <a:extLst>
                    <a:ext uri="{FF2B5EF4-FFF2-40B4-BE49-F238E27FC236}">
                      <a16:creationId xmlns:a16="http://schemas.microsoft.com/office/drawing/2014/main" id="{C542A7C4-3E15-A070-5DDD-ABBC24F22CB4}"/>
                    </a:ext>
                  </a:extLst>
                </p:cNvPr>
                <p:cNvSpPr/>
                <p:nvPr/>
              </p:nvSpPr>
              <p:spPr>
                <a:xfrm>
                  <a:off x="9783038"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299" name="Freeform 1934">
                  <a:extLst>
                    <a:ext uri="{FF2B5EF4-FFF2-40B4-BE49-F238E27FC236}">
                      <a16:creationId xmlns:a16="http://schemas.microsoft.com/office/drawing/2014/main" id="{417940FF-C339-5DB0-01EF-54865CFB17CB}"/>
                    </a:ext>
                  </a:extLst>
                </p:cNvPr>
                <p:cNvSpPr/>
                <p:nvPr/>
              </p:nvSpPr>
              <p:spPr>
                <a:xfrm>
                  <a:off x="9954497"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300" name="Freeform 1935">
                  <a:extLst>
                    <a:ext uri="{FF2B5EF4-FFF2-40B4-BE49-F238E27FC236}">
                      <a16:creationId xmlns:a16="http://schemas.microsoft.com/office/drawing/2014/main" id="{9D295FF7-F823-7F79-2BA2-34A5B5630135}"/>
                    </a:ext>
                  </a:extLst>
                </p:cNvPr>
                <p:cNvSpPr/>
                <p:nvPr/>
              </p:nvSpPr>
              <p:spPr>
                <a:xfrm>
                  <a:off x="10297413"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301" name="Freeform 1936">
                  <a:extLst>
                    <a:ext uri="{FF2B5EF4-FFF2-40B4-BE49-F238E27FC236}">
                      <a16:creationId xmlns:a16="http://schemas.microsoft.com/office/drawing/2014/main" id="{DC522B13-5C2D-53EA-1904-83F5B2E2B6B1}"/>
                    </a:ext>
                  </a:extLst>
                </p:cNvPr>
                <p:cNvSpPr/>
                <p:nvPr/>
              </p:nvSpPr>
              <p:spPr>
                <a:xfrm>
                  <a:off x="10462521"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302" name="Freeform 1937">
                  <a:extLst>
                    <a:ext uri="{FF2B5EF4-FFF2-40B4-BE49-F238E27FC236}">
                      <a16:creationId xmlns:a16="http://schemas.microsoft.com/office/drawing/2014/main" id="{649623D3-C87F-B950-BB93-FC0FE71327A1}"/>
                    </a:ext>
                  </a:extLst>
                </p:cNvPr>
                <p:cNvSpPr/>
                <p:nvPr/>
              </p:nvSpPr>
              <p:spPr>
                <a:xfrm>
                  <a:off x="10633980"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303" name="Freeform 1938">
                  <a:extLst>
                    <a:ext uri="{FF2B5EF4-FFF2-40B4-BE49-F238E27FC236}">
                      <a16:creationId xmlns:a16="http://schemas.microsoft.com/office/drawing/2014/main" id="{731C3357-C441-22C6-CC27-66546C362EAE}"/>
                    </a:ext>
                  </a:extLst>
                </p:cNvPr>
                <p:cNvSpPr/>
                <p:nvPr/>
              </p:nvSpPr>
              <p:spPr>
                <a:xfrm>
                  <a:off x="10805438"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304" name="Freeform 1939">
                  <a:extLst>
                    <a:ext uri="{FF2B5EF4-FFF2-40B4-BE49-F238E27FC236}">
                      <a16:creationId xmlns:a16="http://schemas.microsoft.com/office/drawing/2014/main" id="{8062AD43-B82B-B9B6-C258-AF9DCB9898C1}"/>
                    </a:ext>
                  </a:extLst>
                </p:cNvPr>
                <p:cNvSpPr/>
                <p:nvPr/>
              </p:nvSpPr>
              <p:spPr>
                <a:xfrm>
                  <a:off x="10976897"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305" name="Freeform 1940">
                  <a:extLst>
                    <a:ext uri="{FF2B5EF4-FFF2-40B4-BE49-F238E27FC236}">
                      <a16:creationId xmlns:a16="http://schemas.microsoft.com/office/drawing/2014/main" id="{D65080C9-4A49-3A3C-AF5D-58C66145F70B}"/>
                    </a:ext>
                  </a:extLst>
                </p:cNvPr>
                <p:cNvSpPr/>
                <p:nvPr/>
              </p:nvSpPr>
              <p:spPr>
                <a:xfrm>
                  <a:off x="11148355"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306" name="Freeform 1941">
                  <a:extLst>
                    <a:ext uri="{FF2B5EF4-FFF2-40B4-BE49-F238E27FC236}">
                      <a16:creationId xmlns:a16="http://schemas.microsoft.com/office/drawing/2014/main" id="{DA1716D2-924F-A5E4-21FF-927023D9C000}"/>
                    </a:ext>
                  </a:extLst>
                </p:cNvPr>
                <p:cNvSpPr/>
                <p:nvPr/>
              </p:nvSpPr>
              <p:spPr>
                <a:xfrm>
                  <a:off x="10125955" y="4014927"/>
                  <a:ext cx="12700" cy="31610"/>
                </a:xfrm>
                <a:custGeom>
                  <a:avLst/>
                  <a:gdLst>
                    <a:gd name="connsiteX0" fmla="*/ 0 w 12700"/>
                    <a:gd name="connsiteY0" fmla="*/ 0 h 31610"/>
                    <a:gd name="connsiteX1" fmla="*/ 0 w 12700"/>
                    <a:gd name="connsiteY1" fmla="*/ 31610 h 31610"/>
                  </a:gdLst>
                  <a:ahLst/>
                  <a:cxnLst>
                    <a:cxn ang="0">
                      <a:pos x="connsiteX0" y="connsiteY0"/>
                    </a:cxn>
                    <a:cxn ang="0">
                      <a:pos x="connsiteX1" y="connsiteY1"/>
                    </a:cxn>
                  </a:cxnLst>
                  <a:rect l="l" t="t" r="r" b="b"/>
                  <a:pathLst>
                    <a:path w="12700" h="31610">
                      <a:moveTo>
                        <a:pt x="0" y="0"/>
                      </a:moveTo>
                      <a:lnTo>
                        <a:pt x="0" y="31610"/>
                      </a:lnTo>
                    </a:path>
                  </a:pathLst>
                </a:custGeom>
                <a:ln w="1269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sp>
            <p:nvSpPr>
              <p:cNvPr id="1307" name="Freeform 1942">
                <a:extLst>
                  <a:ext uri="{FF2B5EF4-FFF2-40B4-BE49-F238E27FC236}">
                    <a16:creationId xmlns:a16="http://schemas.microsoft.com/office/drawing/2014/main" id="{84A4E0A5-EDB4-8043-EF65-AC3149E76413}"/>
                  </a:ext>
                </a:extLst>
              </p:cNvPr>
              <p:cNvSpPr/>
              <p:nvPr/>
            </p:nvSpPr>
            <p:spPr>
              <a:xfrm>
                <a:off x="5363815" y="1349570"/>
                <a:ext cx="3238658" cy="1252468"/>
              </a:xfrm>
              <a:custGeom>
                <a:avLst/>
                <a:gdLst>
                  <a:gd name="connsiteX0" fmla="*/ 0 w 3238658"/>
                  <a:gd name="connsiteY0" fmla="*/ 0 h 1252468"/>
                  <a:gd name="connsiteX1" fmla="*/ 0 w 3238658"/>
                  <a:gd name="connsiteY1" fmla="*/ 1252469 h 1252468"/>
                  <a:gd name="connsiteX2" fmla="*/ 3238659 w 3238658"/>
                  <a:gd name="connsiteY2" fmla="*/ 1252469 h 1252468"/>
                </a:gdLst>
                <a:ahLst/>
                <a:cxnLst>
                  <a:cxn ang="0">
                    <a:pos x="connsiteX0" y="connsiteY0"/>
                  </a:cxn>
                  <a:cxn ang="0">
                    <a:pos x="connsiteX1" y="connsiteY1"/>
                  </a:cxn>
                  <a:cxn ang="0">
                    <a:pos x="connsiteX2" y="connsiteY2"/>
                  </a:cxn>
                </a:cxnLst>
                <a:rect l="l" t="t" r="r" b="b"/>
                <a:pathLst>
                  <a:path w="3238658" h="1252468">
                    <a:moveTo>
                      <a:pt x="0" y="0"/>
                    </a:moveTo>
                    <a:lnTo>
                      <a:pt x="0" y="1252469"/>
                    </a:lnTo>
                    <a:lnTo>
                      <a:pt x="3238659" y="1252469"/>
                    </a:lnTo>
                  </a:path>
                </a:pathLst>
              </a:custGeom>
              <a:noFill/>
              <a:ln w="12690" cap="sq">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309" name="TextBox 1308">
                <a:extLst>
                  <a:ext uri="{FF2B5EF4-FFF2-40B4-BE49-F238E27FC236}">
                    <a16:creationId xmlns:a16="http://schemas.microsoft.com/office/drawing/2014/main" id="{29BA6EB5-92DB-9E29-0F09-42D1F17CD306}"/>
                  </a:ext>
                </a:extLst>
              </p:cNvPr>
              <p:cNvSpPr txBox="1"/>
              <p:nvPr/>
            </p:nvSpPr>
            <p:spPr>
              <a:xfrm>
                <a:off x="4600716" y="3032018"/>
                <a:ext cx="621960" cy="176978"/>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33" b="1"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All patients</a:t>
                </a:r>
              </a:p>
            </p:txBody>
          </p:sp>
          <p:grpSp>
            <p:nvGrpSpPr>
              <p:cNvPr id="1310" name="Graphic 4">
                <a:extLst>
                  <a:ext uri="{FF2B5EF4-FFF2-40B4-BE49-F238E27FC236}">
                    <a16:creationId xmlns:a16="http://schemas.microsoft.com/office/drawing/2014/main" id="{2924AC46-437D-3E1B-80A8-3F66D3586724}"/>
                  </a:ext>
                </a:extLst>
              </p:cNvPr>
              <p:cNvGrpSpPr/>
              <p:nvPr/>
            </p:nvGrpSpPr>
            <p:grpSpPr>
              <a:xfrm>
                <a:off x="5252607" y="3037961"/>
                <a:ext cx="3480536" cy="176978"/>
                <a:chOff x="7798488" y="4450850"/>
                <a:chExt cx="3480536" cy="176978"/>
              </a:xfrm>
              <a:solidFill>
                <a:srgbClr val="0B41CD"/>
              </a:solidFill>
            </p:grpSpPr>
            <p:sp>
              <p:nvSpPr>
                <p:cNvPr id="1311" name="TextBox 1310">
                  <a:extLst>
                    <a:ext uri="{FF2B5EF4-FFF2-40B4-BE49-F238E27FC236}">
                      <a16:creationId xmlns:a16="http://schemas.microsoft.com/office/drawing/2014/main" id="{F4D27877-13BE-8095-26F9-91564000D790}"/>
                    </a:ext>
                  </a:extLst>
                </p:cNvPr>
                <p:cNvSpPr txBox="1"/>
                <p:nvPr/>
              </p:nvSpPr>
              <p:spPr>
                <a:xfrm>
                  <a:off x="7798488" y="4450850"/>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61</a:t>
                  </a:r>
                </a:p>
              </p:txBody>
            </p:sp>
            <p:sp>
              <p:nvSpPr>
                <p:cNvPr id="1312" name="TextBox 1311">
                  <a:extLst>
                    <a:ext uri="{FF2B5EF4-FFF2-40B4-BE49-F238E27FC236}">
                      <a16:creationId xmlns:a16="http://schemas.microsoft.com/office/drawing/2014/main" id="{123DB927-BF76-F230-6529-E123DF514675}"/>
                    </a:ext>
                  </a:extLst>
                </p:cNvPr>
                <p:cNvSpPr txBox="1"/>
                <p:nvPr/>
              </p:nvSpPr>
              <p:spPr>
                <a:xfrm>
                  <a:off x="7969768" y="4450850"/>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51</a:t>
                  </a:r>
                </a:p>
              </p:txBody>
            </p:sp>
            <p:sp>
              <p:nvSpPr>
                <p:cNvPr id="1313" name="TextBox 1312">
                  <a:extLst>
                    <a:ext uri="{FF2B5EF4-FFF2-40B4-BE49-F238E27FC236}">
                      <a16:creationId xmlns:a16="http://schemas.microsoft.com/office/drawing/2014/main" id="{BF3F4B0C-DC78-3882-2B7C-D7173888048E}"/>
                    </a:ext>
                  </a:extLst>
                </p:cNvPr>
                <p:cNvSpPr txBox="1"/>
                <p:nvPr/>
              </p:nvSpPr>
              <p:spPr>
                <a:xfrm>
                  <a:off x="8136731" y="4450850"/>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42</a:t>
                  </a:r>
                </a:p>
              </p:txBody>
            </p:sp>
            <p:sp>
              <p:nvSpPr>
                <p:cNvPr id="1314" name="TextBox 1313">
                  <a:extLst>
                    <a:ext uri="{FF2B5EF4-FFF2-40B4-BE49-F238E27FC236}">
                      <a16:creationId xmlns:a16="http://schemas.microsoft.com/office/drawing/2014/main" id="{26E368B8-7BF7-0A2B-A7A5-83427A97C525}"/>
                    </a:ext>
                  </a:extLst>
                </p:cNvPr>
                <p:cNvSpPr txBox="1"/>
                <p:nvPr/>
              </p:nvSpPr>
              <p:spPr>
                <a:xfrm>
                  <a:off x="8300149" y="4450850"/>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36</a:t>
                  </a:r>
                </a:p>
              </p:txBody>
            </p:sp>
            <p:sp>
              <p:nvSpPr>
                <p:cNvPr id="1315" name="TextBox 1314">
                  <a:extLst>
                    <a:ext uri="{FF2B5EF4-FFF2-40B4-BE49-F238E27FC236}">
                      <a16:creationId xmlns:a16="http://schemas.microsoft.com/office/drawing/2014/main" id="{8C62D237-9ED4-4B75-07D4-F4851632B52E}"/>
                    </a:ext>
                  </a:extLst>
                </p:cNvPr>
                <p:cNvSpPr txBox="1"/>
                <p:nvPr/>
              </p:nvSpPr>
              <p:spPr>
                <a:xfrm>
                  <a:off x="8643206" y="4450850"/>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34</a:t>
                  </a:r>
                </a:p>
              </p:txBody>
            </p:sp>
            <p:sp>
              <p:nvSpPr>
                <p:cNvPr id="1316" name="TextBox 1315">
                  <a:extLst>
                    <a:ext uri="{FF2B5EF4-FFF2-40B4-BE49-F238E27FC236}">
                      <a16:creationId xmlns:a16="http://schemas.microsoft.com/office/drawing/2014/main" id="{2A1AD9A3-A2BA-A8A3-26E2-1E4B37F14DEE}"/>
                    </a:ext>
                  </a:extLst>
                </p:cNvPr>
                <p:cNvSpPr txBox="1"/>
                <p:nvPr/>
              </p:nvSpPr>
              <p:spPr>
                <a:xfrm>
                  <a:off x="8815071" y="4450850"/>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9</a:t>
                  </a:r>
                </a:p>
              </p:txBody>
            </p:sp>
            <p:sp>
              <p:nvSpPr>
                <p:cNvPr id="1317" name="TextBox 1316">
                  <a:extLst>
                    <a:ext uri="{FF2B5EF4-FFF2-40B4-BE49-F238E27FC236}">
                      <a16:creationId xmlns:a16="http://schemas.microsoft.com/office/drawing/2014/main" id="{317FA272-BFB1-7916-7A45-C4EF350A502D}"/>
                    </a:ext>
                  </a:extLst>
                </p:cNvPr>
                <p:cNvSpPr txBox="1"/>
                <p:nvPr/>
              </p:nvSpPr>
              <p:spPr>
                <a:xfrm>
                  <a:off x="9158165" y="4450850"/>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4</a:t>
                  </a:r>
                </a:p>
              </p:txBody>
            </p:sp>
            <p:sp>
              <p:nvSpPr>
                <p:cNvPr id="1318" name="TextBox 1317">
                  <a:extLst>
                    <a:ext uri="{FF2B5EF4-FFF2-40B4-BE49-F238E27FC236}">
                      <a16:creationId xmlns:a16="http://schemas.microsoft.com/office/drawing/2014/main" id="{C7B38ECE-44A6-5146-8D51-BFAFB61FBC51}"/>
                    </a:ext>
                  </a:extLst>
                </p:cNvPr>
                <p:cNvSpPr txBox="1"/>
                <p:nvPr/>
              </p:nvSpPr>
              <p:spPr>
                <a:xfrm>
                  <a:off x="8986567" y="4450850"/>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6</a:t>
                  </a:r>
                </a:p>
              </p:txBody>
            </p:sp>
            <p:sp>
              <p:nvSpPr>
                <p:cNvPr id="1319" name="TextBox 1318">
                  <a:extLst>
                    <a:ext uri="{FF2B5EF4-FFF2-40B4-BE49-F238E27FC236}">
                      <a16:creationId xmlns:a16="http://schemas.microsoft.com/office/drawing/2014/main" id="{169B975E-D606-7B35-DF6D-14E4899E807F}"/>
                    </a:ext>
                  </a:extLst>
                </p:cNvPr>
                <p:cNvSpPr txBox="1"/>
                <p:nvPr/>
              </p:nvSpPr>
              <p:spPr>
                <a:xfrm>
                  <a:off x="9323286" y="4450850"/>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4</a:t>
                  </a:r>
                </a:p>
              </p:txBody>
            </p:sp>
            <p:sp>
              <p:nvSpPr>
                <p:cNvPr id="1320" name="TextBox 1319">
                  <a:extLst>
                    <a:ext uri="{FF2B5EF4-FFF2-40B4-BE49-F238E27FC236}">
                      <a16:creationId xmlns:a16="http://schemas.microsoft.com/office/drawing/2014/main" id="{47EF1569-B662-41FD-5349-CE569B5C055D}"/>
                    </a:ext>
                  </a:extLst>
                </p:cNvPr>
                <p:cNvSpPr txBox="1"/>
                <p:nvPr/>
              </p:nvSpPr>
              <p:spPr>
                <a:xfrm>
                  <a:off x="9662596" y="4450850"/>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7</a:t>
                  </a:r>
                </a:p>
              </p:txBody>
            </p:sp>
            <p:sp>
              <p:nvSpPr>
                <p:cNvPr id="1321" name="TextBox 1320">
                  <a:extLst>
                    <a:ext uri="{FF2B5EF4-FFF2-40B4-BE49-F238E27FC236}">
                      <a16:creationId xmlns:a16="http://schemas.microsoft.com/office/drawing/2014/main" id="{41D37C07-B357-B498-4324-89D920640540}"/>
                    </a:ext>
                  </a:extLst>
                </p:cNvPr>
                <p:cNvSpPr txBox="1"/>
                <p:nvPr/>
              </p:nvSpPr>
              <p:spPr>
                <a:xfrm>
                  <a:off x="9494948" y="4450850"/>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2</a:t>
                  </a:r>
                </a:p>
              </p:txBody>
            </p:sp>
            <p:sp>
              <p:nvSpPr>
                <p:cNvPr id="1322" name="TextBox 1321">
                  <a:extLst>
                    <a:ext uri="{FF2B5EF4-FFF2-40B4-BE49-F238E27FC236}">
                      <a16:creationId xmlns:a16="http://schemas.microsoft.com/office/drawing/2014/main" id="{2AFFEA2B-B6E8-3E51-5B98-F84255F67B0D}"/>
                    </a:ext>
                  </a:extLst>
                </p:cNvPr>
                <p:cNvSpPr txBox="1"/>
                <p:nvPr/>
              </p:nvSpPr>
              <p:spPr>
                <a:xfrm>
                  <a:off x="10177047" y="4450850"/>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0</a:t>
                  </a:r>
                </a:p>
              </p:txBody>
            </p:sp>
            <p:sp>
              <p:nvSpPr>
                <p:cNvPr id="1323" name="TextBox 1322">
                  <a:extLst>
                    <a:ext uri="{FF2B5EF4-FFF2-40B4-BE49-F238E27FC236}">
                      <a16:creationId xmlns:a16="http://schemas.microsoft.com/office/drawing/2014/main" id="{F4FBF532-40F6-DF5B-A66E-B6E593227292}"/>
                    </a:ext>
                  </a:extLst>
                </p:cNvPr>
                <p:cNvSpPr txBox="1"/>
                <p:nvPr/>
              </p:nvSpPr>
              <p:spPr>
                <a:xfrm>
                  <a:off x="10369661" y="4450850"/>
                  <a:ext cx="18759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5</a:t>
                  </a:r>
                </a:p>
              </p:txBody>
            </p:sp>
            <p:sp>
              <p:nvSpPr>
                <p:cNvPr id="1324" name="TextBox 1323">
                  <a:extLst>
                    <a:ext uri="{FF2B5EF4-FFF2-40B4-BE49-F238E27FC236}">
                      <a16:creationId xmlns:a16="http://schemas.microsoft.com/office/drawing/2014/main" id="{699356B6-D16D-CA91-D0C2-EB02ECB3874C}"/>
                    </a:ext>
                  </a:extLst>
                </p:cNvPr>
                <p:cNvSpPr txBox="1"/>
                <p:nvPr/>
              </p:nvSpPr>
              <p:spPr>
                <a:xfrm>
                  <a:off x="10541348" y="4450850"/>
                  <a:ext cx="18759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3</a:t>
                  </a:r>
                </a:p>
              </p:txBody>
            </p:sp>
            <p:sp>
              <p:nvSpPr>
                <p:cNvPr id="1325" name="TextBox 1324">
                  <a:extLst>
                    <a:ext uri="{FF2B5EF4-FFF2-40B4-BE49-F238E27FC236}">
                      <a16:creationId xmlns:a16="http://schemas.microsoft.com/office/drawing/2014/main" id="{8F911D05-9647-E09A-5F97-276248F899BF}"/>
                    </a:ext>
                  </a:extLst>
                </p:cNvPr>
                <p:cNvSpPr txBox="1"/>
                <p:nvPr/>
              </p:nvSpPr>
              <p:spPr>
                <a:xfrm>
                  <a:off x="8471748" y="4450850"/>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34</a:t>
                  </a:r>
                </a:p>
              </p:txBody>
            </p:sp>
            <p:sp>
              <p:nvSpPr>
                <p:cNvPr id="1326" name="TextBox 1325">
                  <a:extLst>
                    <a:ext uri="{FF2B5EF4-FFF2-40B4-BE49-F238E27FC236}">
                      <a16:creationId xmlns:a16="http://schemas.microsoft.com/office/drawing/2014/main" id="{7DAD4677-630E-CE63-BE5B-240402ADC349}"/>
                    </a:ext>
                  </a:extLst>
                </p:cNvPr>
                <p:cNvSpPr txBox="1"/>
                <p:nvPr/>
              </p:nvSpPr>
              <p:spPr>
                <a:xfrm>
                  <a:off x="10011647" y="4450850"/>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1</a:t>
                  </a:r>
                </a:p>
              </p:txBody>
            </p:sp>
            <p:sp>
              <p:nvSpPr>
                <p:cNvPr id="1327" name="TextBox 1326">
                  <a:extLst>
                    <a:ext uri="{FF2B5EF4-FFF2-40B4-BE49-F238E27FC236}">
                      <a16:creationId xmlns:a16="http://schemas.microsoft.com/office/drawing/2014/main" id="{3366BBB8-FA93-0550-E818-6DD68139E322}"/>
                    </a:ext>
                  </a:extLst>
                </p:cNvPr>
                <p:cNvSpPr txBox="1"/>
                <p:nvPr/>
              </p:nvSpPr>
              <p:spPr>
                <a:xfrm>
                  <a:off x="9834359" y="4450850"/>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2</a:t>
                  </a:r>
                </a:p>
              </p:txBody>
            </p:sp>
            <p:sp>
              <p:nvSpPr>
                <p:cNvPr id="1328" name="TextBox 1327">
                  <a:extLst>
                    <a:ext uri="{FF2B5EF4-FFF2-40B4-BE49-F238E27FC236}">
                      <a16:creationId xmlns:a16="http://schemas.microsoft.com/office/drawing/2014/main" id="{88156487-BF84-D834-B411-1196F044CE5D}"/>
                    </a:ext>
                  </a:extLst>
                </p:cNvPr>
                <p:cNvSpPr txBox="1"/>
                <p:nvPr/>
              </p:nvSpPr>
              <p:spPr>
                <a:xfrm>
                  <a:off x="11017448" y="4450850"/>
                  <a:ext cx="261576"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NE</a:t>
                  </a:r>
                </a:p>
              </p:txBody>
            </p:sp>
            <p:sp>
              <p:nvSpPr>
                <p:cNvPr id="1329" name="TextBox 1328">
                  <a:extLst>
                    <a:ext uri="{FF2B5EF4-FFF2-40B4-BE49-F238E27FC236}">
                      <a16:creationId xmlns:a16="http://schemas.microsoft.com/office/drawing/2014/main" id="{8ACBCDB5-6316-A2B6-8F51-D80DFCB7561D}"/>
                    </a:ext>
                  </a:extLst>
                </p:cNvPr>
                <p:cNvSpPr txBox="1"/>
                <p:nvPr/>
              </p:nvSpPr>
              <p:spPr>
                <a:xfrm>
                  <a:off x="10716058" y="4450850"/>
                  <a:ext cx="18759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a:t>
                  </a:r>
                </a:p>
              </p:txBody>
            </p:sp>
            <p:sp>
              <p:nvSpPr>
                <p:cNvPr id="1330" name="TextBox 1329">
                  <a:extLst>
                    <a:ext uri="{FF2B5EF4-FFF2-40B4-BE49-F238E27FC236}">
                      <a16:creationId xmlns:a16="http://schemas.microsoft.com/office/drawing/2014/main" id="{DC434AEE-8156-BA30-0EB2-5961F9DEF68F}"/>
                    </a:ext>
                  </a:extLst>
                </p:cNvPr>
                <p:cNvSpPr txBox="1"/>
                <p:nvPr/>
              </p:nvSpPr>
              <p:spPr>
                <a:xfrm>
                  <a:off x="10887516" y="4450850"/>
                  <a:ext cx="18759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a:t>
                  </a:r>
                </a:p>
              </p:txBody>
            </p:sp>
          </p:grpSp>
          <p:sp>
            <p:nvSpPr>
              <p:cNvPr id="1331" name="TextBox 1330">
                <a:extLst>
                  <a:ext uri="{FF2B5EF4-FFF2-40B4-BE49-F238E27FC236}">
                    <a16:creationId xmlns:a16="http://schemas.microsoft.com/office/drawing/2014/main" id="{2C0DB0BD-1710-9BCF-1E81-14DC011C41D7}"/>
                  </a:ext>
                </a:extLst>
              </p:cNvPr>
              <p:cNvSpPr txBox="1"/>
              <p:nvPr/>
            </p:nvSpPr>
            <p:spPr>
              <a:xfrm>
                <a:off x="4594239" y="2937427"/>
                <a:ext cx="601674" cy="176978"/>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33" b="1"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BTKi naïve</a:t>
                </a:r>
              </a:p>
            </p:txBody>
          </p:sp>
          <p:grpSp>
            <p:nvGrpSpPr>
              <p:cNvPr id="1332" name="Graphic 4">
                <a:extLst>
                  <a:ext uri="{FF2B5EF4-FFF2-40B4-BE49-F238E27FC236}">
                    <a16:creationId xmlns:a16="http://schemas.microsoft.com/office/drawing/2014/main" id="{A5A73134-1240-5652-5EE8-10D9AA95E47F}"/>
                  </a:ext>
                </a:extLst>
              </p:cNvPr>
              <p:cNvGrpSpPr/>
              <p:nvPr/>
            </p:nvGrpSpPr>
            <p:grpSpPr>
              <a:xfrm>
                <a:off x="5246879" y="2943712"/>
                <a:ext cx="3143347" cy="176978"/>
                <a:chOff x="7792760" y="4356601"/>
                <a:chExt cx="3143347" cy="176978"/>
              </a:xfrm>
              <a:solidFill>
                <a:srgbClr val="544F4F"/>
              </a:solidFill>
            </p:grpSpPr>
            <p:sp>
              <p:nvSpPr>
                <p:cNvPr id="1333" name="TextBox 1332">
                  <a:extLst>
                    <a:ext uri="{FF2B5EF4-FFF2-40B4-BE49-F238E27FC236}">
                      <a16:creationId xmlns:a16="http://schemas.microsoft.com/office/drawing/2014/main" id="{61159470-DDD7-46E9-200D-ED8270531EB0}"/>
                    </a:ext>
                  </a:extLst>
                </p:cNvPr>
                <p:cNvSpPr txBox="1"/>
                <p:nvPr/>
              </p:nvSpPr>
              <p:spPr>
                <a:xfrm>
                  <a:off x="7792760" y="4356601"/>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7</a:t>
                  </a:r>
                </a:p>
              </p:txBody>
            </p:sp>
            <p:sp>
              <p:nvSpPr>
                <p:cNvPr id="1334" name="TextBox 1333">
                  <a:extLst>
                    <a:ext uri="{FF2B5EF4-FFF2-40B4-BE49-F238E27FC236}">
                      <a16:creationId xmlns:a16="http://schemas.microsoft.com/office/drawing/2014/main" id="{C848CE7D-46A9-0552-CAA6-126289408F32}"/>
                    </a:ext>
                  </a:extLst>
                </p:cNvPr>
                <p:cNvSpPr txBox="1"/>
                <p:nvPr/>
              </p:nvSpPr>
              <p:spPr>
                <a:xfrm>
                  <a:off x="7964167" y="4356601"/>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6</a:t>
                  </a:r>
                </a:p>
              </p:txBody>
            </p:sp>
            <p:sp>
              <p:nvSpPr>
                <p:cNvPr id="1335" name="TextBox 1334">
                  <a:extLst>
                    <a:ext uri="{FF2B5EF4-FFF2-40B4-BE49-F238E27FC236}">
                      <a16:creationId xmlns:a16="http://schemas.microsoft.com/office/drawing/2014/main" id="{9AB437D2-2D3E-74B4-8B6C-1BE3DF71B8D8}"/>
                    </a:ext>
                  </a:extLst>
                </p:cNvPr>
                <p:cNvSpPr txBox="1"/>
                <p:nvPr/>
              </p:nvSpPr>
              <p:spPr>
                <a:xfrm>
                  <a:off x="8135627" y="4356601"/>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3</a:t>
                  </a:r>
                </a:p>
              </p:txBody>
            </p:sp>
            <p:sp>
              <p:nvSpPr>
                <p:cNvPr id="1336" name="TextBox 1335">
                  <a:extLst>
                    <a:ext uri="{FF2B5EF4-FFF2-40B4-BE49-F238E27FC236}">
                      <a16:creationId xmlns:a16="http://schemas.microsoft.com/office/drawing/2014/main" id="{47CC682C-E3CA-6EF8-BB06-D0562BEC6504}"/>
                    </a:ext>
                  </a:extLst>
                </p:cNvPr>
                <p:cNvSpPr txBox="1"/>
                <p:nvPr/>
              </p:nvSpPr>
              <p:spPr>
                <a:xfrm>
                  <a:off x="8300861" y="4356601"/>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0</a:t>
                  </a:r>
                </a:p>
              </p:txBody>
            </p:sp>
            <p:sp>
              <p:nvSpPr>
                <p:cNvPr id="1337" name="TextBox 1336">
                  <a:extLst>
                    <a:ext uri="{FF2B5EF4-FFF2-40B4-BE49-F238E27FC236}">
                      <a16:creationId xmlns:a16="http://schemas.microsoft.com/office/drawing/2014/main" id="{D323E8B7-B951-1F16-EEA8-CD21429EB7EC}"/>
                    </a:ext>
                  </a:extLst>
                </p:cNvPr>
                <p:cNvSpPr txBox="1"/>
                <p:nvPr/>
              </p:nvSpPr>
              <p:spPr>
                <a:xfrm>
                  <a:off x="8643778" y="4356601"/>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0</a:t>
                  </a:r>
                </a:p>
              </p:txBody>
            </p:sp>
            <p:sp>
              <p:nvSpPr>
                <p:cNvPr id="1338" name="TextBox 1337">
                  <a:extLst>
                    <a:ext uri="{FF2B5EF4-FFF2-40B4-BE49-F238E27FC236}">
                      <a16:creationId xmlns:a16="http://schemas.microsoft.com/office/drawing/2014/main" id="{AE347B29-BF9F-05F3-956D-F7352B22B6F8}"/>
                    </a:ext>
                  </a:extLst>
                </p:cNvPr>
                <p:cNvSpPr txBox="1"/>
                <p:nvPr/>
              </p:nvSpPr>
              <p:spPr>
                <a:xfrm>
                  <a:off x="8811641" y="4356601"/>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7</a:t>
                  </a:r>
                </a:p>
              </p:txBody>
            </p:sp>
            <p:sp>
              <p:nvSpPr>
                <p:cNvPr id="1339" name="TextBox 1338">
                  <a:extLst>
                    <a:ext uri="{FF2B5EF4-FFF2-40B4-BE49-F238E27FC236}">
                      <a16:creationId xmlns:a16="http://schemas.microsoft.com/office/drawing/2014/main" id="{2FFAD695-52A7-0185-7294-404C86C44CEC}"/>
                    </a:ext>
                  </a:extLst>
                </p:cNvPr>
                <p:cNvSpPr txBox="1"/>
                <p:nvPr/>
              </p:nvSpPr>
              <p:spPr>
                <a:xfrm>
                  <a:off x="9154508" y="4356601"/>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3</a:t>
                  </a:r>
                </a:p>
              </p:txBody>
            </p:sp>
            <p:sp>
              <p:nvSpPr>
                <p:cNvPr id="1340" name="TextBox 1339">
                  <a:extLst>
                    <a:ext uri="{FF2B5EF4-FFF2-40B4-BE49-F238E27FC236}">
                      <a16:creationId xmlns:a16="http://schemas.microsoft.com/office/drawing/2014/main" id="{1547D32B-0125-6976-699B-A204A60A1ACE}"/>
                    </a:ext>
                  </a:extLst>
                </p:cNvPr>
                <p:cNvSpPr txBox="1"/>
                <p:nvPr/>
              </p:nvSpPr>
              <p:spPr>
                <a:xfrm>
                  <a:off x="8982833" y="4356601"/>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5</a:t>
                  </a:r>
                </a:p>
              </p:txBody>
            </p:sp>
            <p:sp>
              <p:nvSpPr>
                <p:cNvPr id="1341" name="TextBox 1340">
                  <a:extLst>
                    <a:ext uri="{FF2B5EF4-FFF2-40B4-BE49-F238E27FC236}">
                      <a16:creationId xmlns:a16="http://schemas.microsoft.com/office/drawing/2014/main" id="{8C32F5AD-1031-F2A1-ACEF-01A92270674D}"/>
                    </a:ext>
                  </a:extLst>
                </p:cNvPr>
                <p:cNvSpPr txBox="1"/>
                <p:nvPr/>
              </p:nvSpPr>
              <p:spPr>
                <a:xfrm>
                  <a:off x="9319628" y="4356601"/>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3</a:t>
                  </a:r>
                </a:p>
              </p:txBody>
            </p:sp>
            <p:sp>
              <p:nvSpPr>
                <p:cNvPr id="1342" name="TextBox 1341">
                  <a:extLst>
                    <a:ext uri="{FF2B5EF4-FFF2-40B4-BE49-F238E27FC236}">
                      <a16:creationId xmlns:a16="http://schemas.microsoft.com/office/drawing/2014/main" id="{BECA95C8-ACD2-E08F-77CE-65379F3166E1}"/>
                    </a:ext>
                  </a:extLst>
                </p:cNvPr>
                <p:cNvSpPr txBox="1"/>
                <p:nvPr/>
              </p:nvSpPr>
              <p:spPr>
                <a:xfrm>
                  <a:off x="9690356" y="4356601"/>
                  <a:ext cx="18759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9</a:t>
                  </a:r>
                </a:p>
              </p:txBody>
            </p:sp>
            <p:sp>
              <p:nvSpPr>
                <p:cNvPr id="1343" name="TextBox 1342">
                  <a:extLst>
                    <a:ext uri="{FF2B5EF4-FFF2-40B4-BE49-F238E27FC236}">
                      <a16:creationId xmlns:a16="http://schemas.microsoft.com/office/drawing/2014/main" id="{14AC9B9C-9D25-50C6-9A5F-24637A0F6409}"/>
                    </a:ext>
                  </a:extLst>
                </p:cNvPr>
                <p:cNvSpPr txBox="1"/>
                <p:nvPr/>
              </p:nvSpPr>
              <p:spPr>
                <a:xfrm>
                  <a:off x="9497259" y="4356601"/>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1</a:t>
                  </a:r>
                </a:p>
              </p:txBody>
            </p:sp>
            <p:sp>
              <p:nvSpPr>
                <p:cNvPr id="1344" name="TextBox 1343">
                  <a:extLst>
                    <a:ext uri="{FF2B5EF4-FFF2-40B4-BE49-F238E27FC236}">
                      <a16:creationId xmlns:a16="http://schemas.microsoft.com/office/drawing/2014/main" id="{84AAAE61-DB86-CBF4-130B-14D832C57C5B}"/>
                    </a:ext>
                  </a:extLst>
                </p:cNvPr>
                <p:cNvSpPr txBox="1"/>
                <p:nvPr/>
              </p:nvSpPr>
              <p:spPr>
                <a:xfrm>
                  <a:off x="10206255" y="4356601"/>
                  <a:ext cx="18759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4</a:t>
                  </a:r>
                </a:p>
              </p:txBody>
            </p:sp>
            <p:sp>
              <p:nvSpPr>
                <p:cNvPr id="1345" name="TextBox 1344">
                  <a:extLst>
                    <a:ext uri="{FF2B5EF4-FFF2-40B4-BE49-F238E27FC236}">
                      <a16:creationId xmlns:a16="http://schemas.microsoft.com/office/drawing/2014/main" id="{49FC92B0-44F0-A38B-DA9C-E7B36D954A15}"/>
                    </a:ext>
                  </a:extLst>
                </p:cNvPr>
                <p:cNvSpPr txBox="1"/>
                <p:nvPr/>
              </p:nvSpPr>
              <p:spPr>
                <a:xfrm>
                  <a:off x="10370830" y="4356601"/>
                  <a:ext cx="18759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a:t>
                  </a:r>
                </a:p>
              </p:txBody>
            </p:sp>
            <p:sp>
              <p:nvSpPr>
                <p:cNvPr id="1346" name="TextBox 1345">
                  <a:extLst>
                    <a:ext uri="{FF2B5EF4-FFF2-40B4-BE49-F238E27FC236}">
                      <a16:creationId xmlns:a16="http://schemas.microsoft.com/office/drawing/2014/main" id="{F6ED0352-BCF9-92B4-C61F-203E54503C0E}"/>
                    </a:ext>
                  </a:extLst>
                </p:cNvPr>
                <p:cNvSpPr txBox="1"/>
                <p:nvPr/>
              </p:nvSpPr>
              <p:spPr>
                <a:xfrm>
                  <a:off x="10542288" y="4356601"/>
                  <a:ext cx="18759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a:t>
                  </a:r>
                </a:p>
              </p:txBody>
            </p:sp>
            <p:sp>
              <p:nvSpPr>
                <p:cNvPr id="1347" name="TextBox 1346">
                  <a:extLst>
                    <a:ext uri="{FF2B5EF4-FFF2-40B4-BE49-F238E27FC236}">
                      <a16:creationId xmlns:a16="http://schemas.microsoft.com/office/drawing/2014/main" id="{CDB9142F-CF07-BE25-1AE3-3790FB950348}"/>
                    </a:ext>
                  </a:extLst>
                </p:cNvPr>
                <p:cNvSpPr txBox="1"/>
                <p:nvPr/>
              </p:nvSpPr>
              <p:spPr>
                <a:xfrm>
                  <a:off x="8472319" y="4356601"/>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0</a:t>
                  </a:r>
                </a:p>
              </p:txBody>
            </p:sp>
            <p:sp>
              <p:nvSpPr>
                <p:cNvPr id="1348" name="TextBox 1347">
                  <a:extLst>
                    <a:ext uri="{FF2B5EF4-FFF2-40B4-BE49-F238E27FC236}">
                      <a16:creationId xmlns:a16="http://schemas.microsoft.com/office/drawing/2014/main" id="{F7A117D4-65B4-6524-86D7-C85A0030A44B}"/>
                    </a:ext>
                  </a:extLst>
                </p:cNvPr>
                <p:cNvSpPr txBox="1"/>
                <p:nvPr/>
              </p:nvSpPr>
              <p:spPr>
                <a:xfrm>
                  <a:off x="10034797" y="4356601"/>
                  <a:ext cx="18759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4</a:t>
                  </a:r>
                </a:p>
              </p:txBody>
            </p:sp>
            <p:sp>
              <p:nvSpPr>
                <p:cNvPr id="1349" name="TextBox 1348">
                  <a:extLst>
                    <a:ext uri="{FF2B5EF4-FFF2-40B4-BE49-F238E27FC236}">
                      <a16:creationId xmlns:a16="http://schemas.microsoft.com/office/drawing/2014/main" id="{DBC61B77-D5D2-D568-63DF-D0AE9CA4ECB0}"/>
                    </a:ext>
                  </a:extLst>
                </p:cNvPr>
                <p:cNvSpPr txBox="1"/>
                <p:nvPr/>
              </p:nvSpPr>
              <p:spPr>
                <a:xfrm>
                  <a:off x="9861635" y="4356601"/>
                  <a:ext cx="18759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5</a:t>
                  </a:r>
                </a:p>
              </p:txBody>
            </p:sp>
            <p:sp>
              <p:nvSpPr>
                <p:cNvPr id="1350" name="TextBox 1349">
                  <a:extLst>
                    <a:ext uri="{FF2B5EF4-FFF2-40B4-BE49-F238E27FC236}">
                      <a16:creationId xmlns:a16="http://schemas.microsoft.com/office/drawing/2014/main" id="{D2251CA0-D777-B9C9-E441-C6AD1268A3BC}"/>
                    </a:ext>
                  </a:extLst>
                </p:cNvPr>
                <p:cNvSpPr txBox="1"/>
                <p:nvPr/>
              </p:nvSpPr>
              <p:spPr>
                <a:xfrm>
                  <a:off x="10674531" y="4356601"/>
                  <a:ext cx="261576"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NE</a:t>
                  </a:r>
                </a:p>
              </p:txBody>
            </p:sp>
          </p:grpSp>
          <p:sp>
            <p:nvSpPr>
              <p:cNvPr id="1351" name="TextBox 1350">
                <a:extLst>
                  <a:ext uri="{FF2B5EF4-FFF2-40B4-BE49-F238E27FC236}">
                    <a16:creationId xmlns:a16="http://schemas.microsoft.com/office/drawing/2014/main" id="{A3EF077E-C781-893E-CDE2-0B8798BEDEA8}"/>
                  </a:ext>
                </a:extLst>
              </p:cNvPr>
              <p:cNvSpPr txBox="1"/>
              <p:nvPr/>
            </p:nvSpPr>
            <p:spPr>
              <a:xfrm>
                <a:off x="4594239" y="2843532"/>
                <a:ext cx="580195" cy="176978"/>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33" b="1"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Prior BTKi</a:t>
                </a:r>
              </a:p>
            </p:txBody>
          </p:sp>
          <p:grpSp>
            <p:nvGrpSpPr>
              <p:cNvPr id="1352" name="Graphic 4">
                <a:extLst>
                  <a:ext uri="{FF2B5EF4-FFF2-40B4-BE49-F238E27FC236}">
                    <a16:creationId xmlns:a16="http://schemas.microsoft.com/office/drawing/2014/main" id="{EB79B6E5-1182-D723-384F-1605BAA4D022}"/>
                  </a:ext>
                </a:extLst>
              </p:cNvPr>
              <p:cNvGrpSpPr/>
              <p:nvPr/>
            </p:nvGrpSpPr>
            <p:grpSpPr>
              <a:xfrm>
                <a:off x="5246383" y="2849462"/>
                <a:ext cx="3486760" cy="176978"/>
                <a:chOff x="7792264" y="4262351"/>
                <a:chExt cx="3486760" cy="176978"/>
              </a:xfrm>
              <a:solidFill>
                <a:srgbClr val="BC36F0"/>
              </a:solidFill>
            </p:grpSpPr>
            <p:sp>
              <p:nvSpPr>
                <p:cNvPr id="1353" name="TextBox 1352">
                  <a:extLst>
                    <a:ext uri="{FF2B5EF4-FFF2-40B4-BE49-F238E27FC236}">
                      <a16:creationId xmlns:a16="http://schemas.microsoft.com/office/drawing/2014/main" id="{CF51E4CD-6BCE-E766-522D-82C0351DAD56}"/>
                    </a:ext>
                  </a:extLst>
                </p:cNvPr>
                <p:cNvSpPr txBox="1"/>
                <p:nvPr/>
              </p:nvSpPr>
              <p:spPr>
                <a:xfrm>
                  <a:off x="7792264" y="4262351"/>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34</a:t>
                  </a:r>
                </a:p>
              </p:txBody>
            </p:sp>
            <p:sp>
              <p:nvSpPr>
                <p:cNvPr id="1354" name="TextBox 1353">
                  <a:extLst>
                    <a:ext uri="{FF2B5EF4-FFF2-40B4-BE49-F238E27FC236}">
                      <a16:creationId xmlns:a16="http://schemas.microsoft.com/office/drawing/2014/main" id="{32FCA4B6-D3BA-15AD-5B7E-A2F568251EAB}"/>
                    </a:ext>
                  </a:extLst>
                </p:cNvPr>
                <p:cNvSpPr txBox="1"/>
                <p:nvPr/>
              </p:nvSpPr>
              <p:spPr>
                <a:xfrm>
                  <a:off x="7963951" y="4262351"/>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25</a:t>
                  </a:r>
                </a:p>
              </p:txBody>
            </p:sp>
            <p:sp>
              <p:nvSpPr>
                <p:cNvPr id="1355" name="TextBox 1354">
                  <a:extLst>
                    <a:ext uri="{FF2B5EF4-FFF2-40B4-BE49-F238E27FC236}">
                      <a16:creationId xmlns:a16="http://schemas.microsoft.com/office/drawing/2014/main" id="{223F0EDC-ABBC-C227-EA22-6B903760FE83}"/>
                    </a:ext>
                  </a:extLst>
                </p:cNvPr>
                <p:cNvSpPr txBox="1"/>
                <p:nvPr/>
              </p:nvSpPr>
              <p:spPr>
                <a:xfrm>
                  <a:off x="8132070" y="4262351"/>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9</a:t>
                  </a:r>
                </a:p>
              </p:txBody>
            </p:sp>
            <p:sp>
              <p:nvSpPr>
                <p:cNvPr id="1356" name="TextBox 1355">
                  <a:extLst>
                    <a:ext uri="{FF2B5EF4-FFF2-40B4-BE49-F238E27FC236}">
                      <a16:creationId xmlns:a16="http://schemas.microsoft.com/office/drawing/2014/main" id="{F54B5E59-BF63-49FC-E71C-5670545045EC}"/>
                    </a:ext>
                  </a:extLst>
                </p:cNvPr>
                <p:cNvSpPr txBox="1"/>
                <p:nvPr/>
              </p:nvSpPr>
              <p:spPr>
                <a:xfrm>
                  <a:off x="8297216" y="4262351"/>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6</a:t>
                  </a:r>
                </a:p>
              </p:txBody>
            </p:sp>
            <p:sp>
              <p:nvSpPr>
                <p:cNvPr id="1357" name="TextBox 1356">
                  <a:extLst>
                    <a:ext uri="{FF2B5EF4-FFF2-40B4-BE49-F238E27FC236}">
                      <a16:creationId xmlns:a16="http://schemas.microsoft.com/office/drawing/2014/main" id="{86C2DDB3-E7E5-BC23-B897-4EF262A6BA8E}"/>
                    </a:ext>
                  </a:extLst>
                </p:cNvPr>
                <p:cNvSpPr txBox="1"/>
                <p:nvPr/>
              </p:nvSpPr>
              <p:spPr>
                <a:xfrm>
                  <a:off x="8640272" y="4262351"/>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4</a:t>
                  </a:r>
                </a:p>
              </p:txBody>
            </p:sp>
            <p:sp>
              <p:nvSpPr>
                <p:cNvPr id="1358" name="TextBox 1357">
                  <a:extLst>
                    <a:ext uri="{FF2B5EF4-FFF2-40B4-BE49-F238E27FC236}">
                      <a16:creationId xmlns:a16="http://schemas.microsoft.com/office/drawing/2014/main" id="{32A1E9F7-3DF7-EAB6-611D-D6C69DB927EC}"/>
                    </a:ext>
                  </a:extLst>
                </p:cNvPr>
                <p:cNvSpPr txBox="1"/>
                <p:nvPr/>
              </p:nvSpPr>
              <p:spPr>
                <a:xfrm>
                  <a:off x="8811946" y="4262351"/>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2</a:t>
                  </a:r>
                </a:p>
              </p:txBody>
            </p:sp>
            <p:sp>
              <p:nvSpPr>
                <p:cNvPr id="1359" name="TextBox 1358">
                  <a:extLst>
                    <a:ext uri="{FF2B5EF4-FFF2-40B4-BE49-F238E27FC236}">
                      <a16:creationId xmlns:a16="http://schemas.microsoft.com/office/drawing/2014/main" id="{1B3E6447-6A8C-9DC8-3167-07E39E546661}"/>
                    </a:ext>
                  </a:extLst>
                </p:cNvPr>
                <p:cNvSpPr txBox="1"/>
                <p:nvPr/>
              </p:nvSpPr>
              <p:spPr>
                <a:xfrm>
                  <a:off x="9160692" y="4262351"/>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1</a:t>
                  </a:r>
                </a:p>
              </p:txBody>
            </p:sp>
            <p:sp>
              <p:nvSpPr>
                <p:cNvPr id="1360" name="TextBox 1359">
                  <a:extLst>
                    <a:ext uri="{FF2B5EF4-FFF2-40B4-BE49-F238E27FC236}">
                      <a16:creationId xmlns:a16="http://schemas.microsoft.com/office/drawing/2014/main" id="{7078714D-8AB3-761A-53D2-E2EFACF289CB}"/>
                    </a:ext>
                  </a:extLst>
                </p:cNvPr>
                <p:cNvSpPr txBox="1"/>
                <p:nvPr/>
              </p:nvSpPr>
              <p:spPr>
                <a:xfrm>
                  <a:off x="8989235" y="4262351"/>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1</a:t>
                  </a:r>
                </a:p>
              </p:txBody>
            </p:sp>
            <p:sp>
              <p:nvSpPr>
                <p:cNvPr id="1361" name="TextBox 1360">
                  <a:extLst>
                    <a:ext uri="{FF2B5EF4-FFF2-40B4-BE49-F238E27FC236}">
                      <a16:creationId xmlns:a16="http://schemas.microsoft.com/office/drawing/2014/main" id="{79F1F788-7BAB-5E4D-0ED7-FEE18E19FC35}"/>
                    </a:ext>
                  </a:extLst>
                </p:cNvPr>
                <p:cNvSpPr txBox="1"/>
                <p:nvPr/>
              </p:nvSpPr>
              <p:spPr>
                <a:xfrm>
                  <a:off x="9325814" y="4262351"/>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1</a:t>
                  </a:r>
                </a:p>
              </p:txBody>
            </p:sp>
            <p:sp>
              <p:nvSpPr>
                <p:cNvPr id="1362" name="TextBox 1361">
                  <a:extLst>
                    <a:ext uri="{FF2B5EF4-FFF2-40B4-BE49-F238E27FC236}">
                      <a16:creationId xmlns:a16="http://schemas.microsoft.com/office/drawing/2014/main" id="{9E20D049-A8D4-E5D6-04CE-CDCA97F314D2}"/>
                    </a:ext>
                  </a:extLst>
                </p:cNvPr>
                <p:cNvSpPr txBox="1"/>
                <p:nvPr/>
              </p:nvSpPr>
              <p:spPr>
                <a:xfrm>
                  <a:off x="9690407" y="4262351"/>
                  <a:ext cx="18759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8</a:t>
                  </a:r>
                </a:p>
              </p:txBody>
            </p:sp>
            <p:sp>
              <p:nvSpPr>
                <p:cNvPr id="1363" name="TextBox 1362">
                  <a:extLst>
                    <a:ext uri="{FF2B5EF4-FFF2-40B4-BE49-F238E27FC236}">
                      <a16:creationId xmlns:a16="http://schemas.microsoft.com/office/drawing/2014/main" id="{67C6FEC7-A110-6DD3-8E46-598CD9052F9C}"/>
                    </a:ext>
                  </a:extLst>
                </p:cNvPr>
                <p:cNvSpPr txBox="1"/>
                <p:nvPr/>
              </p:nvSpPr>
              <p:spPr>
                <a:xfrm>
                  <a:off x="9497258" y="4262351"/>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1</a:t>
                  </a:r>
                </a:p>
              </p:txBody>
            </p:sp>
            <p:sp>
              <p:nvSpPr>
                <p:cNvPr id="1364" name="TextBox 1363">
                  <a:extLst>
                    <a:ext uri="{FF2B5EF4-FFF2-40B4-BE49-F238E27FC236}">
                      <a16:creationId xmlns:a16="http://schemas.microsoft.com/office/drawing/2014/main" id="{C93DEEA5-0629-9AE0-5B2E-77906C89D397}"/>
                    </a:ext>
                  </a:extLst>
                </p:cNvPr>
                <p:cNvSpPr txBox="1"/>
                <p:nvPr/>
              </p:nvSpPr>
              <p:spPr>
                <a:xfrm>
                  <a:off x="10204959" y="4262351"/>
                  <a:ext cx="18759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6</a:t>
                  </a:r>
                </a:p>
              </p:txBody>
            </p:sp>
            <p:sp>
              <p:nvSpPr>
                <p:cNvPr id="1365" name="TextBox 1364">
                  <a:extLst>
                    <a:ext uri="{FF2B5EF4-FFF2-40B4-BE49-F238E27FC236}">
                      <a16:creationId xmlns:a16="http://schemas.microsoft.com/office/drawing/2014/main" id="{D5309B91-906E-6B7F-959E-5C56E4E7B278}"/>
                    </a:ext>
                  </a:extLst>
                </p:cNvPr>
                <p:cNvSpPr txBox="1"/>
                <p:nvPr/>
              </p:nvSpPr>
              <p:spPr>
                <a:xfrm>
                  <a:off x="10369890" y="4262351"/>
                  <a:ext cx="18759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3</a:t>
                  </a:r>
                </a:p>
              </p:txBody>
            </p:sp>
            <p:sp>
              <p:nvSpPr>
                <p:cNvPr id="1366" name="TextBox 1365">
                  <a:extLst>
                    <a:ext uri="{FF2B5EF4-FFF2-40B4-BE49-F238E27FC236}">
                      <a16:creationId xmlns:a16="http://schemas.microsoft.com/office/drawing/2014/main" id="{AA3BD6D3-39DA-E8CF-5113-E299E71FF2AB}"/>
                    </a:ext>
                  </a:extLst>
                </p:cNvPr>
                <p:cNvSpPr txBox="1"/>
                <p:nvPr/>
              </p:nvSpPr>
              <p:spPr>
                <a:xfrm>
                  <a:off x="10544599" y="4262351"/>
                  <a:ext cx="18759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a:t>
                  </a:r>
                </a:p>
              </p:txBody>
            </p:sp>
            <p:sp>
              <p:nvSpPr>
                <p:cNvPr id="1367" name="TextBox 1366">
                  <a:extLst>
                    <a:ext uri="{FF2B5EF4-FFF2-40B4-BE49-F238E27FC236}">
                      <a16:creationId xmlns:a16="http://schemas.microsoft.com/office/drawing/2014/main" id="{6CE19D4C-C267-61CE-AF87-C831AB321F42}"/>
                    </a:ext>
                  </a:extLst>
                </p:cNvPr>
                <p:cNvSpPr txBox="1"/>
                <p:nvPr/>
              </p:nvSpPr>
              <p:spPr>
                <a:xfrm>
                  <a:off x="8468813" y="4262351"/>
                  <a:ext cx="23771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4</a:t>
                  </a:r>
                </a:p>
              </p:txBody>
            </p:sp>
            <p:sp>
              <p:nvSpPr>
                <p:cNvPr id="1368" name="TextBox 1367">
                  <a:extLst>
                    <a:ext uri="{FF2B5EF4-FFF2-40B4-BE49-F238E27FC236}">
                      <a16:creationId xmlns:a16="http://schemas.microsoft.com/office/drawing/2014/main" id="{4EBD14C0-C213-4AA9-5B71-8992A9D5552A}"/>
                    </a:ext>
                  </a:extLst>
                </p:cNvPr>
                <p:cNvSpPr txBox="1"/>
                <p:nvPr/>
              </p:nvSpPr>
              <p:spPr>
                <a:xfrm>
                  <a:off x="10033145" y="4262351"/>
                  <a:ext cx="18759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7</a:t>
                  </a:r>
                </a:p>
              </p:txBody>
            </p:sp>
            <p:sp>
              <p:nvSpPr>
                <p:cNvPr id="1369" name="TextBox 1368">
                  <a:extLst>
                    <a:ext uri="{FF2B5EF4-FFF2-40B4-BE49-F238E27FC236}">
                      <a16:creationId xmlns:a16="http://schemas.microsoft.com/office/drawing/2014/main" id="{1A93600D-7A90-68A8-260D-22753BB22318}"/>
                    </a:ext>
                  </a:extLst>
                </p:cNvPr>
                <p:cNvSpPr txBox="1"/>
                <p:nvPr/>
              </p:nvSpPr>
              <p:spPr>
                <a:xfrm>
                  <a:off x="9861687" y="4262351"/>
                  <a:ext cx="18759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7</a:t>
                  </a:r>
                </a:p>
              </p:txBody>
            </p:sp>
            <p:sp>
              <p:nvSpPr>
                <p:cNvPr id="1370" name="TextBox 1369">
                  <a:extLst>
                    <a:ext uri="{FF2B5EF4-FFF2-40B4-BE49-F238E27FC236}">
                      <a16:creationId xmlns:a16="http://schemas.microsoft.com/office/drawing/2014/main" id="{61F8BF3D-349D-6E20-AA58-F450BD91159E}"/>
                    </a:ext>
                  </a:extLst>
                </p:cNvPr>
                <p:cNvSpPr txBox="1"/>
                <p:nvPr/>
              </p:nvSpPr>
              <p:spPr>
                <a:xfrm>
                  <a:off x="11017448" y="4262351"/>
                  <a:ext cx="261576"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NE</a:t>
                  </a:r>
                </a:p>
              </p:txBody>
            </p:sp>
            <p:sp>
              <p:nvSpPr>
                <p:cNvPr id="1371" name="TextBox 1370">
                  <a:extLst>
                    <a:ext uri="{FF2B5EF4-FFF2-40B4-BE49-F238E27FC236}">
                      <a16:creationId xmlns:a16="http://schemas.microsoft.com/office/drawing/2014/main" id="{8DDCA18C-68E8-5C49-8182-5E53014035E3}"/>
                    </a:ext>
                  </a:extLst>
                </p:cNvPr>
                <p:cNvSpPr txBox="1"/>
                <p:nvPr/>
              </p:nvSpPr>
              <p:spPr>
                <a:xfrm>
                  <a:off x="10716058" y="4262351"/>
                  <a:ext cx="18759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a:t>
                  </a:r>
                </a:p>
              </p:txBody>
            </p:sp>
            <p:sp>
              <p:nvSpPr>
                <p:cNvPr id="1372" name="TextBox 1371">
                  <a:extLst>
                    <a:ext uri="{FF2B5EF4-FFF2-40B4-BE49-F238E27FC236}">
                      <a16:creationId xmlns:a16="http://schemas.microsoft.com/office/drawing/2014/main" id="{CD7F1246-FA2A-7A2F-8FBF-B2984FF7A452}"/>
                    </a:ext>
                  </a:extLst>
                </p:cNvPr>
                <p:cNvSpPr txBox="1"/>
                <p:nvPr/>
              </p:nvSpPr>
              <p:spPr>
                <a:xfrm>
                  <a:off x="10887516" y="4262351"/>
                  <a:ext cx="187590" cy="17697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a:t>
                  </a:r>
                </a:p>
              </p:txBody>
            </p:sp>
          </p:grpSp>
          <p:sp>
            <p:nvSpPr>
              <p:cNvPr id="1373" name="Freeform 2010">
                <a:extLst>
                  <a:ext uri="{FF2B5EF4-FFF2-40B4-BE49-F238E27FC236}">
                    <a16:creationId xmlns:a16="http://schemas.microsoft.com/office/drawing/2014/main" id="{A4593520-2363-5F33-ADD4-E74D40037771}"/>
                  </a:ext>
                </a:extLst>
              </p:cNvPr>
              <p:cNvSpPr/>
              <p:nvPr/>
            </p:nvSpPr>
            <p:spPr>
              <a:xfrm>
                <a:off x="5364946" y="1349519"/>
                <a:ext cx="3143213" cy="844997"/>
              </a:xfrm>
              <a:custGeom>
                <a:avLst/>
                <a:gdLst>
                  <a:gd name="connsiteX0" fmla="*/ 0 w 3143213"/>
                  <a:gd name="connsiteY0" fmla="*/ 0 h 844997"/>
                  <a:gd name="connsiteX1" fmla="*/ 28792 w 3143213"/>
                  <a:gd name="connsiteY1" fmla="*/ 0 h 844997"/>
                  <a:gd name="connsiteX2" fmla="*/ 28792 w 3143213"/>
                  <a:gd name="connsiteY2" fmla="*/ 38438 h 844997"/>
                  <a:gd name="connsiteX3" fmla="*/ 36819 w 3143213"/>
                  <a:gd name="connsiteY3" fmla="*/ 38438 h 844997"/>
                  <a:gd name="connsiteX4" fmla="*/ 36819 w 3143213"/>
                  <a:gd name="connsiteY4" fmla="*/ 75397 h 844997"/>
                  <a:gd name="connsiteX5" fmla="*/ 53444 w 3143213"/>
                  <a:gd name="connsiteY5" fmla="*/ 75397 h 844997"/>
                  <a:gd name="connsiteX6" fmla="*/ 53444 w 3143213"/>
                  <a:gd name="connsiteY6" fmla="*/ 111762 h 844997"/>
                  <a:gd name="connsiteX7" fmla="*/ 67999 w 3143213"/>
                  <a:gd name="connsiteY7" fmla="*/ 111762 h 844997"/>
                  <a:gd name="connsiteX8" fmla="*/ 67999 w 3143213"/>
                  <a:gd name="connsiteY8" fmla="*/ 189524 h 844997"/>
                  <a:gd name="connsiteX9" fmla="*/ 78985 w 3143213"/>
                  <a:gd name="connsiteY9" fmla="*/ 189524 h 844997"/>
                  <a:gd name="connsiteX10" fmla="*/ 78985 w 3143213"/>
                  <a:gd name="connsiteY10" fmla="*/ 227064 h 844997"/>
                  <a:gd name="connsiteX11" fmla="*/ 109276 w 3143213"/>
                  <a:gd name="connsiteY11" fmla="*/ 227064 h 844997"/>
                  <a:gd name="connsiteX12" fmla="*/ 109276 w 3143213"/>
                  <a:gd name="connsiteY12" fmla="*/ 265502 h 844997"/>
                  <a:gd name="connsiteX13" fmla="*/ 119081 w 3143213"/>
                  <a:gd name="connsiteY13" fmla="*/ 265502 h 844997"/>
                  <a:gd name="connsiteX14" fmla="*/ 119081 w 3143213"/>
                  <a:gd name="connsiteY14" fmla="*/ 303650 h 844997"/>
                  <a:gd name="connsiteX15" fmla="*/ 175205 w 3143213"/>
                  <a:gd name="connsiteY15" fmla="*/ 303650 h 844997"/>
                  <a:gd name="connsiteX16" fmla="*/ 175205 w 3143213"/>
                  <a:gd name="connsiteY16" fmla="*/ 342075 h 844997"/>
                  <a:gd name="connsiteX17" fmla="*/ 184705 w 3143213"/>
                  <a:gd name="connsiteY17" fmla="*/ 342075 h 844997"/>
                  <a:gd name="connsiteX18" fmla="*/ 184705 w 3143213"/>
                  <a:gd name="connsiteY18" fmla="*/ 380223 h 844997"/>
                  <a:gd name="connsiteX19" fmla="*/ 196593 w 3143213"/>
                  <a:gd name="connsiteY19" fmla="*/ 380223 h 844997"/>
                  <a:gd name="connsiteX20" fmla="*/ 196593 w 3143213"/>
                  <a:gd name="connsiteY20" fmla="*/ 417776 h 844997"/>
                  <a:gd name="connsiteX21" fmla="*/ 292813 w 3143213"/>
                  <a:gd name="connsiteY21" fmla="*/ 417776 h 844997"/>
                  <a:gd name="connsiteX22" fmla="*/ 292813 w 3143213"/>
                  <a:gd name="connsiteY22" fmla="*/ 461525 h 844997"/>
                  <a:gd name="connsiteX23" fmla="*/ 508711 w 3143213"/>
                  <a:gd name="connsiteY23" fmla="*/ 461525 h 844997"/>
                  <a:gd name="connsiteX24" fmla="*/ 508711 w 3143213"/>
                  <a:gd name="connsiteY24" fmla="*/ 505881 h 844997"/>
                  <a:gd name="connsiteX25" fmla="*/ 680956 w 3143213"/>
                  <a:gd name="connsiteY25" fmla="*/ 505881 h 844997"/>
                  <a:gd name="connsiteX26" fmla="*/ 680956 w 3143213"/>
                  <a:gd name="connsiteY26" fmla="*/ 555256 h 844997"/>
                  <a:gd name="connsiteX27" fmla="*/ 886465 w 3143213"/>
                  <a:gd name="connsiteY27" fmla="*/ 555256 h 844997"/>
                  <a:gd name="connsiteX28" fmla="*/ 886465 w 3143213"/>
                  <a:gd name="connsiteY28" fmla="*/ 604632 h 844997"/>
                  <a:gd name="connsiteX29" fmla="*/ 953296 w 3143213"/>
                  <a:gd name="connsiteY29" fmla="*/ 604632 h 844997"/>
                  <a:gd name="connsiteX30" fmla="*/ 953296 w 3143213"/>
                  <a:gd name="connsiteY30" fmla="*/ 655474 h 844997"/>
                  <a:gd name="connsiteX31" fmla="*/ 1026642 w 3143213"/>
                  <a:gd name="connsiteY31" fmla="*/ 655474 h 844997"/>
                  <a:gd name="connsiteX32" fmla="*/ 1026642 w 3143213"/>
                  <a:gd name="connsiteY32" fmla="*/ 704849 h 844997"/>
                  <a:gd name="connsiteX33" fmla="*/ 1849871 w 3143213"/>
                  <a:gd name="connsiteY33" fmla="*/ 704849 h 844997"/>
                  <a:gd name="connsiteX34" fmla="*/ 1849871 w 3143213"/>
                  <a:gd name="connsiteY34" fmla="*/ 766351 h 844997"/>
                  <a:gd name="connsiteX35" fmla="*/ 2429273 w 3143213"/>
                  <a:gd name="connsiteY35" fmla="*/ 766351 h 844997"/>
                  <a:gd name="connsiteX36" fmla="*/ 2429273 w 3143213"/>
                  <a:gd name="connsiteY36" fmla="*/ 844998 h 844997"/>
                  <a:gd name="connsiteX37" fmla="*/ 3143214 w 3143213"/>
                  <a:gd name="connsiteY37" fmla="*/ 844998 h 844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143213" h="844997">
                    <a:moveTo>
                      <a:pt x="0" y="0"/>
                    </a:moveTo>
                    <a:lnTo>
                      <a:pt x="28792" y="0"/>
                    </a:lnTo>
                    <a:lnTo>
                      <a:pt x="28792" y="38438"/>
                    </a:lnTo>
                    <a:lnTo>
                      <a:pt x="36819" y="38438"/>
                    </a:lnTo>
                    <a:lnTo>
                      <a:pt x="36819" y="75397"/>
                    </a:lnTo>
                    <a:lnTo>
                      <a:pt x="53444" y="75397"/>
                    </a:lnTo>
                    <a:lnTo>
                      <a:pt x="53444" y="111762"/>
                    </a:lnTo>
                    <a:lnTo>
                      <a:pt x="67999" y="111762"/>
                    </a:lnTo>
                    <a:lnTo>
                      <a:pt x="67999" y="189524"/>
                    </a:lnTo>
                    <a:lnTo>
                      <a:pt x="78985" y="189524"/>
                    </a:lnTo>
                    <a:lnTo>
                      <a:pt x="78985" y="227064"/>
                    </a:lnTo>
                    <a:lnTo>
                      <a:pt x="109276" y="227064"/>
                    </a:lnTo>
                    <a:lnTo>
                      <a:pt x="109276" y="265502"/>
                    </a:lnTo>
                    <a:lnTo>
                      <a:pt x="119081" y="265502"/>
                    </a:lnTo>
                    <a:lnTo>
                      <a:pt x="119081" y="303650"/>
                    </a:lnTo>
                    <a:lnTo>
                      <a:pt x="175205" y="303650"/>
                    </a:lnTo>
                    <a:lnTo>
                      <a:pt x="175205" y="342075"/>
                    </a:lnTo>
                    <a:lnTo>
                      <a:pt x="184705" y="342075"/>
                    </a:lnTo>
                    <a:lnTo>
                      <a:pt x="184705" y="380223"/>
                    </a:lnTo>
                    <a:lnTo>
                      <a:pt x="196593" y="380223"/>
                    </a:lnTo>
                    <a:lnTo>
                      <a:pt x="196593" y="417776"/>
                    </a:lnTo>
                    <a:lnTo>
                      <a:pt x="292813" y="417776"/>
                    </a:lnTo>
                    <a:lnTo>
                      <a:pt x="292813" y="461525"/>
                    </a:lnTo>
                    <a:lnTo>
                      <a:pt x="508711" y="461525"/>
                    </a:lnTo>
                    <a:lnTo>
                      <a:pt x="508711" y="505881"/>
                    </a:lnTo>
                    <a:lnTo>
                      <a:pt x="680956" y="505881"/>
                    </a:lnTo>
                    <a:lnTo>
                      <a:pt x="680956" y="555256"/>
                    </a:lnTo>
                    <a:lnTo>
                      <a:pt x="886465" y="555256"/>
                    </a:lnTo>
                    <a:lnTo>
                      <a:pt x="886465" y="604632"/>
                    </a:lnTo>
                    <a:lnTo>
                      <a:pt x="953296" y="604632"/>
                    </a:lnTo>
                    <a:lnTo>
                      <a:pt x="953296" y="655474"/>
                    </a:lnTo>
                    <a:lnTo>
                      <a:pt x="1026642" y="655474"/>
                    </a:lnTo>
                    <a:lnTo>
                      <a:pt x="1026642" y="704849"/>
                    </a:lnTo>
                    <a:lnTo>
                      <a:pt x="1849871" y="704849"/>
                    </a:lnTo>
                    <a:lnTo>
                      <a:pt x="1849871" y="766351"/>
                    </a:lnTo>
                    <a:lnTo>
                      <a:pt x="2429273" y="766351"/>
                    </a:lnTo>
                    <a:lnTo>
                      <a:pt x="2429273" y="844998"/>
                    </a:lnTo>
                    <a:lnTo>
                      <a:pt x="3143214" y="844998"/>
                    </a:lnTo>
                  </a:path>
                </a:pathLst>
              </a:custGeom>
              <a:noFill/>
              <a:ln w="1903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374" name="Freeform 2011">
                <a:extLst>
                  <a:ext uri="{FF2B5EF4-FFF2-40B4-BE49-F238E27FC236}">
                    <a16:creationId xmlns:a16="http://schemas.microsoft.com/office/drawing/2014/main" id="{6DC0E52C-CC96-A39A-06E6-EA3804A7E551}"/>
                  </a:ext>
                </a:extLst>
              </p:cNvPr>
              <p:cNvSpPr/>
              <p:nvPr/>
            </p:nvSpPr>
            <p:spPr>
              <a:xfrm>
                <a:off x="5362978" y="1348280"/>
                <a:ext cx="2903666" cy="926742"/>
              </a:xfrm>
              <a:custGeom>
                <a:avLst/>
                <a:gdLst>
                  <a:gd name="connsiteX0" fmla="*/ 0 w 2903666"/>
                  <a:gd name="connsiteY0" fmla="*/ 0 h 926742"/>
                  <a:gd name="connsiteX1" fmla="*/ 94124 w 2903666"/>
                  <a:gd name="connsiteY1" fmla="*/ 0 h 926742"/>
                  <a:gd name="connsiteX2" fmla="*/ 94124 w 2903666"/>
                  <a:gd name="connsiteY2" fmla="*/ 46113 h 926742"/>
                  <a:gd name="connsiteX3" fmla="*/ 183829 w 2903666"/>
                  <a:gd name="connsiteY3" fmla="*/ 46113 h 926742"/>
                  <a:gd name="connsiteX4" fmla="*/ 183829 w 2903666"/>
                  <a:gd name="connsiteY4" fmla="*/ 90773 h 926742"/>
                  <a:gd name="connsiteX5" fmla="*/ 223531 w 2903666"/>
                  <a:gd name="connsiteY5" fmla="*/ 90773 h 926742"/>
                  <a:gd name="connsiteX6" fmla="*/ 223531 w 2903666"/>
                  <a:gd name="connsiteY6" fmla="*/ 138353 h 926742"/>
                  <a:gd name="connsiteX7" fmla="*/ 286767 w 2903666"/>
                  <a:gd name="connsiteY7" fmla="*/ 138353 h 926742"/>
                  <a:gd name="connsiteX8" fmla="*/ 286767 w 2903666"/>
                  <a:gd name="connsiteY8" fmla="*/ 184466 h 926742"/>
                  <a:gd name="connsiteX9" fmla="*/ 466913 w 2903666"/>
                  <a:gd name="connsiteY9" fmla="*/ 184466 h 926742"/>
                  <a:gd name="connsiteX10" fmla="*/ 466913 w 2903666"/>
                  <a:gd name="connsiteY10" fmla="*/ 234246 h 926742"/>
                  <a:gd name="connsiteX11" fmla="*/ 509561 w 2903666"/>
                  <a:gd name="connsiteY11" fmla="*/ 234246 h 926742"/>
                  <a:gd name="connsiteX12" fmla="*/ 509561 w 2903666"/>
                  <a:gd name="connsiteY12" fmla="*/ 281826 h 926742"/>
                  <a:gd name="connsiteX13" fmla="*/ 874996 w 2903666"/>
                  <a:gd name="connsiteY13" fmla="*/ 281826 h 926742"/>
                  <a:gd name="connsiteX14" fmla="*/ 874996 w 2903666"/>
                  <a:gd name="connsiteY14" fmla="*/ 329406 h 926742"/>
                  <a:gd name="connsiteX15" fmla="*/ 952940 w 2903666"/>
                  <a:gd name="connsiteY15" fmla="*/ 329406 h 926742"/>
                  <a:gd name="connsiteX16" fmla="*/ 952940 w 2903666"/>
                  <a:gd name="connsiteY16" fmla="*/ 379920 h 926742"/>
                  <a:gd name="connsiteX17" fmla="*/ 1115445 w 2903666"/>
                  <a:gd name="connsiteY17" fmla="*/ 379920 h 926742"/>
                  <a:gd name="connsiteX18" fmla="*/ 1115445 w 2903666"/>
                  <a:gd name="connsiteY18" fmla="*/ 431154 h 926742"/>
                  <a:gd name="connsiteX19" fmla="*/ 1227947 w 2903666"/>
                  <a:gd name="connsiteY19" fmla="*/ 431154 h 926742"/>
                  <a:gd name="connsiteX20" fmla="*/ 1227947 w 2903666"/>
                  <a:gd name="connsiteY20" fmla="*/ 485334 h 926742"/>
                  <a:gd name="connsiteX21" fmla="*/ 1334556 w 2903666"/>
                  <a:gd name="connsiteY21" fmla="*/ 485334 h 926742"/>
                  <a:gd name="connsiteX22" fmla="*/ 1334556 w 2903666"/>
                  <a:gd name="connsiteY22" fmla="*/ 540235 h 926742"/>
                  <a:gd name="connsiteX23" fmla="*/ 1615443 w 2903666"/>
                  <a:gd name="connsiteY23" fmla="*/ 540235 h 926742"/>
                  <a:gd name="connsiteX24" fmla="*/ 1615443 w 2903666"/>
                  <a:gd name="connsiteY24" fmla="*/ 595869 h 926742"/>
                  <a:gd name="connsiteX25" fmla="*/ 2840430 w 2903666"/>
                  <a:gd name="connsiteY25" fmla="*/ 595869 h 926742"/>
                  <a:gd name="connsiteX26" fmla="*/ 2840430 w 2903666"/>
                  <a:gd name="connsiteY26" fmla="*/ 926742 h 926742"/>
                  <a:gd name="connsiteX27" fmla="*/ 2903666 w 2903666"/>
                  <a:gd name="connsiteY27" fmla="*/ 926742 h 926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03666" h="926742">
                    <a:moveTo>
                      <a:pt x="0" y="0"/>
                    </a:moveTo>
                    <a:lnTo>
                      <a:pt x="94124" y="0"/>
                    </a:lnTo>
                    <a:lnTo>
                      <a:pt x="94124" y="46113"/>
                    </a:lnTo>
                    <a:lnTo>
                      <a:pt x="183829" y="46113"/>
                    </a:lnTo>
                    <a:lnTo>
                      <a:pt x="183829" y="90773"/>
                    </a:lnTo>
                    <a:lnTo>
                      <a:pt x="223531" y="90773"/>
                    </a:lnTo>
                    <a:lnTo>
                      <a:pt x="223531" y="138353"/>
                    </a:lnTo>
                    <a:lnTo>
                      <a:pt x="286767" y="138353"/>
                    </a:lnTo>
                    <a:lnTo>
                      <a:pt x="286767" y="184466"/>
                    </a:lnTo>
                    <a:lnTo>
                      <a:pt x="466913" y="184466"/>
                    </a:lnTo>
                    <a:lnTo>
                      <a:pt x="466913" y="234246"/>
                    </a:lnTo>
                    <a:lnTo>
                      <a:pt x="509561" y="234246"/>
                    </a:lnTo>
                    <a:lnTo>
                      <a:pt x="509561" y="281826"/>
                    </a:lnTo>
                    <a:lnTo>
                      <a:pt x="874996" y="281826"/>
                    </a:lnTo>
                    <a:lnTo>
                      <a:pt x="874996" y="329406"/>
                    </a:lnTo>
                    <a:lnTo>
                      <a:pt x="952940" y="329406"/>
                    </a:lnTo>
                    <a:lnTo>
                      <a:pt x="952940" y="379920"/>
                    </a:lnTo>
                    <a:lnTo>
                      <a:pt x="1115445" y="379920"/>
                    </a:lnTo>
                    <a:lnTo>
                      <a:pt x="1115445" y="431154"/>
                    </a:lnTo>
                    <a:lnTo>
                      <a:pt x="1227947" y="431154"/>
                    </a:lnTo>
                    <a:lnTo>
                      <a:pt x="1227947" y="485334"/>
                    </a:lnTo>
                    <a:lnTo>
                      <a:pt x="1334556" y="485334"/>
                    </a:lnTo>
                    <a:lnTo>
                      <a:pt x="1334556" y="540235"/>
                    </a:lnTo>
                    <a:lnTo>
                      <a:pt x="1615443" y="540235"/>
                    </a:lnTo>
                    <a:lnTo>
                      <a:pt x="1615443" y="595869"/>
                    </a:lnTo>
                    <a:lnTo>
                      <a:pt x="2840430" y="595869"/>
                    </a:lnTo>
                    <a:lnTo>
                      <a:pt x="2840430" y="926742"/>
                    </a:lnTo>
                    <a:lnTo>
                      <a:pt x="2903666" y="926742"/>
                    </a:lnTo>
                  </a:path>
                </a:pathLst>
              </a:custGeom>
              <a:noFill/>
              <a:ln w="1903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375" name="Freeform 2012">
                <a:extLst>
                  <a:ext uri="{FF2B5EF4-FFF2-40B4-BE49-F238E27FC236}">
                    <a16:creationId xmlns:a16="http://schemas.microsoft.com/office/drawing/2014/main" id="{0C71788D-271B-B606-DE7D-3B2A67962E48}"/>
                  </a:ext>
                </a:extLst>
              </p:cNvPr>
              <p:cNvSpPr/>
              <p:nvPr/>
            </p:nvSpPr>
            <p:spPr>
              <a:xfrm>
                <a:off x="5364946" y="1350404"/>
                <a:ext cx="3143327" cy="920773"/>
              </a:xfrm>
              <a:custGeom>
                <a:avLst/>
                <a:gdLst>
                  <a:gd name="connsiteX0" fmla="*/ 0 w 3143327"/>
                  <a:gd name="connsiteY0" fmla="*/ 0 h 920773"/>
                  <a:gd name="connsiteX1" fmla="*/ 29910 w 3143327"/>
                  <a:gd name="connsiteY1" fmla="*/ 0 h 920773"/>
                  <a:gd name="connsiteX2" fmla="*/ 29910 w 3143327"/>
                  <a:gd name="connsiteY2" fmla="*/ 21204 h 920773"/>
                  <a:gd name="connsiteX3" fmla="*/ 37556 w 3143327"/>
                  <a:gd name="connsiteY3" fmla="*/ 21204 h 920773"/>
                  <a:gd name="connsiteX4" fmla="*/ 37556 w 3143327"/>
                  <a:gd name="connsiteY4" fmla="*/ 42118 h 920773"/>
                  <a:gd name="connsiteX5" fmla="*/ 55222 w 3143327"/>
                  <a:gd name="connsiteY5" fmla="*/ 42118 h 920773"/>
                  <a:gd name="connsiteX6" fmla="*/ 55222 w 3143327"/>
                  <a:gd name="connsiteY6" fmla="*/ 63031 h 920773"/>
                  <a:gd name="connsiteX7" fmla="*/ 71453 w 3143327"/>
                  <a:gd name="connsiteY7" fmla="*/ 63031 h 920773"/>
                  <a:gd name="connsiteX8" fmla="*/ 71453 w 3143327"/>
                  <a:gd name="connsiteY8" fmla="*/ 106755 h 920773"/>
                  <a:gd name="connsiteX9" fmla="*/ 79493 w 3143327"/>
                  <a:gd name="connsiteY9" fmla="*/ 106755 h 920773"/>
                  <a:gd name="connsiteX10" fmla="*/ 79493 w 3143327"/>
                  <a:gd name="connsiteY10" fmla="*/ 126252 h 920773"/>
                  <a:gd name="connsiteX11" fmla="*/ 94378 w 3143327"/>
                  <a:gd name="connsiteY11" fmla="*/ 126252 h 920773"/>
                  <a:gd name="connsiteX12" fmla="*/ 94378 w 3143327"/>
                  <a:gd name="connsiteY12" fmla="*/ 148835 h 920773"/>
                  <a:gd name="connsiteX13" fmla="*/ 110330 w 3143327"/>
                  <a:gd name="connsiteY13" fmla="*/ 148835 h 920773"/>
                  <a:gd name="connsiteX14" fmla="*/ 110330 w 3143327"/>
                  <a:gd name="connsiteY14" fmla="*/ 170355 h 920773"/>
                  <a:gd name="connsiteX15" fmla="*/ 120605 w 3143327"/>
                  <a:gd name="connsiteY15" fmla="*/ 170355 h 920773"/>
                  <a:gd name="connsiteX16" fmla="*/ 120605 w 3143327"/>
                  <a:gd name="connsiteY16" fmla="*/ 187981 h 920773"/>
                  <a:gd name="connsiteX17" fmla="*/ 175891 w 3143327"/>
                  <a:gd name="connsiteY17" fmla="*/ 187981 h 920773"/>
                  <a:gd name="connsiteX18" fmla="*/ 175891 w 3143327"/>
                  <a:gd name="connsiteY18" fmla="*/ 211360 h 920773"/>
                  <a:gd name="connsiteX19" fmla="*/ 185111 w 3143327"/>
                  <a:gd name="connsiteY19" fmla="*/ 211360 h 920773"/>
                  <a:gd name="connsiteX20" fmla="*/ 185111 w 3143327"/>
                  <a:gd name="connsiteY20" fmla="*/ 255754 h 920773"/>
                  <a:gd name="connsiteX21" fmla="*/ 199285 w 3143327"/>
                  <a:gd name="connsiteY21" fmla="*/ 255754 h 920773"/>
                  <a:gd name="connsiteX22" fmla="*/ 199285 w 3143327"/>
                  <a:gd name="connsiteY22" fmla="*/ 271559 h 920773"/>
                  <a:gd name="connsiteX23" fmla="*/ 225512 w 3143327"/>
                  <a:gd name="connsiteY23" fmla="*/ 271559 h 920773"/>
                  <a:gd name="connsiteX24" fmla="*/ 225512 w 3143327"/>
                  <a:gd name="connsiteY24" fmla="*/ 290614 h 920773"/>
                  <a:gd name="connsiteX25" fmla="*/ 281865 w 3143327"/>
                  <a:gd name="connsiteY25" fmla="*/ 290614 h 920773"/>
                  <a:gd name="connsiteX26" fmla="*/ 281865 w 3143327"/>
                  <a:gd name="connsiteY26" fmla="*/ 314258 h 920773"/>
                  <a:gd name="connsiteX27" fmla="*/ 294260 w 3143327"/>
                  <a:gd name="connsiteY27" fmla="*/ 314258 h 920773"/>
                  <a:gd name="connsiteX28" fmla="*/ 294260 w 3143327"/>
                  <a:gd name="connsiteY28" fmla="*/ 335779 h 920773"/>
                  <a:gd name="connsiteX29" fmla="*/ 466506 w 3143327"/>
                  <a:gd name="connsiteY29" fmla="*/ 335779 h 920773"/>
                  <a:gd name="connsiteX30" fmla="*/ 466506 w 3143327"/>
                  <a:gd name="connsiteY30" fmla="*/ 359069 h 920773"/>
                  <a:gd name="connsiteX31" fmla="*/ 510806 w 3143327"/>
                  <a:gd name="connsiteY31" fmla="*/ 359069 h 920773"/>
                  <a:gd name="connsiteX32" fmla="*/ 510806 w 3143327"/>
                  <a:gd name="connsiteY32" fmla="*/ 407737 h 920773"/>
                  <a:gd name="connsiteX33" fmla="*/ 681274 w 3143327"/>
                  <a:gd name="connsiteY33" fmla="*/ 407737 h 920773"/>
                  <a:gd name="connsiteX34" fmla="*/ 681274 w 3143327"/>
                  <a:gd name="connsiteY34" fmla="*/ 431394 h 920773"/>
                  <a:gd name="connsiteX35" fmla="*/ 872291 w 3143327"/>
                  <a:gd name="connsiteY35" fmla="*/ 431394 h 920773"/>
                  <a:gd name="connsiteX36" fmla="*/ 872291 w 3143327"/>
                  <a:gd name="connsiteY36" fmla="*/ 453976 h 920773"/>
                  <a:gd name="connsiteX37" fmla="*/ 887888 w 3143327"/>
                  <a:gd name="connsiteY37" fmla="*/ 453976 h 920773"/>
                  <a:gd name="connsiteX38" fmla="*/ 887888 w 3143327"/>
                  <a:gd name="connsiteY38" fmla="*/ 477621 h 920773"/>
                  <a:gd name="connsiteX39" fmla="*/ 951683 w 3143327"/>
                  <a:gd name="connsiteY39" fmla="*/ 477621 h 920773"/>
                  <a:gd name="connsiteX40" fmla="*/ 951683 w 3143327"/>
                  <a:gd name="connsiteY40" fmla="*/ 528261 h 920773"/>
                  <a:gd name="connsiteX41" fmla="*/ 1026820 w 3143327"/>
                  <a:gd name="connsiteY41" fmla="*/ 528261 h 920773"/>
                  <a:gd name="connsiteX42" fmla="*/ 1026820 w 3143327"/>
                  <a:gd name="connsiteY42" fmla="*/ 552765 h 920773"/>
                  <a:gd name="connsiteX43" fmla="*/ 1115419 w 3143327"/>
                  <a:gd name="connsiteY43" fmla="*/ 552765 h 920773"/>
                  <a:gd name="connsiteX44" fmla="*/ 1115419 w 3143327"/>
                  <a:gd name="connsiteY44" fmla="*/ 577118 h 920773"/>
                  <a:gd name="connsiteX45" fmla="*/ 1228467 w 3143327"/>
                  <a:gd name="connsiteY45" fmla="*/ 577118 h 920773"/>
                  <a:gd name="connsiteX46" fmla="*/ 1228467 w 3143327"/>
                  <a:gd name="connsiteY46" fmla="*/ 605112 h 920773"/>
                  <a:gd name="connsiteX47" fmla="*/ 1336207 w 3143327"/>
                  <a:gd name="connsiteY47" fmla="*/ 605112 h 920773"/>
                  <a:gd name="connsiteX48" fmla="*/ 1336207 w 3143327"/>
                  <a:gd name="connsiteY48" fmla="*/ 629086 h 920773"/>
                  <a:gd name="connsiteX49" fmla="*/ 1619380 w 3143327"/>
                  <a:gd name="connsiteY49" fmla="*/ 629086 h 920773"/>
                  <a:gd name="connsiteX50" fmla="*/ 1619380 w 3143327"/>
                  <a:gd name="connsiteY50" fmla="*/ 655095 h 920773"/>
                  <a:gd name="connsiteX51" fmla="*/ 1851877 w 3143327"/>
                  <a:gd name="connsiteY51" fmla="*/ 655095 h 920773"/>
                  <a:gd name="connsiteX52" fmla="*/ 1851877 w 3143327"/>
                  <a:gd name="connsiteY52" fmla="*/ 689664 h 920773"/>
                  <a:gd name="connsiteX53" fmla="*/ 2429552 w 3143327"/>
                  <a:gd name="connsiteY53" fmla="*/ 689664 h 920773"/>
                  <a:gd name="connsiteX54" fmla="*/ 2429552 w 3143327"/>
                  <a:gd name="connsiteY54" fmla="*/ 751064 h 920773"/>
                  <a:gd name="connsiteX55" fmla="*/ 2844558 w 3143327"/>
                  <a:gd name="connsiteY55" fmla="*/ 751064 h 920773"/>
                  <a:gd name="connsiteX56" fmla="*/ 2844558 w 3143327"/>
                  <a:gd name="connsiteY56" fmla="*/ 920774 h 920773"/>
                  <a:gd name="connsiteX57" fmla="*/ 3143327 w 3143327"/>
                  <a:gd name="connsiteY57" fmla="*/ 920774 h 920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143327" h="920773">
                    <a:moveTo>
                      <a:pt x="0" y="0"/>
                    </a:moveTo>
                    <a:lnTo>
                      <a:pt x="29910" y="0"/>
                    </a:lnTo>
                    <a:lnTo>
                      <a:pt x="29910" y="21204"/>
                    </a:lnTo>
                    <a:lnTo>
                      <a:pt x="37556" y="21204"/>
                    </a:lnTo>
                    <a:lnTo>
                      <a:pt x="37556" y="42118"/>
                    </a:lnTo>
                    <a:lnTo>
                      <a:pt x="55222" y="42118"/>
                    </a:lnTo>
                    <a:lnTo>
                      <a:pt x="55222" y="63031"/>
                    </a:lnTo>
                    <a:lnTo>
                      <a:pt x="71453" y="63031"/>
                    </a:lnTo>
                    <a:lnTo>
                      <a:pt x="71453" y="106755"/>
                    </a:lnTo>
                    <a:lnTo>
                      <a:pt x="79493" y="106755"/>
                    </a:lnTo>
                    <a:lnTo>
                      <a:pt x="79493" y="126252"/>
                    </a:lnTo>
                    <a:lnTo>
                      <a:pt x="94378" y="126252"/>
                    </a:lnTo>
                    <a:lnTo>
                      <a:pt x="94378" y="148835"/>
                    </a:lnTo>
                    <a:lnTo>
                      <a:pt x="110330" y="148835"/>
                    </a:lnTo>
                    <a:lnTo>
                      <a:pt x="110330" y="170355"/>
                    </a:lnTo>
                    <a:lnTo>
                      <a:pt x="120605" y="170355"/>
                    </a:lnTo>
                    <a:lnTo>
                      <a:pt x="120605" y="187981"/>
                    </a:lnTo>
                    <a:lnTo>
                      <a:pt x="175891" y="187981"/>
                    </a:lnTo>
                    <a:lnTo>
                      <a:pt x="175891" y="211360"/>
                    </a:lnTo>
                    <a:lnTo>
                      <a:pt x="185111" y="211360"/>
                    </a:lnTo>
                    <a:lnTo>
                      <a:pt x="185111" y="255754"/>
                    </a:lnTo>
                    <a:lnTo>
                      <a:pt x="199285" y="255754"/>
                    </a:lnTo>
                    <a:lnTo>
                      <a:pt x="199285" y="271559"/>
                    </a:lnTo>
                    <a:lnTo>
                      <a:pt x="225512" y="271559"/>
                    </a:lnTo>
                    <a:lnTo>
                      <a:pt x="225512" y="290614"/>
                    </a:lnTo>
                    <a:lnTo>
                      <a:pt x="281865" y="290614"/>
                    </a:lnTo>
                    <a:lnTo>
                      <a:pt x="281865" y="314258"/>
                    </a:lnTo>
                    <a:lnTo>
                      <a:pt x="294260" y="314258"/>
                    </a:lnTo>
                    <a:lnTo>
                      <a:pt x="294260" y="335779"/>
                    </a:lnTo>
                    <a:lnTo>
                      <a:pt x="466506" y="335779"/>
                    </a:lnTo>
                    <a:lnTo>
                      <a:pt x="466506" y="359069"/>
                    </a:lnTo>
                    <a:lnTo>
                      <a:pt x="510806" y="359069"/>
                    </a:lnTo>
                    <a:lnTo>
                      <a:pt x="510806" y="407737"/>
                    </a:lnTo>
                    <a:lnTo>
                      <a:pt x="681274" y="407737"/>
                    </a:lnTo>
                    <a:lnTo>
                      <a:pt x="681274" y="431394"/>
                    </a:lnTo>
                    <a:lnTo>
                      <a:pt x="872291" y="431394"/>
                    </a:lnTo>
                    <a:lnTo>
                      <a:pt x="872291" y="453976"/>
                    </a:lnTo>
                    <a:lnTo>
                      <a:pt x="887888" y="453976"/>
                    </a:lnTo>
                    <a:lnTo>
                      <a:pt x="887888" y="477621"/>
                    </a:lnTo>
                    <a:lnTo>
                      <a:pt x="951683" y="477621"/>
                    </a:lnTo>
                    <a:lnTo>
                      <a:pt x="951683" y="528261"/>
                    </a:lnTo>
                    <a:lnTo>
                      <a:pt x="1026820" y="528261"/>
                    </a:lnTo>
                    <a:lnTo>
                      <a:pt x="1026820" y="552765"/>
                    </a:lnTo>
                    <a:lnTo>
                      <a:pt x="1115419" y="552765"/>
                    </a:lnTo>
                    <a:lnTo>
                      <a:pt x="1115419" y="577118"/>
                    </a:lnTo>
                    <a:lnTo>
                      <a:pt x="1228467" y="577118"/>
                    </a:lnTo>
                    <a:lnTo>
                      <a:pt x="1228467" y="605112"/>
                    </a:lnTo>
                    <a:lnTo>
                      <a:pt x="1336207" y="605112"/>
                    </a:lnTo>
                    <a:lnTo>
                      <a:pt x="1336207" y="629086"/>
                    </a:lnTo>
                    <a:lnTo>
                      <a:pt x="1619380" y="629086"/>
                    </a:lnTo>
                    <a:lnTo>
                      <a:pt x="1619380" y="655095"/>
                    </a:lnTo>
                    <a:lnTo>
                      <a:pt x="1851877" y="655095"/>
                    </a:lnTo>
                    <a:lnTo>
                      <a:pt x="1851877" y="689664"/>
                    </a:lnTo>
                    <a:lnTo>
                      <a:pt x="2429552" y="689664"/>
                    </a:lnTo>
                    <a:lnTo>
                      <a:pt x="2429552" y="751064"/>
                    </a:lnTo>
                    <a:lnTo>
                      <a:pt x="2844558" y="751064"/>
                    </a:lnTo>
                    <a:lnTo>
                      <a:pt x="2844558" y="920774"/>
                    </a:lnTo>
                    <a:lnTo>
                      <a:pt x="3143327" y="920774"/>
                    </a:lnTo>
                  </a:path>
                </a:pathLst>
              </a:custGeom>
              <a:noFill/>
              <a:ln w="1903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376" name="Freeform 2013">
                <a:extLst>
                  <a:ext uri="{FF2B5EF4-FFF2-40B4-BE49-F238E27FC236}">
                    <a16:creationId xmlns:a16="http://schemas.microsoft.com/office/drawing/2014/main" id="{9E6866BB-4170-C07D-42A3-F6BE90242890}"/>
                  </a:ext>
                </a:extLst>
              </p:cNvPr>
              <p:cNvSpPr/>
              <p:nvPr/>
            </p:nvSpPr>
            <p:spPr>
              <a:xfrm>
                <a:off x="5441035" y="2534771"/>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377" name="Freeform 2014">
                <a:extLst>
                  <a:ext uri="{FF2B5EF4-FFF2-40B4-BE49-F238E27FC236}">
                    <a16:creationId xmlns:a16="http://schemas.microsoft.com/office/drawing/2014/main" id="{598074BC-D63A-D1AC-FCB7-418ABEB657FF}"/>
                  </a:ext>
                </a:extLst>
              </p:cNvPr>
              <p:cNvSpPr/>
              <p:nvPr/>
            </p:nvSpPr>
            <p:spPr>
              <a:xfrm>
                <a:off x="5469612" y="2506322"/>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378" name="TextBox 1377">
                <a:extLst>
                  <a:ext uri="{FF2B5EF4-FFF2-40B4-BE49-F238E27FC236}">
                    <a16:creationId xmlns:a16="http://schemas.microsoft.com/office/drawing/2014/main" id="{FEB087B8-24D8-B97A-A743-DCEF108D228E}"/>
                  </a:ext>
                </a:extLst>
              </p:cNvPr>
              <p:cNvSpPr txBox="1"/>
              <p:nvPr/>
            </p:nvSpPr>
            <p:spPr>
              <a:xfrm>
                <a:off x="5519187" y="2322668"/>
                <a:ext cx="879718" cy="176978"/>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All patients (N=61)</a:t>
                </a:r>
              </a:p>
            </p:txBody>
          </p:sp>
          <p:sp>
            <p:nvSpPr>
              <p:cNvPr id="1379" name="TextBox 1378">
                <a:extLst>
                  <a:ext uri="{FF2B5EF4-FFF2-40B4-BE49-F238E27FC236}">
                    <a16:creationId xmlns:a16="http://schemas.microsoft.com/office/drawing/2014/main" id="{099FC6BB-0FEA-28CA-DB15-6F92FAF65AB2}"/>
                  </a:ext>
                </a:extLst>
              </p:cNvPr>
              <p:cNvSpPr txBox="1"/>
              <p:nvPr/>
            </p:nvSpPr>
            <p:spPr>
              <a:xfrm>
                <a:off x="5508175" y="2427900"/>
                <a:ext cx="526494" cy="176978"/>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Censored</a:t>
                </a:r>
              </a:p>
            </p:txBody>
          </p:sp>
          <p:sp>
            <p:nvSpPr>
              <p:cNvPr id="1380" name="TextBox 1379">
                <a:extLst>
                  <a:ext uri="{FF2B5EF4-FFF2-40B4-BE49-F238E27FC236}">
                    <a16:creationId xmlns:a16="http://schemas.microsoft.com/office/drawing/2014/main" id="{911D0D8A-B02A-8159-84AD-8C4524286A05}"/>
                  </a:ext>
                </a:extLst>
              </p:cNvPr>
              <p:cNvSpPr txBox="1"/>
              <p:nvPr/>
            </p:nvSpPr>
            <p:spPr>
              <a:xfrm>
                <a:off x="5519187" y="2204723"/>
                <a:ext cx="864205" cy="176978"/>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BTKi naïve (n=27)</a:t>
                </a:r>
              </a:p>
            </p:txBody>
          </p:sp>
          <p:grpSp>
            <p:nvGrpSpPr>
              <p:cNvPr id="1381" name="Graphic 4">
                <a:extLst>
                  <a:ext uri="{FF2B5EF4-FFF2-40B4-BE49-F238E27FC236}">
                    <a16:creationId xmlns:a16="http://schemas.microsoft.com/office/drawing/2014/main" id="{20FD5048-6B60-6F74-26F0-F1B71D7CA09B}"/>
                  </a:ext>
                </a:extLst>
              </p:cNvPr>
              <p:cNvGrpSpPr/>
              <p:nvPr/>
            </p:nvGrpSpPr>
            <p:grpSpPr>
              <a:xfrm>
                <a:off x="5341335" y="1321044"/>
                <a:ext cx="3179854" cy="901946"/>
                <a:chOff x="7887216" y="2733933"/>
                <a:chExt cx="3179854" cy="901946"/>
              </a:xfrm>
            </p:grpSpPr>
            <p:grpSp>
              <p:nvGrpSpPr>
                <p:cNvPr id="1382" name="Graphic 4">
                  <a:extLst>
                    <a:ext uri="{FF2B5EF4-FFF2-40B4-BE49-F238E27FC236}">
                      <a16:creationId xmlns:a16="http://schemas.microsoft.com/office/drawing/2014/main" id="{B7E9B003-C19D-4938-7991-707A477DAB64}"/>
                    </a:ext>
                  </a:extLst>
                </p:cNvPr>
                <p:cNvGrpSpPr/>
                <p:nvPr/>
              </p:nvGrpSpPr>
              <p:grpSpPr>
                <a:xfrm>
                  <a:off x="11009918" y="3578982"/>
                  <a:ext cx="57152" cy="56898"/>
                  <a:chOff x="11009918" y="3578982"/>
                  <a:chExt cx="57152" cy="56898"/>
                </a:xfrm>
              </p:grpSpPr>
              <p:sp>
                <p:nvSpPr>
                  <p:cNvPr id="1422" name="Freeform 2059">
                    <a:extLst>
                      <a:ext uri="{FF2B5EF4-FFF2-40B4-BE49-F238E27FC236}">
                        <a16:creationId xmlns:a16="http://schemas.microsoft.com/office/drawing/2014/main" id="{900684E4-4243-32B8-0D54-93BA7A0EDA97}"/>
                      </a:ext>
                    </a:extLst>
                  </p:cNvPr>
                  <p:cNvSpPr/>
                  <p:nvPr/>
                </p:nvSpPr>
                <p:spPr>
                  <a:xfrm>
                    <a:off x="11009918" y="3607431"/>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23" name="Freeform 2060">
                    <a:extLst>
                      <a:ext uri="{FF2B5EF4-FFF2-40B4-BE49-F238E27FC236}">
                        <a16:creationId xmlns:a16="http://schemas.microsoft.com/office/drawing/2014/main" id="{E9FFB065-B23E-FB5F-B247-5240DCF33CE2}"/>
                      </a:ext>
                    </a:extLst>
                  </p:cNvPr>
                  <p:cNvSpPr/>
                  <p:nvPr/>
                </p:nvSpPr>
                <p:spPr>
                  <a:xfrm>
                    <a:off x="11038495" y="3578982"/>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383" name="Graphic 4">
                  <a:extLst>
                    <a:ext uri="{FF2B5EF4-FFF2-40B4-BE49-F238E27FC236}">
                      <a16:creationId xmlns:a16="http://schemas.microsoft.com/office/drawing/2014/main" id="{7EFA7382-BBBC-F7C3-AF5D-3B4E555C6AFE}"/>
                    </a:ext>
                  </a:extLst>
                </p:cNvPr>
                <p:cNvGrpSpPr/>
                <p:nvPr/>
              </p:nvGrpSpPr>
              <p:grpSpPr>
                <a:xfrm>
                  <a:off x="10537950" y="3578982"/>
                  <a:ext cx="57152" cy="56898"/>
                  <a:chOff x="10537950" y="3578982"/>
                  <a:chExt cx="57152" cy="56898"/>
                </a:xfrm>
              </p:grpSpPr>
              <p:sp>
                <p:nvSpPr>
                  <p:cNvPr id="1420" name="Freeform 2057">
                    <a:extLst>
                      <a:ext uri="{FF2B5EF4-FFF2-40B4-BE49-F238E27FC236}">
                        <a16:creationId xmlns:a16="http://schemas.microsoft.com/office/drawing/2014/main" id="{5B90941C-37CE-89BB-3BCF-42D71A450C28}"/>
                      </a:ext>
                    </a:extLst>
                  </p:cNvPr>
                  <p:cNvSpPr/>
                  <p:nvPr/>
                </p:nvSpPr>
                <p:spPr>
                  <a:xfrm>
                    <a:off x="10537950" y="3607431"/>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21" name="Freeform 2058">
                    <a:extLst>
                      <a:ext uri="{FF2B5EF4-FFF2-40B4-BE49-F238E27FC236}">
                        <a16:creationId xmlns:a16="http://schemas.microsoft.com/office/drawing/2014/main" id="{E8F1E998-F439-A730-CAE2-44D5F77B3A3B}"/>
                      </a:ext>
                    </a:extLst>
                  </p:cNvPr>
                  <p:cNvSpPr/>
                  <p:nvPr/>
                </p:nvSpPr>
                <p:spPr>
                  <a:xfrm>
                    <a:off x="10566527" y="3578982"/>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384" name="Graphic 4">
                  <a:extLst>
                    <a:ext uri="{FF2B5EF4-FFF2-40B4-BE49-F238E27FC236}">
                      <a16:creationId xmlns:a16="http://schemas.microsoft.com/office/drawing/2014/main" id="{BE186AB5-DFDA-4197-A619-12623B0E11FA}"/>
                    </a:ext>
                  </a:extLst>
                </p:cNvPr>
                <p:cNvGrpSpPr/>
                <p:nvPr/>
              </p:nvGrpSpPr>
              <p:grpSpPr>
                <a:xfrm>
                  <a:off x="10458051" y="3578982"/>
                  <a:ext cx="57152" cy="56898"/>
                  <a:chOff x="10458051" y="3578982"/>
                  <a:chExt cx="57152" cy="56898"/>
                </a:xfrm>
              </p:grpSpPr>
              <p:sp>
                <p:nvSpPr>
                  <p:cNvPr id="1418" name="Freeform 2055">
                    <a:extLst>
                      <a:ext uri="{FF2B5EF4-FFF2-40B4-BE49-F238E27FC236}">
                        <a16:creationId xmlns:a16="http://schemas.microsoft.com/office/drawing/2014/main" id="{0FC4F388-F640-FEFE-B843-B673881B4E72}"/>
                      </a:ext>
                    </a:extLst>
                  </p:cNvPr>
                  <p:cNvSpPr/>
                  <p:nvPr/>
                </p:nvSpPr>
                <p:spPr>
                  <a:xfrm>
                    <a:off x="10458051" y="3607431"/>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19" name="Freeform 2056">
                    <a:extLst>
                      <a:ext uri="{FF2B5EF4-FFF2-40B4-BE49-F238E27FC236}">
                        <a16:creationId xmlns:a16="http://schemas.microsoft.com/office/drawing/2014/main" id="{CC33D39D-8992-AD25-4BE3-B4057457C6F5}"/>
                      </a:ext>
                    </a:extLst>
                  </p:cNvPr>
                  <p:cNvSpPr/>
                  <p:nvPr/>
                </p:nvSpPr>
                <p:spPr>
                  <a:xfrm>
                    <a:off x="10486627" y="3578982"/>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385" name="Graphic 4">
                  <a:extLst>
                    <a:ext uri="{FF2B5EF4-FFF2-40B4-BE49-F238E27FC236}">
                      <a16:creationId xmlns:a16="http://schemas.microsoft.com/office/drawing/2014/main" id="{3CB9206F-DD35-B6A4-7023-FC06BD813397}"/>
                    </a:ext>
                  </a:extLst>
                </p:cNvPr>
                <p:cNvGrpSpPr/>
                <p:nvPr/>
              </p:nvGrpSpPr>
              <p:grpSpPr>
                <a:xfrm>
                  <a:off x="10392236" y="3578982"/>
                  <a:ext cx="57152" cy="56898"/>
                  <a:chOff x="10392236" y="3578982"/>
                  <a:chExt cx="57152" cy="56898"/>
                </a:xfrm>
              </p:grpSpPr>
              <p:sp>
                <p:nvSpPr>
                  <p:cNvPr id="1416" name="Freeform 2053">
                    <a:extLst>
                      <a:ext uri="{FF2B5EF4-FFF2-40B4-BE49-F238E27FC236}">
                        <a16:creationId xmlns:a16="http://schemas.microsoft.com/office/drawing/2014/main" id="{35152F96-4D94-60E5-0C59-81202B153A2A}"/>
                      </a:ext>
                    </a:extLst>
                  </p:cNvPr>
                  <p:cNvSpPr/>
                  <p:nvPr/>
                </p:nvSpPr>
                <p:spPr>
                  <a:xfrm>
                    <a:off x="10392236" y="3607431"/>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17" name="Freeform 2054">
                    <a:extLst>
                      <a:ext uri="{FF2B5EF4-FFF2-40B4-BE49-F238E27FC236}">
                        <a16:creationId xmlns:a16="http://schemas.microsoft.com/office/drawing/2014/main" id="{458BA39F-7BB7-BAC2-80BC-914A2F588475}"/>
                      </a:ext>
                    </a:extLst>
                  </p:cNvPr>
                  <p:cNvSpPr/>
                  <p:nvPr/>
                </p:nvSpPr>
                <p:spPr>
                  <a:xfrm>
                    <a:off x="10420813" y="3578982"/>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386" name="Graphic 4">
                  <a:extLst>
                    <a:ext uri="{FF2B5EF4-FFF2-40B4-BE49-F238E27FC236}">
                      <a16:creationId xmlns:a16="http://schemas.microsoft.com/office/drawing/2014/main" id="{2A29E2DE-6185-49CF-65BF-B6B878861F59}"/>
                    </a:ext>
                  </a:extLst>
                </p:cNvPr>
                <p:cNvGrpSpPr/>
                <p:nvPr/>
              </p:nvGrpSpPr>
              <p:grpSpPr>
                <a:xfrm>
                  <a:off x="10364079" y="3578982"/>
                  <a:ext cx="57152" cy="56898"/>
                  <a:chOff x="10364079" y="3578982"/>
                  <a:chExt cx="57152" cy="56898"/>
                </a:xfrm>
              </p:grpSpPr>
              <p:sp>
                <p:nvSpPr>
                  <p:cNvPr id="1414" name="Freeform 2051">
                    <a:extLst>
                      <a:ext uri="{FF2B5EF4-FFF2-40B4-BE49-F238E27FC236}">
                        <a16:creationId xmlns:a16="http://schemas.microsoft.com/office/drawing/2014/main" id="{FF5DE743-7745-5D94-054A-61788FE8DA1A}"/>
                      </a:ext>
                    </a:extLst>
                  </p:cNvPr>
                  <p:cNvSpPr/>
                  <p:nvPr/>
                </p:nvSpPr>
                <p:spPr>
                  <a:xfrm>
                    <a:off x="10364079" y="3607431"/>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15" name="Freeform 2052">
                    <a:extLst>
                      <a:ext uri="{FF2B5EF4-FFF2-40B4-BE49-F238E27FC236}">
                        <a16:creationId xmlns:a16="http://schemas.microsoft.com/office/drawing/2014/main" id="{7A1EC5E3-6CCA-8771-31EB-9161B6352060}"/>
                      </a:ext>
                    </a:extLst>
                  </p:cNvPr>
                  <p:cNvSpPr/>
                  <p:nvPr/>
                </p:nvSpPr>
                <p:spPr>
                  <a:xfrm>
                    <a:off x="10392655" y="3578982"/>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387" name="Graphic 4">
                  <a:extLst>
                    <a:ext uri="{FF2B5EF4-FFF2-40B4-BE49-F238E27FC236}">
                      <a16:creationId xmlns:a16="http://schemas.microsoft.com/office/drawing/2014/main" id="{B879DC37-CC48-1764-0A66-5F3F25BC4900}"/>
                    </a:ext>
                  </a:extLst>
                </p:cNvPr>
                <p:cNvGrpSpPr/>
                <p:nvPr/>
              </p:nvGrpSpPr>
              <p:grpSpPr>
                <a:xfrm>
                  <a:off x="10232831" y="3500335"/>
                  <a:ext cx="57152" cy="56898"/>
                  <a:chOff x="10232831" y="3500335"/>
                  <a:chExt cx="57152" cy="56898"/>
                </a:xfrm>
              </p:grpSpPr>
              <p:sp>
                <p:nvSpPr>
                  <p:cNvPr id="1412" name="Freeform 2049">
                    <a:extLst>
                      <a:ext uri="{FF2B5EF4-FFF2-40B4-BE49-F238E27FC236}">
                        <a16:creationId xmlns:a16="http://schemas.microsoft.com/office/drawing/2014/main" id="{9802FE85-ACAA-795E-C0E8-11626C3236FA}"/>
                      </a:ext>
                    </a:extLst>
                  </p:cNvPr>
                  <p:cNvSpPr/>
                  <p:nvPr/>
                </p:nvSpPr>
                <p:spPr>
                  <a:xfrm>
                    <a:off x="10232831" y="3528784"/>
                    <a:ext cx="57152" cy="12644"/>
                  </a:xfrm>
                  <a:custGeom>
                    <a:avLst/>
                    <a:gdLst>
                      <a:gd name="connsiteX0" fmla="*/ 0 w 57152"/>
                      <a:gd name="connsiteY0" fmla="*/ 0 h 12644"/>
                      <a:gd name="connsiteX1" fmla="*/ 57152 w 57152"/>
                      <a:gd name="connsiteY1" fmla="*/ 0 h 12644"/>
                    </a:gdLst>
                    <a:ahLst/>
                    <a:cxnLst>
                      <a:cxn ang="0">
                        <a:pos x="connsiteX0" y="connsiteY0"/>
                      </a:cxn>
                      <a:cxn ang="0">
                        <a:pos x="connsiteX1" y="connsiteY1"/>
                      </a:cxn>
                    </a:cxnLst>
                    <a:rect l="l" t="t" r="r" b="b"/>
                    <a:pathLst>
                      <a:path w="57152" h="12644">
                        <a:moveTo>
                          <a:pt x="0" y="0"/>
                        </a:moveTo>
                        <a:lnTo>
                          <a:pt x="57152" y="0"/>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13" name="Freeform 2050">
                    <a:extLst>
                      <a:ext uri="{FF2B5EF4-FFF2-40B4-BE49-F238E27FC236}">
                        <a16:creationId xmlns:a16="http://schemas.microsoft.com/office/drawing/2014/main" id="{89781AA4-B534-879A-6FF2-2D3CC06768E9}"/>
                      </a:ext>
                    </a:extLst>
                  </p:cNvPr>
                  <p:cNvSpPr/>
                  <p:nvPr/>
                </p:nvSpPr>
                <p:spPr>
                  <a:xfrm>
                    <a:off x="10261407" y="3500335"/>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388" name="Graphic 4">
                  <a:extLst>
                    <a:ext uri="{FF2B5EF4-FFF2-40B4-BE49-F238E27FC236}">
                      <a16:creationId xmlns:a16="http://schemas.microsoft.com/office/drawing/2014/main" id="{B34F644D-E5AD-7441-DAEA-EFE20EF76B6A}"/>
                    </a:ext>
                  </a:extLst>
                </p:cNvPr>
                <p:cNvGrpSpPr/>
                <p:nvPr/>
              </p:nvGrpSpPr>
              <p:grpSpPr>
                <a:xfrm>
                  <a:off x="9910781" y="3500335"/>
                  <a:ext cx="57152" cy="56898"/>
                  <a:chOff x="9910781" y="3500335"/>
                  <a:chExt cx="57152" cy="56898"/>
                </a:xfrm>
              </p:grpSpPr>
              <p:sp>
                <p:nvSpPr>
                  <p:cNvPr id="1410" name="Freeform 2047">
                    <a:extLst>
                      <a:ext uri="{FF2B5EF4-FFF2-40B4-BE49-F238E27FC236}">
                        <a16:creationId xmlns:a16="http://schemas.microsoft.com/office/drawing/2014/main" id="{200CA916-46D4-B3CA-BF28-B8C082355A6D}"/>
                      </a:ext>
                    </a:extLst>
                  </p:cNvPr>
                  <p:cNvSpPr/>
                  <p:nvPr/>
                </p:nvSpPr>
                <p:spPr>
                  <a:xfrm>
                    <a:off x="9910781" y="3528784"/>
                    <a:ext cx="57152" cy="12644"/>
                  </a:xfrm>
                  <a:custGeom>
                    <a:avLst/>
                    <a:gdLst>
                      <a:gd name="connsiteX0" fmla="*/ 0 w 57152"/>
                      <a:gd name="connsiteY0" fmla="*/ 0 h 12644"/>
                      <a:gd name="connsiteX1" fmla="*/ 57152 w 57152"/>
                      <a:gd name="connsiteY1" fmla="*/ 0 h 12644"/>
                    </a:gdLst>
                    <a:ahLst/>
                    <a:cxnLst>
                      <a:cxn ang="0">
                        <a:pos x="connsiteX0" y="connsiteY0"/>
                      </a:cxn>
                      <a:cxn ang="0">
                        <a:pos x="connsiteX1" y="connsiteY1"/>
                      </a:cxn>
                    </a:cxnLst>
                    <a:rect l="l" t="t" r="r" b="b"/>
                    <a:pathLst>
                      <a:path w="57152" h="12644">
                        <a:moveTo>
                          <a:pt x="0" y="0"/>
                        </a:moveTo>
                        <a:lnTo>
                          <a:pt x="57152" y="0"/>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11" name="Freeform 2048">
                    <a:extLst>
                      <a:ext uri="{FF2B5EF4-FFF2-40B4-BE49-F238E27FC236}">
                        <a16:creationId xmlns:a16="http://schemas.microsoft.com/office/drawing/2014/main" id="{70D8C188-A549-88F6-048E-D0713EBB29DD}"/>
                      </a:ext>
                    </a:extLst>
                  </p:cNvPr>
                  <p:cNvSpPr/>
                  <p:nvPr/>
                </p:nvSpPr>
                <p:spPr>
                  <a:xfrm>
                    <a:off x="9939357" y="3500335"/>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389" name="Graphic 4">
                  <a:extLst>
                    <a:ext uri="{FF2B5EF4-FFF2-40B4-BE49-F238E27FC236}">
                      <a16:creationId xmlns:a16="http://schemas.microsoft.com/office/drawing/2014/main" id="{238A2844-D592-78B4-7126-C2F2558495C5}"/>
                    </a:ext>
                  </a:extLst>
                </p:cNvPr>
                <p:cNvGrpSpPr/>
                <p:nvPr/>
              </p:nvGrpSpPr>
              <p:grpSpPr>
                <a:xfrm>
                  <a:off x="9703304" y="3438581"/>
                  <a:ext cx="57152" cy="56898"/>
                  <a:chOff x="9703304" y="3438581"/>
                  <a:chExt cx="57152" cy="56898"/>
                </a:xfrm>
              </p:grpSpPr>
              <p:sp>
                <p:nvSpPr>
                  <p:cNvPr id="1408" name="Freeform 2045">
                    <a:extLst>
                      <a:ext uri="{FF2B5EF4-FFF2-40B4-BE49-F238E27FC236}">
                        <a16:creationId xmlns:a16="http://schemas.microsoft.com/office/drawing/2014/main" id="{F713D739-F5A0-6EF5-8C0B-8EC641E473AF}"/>
                      </a:ext>
                    </a:extLst>
                  </p:cNvPr>
                  <p:cNvSpPr/>
                  <p:nvPr/>
                </p:nvSpPr>
                <p:spPr>
                  <a:xfrm>
                    <a:off x="9703304" y="3467030"/>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09" name="Freeform 2046">
                    <a:extLst>
                      <a:ext uri="{FF2B5EF4-FFF2-40B4-BE49-F238E27FC236}">
                        <a16:creationId xmlns:a16="http://schemas.microsoft.com/office/drawing/2014/main" id="{F4442142-FCC0-20C0-FCDB-2D6A4B066DA1}"/>
                      </a:ext>
                    </a:extLst>
                  </p:cNvPr>
                  <p:cNvSpPr/>
                  <p:nvPr/>
                </p:nvSpPr>
                <p:spPr>
                  <a:xfrm>
                    <a:off x="9731880" y="3438581"/>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390" name="Graphic 4">
                  <a:extLst>
                    <a:ext uri="{FF2B5EF4-FFF2-40B4-BE49-F238E27FC236}">
                      <a16:creationId xmlns:a16="http://schemas.microsoft.com/office/drawing/2014/main" id="{9E4729FA-A435-9280-DE08-1540491DB710}"/>
                    </a:ext>
                  </a:extLst>
                </p:cNvPr>
                <p:cNvGrpSpPr/>
                <p:nvPr/>
              </p:nvGrpSpPr>
              <p:grpSpPr>
                <a:xfrm>
                  <a:off x="8523111" y="3240257"/>
                  <a:ext cx="57152" cy="56898"/>
                  <a:chOff x="8523111" y="3240257"/>
                  <a:chExt cx="57152" cy="56898"/>
                </a:xfrm>
              </p:grpSpPr>
              <p:sp>
                <p:nvSpPr>
                  <p:cNvPr id="1406" name="Freeform 2043">
                    <a:extLst>
                      <a:ext uri="{FF2B5EF4-FFF2-40B4-BE49-F238E27FC236}">
                        <a16:creationId xmlns:a16="http://schemas.microsoft.com/office/drawing/2014/main" id="{4C0197A7-1F48-B707-62F6-631461F986A7}"/>
                      </a:ext>
                    </a:extLst>
                  </p:cNvPr>
                  <p:cNvSpPr/>
                  <p:nvPr/>
                </p:nvSpPr>
                <p:spPr>
                  <a:xfrm>
                    <a:off x="8523111" y="3268706"/>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07" name="Freeform 2044">
                    <a:extLst>
                      <a:ext uri="{FF2B5EF4-FFF2-40B4-BE49-F238E27FC236}">
                        <a16:creationId xmlns:a16="http://schemas.microsoft.com/office/drawing/2014/main" id="{969D357A-338A-937F-7BB9-293AFAB8F207}"/>
                      </a:ext>
                    </a:extLst>
                  </p:cNvPr>
                  <p:cNvSpPr/>
                  <p:nvPr/>
                </p:nvSpPr>
                <p:spPr>
                  <a:xfrm>
                    <a:off x="8551688" y="3240257"/>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391" name="Graphic 4">
                  <a:extLst>
                    <a:ext uri="{FF2B5EF4-FFF2-40B4-BE49-F238E27FC236}">
                      <a16:creationId xmlns:a16="http://schemas.microsoft.com/office/drawing/2014/main" id="{BBCD5C33-71C9-F4E3-ECD5-CEC7F40460FB}"/>
                    </a:ext>
                  </a:extLst>
                </p:cNvPr>
                <p:cNvGrpSpPr/>
                <p:nvPr/>
              </p:nvGrpSpPr>
              <p:grpSpPr>
                <a:xfrm>
                  <a:off x="8379010" y="3195610"/>
                  <a:ext cx="57152" cy="56898"/>
                  <a:chOff x="8379010" y="3195610"/>
                  <a:chExt cx="57152" cy="56898"/>
                </a:xfrm>
              </p:grpSpPr>
              <p:sp>
                <p:nvSpPr>
                  <p:cNvPr id="1404" name="Freeform 2041">
                    <a:extLst>
                      <a:ext uri="{FF2B5EF4-FFF2-40B4-BE49-F238E27FC236}">
                        <a16:creationId xmlns:a16="http://schemas.microsoft.com/office/drawing/2014/main" id="{4A516273-E138-EFDF-A27A-564E2FBD2C84}"/>
                      </a:ext>
                    </a:extLst>
                  </p:cNvPr>
                  <p:cNvSpPr/>
                  <p:nvPr/>
                </p:nvSpPr>
                <p:spPr>
                  <a:xfrm>
                    <a:off x="8379010" y="3224060"/>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05" name="Freeform 2042">
                    <a:extLst>
                      <a:ext uri="{FF2B5EF4-FFF2-40B4-BE49-F238E27FC236}">
                        <a16:creationId xmlns:a16="http://schemas.microsoft.com/office/drawing/2014/main" id="{E8466326-CD52-84DC-B803-506668EC7BFC}"/>
                      </a:ext>
                    </a:extLst>
                  </p:cNvPr>
                  <p:cNvSpPr/>
                  <p:nvPr/>
                </p:nvSpPr>
                <p:spPr>
                  <a:xfrm>
                    <a:off x="8407586" y="3195610"/>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392" name="Graphic 4">
                  <a:extLst>
                    <a:ext uri="{FF2B5EF4-FFF2-40B4-BE49-F238E27FC236}">
                      <a16:creationId xmlns:a16="http://schemas.microsoft.com/office/drawing/2014/main" id="{CC43C466-B70C-E2EB-24B4-9022900DEE11}"/>
                    </a:ext>
                  </a:extLst>
                </p:cNvPr>
                <p:cNvGrpSpPr/>
                <p:nvPr/>
              </p:nvGrpSpPr>
              <p:grpSpPr>
                <a:xfrm>
                  <a:off x="8230121" y="3195610"/>
                  <a:ext cx="57152" cy="56898"/>
                  <a:chOff x="8230121" y="3195610"/>
                  <a:chExt cx="57152" cy="56898"/>
                </a:xfrm>
              </p:grpSpPr>
              <p:sp>
                <p:nvSpPr>
                  <p:cNvPr id="1402" name="Freeform 2039">
                    <a:extLst>
                      <a:ext uri="{FF2B5EF4-FFF2-40B4-BE49-F238E27FC236}">
                        <a16:creationId xmlns:a16="http://schemas.microsoft.com/office/drawing/2014/main" id="{BC9C03BC-8A34-6CEA-47AA-69D476B1F218}"/>
                      </a:ext>
                    </a:extLst>
                  </p:cNvPr>
                  <p:cNvSpPr/>
                  <p:nvPr/>
                </p:nvSpPr>
                <p:spPr>
                  <a:xfrm>
                    <a:off x="8230121" y="3224060"/>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03" name="Freeform 2040">
                    <a:extLst>
                      <a:ext uri="{FF2B5EF4-FFF2-40B4-BE49-F238E27FC236}">
                        <a16:creationId xmlns:a16="http://schemas.microsoft.com/office/drawing/2014/main" id="{F9BD1F6A-7703-9970-1A96-2F47EE5CB867}"/>
                      </a:ext>
                    </a:extLst>
                  </p:cNvPr>
                  <p:cNvSpPr/>
                  <p:nvPr/>
                </p:nvSpPr>
                <p:spPr>
                  <a:xfrm>
                    <a:off x="8258697" y="3195610"/>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393" name="Graphic 4">
                  <a:extLst>
                    <a:ext uri="{FF2B5EF4-FFF2-40B4-BE49-F238E27FC236}">
                      <a16:creationId xmlns:a16="http://schemas.microsoft.com/office/drawing/2014/main" id="{1A75640E-CA43-16D0-4324-BBC784542834}"/>
                    </a:ext>
                  </a:extLst>
                </p:cNvPr>
                <p:cNvGrpSpPr/>
                <p:nvPr/>
              </p:nvGrpSpPr>
              <p:grpSpPr>
                <a:xfrm>
                  <a:off x="8168815" y="3151748"/>
                  <a:ext cx="57152" cy="56898"/>
                  <a:chOff x="8168815" y="3151748"/>
                  <a:chExt cx="57152" cy="56898"/>
                </a:xfrm>
              </p:grpSpPr>
              <p:sp>
                <p:nvSpPr>
                  <p:cNvPr id="1400" name="Freeform 2037">
                    <a:extLst>
                      <a:ext uri="{FF2B5EF4-FFF2-40B4-BE49-F238E27FC236}">
                        <a16:creationId xmlns:a16="http://schemas.microsoft.com/office/drawing/2014/main" id="{9DF3B2C8-5CE2-2FD3-4FD8-778D4772911A}"/>
                      </a:ext>
                    </a:extLst>
                  </p:cNvPr>
                  <p:cNvSpPr/>
                  <p:nvPr/>
                </p:nvSpPr>
                <p:spPr>
                  <a:xfrm>
                    <a:off x="8168815" y="3180197"/>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01" name="Freeform 2038">
                    <a:extLst>
                      <a:ext uri="{FF2B5EF4-FFF2-40B4-BE49-F238E27FC236}">
                        <a16:creationId xmlns:a16="http://schemas.microsoft.com/office/drawing/2014/main" id="{CC6796CB-AD7B-2D55-3F61-9D9365CF03C9}"/>
                      </a:ext>
                    </a:extLst>
                  </p:cNvPr>
                  <p:cNvSpPr/>
                  <p:nvPr/>
                </p:nvSpPr>
                <p:spPr>
                  <a:xfrm>
                    <a:off x="8197391" y="3151748"/>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394" name="Graphic 4">
                  <a:extLst>
                    <a:ext uri="{FF2B5EF4-FFF2-40B4-BE49-F238E27FC236}">
                      <a16:creationId xmlns:a16="http://schemas.microsoft.com/office/drawing/2014/main" id="{59FF271E-95E1-305A-DDAB-F3F4F768DEFE}"/>
                    </a:ext>
                  </a:extLst>
                </p:cNvPr>
                <p:cNvGrpSpPr/>
                <p:nvPr/>
              </p:nvGrpSpPr>
              <p:grpSpPr>
                <a:xfrm>
                  <a:off x="8078843" y="3151748"/>
                  <a:ext cx="57152" cy="56898"/>
                  <a:chOff x="8078843" y="3151748"/>
                  <a:chExt cx="57152" cy="56898"/>
                </a:xfrm>
              </p:grpSpPr>
              <p:sp>
                <p:nvSpPr>
                  <p:cNvPr id="1398" name="Freeform 2035">
                    <a:extLst>
                      <a:ext uri="{FF2B5EF4-FFF2-40B4-BE49-F238E27FC236}">
                        <a16:creationId xmlns:a16="http://schemas.microsoft.com/office/drawing/2014/main" id="{973D1BB2-6147-7768-FBFE-38DBA2FA72E8}"/>
                      </a:ext>
                    </a:extLst>
                  </p:cNvPr>
                  <p:cNvSpPr/>
                  <p:nvPr/>
                </p:nvSpPr>
                <p:spPr>
                  <a:xfrm>
                    <a:off x="8078843" y="3180197"/>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399" name="Freeform 2036">
                    <a:extLst>
                      <a:ext uri="{FF2B5EF4-FFF2-40B4-BE49-F238E27FC236}">
                        <a16:creationId xmlns:a16="http://schemas.microsoft.com/office/drawing/2014/main" id="{BB1C76EA-2400-64D1-F0E3-A9BDD47ECA08}"/>
                      </a:ext>
                    </a:extLst>
                  </p:cNvPr>
                  <p:cNvSpPr/>
                  <p:nvPr/>
                </p:nvSpPr>
                <p:spPr>
                  <a:xfrm>
                    <a:off x="8107420" y="3151748"/>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395" name="Graphic 4">
                  <a:extLst>
                    <a:ext uri="{FF2B5EF4-FFF2-40B4-BE49-F238E27FC236}">
                      <a16:creationId xmlns:a16="http://schemas.microsoft.com/office/drawing/2014/main" id="{4C3A666C-1ED1-DAC0-00CF-C2E5F0EDA8B3}"/>
                    </a:ext>
                  </a:extLst>
                </p:cNvPr>
                <p:cNvGrpSpPr/>
                <p:nvPr/>
              </p:nvGrpSpPr>
              <p:grpSpPr>
                <a:xfrm>
                  <a:off x="7887216" y="2733933"/>
                  <a:ext cx="57152" cy="56898"/>
                  <a:chOff x="7887216" y="2733933"/>
                  <a:chExt cx="57152" cy="56898"/>
                </a:xfrm>
              </p:grpSpPr>
              <p:sp>
                <p:nvSpPr>
                  <p:cNvPr id="1396" name="Freeform 2033">
                    <a:extLst>
                      <a:ext uri="{FF2B5EF4-FFF2-40B4-BE49-F238E27FC236}">
                        <a16:creationId xmlns:a16="http://schemas.microsoft.com/office/drawing/2014/main" id="{B1C75442-5F0C-2E0F-965D-A14B7D48D849}"/>
                      </a:ext>
                    </a:extLst>
                  </p:cNvPr>
                  <p:cNvSpPr/>
                  <p:nvPr/>
                </p:nvSpPr>
                <p:spPr>
                  <a:xfrm>
                    <a:off x="7887216" y="2762383"/>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397" name="Freeform 2034">
                    <a:extLst>
                      <a:ext uri="{FF2B5EF4-FFF2-40B4-BE49-F238E27FC236}">
                        <a16:creationId xmlns:a16="http://schemas.microsoft.com/office/drawing/2014/main" id="{BEFBF4E3-98B3-33B6-964C-BE4ED8C433E6}"/>
                      </a:ext>
                    </a:extLst>
                  </p:cNvPr>
                  <p:cNvSpPr/>
                  <p:nvPr/>
                </p:nvSpPr>
                <p:spPr>
                  <a:xfrm>
                    <a:off x="7915793" y="2733933"/>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sp>
            <p:nvSpPr>
              <p:cNvPr id="1424" name="Freeform 2061">
                <a:extLst>
                  <a:ext uri="{FF2B5EF4-FFF2-40B4-BE49-F238E27FC236}">
                    <a16:creationId xmlns:a16="http://schemas.microsoft.com/office/drawing/2014/main" id="{26724DFF-DA20-4723-1D7D-38FA67DC6931}"/>
                  </a:ext>
                </a:extLst>
              </p:cNvPr>
              <p:cNvSpPr/>
              <p:nvPr/>
            </p:nvSpPr>
            <p:spPr>
              <a:xfrm>
                <a:off x="5407671" y="2189699"/>
                <a:ext cx="136582" cy="12644"/>
              </a:xfrm>
              <a:custGeom>
                <a:avLst/>
                <a:gdLst>
                  <a:gd name="connsiteX0" fmla="*/ 0 w 136582"/>
                  <a:gd name="connsiteY0" fmla="*/ 0 h 12644"/>
                  <a:gd name="connsiteX1" fmla="*/ 136582 w 136582"/>
                  <a:gd name="connsiteY1" fmla="*/ 0 h 12644"/>
                </a:gdLst>
                <a:ahLst/>
                <a:cxnLst>
                  <a:cxn ang="0">
                    <a:pos x="connsiteX0" y="connsiteY0"/>
                  </a:cxn>
                  <a:cxn ang="0">
                    <a:pos x="connsiteX1" y="connsiteY1"/>
                  </a:cxn>
                </a:cxnLst>
                <a:rect l="l" t="t" r="r" b="b"/>
                <a:pathLst>
                  <a:path w="136582" h="12644">
                    <a:moveTo>
                      <a:pt x="0" y="0"/>
                    </a:moveTo>
                    <a:lnTo>
                      <a:pt x="136582" y="0"/>
                    </a:lnTo>
                  </a:path>
                </a:pathLst>
              </a:custGeom>
              <a:ln w="1903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25" name="TextBox 1424">
                <a:extLst>
                  <a:ext uri="{FF2B5EF4-FFF2-40B4-BE49-F238E27FC236}">
                    <a16:creationId xmlns:a16="http://schemas.microsoft.com/office/drawing/2014/main" id="{8141533D-AD41-D01A-14C4-53F8B1B94FE6}"/>
                  </a:ext>
                </a:extLst>
              </p:cNvPr>
              <p:cNvSpPr txBox="1"/>
              <p:nvPr/>
            </p:nvSpPr>
            <p:spPr>
              <a:xfrm>
                <a:off x="5519187" y="2086778"/>
                <a:ext cx="834372" cy="176978"/>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Prior BTKi (n=34)</a:t>
                </a:r>
              </a:p>
            </p:txBody>
          </p:sp>
          <p:grpSp>
            <p:nvGrpSpPr>
              <p:cNvPr id="1426" name="Graphic 4">
                <a:extLst>
                  <a:ext uri="{FF2B5EF4-FFF2-40B4-BE49-F238E27FC236}">
                    <a16:creationId xmlns:a16="http://schemas.microsoft.com/office/drawing/2014/main" id="{9507B5C1-4B8C-F418-C184-110D8CD60A29}"/>
                  </a:ext>
                </a:extLst>
              </p:cNvPr>
              <p:cNvGrpSpPr/>
              <p:nvPr/>
            </p:nvGrpSpPr>
            <p:grpSpPr>
              <a:xfrm>
                <a:off x="5830157" y="1554039"/>
                <a:ext cx="2452769" cy="749420"/>
                <a:chOff x="8376038" y="2966928"/>
                <a:chExt cx="2452769" cy="749420"/>
              </a:xfrm>
            </p:grpSpPr>
            <p:grpSp>
              <p:nvGrpSpPr>
                <p:cNvPr id="1427" name="Graphic 4">
                  <a:extLst>
                    <a:ext uri="{FF2B5EF4-FFF2-40B4-BE49-F238E27FC236}">
                      <a16:creationId xmlns:a16="http://schemas.microsoft.com/office/drawing/2014/main" id="{56F36291-FA41-3A76-7379-8A3BA36A4795}"/>
                    </a:ext>
                  </a:extLst>
                </p:cNvPr>
                <p:cNvGrpSpPr/>
                <p:nvPr/>
              </p:nvGrpSpPr>
              <p:grpSpPr>
                <a:xfrm>
                  <a:off x="10771655" y="3659449"/>
                  <a:ext cx="57152" cy="56898"/>
                  <a:chOff x="10771655" y="3659449"/>
                  <a:chExt cx="57152" cy="56898"/>
                </a:xfrm>
              </p:grpSpPr>
              <p:sp>
                <p:nvSpPr>
                  <p:cNvPr id="1461" name="Freeform 2098">
                    <a:extLst>
                      <a:ext uri="{FF2B5EF4-FFF2-40B4-BE49-F238E27FC236}">
                        <a16:creationId xmlns:a16="http://schemas.microsoft.com/office/drawing/2014/main" id="{97AEDE70-5941-FA52-D727-A90EF3371F74}"/>
                      </a:ext>
                    </a:extLst>
                  </p:cNvPr>
                  <p:cNvSpPr/>
                  <p:nvPr/>
                </p:nvSpPr>
                <p:spPr>
                  <a:xfrm>
                    <a:off x="10771655" y="3687898"/>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62" name="Freeform 2099">
                    <a:extLst>
                      <a:ext uri="{FF2B5EF4-FFF2-40B4-BE49-F238E27FC236}">
                        <a16:creationId xmlns:a16="http://schemas.microsoft.com/office/drawing/2014/main" id="{182C85FB-89DA-DB40-C6FB-B8D9A450F6B2}"/>
                      </a:ext>
                    </a:extLst>
                  </p:cNvPr>
                  <p:cNvSpPr/>
                  <p:nvPr/>
                </p:nvSpPr>
                <p:spPr>
                  <a:xfrm>
                    <a:off x="10800231" y="3659449"/>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28" name="Graphic 4">
                  <a:extLst>
                    <a:ext uri="{FF2B5EF4-FFF2-40B4-BE49-F238E27FC236}">
                      <a16:creationId xmlns:a16="http://schemas.microsoft.com/office/drawing/2014/main" id="{A5338041-05B0-1AF1-0CB1-2023886CA259}"/>
                    </a:ext>
                  </a:extLst>
                </p:cNvPr>
                <p:cNvGrpSpPr/>
                <p:nvPr/>
              </p:nvGrpSpPr>
              <p:grpSpPr>
                <a:xfrm>
                  <a:off x="10382431" y="3328665"/>
                  <a:ext cx="57152" cy="56898"/>
                  <a:chOff x="10382431" y="3328665"/>
                  <a:chExt cx="57152" cy="56898"/>
                </a:xfrm>
              </p:grpSpPr>
              <p:sp>
                <p:nvSpPr>
                  <p:cNvPr id="1459" name="Freeform 2096">
                    <a:extLst>
                      <a:ext uri="{FF2B5EF4-FFF2-40B4-BE49-F238E27FC236}">
                        <a16:creationId xmlns:a16="http://schemas.microsoft.com/office/drawing/2014/main" id="{655ADD13-82F4-5A98-F646-248E318C68A6}"/>
                      </a:ext>
                    </a:extLst>
                  </p:cNvPr>
                  <p:cNvSpPr/>
                  <p:nvPr/>
                </p:nvSpPr>
                <p:spPr>
                  <a:xfrm>
                    <a:off x="10382431" y="3357114"/>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60" name="Freeform 2097">
                    <a:extLst>
                      <a:ext uri="{FF2B5EF4-FFF2-40B4-BE49-F238E27FC236}">
                        <a16:creationId xmlns:a16="http://schemas.microsoft.com/office/drawing/2014/main" id="{86E9F81E-184E-3349-0B74-33EECDA8E9C8}"/>
                      </a:ext>
                    </a:extLst>
                  </p:cNvPr>
                  <p:cNvSpPr/>
                  <p:nvPr/>
                </p:nvSpPr>
                <p:spPr>
                  <a:xfrm>
                    <a:off x="10411008" y="3328665"/>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29" name="Graphic 4">
                  <a:extLst>
                    <a:ext uri="{FF2B5EF4-FFF2-40B4-BE49-F238E27FC236}">
                      <a16:creationId xmlns:a16="http://schemas.microsoft.com/office/drawing/2014/main" id="{77917B62-BB6D-09AD-C854-6A8198482F4A}"/>
                    </a:ext>
                  </a:extLst>
                </p:cNvPr>
                <p:cNvGrpSpPr/>
                <p:nvPr/>
              </p:nvGrpSpPr>
              <p:grpSpPr>
                <a:xfrm>
                  <a:off x="10284979" y="3328665"/>
                  <a:ext cx="57152" cy="56898"/>
                  <a:chOff x="10284979" y="3328665"/>
                  <a:chExt cx="57152" cy="56898"/>
                </a:xfrm>
              </p:grpSpPr>
              <p:sp>
                <p:nvSpPr>
                  <p:cNvPr id="1457" name="Freeform 2094">
                    <a:extLst>
                      <a:ext uri="{FF2B5EF4-FFF2-40B4-BE49-F238E27FC236}">
                        <a16:creationId xmlns:a16="http://schemas.microsoft.com/office/drawing/2014/main" id="{135C3A92-9822-A354-5D64-FE9D8EDC8A17}"/>
                      </a:ext>
                    </a:extLst>
                  </p:cNvPr>
                  <p:cNvSpPr/>
                  <p:nvPr/>
                </p:nvSpPr>
                <p:spPr>
                  <a:xfrm>
                    <a:off x="10284979" y="3357114"/>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58" name="Freeform 2095">
                    <a:extLst>
                      <a:ext uri="{FF2B5EF4-FFF2-40B4-BE49-F238E27FC236}">
                        <a16:creationId xmlns:a16="http://schemas.microsoft.com/office/drawing/2014/main" id="{D5CE64C2-94EE-7BAB-AEDD-AACC1DD5186E}"/>
                      </a:ext>
                    </a:extLst>
                  </p:cNvPr>
                  <p:cNvSpPr/>
                  <p:nvPr/>
                </p:nvSpPr>
                <p:spPr>
                  <a:xfrm>
                    <a:off x="10313556" y="3328665"/>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30" name="Graphic 4">
                  <a:extLst>
                    <a:ext uri="{FF2B5EF4-FFF2-40B4-BE49-F238E27FC236}">
                      <a16:creationId xmlns:a16="http://schemas.microsoft.com/office/drawing/2014/main" id="{7C47D87E-4249-2916-485B-6ACE84709D5C}"/>
                    </a:ext>
                  </a:extLst>
                </p:cNvPr>
                <p:cNvGrpSpPr/>
                <p:nvPr/>
              </p:nvGrpSpPr>
              <p:grpSpPr>
                <a:xfrm>
                  <a:off x="9924930" y="3328665"/>
                  <a:ext cx="57152" cy="56898"/>
                  <a:chOff x="9924930" y="3328665"/>
                  <a:chExt cx="57152" cy="56898"/>
                </a:xfrm>
              </p:grpSpPr>
              <p:sp>
                <p:nvSpPr>
                  <p:cNvPr id="1455" name="Freeform 2092">
                    <a:extLst>
                      <a:ext uri="{FF2B5EF4-FFF2-40B4-BE49-F238E27FC236}">
                        <a16:creationId xmlns:a16="http://schemas.microsoft.com/office/drawing/2014/main" id="{B4326A9C-4546-04AC-F373-EC5C117C8AD8}"/>
                      </a:ext>
                    </a:extLst>
                  </p:cNvPr>
                  <p:cNvSpPr/>
                  <p:nvPr/>
                </p:nvSpPr>
                <p:spPr>
                  <a:xfrm>
                    <a:off x="9924930" y="3357114"/>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56" name="Freeform 2093">
                    <a:extLst>
                      <a:ext uri="{FF2B5EF4-FFF2-40B4-BE49-F238E27FC236}">
                        <a16:creationId xmlns:a16="http://schemas.microsoft.com/office/drawing/2014/main" id="{F01DAD0C-2897-D8FA-2B44-285777495422}"/>
                      </a:ext>
                    </a:extLst>
                  </p:cNvPr>
                  <p:cNvSpPr/>
                  <p:nvPr/>
                </p:nvSpPr>
                <p:spPr>
                  <a:xfrm>
                    <a:off x="9953506" y="3328665"/>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31" name="Graphic 4">
                  <a:extLst>
                    <a:ext uri="{FF2B5EF4-FFF2-40B4-BE49-F238E27FC236}">
                      <a16:creationId xmlns:a16="http://schemas.microsoft.com/office/drawing/2014/main" id="{759F92E8-B386-4779-FB05-DA590127A35D}"/>
                    </a:ext>
                  </a:extLst>
                </p:cNvPr>
                <p:cNvGrpSpPr/>
                <p:nvPr/>
              </p:nvGrpSpPr>
              <p:grpSpPr>
                <a:xfrm>
                  <a:off x="9856994" y="3328665"/>
                  <a:ext cx="57152" cy="56898"/>
                  <a:chOff x="9856994" y="3328665"/>
                  <a:chExt cx="57152" cy="56898"/>
                </a:xfrm>
              </p:grpSpPr>
              <p:sp>
                <p:nvSpPr>
                  <p:cNvPr id="1453" name="Freeform 2090">
                    <a:extLst>
                      <a:ext uri="{FF2B5EF4-FFF2-40B4-BE49-F238E27FC236}">
                        <a16:creationId xmlns:a16="http://schemas.microsoft.com/office/drawing/2014/main" id="{AD06B91B-2EBF-8730-B117-1F6878688521}"/>
                      </a:ext>
                    </a:extLst>
                  </p:cNvPr>
                  <p:cNvSpPr/>
                  <p:nvPr/>
                </p:nvSpPr>
                <p:spPr>
                  <a:xfrm>
                    <a:off x="9856994" y="3357114"/>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54" name="Freeform 2091">
                    <a:extLst>
                      <a:ext uri="{FF2B5EF4-FFF2-40B4-BE49-F238E27FC236}">
                        <a16:creationId xmlns:a16="http://schemas.microsoft.com/office/drawing/2014/main" id="{77189C28-535D-B3B5-EBFE-75686912DABF}"/>
                      </a:ext>
                    </a:extLst>
                  </p:cNvPr>
                  <p:cNvSpPr/>
                  <p:nvPr/>
                </p:nvSpPr>
                <p:spPr>
                  <a:xfrm>
                    <a:off x="9885570" y="3328665"/>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32" name="Graphic 4">
                  <a:extLst>
                    <a:ext uri="{FF2B5EF4-FFF2-40B4-BE49-F238E27FC236}">
                      <a16:creationId xmlns:a16="http://schemas.microsoft.com/office/drawing/2014/main" id="{88BC3954-B59B-9F7C-35E3-6367F3536604}"/>
                    </a:ext>
                  </a:extLst>
                </p:cNvPr>
                <p:cNvGrpSpPr/>
                <p:nvPr/>
              </p:nvGrpSpPr>
              <p:grpSpPr>
                <a:xfrm>
                  <a:off x="9830246" y="3328665"/>
                  <a:ext cx="57152" cy="56898"/>
                  <a:chOff x="9830246" y="3328665"/>
                  <a:chExt cx="57152" cy="56898"/>
                </a:xfrm>
              </p:grpSpPr>
              <p:sp>
                <p:nvSpPr>
                  <p:cNvPr id="1451" name="Freeform 2088">
                    <a:extLst>
                      <a:ext uri="{FF2B5EF4-FFF2-40B4-BE49-F238E27FC236}">
                        <a16:creationId xmlns:a16="http://schemas.microsoft.com/office/drawing/2014/main" id="{D8BEB701-D23C-32BF-14CE-4E3F245FB933}"/>
                      </a:ext>
                    </a:extLst>
                  </p:cNvPr>
                  <p:cNvSpPr/>
                  <p:nvPr/>
                </p:nvSpPr>
                <p:spPr>
                  <a:xfrm>
                    <a:off x="9830246" y="3357114"/>
                    <a:ext cx="57152" cy="12644"/>
                  </a:xfrm>
                  <a:custGeom>
                    <a:avLst/>
                    <a:gdLst>
                      <a:gd name="connsiteX0" fmla="*/ 0 w 57152"/>
                      <a:gd name="connsiteY0" fmla="*/ 0 h 12644"/>
                      <a:gd name="connsiteX1" fmla="*/ 57152 w 57152"/>
                      <a:gd name="connsiteY1" fmla="*/ 0 h 12644"/>
                    </a:gdLst>
                    <a:ahLst/>
                    <a:cxnLst>
                      <a:cxn ang="0">
                        <a:pos x="connsiteX0" y="connsiteY0"/>
                      </a:cxn>
                      <a:cxn ang="0">
                        <a:pos x="connsiteX1" y="connsiteY1"/>
                      </a:cxn>
                    </a:cxnLst>
                    <a:rect l="l" t="t" r="r" b="b"/>
                    <a:pathLst>
                      <a:path w="57152" h="12644">
                        <a:moveTo>
                          <a:pt x="0" y="0"/>
                        </a:moveTo>
                        <a:lnTo>
                          <a:pt x="57152" y="0"/>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52" name="Freeform 2089">
                    <a:extLst>
                      <a:ext uri="{FF2B5EF4-FFF2-40B4-BE49-F238E27FC236}">
                        <a16:creationId xmlns:a16="http://schemas.microsoft.com/office/drawing/2014/main" id="{F323E0E6-00D9-9ADC-1F53-B9CB1647CAEF}"/>
                      </a:ext>
                    </a:extLst>
                  </p:cNvPr>
                  <p:cNvSpPr/>
                  <p:nvPr/>
                </p:nvSpPr>
                <p:spPr>
                  <a:xfrm>
                    <a:off x="9858823" y="3328665"/>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33" name="Graphic 4">
                  <a:extLst>
                    <a:ext uri="{FF2B5EF4-FFF2-40B4-BE49-F238E27FC236}">
                      <a16:creationId xmlns:a16="http://schemas.microsoft.com/office/drawing/2014/main" id="{80E844FE-F063-4936-1D95-934E02AE5DC0}"/>
                    </a:ext>
                  </a:extLst>
                </p:cNvPr>
                <p:cNvGrpSpPr/>
                <p:nvPr/>
              </p:nvGrpSpPr>
              <p:grpSpPr>
                <a:xfrm>
                  <a:off x="9696509" y="3328665"/>
                  <a:ext cx="57152" cy="56898"/>
                  <a:chOff x="9696509" y="3328665"/>
                  <a:chExt cx="57152" cy="56898"/>
                </a:xfrm>
              </p:grpSpPr>
              <p:sp>
                <p:nvSpPr>
                  <p:cNvPr id="1449" name="Freeform 2086">
                    <a:extLst>
                      <a:ext uri="{FF2B5EF4-FFF2-40B4-BE49-F238E27FC236}">
                        <a16:creationId xmlns:a16="http://schemas.microsoft.com/office/drawing/2014/main" id="{D3F229C5-E1AF-35A6-CF56-76C34B7DA0B2}"/>
                      </a:ext>
                    </a:extLst>
                  </p:cNvPr>
                  <p:cNvSpPr/>
                  <p:nvPr/>
                </p:nvSpPr>
                <p:spPr>
                  <a:xfrm>
                    <a:off x="9696509" y="3357114"/>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50" name="Freeform 2087">
                    <a:extLst>
                      <a:ext uri="{FF2B5EF4-FFF2-40B4-BE49-F238E27FC236}">
                        <a16:creationId xmlns:a16="http://schemas.microsoft.com/office/drawing/2014/main" id="{BE5076CF-3EE9-BD7C-34AD-C3BBE3CAA463}"/>
                      </a:ext>
                    </a:extLst>
                  </p:cNvPr>
                  <p:cNvSpPr/>
                  <p:nvPr/>
                </p:nvSpPr>
                <p:spPr>
                  <a:xfrm>
                    <a:off x="9725085" y="3328665"/>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34" name="Graphic 4">
                  <a:extLst>
                    <a:ext uri="{FF2B5EF4-FFF2-40B4-BE49-F238E27FC236}">
                      <a16:creationId xmlns:a16="http://schemas.microsoft.com/office/drawing/2014/main" id="{77FE6C99-D546-2A7A-272F-E5EA173ED022}"/>
                    </a:ext>
                  </a:extLst>
                </p:cNvPr>
                <p:cNvGrpSpPr/>
                <p:nvPr/>
              </p:nvGrpSpPr>
              <p:grpSpPr>
                <a:xfrm>
                  <a:off x="9596555" y="3328665"/>
                  <a:ext cx="57152" cy="56898"/>
                  <a:chOff x="9596555" y="3328665"/>
                  <a:chExt cx="57152" cy="56898"/>
                </a:xfrm>
              </p:grpSpPr>
              <p:sp>
                <p:nvSpPr>
                  <p:cNvPr id="1447" name="Freeform 2084">
                    <a:extLst>
                      <a:ext uri="{FF2B5EF4-FFF2-40B4-BE49-F238E27FC236}">
                        <a16:creationId xmlns:a16="http://schemas.microsoft.com/office/drawing/2014/main" id="{BFFEFA07-8505-0D41-35A7-8C28869CE001}"/>
                      </a:ext>
                    </a:extLst>
                  </p:cNvPr>
                  <p:cNvSpPr/>
                  <p:nvPr/>
                </p:nvSpPr>
                <p:spPr>
                  <a:xfrm>
                    <a:off x="9596555" y="3357114"/>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48" name="Freeform 2085">
                    <a:extLst>
                      <a:ext uri="{FF2B5EF4-FFF2-40B4-BE49-F238E27FC236}">
                        <a16:creationId xmlns:a16="http://schemas.microsoft.com/office/drawing/2014/main" id="{E7E6712C-3FC4-3107-B349-8BC366DC283E}"/>
                      </a:ext>
                    </a:extLst>
                  </p:cNvPr>
                  <p:cNvSpPr/>
                  <p:nvPr/>
                </p:nvSpPr>
                <p:spPr>
                  <a:xfrm>
                    <a:off x="9625131" y="3328665"/>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35" name="Graphic 4">
                  <a:extLst>
                    <a:ext uri="{FF2B5EF4-FFF2-40B4-BE49-F238E27FC236}">
                      <a16:creationId xmlns:a16="http://schemas.microsoft.com/office/drawing/2014/main" id="{D2A93C55-03CB-83A1-9DC7-F02FA8DC2E48}"/>
                    </a:ext>
                  </a:extLst>
                </p:cNvPr>
                <p:cNvGrpSpPr/>
                <p:nvPr/>
              </p:nvGrpSpPr>
              <p:grpSpPr>
                <a:xfrm>
                  <a:off x="9499408" y="3328665"/>
                  <a:ext cx="57152" cy="56898"/>
                  <a:chOff x="9499408" y="3328665"/>
                  <a:chExt cx="57152" cy="56898"/>
                </a:xfrm>
              </p:grpSpPr>
              <p:sp>
                <p:nvSpPr>
                  <p:cNvPr id="1445" name="Freeform 2082">
                    <a:extLst>
                      <a:ext uri="{FF2B5EF4-FFF2-40B4-BE49-F238E27FC236}">
                        <a16:creationId xmlns:a16="http://schemas.microsoft.com/office/drawing/2014/main" id="{FE26D00B-5F15-32A7-A21C-03A37E4C47F6}"/>
                      </a:ext>
                    </a:extLst>
                  </p:cNvPr>
                  <p:cNvSpPr/>
                  <p:nvPr/>
                </p:nvSpPr>
                <p:spPr>
                  <a:xfrm>
                    <a:off x="9499408" y="3357114"/>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46" name="Freeform 2083">
                    <a:extLst>
                      <a:ext uri="{FF2B5EF4-FFF2-40B4-BE49-F238E27FC236}">
                        <a16:creationId xmlns:a16="http://schemas.microsoft.com/office/drawing/2014/main" id="{B307789F-E4C2-4468-00F9-89B9A364E3B2}"/>
                      </a:ext>
                    </a:extLst>
                  </p:cNvPr>
                  <p:cNvSpPr/>
                  <p:nvPr/>
                </p:nvSpPr>
                <p:spPr>
                  <a:xfrm>
                    <a:off x="9527984" y="3328665"/>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36" name="Graphic 4">
                  <a:extLst>
                    <a:ext uri="{FF2B5EF4-FFF2-40B4-BE49-F238E27FC236}">
                      <a16:creationId xmlns:a16="http://schemas.microsoft.com/office/drawing/2014/main" id="{7D15C2E7-D1CB-4C61-D7FA-C0A768E36345}"/>
                    </a:ext>
                  </a:extLst>
                </p:cNvPr>
                <p:cNvGrpSpPr/>
                <p:nvPr/>
              </p:nvGrpSpPr>
              <p:grpSpPr>
                <a:xfrm>
                  <a:off x="9039823" y="3163848"/>
                  <a:ext cx="57152" cy="56898"/>
                  <a:chOff x="9039823" y="3163848"/>
                  <a:chExt cx="57152" cy="56898"/>
                </a:xfrm>
              </p:grpSpPr>
              <p:sp>
                <p:nvSpPr>
                  <p:cNvPr id="1443" name="Freeform 2080">
                    <a:extLst>
                      <a:ext uri="{FF2B5EF4-FFF2-40B4-BE49-F238E27FC236}">
                        <a16:creationId xmlns:a16="http://schemas.microsoft.com/office/drawing/2014/main" id="{4617343C-8774-94C3-4C56-630E708EDF3E}"/>
                      </a:ext>
                    </a:extLst>
                  </p:cNvPr>
                  <p:cNvSpPr/>
                  <p:nvPr/>
                </p:nvSpPr>
                <p:spPr>
                  <a:xfrm>
                    <a:off x="9039823" y="3192297"/>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44" name="Freeform 2081">
                    <a:extLst>
                      <a:ext uri="{FF2B5EF4-FFF2-40B4-BE49-F238E27FC236}">
                        <a16:creationId xmlns:a16="http://schemas.microsoft.com/office/drawing/2014/main" id="{D2658DA2-0AEB-2A79-4B59-B0008BDAA7BF}"/>
                      </a:ext>
                    </a:extLst>
                  </p:cNvPr>
                  <p:cNvSpPr/>
                  <p:nvPr/>
                </p:nvSpPr>
                <p:spPr>
                  <a:xfrm>
                    <a:off x="9068400" y="3163848"/>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37" name="Graphic 4">
                  <a:extLst>
                    <a:ext uri="{FF2B5EF4-FFF2-40B4-BE49-F238E27FC236}">
                      <a16:creationId xmlns:a16="http://schemas.microsoft.com/office/drawing/2014/main" id="{5CE98654-2B5F-37E3-AEBE-8A90485FB408}"/>
                    </a:ext>
                  </a:extLst>
                </p:cNvPr>
                <p:cNvGrpSpPr/>
                <p:nvPr/>
              </p:nvGrpSpPr>
              <p:grpSpPr>
                <a:xfrm>
                  <a:off x="8848361" y="3112690"/>
                  <a:ext cx="57152" cy="56898"/>
                  <a:chOff x="8848361" y="3112690"/>
                  <a:chExt cx="57152" cy="56898"/>
                </a:xfrm>
              </p:grpSpPr>
              <p:sp>
                <p:nvSpPr>
                  <p:cNvPr id="1441" name="Freeform 2078">
                    <a:extLst>
                      <a:ext uri="{FF2B5EF4-FFF2-40B4-BE49-F238E27FC236}">
                        <a16:creationId xmlns:a16="http://schemas.microsoft.com/office/drawing/2014/main" id="{D1E48843-CEEF-29D4-DE1C-88E7E39B9E9B}"/>
                      </a:ext>
                    </a:extLst>
                  </p:cNvPr>
                  <p:cNvSpPr/>
                  <p:nvPr/>
                </p:nvSpPr>
                <p:spPr>
                  <a:xfrm>
                    <a:off x="8848361" y="3141139"/>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42" name="Freeform 2079">
                    <a:extLst>
                      <a:ext uri="{FF2B5EF4-FFF2-40B4-BE49-F238E27FC236}">
                        <a16:creationId xmlns:a16="http://schemas.microsoft.com/office/drawing/2014/main" id="{62C62F6A-6908-DFA9-B22D-2BE2B3F0C331}"/>
                      </a:ext>
                    </a:extLst>
                  </p:cNvPr>
                  <p:cNvSpPr/>
                  <p:nvPr/>
                </p:nvSpPr>
                <p:spPr>
                  <a:xfrm>
                    <a:off x="8876938" y="3112690"/>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38" name="Graphic 4">
                  <a:extLst>
                    <a:ext uri="{FF2B5EF4-FFF2-40B4-BE49-F238E27FC236}">
                      <a16:creationId xmlns:a16="http://schemas.microsoft.com/office/drawing/2014/main" id="{FAE73952-D4DE-3F39-9D64-2F6D2A1E5B77}"/>
                    </a:ext>
                  </a:extLst>
                </p:cNvPr>
                <p:cNvGrpSpPr/>
                <p:nvPr/>
              </p:nvGrpSpPr>
              <p:grpSpPr>
                <a:xfrm>
                  <a:off x="8376038" y="2966928"/>
                  <a:ext cx="57152" cy="56898"/>
                  <a:chOff x="8376038" y="2966928"/>
                  <a:chExt cx="57152" cy="56898"/>
                </a:xfrm>
              </p:grpSpPr>
              <p:sp>
                <p:nvSpPr>
                  <p:cNvPr id="1439" name="Freeform 2076">
                    <a:extLst>
                      <a:ext uri="{FF2B5EF4-FFF2-40B4-BE49-F238E27FC236}">
                        <a16:creationId xmlns:a16="http://schemas.microsoft.com/office/drawing/2014/main" id="{721EE9B6-AEB9-9953-A464-E82BDA2703E8}"/>
                      </a:ext>
                    </a:extLst>
                  </p:cNvPr>
                  <p:cNvSpPr/>
                  <p:nvPr/>
                </p:nvSpPr>
                <p:spPr>
                  <a:xfrm>
                    <a:off x="8376038" y="2995377"/>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40" name="Freeform 2077">
                    <a:extLst>
                      <a:ext uri="{FF2B5EF4-FFF2-40B4-BE49-F238E27FC236}">
                        <a16:creationId xmlns:a16="http://schemas.microsoft.com/office/drawing/2014/main" id="{3BAE5D46-C8D4-A527-9C04-3311410EEBC2}"/>
                      </a:ext>
                    </a:extLst>
                  </p:cNvPr>
                  <p:cNvSpPr/>
                  <p:nvPr/>
                </p:nvSpPr>
                <p:spPr>
                  <a:xfrm>
                    <a:off x="8404614" y="2966928"/>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sp>
            <p:nvSpPr>
              <p:cNvPr id="1463" name="Freeform 2100">
                <a:extLst>
                  <a:ext uri="{FF2B5EF4-FFF2-40B4-BE49-F238E27FC236}">
                    <a16:creationId xmlns:a16="http://schemas.microsoft.com/office/drawing/2014/main" id="{2943BED4-53D7-3C43-9A2D-E57C1603FF41}"/>
                  </a:ext>
                </a:extLst>
              </p:cNvPr>
              <p:cNvSpPr/>
              <p:nvPr/>
            </p:nvSpPr>
            <p:spPr>
              <a:xfrm>
                <a:off x="5407671" y="2307644"/>
                <a:ext cx="136582" cy="12644"/>
              </a:xfrm>
              <a:custGeom>
                <a:avLst/>
                <a:gdLst>
                  <a:gd name="connsiteX0" fmla="*/ 0 w 136582"/>
                  <a:gd name="connsiteY0" fmla="*/ 0 h 12644"/>
                  <a:gd name="connsiteX1" fmla="*/ 136582 w 136582"/>
                  <a:gd name="connsiteY1" fmla="*/ 0 h 12644"/>
                </a:gdLst>
                <a:ahLst/>
                <a:cxnLst>
                  <a:cxn ang="0">
                    <a:pos x="connsiteX0" y="connsiteY0"/>
                  </a:cxn>
                  <a:cxn ang="0">
                    <a:pos x="connsiteX1" y="connsiteY1"/>
                  </a:cxn>
                </a:cxnLst>
                <a:rect l="l" t="t" r="r" b="b"/>
                <a:pathLst>
                  <a:path w="136582" h="12644">
                    <a:moveTo>
                      <a:pt x="0" y="0"/>
                    </a:moveTo>
                    <a:lnTo>
                      <a:pt x="136582" y="0"/>
                    </a:lnTo>
                  </a:path>
                </a:pathLst>
              </a:custGeom>
              <a:ln w="1903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nvGrpSpPr>
              <p:cNvPr id="1464" name="Graphic 4">
                <a:extLst>
                  <a:ext uri="{FF2B5EF4-FFF2-40B4-BE49-F238E27FC236}">
                    <a16:creationId xmlns:a16="http://schemas.microsoft.com/office/drawing/2014/main" id="{190C5E97-A41E-2A34-4AB0-D75DC9B3C6B6}"/>
                  </a:ext>
                </a:extLst>
              </p:cNvPr>
              <p:cNvGrpSpPr/>
              <p:nvPr/>
            </p:nvGrpSpPr>
            <p:grpSpPr>
              <a:xfrm>
                <a:off x="5341666" y="1321993"/>
                <a:ext cx="3177581" cy="977685"/>
                <a:chOff x="7887547" y="2734882"/>
                <a:chExt cx="3177581" cy="977685"/>
              </a:xfrm>
            </p:grpSpPr>
            <p:grpSp>
              <p:nvGrpSpPr>
                <p:cNvPr id="1465" name="Graphic 4">
                  <a:extLst>
                    <a:ext uri="{FF2B5EF4-FFF2-40B4-BE49-F238E27FC236}">
                      <a16:creationId xmlns:a16="http://schemas.microsoft.com/office/drawing/2014/main" id="{B1EB7E12-71E8-7584-3AA5-81066F164310}"/>
                    </a:ext>
                  </a:extLst>
                </p:cNvPr>
                <p:cNvGrpSpPr/>
                <p:nvPr/>
              </p:nvGrpSpPr>
              <p:grpSpPr>
                <a:xfrm>
                  <a:off x="11007975" y="3655668"/>
                  <a:ext cx="57152" cy="56898"/>
                  <a:chOff x="11007975" y="3655668"/>
                  <a:chExt cx="57152" cy="56898"/>
                </a:xfrm>
              </p:grpSpPr>
              <p:sp>
                <p:nvSpPr>
                  <p:cNvPr id="1532" name="Freeform 2169">
                    <a:extLst>
                      <a:ext uri="{FF2B5EF4-FFF2-40B4-BE49-F238E27FC236}">
                        <a16:creationId xmlns:a16="http://schemas.microsoft.com/office/drawing/2014/main" id="{2826BF50-7591-3AA2-F117-0AF296EC8023}"/>
                      </a:ext>
                    </a:extLst>
                  </p:cNvPr>
                  <p:cNvSpPr/>
                  <p:nvPr/>
                </p:nvSpPr>
                <p:spPr>
                  <a:xfrm>
                    <a:off x="11007975" y="3684118"/>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33" name="Freeform 2170">
                    <a:extLst>
                      <a:ext uri="{FF2B5EF4-FFF2-40B4-BE49-F238E27FC236}">
                        <a16:creationId xmlns:a16="http://schemas.microsoft.com/office/drawing/2014/main" id="{90B94F41-52C4-70F4-EA77-38F3B05A5EA9}"/>
                      </a:ext>
                    </a:extLst>
                  </p:cNvPr>
                  <p:cNvSpPr/>
                  <p:nvPr/>
                </p:nvSpPr>
                <p:spPr>
                  <a:xfrm>
                    <a:off x="11036551" y="3655668"/>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66" name="Graphic 4">
                  <a:extLst>
                    <a:ext uri="{FF2B5EF4-FFF2-40B4-BE49-F238E27FC236}">
                      <a16:creationId xmlns:a16="http://schemas.microsoft.com/office/drawing/2014/main" id="{4F591910-4756-3745-B9DF-2870CC7E401B}"/>
                    </a:ext>
                  </a:extLst>
                </p:cNvPr>
                <p:cNvGrpSpPr/>
                <p:nvPr/>
              </p:nvGrpSpPr>
              <p:grpSpPr>
                <a:xfrm>
                  <a:off x="10537430" y="3485958"/>
                  <a:ext cx="57152" cy="56898"/>
                  <a:chOff x="10537430" y="3485958"/>
                  <a:chExt cx="57152" cy="56898"/>
                </a:xfrm>
              </p:grpSpPr>
              <p:sp>
                <p:nvSpPr>
                  <p:cNvPr id="1530" name="Freeform 2167">
                    <a:extLst>
                      <a:ext uri="{FF2B5EF4-FFF2-40B4-BE49-F238E27FC236}">
                        <a16:creationId xmlns:a16="http://schemas.microsoft.com/office/drawing/2014/main" id="{E2BCA825-94FA-B0BB-8805-4FE81C3A2691}"/>
                      </a:ext>
                    </a:extLst>
                  </p:cNvPr>
                  <p:cNvSpPr/>
                  <p:nvPr/>
                </p:nvSpPr>
                <p:spPr>
                  <a:xfrm>
                    <a:off x="10537430" y="3514408"/>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31" name="Freeform 2168">
                    <a:extLst>
                      <a:ext uri="{FF2B5EF4-FFF2-40B4-BE49-F238E27FC236}">
                        <a16:creationId xmlns:a16="http://schemas.microsoft.com/office/drawing/2014/main" id="{209D3B00-209C-C124-04FB-FDF46687511A}"/>
                      </a:ext>
                    </a:extLst>
                  </p:cNvPr>
                  <p:cNvSpPr/>
                  <p:nvPr/>
                </p:nvSpPr>
                <p:spPr>
                  <a:xfrm>
                    <a:off x="10566006" y="3485958"/>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67" name="Graphic 4">
                  <a:extLst>
                    <a:ext uri="{FF2B5EF4-FFF2-40B4-BE49-F238E27FC236}">
                      <a16:creationId xmlns:a16="http://schemas.microsoft.com/office/drawing/2014/main" id="{B0BFC600-432B-651E-E195-0CBCDE2D12AB}"/>
                    </a:ext>
                  </a:extLst>
                </p:cNvPr>
                <p:cNvGrpSpPr/>
                <p:nvPr/>
              </p:nvGrpSpPr>
              <p:grpSpPr>
                <a:xfrm>
                  <a:off x="10458064" y="3485958"/>
                  <a:ext cx="57152" cy="56898"/>
                  <a:chOff x="10458064" y="3485958"/>
                  <a:chExt cx="57152" cy="56898"/>
                </a:xfrm>
              </p:grpSpPr>
              <p:sp>
                <p:nvSpPr>
                  <p:cNvPr id="1528" name="Freeform 2165">
                    <a:extLst>
                      <a:ext uri="{FF2B5EF4-FFF2-40B4-BE49-F238E27FC236}">
                        <a16:creationId xmlns:a16="http://schemas.microsoft.com/office/drawing/2014/main" id="{83415099-9567-C265-3B57-1243A3414FF0}"/>
                      </a:ext>
                    </a:extLst>
                  </p:cNvPr>
                  <p:cNvSpPr/>
                  <p:nvPr/>
                </p:nvSpPr>
                <p:spPr>
                  <a:xfrm>
                    <a:off x="10458064" y="3514408"/>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29" name="Freeform 2166">
                    <a:extLst>
                      <a:ext uri="{FF2B5EF4-FFF2-40B4-BE49-F238E27FC236}">
                        <a16:creationId xmlns:a16="http://schemas.microsoft.com/office/drawing/2014/main" id="{12AC9866-19B8-6F48-618B-BDD7149CBF46}"/>
                      </a:ext>
                    </a:extLst>
                  </p:cNvPr>
                  <p:cNvSpPr/>
                  <p:nvPr/>
                </p:nvSpPr>
                <p:spPr>
                  <a:xfrm>
                    <a:off x="10486640" y="3485958"/>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68" name="Graphic 4">
                  <a:extLst>
                    <a:ext uri="{FF2B5EF4-FFF2-40B4-BE49-F238E27FC236}">
                      <a16:creationId xmlns:a16="http://schemas.microsoft.com/office/drawing/2014/main" id="{13EBBD56-2997-9D24-83CB-5E9050205D47}"/>
                    </a:ext>
                  </a:extLst>
                </p:cNvPr>
                <p:cNvGrpSpPr/>
                <p:nvPr/>
              </p:nvGrpSpPr>
              <p:grpSpPr>
                <a:xfrm>
                  <a:off x="10390471" y="3485958"/>
                  <a:ext cx="57152" cy="56898"/>
                  <a:chOff x="10390471" y="3485958"/>
                  <a:chExt cx="57152" cy="56898"/>
                </a:xfrm>
              </p:grpSpPr>
              <p:sp>
                <p:nvSpPr>
                  <p:cNvPr id="1526" name="Freeform 2163">
                    <a:extLst>
                      <a:ext uri="{FF2B5EF4-FFF2-40B4-BE49-F238E27FC236}">
                        <a16:creationId xmlns:a16="http://schemas.microsoft.com/office/drawing/2014/main" id="{A4A1F2B0-F4EA-2BF5-82A4-037E97A03FB3}"/>
                      </a:ext>
                    </a:extLst>
                  </p:cNvPr>
                  <p:cNvSpPr/>
                  <p:nvPr/>
                </p:nvSpPr>
                <p:spPr>
                  <a:xfrm>
                    <a:off x="10390471" y="3514408"/>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27" name="Freeform 2164">
                    <a:extLst>
                      <a:ext uri="{FF2B5EF4-FFF2-40B4-BE49-F238E27FC236}">
                        <a16:creationId xmlns:a16="http://schemas.microsoft.com/office/drawing/2014/main" id="{E26054E9-5A07-4218-A3A1-A9E4E67ACF82}"/>
                      </a:ext>
                    </a:extLst>
                  </p:cNvPr>
                  <p:cNvSpPr/>
                  <p:nvPr/>
                </p:nvSpPr>
                <p:spPr>
                  <a:xfrm>
                    <a:off x="10419047" y="3485958"/>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69" name="Graphic 4">
                  <a:extLst>
                    <a:ext uri="{FF2B5EF4-FFF2-40B4-BE49-F238E27FC236}">
                      <a16:creationId xmlns:a16="http://schemas.microsoft.com/office/drawing/2014/main" id="{119EE88E-0AC8-2813-1C1B-F0D3FAF15FF1}"/>
                    </a:ext>
                  </a:extLst>
                </p:cNvPr>
                <p:cNvGrpSpPr/>
                <p:nvPr/>
              </p:nvGrpSpPr>
              <p:grpSpPr>
                <a:xfrm>
                  <a:off x="10380183" y="3485958"/>
                  <a:ext cx="57152" cy="56898"/>
                  <a:chOff x="10380183" y="3485958"/>
                  <a:chExt cx="57152" cy="56898"/>
                </a:xfrm>
              </p:grpSpPr>
              <p:sp>
                <p:nvSpPr>
                  <p:cNvPr id="1524" name="Freeform 2161">
                    <a:extLst>
                      <a:ext uri="{FF2B5EF4-FFF2-40B4-BE49-F238E27FC236}">
                        <a16:creationId xmlns:a16="http://schemas.microsoft.com/office/drawing/2014/main" id="{9BAFF04E-D973-5285-A1A1-D68E3E853558}"/>
                      </a:ext>
                    </a:extLst>
                  </p:cNvPr>
                  <p:cNvSpPr/>
                  <p:nvPr/>
                </p:nvSpPr>
                <p:spPr>
                  <a:xfrm>
                    <a:off x="10380183" y="3514408"/>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25" name="Freeform 2162">
                    <a:extLst>
                      <a:ext uri="{FF2B5EF4-FFF2-40B4-BE49-F238E27FC236}">
                        <a16:creationId xmlns:a16="http://schemas.microsoft.com/office/drawing/2014/main" id="{2B08AB6C-6EDA-90E0-41B5-FBE6D475F14A}"/>
                      </a:ext>
                    </a:extLst>
                  </p:cNvPr>
                  <p:cNvSpPr/>
                  <p:nvPr/>
                </p:nvSpPr>
                <p:spPr>
                  <a:xfrm>
                    <a:off x="10408760" y="3485958"/>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70" name="Graphic 4">
                  <a:extLst>
                    <a:ext uri="{FF2B5EF4-FFF2-40B4-BE49-F238E27FC236}">
                      <a16:creationId xmlns:a16="http://schemas.microsoft.com/office/drawing/2014/main" id="{538C948C-67C4-5564-5AAB-4B9E687E1F83}"/>
                    </a:ext>
                  </a:extLst>
                </p:cNvPr>
                <p:cNvGrpSpPr/>
                <p:nvPr/>
              </p:nvGrpSpPr>
              <p:grpSpPr>
                <a:xfrm>
                  <a:off x="10362847" y="3485958"/>
                  <a:ext cx="57152" cy="56898"/>
                  <a:chOff x="10362847" y="3485958"/>
                  <a:chExt cx="57152" cy="56898"/>
                </a:xfrm>
              </p:grpSpPr>
              <p:sp>
                <p:nvSpPr>
                  <p:cNvPr id="1522" name="Freeform 2159">
                    <a:extLst>
                      <a:ext uri="{FF2B5EF4-FFF2-40B4-BE49-F238E27FC236}">
                        <a16:creationId xmlns:a16="http://schemas.microsoft.com/office/drawing/2014/main" id="{B32C745A-7389-EC5E-84AF-A4BF375C92FE}"/>
                      </a:ext>
                    </a:extLst>
                  </p:cNvPr>
                  <p:cNvSpPr/>
                  <p:nvPr/>
                </p:nvSpPr>
                <p:spPr>
                  <a:xfrm>
                    <a:off x="10362847" y="3514408"/>
                    <a:ext cx="57152" cy="12644"/>
                  </a:xfrm>
                  <a:custGeom>
                    <a:avLst/>
                    <a:gdLst>
                      <a:gd name="connsiteX0" fmla="*/ 0 w 57152"/>
                      <a:gd name="connsiteY0" fmla="*/ 0 h 12644"/>
                      <a:gd name="connsiteX1" fmla="*/ 57152 w 57152"/>
                      <a:gd name="connsiteY1" fmla="*/ 0 h 12644"/>
                    </a:gdLst>
                    <a:ahLst/>
                    <a:cxnLst>
                      <a:cxn ang="0">
                        <a:pos x="connsiteX0" y="connsiteY0"/>
                      </a:cxn>
                      <a:cxn ang="0">
                        <a:pos x="connsiteX1" y="connsiteY1"/>
                      </a:cxn>
                    </a:cxnLst>
                    <a:rect l="l" t="t" r="r" b="b"/>
                    <a:pathLst>
                      <a:path w="57152" h="12644">
                        <a:moveTo>
                          <a:pt x="0" y="0"/>
                        </a:moveTo>
                        <a:lnTo>
                          <a:pt x="57152"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23" name="Freeform 2160">
                    <a:extLst>
                      <a:ext uri="{FF2B5EF4-FFF2-40B4-BE49-F238E27FC236}">
                        <a16:creationId xmlns:a16="http://schemas.microsoft.com/office/drawing/2014/main" id="{68DDE6F4-5D8F-E5D9-7544-0CDC3C391749}"/>
                      </a:ext>
                    </a:extLst>
                  </p:cNvPr>
                  <p:cNvSpPr/>
                  <p:nvPr/>
                </p:nvSpPr>
                <p:spPr>
                  <a:xfrm>
                    <a:off x="10391423" y="3485958"/>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71" name="Graphic 4">
                  <a:extLst>
                    <a:ext uri="{FF2B5EF4-FFF2-40B4-BE49-F238E27FC236}">
                      <a16:creationId xmlns:a16="http://schemas.microsoft.com/office/drawing/2014/main" id="{9AEE5F20-AD61-5F83-5035-A6F58284D8B8}"/>
                    </a:ext>
                  </a:extLst>
                </p:cNvPr>
                <p:cNvGrpSpPr/>
                <p:nvPr/>
              </p:nvGrpSpPr>
              <p:grpSpPr>
                <a:xfrm>
                  <a:off x="10288485" y="3424508"/>
                  <a:ext cx="57152" cy="56898"/>
                  <a:chOff x="10288485" y="3424508"/>
                  <a:chExt cx="57152" cy="56898"/>
                </a:xfrm>
              </p:grpSpPr>
              <p:sp>
                <p:nvSpPr>
                  <p:cNvPr id="1520" name="Freeform 2157">
                    <a:extLst>
                      <a:ext uri="{FF2B5EF4-FFF2-40B4-BE49-F238E27FC236}">
                        <a16:creationId xmlns:a16="http://schemas.microsoft.com/office/drawing/2014/main" id="{B54CC9A8-9EC8-6F62-DACC-EF9E307BB744}"/>
                      </a:ext>
                    </a:extLst>
                  </p:cNvPr>
                  <p:cNvSpPr/>
                  <p:nvPr/>
                </p:nvSpPr>
                <p:spPr>
                  <a:xfrm>
                    <a:off x="10288485" y="3452957"/>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21" name="Freeform 2158">
                    <a:extLst>
                      <a:ext uri="{FF2B5EF4-FFF2-40B4-BE49-F238E27FC236}">
                        <a16:creationId xmlns:a16="http://schemas.microsoft.com/office/drawing/2014/main" id="{2B18BA3D-72A0-1FE5-CC52-92A2D564A3D2}"/>
                      </a:ext>
                    </a:extLst>
                  </p:cNvPr>
                  <p:cNvSpPr/>
                  <p:nvPr/>
                </p:nvSpPr>
                <p:spPr>
                  <a:xfrm>
                    <a:off x="10317061" y="3424508"/>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72" name="Graphic 4">
                  <a:extLst>
                    <a:ext uri="{FF2B5EF4-FFF2-40B4-BE49-F238E27FC236}">
                      <a16:creationId xmlns:a16="http://schemas.microsoft.com/office/drawing/2014/main" id="{BDA43EFB-ED6A-F3BA-5676-877F2716589C}"/>
                    </a:ext>
                  </a:extLst>
                </p:cNvPr>
                <p:cNvGrpSpPr/>
                <p:nvPr/>
              </p:nvGrpSpPr>
              <p:grpSpPr>
                <a:xfrm>
                  <a:off x="10233224" y="3424508"/>
                  <a:ext cx="57152" cy="56898"/>
                  <a:chOff x="10233224" y="3424508"/>
                  <a:chExt cx="57152" cy="56898"/>
                </a:xfrm>
              </p:grpSpPr>
              <p:sp>
                <p:nvSpPr>
                  <p:cNvPr id="1518" name="Freeform 2155">
                    <a:extLst>
                      <a:ext uri="{FF2B5EF4-FFF2-40B4-BE49-F238E27FC236}">
                        <a16:creationId xmlns:a16="http://schemas.microsoft.com/office/drawing/2014/main" id="{E9F4AFA5-5878-98FB-1F6F-18C8FA48435C}"/>
                      </a:ext>
                    </a:extLst>
                  </p:cNvPr>
                  <p:cNvSpPr/>
                  <p:nvPr/>
                </p:nvSpPr>
                <p:spPr>
                  <a:xfrm>
                    <a:off x="10233224" y="3452957"/>
                    <a:ext cx="57152" cy="12644"/>
                  </a:xfrm>
                  <a:custGeom>
                    <a:avLst/>
                    <a:gdLst>
                      <a:gd name="connsiteX0" fmla="*/ 0 w 57152"/>
                      <a:gd name="connsiteY0" fmla="*/ 0 h 12644"/>
                      <a:gd name="connsiteX1" fmla="*/ 57152 w 57152"/>
                      <a:gd name="connsiteY1" fmla="*/ 0 h 12644"/>
                    </a:gdLst>
                    <a:ahLst/>
                    <a:cxnLst>
                      <a:cxn ang="0">
                        <a:pos x="connsiteX0" y="connsiteY0"/>
                      </a:cxn>
                      <a:cxn ang="0">
                        <a:pos x="connsiteX1" y="connsiteY1"/>
                      </a:cxn>
                    </a:cxnLst>
                    <a:rect l="l" t="t" r="r" b="b"/>
                    <a:pathLst>
                      <a:path w="57152" h="12644">
                        <a:moveTo>
                          <a:pt x="0" y="0"/>
                        </a:moveTo>
                        <a:lnTo>
                          <a:pt x="57152"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19" name="Freeform 2156">
                    <a:extLst>
                      <a:ext uri="{FF2B5EF4-FFF2-40B4-BE49-F238E27FC236}">
                        <a16:creationId xmlns:a16="http://schemas.microsoft.com/office/drawing/2014/main" id="{4FFDB770-AB13-9586-E250-ECEC10F89F0D}"/>
                      </a:ext>
                    </a:extLst>
                  </p:cNvPr>
                  <p:cNvSpPr/>
                  <p:nvPr/>
                </p:nvSpPr>
                <p:spPr>
                  <a:xfrm>
                    <a:off x="10261801" y="3424508"/>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73" name="Graphic 4">
                  <a:extLst>
                    <a:ext uri="{FF2B5EF4-FFF2-40B4-BE49-F238E27FC236}">
                      <a16:creationId xmlns:a16="http://schemas.microsoft.com/office/drawing/2014/main" id="{B293DFE9-1D60-545F-B685-5D84BB189FEC}"/>
                    </a:ext>
                  </a:extLst>
                </p:cNvPr>
                <p:cNvGrpSpPr/>
                <p:nvPr/>
              </p:nvGrpSpPr>
              <p:grpSpPr>
                <a:xfrm>
                  <a:off x="9926390" y="3424508"/>
                  <a:ext cx="57152" cy="56898"/>
                  <a:chOff x="9926390" y="3424508"/>
                  <a:chExt cx="57152" cy="56898"/>
                </a:xfrm>
              </p:grpSpPr>
              <p:sp>
                <p:nvSpPr>
                  <p:cNvPr id="1516" name="Freeform 2153">
                    <a:extLst>
                      <a:ext uri="{FF2B5EF4-FFF2-40B4-BE49-F238E27FC236}">
                        <a16:creationId xmlns:a16="http://schemas.microsoft.com/office/drawing/2014/main" id="{22398DC1-0B59-0297-24B4-3023AAC7F6FB}"/>
                      </a:ext>
                    </a:extLst>
                  </p:cNvPr>
                  <p:cNvSpPr/>
                  <p:nvPr/>
                </p:nvSpPr>
                <p:spPr>
                  <a:xfrm>
                    <a:off x="9926390" y="3452957"/>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17" name="Freeform 2154">
                    <a:extLst>
                      <a:ext uri="{FF2B5EF4-FFF2-40B4-BE49-F238E27FC236}">
                        <a16:creationId xmlns:a16="http://schemas.microsoft.com/office/drawing/2014/main" id="{7FC870D8-FD39-98A3-60A5-2477A971C12C}"/>
                      </a:ext>
                    </a:extLst>
                  </p:cNvPr>
                  <p:cNvSpPr/>
                  <p:nvPr/>
                </p:nvSpPr>
                <p:spPr>
                  <a:xfrm>
                    <a:off x="9954967" y="3424508"/>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74" name="Graphic 4">
                  <a:extLst>
                    <a:ext uri="{FF2B5EF4-FFF2-40B4-BE49-F238E27FC236}">
                      <a16:creationId xmlns:a16="http://schemas.microsoft.com/office/drawing/2014/main" id="{2BF5A446-FC72-8F19-8016-931F1E8C0428}"/>
                    </a:ext>
                  </a:extLst>
                </p:cNvPr>
                <p:cNvGrpSpPr/>
                <p:nvPr/>
              </p:nvGrpSpPr>
              <p:grpSpPr>
                <a:xfrm>
                  <a:off x="9910514" y="3424508"/>
                  <a:ext cx="57152" cy="56898"/>
                  <a:chOff x="9910514" y="3424508"/>
                  <a:chExt cx="57152" cy="56898"/>
                </a:xfrm>
              </p:grpSpPr>
              <p:sp>
                <p:nvSpPr>
                  <p:cNvPr id="1514" name="Freeform 2151">
                    <a:extLst>
                      <a:ext uri="{FF2B5EF4-FFF2-40B4-BE49-F238E27FC236}">
                        <a16:creationId xmlns:a16="http://schemas.microsoft.com/office/drawing/2014/main" id="{D228D836-DDD6-0975-04F2-C67AE545128B}"/>
                      </a:ext>
                    </a:extLst>
                  </p:cNvPr>
                  <p:cNvSpPr/>
                  <p:nvPr/>
                </p:nvSpPr>
                <p:spPr>
                  <a:xfrm>
                    <a:off x="9910514" y="3452957"/>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15" name="Freeform 2152">
                    <a:extLst>
                      <a:ext uri="{FF2B5EF4-FFF2-40B4-BE49-F238E27FC236}">
                        <a16:creationId xmlns:a16="http://schemas.microsoft.com/office/drawing/2014/main" id="{D234F145-9AB6-2388-134C-0DDEA317CC15}"/>
                      </a:ext>
                    </a:extLst>
                  </p:cNvPr>
                  <p:cNvSpPr/>
                  <p:nvPr/>
                </p:nvSpPr>
                <p:spPr>
                  <a:xfrm>
                    <a:off x="9939091" y="3424508"/>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75" name="Graphic 4">
                  <a:extLst>
                    <a:ext uri="{FF2B5EF4-FFF2-40B4-BE49-F238E27FC236}">
                      <a16:creationId xmlns:a16="http://schemas.microsoft.com/office/drawing/2014/main" id="{D010AF83-23B0-7DF2-D0FC-3B035C266695}"/>
                    </a:ext>
                  </a:extLst>
                </p:cNvPr>
                <p:cNvGrpSpPr/>
                <p:nvPr/>
              </p:nvGrpSpPr>
              <p:grpSpPr>
                <a:xfrm>
                  <a:off x="9858200" y="3424508"/>
                  <a:ext cx="57152" cy="56898"/>
                  <a:chOff x="9858200" y="3424508"/>
                  <a:chExt cx="57152" cy="56898"/>
                </a:xfrm>
              </p:grpSpPr>
              <p:sp>
                <p:nvSpPr>
                  <p:cNvPr id="1512" name="Freeform 2149">
                    <a:extLst>
                      <a:ext uri="{FF2B5EF4-FFF2-40B4-BE49-F238E27FC236}">
                        <a16:creationId xmlns:a16="http://schemas.microsoft.com/office/drawing/2014/main" id="{F442DB86-11D3-ED0C-7DBF-6D1F7F489F84}"/>
                      </a:ext>
                    </a:extLst>
                  </p:cNvPr>
                  <p:cNvSpPr/>
                  <p:nvPr/>
                </p:nvSpPr>
                <p:spPr>
                  <a:xfrm>
                    <a:off x="9858200" y="3452957"/>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13" name="Freeform 2150">
                    <a:extLst>
                      <a:ext uri="{FF2B5EF4-FFF2-40B4-BE49-F238E27FC236}">
                        <a16:creationId xmlns:a16="http://schemas.microsoft.com/office/drawing/2014/main" id="{714BEB76-B3F3-3805-224C-4E2851A8BBF4}"/>
                      </a:ext>
                    </a:extLst>
                  </p:cNvPr>
                  <p:cNvSpPr/>
                  <p:nvPr/>
                </p:nvSpPr>
                <p:spPr>
                  <a:xfrm>
                    <a:off x="9886777" y="3424508"/>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76" name="Graphic 4">
                  <a:extLst>
                    <a:ext uri="{FF2B5EF4-FFF2-40B4-BE49-F238E27FC236}">
                      <a16:creationId xmlns:a16="http://schemas.microsoft.com/office/drawing/2014/main" id="{4256ACE3-D02E-6E1C-C08D-D3A9F6769A73}"/>
                    </a:ext>
                  </a:extLst>
                </p:cNvPr>
                <p:cNvGrpSpPr/>
                <p:nvPr/>
              </p:nvGrpSpPr>
              <p:grpSpPr>
                <a:xfrm>
                  <a:off x="9830285" y="3424508"/>
                  <a:ext cx="57152" cy="56898"/>
                  <a:chOff x="9830285" y="3424508"/>
                  <a:chExt cx="57152" cy="56898"/>
                </a:xfrm>
              </p:grpSpPr>
              <p:sp>
                <p:nvSpPr>
                  <p:cNvPr id="1510" name="Freeform 2147">
                    <a:extLst>
                      <a:ext uri="{FF2B5EF4-FFF2-40B4-BE49-F238E27FC236}">
                        <a16:creationId xmlns:a16="http://schemas.microsoft.com/office/drawing/2014/main" id="{E3FC6DAC-E88B-3F4A-5F64-018D59F892D9}"/>
                      </a:ext>
                    </a:extLst>
                  </p:cNvPr>
                  <p:cNvSpPr/>
                  <p:nvPr/>
                </p:nvSpPr>
                <p:spPr>
                  <a:xfrm>
                    <a:off x="9830285" y="3452957"/>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11" name="Freeform 2148">
                    <a:extLst>
                      <a:ext uri="{FF2B5EF4-FFF2-40B4-BE49-F238E27FC236}">
                        <a16:creationId xmlns:a16="http://schemas.microsoft.com/office/drawing/2014/main" id="{5669F941-6DC9-1F35-65DA-8CB6E2348902}"/>
                      </a:ext>
                    </a:extLst>
                  </p:cNvPr>
                  <p:cNvSpPr/>
                  <p:nvPr/>
                </p:nvSpPr>
                <p:spPr>
                  <a:xfrm>
                    <a:off x="9858861" y="3424508"/>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77" name="Graphic 4">
                  <a:extLst>
                    <a:ext uri="{FF2B5EF4-FFF2-40B4-BE49-F238E27FC236}">
                      <a16:creationId xmlns:a16="http://schemas.microsoft.com/office/drawing/2014/main" id="{B7A84907-43F4-E656-52C9-5F7443CC74BC}"/>
                    </a:ext>
                  </a:extLst>
                </p:cNvPr>
                <p:cNvGrpSpPr/>
                <p:nvPr/>
              </p:nvGrpSpPr>
              <p:grpSpPr>
                <a:xfrm>
                  <a:off x="9701043" y="3389989"/>
                  <a:ext cx="57152" cy="56898"/>
                  <a:chOff x="9701043" y="3389989"/>
                  <a:chExt cx="57152" cy="56898"/>
                </a:xfrm>
              </p:grpSpPr>
              <p:sp>
                <p:nvSpPr>
                  <p:cNvPr id="1508" name="Freeform 2145">
                    <a:extLst>
                      <a:ext uri="{FF2B5EF4-FFF2-40B4-BE49-F238E27FC236}">
                        <a16:creationId xmlns:a16="http://schemas.microsoft.com/office/drawing/2014/main" id="{C4985965-8243-00AE-A2B7-563B6AE5EB89}"/>
                      </a:ext>
                    </a:extLst>
                  </p:cNvPr>
                  <p:cNvSpPr/>
                  <p:nvPr/>
                </p:nvSpPr>
                <p:spPr>
                  <a:xfrm>
                    <a:off x="9701043" y="3418438"/>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09" name="Freeform 2146">
                    <a:extLst>
                      <a:ext uri="{FF2B5EF4-FFF2-40B4-BE49-F238E27FC236}">
                        <a16:creationId xmlns:a16="http://schemas.microsoft.com/office/drawing/2014/main" id="{0FB5B638-A2C7-F700-C515-1BAABEC5A833}"/>
                      </a:ext>
                    </a:extLst>
                  </p:cNvPr>
                  <p:cNvSpPr/>
                  <p:nvPr/>
                </p:nvSpPr>
                <p:spPr>
                  <a:xfrm>
                    <a:off x="9729619" y="3389989"/>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78" name="Graphic 4">
                  <a:extLst>
                    <a:ext uri="{FF2B5EF4-FFF2-40B4-BE49-F238E27FC236}">
                      <a16:creationId xmlns:a16="http://schemas.microsoft.com/office/drawing/2014/main" id="{ACD33927-5892-E754-94F0-224609A74D76}"/>
                    </a:ext>
                  </a:extLst>
                </p:cNvPr>
                <p:cNvGrpSpPr/>
                <p:nvPr/>
              </p:nvGrpSpPr>
              <p:grpSpPr>
                <a:xfrm>
                  <a:off x="9598168" y="3389989"/>
                  <a:ext cx="57152" cy="56898"/>
                  <a:chOff x="9598168" y="3389989"/>
                  <a:chExt cx="57152" cy="56898"/>
                </a:xfrm>
              </p:grpSpPr>
              <p:sp>
                <p:nvSpPr>
                  <p:cNvPr id="1506" name="Freeform 2143">
                    <a:extLst>
                      <a:ext uri="{FF2B5EF4-FFF2-40B4-BE49-F238E27FC236}">
                        <a16:creationId xmlns:a16="http://schemas.microsoft.com/office/drawing/2014/main" id="{1757131B-CA26-A6C9-0102-29C0707A56D1}"/>
                      </a:ext>
                    </a:extLst>
                  </p:cNvPr>
                  <p:cNvSpPr/>
                  <p:nvPr/>
                </p:nvSpPr>
                <p:spPr>
                  <a:xfrm>
                    <a:off x="9598168" y="3418438"/>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07" name="Freeform 2144">
                    <a:extLst>
                      <a:ext uri="{FF2B5EF4-FFF2-40B4-BE49-F238E27FC236}">
                        <a16:creationId xmlns:a16="http://schemas.microsoft.com/office/drawing/2014/main" id="{0104FBD2-8DB3-98F9-2FBC-EA553D80E013}"/>
                      </a:ext>
                    </a:extLst>
                  </p:cNvPr>
                  <p:cNvSpPr/>
                  <p:nvPr/>
                </p:nvSpPr>
                <p:spPr>
                  <a:xfrm>
                    <a:off x="9626744" y="3389989"/>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79" name="Graphic 4">
                  <a:extLst>
                    <a:ext uri="{FF2B5EF4-FFF2-40B4-BE49-F238E27FC236}">
                      <a16:creationId xmlns:a16="http://schemas.microsoft.com/office/drawing/2014/main" id="{3A706C94-54A7-CDD6-17D5-FFF13F43A44E}"/>
                    </a:ext>
                  </a:extLst>
                </p:cNvPr>
                <p:cNvGrpSpPr/>
                <p:nvPr/>
              </p:nvGrpSpPr>
              <p:grpSpPr>
                <a:xfrm>
                  <a:off x="9501770" y="3391860"/>
                  <a:ext cx="57152" cy="55027"/>
                  <a:chOff x="9501770" y="3391860"/>
                  <a:chExt cx="57152" cy="55027"/>
                </a:xfrm>
              </p:grpSpPr>
              <p:sp>
                <p:nvSpPr>
                  <p:cNvPr id="1504" name="Freeform 2141">
                    <a:extLst>
                      <a:ext uri="{FF2B5EF4-FFF2-40B4-BE49-F238E27FC236}">
                        <a16:creationId xmlns:a16="http://schemas.microsoft.com/office/drawing/2014/main" id="{27F4A018-0069-BFB0-61D5-0C0C32AC9744}"/>
                      </a:ext>
                    </a:extLst>
                  </p:cNvPr>
                  <p:cNvSpPr/>
                  <p:nvPr/>
                </p:nvSpPr>
                <p:spPr>
                  <a:xfrm>
                    <a:off x="9501770" y="3418438"/>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05" name="Freeform 2142">
                    <a:extLst>
                      <a:ext uri="{FF2B5EF4-FFF2-40B4-BE49-F238E27FC236}">
                        <a16:creationId xmlns:a16="http://schemas.microsoft.com/office/drawing/2014/main" id="{5D9A032E-6FF3-CDBA-EFBD-96103036C023}"/>
                      </a:ext>
                    </a:extLst>
                  </p:cNvPr>
                  <p:cNvSpPr/>
                  <p:nvPr/>
                </p:nvSpPr>
                <p:spPr>
                  <a:xfrm>
                    <a:off x="9530347" y="3391860"/>
                    <a:ext cx="12700" cy="55027"/>
                  </a:xfrm>
                  <a:custGeom>
                    <a:avLst/>
                    <a:gdLst>
                      <a:gd name="connsiteX0" fmla="*/ 0 w 12700"/>
                      <a:gd name="connsiteY0" fmla="*/ 0 h 55027"/>
                      <a:gd name="connsiteX1" fmla="*/ 0 w 12700"/>
                      <a:gd name="connsiteY1" fmla="*/ 55027 h 55027"/>
                    </a:gdLst>
                    <a:ahLst/>
                    <a:cxnLst>
                      <a:cxn ang="0">
                        <a:pos x="connsiteX0" y="connsiteY0"/>
                      </a:cxn>
                      <a:cxn ang="0">
                        <a:pos x="connsiteX1" y="connsiteY1"/>
                      </a:cxn>
                    </a:cxnLst>
                    <a:rect l="l" t="t" r="r" b="b"/>
                    <a:pathLst>
                      <a:path w="12700" h="55027">
                        <a:moveTo>
                          <a:pt x="0" y="0"/>
                        </a:moveTo>
                        <a:lnTo>
                          <a:pt x="0" y="55027"/>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80" name="Graphic 4">
                  <a:extLst>
                    <a:ext uri="{FF2B5EF4-FFF2-40B4-BE49-F238E27FC236}">
                      <a16:creationId xmlns:a16="http://schemas.microsoft.com/office/drawing/2014/main" id="{6385EB2B-F799-D05E-9EEB-1E2D75CECB98}"/>
                    </a:ext>
                  </a:extLst>
                </p:cNvPr>
                <p:cNvGrpSpPr/>
                <p:nvPr/>
              </p:nvGrpSpPr>
              <p:grpSpPr>
                <a:xfrm>
                  <a:off x="9039938" y="3311974"/>
                  <a:ext cx="57152" cy="56898"/>
                  <a:chOff x="9039938" y="3311974"/>
                  <a:chExt cx="57152" cy="56898"/>
                </a:xfrm>
              </p:grpSpPr>
              <p:sp>
                <p:nvSpPr>
                  <p:cNvPr id="1502" name="Freeform 2139">
                    <a:extLst>
                      <a:ext uri="{FF2B5EF4-FFF2-40B4-BE49-F238E27FC236}">
                        <a16:creationId xmlns:a16="http://schemas.microsoft.com/office/drawing/2014/main" id="{7C3BA2AC-070C-4C2B-7815-1FD0293FE0AC}"/>
                      </a:ext>
                    </a:extLst>
                  </p:cNvPr>
                  <p:cNvSpPr/>
                  <p:nvPr/>
                </p:nvSpPr>
                <p:spPr>
                  <a:xfrm>
                    <a:off x="9039938" y="3340424"/>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03" name="Freeform 2140">
                    <a:extLst>
                      <a:ext uri="{FF2B5EF4-FFF2-40B4-BE49-F238E27FC236}">
                        <a16:creationId xmlns:a16="http://schemas.microsoft.com/office/drawing/2014/main" id="{444E1F37-E5B4-E8E5-4619-EB363D1BE63F}"/>
                      </a:ext>
                    </a:extLst>
                  </p:cNvPr>
                  <p:cNvSpPr/>
                  <p:nvPr/>
                </p:nvSpPr>
                <p:spPr>
                  <a:xfrm>
                    <a:off x="9068514" y="3311974"/>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81" name="Graphic 4">
                  <a:extLst>
                    <a:ext uri="{FF2B5EF4-FFF2-40B4-BE49-F238E27FC236}">
                      <a16:creationId xmlns:a16="http://schemas.microsoft.com/office/drawing/2014/main" id="{BE5E0DA9-C597-5994-E9FB-8AA60B46C6C7}"/>
                    </a:ext>
                  </a:extLst>
                </p:cNvPr>
                <p:cNvGrpSpPr/>
                <p:nvPr/>
              </p:nvGrpSpPr>
              <p:grpSpPr>
                <a:xfrm>
                  <a:off x="8847269" y="3263117"/>
                  <a:ext cx="57152" cy="56898"/>
                  <a:chOff x="8847269" y="3263117"/>
                  <a:chExt cx="57152" cy="56898"/>
                </a:xfrm>
              </p:grpSpPr>
              <p:sp>
                <p:nvSpPr>
                  <p:cNvPr id="1500" name="Freeform 2137">
                    <a:extLst>
                      <a:ext uri="{FF2B5EF4-FFF2-40B4-BE49-F238E27FC236}">
                        <a16:creationId xmlns:a16="http://schemas.microsoft.com/office/drawing/2014/main" id="{79838DEF-A4F3-6988-A589-9E3ECBA2CE9B}"/>
                      </a:ext>
                    </a:extLst>
                  </p:cNvPr>
                  <p:cNvSpPr/>
                  <p:nvPr/>
                </p:nvSpPr>
                <p:spPr>
                  <a:xfrm>
                    <a:off x="8847269" y="3291567"/>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01" name="Freeform 2138">
                    <a:extLst>
                      <a:ext uri="{FF2B5EF4-FFF2-40B4-BE49-F238E27FC236}">
                        <a16:creationId xmlns:a16="http://schemas.microsoft.com/office/drawing/2014/main" id="{CB4E4877-7951-4061-76C8-EFA07C7902EB}"/>
                      </a:ext>
                    </a:extLst>
                  </p:cNvPr>
                  <p:cNvSpPr/>
                  <p:nvPr/>
                </p:nvSpPr>
                <p:spPr>
                  <a:xfrm>
                    <a:off x="8875846" y="3263117"/>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82" name="Graphic 4">
                  <a:extLst>
                    <a:ext uri="{FF2B5EF4-FFF2-40B4-BE49-F238E27FC236}">
                      <a16:creationId xmlns:a16="http://schemas.microsoft.com/office/drawing/2014/main" id="{C8A2AF39-BC03-2C3C-1D6F-B3EFC5B53ABF}"/>
                    </a:ext>
                  </a:extLst>
                </p:cNvPr>
                <p:cNvGrpSpPr/>
                <p:nvPr/>
              </p:nvGrpSpPr>
              <p:grpSpPr>
                <a:xfrm>
                  <a:off x="8523264" y="3145033"/>
                  <a:ext cx="57152" cy="56898"/>
                  <a:chOff x="8523264" y="3145033"/>
                  <a:chExt cx="57152" cy="56898"/>
                </a:xfrm>
              </p:grpSpPr>
              <p:sp>
                <p:nvSpPr>
                  <p:cNvPr id="1498" name="Freeform 2135">
                    <a:extLst>
                      <a:ext uri="{FF2B5EF4-FFF2-40B4-BE49-F238E27FC236}">
                        <a16:creationId xmlns:a16="http://schemas.microsoft.com/office/drawing/2014/main" id="{F82CF708-2F10-9001-CAA8-8DB273DCEDA8}"/>
                      </a:ext>
                    </a:extLst>
                  </p:cNvPr>
                  <p:cNvSpPr/>
                  <p:nvPr/>
                </p:nvSpPr>
                <p:spPr>
                  <a:xfrm>
                    <a:off x="8523264" y="3173483"/>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99" name="Freeform 2136">
                    <a:extLst>
                      <a:ext uri="{FF2B5EF4-FFF2-40B4-BE49-F238E27FC236}">
                        <a16:creationId xmlns:a16="http://schemas.microsoft.com/office/drawing/2014/main" id="{70F629B5-C4F2-25CD-EA5F-7D57AE209783}"/>
                      </a:ext>
                    </a:extLst>
                  </p:cNvPr>
                  <p:cNvSpPr/>
                  <p:nvPr/>
                </p:nvSpPr>
                <p:spPr>
                  <a:xfrm>
                    <a:off x="8551840" y="3145033"/>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83" name="Graphic 4">
                  <a:extLst>
                    <a:ext uri="{FF2B5EF4-FFF2-40B4-BE49-F238E27FC236}">
                      <a16:creationId xmlns:a16="http://schemas.microsoft.com/office/drawing/2014/main" id="{322CEC12-D2EA-FEC3-5CD9-628F03267902}"/>
                    </a:ext>
                  </a:extLst>
                </p:cNvPr>
                <p:cNvGrpSpPr/>
                <p:nvPr/>
              </p:nvGrpSpPr>
              <p:grpSpPr>
                <a:xfrm>
                  <a:off x="8376851" y="3094040"/>
                  <a:ext cx="57152" cy="56898"/>
                  <a:chOff x="8376851" y="3094040"/>
                  <a:chExt cx="57152" cy="56898"/>
                </a:xfrm>
              </p:grpSpPr>
              <p:sp>
                <p:nvSpPr>
                  <p:cNvPr id="1496" name="Freeform 2133">
                    <a:extLst>
                      <a:ext uri="{FF2B5EF4-FFF2-40B4-BE49-F238E27FC236}">
                        <a16:creationId xmlns:a16="http://schemas.microsoft.com/office/drawing/2014/main" id="{5A46387A-7796-BF93-E7EE-1F5EDCDFD783}"/>
                      </a:ext>
                    </a:extLst>
                  </p:cNvPr>
                  <p:cNvSpPr/>
                  <p:nvPr/>
                </p:nvSpPr>
                <p:spPr>
                  <a:xfrm>
                    <a:off x="8376851" y="3122489"/>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97" name="Freeform 2134">
                    <a:extLst>
                      <a:ext uri="{FF2B5EF4-FFF2-40B4-BE49-F238E27FC236}">
                        <a16:creationId xmlns:a16="http://schemas.microsoft.com/office/drawing/2014/main" id="{4FF9168A-E7B5-4650-881C-DB6C57308C39}"/>
                      </a:ext>
                    </a:extLst>
                  </p:cNvPr>
                  <p:cNvSpPr/>
                  <p:nvPr/>
                </p:nvSpPr>
                <p:spPr>
                  <a:xfrm>
                    <a:off x="8405427" y="3094040"/>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84" name="Graphic 4">
                  <a:extLst>
                    <a:ext uri="{FF2B5EF4-FFF2-40B4-BE49-F238E27FC236}">
                      <a16:creationId xmlns:a16="http://schemas.microsoft.com/office/drawing/2014/main" id="{852B757F-01A9-1A84-F6A8-F4E29228FB24}"/>
                    </a:ext>
                  </a:extLst>
                </p:cNvPr>
                <p:cNvGrpSpPr/>
                <p:nvPr/>
              </p:nvGrpSpPr>
              <p:grpSpPr>
                <a:xfrm>
                  <a:off x="8230438" y="3070559"/>
                  <a:ext cx="57152" cy="56898"/>
                  <a:chOff x="8230438" y="3070559"/>
                  <a:chExt cx="57152" cy="56898"/>
                </a:xfrm>
              </p:grpSpPr>
              <p:sp>
                <p:nvSpPr>
                  <p:cNvPr id="1494" name="Freeform 2131">
                    <a:extLst>
                      <a:ext uri="{FF2B5EF4-FFF2-40B4-BE49-F238E27FC236}">
                        <a16:creationId xmlns:a16="http://schemas.microsoft.com/office/drawing/2014/main" id="{95C40403-15DC-204C-0215-6CA981EFB52E}"/>
                      </a:ext>
                    </a:extLst>
                  </p:cNvPr>
                  <p:cNvSpPr/>
                  <p:nvPr/>
                </p:nvSpPr>
                <p:spPr>
                  <a:xfrm>
                    <a:off x="8230438" y="3099009"/>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95" name="Freeform 2132">
                    <a:extLst>
                      <a:ext uri="{FF2B5EF4-FFF2-40B4-BE49-F238E27FC236}">
                        <a16:creationId xmlns:a16="http://schemas.microsoft.com/office/drawing/2014/main" id="{664CD55A-C215-0EFD-7EB7-5731FC70EBDD}"/>
                      </a:ext>
                    </a:extLst>
                  </p:cNvPr>
                  <p:cNvSpPr/>
                  <p:nvPr/>
                </p:nvSpPr>
                <p:spPr>
                  <a:xfrm>
                    <a:off x="8259014" y="3070559"/>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85" name="Graphic 4">
                  <a:extLst>
                    <a:ext uri="{FF2B5EF4-FFF2-40B4-BE49-F238E27FC236}">
                      <a16:creationId xmlns:a16="http://schemas.microsoft.com/office/drawing/2014/main" id="{BA3C9EDE-D424-A5F9-DE6A-667A32E56E75}"/>
                    </a:ext>
                  </a:extLst>
                </p:cNvPr>
                <p:cNvGrpSpPr/>
                <p:nvPr/>
              </p:nvGrpSpPr>
              <p:grpSpPr>
                <a:xfrm>
                  <a:off x="8170250" y="3049178"/>
                  <a:ext cx="57152" cy="56898"/>
                  <a:chOff x="8170250" y="3049178"/>
                  <a:chExt cx="57152" cy="56898"/>
                </a:xfrm>
              </p:grpSpPr>
              <p:sp>
                <p:nvSpPr>
                  <p:cNvPr id="1492" name="Freeform 2129">
                    <a:extLst>
                      <a:ext uri="{FF2B5EF4-FFF2-40B4-BE49-F238E27FC236}">
                        <a16:creationId xmlns:a16="http://schemas.microsoft.com/office/drawing/2014/main" id="{C3217840-B29E-8508-3000-9E8AF76963D1}"/>
                      </a:ext>
                    </a:extLst>
                  </p:cNvPr>
                  <p:cNvSpPr/>
                  <p:nvPr/>
                </p:nvSpPr>
                <p:spPr>
                  <a:xfrm>
                    <a:off x="8170250" y="3077627"/>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93" name="Freeform 2130">
                    <a:extLst>
                      <a:ext uri="{FF2B5EF4-FFF2-40B4-BE49-F238E27FC236}">
                        <a16:creationId xmlns:a16="http://schemas.microsoft.com/office/drawing/2014/main" id="{AFAB25E6-B301-8CA2-9AA9-4D9EF99A78B4}"/>
                      </a:ext>
                    </a:extLst>
                  </p:cNvPr>
                  <p:cNvSpPr/>
                  <p:nvPr/>
                </p:nvSpPr>
                <p:spPr>
                  <a:xfrm>
                    <a:off x="8198826" y="3049178"/>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86" name="Graphic 4">
                  <a:extLst>
                    <a:ext uri="{FF2B5EF4-FFF2-40B4-BE49-F238E27FC236}">
                      <a16:creationId xmlns:a16="http://schemas.microsoft.com/office/drawing/2014/main" id="{484048F0-9E8B-9164-8595-7ECBD60D0242}"/>
                    </a:ext>
                  </a:extLst>
                </p:cNvPr>
                <p:cNvGrpSpPr/>
                <p:nvPr/>
              </p:nvGrpSpPr>
              <p:grpSpPr>
                <a:xfrm>
                  <a:off x="8081561" y="3010032"/>
                  <a:ext cx="57152" cy="56898"/>
                  <a:chOff x="8081561" y="3010032"/>
                  <a:chExt cx="57152" cy="56898"/>
                </a:xfrm>
              </p:grpSpPr>
              <p:sp>
                <p:nvSpPr>
                  <p:cNvPr id="1490" name="Freeform 2127">
                    <a:extLst>
                      <a:ext uri="{FF2B5EF4-FFF2-40B4-BE49-F238E27FC236}">
                        <a16:creationId xmlns:a16="http://schemas.microsoft.com/office/drawing/2014/main" id="{47063E72-0A5E-6D51-607C-57951580C965}"/>
                      </a:ext>
                    </a:extLst>
                  </p:cNvPr>
                  <p:cNvSpPr/>
                  <p:nvPr/>
                </p:nvSpPr>
                <p:spPr>
                  <a:xfrm>
                    <a:off x="8081561" y="3038481"/>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91" name="Freeform 2128">
                    <a:extLst>
                      <a:ext uri="{FF2B5EF4-FFF2-40B4-BE49-F238E27FC236}">
                        <a16:creationId xmlns:a16="http://schemas.microsoft.com/office/drawing/2014/main" id="{F69476E4-B73D-E41B-4371-AF27D8052FC0}"/>
                      </a:ext>
                    </a:extLst>
                  </p:cNvPr>
                  <p:cNvSpPr/>
                  <p:nvPr/>
                </p:nvSpPr>
                <p:spPr>
                  <a:xfrm>
                    <a:off x="8110138" y="3010032"/>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487" name="Graphic 4">
                  <a:extLst>
                    <a:ext uri="{FF2B5EF4-FFF2-40B4-BE49-F238E27FC236}">
                      <a16:creationId xmlns:a16="http://schemas.microsoft.com/office/drawing/2014/main" id="{95357FBE-1271-4943-C650-D46BDF655457}"/>
                    </a:ext>
                  </a:extLst>
                </p:cNvPr>
                <p:cNvGrpSpPr/>
                <p:nvPr/>
              </p:nvGrpSpPr>
              <p:grpSpPr>
                <a:xfrm>
                  <a:off x="7887547" y="2734882"/>
                  <a:ext cx="57152" cy="56898"/>
                  <a:chOff x="7887547" y="2734882"/>
                  <a:chExt cx="57152" cy="56898"/>
                </a:xfrm>
              </p:grpSpPr>
              <p:sp>
                <p:nvSpPr>
                  <p:cNvPr id="1488" name="Freeform 2125">
                    <a:extLst>
                      <a:ext uri="{FF2B5EF4-FFF2-40B4-BE49-F238E27FC236}">
                        <a16:creationId xmlns:a16="http://schemas.microsoft.com/office/drawing/2014/main" id="{2493FA69-7ECB-FC3E-57CE-CB25F84084C0}"/>
                      </a:ext>
                    </a:extLst>
                  </p:cNvPr>
                  <p:cNvSpPr/>
                  <p:nvPr/>
                </p:nvSpPr>
                <p:spPr>
                  <a:xfrm>
                    <a:off x="7887547" y="2763331"/>
                    <a:ext cx="57152" cy="12644"/>
                  </a:xfrm>
                  <a:custGeom>
                    <a:avLst/>
                    <a:gdLst>
                      <a:gd name="connsiteX0" fmla="*/ 0 w 57152"/>
                      <a:gd name="connsiteY0" fmla="*/ 0 h 12644"/>
                      <a:gd name="connsiteX1" fmla="*/ 57153 w 57152"/>
                      <a:gd name="connsiteY1" fmla="*/ 0 h 12644"/>
                    </a:gdLst>
                    <a:ahLst/>
                    <a:cxnLst>
                      <a:cxn ang="0">
                        <a:pos x="connsiteX0" y="connsiteY0"/>
                      </a:cxn>
                      <a:cxn ang="0">
                        <a:pos x="connsiteX1" y="connsiteY1"/>
                      </a:cxn>
                    </a:cxnLst>
                    <a:rect l="l" t="t" r="r" b="b"/>
                    <a:pathLst>
                      <a:path w="57152" h="12644">
                        <a:moveTo>
                          <a:pt x="0" y="0"/>
                        </a:moveTo>
                        <a:lnTo>
                          <a:pt x="57153" y="0"/>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89" name="Freeform 2126">
                    <a:extLst>
                      <a:ext uri="{FF2B5EF4-FFF2-40B4-BE49-F238E27FC236}">
                        <a16:creationId xmlns:a16="http://schemas.microsoft.com/office/drawing/2014/main" id="{DACB088C-8F1B-FB01-4954-4CBD66FE8575}"/>
                      </a:ext>
                    </a:extLst>
                  </p:cNvPr>
                  <p:cNvSpPr/>
                  <p:nvPr/>
                </p:nvSpPr>
                <p:spPr>
                  <a:xfrm>
                    <a:off x="7916123" y="2734882"/>
                    <a:ext cx="12700" cy="56898"/>
                  </a:xfrm>
                  <a:custGeom>
                    <a:avLst/>
                    <a:gdLst>
                      <a:gd name="connsiteX0" fmla="*/ 0 w 12700"/>
                      <a:gd name="connsiteY0" fmla="*/ 0 h 56898"/>
                      <a:gd name="connsiteX1" fmla="*/ 0 w 12700"/>
                      <a:gd name="connsiteY1" fmla="*/ 56899 h 56898"/>
                    </a:gdLst>
                    <a:ahLst/>
                    <a:cxnLst>
                      <a:cxn ang="0">
                        <a:pos x="connsiteX0" y="connsiteY0"/>
                      </a:cxn>
                      <a:cxn ang="0">
                        <a:pos x="connsiteX1" y="connsiteY1"/>
                      </a:cxn>
                    </a:cxnLst>
                    <a:rect l="l" t="t" r="r" b="b"/>
                    <a:pathLst>
                      <a:path w="12700" h="56898">
                        <a:moveTo>
                          <a:pt x="0" y="0"/>
                        </a:moveTo>
                        <a:lnTo>
                          <a:pt x="0" y="56899"/>
                        </a:lnTo>
                      </a:path>
                    </a:pathLst>
                  </a:custGeom>
                  <a:ln w="9518"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sp>
            <p:nvSpPr>
              <p:cNvPr id="1534" name="Freeform 2171">
                <a:extLst>
                  <a:ext uri="{FF2B5EF4-FFF2-40B4-BE49-F238E27FC236}">
                    <a16:creationId xmlns:a16="http://schemas.microsoft.com/office/drawing/2014/main" id="{5C2651DD-7370-75FE-23C7-B71A1C59F641}"/>
                  </a:ext>
                </a:extLst>
              </p:cNvPr>
              <p:cNvSpPr/>
              <p:nvPr/>
            </p:nvSpPr>
            <p:spPr>
              <a:xfrm>
                <a:off x="5407671" y="2425576"/>
                <a:ext cx="136582" cy="12644"/>
              </a:xfrm>
              <a:custGeom>
                <a:avLst/>
                <a:gdLst>
                  <a:gd name="connsiteX0" fmla="*/ 0 w 136582"/>
                  <a:gd name="connsiteY0" fmla="*/ 0 h 12644"/>
                  <a:gd name="connsiteX1" fmla="*/ 136582 w 136582"/>
                  <a:gd name="connsiteY1" fmla="*/ 0 h 12644"/>
                </a:gdLst>
                <a:ahLst/>
                <a:cxnLst>
                  <a:cxn ang="0">
                    <a:pos x="connsiteX0" y="connsiteY0"/>
                  </a:cxn>
                  <a:cxn ang="0">
                    <a:pos x="connsiteX1" y="connsiteY1"/>
                  </a:cxn>
                </a:cxnLst>
                <a:rect l="l" t="t" r="r" b="b"/>
                <a:pathLst>
                  <a:path w="136582" h="12644">
                    <a:moveTo>
                      <a:pt x="0" y="0"/>
                    </a:moveTo>
                    <a:lnTo>
                      <a:pt x="136582" y="0"/>
                    </a:lnTo>
                  </a:path>
                </a:pathLst>
              </a:custGeom>
              <a:ln w="1903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35" name="TextBox 1534">
                <a:extLst>
                  <a:ext uri="{FF2B5EF4-FFF2-40B4-BE49-F238E27FC236}">
                    <a16:creationId xmlns:a16="http://schemas.microsoft.com/office/drawing/2014/main" id="{6849BBCB-FD8F-B1DE-F14C-141B96A6AD23}"/>
                  </a:ext>
                </a:extLst>
              </p:cNvPr>
              <p:cNvSpPr txBox="1"/>
              <p:nvPr/>
            </p:nvSpPr>
            <p:spPr>
              <a:xfrm>
                <a:off x="6650925" y="1294029"/>
                <a:ext cx="1496667" cy="561481"/>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1" i="0" u="none" strike="noStrike" kern="1200" cap="none" spc="0" normalizeH="0" baseline="0" noProof="0" dirty="0">
                    <a:ln/>
                    <a:solidFill>
                      <a:srgbClr val="000000"/>
                    </a:solidFill>
                    <a:effectLst/>
                    <a:uLnTx/>
                    <a:uFillTx/>
                    <a:latin typeface="Arial" panose="020B0604020202020204" pitchFamily="34" charset="0"/>
                    <a:ea typeface="MS PGothic" panose="020B0600070205080204" pitchFamily="34" charset="-128"/>
                    <a:cs typeface="Arial"/>
                    <a:sym typeface="Arial"/>
                    <a:rtl val="0"/>
                  </a:rPr>
                  <a:t>36-month PFS rate (95% CI):</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544F4F"/>
                    </a:solidFill>
                    <a:effectLst/>
                    <a:uLnTx/>
                    <a:uFillTx/>
                    <a:latin typeface="Arial" panose="020B0604020202020204" pitchFamily="34" charset="0"/>
                    <a:ea typeface="MS PGothic" panose="020B0600070205080204" pitchFamily="34" charset="-128"/>
                    <a:cs typeface="Arial"/>
                    <a:sym typeface="Arial"/>
                    <a:rtl val="0"/>
                  </a:rPr>
                  <a:t>52.6% (32.8, 72.3)</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45.1% (31.5, 58.7)</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38.9% (20.3, 57.5)</a:t>
                </a:r>
              </a:p>
            </p:txBody>
          </p:sp>
        </p:grpSp>
        <p:grpSp>
          <p:nvGrpSpPr>
            <p:cNvPr id="1634" name="Graphic 4">
              <a:extLst>
                <a:ext uri="{FF2B5EF4-FFF2-40B4-BE49-F238E27FC236}">
                  <a16:creationId xmlns:a16="http://schemas.microsoft.com/office/drawing/2014/main" id="{FBF84BDC-05FC-4555-2027-52A0D6A6615C}"/>
                </a:ext>
              </a:extLst>
            </p:cNvPr>
            <p:cNvGrpSpPr/>
            <p:nvPr/>
          </p:nvGrpSpPr>
          <p:grpSpPr>
            <a:xfrm>
              <a:off x="5094128" y="1271616"/>
              <a:ext cx="287829" cy="1429434"/>
              <a:chOff x="7670489" y="2667908"/>
              <a:chExt cx="287829" cy="1429434"/>
            </a:xfrm>
            <a:solidFill>
              <a:srgbClr val="000000"/>
            </a:solidFill>
          </p:grpSpPr>
          <p:sp>
            <p:nvSpPr>
              <p:cNvPr id="1635" name="TextBox 1634">
                <a:extLst>
                  <a:ext uri="{FF2B5EF4-FFF2-40B4-BE49-F238E27FC236}">
                    <a16:creationId xmlns:a16="http://schemas.microsoft.com/office/drawing/2014/main" id="{9E8B91E0-7F01-03E6-2A7E-60ECF030B7D0}"/>
                  </a:ext>
                </a:extLst>
              </p:cNvPr>
              <p:cNvSpPr txBox="1"/>
              <p:nvPr/>
            </p:nvSpPr>
            <p:spPr>
              <a:xfrm>
                <a:off x="7670489" y="2667908"/>
                <a:ext cx="287829" cy="176978"/>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00</a:t>
                </a:r>
              </a:p>
            </p:txBody>
          </p:sp>
          <p:sp>
            <p:nvSpPr>
              <p:cNvPr id="1636" name="TextBox 1635">
                <a:extLst>
                  <a:ext uri="{FF2B5EF4-FFF2-40B4-BE49-F238E27FC236}">
                    <a16:creationId xmlns:a16="http://schemas.microsoft.com/office/drawing/2014/main" id="{EBF49710-2B2A-6A6B-4100-003FED81EB39}"/>
                  </a:ext>
                </a:extLst>
              </p:cNvPr>
              <p:cNvSpPr txBox="1"/>
              <p:nvPr/>
            </p:nvSpPr>
            <p:spPr>
              <a:xfrm>
                <a:off x="7715799" y="2923143"/>
                <a:ext cx="237710" cy="176978"/>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80</a:t>
                </a:r>
              </a:p>
            </p:txBody>
          </p:sp>
          <p:sp>
            <p:nvSpPr>
              <p:cNvPr id="1637" name="TextBox 1636">
                <a:extLst>
                  <a:ext uri="{FF2B5EF4-FFF2-40B4-BE49-F238E27FC236}">
                    <a16:creationId xmlns:a16="http://schemas.microsoft.com/office/drawing/2014/main" id="{35AAE485-A97E-68DC-D68D-07E67E35B506}"/>
                  </a:ext>
                </a:extLst>
              </p:cNvPr>
              <p:cNvSpPr txBox="1"/>
              <p:nvPr/>
            </p:nvSpPr>
            <p:spPr>
              <a:xfrm>
                <a:off x="7715799" y="3172448"/>
                <a:ext cx="237710" cy="176978"/>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60</a:t>
                </a:r>
              </a:p>
            </p:txBody>
          </p:sp>
          <p:sp>
            <p:nvSpPr>
              <p:cNvPr id="1638" name="TextBox 1637">
                <a:extLst>
                  <a:ext uri="{FF2B5EF4-FFF2-40B4-BE49-F238E27FC236}">
                    <a16:creationId xmlns:a16="http://schemas.microsoft.com/office/drawing/2014/main" id="{C371396B-60E0-7B05-B997-AA6FC01E33AA}"/>
                  </a:ext>
                </a:extLst>
              </p:cNvPr>
              <p:cNvSpPr txBox="1"/>
              <p:nvPr/>
            </p:nvSpPr>
            <p:spPr>
              <a:xfrm>
                <a:off x="7715799" y="3421754"/>
                <a:ext cx="237710" cy="176978"/>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0</a:t>
                </a:r>
              </a:p>
            </p:txBody>
          </p:sp>
          <p:sp>
            <p:nvSpPr>
              <p:cNvPr id="1639" name="TextBox 1638">
                <a:extLst>
                  <a:ext uri="{FF2B5EF4-FFF2-40B4-BE49-F238E27FC236}">
                    <a16:creationId xmlns:a16="http://schemas.microsoft.com/office/drawing/2014/main" id="{712ED165-A533-0DE5-6857-07E1517AE894}"/>
                  </a:ext>
                </a:extLst>
              </p:cNvPr>
              <p:cNvSpPr txBox="1"/>
              <p:nvPr/>
            </p:nvSpPr>
            <p:spPr>
              <a:xfrm>
                <a:off x="7715799" y="3671059"/>
                <a:ext cx="237710" cy="176978"/>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0</a:t>
                </a:r>
              </a:p>
            </p:txBody>
          </p:sp>
          <p:sp>
            <p:nvSpPr>
              <p:cNvPr id="1640" name="TextBox 1639">
                <a:extLst>
                  <a:ext uri="{FF2B5EF4-FFF2-40B4-BE49-F238E27FC236}">
                    <a16:creationId xmlns:a16="http://schemas.microsoft.com/office/drawing/2014/main" id="{E4D95A24-CAB5-6B09-5EAB-848C31518B26}"/>
                  </a:ext>
                </a:extLst>
              </p:cNvPr>
              <p:cNvSpPr txBox="1"/>
              <p:nvPr/>
            </p:nvSpPr>
            <p:spPr>
              <a:xfrm>
                <a:off x="7762836" y="3920364"/>
                <a:ext cx="187591" cy="176978"/>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0</a:t>
                </a:r>
              </a:p>
            </p:txBody>
          </p:sp>
        </p:grpSp>
      </p:grpSp>
      <p:sp>
        <p:nvSpPr>
          <p:cNvPr id="9" name="TextBox 8">
            <a:extLst>
              <a:ext uri="{FF2B5EF4-FFF2-40B4-BE49-F238E27FC236}">
                <a16:creationId xmlns:a16="http://schemas.microsoft.com/office/drawing/2014/main" id="{47B974A2-63C7-8345-6069-D4D7954E100A}"/>
              </a:ext>
            </a:extLst>
          </p:cNvPr>
          <p:cNvSpPr txBox="1"/>
          <p:nvPr/>
        </p:nvSpPr>
        <p:spPr>
          <a:xfrm>
            <a:off x="9514400" y="6442700"/>
            <a:ext cx="2407903" cy="338554"/>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544F4F">
                    <a:lumMod val="50000"/>
                  </a:srgbClr>
                </a:solidFill>
                <a:effectLst/>
                <a:uLnTx/>
                <a:uFillTx/>
                <a:latin typeface="Arial" panose="020B0604020202020204"/>
                <a:ea typeface="MS PGothic" panose="020B0600070205080204" pitchFamily="34" charset="-128"/>
                <a:cs typeface="+mn-cs"/>
              </a:rPr>
              <a:t>Karimi et al. ASCO 2026</a:t>
            </a:r>
          </a:p>
        </p:txBody>
      </p:sp>
    </p:spTree>
    <p:extLst>
      <p:ext uri="{BB962C8B-B14F-4D97-AF65-F5344CB8AC3E}">
        <p14:creationId xmlns:p14="http://schemas.microsoft.com/office/powerpoint/2010/main" val="29488177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FBF4C8-A227-4A4B-75BB-2CBA7E50E83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1B501C-9565-9FC2-0B76-68EB8531B3FA}"/>
              </a:ext>
            </a:extLst>
          </p:cNvPr>
          <p:cNvSpPr>
            <a:spLocks noGrp="1"/>
          </p:cNvSpPr>
          <p:nvPr>
            <p:ph type="title"/>
          </p:nvPr>
        </p:nvSpPr>
        <p:spPr>
          <a:xfrm>
            <a:off x="530039" y="242908"/>
            <a:ext cx="11020197" cy="906972"/>
          </a:xfrm>
        </p:spPr>
        <p:txBody>
          <a:bodyPr/>
          <a:lstStyle/>
          <a:p>
            <a:r>
              <a:rPr lang="en-GB" dirty="0"/>
              <a:t>Overall survival</a:t>
            </a:r>
          </a:p>
        </p:txBody>
      </p:sp>
      <p:sp>
        <p:nvSpPr>
          <p:cNvPr id="4" name="Text Placeholder 3">
            <a:extLst>
              <a:ext uri="{FF2B5EF4-FFF2-40B4-BE49-F238E27FC236}">
                <a16:creationId xmlns:a16="http://schemas.microsoft.com/office/drawing/2014/main" id="{2878C499-6EC9-4235-67F3-1B14431D113E}"/>
              </a:ext>
            </a:extLst>
          </p:cNvPr>
          <p:cNvSpPr>
            <a:spLocks noGrp="1"/>
          </p:cNvSpPr>
          <p:nvPr>
            <p:ph type="body" sz="quarter" idx="11"/>
          </p:nvPr>
        </p:nvSpPr>
        <p:spPr>
          <a:xfrm>
            <a:off x="528768" y="6077097"/>
            <a:ext cx="10262911" cy="541518"/>
          </a:xfrm>
        </p:spPr>
        <p:txBody>
          <a:bodyPr/>
          <a:lstStyle/>
          <a:p>
            <a:pPr>
              <a:spcAft>
                <a:spcPts val="0"/>
              </a:spcAft>
              <a:buSzPts val="650"/>
            </a:pPr>
            <a:r>
              <a:rPr lang="en-GB" sz="933" dirty="0"/>
              <a:t>*Median OS follow-up was 41.5 months (range: 0–65) overall, and 45.4 months (range: 0–55) and 38.4 months (range: 5–65) in the prior-BTKi and BTKi-naïve cohorts, respectively; </a:t>
            </a:r>
            <a:br>
              <a:rPr lang="en-GB" sz="933" dirty="0"/>
            </a:br>
            <a:r>
              <a:rPr lang="en-GB" sz="933" dirty="0"/>
              <a:t>at the time of analysis, 22 patients had died, the majority due to progressive disease (n=7) or COVID-19 (n=7). </a:t>
            </a:r>
            <a:br>
              <a:rPr lang="en-GB" sz="933" dirty="0"/>
            </a:br>
            <a:r>
              <a:rPr lang="en-GB" sz="933" dirty="0"/>
              <a:t>All patients who died due to COVID-19 had achieved a CR, and six remained in remission at the time of death. </a:t>
            </a:r>
          </a:p>
        </p:txBody>
      </p:sp>
      <p:sp>
        <p:nvSpPr>
          <p:cNvPr id="25" name="Rounded Rectangle 2015">
            <a:extLst>
              <a:ext uri="{FF2B5EF4-FFF2-40B4-BE49-F238E27FC236}">
                <a16:creationId xmlns:a16="http://schemas.microsoft.com/office/drawing/2014/main" id="{FFE0FDAC-EFA4-A0BB-48D0-9CBE69B471BA}"/>
              </a:ext>
            </a:extLst>
          </p:cNvPr>
          <p:cNvSpPr/>
          <p:nvPr/>
        </p:nvSpPr>
        <p:spPr>
          <a:xfrm>
            <a:off x="539352" y="5386109"/>
            <a:ext cx="11134463" cy="690987"/>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6923" rtl="0" eaLnBrk="0" fontAlgn="base" latinLnBrk="0" hangingPunct="0">
              <a:lnSpc>
                <a:spcPct val="100000"/>
              </a:lnSpc>
              <a:spcBef>
                <a:spcPct val="0"/>
              </a:spcBef>
              <a:spcAft>
                <a:spcPct val="0"/>
              </a:spcAft>
              <a:buClrTx/>
              <a:buSzTx/>
              <a:buFontTx/>
              <a:buNone/>
              <a:tabLst/>
              <a:defRPr/>
            </a:pPr>
            <a:r>
              <a:rPr kumimoji="0" lang="en-GB" sz="1866" b="0" i="0" u="none" strike="noStrike" kern="1200" cap="none" spc="0" normalizeH="0" baseline="0" noProof="0" dirty="0">
                <a:ln>
                  <a:noFill/>
                </a:ln>
                <a:solidFill>
                  <a:srgbClr val="FFFFFF"/>
                </a:solidFill>
                <a:effectLst/>
                <a:uLnTx/>
                <a:uFillTx/>
                <a:latin typeface="Arial" panose="020B0604020202020204"/>
                <a:ea typeface="+mn-ea"/>
                <a:cs typeface="+mn-cs"/>
              </a:rPr>
              <a:t>Durable OS was achieved with fixed-duration glofitamab monotherapy </a:t>
            </a:r>
          </a:p>
          <a:p>
            <a:pPr marL="0" marR="0" lvl="0" indent="0" algn="ctr" defTabSz="1096923" rtl="0" eaLnBrk="0" fontAlgn="base" latinLnBrk="0" hangingPunct="0">
              <a:lnSpc>
                <a:spcPct val="100000"/>
              </a:lnSpc>
              <a:spcBef>
                <a:spcPct val="0"/>
              </a:spcBef>
              <a:spcAft>
                <a:spcPct val="0"/>
              </a:spcAft>
              <a:buClrTx/>
              <a:buSzTx/>
              <a:buFontTx/>
              <a:buNone/>
              <a:tabLst/>
              <a:defRPr/>
            </a:pPr>
            <a:r>
              <a:rPr kumimoji="0" lang="en-GB" sz="1866" b="0" i="0" u="none" strike="noStrike" kern="1200" cap="none" spc="0" normalizeH="0" baseline="0" noProof="0" dirty="0">
                <a:ln>
                  <a:noFill/>
                </a:ln>
                <a:solidFill>
                  <a:srgbClr val="FFFFFF"/>
                </a:solidFill>
                <a:effectLst/>
                <a:uLnTx/>
                <a:uFillTx/>
                <a:latin typeface="Arial" panose="020B0604020202020204"/>
                <a:ea typeface="+mn-ea"/>
                <a:cs typeface="+mn-cs"/>
              </a:rPr>
              <a:t>in patients with prior BTKi and those who were BTKi naïve</a:t>
            </a:r>
          </a:p>
        </p:txBody>
      </p:sp>
      <p:graphicFrame>
        <p:nvGraphicFramePr>
          <p:cNvPr id="9" name="Google Shape;265;p27">
            <a:extLst>
              <a:ext uri="{FF2B5EF4-FFF2-40B4-BE49-F238E27FC236}">
                <a16:creationId xmlns:a16="http://schemas.microsoft.com/office/drawing/2014/main" id="{71AD596E-D24F-4839-8281-3BA15481FAF3}"/>
              </a:ext>
            </a:extLst>
          </p:cNvPr>
          <p:cNvGraphicFramePr/>
          <p:nvPr/>
        </p:nvGraphicFramePr>
        <p:xfrm>
          <a:off x="7620922" y="2341411"/>
          <a:ext cx="4126727" cy="2175180"/>
        </p:xfrm>
        <a:graphic>
          <a:graphicData uri="http://schemas.openxmlformats.org/drawingml/2006/table">
            <a:tbl>
              <a:tblPr>
                <a:gradFill>
                  <a:gsLst>
                    <a:gs pos="0">
                      <a:srgbClr val="FFFFFF"/>
                    </a:gs>
                    <a:gs pos="50000">
                      <a:srgbClr val="FBFBFE"/>
                    </a:gs>
                    <a:gs pos="100000">
                      <a:srgbClr val="FAFBFD"/>
                    </a:gs>
                  </a:gsLst>
                  <a:lin ang="5400012" scaled="0"/>
                </a:gradFill>
              </a:tblPr>
              <a:tblGrid>
                <a:gridCol w="1343585">
                  <a:extLst>
                    <a:ext uri="{9D8B030D-6E8A-4147-A177-3AD203B41FA5}">
                      <a16:colId xmlns:a16="http://schemas.microsoft.com/office/drawing/2014/main" val="20000"/>
                    </a:ext>
                  </a:extLst>
                </a:gridCol>
                <a:gridCol w="927714">
                  <a:extLst>
                    <a:ext uri="{9D8B030D-6E8A-4147-A177-3AD203B41FA5}">
                      <a16:colId xmlns:a16="http://schemas.microsoft.com/office/drawing/2014/main" val="2547271723"/>
                    </a:ext>
                  </a:extLst>
                </a:gridCol>
                <a:gridCol w="927714">
                  <a:extLst>
                    <a:ext uri="{9D8B030D-6E8A-4147-A177-3AD203B41FA5}">
                      <a16:colId xmlns:a16="http://schemas.microsoft.com/office/drawing/2014/main" val="3485437772"/>
                    </a:ext>
                  </a:extLst>
                </a:gridCol>
                <a:gridCol w="927714">
                  <a:extLst>
                    <a:ext uri="{9D8B030D-6E8A-4147-A177-3AD203B41FA5}">
                      <a16:colId xmlns:a16="http://schemas.microsoft.com/office/drawing/2014/main" val="20001"/>
                    </a:ext>
                  </a:extLst>
                </a:gridCol>
              </a:tblGrid>
              <a:tr h="1087590">
                <a:tc>
                  <a:txBody>
                    <a:bodyPr/>
                    <a:lstStyle/>
                    <a:p>
                      <a:pPr marL="0" marR="0" lvl="0" indent="0" algn="l" defTabSz="684560" rtl="0" eaLnBrk="1" fontAlgn="auto" latinLnBrk="0" hangingPunct="1">
                        <a:lnSpc>
                          <a:spcPct val="100000"/>
                        </a:lnSpc>
                        <a:spcBef>
                          <a:spcPts val="0"/>
                        </a:spcBef>
                        <a:spcAft>
                          <a:spcPts val="0"/>
                        </a:spcAft>
                        <a:buClr>
                          <a:srgbClr val="000000"/>
                        </a:buClr>
                        <a:buSzPts val="1000"/>
                        <a:buFont typeface="Arial"/>
                        <a:buNone/>
                        <a:tabLst/>
                        <a:defRPr/>
                      </a:pPr>
                      <a:r>
                        <a:rPr lang="en-ZA" sz="1200" b="1" u="none" strike="noStrike" cap="none" dirty="0">
                          <a:solidFill>
                            <a:schemeClr val="bg1"/>
                          </a:solidFill>
                          <a:latin typeface="+mn-lt"/>
                          <a:ea typeface="Arial"/>
                          <a:cs typeface="Arial"/>
                          <a:sym typeface="Arial"/>
                        </a:rPr>
                        <a:t>OS</a:t>
                      </a:r>
                    </a:p>
                  </a:txBody>
                  <a:tcPr marL="109699" marR="109699" marT="54816" marB="54816" anchor="ctr">
                    <a:lnL w="12700" cap="flat" cmpd="sng">
                      <a:solidFill>
                        <a:schemeClr val="dk2"/>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12700" cap="flat" cmpd="sng">
                      <a:solidFill>
                        <a:schemeClr val="dk2"/>
                      </a:solidFill>
                      <a:prstDash val="solid"/>
                      <a:round/>
                      <a:headEnd type="none" w="sm" len="sm"/>
                      <a:tailEnd type="none" w="sm" len="sm"/>
                    </a:lnT>
                    <a:lnB w="12700" cap="flat" cmpd="sng" algn="ctr">
                      <a:solidFill>
                        <a:schemeClr val="bg2">
                          <a:lumMod val="20000"/>
                          <a:lumOff val="80000"/>
                        </a:schemeClr>
                      </a:solidFill>
                      <a:prstDash val="solid"/>
                      <a:round/>
                      <a:headEnd type="none" w="med" len="med"/>
                      <a:tailEnd type="none" w="med" len="med"/>
                    </a:lnB>
                    <a:solidFill>
                      <a:schemeClr val="dk2"/>
                    </a:solidFill>
                  </a:tcPr>
                </a:tc>
                <a:tc>
                  <a:txBody>
                    <a:bodyPr/>
                    <a:lstStyle/>
                    <a:p>
                      <a:pPr marL="0" marR="0" lvl="0" indent="0" algn="ctr" rtl="0">
                        <a:lnSpc>
                          <a:spcPct val="100000"/>
                        </a:lnSpc>
                        <a:spcBef>
                          <a:spcPts val="0"/>
                        </a:spcBef>
                        <a:spcAft>
                          <a:spcPts val="0"/>
                        </a:spcAft>
                        <a:buClr>
                          <a:schemeClr val="lt1"/>
                        </a:buClr>
                        <a:buSzPts val="1100"/>
                        <a:buFont typeface="Arial"/>
                        <a:buNone/>
                      </a:pPr>
                      <a:r>
                        <a:rPr lang="en" sz="1200" b="1" dirty="0">
                          <a:solidFill>
                            <a:schemeClr val="lt1"/>
                          </a:solidFill>
                          <a:latin typeface="+mn-lt"/>
                        </a:rPr>
                        <a:t>Prior BTKi</a:t>
                      </a:r>
                      <a:endParaRPr sz="1200" dirty="0">
                        <a:latin typeface="+mn-lt"/>
                      </a:endParaRPr>
                    </a:p>
                    <a:p>
                      <a:pPr marL="0" marR="0" lvl="0" indent="0" algn="ctr" rtl="0">
                        <a:lnSpc>
                          <a:spcPct val="100000"/>
                        </a:lnSpc>
                        <a:spcBef>
                          <a:spcPts val="200"/>
                        </a:spcBef>
                        <a:spcAft>
                          <a:spcPts val="0"/>
                        </a:spcAft>
                        <a:buClr>
                          <a:schemeClr val="lt1"/>
                        </a:buClr>
                        <a:buSzPts val="1100"/>
                        <a:buFont typeface="Arial"/>
                        <a:buNone/>
                      </a:pPr>
                      <a:r>
                        <a:rPr lang="en" sz="1200" b="1" u="none" strike="noStrike" cap="none" dirty="0">
                          <a:solidFill>
                            <a:schemeClr val="lt1"/>
                          </a:solidFill>
                          <a:latin typeface="+mn-lt"/>
                          <a:ea typeface="Arial"/>
                          <a:cs typeface="Arial"/>
                          <a:sym typeface="Arial"/>
                        </a:rPr>
                        <a:t>(</a:t>
                      </a:r>
                      <a:r>
                        <a:rPr lang="en" sz="1200" b="1" dirty="0">
                          <a:solidFill>
                            <a:schemeClr val="lt1"/>
                          </a:solidFill>
                          <a:latin typeface="+mn-lt"/>
                        </a:rPr>
                        <a:t>n</a:t>
                      </a:r>
                      <a:r>
                        <a:rPr lang="en" sz="1200" b="1" u="none" strike="noStrike" cap="none" dirty="0">
                          <a:solidFill>
                            <a:schemeClr val="lt1"/>
                          </a:solidFill>
                          <a:latin typeface="+mn-lt"/>
                          <a:ea typeface="Arial"/>
                          <a:cs typeface="Arial"/>
                          <a:sym typeface="Arial"/>
                        </a:rPr>
                        <a:t>=</a:t>
                      </a:r>
                      <a:r>
                        <a:rPr lang="en" sz="1200" b="1" dirty="0">
                          <a:solidFill>
                            <a:schemeClr val="lt1"/>
                          </a:solidFill>
                          <a:latin typeface="+mn-lt"/>
                        </a:rPr>
                        <a:t>34</a:t>
                      </a:r>
                      <a:r>
                        <a:rPr lang="en" sz="1200" b="1" u="none" strike="noStrike" cap="none" dirty="0">
                          <a:solidFill>
                            <a:schemeClr val="lt1"/>
                          </a:solidFill>
                          <a:latin typeface="+mn-lt"/>
                          <a:ea typeface="Arial"/>
                          <a:cs typeface="Arial"/>
                          <a:sym typeface="Arial"/>
                        </a:rPr>
                        <a:t>)</a:t>
                      </a:r>
                      <a:endParaRPr sz="1200" dirty="0">
                        <a:latin typeface="+mn-lt"/>
                      </a:endParaRPr>
                    </a:p>
                  </a:txBody>
                  <a:tcPr marL="109699" marR="109699" marT="54816" marB="54816"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dk2"/>
                      </a:solidFill>
                      <a:prstDash val="solid"/>
                      <a:round/>
                      <a:headEnd type="none" w="sm" len="sm"/>
                      <a:tailEnd type="none" w="sm" len="sm"/>
                    </a:lnT>
                    <a:lnB w="12700" cap="flat" cmpd="sng" algn="ctr">
                      <a:solidFill>
                        <a:schemeClr val="bg2">
                          <a:lumMod val="20000"/>
                          <a:lumOff val="80000"/>
                        </a:schemeClr>
                      </a:solidFill>
                      <a:prstDash val="solid"/>
                      <a:round/>
                      <a:headEnd type="none" w="med" len="med"/>
                      <a:tailEnd type="none" w="med" len="med"/>
                    </a:lnB>
                    <a:solidFill>
                      <a:schemeClr val="accent2"/>
                    </a:solidFill>
                  </a:tcPr>
                </a:tc>
                <a:tc>
                  <a:txBody>
                    <a:bodyPr/>
                    <a:lstStyle/>
                    <a:p>
                      <a:pPr marL="0" marR="0" lvl="0" indent="0" algn="ctr" rtl="0">
                        <a:lnSpc>
                          <a:spcPct val="100000"/>
                        </a:lnSpc>
                        <a:spcBef>
                          <a:spcPts val="0"/>
                        </a:spcBef>
                        <a:spcAft>
                          <a:spcPts val="0"/>
                        </a:spcAft>
                        <a:buClr>
                          <a:schemeClr val="lt1"/>
                        </a:buClr>
                        <a:buSzPts val="1100"/>
                        <a:buFont typeface="Arial"/>
                        <a:buNone/>
                      </a:pPr>
                      <a:r>
                        <a:rPr lang="en" sz="1200" b="1" dirty="0">
                          <a:solidFill>
                            <a:schemeClr val="lt1"/>
                          </a:solidFill>
                          <a:latin typeface="+mn-lt"/>
                        </a:rPr>
                        <a:t>BTKi naive</a:t>
                      </a:r>
                      <a:endParaRPr sz="1200" dirty="0">
                        <a:latin typeface="+mn-lt"/>
                      </a:endParaRPr>
                    </a:p>
                    <a:p>
                      <a:pPr marL="0" marR="0" lvl="0" indent="0" algn="ctr" rtl="0">
                        <a:lnSpc>
                          <a:spcPct val="100000"/>
                        </a:lnSpc>
                        <a:spcBef>
                          <a:spcPts val="200"/>
                        </a:spcBef>
                        <a:spcAft>
                          <a:spcPts val="0"/>
                        </a:spcAft>
                        <a:buClr>
                          <a:schemeClr val="lt1"/>
                        </a:buClr>
                        <a:buSzPts val="1100"/>
                        <a:buFont typeface="Arial"/>
                        <a:buNone/>
                      </a:pPr>
                      <a:r>
                        <a:rPr lang="en" sz="1200" b="1" u="none" strike="noStrike" cap="none" dirty="0">
                          <a:solidFill>
                            <a:schemeClr val="lt1"/>
                          </a:solidFill>
                          <a:latin typeface="+mn-lt"/>
                          <a:ea typeface="Arial"/>
                          <a:cs typeface="Arial"/>
                          <a:sym typeface="Arial"/>
                        </a:rPr>
                        <a:t>(</a:t>
                      </a:r>
                      <a:r>
                        <a:rPr lang="en" sz="1200" b="1" dirty="0">
                          <a:solidFill>
                            <a:schemeClr val="lt1"/>
                          </a:solidFill>
                          <a:latin typeface="+mn-lt"/>
                        </a:rPr>
                        <a:t>n</a:t>
                      </a:r>
                      <a:r>
                        <a:rPr lang="en" sz="1200" b="1" u="none" strike="noStrike" cap="none" dirty="0">
                          <a:solidFill>
                            <a:schemeClr val="lt1"/>
                          </a:solidFill>
                          <a:latin typeface="+mn-lt"/>
                          <a:ea typeface="Arial"/>
                          <a:cs typeface="Arial"/>
                          <a:sym typeface="Arial"/>
                        </a:rPr>
                        <a:t>=</a:t>
                      </a:r>
                      <a:r>
                        <a:rPr lang="en" sz="1200" b="1" dirty="0">
                          <a:solidFill>
                            <a:schemeClr val="lt1"/>
                          </a:solidFill>
                          <a:latin typeface="+mn-lt"/>
                        </a:rPr>
                        <a:t>27</a:t>
                      </a:r>
                      <a:r>
                        <a:rPr lang="en" sz="1200" b="1" u="none" strike="noStrike" cap="none" dirty="0">
                          <a:solidFill>
                            <a:schemeClr val="lt1"/>
                          </a:solidFill>
                          <a:latin typeface="+mn-lt"/>
                          <a:ea typeface="Arial"/>
                          <a:cs typeface="Arial"/>
                          <a:sym typeface="Arial"/>
                        </a:rPr>
                        <a:t>)</a:t>
                      </a:r>
                      <a:endParaRPr sz="1200" b="1" dirty="0">
                        <a:solidFill>
                          <a:schemeClr val="lt1"/>
                        </a:solidFill>
                        <a:latin typeface="+mn-lt"/>
                      </a:endParaRPr>
                    </a:p>
                  </a:txBody>
                  <a:tcPr marL="109699" marR="109699" marT="54816" marB="54816"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dk2"/>
                      </a:solidFill>
                      <a:prstDash val="solid"/>
                      <a:round/>
                      <a:headEnd type="none" w="sm" len="sm"/>
                      <a:tailEnd type="none" w="sm" len="sm"/>
                    </a:lnT>
                    <a:lnB w="12700" cap="flat" cmpd="sng" algn="ctr">
                      <a:solidFill>
                        <a:schemeClr val="bg2">
                          <a:lumMod val="20000"/>
                          <a:lumOff val="80000"/>
                        </a:schemeClr>
                      </a:solidFill>
                      <a:prstDash val="solid"/>
                      <a:round/>
                      <a:headEnd type="none" w="med" len="med"/>
                      <a:tailEnd type="none" w="med" len="med"/>
                    </a:lnB>
                    <a:solidFill>
                      <a:schemeClr val="bg2"/>
                    </a:solidFill>
                  </a:tcPr>
                </a:tc>
                <a:tc>
                  <a:txBody>
                    <a:bodyPr/>
                    <a:lstStyle/>
                    <a:p>
                      <a:pPr marL="0" marR="0" lvl="0" indent="0" algn="ctr" rtl="0">
                        <a:lnSpc>
                          <a:spcPct val="100000"/>
                        </a:lnSpc>
                        <a:spcBef>
                          <a:spcPts val="0"/>
                        </a:spcBef>
                        <a:spcAft>
                          <a:spcPts val="0"/>
                        </a:spcAft>
                        <a:buClr>
                          <a:schemeClr val="lt1"/>
                        </a:buClr>
                        <a:buSzPts val="1000"/>
                        <a:buFont typeface="Arial"/>
                        <a:buNone/>
                      </a:pPr>
                      <a:r>
                        <a:rPr lang="en" sz="1200" b="1" i="0" u="none" strike="noStrike" cap="none" dirty="0">
                          <a:solidFill>
                            <a:schemeClr val="lt1"/>
                          </a:solidFill>
                          <a:latin typeface="Arial"/>
                          <a:ea typeface="Arial"/>
                          <a:cs typeface="Arial"/>
                          <a:sym typeface="Arial"/>
                        </a:rPr>
                        <a:t>All patients (N=61)</a:t>
                      </a:r>
                      <a:endParaRPr sz="1200" b="1" i="0" u="none" strike="noStrike" cap="none" dirty="0">
                        <a:solidFill>
                          <a:schemeClr val="lt1"/>
                        </a:solidFill>
                        <a:latin typeface="Arial"/>
                        <a:ea typeface="Arial"/>
                        <a:cs typeface="Arial"/>
                        <a:sym typeface="Arial"/>
                      </a:endParaRPr>
                    </a:p>
                  </a:txBody>
                  <a:tcPr marL="109699" marR="109699" marT="54816" marB="54816" anchor="ctr">
                    <a:lnL w="9525" cap="flat" cmpd="sng" algn="ctr">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chemeClr val="dk2"/>
                      </a:solidFill>
                      <a:prstDash val="solid"/>
                      <a:round/>
                      <a:headEnd type="none" w="sm" len="sm"/>
                      <a:tailEnd type="none" w="sm" len="sm"/>
                    </a:lnT>
                    <a:lnB w="12700" cap="flat" cmpd="sng" algn="ctr">
                      <a:solidFill>
                        <a:schemeClr val="bg2">
                          <a:lumMod val="20000"/>
                          <a:lumOff val="80000"/>
                        </a:schemeClr>
                      </a:solidFill>
                      <a:prstDash val="solid"/>
                      <a:round/>
                      <a:headEnd type="none" w="med" len="med"/>
                      <a:tailEnd type="none" w="med" len="med"/>
                    </a:lnB>
                    <a:solidFill>
                      <a:schemeClr val="dk2"/>
                    </a:solidFill>
                  </a:tcPr>
                </a:tc>
                <a:extLst>
                  <a:ext uri="{0D108BD9-81ED-4DB2-BD59-A6C34878D82A}">
                    <a16:rowId xmlns:a16="http://schemas.microsoft.com/office/drawing/2014/main" val="10000"/>
                  </a:ext>
                </a:extLst>
              </a:tr>
              <a:tr h="1087590">
                <a:tc>
                  <a:txBody>
                    <a:bodyPr/>
                    <a:lstStyle/>
                    <a:p>
                      <a:pPr marL="0" marR="0" lvl="0" indent="0" algn="l" defTabSz="684560" rtl="0" eaLnBrk="1" fontAlgn="auto" latinLnBrk="0" hangingPunct="1">
                        <a:lnSpc>
                          <a:spcPct val="100000"/>
                        </a:lnSpc>
                        <a:spcBef>
                          <a:spcPts val="0"/>
                        </a:spcBef>
                        <a:spcAft>
                          <a:spcPts val="0"/>
                        </a:spcAft>
                        <a:buClr>
                          <a:srgbClr val="000000"/>
                        </a:buClr>
                        <a:buSzPts val="1000"/>
                        <a:buFont typeface="Arial"/>
                        <a:buNone/>
                        <a:tabLst/>
                        <a:defRPr/>
                      </a:pPr>
                      <a:r>
                        <a:rPr lang="en-GB" sz="1200" b="1" u="none" strike="noStrike" cap="none" dirty="0"/>
                        <a:t>Median OS</a:t>
                      </a:r>
                      <a:r>
                        <a:rPr lang="en-GB" sz="1200" b="0" u="none" strike="noStrike" cap="none" dirty="0"/>
                        <a:t>, months </a:t>
                      </a:r>
                      <a:br>
                        <a:rPr lang="en-GB" sz="1200" b="0" u="none" strike="noStrike" cap="none" dirty="0"/>
                      </a:br>
                      <a:r>
                        <a:rPr lang="en-GB" sz="1200" b="0" u="none" strike="noStrike" cap="none" dirty="0"/>
                        <a:t>(95% CI)</a:t>
                      </a:r>
                      <a:endParaRPr lang="en-GB" sz="1200" b="0" dirty="0"/>
                    </a:p>
                  </a:txBody>
                  <a:tcPr marL="109699" marR="109699" marT="54816" marB="54816" anchor="ctr">
                    <a:lnL w="9525" cap="flat" cmpd="sng">
                      <a:solidFill>
                        <a:srgbClr val="000000">
                          <a:alpha val="0"/>
                        </a:srgbClr>
                      </a:solidFill>
                      <a:prstDash val="solid"/>
                      <a:round/>
                      <a:headEnd type="none" w="sm" len="sm"/>
                      <a:tailEnd type="none" w="sm" len="sm"/>
                    </a:lnL>
                    <a:lnR w="12700" cap="flat" cmpd="sng" algn="ctr">
                      <a:solidFill>
                        <a:schemeClr val="dk2"/>
                      </a:solidFill>
                      <a:prstDash val="solid"/>
                      <a:round/>
                      <a:headEnd type="none" w="sm" len="sm"/>
                      <a:tailEnd type="none" w="sm" len="sm"/>
                    </a:lnR>
                    <a:lnT w="12700" cap="flat" cmpd="sng" algn="ctr">
                      <a:solidFill>
                        <a:schemeClr val="bg2">
                          <a:lumMod val="20000"/>
                          <a:lumOff val="80000"/>
                        </a:schemeClr>
                      </a:solidFill>
                      <a:prstDash val="solid"/>
                      <a:round/>
                      <a:headEnd type="none" w="med" len="med"/>
                      <a:tailEnd type="none" w="med" len="med"/>
                    </a:lnT>
                    <a:lnB w="12700" cap="flat" cmpd="sng">
                      <a:solidFill>
                        <a:srgbClr val="D8D8D8"/>
                      </a:solidFill>
                      <a:prstDash val="solid"/>
                      <a:round/>
                      <a:headEnd type="none" w="sm" len="sm"/>
                      <a:tailEnd type="none" w="sm" len="sm"/>
                    </a:lnB>
                  </a:tcPr>
                </a:tc>
                <a:tc>
                  <a:txBody>
                    <a:bodyPr/>
                    <a:lstStyle/>
                    <a:p>
                      <a:pPr marL="0" marR="0" lvl="0" indent="0" algn="ctr" defTabSz="684560" rtl="0" eaLnBrk="1" fontAlgn="auto" latinLnBrk="0" hangingPunct="1">
                        <a:lnSpc>
                          <a:spcPct val="100000"/>
                        </a:lnSpc>
                        <a:spcBef>
                          <a:spcPts val="0"/>
                        </a:spcBef>
                        <a:spcAft>
                          <a:spcPts val="0"/>
                        </a:spcAft>
                        <a:buClr>
                          <a:srgbClr val="000000"/>
                        </a:buClr>
                        <a:buSzPts val="1000"/>
                        <a:buFont typeface="Arial"/>
                        <a:buNone/>
                        <a:tabLst/>
                        <a:defRPr/>
                      </a:pPr>
                      <a:r>
                        <a:rPr lang="en-GB" sz="1200" b="0" dirty="0">
                          <a:solidFill>
                            <a:schemeClr val="tx1"/>
                          </a:solidFill>
                        </a:rPr>
                        <a:t>29.9 </a:t>
                      </a:r>
                      <a:br>
                        <a:rPr lang="en-GB" sz="1200" b="0" dirty="0">
                          <a:solidFill>
                            <a:schemeClr val="tx1"/>
                          </a:solidFill>
                        </a:rPr>
                      </a:br>
                      <a:r>
                        <a:rPr lang="en-GB" sz="1200" b="0" dirty="0">
                          <a:solidFill>
                            <a:schemeClr val="tx1"/>
                          </a:solidFill>
                        </a:rPr>
                        <a:t>(11.3, NE)</a:t>
                      </a:r>
                    </a:p>
                  </a:txBody>
                  <a:tcPr marL="109699" marR="109699" marT="54816" marB="54816" anchor="ctr">
                    <a:lnL w="12700" cap="flat" cmpd="sng" algn="ctr">
                      <a:solidFill>
                        <a:schemeClr val="dk2"/>
                      </a:solidFill>
                      <a:prstDash val="solid"/>
                      <a:round/>
                      <a:headEnd type="none" w="sm" len="sm"/>
                      <a:tailEnd type="none" w="sm" len="sm"/>
                    </a:lnL>
                    <a:lnR w="12700" cap="flat" cmpd="sng" algn="ctr">
                      <a:solidFill>
                        <a:schemeClr val="dk2"/>
                      </a:solidFill>
                      <a:prstDash val="solid"/>
                      <a:round/>
                      <a:headEnd type="none" w="sm" len="sm"/>
                      <a:tailEnd type="none" w="sm" len="sm"/>
                    </a:lnR>
                    <a:lnT w="12700" cap="flat" cmpd="sng" algn="ctr">
                      <a:solidFill>
                        <a:schemeClr val="bg2">
                          <a:lumMod val="20000"/>
                          <a:lumOff val="80000"/>
                        </a:schemeClr>
                      </a:solidFill>
                      <a:prstDash val="solid"/>
                      <a:round/>
                      <a:headEnd type="none" w="med" len="med"/>
                      <a:tailEnd type="none" w="med" len="med"/>
                    </a:lnT>
                    <a:lnB w="12700" cap="flat" cmpd="sng">
                      <a:solidFill>
                        <a:srgbClr val="D8D8D8"/>
                      </a:solidFill>
                      <a:prstDash val="solid"/>
                      <a:round/>
                      <a:headEnd type="none" w="sm" len="sm"/>
                      <a:tailEnd type="none" w="sm" len="sm"/>
                    </a:lnB>
                    <a:solidFill>
                      <a:schemeClr val="accent2">
                        <a:lumMod val="20000"/>
                        <a:lumOff val="80000"/>
                      </a:schemeClr>
                    </a:solidFill>
                  </a:tcPr>
                </a:tc>
                <a:tc>
                  <a:txBody>
                    <a:bodyPr/>
                    <a:lstStyle/>
                    <a:p>
                      <a:pPr marL="0" marR="0" lvl="0" indent="0" algn="ctr" defTabSz="684560" rtl="0" eaLnBrk="1" fontAlgn="auto" latinLnBrk="0" hangingPunct="1">
                        <a:lnSpc>
                          <a:spcPct val="100000"/>
                        </a:lnSpc>
                        <a:spcBef>
                          <a:spcPts val="0"/>
                        </a:spcBef>
                        <a:spcAft>
                          <a:spcPts val="0"/>
                        </a:spcAft>
                        <a:buClr>
                          <a:srgbClr val="000000"/>
                        </a:buClr>
                        <a:buSzPts val="1000"/>
                        <a:buFont typeface="Arial"/>
                        <a:buNone/>
                        <a:tabLst/>
                        <a:defRPr/>
                      </a:pPr>
                      <a:r>
                        <a:rPr lang="en-GB" sz="1200" b="0" dirty="0">
                          <a:solidFill>
                            <a:schemeClr val="tx1"/>
                          </a:solidFill>
                        </a:rPr>
                        <a:t>NE </a:t>
                      </a:r>
                      <a:br>
                        <a:rPr lang="en-GB" sz="1200" b="0" dirty="0">
                          <a:solidFill>
                            <a:schemeClr val="tx1"/>
                          </a:solidFill>
                        </a:rPr>
                      </a:br>
                      <a:r>
                        <a:rPr lang="en-GB" sz="1200" b="0" dirty="0">
                          <a:solidFill>
                            <a:schemeClr val="tx1"/>
                          </a:solidFill>
                        </a:rPr>
                        <a:t>(NE, NE)</a:t>
                      </a:r>
                    </a:p>
                  </a:txBody>
                  <a:tcPr marL="109699" marR="109699" marT="54816" marB="54816" anchor="ctr">
                    <a:lnL w="12700" cap="flat" cmpd="sng" algn="ctr">
                      <a:solidFill>
                        <a:schemeClr val="dk2"/>
                      </a:solidFill>
                      <a:prstDash val="solid"/>
                      <a:round/>
                      <a:headEnd type="none" w="sm" len="sm"/>
                      <a:tailEnd type="none" w="sm" len="sm"/>
                    </a:lnL>
                    <a:lnR w="12700" cap="flat" cmpd="sng" algn="ctr">
                      <a:solidFill>
                        <a:schemeClr val="dk2"/>
                      </a:solidFill>
                      <a:prstDash val="solid"/>
                      <a:round/>
                      <a:headEnd type="none" w="sm" len="sm"/>
                      <a:tailEnd type="none" w="sm" len="sm"/>
                    </a:lnR>
                    <a:lnT w="12700" cap="flat" cmpd="sng" algn="ctr">
                      <a:solidFill>
                        <a:schemeClr val="bg2">
                          <a:lumMod val="20000"/>
                          <a:lumOff val="80000"/>
                        </a:schemeClr>
                      </a:solidFill>
                      <a:prstDash val="solid"/>
                      <a:round/>
                      <a:headEnd type="none" w="med" len="med"/>
                      <a:tailEnd type="none" w="med" len="med"/>
                    </a:lnT>
                    <a:lnB w="12700" cap="flat" cmpd="sng">
                      <a:solidFill>
                        <a:srgbClr val="D8D8D8"/>
                      </a:solidFill>
                      <a:prstDash val="solid"/>
                      <a:round/>
                      <a:headEnd type="none" w="sm" len="sm"/>
                      <a:tailEnd type="none" w="sm" len="sm"/>
                    </a:lnB>
                    <a:solidFill>
                      <a:schemeClr val="bg2">
                        <a:lumMod val="20000"/>
                        <a:lumOff val="80000"/>
                      </a:schemeClr>
                    </a:solidFill>
                  </a:tcPr>
                </a:tc>
                <a:tc>
                  <a:txBody>
                    <a:bodyPr/>
                    <a:lstStyle/>
                    <a:p>
                      <a:pPr marL="0" marR="0" lvl="0" indent="0" algn="ctr" rtl="0">
                        <a:lnSpc>
                          <a:spcPct val="100000"/>
                        </a:lnSpc>
                        <a:spcBef>
                          <a:spcPts val="0"/>
                        </a:spcBef>
                        <a:spcAft>
                          <a:spcPts val="0"/>
                        </a:spcAft>
                        <a:buClr>
                          <a:srgbClr val="000000"/>
                        </a:buClr>
                        <a:buSzPts val="1000"/>
                        <a:buFont typeface="Arial"/>
                        <a:buNone/>
                      </a:pPr>
                      <a:r>
                        <a:rPr lang="en" sz="1200" dirty="0"/>
                        <a:t>NE </a:t>
                      </a:r>
                      <a:br>
                        <a:rPr lang="en" sz="1200" dirty="0"/>
                      </a:br>
                      <a:r>
                        <a:rPr lang="en-US" sz="1200" i="0" u="none" strike="noStrike" cap="none" dirty="0">
                          <a:latin typeface="+mn-lt"/>
                          <a:ea typeface="Arial"/>
                          <a:cs typeface="Arial"/>
                          <a:sym typeface="Arial"/>
                        </a:rPr>
                        <a:t>(</a:t>
                      </a:r>
                      <a:r>
                        <a:rPr lang="en-US" sz="1200" dirty="0"/>
                        <a:t>26.9, NE</a:t>
                      </a:r>
                      <a:r>
                        <a:rPr lang="en-US" sz="1200" i="0" u="none" strike="noStrike" cap="none" dirty="0">
                          <a:latin typeface="+mn-lt"/>
                          <a:ea typeface="Arial"/>
                          <a:cs typeface="Arial"/>
                          <a:sym typeface="Arial"/>
                        </a:rPr>
                        <a:t>)</a:t>
                      </a:r>
                      <a:endParaRPr sz="1200" dirty="0"/>
                    </a:p>
                  </a:txBody>
                  <a:tcPr marL="0" marR="0" marT="0" marB="0" anchor="ctr">
                    <a:lnL w="12700" cap="flat" cmpd="sng" algn="ctr">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lgn="ctr">
                      <a:solidFill>
                        <a:schemeClr val="bg2">
                          <a:lumMod val="20000"/>
                          <a:lumOff val="80000"/>
                        </a:schemeClr>
                      </a:solidFill>
                      <a:prstDash val="solid"/>
                      <a:round/>
                      <a:headEnd type="none" w="med" len="med"/>
                      <a:tailEnd type="none" w="med" len="med"/>
                    </a:lnT>
                    <a:lnB w="12700" cap="flat" cmpd="sng">
                      <a:solidFill>
                        <a:srgbClr val="DCDADA"/>
                      </a:solidFill>
                      <a:prstDash val="solid"/>
                      <a:round/>
                      <a:headEnd type="none" w="sm" len="sm"/>
                      <a:tailEnd type="none" w="sm" len="sm"/>
                    </a:lnB>
                    <a:solidFill>
                      <a:schemeClr val="tx2">
                        <a:lumMod val="20000"/>
                        <a:lumOff val="80000"/>
                      </a:schemeClr>
                    </a:solidFill>
                  </a:tcPr>
                </a:tc>
                <a:extLst>
                  <a:ext uri="{0D108BD9-81ED-4DB2-BD59-A6C34878D82A}">
                    <a16:rowId xmlns:a16="http://schemas.microsoft.com/office/drawing/2014/main" val="1963069303"/>
                  </a:ext>
                </a:extLst>
              </a:tr>
            </a:tbl>
          </a:graphicData>
        </a:graphic>
      </p:graphicFrame>
      <p:sp>
        <p:nvSpPr>
          <p:cNvPr id="11" name="Google Shape;270;p27">
            <a:extLst>
              <a:ext uri="{FF2B5EF4-FFF2-40B4-BE49-F238E27FC236}">
                <a16:creationId xmlns:a16="http://schemas.microsoft.com/office/drawing/2014/main" id="{0D6CA06A-A1B1-BBB4-DC8E-8B46028B1AC3}"/>
              </a:ext>
            </a:extLst>
          </p:cNvPr>
          <p:cNvSpPr/>
          <p:nvPr/>
        </p:nvSpPr>
        <p:spPr>
          <a:xfrm>
            <a:off x="539352" y="1393867"/>
            <a:ext cx="6862936" cy="3901060"/>
          </a:xfrm>
          <a:prstGeom prst="rect">
            <a:avLst/>
          </a:prstGeom>
          <a:noFill/>
          <a:ln w="12700" cap="flat" cmpd="sng">
            <a:solidFill>
              <a:schemeClr val="dk2"/>
            </a:solidFill>
            <a:prstDash val="solid"/>
            <a:round/>
            <a:headEnd type="none" w="sm" len="sm"/>
            <a:tailEnd type="none" w="sm" len="sm"/>
          </a:ln>
        </p:spPr>
        <p:txBody>
          <a:bodyPr spcFirstLastPara="1" wrap="square" lIns="121862" tIns="60915" rIns="121862" bIns="60915" anchor="ctr" anchorCtr="0">
            <a:noAutofit/>
          </a:bodyPr>
          <a:lstStyle/>
          <a:p>
            <a:pPr marL="0" marR="0" lvl="0" indent="0" algn="ctr" defTabSz="914400" rtl="0" eaLnBrk="0" fontAlgn="base" latinLnBrk="0" hangingPunct="0">
              <a:lnSpc>
                <a:spcPct val="100000"/>
              </a:lnSpc>
              <a:spcBef>
                <a:spcPts val="0"/>
              </a:spcBef>
              <a:spcAft>
                <a:spcPts val="0"/>
              </a:spcAft>
              <a:buClr>
                <a:srgbClr val="FFFFFF"/>
              </a:buClr>
              <a:buSzPts val="1600"/>
              <a:buFontTx/>
              <a:buNone/>
              <a:tabLst/>
              <a:defRPr/>
            </a:pPr>
            <a:endParaRPr kumimoji="0" sz="2133" b="0" i="1"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12" name="Google Shape;260;p27">
            <a:extLst>
              <a:ext uri="{FF2B5EF4-FFF2-40B4-BE49-F238E27FC236}">
                <a16:creationId xmlns:a16="http://schemas.microsoft.com/office/drawing/2014/main" id="{CB352EE9-D6FF-FF7C-7847-92CDD2F8B949}"/>
              </a:ext>
            </a:extLst>
          </p:cNvPr>
          <p:cNvSpPr/>
          <p:nvPr/>
        </p:nvSpPr>
        <p:spPr>
          <a:xfrm>
            <a:off x="547816" y="1365627"/>
            <a:ext cx="6854471" cy="331098"/>
          </a:xfrm>
          <a:prstGeom prst="round1Rect">
            <a:avLst>
              <a:gd name="adj" fmla="val 16667"/>
            </a:avLst>
          </a:prstGeom>
          <a:solidFill>
            <a:schemeClr val="dk2"/>
          </a:solidFill>
          <a:ln w="25400" cap="flat" cmpd="sng">
            <a:solidFill>
              <a:schemeClr val="dk2"/>
            </a:solidFill>
            <a:prstDash val="solid"/>
            <a:round/>
            <a:headEnd type="none" w="sm" len="sm"/>
            <a:tailEnd type="none" w="sm" len="sm"/>
          </a:ln>
        </p:spPr>
        <p:txBody>
          <a:bodyPr spcFirstLastPara="1" wrap="square" lIns="121862" tIns="60915" rIns="121862" bIns="60915" anchor="ctr" anchorCtr="0">
            <a:noAutofit/>
          </a:bodyPr>
          <a:lstStyle/>
          <a:p>
            <a:pPr marL="0" marR="0" lvl="0" indent="0" algn="ctr" defTabSz="914400" rtl="0" eaLnBrk="0" fontAlgn="base" latinLnBrk="0" hangingPunct="0">
              <a:lnSpc>
                <a:spcPct val="100000"/>
              </a:lnSpc>
              <a:spcBef>
                <a:spcPts val="0"/>
              </a:spcBef>
              <a:spcAft>
                <a:spcPts val="0"/>
              </a:spcAft>
              <a:buClr>
                <a:srgbClr val="FFFFFF"/>
              </a:buClr>
              <a:buSzPts val="1200"/>
              <a:buFontTx/>
              <a:buNone/>
              <a:tabLst/>
              <a:defRPr/>
            </a:pPr>
            <a:r>
              <a:rPr kumimoji="0" lang="en" sz="1599" b="1" i="0" u="none" strike="noStrike" kern="1200" cap="none" spc="0" normalizeH="0" baseline="0" noProof="0" dirty="0">
                <a:ln>
                  <a:noFill/>
                </a:ln>
                <a:solidFill>
                  <a:srgbClr val="FFFFFF"/>
                </a:solidFill>
                <a:effectLst/>
                <a:uLnTx/>
                <a:uFillTx/>
                <a:latin typeface="Arial"/>
                <a:ea typeface="Arial"/>
                <a:cs typeface="Arial"/>
                <a:sym typeface="Arial"/>
              </a:rPr>
              <a:t>OS*</a:t>
            </a:r>
            <a:endParaRPr kumimoji="0" sz="1599" b="1" i="0" u="none" strike="noStrike" kern="1200" cap="none" spc="0" normalizeH="0" baseline="0" noProof="0" dirty="0">
              <a:ln>
                <a:noFill/>
              </a:ln>
              <a:solidFill>
                <a:srgbClr val="FFFFFF"/>
              </a:solidFill>
              <a:effectLst/>
              <a:uLnTx/>
              <a:uFillTx/>
              <a:latin typeface="Arial"/>
              <a:ea typeface="Arial"/>
              <a:cs typeface="Arial"/>
              <a:sym typeface="Arial"/>
            </a:endParaRPr>
          </a:p>
        </p:txBody>
      </p:sp>
      <p:grpSp>
        <p:nvGrpSpPr>
          <p:cNvPr id="1673" name="Group 1672">
            <a:extLst>
              <a:ext uri="{FF2B5EF4-FFF2-40B4-BE49-F238E27FC236}">
                <a16:creationId xmlns:a16="http://schemas.microsoft.com/office/drawing/2014/main" id="{B471F64E-6C13-AD28-570A-6A1767E04267}"/>
              </a:ext>
            </a:extLst>
          </p:cNvPr>
          <p:cNvGrpSpPr/>
          <p:nvPr/>
        </p:nvGrpSpPr>
        <p:grpSpPr>
          <a:xfrm>
            <a:off x="539351" y="1733304"/>
            <a:ext cx="6812032" cy="3568047"/>
            <a:chOff x="532138" y="1179583"/>
            <a:chExt cx="4844207" cy="2778031"/>
          </a:xfrm>
        </p:grpSpPr>
        <p:grpSp>
          <p:nvGrpSpPr>
            <p:cNvPr id="1369" name="Graphic 4">
              <a:extLst>
                <a:ext uri="{FF2B5EF4-FFF2-40B4-BE49-F238E27FC236}">
                  <a16:creationId xmlns:a16="http://schemas.microsoft.com/office/drawing/2014/main" id="{D26D7C1E-826A-8824-535F-851A43F0BBCA}"/>
                </a:ext>
              </a:extLst>
            </p:cNvPr>
            <p:cNvGrpSpPr/>
            <p:nvPr/>
          </p:nvGrpSpPr>
          <p:grpSpPr>
            <a:xfrm>
              <a:off x="1088914" y="1222097"/>
              <a:ext cx="292052" cy="2052819"/>
              <a:chOff x="4351536" y="1354479"/>
              <a:chExt cx="292052" cy="2052819"/>
            </a:xfrm>
            <a:solidFill>
              <a:srgbClr val="000000"/>
            </a:solidFill>
          </p:grpSpPr>
          <p:sp>
            <p:nvSpPr>
              <p:cNvPr id="1370" name="TextBox 1369">
                <a:extLst>
                  <a:ext uri="{FF2B5EF4-FFF2-40B4-BE49-F238E27FC236}">
                    <a16:creationId xmlns:a16="http://schemas.microsoft.com/office/drawing/2014/main" id="{59CFEB00-4E07-2A84-2FD2-34D6C07F8884}"/>
                  </a:ext>
                </a:extLst>
              </p:cNvPr>
              <p:cNvSpPr txBox="1"/>
              <p:nvPr/>
            </p:nvSpPr>
            <p:spPr>
              <a:xfrm>
                <a:off x="4351536" y="1354479"/>
                <a:ext cx="292052" cy="199592"/>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00</a:t>
                </a:r>
              </a:p>
            </p:txBody>
          </p:sp>
          <p:sp>
            <p:nvSpPr>
              <p:cNvPr id="1371" name="TextBox 1370">
                <a:extLst>
                  <a:ext uri="{FF2B5EF4-FFF2-40B4-BE49-F238E27FC236}">
                    <a16:creationId xmlns:a16="http://schemas.microsoft.com/office/drawing/2014/main" id="{F0E47C21-F291-4450-4908-E5D0FF45F668}"/>
                  </a:ext>
                </a:extLst>
              </p:cNvPr>
              <p:cNvSpPr txBox="1"/>
              <p:nvPr/>
            </p:nvSpPr>
            <p:spPr>
              <a:xfrm>
                <a:off x="4403919" y="1723851"/>
                <a:ext cx="238474" cy="199592"/>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80</a:t>
                </a:r>
              </a:p>
            </p:txBody>
          </p:sp>
          <p:sp>
            <p:nvSpPr>
              <p:cNvPr id="1372" name="TextBox 1371">
                <a:extLst>
                  <a:ext uri="{FF2B5EF4-FFF2-40B4-BE49-F238E27FC236}">
                    <a16:creationId xmlns:a16="http://schemas.microsoft.com/office/drawing/2014/main" id="{ECC1CDF2-E422-6C3D-6550-D14CFACCFE46}"/>
                  </a:ext>
                </a:extLst>
              </p:cNvPr>
              <p:cNvSpPr txBox="1"/>
              <p:nvPr/>
            </p:nvSpPr>
            <p:spPr>
              <a:xfrm>
                <a:off x="4403919" y="2099591"/>
                <a:ext cx="238474" cy="199592"/>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60</a:t>
                </a:r>
              </a:p>
            </p:txBody>
          </p:sp>
          <p:sp>
            <p:nvSpPr>
              <p:cNvPr id="1373" name="TextBox 1372">
                <a:extLst>
                  <a:ext uri="{FF2B5EF4-FFF2-40B4-BE49-F238E27FC236}">
                    <a16:creationId xmlns:a16="http://schemas.microsoft.com/office/drawing/2014/main" id="{2744A9C3-AEB2-8D07-4466-CFB117B0DC60}"/>
                  </a:ext>
                </a:extLst>
              </p:cNvPr>
              <p:cNvSpPr txBox="1"/>
              <p:nvPr/>
            </p:nvSpPr>
            <p:spPr>
              <a:xfrm>
                <a:off x="4403919" y="2468963"/>
                <a:ext cx="238474" cy="199592"/>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0</a:t>
                </a:r>
              </a:p>
            </p:txBody>
          </p:sp>
          <p:sp>
            <p:nvSpPr>
              <p:cNvPr id="1374" name="TextBox 1373">
                <a:extLst>
                  <a:ext uri="{FF2B5EF4-FFF2-40B4-BE49-F238E27FC236}">
                    <a16:creationId xmlns:a16="http://schemas.microsoft.com/office/drawing/2014/main" id="{9DD8C9F8-CB93-F16B-D4F0-F27E656A9BE5}"/>
                  </a:ext>
                </a:extLst>
              </p:cNvPr>
              <p:cNvSpPr txBox="1"/>
              <p:nvPr/>
            </p:nvSpPr>
            <p:spPr>
              <a:xfrm>
                <a:off x="4403919" y="2838335"/>
                <a:ext cx="238474" cy="199592"/>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0</a:t>
                </a:r>
              </a:p>
            </p:txBody>
          </p:sp>
          <p:sp>
            <p:nvSpPr>
              <p:cNvPr id="1375" name="TextBox 1374">
                <a:extLst>
                  <a:ext uri="{FF2B5EF4-FFF2-40B4-BE49-F238E27FC236}">
                    <a16:creationId xmlns:a16="http://schemas.microsoft.com/office/drawing/2014/main" id="{67B4852B-C93B-56A8-FEB7-C1C747A9DE58}"/>
                  </a:ext>
                </a:extLst>
              </p:cNvPr>
              <p:cNvSpPr txBox="1"/>
              <p:nvPr/>
            </p:nvSpPr>
            <p:spPr>
              <a:xfrm>
                <a:off x="4456300" y="3207706"/>
                <a:ext cx="184898" cy="199592"/>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0</a:t>
                </a:r>
              </a:p>
            </p:txBody>
          </p:sp>
        </p:grpSp>
        <p:sp>
          <p:nvSpPr>
            <p:cNvPr id="1376" name="TextBox 1375">
              <a:extLst>
                <a:ext uri="{FF2B5EF4-FFF2-40B4-BE49-F238E27FC236}">
                  <a16:creationId xmlns:a16="http://schemas.microsoft.com/office/drawing/2014/main" id="{762C397C-8703-0154-A08A-F747854CE948}"/>
                </a:ext>
              </a:extLst>
            </p:cNvPr>
            <p:cNvSpPr txBox="1"/>
            <p:nvPr/>
          </p:nvSpPr>
          <p:spPr>
            <a:xfrm>
              <a:off x="2908852" y="3338517"/>
              <a:ext cx="799323"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Time (months)</a:t>
              </a:r>
            </a:p>
          </p:txBody>
        </p:sp>
        <p:sp>
          <p:nvSpPr>
            <p:cNvPr id="1377" name="TextBox 1376">
              <a:extLst>
                <a:ext uri="{FF2B5EF4-FFF2-40B4-BE49-F238E27FC236}">
                  <a16:creationId xmlns:a16="http://schemas.microsoft.com/office/drawing/2014/main" id="{3CFB2619-4E5B-8D00-485B-97DB95783C28}"/>
                </a:ext>
              </a:extLst>
            </p:cNvPr>
            <p:cNvSpPr txBox="1"/>
            <p:nvPr/>
          </p:nvSpPr>
          <p:spPr>
            <a:xfrm rot="16200000">
              <a:off x="473526" y="2165348"/>
              <a:ext cx="1064858" cy="18229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OS probability (%)</a:t>
              </a:r>
            </a:p>
          </p:txBody>
        </p:sp>
        <p:grpSp>
          <p:nvGrpSpPr>
            <p:cNvPr id="1378" name="Graphic 4">
              <a:extLst>
                <a:ext uri="{FF2B5EF4-FFF2-40B4-BE49-F238E27FC236}">
                  <a16:creationId xmlns:a16="http://schemas.microsoft.com/office/drawing/2014/main" id="{4BE60459-2C81-0B03-4F0D-0F0FBCF352BB}"/>
                </a:ext>
              </a:extLst>
            </p:cNvPr>
            <p:cNvGrpSpPr/>
            <p:nvPr/>
          </p:nvGrpSpPr>
          <p:grpSpPr>
            <a:xfrm>
              <a:off x="1310919" y="1330304"/>
              <a:ext cx="31756" cy="1853227"/>
              <a:chOff x="4573541" y="1456423"/>
              <a:chExt cx="31756" cy="1853227"/>
            </a:xfrm>
          </p:grpSpPr>
          <p:sp>
            <p:nvSpPr>
              <p:cNvPr id="1379" name="Freeform 1712">
                <a:extLst>
                  <a:ext uri="{FF2B5EF4-FFF2-40B4-BE49-F238E27FC236}">
                    <a16:creationId xmlns:a16="http://schemas.microsoft.com/office/drawing/2014/main" id="{7351A240-A94B-1181-F8C1-D9EAE333901D}"/>
                  </a:ext>
                </a:extLst>
              </p:cNvPr>
              <p:cNvSpPr/>
              <p:nvPr/>
            </p:nvSpPr>
            <p:spPr>
              <a:xfrm>
                <a:off x="4573541" y="1456423"/>
                <a:ext cx="31756" cy="12736"/>
              </a:xfrm>
              <a:custGeom>
                <a:avLst/>
                <a:gdLst>
                  <a:gd name="connsiteX0" fmla="*/ 0 w 31756"/>
                  <a:gd name="connsiteY0" fmla="*/ 0 h 12736"/>
                  <a:gd name="connsiteX1" fmla="*/ 31756 w 31756"/>
                  <a:gd name="connsiteY1" fmla="*/ 0 h 12736"/>
                </a:gdLst>
                <a:ahLst/>
                <a:cxnLst>
                  <a:cxn ang="0">
                    <a:pos x="connsiteX0" y="connsiteY0"/>
                  </a:cxn>
                  <a:cxn ang="0">
                    <a:pos x="connsiteX1" y="connsiteY1"/>
                  </a:cxn>
                </a:cxnLst>
                <a:rect l="l" t="t" r="r" b="b"/>
                <a:pathLst>
                  <a:path w="31756" h="12736">
                    <a:moveTo>
                      <a:pt x="0" y="0"/>
                    </a:moveTo>
                    <a:lnTo>
                      <a:pt x="31756" y="0"/>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380" name="Freeform 1713">
                <a:extLst>
                  <a:ext uri="{FF2B5EF4-FFF2-40B4-BE49-F238E27FC236}">
                    <a16:creationId xmlns:a16="http://schemas.microsoft.com/office/drawing/2014/main" id="{A71BA642-E8F6-7EFA-FD60-1D56DBB2F316}"/>
                  </a:ext>
                </a:extLst>
              </p:cNvPr>
              <p:cNvSpPr/>
              <p:nvPr/>
            </p:nvSpPr>
            <p:spPr>
              <a:xfrm>
                <a:off x="4573541" y="1825794"/>
                <a:ext cx="31756" cy="12736"/>
              </a:xfrm>
              <a:custGeom>
                <a:avLst/>
                <a:gdLst>
                  <a:gd name="connsiteX0" fmla="*/ 0 w 31756"/>
                  <a:gd name="connsiteY0" fmla="*/ 0 h 12736"/>
                  <a:gd name="connsiteX1" fmla="*/ 31756 w 31756"/>
                  <a:gd name="connsiteY1" fmla="*/ 0 h 12736"/>
                </a:gdLst>
                <a:ahLst/>
                <a:cxnLst>
                  <a:cxn ang="0">
                    <a:pos x="connsiteX0" y="connsiteY0"/>
                  </a:cxn>
                  <a:cxn ang="0">
                    <a:pos x="connsiteX1" y="connsiteY1"/>
                  </a:cxn>
                </a:cxnLst>
                <a:rect l="l" t="t" r="r" b="b"/>
                <a:pathLst>
                  <a:path w="31756" h="12736">
                    <a:moveTo>
                      <a:pt x="0" y="0"/>
                    </a:moveTo>
                    <a:lnTo>
                      <a:pt x="31756" y="0"/>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381" name="Freeform 1714">
                <a:extLst>
                  <a:ext uri="{FF2B5EF4-FFF2-40B4-BE49-F238E27FC236}">
                    <a16:creationId xmlns:a16="http://schemas.microsoft.com/office/drawing/2014/main" id="{C6D38F7A-BF4E-A4DD-9467-E920FA45C1AB}"/>
                  </a:ext>
                </a:extLst>
              </p:cNvPr>
              <p:cNvSpPr/>
              <p:nvPr/>
            </p:nvSpPr>
            <p:spPr>
              <a:xfrm>
                <a:off x="4573541" y="2201535"/>
                <a:ext cx="31756" cy="12736"/>
              </a:xfrm>
              <a:custGeom>
                <a:avLst/>
                <a:gdLst>
                  <a:gd name="connsiteX0" fmla="*/ 0 w 31756"/>
                  <a:gd name="connsiteY0" fmla="*/ 0 h 12736"/>
                  <a:gd name="connsiteX1" fmla="*/ 31756 w 31756"/>
                  <a:gd name="connsiteY1" fmla="*/ 0 h 12736"/>
                </a:gdLst>
                <a:ahLst/>
                <a:cxnLst>
                  <a:cxn ang="0">
                    <a:pos x="connsiteX0" y="connsiteY0"/>
                  </a:cxn>
                  <a:cxn ang="0">
                    <a:pos x="connsiteX1" y="connsiteY1"/>
                  </a:cxn>
                </a:cxnLst>
                <a:rect l="l" t="t" r="r" b="b"/>
                <a:pathLst>
                  <a:path w="31756" h="12736">
                    <a:moveTo>
                      <a:pt x="0" y="0"/>
                    </a:moveTo>
                    <a:lnTo>
                      <a:pt x="31756" y="0"/>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382" name="Freeform 1715">
                <a:extLst>
                  <a:ext uri="{FF2B5EF4-FFF2-40B4-BE49-F238E27FC236}">
                    <a16:creationId xmlns:a16="http://schemas.microsoft.com/office/drawing/2014/main" id="{143B6B5A-66ED-EC97-B225-1F3993F1F610}"/>
                  </a:ext>
                </a:extLst>
              </p:cNvPr>
              <p:cNvSpPr/>
              <p:nvPr/>
            </p:nvSpPr>
            <p:spPr>
              <a:xfrm>
                <a:off x="4573541" y="2570906"/>
                <a:ext cx="31756" cy="12736"/>
              </a:xfrm>
              <a:custGeom>
                <a:avLst/>
                <a:gdLst>
                  <a:gd name="connsiteX0" fmla="*/ 0 w 31756"/>
                  <a:gd name="connsiteY0" fmla="*/ 0 h 12736"/>
                  <a:gd name="connsiteX1" fmla="*/ 31756 w 31756"/>
                  <a:gd name="connsiteY1" fmla="*/ 0 h 12736"/>
                </a:gdLst>
                <a:ahLst/>
                <a:cxnLst>
                  <a:cxn ang="0">
                    <a:pos x="connsiteX0" y="connsiteY0"/>
                  </a:cxn>
                  <a:cxn ang="0">
                    <a:pos x="connsiteX1" y="connsiteY1"/>
                  </a:cxn>
                </a:cxnLst>
                <a:rect l="l" t="t" r="r" b="b"/>
                <a:pathLst>
                  <a:path w="31756" h="12736">
                    <a:moveTo>
                      <a:pt x="0" y="0"/>
                    </a:moveTo>
                    <a:lnTo>
                      <a:pt x="31756" y="0"/>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383" name="Freeform 1716">
                <a:extLst>
                  <a:ext uri="{FF2B5EF4-FFF2-40B4-BE49-F238E27FC236}">
                    <a16:creationId xmlns:a16="http://schemas.microsoft.com/office/drawing/2014/main" id="{718C0BF7-13C5-A80E-403F-E6148894F454}"/>
                  </a:ext>
                </a:extLst>
              </p:cNvPr>
              <p:cNvSpPr/>
              <p:nvPr/>
            </p:nvSpPr>
            <p:spPr>
              <a:xfrm>
                <a:off x="4573541" y="2940278"/>
                <a:ext cx="31756" cy="12736"/>
              </a:xfrm>
              <a:custGeom>
                <a:avLst/>
                <a:gdLst>
                  <a:gd name="connsiteX0" fmla="*/ 0 w 31756"/>
                  <a:gd name="connsiteY0" fmla="*/ 0 h 12736"/>
                  <a:gd name="connsiteX1" fmla="*/ 31756 w 31756"/>
                  <a:gd name="connsiteY1" fmla="*/ 0 h 12736"/>
                </a:gdLst>
                <a:ahLst/>
                <a:cxnLst>
                  <a:cxn ang="0">
                    <a:pos x="connsiteX0" y="connsiteY0"/>
                  </a:cxn>
                  <a:cxn ang="0">
                    <a:pos x="connsiteX1" y="connsiteY1"/>
                  </a:cxn>
                </a:cxnLst>
                <a:rect l="l" t="t" r="r" b="b"/>
                <a:pathLst>
                  <a:path w="31756" h="12736">
                    <a:moveTo>
                      <a:pt x="0" y="0"/>
                    </a:moveTo>
                    <a:lnTo>
                      <a:pt x="31756" y="0"/>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384" name="Freeform 1717">
                <a:extLst>
                  <a:ext uri="{FF2B5EF4-FFF2-40B4-BE49-F238E27FC236}">
                    <a16:creationId xmlns:a16="http://schemas.microsoft.com/office/drawing/2014/main" id="{24352479-179B-D7ED-62A8-720880B8D1A1}"/>
                  </a:ext>
                </a:extLst>
              </p:cNvPr>
              <p:cNvSpPr/>
              <p:nvPr/>
            </p:nvSpPr>
            <p:spPr>
              <a:xfrm>
                <a:off x="4573541" y="3309650"/>
                <a:ext cx="31756" cy="12736"/>
              </a:xfrm>
              <a:custGeom>
                <a:avLst/>
                <a:gdLst>
                  <a:gd name="connsiteX0" fmla="*/ 0 w 31756"/>
                  <a:gd name="connsiteY0" fmla="*/ 0 h 12736"/>
                  <a:gd name="connsiteX1" fmla="*/ 31756 w 31756"/>
                  <a:gd name="connsiteY1" fmla="*/ 0 h 12736"/>
                </a:gdLst>
                <a:ahLst/>
                <a:cxnLst>
                  <a:cxn ang="0">
                    <a:pos x="connsiteX0" y="connsiteY0"/>
                  </a:cxn>
                  <a:cxn ang="0">
                    <a:pos x="connsiteX1" y="connsiteY1"/>
                  </a:cxn>
                </a:cxnLst>
                <a:rect l="l" t="t" r="r" b="b"/>
                <a:pathLst>
                  <a:path w="31756" h="12736">
                    <a:moveTo>
                      <a:pt x="0" y="0"/>
                    </a:moveTo>
                    <a:lnTo>
                      <a:pt x="31756" y="0"/>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385" name="Graphic 4">
              <a:extLst>
                <a:ext uri="{FF2B5EF4-FFF2-40B4-BE49-F238E27FC236}">
                  <a16:creationId xmlns:a16="http://schemas.microsoft.com/office/drawing/2014/main" id="{AE114836-C4DF-CEE5-055F-6859541B8B6B}"/>
                </a:ext>
              </a:extLst>
            </p:cNvPr>
            <p:cNvGrpSpPr/>
            <p:nvPr/>
          </p:nvGrpSpPr>
          <p:grpSpPr>
            <a:xfrm>
              <a:off x="1252028" y="3185674"/>
              <a:ext cx="4111989" cy="199592"/>
              <a:chOff x="4514650" y="3311793"/>
              <a:chExt cx="4111989" cy="199592"/>
            </a:xfrm>
            <a:solidFill>
              <a:srgbClr val="000000"/>
            </a:solidFill>
          </p:grpSpPr>
          <p:sp>
            <p:nvSpPr>
              <p:cNvPr id="1386" name="TextBox 1385">
                <a:extLst>
                  <a:ext uri="{FF2B5EF4-FFF2-40B4-BE49-F238E27FC236}">
                    <a16:creationId xmlns:a16="http://schemas.microsoft.com/office/drawing/2014/main" id="{877D074D-18C1-0FD5-1DEE-11DD69720773}"/>
                  </a:ext>
                </a:extLst>
              </p:cNvPr>
              <p:cNvSpPr txBox="1"/>
              <p:nvPr/>
            </p:nvSpPr>
            <p:spPr>
              <a:xfrm>
                <a:off x="4514650" y="3311793"/>
                <a:ext cx="184898"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0</a:t>
                </a:r>
              </a:p>
            </p:txBody>
          </p:sp>
          <p:sp>
            <p:nvSpPr>
              <p:cNvPr id="1387" name="TextBox 1386">
                <a:extLst>
                  <a:ext uri="{FF2B5EF4-FFF2-40B4-BE49-F238E27FC236}">
                    <a16:creationId xmlns:a16="http://schemas.microsoft.com/office/drawing/2014/main" id="{6B3C21E2-0247-0615-B04C-018CDC5E323B}"/>
                  </a:ext>
                </a:extLst>
              </p:cNvPr>
              <p:cNvSpPr txBox="1"/>
              <p:nvPr/>
            </p:nvSpPr>
            <p:spPr>
              <a:xfrm>
                <a:off x="4692332" y="3311793"/>
                <a:ext cx="184898"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a:t>
                </a:r>
              </a:p>
            </p:txBody>
          </p:sp>
          <p:sp>
            <p:nvSpPr>
              <p:cNvPr id="1388" name="TextBox 1387">
                <a:extLst>
                  <a:ext uri="{FF2B5EF4-FFF2-40B4-BE49-F238E27FC236}">
                    <a16:creationId xmlns:a16="http://schemas.microsoft.com/office/drawing/2014/main" id="{17CFE418-944C-9EAF-D850-365BB37ED8F5}"/>
                  </a:ext>
                </a:extLst>
              </p:cNvPr>
              <p:cNvSpPr txBox="1"/>
              <p:nvPr/>
            </p:nvSpPr>
            <p:spPr>
              <a:xfrm>
                <a:off x="4870383" y="3311793"/>
                <a:ext cx="184898"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6</a:t>
                </a:r>
              </a:p>
            </p:txBody>
          </p:sp>
          <p:sp>
            <p:nvSpPr>
              <p:cNvPr id="1389" name="TextBox 1388">
                <a:extLst>
                  <a:ext uri="{FF2B5EF4-FFF2-40B4-BE49-F238E27FC236}">
                    <a16:creationId xmlns:a16="http://schemas.microsoft.com/office/drawing/2014/main" id="{8631904B-5A8B-2FD7-E002-7AE3644F7513}"/>
                  </a:ext>
                </a:extLst>
              </p:cNvPr>
              <p:cNvSpPr txBox="1"/>
              <p:nvPr/>
            </p:nvSpPr>
            <p:spPr>
              <a:xfrm>
                <a:off x="5047949" y="3311793"/>
                <a:ext cx="184898"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9</a:t>
                </a:r>
              </a:p>
            </p:txBody>
          </p:sp>
          <p:sp>
            <p:nvSpPr>
              <p:cNvPr id="1390" name="TextBox 1389">
                <a:extLst>
                  <a:ext uri="{FF2B5EF4-FFF2-40B4-BE49-F238E27FC236}">
                    <a16:creationId xmlns:a16="http://schemas.microsoft.com/office/drawing/2014/main" id="{0C11D1FD-85F4-BBB5-54E9-BE967ECAC252}"/>
                  </a:ext>
                </a:extLst>
              </p:cNvPr>
              <p:cNvSpPr txBox="1"/>
              <p:nvPr/>
            </p:nvSpPr>
            <p:spPr>
              <a:xfrm>
                <a:off x="5373876" y="3311793"/>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5</a:t>
                </a:r>
              </a:p>
            </p:txBody>
          </p:sp>
          <p:sp>
            <p:nvSpPr>
              <p:cNvPr id="1391" name="TextBox 1390">
                <a:extLst>
                  <a:ext uri="{FF2B5EF4-FFF2-40B4-BE49-F238E27FC236}">
                    <a16:creationId xmlns:a16="http://schemas.microsoft.com/office/drawing/2014/main" id="{71732F8C-2081-C06C-1087-6F2376554115}"/>
                  </a:ext>
                </a:extLst>
              </p:cNvPr>
              <p:cNvSpPr txBox="1"/>
              <p:nvPr/>
            </p:nvSpPr>
            <p:spPr>
              <a:xfrm>
                <a:off x="5551914" y="3311793"/>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8</a:t>
                </a:r>
              </a:p>
            </p:txBody>
          </p:sp>
          <p:sp>
            <p:nvSpPr>
              <p:cNvPr id="1392" name="TextBox 1391">
                <a:extLst>
                  <a:ext uri="{FF2B5EF4-FFF2-40B4-BE49-F238E27FC236}">
                    <a16:creationId xmlns:a16="http://schemas.microsoft.com/office/drawing/2014/main" id="{642A9AC1-4A1E-0830-77F0-B47DDF294246}"/>
                  </a:ext>
                </a:extLst>
              </p:cNvPr>
              <p:cNvSpPr txBox="1"/>
              <p:nvPr/>
            </p:nvSpPr>
            <p:spPr>
              <a:xfrm>
                <a:off x="5740875" y="3311793"/>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1</a:t>
                </a:r>
              </a:p>
            </p:txBody>
          </p:sp>
          <p:sp>
            <p:nvSpPr>
              <p:cNvPr id="1393" name="TextBox 1392">
                <a:extLst>
                  <a:ext uri="{FF2B5EF4-FFF2-40B4-BE49-F238E27FC236}">
                    <a16:creationId xmlns:a16="http://schemas.microsoft.com/office/drawing/2014/main" id="{16453099-2198-0009-2351-B9EA6752C654}"/>
                  </a:ext>
                </a:extLst>
              </p:cNvPr>
              <p:cNvSpPr txBox="1"/>
              <p:nvPr/>
            </p:nvSpPr>
            <p:spPr>
              <a:xfrm>
                <a:off x="5911799" y="3311793"/>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4</a:t>
                </a:r>
              </a:p>
            </p:txBody>
          </p:sp>
          <p:sp>
            <p:nvSpPr>
              <p:cNvPr id="1394" name="TextBox 1393">
                <a:extLst>
                  <a:ext uri="{FF2B5EF4-FFF2-40B4-BE49-F238E27FC236}">
                    <a16:creationId xmlns:a16="http://schemas.microsoft.com/office/drawing/2014/main" id="{102F585E-9AD9-71A5-72D2-932116DD38DF}"/>
                  </a:ext>
                </a:extLst>
              </p:cNvPr>
              <p:cNvSpPr txBox="1"/>
              <p:nvPr/>
            </p:nvSpPr>
            <p:spPr>
              <a:xfrm>
                <a:off x="6083181" y="3311793"/>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7</a:t>
                </a:r>
              </a:p>
            </p:txBody>
          </p:sp>
          <p:sp>
            <p:nvSpPr>
              <p:cNvPr id="1395" name="TextBox 1394">
                <a:extLst>
                  <a:ext uri="{FF2B5EF4-FFF2-40B4-BE49-F238E27FC236}">
                    <a16:creationId xmlns:a16="http://schemas.microsoft.com/office/drawing/2014/main" id="{3E3EF7E0-2F81-ACE2-199E-D5BBAFBE1982}"/>
                  </a:ext>
                </a:extLst>
              </p:cNvPr>
              <p:cNvSpPr txBox="1"/>
              <p:nvPr/>
            </p:nvSpPr>
            <p:spPr>
              <a:xfrm>
                <a:off x="6260456" y="3311793"/>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0</a:t>
                </a:r>
              </a:p>
            </p:txBody>
          </p:sp>
          <p:sp>
            <p:nvSpPr>
              <p:cNvPr id="1396" name="TextBox 1395">
                <a:extLst>
                  <a:ext uri="{FF2B5EF4-FFF2-40B4-BE49-F238E27FC236}">
                    <a16:creationId xmlns:a16="http://schemas.microsoft.com/office/drawing/2014/main" id="{F2F08A04-8C1F-4507-D1FE-3312F440F16D}"/>
                  </a:ext>
                </a:extLst>
              </p:cNvPr>
              <p:cNvSpPr txBox="1"/>
              <p:nvPr/>
            </p:nvSpPr>
            <p:spPr>
              <a:xfrm>
                <a:off x="6438138" y="3311793"/>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3</a:t>
                </a:r>
              </a:p>
            </p:txBody>
          </p:sp>
          <p:sp>
            <p:nvSpPr>
              <p:cNvPr id="1397" name="TextBox 1396">
                <a:extLst>
                  <a:ext uri="{FF2B5EF4-FFF2-40B4-BE49-F238E27FC236}">
                    <a16:creationId xmlns:a16="http://schemas.microsoft.com/office/drawing/2014/main" id="{9DDD838C-ECF7-A103-3A10-572E97F1E5EF}"/>
                  </a:ext>
                </a:extLst>
              </p:cNvPr>
              <p:cNvSpPr txBox="1"/>
              <p:nvPr/>
            </p:nvSpPr>
            <p:spPr>
              <a:xfrm>
                <a:off x="6615972" y="3311793"/>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6</a:t>
                </a:r>
              </a:p>
            </p:txBody>
          </p:sp>
          <p:sp>
            <p:nvSpPr>
              <p:cNvPr id="1398" name="TextBox 1397">
                <a:extLst>
                  <a:ext uri="{FF2B5EF4-FFF2-40B4-BE49-F238E27FC236}">
                    <a16:creationId xmlns:a16="http://schemas.microsoft.com/office/drawing/2014/main" id="{033D44C7-D189-05D9-F2AA-F81BDB7DC7FB}"/>
                  </a:ext>
                </a:extLst>
              </p:cNvPr>
              <p:cNvSpPr txBox="1"/>
              <p:nvPr/>
            </p:nvSpPr>
            <p:spPr>
              <a:xfrm>
                <a:off x="6793755" y="3311793"/>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9</a:t>
                </a:r>
              </a:p>
            </p:txBody>
          </p:sp>
          <p:sp>
            <p:nvSpPr>
              <p:cNvPr id="1399" name="TextBox 1398">
                <a:extLst>
                  <a:ext uri="{FF2B5EF4-FFF2-40B4-BE49-F238E27FC236}">
                    <a16:creationId xmlns:a16="http://schemas.microsoft.com/office/drawing/2014/main" id="{DA5C0798-E994-B891-37CF-B2D57173203C}"/>
                  </a:ext>
                </a:extLst>
              </p:cNvPr>
              <p:cNvSpPr txBox="1"/>
              <p:nvPr/>
            </p:nvSpPr>
            <p:spPr>
              <a:xfrm>
                <a:off x="6973571" y="3311793"/>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2</a:t>
                </a:r>
              </a:p>
            </p:txBody>
          </p:sp>
          <p:sp>
            <p:nvSpPr>
              <p:cNvPr id="1400" name="TextBox 1399">
                <a:extLst>
                  <a:ext uri="{FF2B5EF4-FFF2-40B4-BE49-F238E27FC236}">
                    <a16:creationId xmlns:a16="http://schemas.microsoft.com/office/drawing/2014/main" id="{97812228-F847-B4D4-B4A8-9A8CE11C3E93}"/>
                  </a:ext>
                </a:extLst>
              </p:cNvPr>
              <p:cNvSpPr txBox="1"/>
              <p:nvPr/>
            </p:nvSpPr>
            <p:spPr>
              <a:xfrm>
                <a:off x="7150744" y="3311793"/>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5</a:t>
                </a:r>
              </a:p>
            </p:txBody>
          </p:sp>
          <p:sp>
            <p:nvSpPr>
              <p:cNvPr id="1401" name="TextBox 1400">
                <a:extLst>
                  <a:ext uri="{FF2B5EF4-FFF2-40B4-BE49-F238E27FC236}">
                    <a16:creationId xmlns:a16="http://schemas.microsoft.com/office/drawing/2014/main" id="{8A7512B2-1C78-6122-16A5-55BC480E2311}"/>
                  </a:ext>
                </a:extLst>
              </p:cNvPr>
              <p:cNvSpPr txBox="1"/>
              <p:nvPr/>
            </p:nvSpPr>
            <p:spPr>
              <a:xfrm>
                <a:off x="7328795" y="3311793"/>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8</a:t>
                </a:r>
              </a:p>
            </p:txBody>
          </p:sp>
          <p:sp>
            <p:nvSpPr>
              <p:cNvPr id="1402" name="TextBox 1401">
                <a:extLst>
                  <a:ext uri="{FF2B5EF4-FFF2-40B4-BE49-F238E27FC236}">
                    <a16:creationId xmlns:a16="http://schemas.microsoft.com/office/drawing/2014/main" id="{EA14013D-50E7-D1EA-15B6-CC82277C1D71}"/>
                  </a:ext>
                </a:extLst>
              </p:cNvPr>
              <p:cNvSpPr txBox="1"/>
              <p:nvPr/>
            </p:nvSpPr>
            <p:spPr>
              <a:xfrm>
                <a:off x="7512205" y="3311793"/>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51</a:t>
                </a:r>
              </a:p>
            </p:txBody>
          </p:sp>
          <p:sp>
            <p:nvSpPr>
              <p:cNvPr id="1403" name="TextBox 1402">
                <a:extLst>
                  <a:ext uri="{FF2B5EF4-FFF2-40B4-BE49-F238E27FC236}">
                    <a16:creationId xmlns:a16="http://schemas.microsoft.com/office/drawing/2014/main" id="{29CE71EE-8F80-AB99-7280-FDAF56D79934}"/>
                  </a:ext>
                </a:extLst>
              </p:cNvPr>
              <p:cNvSpPr txBox="1"/>
              <p:nvPr/>
            </p:nvSpPr>
            <p:spPr>
              <a:xfrm>
                <a:off x="7676778" y="3311793"/>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54</a:t>
                </a:r>
              </a:p>
            </p:txBody>
          </p:sp>
          <p:sp>
            <p:nvSpPr>
              <p:cNvPr id="1404" name="TextBox 1403">
                <a:extLst>
                  <a:ext uri="{FF2B5EF4-FFF2-40B4-BE49-F238E27FC236}">
                    <a16:creationId xmlns:a16="http://schemas.microsoft.com/office/drawing/2014/main" id="{FA04F851-C9EF-8A5A-3D93-4A87136D7B50}"/>
                  </a:ext>
                </a:extLst>
              </p:cNvPr>
              <p:cNvSpPr txBox="1"/>
              <p:nvPr/>
            </p:nvSpPr>
            <p:spPr>
              <a:xfrm>
                <a:off x="5196703" y="3311793"/>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2</a:t>
                </a:r>
              </a:p>
            </p:txBody>
          </p:sp>
          <p:sp>
            <p:nvSpPr>
              <p:cNvPr id="1405" name="TextBox 1404">
                <a:extLst>
                  <a:ext uri="{FF2B5EF4-FFF2-40B4-BE49-F238E27FC236}">
                    <a16:creationId xmlns:a16="http://schemas.microsoft.com/office/drawing/2014/main" id="{1AA01AE3-F0EB-7A36-0748-0125EB477164}"/>
                  </a:ext>
                </a:extLst>
              </p:cNvPr>
              <p:cNvSpPr txBox="1"/>
              <p:nvPr/>
            </p:nvSpPr>
            <p:spPr>
              <a:xfrm>
                <a:off x="8210331" y="3311793"/>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63</a:t>
                </a:r>
              </a:p>
            </p:txBody>
          </p:sp>
          <p:sp>
            <p:nvSpPr>
              <p:cNvPr id="1406" name="TextBox 1405">
                <a:extLst>
                  <a:ext uri="{FF2B5EF4-FFF2-40B4-BE49-F238E27FC236}">
                    <a16:creationId xmlns:a16="http://schemas.microsoft.com/office/drawing/2014/main" id="{7AEBC0EA-E8B0-3B11-AB7E-E8F4136221FE}"/>
                  </a:ext>
                </a:extLst>
              </p:cNvPr>
              <p:cNvSpPr txBox="1"/>
              <p:nvPr/>
            </p:nvSpPr>
            <p:spPr>
              <a:xfrm>
                <a:off x="8032662" y="3311793"/>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60</a:t>
                </a:r>
              </a:p>
            </p:txBody>
          </p:sp>
          <p:sp>
            <p:nvSpPr>
              <p:cNvPr id="1407" name="TextBox 1406">
                <a:extLst>
                  <a:ext uri="{FF2B5EF4-FFF2-40B4-BE49-F238E27FC236}">
                    <a16:creationId xmlns:a16="http://schemas.microsoft.com/office/drawing/2014/main" id="{B4E90058-E11C-89F6-4DF9-E3FD3C3F3EF0}"/>
                  </a:ext>
                </a:extLst>
              </p:cNvPr>
              <p:cNvSpPr txBox="1"/>
              <p:nvPr/>
            </p:nvSpPr>
            <p:spPr>
              <a:xfrm>
                <a:off x="7854510" y="3311793"/>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57</a:t>
                </a:r>
              </a:p>
            </p:txBody>
          </p:sp>
          <p:sp>
            <p:nvSpPr>
              <p:cNvPr id="1408" name="TextBox 1407">
                <a:extLst>
                  <a:ext uri="{FF2B5EF4-FFF2-40B4-BE49-F238E27FC236}">
                    <a16:creationId xmlns:a16="http://schemas.microsoft.com/office/drawing/2014/main" id="{595D6E73-D48B-7255-25EE-C77CB8C8061A}"/>
                  </a:ext>
                </a:extLst>
              </p:cNvPr>
              <p:cNvSpPr txBox="1"/>
              <p:nvPr/>
            </p:nvSpPr>
            <p:spPr>
              <a:xfrm>
                <a:off x="8388165" y="3311793"/>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66</a:t>
                </a:r>
              </a:p>
            </p:txBody>
          </p:sp>
        </p:grpSp>
        <p:grpSp>
          <p:nvGrpSpPr>
            <p:cNvPr id="1409" name="Graphic 4">
              <a:extLst>
                <a:ext uri="{FF2B5EF4-FFF2-40B4-BE49-F238E27FC236}">
                  <a16:creationId xmlns:a16="http://schemas.microsoft.com/office/drawing/2014/main" id="{2791072A-A852-CE39-7D98-6B90326006E6}"/>
                </a:ext>
              </a:extLst>
            </p:cNvPr>
            <p:cNvGrpSpPr/>
            <p:nvPr/>
          </p:nvGrpSpPr>
          <p:grpSpPr>
            <a:xfrm>
              <a:off x="1342675" y="3183505"/>
              <a:ext cx="3899648" cy="31842"/>
              <a:chOff x="4605297" y="3309624"/>
              <a:chExt cx="3899648" cy="31842"/>
            </a:xfrm>
          </p:grpSpPr>
          <p:sp>
            <p:nvSpPr>
              <p:cNvPr id="1410" name="Freeform 1743">
                <a:extLst>
                  <a:ext uri="{FF2B5EF4-FFF2-40B4-BE49-F238E27FC236}">
                    <a16:creationId xmlns:a16="http://schemas.microsoft.com/office/drawing/2014/main" id="{C72E8AA2-7D12-F969-1585-D2FCC35CF3E5}"/>
                  </a:ext>
                </a:extLst>
              </p:cNvPr>
              <p:cNvSpPr/>
              <p:nvPr/>
            </p:nvSpPr>
            <p:spPr>
              <a:xfrm>
                <a:off x="4605297" y="3309624"/>
                <a:ext cx="12702" cy="31842"/>
              </a:xfrm>
              <a:custGeom>
                <a:avLst/>
                <a:gdLst>
                  <a:gd name="connsiteX0" fmla="*/ 0 w 12702"/>
                  <a:gd name="connsiteY0" fmla="*/ 0 h 31842"/>
                  <a:gd name="connsiteX1" fmla="*/ 0 w 12702"/>
                  <a:gd name="connsiteY1" fmla="*/ 31842 h 31842"/>
                </a:gdLst>
                <a:ahLst/>
                <a:cxnLst>
                  <a:cxn ang="0">
                    <a:pos x="connsiteX0" y="connsiteY0"/>
                  </a:cxn>
                  <a:cxn ang="0">
                    <a:pos x="connsiteX1" y="connsiteY1"/>
                  </a:cxn>
                </a:cxnLst>
                <a:rect l="l" t="t" r="r" b="b"/>
                <a:pathLst>
                  <a:path w="12702" h="31842">
                    <a:moveTo>
                      <a:pt x="0" y="0"/>
                    </a:moveTo>
                    <a:lnTo>
                      <a:pt x="0" y="31842"/>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11" name="Freeform 1744">
                <a:extLst>
                  <a:ext uri="{FF2B5EF4-FFF2-40B4-BE49-F238E27FC236}">
                    <a16:creationId xmlns:a16="http://schemas.microsoft.com/office/drawing/2014/main" id="{A878C2C7-4F9E-BB28-D4ED-4323C3ACA574}"/>
                  </a:ext>
                </a:extLst>
              </p:cNvPr>
              <p:cNvSpPr/>
              <p:nvPr/>
            </p:nvSpPr>
            <p:spPr>
              <a:xfrm>
                <a:off x="4783131" y="3309624"/>
                <a:ext cx="12702" cy="31842"/>
              </a:xfrm>
              <a:custGeom>
                <a:avLst/>
                <a:gdLst>
                  <a:gd name="connsiteX0" fmla="*/ 0 w 12702"/>
                  <a:gd name="connsiteY0" fmla="*/ 0 h 31842"/>
                  <a:gd name="connsiteX1" fmla="*/ 0 w 12702"/>
                  <a:gd name="connsiteY1" fmla="*/ 31842 h 31842"/>
                </a:gdLst>
                <a:ahLst/>
                <a:cxnLst>
                  <a:cxn ang="0">
                    <a:pos x="connsiteX0" y="connsiteY0"/>
                  </a:cxn>
                  <a:cxn ang="0">
                    <a:pos x="connsiteX1" y="connsiteY1"/>
                  </a:cxn>
                </a:cxnLst>
                <a:rect l="l" t="t" r="r" b="b"/>
                <a:pathLst>
                  <a:path w="12702" h="31842">
                    <a:moveTo>
                      <a:pt x="0" y="0"/>
                    </a:moveTo>
                    <a:lnTo>
                      <a:pt x="0" y="31842"/>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12" name="Freeform 1745">
                <a:extLst>
                  <a:ext uri="{FF2B5EF4-FFF2-40B4-BE49-F238E27FC236}">
                    <a16:creationId xmlns:a16="http://schemas.microsoft.com/office/drawing/2014/main" id="{9982F13E-C5D9-2610-52C4-27220DB9CB40}"/>
                  </a:ext>
                </a:extLst>
              </p:cNvPr>
              <p:cNvSpPr/>
              <p:nvPr/>
            </p:nvSpPr>
            <p:spPr>
              <a:xfrm>
                <a:off x="4960966" y="3309624"/>
                <a:ext cx="12702" cy="31842"/>
              </a:xfrm>
              <a:custGeom>
                <a:avLst/>
                <a:gdLst>
                  <a:gd name="connsiteX0" fmla="*/ 0 w 12702"/>
                  <a:gd name="connsiteY0" fmla="*/ 0 h 31842"/>
                  <a:gd name="connsiteX1" fmla="*/ 0 w 12702"/>
                  <a:gd name="connsiteY1" fmla="*/ 31842 h 31842"/>
                </a:gdLst>
                <a:ahLst/>
                <a:cxnLst>
                  <a:cxn ang="0">
                    <a:pos x="connsiteX0" y="connsiteY0"/>
                  </a:cxn>
                  <a:cxn ang="0">
                    <a:pos x="connsiteX1" y="connsiteY1"/>
                  </a:cxn>
                </a:cxnLst>
                <a:rect l="l" t="t" r="r" b="b"/>
                <a:pathLst>
                  <a:path w="12702" h="31842">
                    <a:moveTo>
                      <a:pt x="0" y="0"/>
                    </a:moveTo>
                    <a:lnTo>
                      <a:pt x="0" y="31842"/>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13" name="Freeform 1746">
                <a:extLst>
                  <a:ext uri="{FF2B5EF4-FFF2-40B4-BE49-F238E27FC236}">
                    <a16:creationId xmlns:a16="http://schemas.microsoft.com/office/drawing/2014/main" id="{CE36F416-4277-6206-55A1-51C330B7B2C8}"/>
                  </a:ext>
                </a:extLst>
              </p:cNvPr>
              <p:cNvSpPr/>
              <p:nvPr/>
            </p:nvSpPr>
            <p:spPr>
              <a:xfrm>
                <a:off x="5138800" y="3309624"/>
                <a:ext cx="12702" cy="31842"/>
              </a:xfrm>
              <a:custGeom>
                <a:avLst/>
                <a:gdLst>
                  <a:gd name="connsiteX0" fmla="*/ 0 w 12702"/>
                  <a:gd name="connsiteY0" fmla="*/ 0 h 31842"/>
                  <a:gd name="connsiteX1" fmla="*/ 0 w 12702"/>
                  <a:gd name="connsiteY1" fmla="*/ 31842 h 31842"/>
                </a:gdLst>
                <a:ahLst/>
                <a:cxnLst>
                  <a:cxn ang="0">
                    <a:pos x="connsiteX0" y="connsiteY0"/>
                  </a:cxn>
                  <a:cxn ang="0">
                    <a:pos x="connsiteX1" y="connsiteY1"/>
                  </a:cxn>
                </a:cxnLst>
                <a:rect l="l" t="t" r="r" b="b"/>
                <a:pathLst>
                  <a:path w="12702" h="31842">
                    <a:moveTo>
                      <a:pt x="0" y="0"/>
                    </a:moveTo>
                    <a:lnTo>
                      <a:pt x="0" y="31842"/>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14" name="Freeform 1747">
                <a:extLst>
                  <a:ext uri="{FF2B5EF4-FFF2-40B4-BE49-F238E27FC236}">
                    <a16:creationId xmlns:a16="http://schemas.microsoft.com/office/drawing/2014/main" id="{75292097-DB80-9F32-7C06-25894FFC0118}"/>
                  </a:ext>
                </a:extLst>
              </p:cNvPr>
              <p:cNvSpPr/>
              <p:nvPr/>
            </p:nvSpPr>
            <p:spPr>
              <a:xfrm>
                <a:off x="5316634" y="3309624"/>
                <a:ext cx="12702" cy="31842"/>
              </a:xfrm>
              <a:custGeom>
                <a:avLst/>
                <a:gdLst>
                  <a:gd name="connsiteX0" fmla="*/ 0 w 12702"/>
                  <a:gd name="connsiteY0" fmla="*/ 0 h 31842"/>
                  <a:gd name="connsiteX1" fmla="*/ 0 w 12702"/>
                  <a:gd name="connsiteY1" fmla="*/ 31842 h 31842"/>
                </a:gdLst>
                <a:ahLst/>
                <a:cxnLst>
                  <a:cxn ang="0">
                    <a:pos x="connsiteX0" y="connsiteY0"/>
                  </a:cxn>
                  <a:cxn ang="0">
                    <a:pos x="connsiteX1" y="connsiteY1"/>
                  </a:cxn>
                </a:cxnLst>
                <a:rect l="l" t="t" r="r" b="b"/>
                <a:pathLst>
                  <a:path w="12702" h="31842">
                    <a:moveTo>
                      <a:pt x="0" y="0"/>
                    </a:moveTo>
                    <a:lnTo>
                      <a:pt x="0" y="31842"/>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15" name="Freeform 1748">
                <a:extLst>
                  <a:ext uri="{FF2B5EF4-FFF2-40B4-BE49-F238E27FC236}">
                    <a16:creationId xmlns:a16="http://schemas.microsoft.com/office/drawing/2014/main" id="{589E5778-3418-0EDD-DDA5-628BF47795D2}"/>
                  </a:ext>
                </a:extLst>
              </p:cNvPr>
              <p:cNvSpPr/>
              <p:nvPr/>
            </p:nvSpPr>
            <p:spPr>
              <a:xfrm>
                <a:off x="5494468" y="3309624"/>
                <a:ext cx="12702" cy="31842"/>
              </a:xfrm>
              <a:custGeom>
                <a:avLst/>
                <a:gdLst>
                  <a:gd name="connsiteX0" fmla="*/ 0 w 12702"/>
                  <a:gd name="connsiteY0" fmla="*/ 0 h 31842"/>
                  <a:gd name="connsiteX1" fmla="*/ 0 w 12702"/>
                  <a:gd name="connsiteY1" fmla="*/ 31842 h 31842"/>
                </a:gdLst>
                <a:ahLst/>
                <a:cxnLst>
                  <a:cxn ang="0">
                    <a:pos x="connsiteX0" y="connsiteY0"/>
                  </a:cxn>
                  <a:cxn ang="0">
                    <a:pos x="connsiteX1" y="connsiteY1"/>
                  </a:cxn>
                </a:cxnLst>
                <a:rect l="l" t="t" r="r" b="b"/>
                <a:pathLst>
                  <a:path w="12702" h="31842">
                    <a:moveTo>
                      <a:pt x="0" y="0"/>
                    </a:moveTo>
                    <a:lnTo>
                      <a:pt x="0" y="31842"/>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16" name="Freeform 1749">
                <a:extLst>
                  <a:ext uri="{FF2B5EF4-FFF2-40B4-BE49-F238E27FC236}">
                    <a16:creationId xmlns:a16="http://schemas.microsoft.com/office/drawing/2014/main" id="{F71E694F-39E6-FFFD-2A5B-5D4DB5F61433}"/>
                  </a:ext>
                </a:extLst>
              </p:cNvPr>
              <p:cNvSpPr/>
              <p:nvPr/>
            </p:nvSpPr>
            <p:spPr>
              <a:xfrm>
                <a:off x="5672302" y="3309624"/>
                <a:ext cx="12702" cy="31842"/>
              </a:xfrm>
              <a:custGeom>
                <a:avLst/>
                <a:gdLst>
                  <a:gd name="connsiteX0" fmla="*/ 0 w 12702"/>
                  <a:gd name="connsiteY0" fmla="*/ 0 h 31842"/>
                  <a:gd name="connsiteX1" fmla="*/ 0 w 12702"/>
                  <a:gd name="connsiteY1" fmla="*/ 31842 h 31842"/>
                </a:gdLst>
                <a:ahLst/>
                <a:cxnLst>
                  <a:cxn ang="0">
                    <a:pos x="connsiteX0" y="connsiteY0"/>
                  </a:cxn>
                  <a:cxn ang="0">
                    <a:pos x="connsiteX1" y="connsiteY1"/>
                  </a:cxn>
                </a:cxnLst>
                <a:rect l="l" t="t" r="r" b="b"/>
                <a:pathLst>
                  <a:path w="12702" h="31842">
                    <a:moveTo>
                      <a:pt x="0" y="0"/>
                    </a:moveTo>
                    <a:lnTo>
                      <a:pt x="0" y="31842"/>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17" name="Freeform 1750">
                <a:extLst>
                  <a:ext uri="{FF2B5EF4-FFF2-40B4-BE49-F238E27FC236}">
                    <a16:creationId xmlns:a16="http://schemas.microsoft.com/office/drawing/2014/main" id="{A3915C72-BFCC-CBC4-4112-98389C1E46DC}"/>
                  </a:ext>
                </a:extLst>
              </p:cNvPr>
              <p:cNvSpPr/>
              <p:nvPr/>
            </p:nvSpPr>
            <p:spPr>
              <a:xfrm>
                <a:off x="5850136" y="3309624"/>
                <a:ext cx="12702" cy="31842"/>
              </a:xfrm>
              <a:custGeom>
                <a:avLst/>
                <a:gdLst>
                  <a:gd name="connsiteX0" fmla="*/ 0 w 12702"/>
                  <a:gd name="connsiteY0" fmla="*/ 0 h 31842"/>
                  <a:gd name="connsiteX1" fmla="*/ 0 w 12702"/>
                  <a:gd name="connsiteY1" fmla="*/ 31842 h 31842"/>
                </a:gdLst>
                <a:ahLst/>
                <a:cxnLst>
                  <a:cxn ang="0">
                    <a:pos x="connsiteX0" y="connsiteY0"/>
                  </a:cxn>
                  <a:cxn ang="0">
                    <a:pos x="connsiteX1" y="connsiteY1"/>
                  </a:cxn>
                </a:cxnLst>
                <a:rect l="l" t="t" r="r" b="b"/>
                <a:pathLst>
                  <a:path w="12702" h="31842">
                    <a:moveTo>
                      <a:pt x="0" y="0"/>
                    </a:moveTo>
                    <a:lnTo>
                      <a:pt x="0" y="31842"/>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18" name="Freeform 1751">
                <a:extLst>
                  <a:ext uri="{FF2B5EF4-FFF2-40B4-BE49-F238E27FC236}">
                    <a16:creationId xmlns:a16="http://schemas.microsoft.com/office/drawing/2014/main" id="{581275D3-E9DC-DE95-8B3B-556D490AE162}"/>
                  </a:ext>
                </a:extLst>
              </p:cNvPr>
              <p:cNvSpPr/>
              <p:nvPr/>
            </p:nvSpPr>
            <p:spPr>
              <a:xfrm>
                <a:off x="6027970" y="3309624"/>
                <a:ext cx="12702" cy="31842"/>
              </a:xfrm>
              <a:custGeom>
                <a:avLst/>
                <a:gdLst>
                  <a:gd name="connsiteX0" fmla="*/ 0 w 12702"/>
                  <a:gd name="connsiteY0" fmla="*/ 0 h 31842"/>
                  <a:gd name="connsiteX1" fmla="*/ 0 w 12702"/>
                  <a:gd name="connsiteY1" fmla="*/ 31842 h 31842"/>
                </a:gdLst>
                <a:ahLst/>
                <a:cxnLst>
                  <a:cxn ang="0">
                    <a:pos x="connsiteX0" y="connsiteY0"/>
                  </a:cxn>
                  <a:cxn ang="0">
                    <a:pos x="connsiteX1" y="connsiteY1"/>
                  </a:cxn>
                </a:cxnLst>
                <a:rect l="l" t="t" r="r" b="b"/>
                <a:pathLst>
                  <a:path w="12702" h="31842">
                    <a:moveTo>
                      <a:pt x="0" y="0"/>
                    </a:moveTo>
                    <a:lnTo>
                      <a:pt x="0" y="31842"/>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19" name="Freeform 1752">
                <a:extLst>
                  <a:ext uri="{FF2B5EF4-FFF2-40B4-BE49-F238E27FC236}">
                    <a16:creationId xmlns:a16="http://schemas.microsoft.com/office/drawing/2014/main" id="{7D914080-8497-5053-C855-D4D97BD736F1}"/>
                  </a:ext>
                </a:extLst>
              </p:cNvPr>
              <p:cNvSpPr/>
              <p:nvPr/>
            </p:nvSpPr>
            <p:spPr>
              <a:xfrm>
                <a:off x="6199453" y="3309624"/>
                <a:ext cx="12702" cy="31842"/>
              </a:xfrm>
              <a:custGeom>
                <a:avLst/>
                <a:gdLst>
                  <a:gd name="connsiteX0" fmla="*/ 0 w 12702"/>
                  <a:gd name="connsiteY0" fmla="*/ 0 h 31842"/>
                  <a:gd name="connsiteX1" fmla="*/ 0 w 12702"/>
                  <a:gd name="connsiteY1" fmla="*/ 31842 h 31842"/>
                </a:gdLst>
                <a:ahLst/>
                <a:cxnLst>
                  <a:cxn ang="0">
                    <a:pos x="connsiteX0" y="connsiteY0"/>
                  </a:cxn>
                  <a:cxn ang="0">
                    <a:pos x="connsiteX1" y="connsiteY1"/>
                  </a:cxn>
                </a:cxnLst>
                <a:rect l="l" t="t" r="r" b="b"/>
                <a:pathLst>
                  <a:path w="12702" h="31842">
                    <a:moveTo>
                      <a:pt x="0" y="0"/>
                    </a:moveTo>
                    <a:lnTo>
                      <a:pt x="0" y="31842"/>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20" name="Freeform 1753">
                <a:extLst>
                  <a:ext uri="{FF2B5EF4-FFF2-40B4-BE49-F238E27FC236}">
                    <a16:creationId xmlns:a16="http://schemas.microsoft.com/office/drawing/2014/main" id="{CADDC823-84B8-FA1B-4A0B-E18FC41A5023}"/>
                  </a:ext>
                </a:extLst>
              </p:cNvPr>
              <p:cNvSpPr/>
              <p:nvPr/>
            </p:nvSpPr>
            <p:spPr>
              <a:xfrm>
                <a:off x="6377288" y="3309624"/>
                <a:ext cx="12702" cy="31842"/>
              </a:xfrm>
              <a:custGeom>
                <a:avLst/>
                <a:gdLst>
                  <a:gd name="connsiteX0" fmla="*/ 0 w 12702"/>
                  <a:gd name="connsiteY0" fmla="*/ 0 h 31842"/>
                  <a:gd name="connsiteX1" fmla="*/ 0 w 12702"/>
                  <a:gd name="connsiteY1" fmla="*/ 31842 h 31842"/>
                </a:gdLst>
                <a:ahLst/>
                <a:cxnLst>
                  <a:cxn ang="0">
                    <a:pos x="connsiteX0" y="connsiteY0"/>
                  </a:cxn>
                  <a:cxn ang="0">
                    <a:pos x="connsiteX1" y="connsiteY1"/>
                  </a:cxn>
                </a:cxnLst>
                <a:rect l="l" t="t" r="r" b="b"/>
                <a:pathLst>
                  <a:path w="12702" h="31842">
                    <a:moveTo>
                      <a:pt x="0" y="0"/>
                    </a:moveTo>
                    <a:lnTo>
                      <a:pt x="0" y="31842"/>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21" name="Freeform 1754">
                <a:extLst>
                  <a:ext uri="{FF2B5EF4-FFF2-40B4-BE49-F238E27FC236}">
                    <a16:creationId xmlns:a16="http://schemas.microsoft.com/office/drawing/2014/main" id="{EBD49EBF-8B32-91BF-F31B-6E9F23A72E2B}"/>
                  </a:ext>
                </a:extLst>
              </p:cNvPr>
              <p:cNvSpPr/>
              <p:nvPr/>
            </p:nvSpPr>
            <p:spPr>
              <a:xfrm>
                <a:off x="6555122" y="3309624"/>
                <a:ext cx="12702" cy="31842"/>
              </a:xfrm>
              <a:custGeom>
                <a:avLst/>
                <a:gdLst>
                  <a:gd name="connsiteX0" fmla="*/ 0 w 12702"/>
                  <a:gd name="connsiteY0" fmla="*/ 0 h 31842"/>
                  <a:gd name="connsiteX1" fmla="*/ 0 w 12702"/>
                  <a:gd name="connsiteY1" fmla="*/ 31842 h 31842"/>
                </a:gdLst>
                <a:ahLst/>
                <a:cxnLst>
                  <a:cxn ang="0">
                    <a:pos x="connsiteX0" y="connsiteY0"/>
                  </a:cxn>
                  <a:cxn ang="0">
                    <a:pos x="connsiteX1" y="connsiteY1"/>
                  </a:cxn>
                </a:cxnLst>
                <a:rect l="l" t="t" r="r" b="b"/>
                <a:pathLst>
                  <a:path w="12702" h="31842">
                    <a:moveTo>
                      <a:pt x="0" y="0"/>
                    </a:moveTo>
                    <a:lnTo>
                      <a:pt x="0" y="31842"/>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22" name="Freeform 1755">
                <a:extLst>
                  <a:ext uri="{FF2B5EF4-FFF2-40B4-BE49-F238E27FC236}">
                    <a16:creationId xmlns:a16="http://schemas.microsoft.com/office/drawing/2014/main" id="{7D993121-24ED-DA4C-768B-261A6876FED6}"/>
                  </a:ext>
                </a:extLst>
              </p:cNvPr>
              <p:cNvSpPr/>
              <p:nvPr/>
            </p:nvSpPr>
            <p:spPr>
              <a:xfrm>
                <a:off x="6732956" y="3309624"/>
                <a:ext cx="12702" cy="31842"/>
              </a:xfrm>
              <a:custGeom>
                <a:avLst/>
                <a:gdLst>
                  <a:gd name="connsiteX0" fmla="*/ 0 w 12702"/>
                  <a:gd name="connsiteY0" fmla="*/ 0 h 31842"/>
                  <a:gd name="connsiteX1" fmla="*/ 0 w 12702"/>
                  <a:gd name="connsiteY1" fmla="*/ 31842 h 31842"/>
                </a:gdLst>
                <a:ahLst/>
                <a:cxnLst>
                  <a:cxn ang="0">
                    <a:pos x="connsiteX0" y="connsiteY0"/>
                  </a:cxn>
                  <a:cxn ang="0">
                    <a:pos x="connsiteX1" y="connsiteY1"/>
                  </a:cxn>
                </a:cxnLst>
                <a:rect l="l" t="t" r="r" b="b"/>
                <a:pathLst>
                  <a:path w="12702" h="31842">
                    <a:moveTo>
                      <a:pt x="0" y="0"/>
                    </a:moveTo>
                    <a:lnTo>
                      <a:pt x="0" y="31842"/>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23" name="Freeform 1756">
                <a:extLst>
                  <a:ext uri="{FF2B5EF4-FFF2-40B4-BE49-F238E27FC236}">
                    <a16:creationId xmlns:a16="http://schemas.microsoft.com/office/drawing/2014/main" id="{761360A6-AE79-93F8-1632-FAAD78D0886B}"/>
                  </a:ext>
                </a:extLst>
              </p:cNvPr>
              <p:cNvSpPr/>
              <p:nvPr/>
            </p:nvSpPr>
            <p:spPr>
              <a:xfrm>
                <a:off x="7088624" y="3309624"/>
                <a:ext cx="12702" cy="31842"/>
              </a:xfrm>
              <a:custGeom>
                <a:avLst/>
                <a:gdLst>
                  <a:gd name="connsiteX0" fmla="*/ 0 w 12702"/>
                  <a:gd name="connsiteY0" fmla="*/ 0 h 31842"/>
                  <a:gd name="connsiteX1" fmla="*/ 0 w 12702"/>
                  <a:gd name="connsiteY1" fmla="*/ 31842 h 31842"/>
                </a:gdLst>
                <a:ahLst/>
                <a:cxnLst>
                  <a:cxn ang="0">
                    <a:pos x="connsiteX0" y="connsiteY0"/>
                  </a:cxn>
                  <a:cxn ang="0">
                    <a:pos x="connsiteX1" y="connsiteY1"/>
                  </a:cxn>
                </a:cxnLst>
                <a:rect l="l" t="t" r="r" b="b"/>
                <a:pathLst>
                  <a:path w="12702" h="31842">
                    <a:moveTo>
                      <a:pt x="0" y="0"/>
                    </a:moveTo>
                    <a:lnTo>
                      <a:pt x="0" y="31842"/>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24" name="Freeform 1757">
                <a:extLst>
                  <a:ext uri="{FF2B5EF4-FFF2-40B4-BE49-F238E27FC236}">
                    <a16:creationId xmlns:a16="http://schemas.microsoft.com/office/drawing/2014/main" id="{62D9399B-BEF0-EC25-73AA-016A4A265DDB}"/>
                  </a:ext>
                </a:extLst>
              </p:cNvPr>
              <p:cNvSpPr/>
              <p:nvPr/>
            </p:nvSpPr>
            <p:spPr>
              <a:xfrm>
                <a:off x="7266458" y="3309624"/>
                <a:ext cx="12702" cy="31842"/>
              </a:xfrm>
              <a:custGeom>
                <a:avLst/>
                <a:gdLst>
                  <a:gd name="connsiteX0" fmla="*/ 0 w 12702"/>
                  <a:gd name="connsiteY0" fmla="*/ 0 h 31842"/>
                  <a:gd name="connsiteX1" fmla="*/ 0 w 12702"/>
                  <a:gd name="connsiteY1" fmla="*/ 31842 h 31842"/>
                </a:gdLst>
                <a:ahLst/>
                <a:cxnLst>
                  <a:cxn ang="0">
                    <a:pos x="connsiteX0" y="connsiteY0"/>
                  </a:cxn>
                  <a:cxn ang="0">
                    <a:pos x="connsiteX1" y="connsiteY1"/>
                  </a:cxn>
                </a:cxnLst>
                <a:rect l="l" t="t" r="r" b="b"/>
                <a:pathLst>
                  <a:path w="12702" h="31842">
                    <a:moveTo>
                      <a:pt x="0" y="0"/>
                    </a:moveTo>
                    <a:lnTo>
                      <a:pt x="0" y="31842"/>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25" name="Freeform 1758">
                <a:extLst>
                  <a:ext uri="{FF2B5EF4-FFF2-40B4-BE49-F238E27FC236}">
                    <a16:creationId xmlns:a16="http://schemas.microsoft.com/office/drawing/2014/main" id="{35D90D0E-4F9D-1308-655D-C10FD5EBA1A7}"/>
                  </a:ext>
                </a:extLst>
              </p:cNvPr>
              <p:cNvSpPr/>
              <p:nvPr/>
            </p:nvSpPr>
            <p:spPr>
              <a:xfrm>
                <a:off x="7444292" y="3309624"/>
                <a:ext cx="12702" cy="31842"/>
              </a:xfrm>
              <a:custGeom>
                <a:avLst/>
                <a:gdLst>
                  <a:gd name="connsiteX0" fmla="*/ 0 w 12702"/>
                  <a:gd name="connsiteY0" fmla="*/ 0 h 31842"/>
                  <a:gd name="connsiteX1" fmla="*/ 0 w 12702"/>
                  <a:gd name="connsiteY1" fmla="*/ 31842 h 31842"/>
                </a:gdLst>
                <a:ahLst/>
                <a:cxnLst>
                  <a:cxn ang="0">
                    <a:pos x="connsiteX0" y="connsiteY0"/>
                  </a:cxn>
                  <a:cxn ang="0">
                    <a:pos x="connsiteX1" y="connsiteY1"/>
                  </a:cxn>
                </a:cxnLst>
                <a:rect l="l" t="t" r="r" b="b"/>
                <a:pathLst>
                  <a:path w="12702" h="31842">
                    <a:moveTo>
                      <a:pt x="0" y="0"/>
                    </a:moveTo>
                    <a:lnTo>
                      <a:pt x="0" y="31842"/>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26" name="Freeform 1759">
                <a:extLst>
                  <a:ext uri="{FF2B5EF4-FFF2-40B4-BE49-F238E27FC236}">
                    <a16:creationId xmlns:a16="http://schemas.microsoft.com/office/drawing/2014/main" id="{684909CE-6F77-0D2F-451F-154AB7D5684C}"/>
                  </a:ext>
                </a:extLst>
              </p:cNvPr>
              <p:cNvSpPr/>
              <p:nvPr/>
            </p:nvSpPr>
            <p:spPr>
              <a:xfrm>
                <a:off x="7622127" y="3309624"/>
                <a:ext cx="12702" cy="31842"/>
              </a:xfrm>
              <a:custGeom>
                <a:avLst/>
                <a:gdLst>
                  <a:gd name="connsiteX0" fmla="*/ 0 w 12702"/>
                  <a:gd name="connsiteY0" fmla="*/ 0 h 31842"/>
                  <a:gd name="connsiteX1" fmla="*/ 0 w 12702"/>
                  <a:gd name="connsiteY1" fmla="*/ 31842 h 31842"/>
                </a:gdLst>
                <a:ahLst/>
                <a:cxnLst>
                  <a:cxn ang="0">
                    <a:pos x="connsiteX0" y="connsiteY0"/>
                  </a:cxn>
                  <a:cxn ang="0">
                    <a:pos x="connsiteX1" y="connsiteY1"/>
                  </a:cxn>
                </a:cxnLst>
                <a:rect l="l" t="t" r="r" b="b"/>
                <a:pathLst>
                  <a:path w="12702" h="31842">
                    <a:moveTo>
                      <a:pt x="0" y="0"/>
                    </a:moveTo>
                    <a:lnTo>
                      <a:pt x="0" y="31842"/>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27" name="Freeform 1760">
                <a:extLst>
                  <a:ext uri="{FF2B5EF4-FFF2-40B4-BE49-F238E27FC236}">
                    <a16:creationId xmlns:a16="http://schemas.microsoft.com/office/drawing/2014/main" id="{902F911B-14C5-3043-1355-751027038850}"/>
                  </a:ext>
                </a:extLst>
              </p:cNvPr>
              <p:cNvSpPr/>
              <p:nvPr/>
            </p:nvSpPr>
            <p:spPr>
              <a:xfrm>
                <a:off x="7793609" y="3309624"/>
                <a:ext cx="12702" cy="31842"/>
              </a:xfrm>
              <a:custGeom>
                <a:avLst/>
                <a:gdLst>
                  <a:gd name="connsiteX0" fmla="*/ 0 w 12702"/>
                  <a:gd name="connsiteY0" fmla="*/ 0 h 31842"/>
                  <a:gd name="connsiteX1" fmla="*/ 0 w 12702"/>
                  <a:gd name="connsiteY1" fmla="*/ 31842 h 31842"/>
                </a:gdLst>
                <a:ahLst/>
                <a:cxnLst>
                  <a:cxn ang="0">
                    <a:pos x="connsiteX0" y="connsiteY0"/>
                  </a:cxn>
                  <a:cxn ang="0">
                    <a:pos x="connsiteX1" y="connsiteY1"/>
                  </a:cxn>
                </a:cxnLst>
                <a:rect l="l" t="t" r="r" b="b"/>
                <a:pathLst>
                  <a:path w="12702" h="31842">
                    <a:moveTo>
                      <a:pt x="0" y="0"/>
                    </a:moveTo>
                    <a:lnTo>
                      <a:pt x="0" y="31842"/>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28" name="Freeform 1761">
                <a:extLst>
                  <a:ext uri="{FF2B5EF4-FFF2-40B4-BE49-F238E27FC236}">
                    <a16:creationId xmlns:a16="http://schemas.microsoft.com/office/drawing/2014/main" id="{34B90A93-9AA4-4903-2387-6E1EAE9C1D9E}"/>
                  </a:ext>
                </a:extLst>
              </p:cNvPr>
              <p:cNvSpPr/>
              <p:nvPr/>
            </p:nvSpPr>
            <p:spPr>
              <a:xfrm>
                <a:off x="8327112" y="3309624"/>
                <a:ext cx="12702" cy="31842"/>
              </a:xfrm>
              <a:custGeom>
                <a:avLst/>
                <a:gdLst>
                  <a:gd name="connsiteX0" fmla="*/ 0 w 12702"/>
                  <a:gd name="connsiteY0" fmla="*/ 0 h 31842"/>
                  <a:gd name="connsiteX1" fmla="*/ 0 w 12702"/>
                  <a:gd name="connsiteY1" fmla="*/ 31842 h 31842"/>
                </a:gdLst>
                <a:ahLst/>
                <a:cxnLst>
                  <a:cxn ang="0">
                    <a:pos x="connsiteX0" y="connsiteY0"/>
                  </a:cxn>
                  <a:cxn ang="0">
                    <a:pos x="connsiteX1" y="connsiteY1"/>
                  </a:cxn>
                </a:cxnLst>
                <a:rect l="l" t="t" r="r" b="b"/>
                <a:pathLst>
                  <a:path w="12702" h="31842">
                    <a:moveTo>
                      <a:pt x="0" y="0"/>
                    </a:moveTo>
                    <a:lnTo>
                      <a:pt x="0" y="31842"/>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29" name="Freeform 1762">
                <a:extLst>
                  <a:ext uri="{FF2B5EF4-FFF2-40B4-BE49-F238E27FC236}">
                    <a16:creationId xmlns:a16="http://schemas.microsoft.com/office/drawing/2014/main" id="{C79AC2BB-33AE-31ED-1153-9E59080E5571}"/>
                  </a:ext>
                </a:extLst>
              </p:cNvPr>
              <p:cNvSpPr/>
              <p:nvPr/>
            </p:nvSpPr>
            <p:spPr>
              <a:xfrm>
                <a:off x="8149278" y="3309624"/>
                <a:ext cx="12702" cy="31842"/>
              </a:xfrm>
              <a:custGeom>
                <a:avLst/>
                <a:gdLst>
                  <a:gd name="connsiteX0" fmla="*/ 0 w 12702"/>
                  <a:gd name="connsiteY0" fmla="*/ 0 h 31842"/>
                  <a:gd name="connsiteX1" fmla="*/ 0 w 12702"/>
                  <a:gd name="connsiteY1" fmla="*/ 31842 h 31842"/>
                </a:gdLst>
                <a:ahLst/>
                <a:cxnLst>
                  <a:cxn ang="0">
                    <a:pos x="connsiteX0" y="connsiteY0"/>
                  </a:cxn>
                  <a:cxn ang="0">
                    <a:pos x="connsiteX1" y="connsiteY1"/>
                  </a:cxn>
                </a:cxnLst>
                <a:rect l="l" t="t" r="r" b="b"/>
                <a:pathLst>
                  <a:path w="12702" h="31842">
                    <a:moveTo>
                      <a:pt x="0" y="0"/>
                    </a:moveTo>
                    <a:lnTo>
                      <a:pt x="0" y="31842"/>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30" name="Freeform 1763">
                <a:extLst>
                  <a:ext uri="{FF2B5EF4-FFF2-40B4-BE49-F238E27FC236}">
                    <a16:creationId xmlns:a16="http://schemas.microsoft.com/office/drawing/2014/main" id="{68F83E29-95FF-E680-F78B-686BFD2A77C3}"/>
                  </a:ext>
                </a:extLst>
              </p:cNvPr>
              <p:cNvSpPr/>
              <p:nvPr/>
            </p:nvSpPr>
            <p:spPr>
              <a:xfrm>
                <a:off x="7971444" y="3309624"/>
                <a:ext cx="12702" cy="31842"/>
              </a:xfrm>
              <a:custGeom>
                <a:avLst/>
                <a:gdLst>
                  <a:gd name="connsiteX0" fmla="*/ 0 w 12702"/>
                  <a:gd name="connsiteY0" fmla="*/ 0 h 31842"/>
                  <a:gd name="connsiteX1" fmla="*/ 0 w 12702"/>
                  <a:gd name="connsiteY1" fmla="*/ 31842 h 31842"/>
                </a:gdLst>
                <a:ahLst/>
                <a:cxnLst>
                  <a:cxn ang="0">
                    <a:pos x="connsiteX0" y="connsiteY0"/>
                  </a:cxn>
                  <a:cxn ang="0">
                    <a:pos x="connsiteX1" y="connsiteY1"/>
                  </a:cxn>
                </a:cxnLst>
                <a:rect l="l" t="t" r="r" b="b"/>
                <a:pathLst>
                  <a:path w="12702" h="31842">
                    <a:moveTo>
                      <a:pt x="0" y="0"/>
                    </a:moveTo>
                    <a:lnTo>
                      <a:pt x="0" y="31842"/>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31" name="Freeform 1764">
                <a:extLst>
                  <a:ext uri="{FF2B5EF4-FFF2-40B4-BE49-F238E27FC236}">
                    <a16:creationId xmlns:a16="http://schemas.microsoft.com/office/drawing/2014/main" id="{F6681D95-7486-BCD7-D219-6155676AD741}"/>
                  </a:ext>
                </a:extLst>
              </p:cNvPr>
              <p:cNvSpPr/>
              <p:nvPr/>
            </p:nvSpPr>
            <p:spPr>
              <a:xfrm>
                <a:off x="8504946" y="3309624"/>
                <a:ext cx="12702" cy="31842"/>
              </a:xfrm>
              <a:custGeom>
                <a:avLst/>
                <a:gdLst>
                  <a:gd name="connsiteX0" fmla="*/ 0 w 12702"/>
                  <a:gd name="connsiteY0" fmla="*/ 0 h 31842"/>
                  <a:gd name="connsiteX1" fmla="*/ 0 w 12702"/>
                  <a:gd name="connsiteY1" fmla="*/ 31842 h 31842"/>
                </a:gdLst>
                <a:ahLst/>
                <a:cxnLst>
                  <a:cxn ang="0">
                    <a:pos x="connsiteX0" y="connsiteY0"/>
                  </a:cxn>
                  <a:cxn ang="0">
                    <a:pos x="connsiteX1" y="connsiteY1"/>
                  </a:cxn>
                </a:cxnLst>
                <a:rect l="l" t="t" r="r" b="b"/>
                <a:pathLst>
                  <a:path w="12702" h="31842">
                    <a:moveTo>
                      <a:pt x="0" y="0"/>
                    </a:moveTo>
                    <a:lnTo>
                      <a:pt x="0" y="31842"/>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32" name="Freeform 1765">
                <a:extLst>
                  <a:ext uri="{FF2B5EF4-FFF2-40B4-BE49-F238E27FC236}">
                    <a16:creationId xmlns:a16="http://schemas.microsoft.com/office/drawing/2014/main" id="{EDF41373-8E79-E9E5-4EA0-10630A695909}"/>
                  </a:ext>
                </a:extLst>
              </p:cNvPr>
              <p:cNvSpPr/>
              <p:nvPr/>
            </p:nvSpPr>
            <p:spPr>
              <a:xfrm>
                <a:off x="6910790" y="3309624"/>
                <a:ext cx="12702" cy="31842"/>
              </a:xfrm>
              <a:custGeom>
                <a:avLst/>
                <a:gdLst>
                  <a:gd name="connsiteX0" fmla="*/ 0 w 12702"/>
                  <a:gd name="connsiteY0" fmla="*/ 0 h 31842"/>
                  <a:gd name="connsiteX1" fmla="*/ 0 w 12702"/>
                  <a:gd name="connsiteY1" fmla="*/ 31842 h 31842"/>
                </a:gdLst>
                <a:ahLst/>
                <a:cxnLst>
                  <a:cxn ang="0">
                    <a:pos x="connsiteX0" y="connsiteY0"/>
                  </a:cxn>
                  <a:cxn ang="0">
                    <a:pos x="connsiteX1" y="connsiteY1"/>
                  </a:cxn>
                </a:cxnLst>
                <a:rect l="l" t="t" r="r" b="b"/>
                <a:pathLst>
                  <a:path w="12702" h="31842">
                    <a:moveTo>
                      <a:pt x="0" y="0"/>
                    </a:moveTo>
                    <a:lnTo>
                      <a:pt x="0" y="31842"/>
                    </a:lnTo>
                  </a:path>
                </a:pathLst>
              </a:custGeom>
              <a:ln w="12700"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sp>
          <p:nvSpPr>
            <p:cNvPr id="1433" name="Freeform 1766">
              <a:extLst>
                <a:ext uri="{FF2B5EF4-FFF2-40B4-BE49-F238E27FC236}">
                  <a16:creationId xmlns:a16="http://schemas.microsoft.com/office/drawing/2014/main" id="{871D5920-3DB2-59AA-132D-62AF6974CE52}"/>
                </a:ext>
              </a:extLst>
            </p:cNvPr>
            <p:cNvSpPr/>
            <p:nvPr/>
          </p:nvSpPr>
          <p:spPr>
            <a:xfrm>
              <a:off x="1342675" y="1330304"/>
              <a:ext cx="3899648" cy="1853227"/>
            </a:xfrm>
            <a:custGeom>
              <a:avLst/>
              <a:gdLst>
                <a:gd name="connsiteX0" fmla="*/ 0 w 3899648"/>
                <a:gd name="connsiteY0" fmla="*/ 0 h 1853227"/>
                <a:gd name="connsiteX1" fmla="*/ 0 w 3899648"/>
                <a:gd name="connsiteY1" fmla="*/ 1853227 h 1853227"/>
                <a:gd name="connsiteX2" fmla="*/ 3899649 w 3899648"/>
                <a:gd name="connsiteY2" fmla="*/ 1853227 h 1853227"/>
              </a:gdLst>
              <a:ahLst/>
              <a:cxnLst>
                <a:cxn ang="0">
                  <a:pos x="connsiteX0" y="connsiteY0"/>
                </a:cxn>
                <a:cxn ang="0">
                  <a:pos x="connsiteX1" y="connsiteY1"/>
                </a:cxn>
                <a:cxn ang="0">
                  <a:pos x="connsiteX2" y="connsiteY2"/>
                </a:cxn>
              </a:cxnLst>
              <a:rect l="l" t="t" r="r" b="b"/>
              <a:pathLst>
                <a:path w="3899648" h="1853227">
                  <a:moveTo>
                    <a:pt x="0" y="0"/>
                  </a:moveTo>
                  <a:lnTo>
                    <a:pt x="0" y="1853227"/>
                  </a:lnTo>
                  <a:lnTo>
                    <a:pt x="3899649" y="1853227"/>
                  </a:lnTo>
                </a:path>
              </a:pathLst>
            </a:custGeom>
            <a:noFill/>
            <a:ln w="12700" cap="sq">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34" name="Freeform 1767">
              <a:extLst>
                <a:ext uri="{FF2B5EF4-FFF2-40B4-BE49-F238E27FC236}">
                  <a16:creationId xmlns:a16="http://schemas.microsoft.com/office/drawing/2014/main" id="{8F9860E4-EB99-F75C-A949-BC91284682C4}"/>
                </a:ext>
              </a:extLst>
            </p:cNvPr>
            <p:cNvSpPr/>
            <p:nvPr/>
          </p:nvSpPr>
          <p:spPr>
            <a:xfrm>
              <a:off x="3469144" y="1877098"/>
              <a:ext cx="43336" cy="1306434"/>
            </a:xfrm>
            <a:custGeom>
              <a:avLst/>
              <a:gdLst>
                <a:gd name="connsiteX0" fmla="*/ 0 w 12702"/>
                <a:gd name="connsiteY0" fmla="*/ 733012 h 733011"/>
                <a:gd name="connsiteX1" fmla="*/ 0 w 12702"/>
                <a:gd name="connsiteY1" fmla="*/ 0 h 733011"/>
                <a:gd name="connsiteX0" fmla="*/ 0 w 0"/>
                <a:gd name="connsiteY0" fmla="*/ 978672 h 978672"/>
                <a:gd name="connsiteX1" fmla="*/ 0 w 0"/>
                <a:gd name="connsiteY1" fmla="*/ 0 h 978672"/>
              </a:gdLst>
              <a:ahLst/>
              <a:cxnLst>
                <a:cxn ang="0">
                  <a:pos x="connsiteX0" y="connsiteY0"/>
                </a:cxn>
                <a:cxn ang="0">
                  <a:pos x="connsiteX1" y="connsiteY1"/>
                </a:cxn>
              </a:cxnLst>
              <a:rect l="l" t="t" r="r" b="b"/>
              <a:pathLst>
                <a:path h="978672">
                  <a:moveTo>
                    <a:pt x="0" y="978672"/>
                  </a:moveTo>
                  <a:lnTo>
                    <a:pt x="0" y="0"/>
                  </a:lnTo>
                </a:path>
              </a:pathLst>
            </a:custGeom>
            <a:ln w="12700" cap="flat">
              <a:solidFill>
                <a:srgbClr val="000000"/>
              </a:solidFill>
              <a:custDash>
                <a:ds d="163125" sp="163125"/>
              </a:custDash>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35" name="TextBox 1434">
              <a:extLst>
                <a:ext uri="{FF2B5EF4-FFF2-40B4-BE49-F238E27FC236}">
                  <a16:creationId xmlns:a16="http://schemas.microsoft.com/office/drawing/2014/main" id="{CEABCD1C-E49D-7A6D-DEE5-2BAE771AF526}"/>
                </a:ext>
              </a:extLst>
            </p:cNvPr>
            <p:cNvSpPr txBox="1"/>
            <p:nvPr/>
          </p:nvSpPr>
          <p:spPr>
            <a:xfrm>
              <a:off x="532138" y="3376728"/>
              <a:ext cx="1117365" cy="19959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66"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No. of patients at risk</a:t>
              </a:r>
            </a:p>
          </p:txBody>
        </p:sp>
        <p:grpSp>
          <p:nvGrpSpPr>
            <p:cNvPr id="1436" name="Graphic 4">
              <a:extLst>
                <a:ext uri="{FF2B5EF4-FFF2-40B4-BE49-F238E27FC236}">
                  <a16:creationId xmlns:a16="http://schemas.microsoft.com/office/drawing/2014/main" id="{D39FBD3B-9BD8-5DA4-9932-A16D3E012EC9}"/>
                </a:ext>
              </a:extLst>
            </p:cNvPr>
            <p:cNvGrpSpPr/>
            <p:nvPr/>
          </p:nvGrpSpPr>
          <p:grpSpPr>
            <a:xfrm>
              <a:off x="1232957" y="3757410"/>
              <a:ext cx="4143388" cy="200204"/>
              <a:chOff x="4495579" y="3883529"/>
              <a:chExt cx="4143388" cy="200204"/>
            </a:xfrm>
            <a:solidFill>
              <a:srgbClr val="0B41CD"/>
            </a:solidFill>
          </p:grpSpPr>
          <p:sp>
            <p:nvSpPr>
              <p:cNvPr id="1437" name="TextBox 1436">
                <a:extLst>
                  <a:ext uri="{FF2B5EF4-FFF2-40B4-BE49-F238E27FC236}">
                    <a16:creationId xmlns:a16="http://schemas.microsoft.com/office/drawing/2014/main" id="{08F62839-7A48-51F4-979C-420382218B17}"/>
                  </a:ext>
                </a:extLst>
              </p:cNvPr>
              <p:cNvSpPr txBox="1"/>
              <p:nvPr/>
            </p:nvSpPr>
            <p:spPr>
              <a:xfrm>
                <a:off x="4495579" y="3884141"/>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61</a:t>
                </a:r>
              </a:p>
            </p:txBody>
          </p:sp>
          <p:sp>
            <p:nvSpPr>
              <p:cNvPr id="1438" name="TextBox 1437">
                <a:extLst>
                  <a:ext uri="{FF2B5EF4-FFF2-40B4-BE49-F238E27FC236}">
                    <a16:creationId xmlns:a16="http://schemas.microsoft.com/office/drawing/2014/main" id="{02211225-D832-9419-45CB-D219661C3170}"/>
                  </a:ext>
                </a:extLst>
              </p:cNvPr>
              <p:cNvSpPr txBox="1"/>
              <p:nvPr/>
            </p:nvSpPr>
            <p:spPr>
              <a:xfrm>
                <a:off x="6968287" y="3883529"/>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6</a:t>
                </a:r>
              </a:p>
            </p:txBody>
          </p:sp>
          <p:sp>
            <p:nvSpPr>
              <p:cNvPr id="1439" name="TextBox 1438">
                <a:extLst>
                  <a:ext uri="{FF2B5EF4-FFF2-40B4-BE49-F238E27FC236}">
                    <a16:creationId xmlns:a16="http://schemas.microsoft.com/office/drawing/2014/main" id="{72EFAB93-9FB2-CAD5-665E-E6F5334AEDA9}"/>
                  </a:ext>
                </a:extLst>
              </p:cNvPr>
              <p:cNvSpPr txBox="1"/>
              <p:nvPr/>
            </p:nvSpPr>
            <p:spPr>
              <a:xfrm>
                <a:off x="5555267" y="3883529"/>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39</a:t>
                </a:r>
              </a:p>
            </p:txBody>
          </p:sp>
          <p:sp>
            <p:nvSpPr>
              <p:cNvPr id="1440" name="TextBox 1439">
                <a:extLst>
                  <a:ext uri="{FF2B5EF4-FFF2-40B4-BE49-F238E27FC236}">
                    <a16:creationId xmlns:a16="http://schemas.microsoft.com/office/drawing/2014/main" id="{288091A3-52D7-5CB7-C98B-63B6012768A1}"/>
                  </a:ext>
                </a:extLst>
              </p:cNvPr>
              <p:cNvSpPr txBox="1"/>
              <p:nvPr/>
            </p:nvSpPr>
            <p:spPr>
              <a:xfrm>
                <a:off x="6082469" y="3883529"/>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36</a:t>
                </a:r>
              </a:p>
            </p:txBody>
          </p:sp>
          <p:sp>
            <p:nvSpPr>
              <p:cNvPr id="1441" name="TextBox 1440">
                <a:extLst>
                  <a:ext uri="{FF2B5EF4-FFF2-40B4-BE49-F238E27FC236}">
                    <a16:creationId xmlns:a16="http://schemas.microsoft.com/office/drawing/2014/main" id="{B065795B-2CC5-2421-404B-F5D638F5F242}"/>
                  </a:ext>
                </a:extLst>
              </p:cNvPr>
              <p:cNvSpPr txBox="1"/>
              <p:nvPr/>
            </p:nvSpPr>
            <p:spPr>
              <a:xfrm>
                <a:off x="4665893" y="3883529"/>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55</a:t>
                </a:r>
              </a:p>
            </p:txBody>
          </p:sp>
          <p:sp>
            <p:nvSpPr>
              <p:cNvPr id="1442" name="TextBox 1441">
                <a:extLst>
                  <a:ext uri="{FF2B5EF4-FFF2-40B4-BE49-F238E27FC236}">
                    <a16:creationId xmlns:a16="http://schemas.microsoft.com/office/drawing/2014/main" id="{AC1F6FC0-3E57-895F-52FC-F653E4890457}"/>
                  </a:ext>
                </a:extLst>
              </p:cNvPr>
              <p:cNvSpPr txBox="1"/>
              <p:nvPr/>
            </p:nvSpPr>
            <p:spPr>
              <a:xfrm>
                <a:off x="4851044" y="3883529"/>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51</a:t>
                </a:r>
              </a:p>
            </p:txBody>
          </p:sp>
          <p:sp>
            <p:nvSpPr>
              <p:cNvPr id="1443" name="TextBox 1442">
                <a:extLst>
                  <a:ext uri="{FF2B5EF4-FFF2-40B4-BE49-F238E27FC236}">
                    <a16:creationId xmlns:a16="http://schemas.microsoft.com/office/drawing/2014/main" id="{7C33CD5B-E1CE-4C9C-F396-CADD620470CD}"/>
                  </a:ext>
                </a:extLst>
              </p:cNvPr>
              <p:cNvSpPr txBox="1"/>
              <p:nvPr/>
            </p:nvSpPr>
            <p:spPr>
              <a:xfrm>
                <a:off x="5023086" y="3883529"/>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45</a:t>
                </a:r>
              </a:p>
            </p:txBody>
          </p:sp>
          <p:sp>
            <p:nvSpPr>
              <p:cNvPr id="1444" name="TextBox 1443">
                <a:extLst>
                  <a:ext uri="{FF2B5EF4-FFF2-40B4-BE49-F238E27FC236}">
                    <a16:creationId xmlns:a16="http://schemas.microsoft.com/office/drawing/2014/main" id="{0B1F9A14-C3D2-1433-94DD-B156DA4499A4}"/>
                  </a:ext>
                </a:extLst>
              </p:cNvPr>
              <p:cNvSpPr txBox="1"/>
              <p:nvPr/>
            </p:nvSpPr>
            <p:spPr>
              <a:xfrm>
                <a:off x="5379008" y="3883529"/>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43</a:t>
                </a:r>
              </a:p>
            </p:txBody>
          </p:sp>
          <p:sp>
            <p:nvSpPr>
              <p:cNvPr id="1445" name="TextBox 1444">
                <a:extLst>
                  <a:ext uri="{FF2B5EF4-FFF2-40B4-BE49-F238E27FC236}">
                    <a16:creationId xmlns:a16="http://schemas.microsoft.com/office/drawing/2014/main" id="{AFD40601-7DC0-08C8-186C-9134B756D80E}"/>
                  </a:ext>
                </a:extLst>
              </p:cNvPr>
              <p:cNvSpPr txBox="1"/>
              <p:nvPr/>
            </p:nvSpPr>
            <p:spPr>
              <a:xfrm>
                <a:off x="5911037" y="3883529"/>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37</a:t>
                </a:r>
              </a:p>
            </p:txBody>
          </p:sp>
          <p:sp>
            <p:nvSpPr>
              <p:cNvPr id="1446" name="TextBox 1445">
                <a:extLst>
                  <a:ext uri="{FF2B5EF4-FFF2-40B4-BE49-F238E27FC236}">
                    <a16:creationId xmlns:a16="http://schemas.microsoft.com/office/drawing/2014/main" id="{2E5350DD-FDD5-34AF-C4E4-A1DC0DA88603}"/>
                  </a:ext>
                </a:extLst>
              </p:cNvPr>
              <p:cNvSpPr txBox="1"/>
              <p:nvPr/>
            </p:nvSpPr>
            <p:spPr>
              <a:xfrm>
                <a:off x="5733101" y="3883529"/>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39</a:t>
                </a:r>
              </a:p>
            </p:txBody>
          </p:sp>
          <p:sp>
            <p:nvSpPr>
              <p:cNvPr id="1447" name="TextBox 1446">
                <a:extLst>
                  <a:ext uri="{FF2B5EF4-FFF2-40B4-BE49-F238E27FC236}">
                    <a16:creationId xmlns:a16="http://schemas.microsoft.com/office/drawing/2014/main" id="{69C298DF-CEAE-607C-D321-21CC8FB647B6}"/>
                  </a:ext>
                </a:extLst>
              </p:cNvPr>
              <p:cNvSpPr txBox="1"/>
              <p:nvPr/>
            </p:nvSpPr>
            <p:spPr>
              <a:xfrm>
                <a:off x="6260304" y="3883529"/>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33</a:t>
                </a:r>
              </a:p>
            </p:txBody>
          </p:sp>
          <p:sp>
            <p:nvSpPr>
              <p:cNvPr id="1448" name="TextBox 1447">
                <a:extLst>
                  <a:ext uri="{FF2B5EF4-FFF2-40B4-BE49-F238E27FC236}">
                    <a16:creationId xmlns:a16="http://schemas.microsoft.com/office/drawing/2014/main" id="{998E25FB-AA60-0DB4-E6E7-333A502E251D}"/>
                  </a:ext>
                </a:extLst>
              </p:cNvPr>
              <p:cNvSpPr txBox="1"/>
              <p:nvPr/>
            </p:nvSpPr>
            <p:spPr>
              <a:xfrm>
                <a:off x="6790503" y="3883529"/>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7</a:t>
                </a:r>
              </a:p>
            </p:txBody>
          </p:sp>
          <p:sp>
            <p:nvSpPr>
              <p:cNvPr id="1449" name="TextBox 1448">
                <a:extLst>
                  <a:ext uri="{FF2B5EF4-FFF2-40B4-BE49-F238E27FC236}">
                    <a16:creationId xmlns:a16="http://schemas.microsoft.com/office/drawing/2014/main" id="{47B55065-E931-23A2-2177-DCACC5EFE8A5}"/>
                  </a:ext>
                </a:extLst>
              </p:cNvPr>
              <p:cNvSpPr txBox="1"/>
              <p:nvPr/>
            </p:nvSpPr>
            <p:spPr>
              <a:xfrm>
                <a:off x="7323955" y="3883529"/>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3</a:t>
                </a:r>
              </a:p>
            </p:txBody>
          </p:sp>
          <p:sp>
            <p:nvSpPr>
              <p:cNvPr id="1450" name="TextBox 1449">
                <a:extLst>
                  <a:ext uri="{FF2B5EF4-FFF2-40B4-BE49-F238E27FC236}">
                    <a16:creationId xmlns:a16="http://schemas.microsoft.com/office/drawing/2014/main" id="{55DF27F9-9EBF-1ED1-A6A5-F79EFCA68A89}"/>
                  </a:ext>
                </a:extLst>
              </p:cNvPr>
              <p:cNvSpPr txBox="1"/>
              <p:nvPr/>
            </p:nvSpPr>
            <p:spPr>
              <a:xfrm>
                <a:off x="7531073" y="3883529"/>
                <a:ext cx="184898"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5</a:t>
                </a:r>
              </a:p>
            </p:txBody>
          </p:sp>
          <p:sp>
            <p:nvSpPr>
              <p:cNvPr id="1451" name="TextBox 1450">
                <a:extLst>
                  <a:ext uri="{FF2B5EF4-FFF2-40B4-BE49-F238E27FC236}">
                    <a16:creationId xmlns:a16="http://schemas.microsoft.com/office/drawing/2014/main" id="{41B99BDB-9AE6-3222-BD4A-96E79233F94B}"/>
                  </a:ext>
                </a:extLst>
              </p:cNvPr>
              <p:cNvSpPr txBox="1"/>
              <p:nvPr/>
            </p:nvSpPr>
            <p:spPr>
              <a:xfrm>
                <a:off x="7703889" y="3883529"/>
                <a:ext cx="184898"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a:t>
                </a:r>
              </a:p>
            </p:txBody>
          </p:sp>
          <p:sp>
            <p:nvSpPr>
              <p:cNvPr id="1452" name="TextBox 1451">
                <a:extLst>
                  <a:ext uri="{FF2B5EF4-FFF2-40B4-BE49-F238E27FC236}">
                    <a16:creationId xmlns:a16="http://schemas.microsoft.com/office/drawing/2014/main" id="{2E11BF14-72F2-E83C-FE6C-74E8F7AFD9FF}"/>
                  </a:ext>
                </a:extLst>
              </p:cNvPr>
              <p:cNvSpPr txBox="1"/>
              <p:nvPr/>
            </p:nvSpPr>
            <p:spPr>
              <a:xfrm>
                <a:off x="5201327" y="3883529"/>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44</a:t>
                </a:r>
              </a:p>
            </p:txBody>
          </p:sp>
          <p:sp>
            <p:nvSpPr>
              <p:cNvPr id="1453" name="TextBox 1452">
                <a:extLst>
                  <a:ext uri="{FF2B5EF4-FFF2-40B4-BE49-F238E27FC236}">
                    <a16:creationId xmlns:a16="http://schemas.microsoft.com/office/drawing/2014/main" id="{8518CE82-1E85-AAC4-3549-9E94BEEC0755}"/>
                  </a:ext>
                </a:extLst>
              </p:cNvPr>
              <p:cNvSpPr txBox="1"/>
              <p:nvPr/>
            </p:nvSpPr>
            <p:spPr>
              <a:xfrm>
                <a:off x="7145867" y="3883529"/>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5</a:t>
                </a:r>
              </a:p>
            </p:txBody>
          </p:sp>
          <p:sp>
            <p:nvSpPr>
              <p:cNvPr id="1454" name="TextBox 1453">
                <a:extLst>
                  <a:ext uri="{FF2B5EF4-FFF2-40B4-BE49-F238E27FC236}">
                    <a16:creationId xmlns:a16="http://schemas.microsoft.com/office/drawing/2014/main" id="{90B10E65-201E-84DB-2AC0-3A48774FA1EE}"/>
                  </a:ext>
                </a:extLst>
              </p:cNvPr>
              <p:cNvSpPr txBox="1"/>
              <p:nvPr/>
            </p:nvSpPr>
            <p:spPr>
              <a:xfrm>
                <a:off x="8371994" y="3883529"/>
                <a:ext cx="266973"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NE</a:t>
                </a:r>
              </a:p>
            </p:txBody>
          </p:sp>
          <p:sp>
            <p:nvSpPr>
              <p:cNvPr id="1455" name="TextBox 1454">
                <a:extLst>
                  <a:ext uri="{FF2B5EF4-FFF2-40B4-BE49-F238E27FC236}">
                    <a16:creationId xmlns:a16="http://schemas.microsoft.com/office/drawing/2014/main" id="{AAC096F9-483A-F621-72DC-460EA60FB04A}"/>
                  </a:ext>
                </a:extLst>
              </p:cNvPr>
              <p:cNvSpPr txBox="1"/>
              <p:nvPr/>
            </p:nvSpPr>
            <p:spPr>
              <a:xfrm>
                <a:off x="8062187" y="3883529"/>
                <a:ext cx="184898"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a:t>
                </a:r>
              </a:p>
            </p:txBody>
          </p:sp>
          <p:sp>
            <p:nvSpPr>
              <p:cNvPr id="1456" name="TextBox 1455">
                <a:extLst>
                  <a:ext uri="{FF2B5EF4-FFF2-40B4-BE49-F238E27FC236}">
                    <a16:creationId xmlns:a16="http://schemas.microsoft.com/office/drawing/2014/main" id="{E7C46800-56FC-6F60-C072-40FA5AEB5F98}"/>
                  </a:ext>
                </a:extLst>
              </p:cNvPr>
              <p:cNvSpPr txBox="1"/>
              <p:nvPr/>
            </p:nvSpPr>
            <p:spPr>
              <a:xfrm>
                <a:off x="8240021" y="3883529"/>
                <a:ext cx="184898"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a:t>
                </a:r>
              </a:p>
            </p:txBody>
          </p:sp>
          <p:sp>
            <p:nvSpPr>
              <p:cNvPr id="1457" name="TextBox 1456">
                <a:extLst>
                  <a:ext uri="{FF2B5EF4-FFF2-40B4-BE49-F238E27FC236}">
                    <a16:creationId xmlns:a16="http://schemas.microsoft.com/office/drawing/2014/main" id="{3B8B078C-8487-C485-261A-C4FF7D68DEA5}"/>
                  </a:ext>
                </a:extLst>
              </p:cNvPr>
              <p:cNvSpPr txBox="1"/>
              <p:nvPr/>
            </p:nvSpPr>
            <p:spPr>
              <a:xfrm>
                <a:off x="6438760" y="3883529"/>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9</a:t>
                </a:r>
              </a:p>
            </p:txBody>
          </p:sp>
          <p:sp>
            <p:nvSpPr>
              <p:cNvPr id="1458" name="TextBox 1457">
                <a:extLst>
                  <a:ext uri="{FF2B5EF4-FFF2-40B4-BE49-F238E27FC236}">
                    <a16:creationId xmlns:a16="http://schemas.microsoft.com/office/drawing/2014/main" id="{749C1F27-66E0-55CF-81BD-D30C0B7A56DE}"/>
                  </a:ext>
                </a:extLst>
              </p:cNvPr>
              <p:cNvSpPr txBox="1"/>
              <p:nvPr/>
            </p:nvSpPr>
            <p:spPr>
              <a:xfrm>
                <a:off x="6616645" y="3883529"/>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6</a:t>
                </a:r>
              </a:p>
            </p:txBody>
          </p:sp>
          <p:sp>
            <p:nvSpPr>
              <p:cNvPr id="1459" name="TextBox 1458">
                <a:extLst>
                  <a:ext uri="{FF2B5EF4-FFF2-40B4-BE49-F238E27FC236}">
                    <a16:creationId xmlns:a16="http://schemas.microsoft.com/office/drawing/2014/main" id="{9DF26144-6516-B79C-AEE4-2791B2B71AA0}"/>
                  </a:ext>
                </a:extLst>
              </p:cNvPr>
              <p:cNvSpPr txBox="1"/>
              <p:nvPr/>
            </p:nvSpPr>
            <p:spPr>
              <a:xfrm>
                <a:off x="7884353" y="3883529"/>
                <a:ext cx="184898"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a:t>
                </a:r>
              </a:p>
            </p:txBody>
          </p:sp>
        </p:grpSp>
        <p:grpSp>
          <p:nvGrpSpPr>
            <p:cNvPr id="1460" name="Graphic 4">
              <a:extLst>
                <a:ext uri="{FF2B5EF4-FFF2-40B4-BE49-F238E27FC236}">
                  <a16:creationId xmlns:a16="http://schemas.microsoft.com/office/drawing/2014/main" id="{929EE252-2CA4-0A50-9A11-F223301C93B3}"/>
                </a:ext>
              </a:extLst>
            </p:cNvPr>
            <p:cNvGrpSpPr/>
            <p:nvPr/>
          </p:nvGrpSpPr>
          <p:grpSpPr>
            <a:xfrm>
              <a:off x="1225844" y="3512517"/>
              <a:ext cx="3616999" cy="200203"/>
              <a:chOff x="4488466" y="3638636"/>
              <a:chExt cx="3616999" cy="200203"/>
            </a:xfrm>
            <a:solidFill>
              <a:srgbClr val="BC36F0"/>
            </a:solidFill>
          </p:grpSpPr>
          <p:sp>
            <p:nvSpPr>
              <p:cNvPr id="1461" name="TextBox 1460">
                <a:extLst>
                  <a:ext uri="{FF2B5EF4-FFF2-40B4-BE49-F238E27FC236}">
                    <a16:creationId xmlns:a16="http://schemas.microsoft.com/office/drawing/2014/main" id="{358F048B-42C2-3B6C-05D6-6794E6951578}"/>
                  </a:ext>
                </a:extLst>
              </p:cNvPr>
              <p:cNvSpPr txBox="1"/>
              <p:nvPr/>
            </p:nvSpPr>
            <p:spPr>
              <a:xfrm>
                <a:off x="4488466" y="3638636"/>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34</a:t>
                </a:r>
              </a:p>
            </p:txBody>
          </p:sp>
          <p:sp>
            <p:nvSpPr>
              <p:cNvPr id="1462" name="TextBox 1461">
                <a:extLst>
                  <a:ext uri="{FF2B5EF4-FFF2-40B4-BE49-F238E27FC236}">
                    <a16:creationId xmlns:a16="http://schemas.microsoft.com/office/drawing/2014/main" id="{EE36BFF5-D8C9-6064-930F-DBC4AF2FBE79}"/>
                  </a:ext>
                </a:extLst>
              </p:cNvPr>
              <p:cNvSpPr txBox="1"/>
              <p:nvPr/>
            </p:nvSpPr>
            <p:spPr>
              <a:xfrm>
                <a:off x="6997824" y="3639247"/>
                <a:ext cx="184898"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8</a:t>
                </a:r>
              </a:p>
            </p:txBody>
          </p:sp>
          <p:sp>
            <p:nvSpPr>
              <p:cNvPr id="1463" name="TextBox 1462">
                <a:extLst>
                  <a:ext uri="{FF2B5EF4-FFF2-40B4-BE49-F238E27FC236}">
                    <a16:creationId xmlns:a16="http://schemas.microsoft.com/office/drawing/2014/main" id="{1146AC27-F4F4-4BD9-21C1-7FAA2E04A5E5}"/>
                  </a:ext>
                </a:extLst>
              </p:cNvPr>
              <p:cNvSpPr txBox="1"/>
              <p:nvPr/>
            </p:nvSpPr>
            <p:spPr>
              <a:xfrm>
                <a:off x="5552016" y="3639247"/>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7</a:t>
                </a:r>
              </a:p>
            </p:txBody>
          </p:sp>
          <p:sp>
            <p:nvSpPr>
              <p:cNvPr id="1464" name="TextBox 1463">
                <a:extLst>
                  <a:ext uri="{FF2B5EF4-FFF2-40B4-BE49-F238E27FC236}">
                    <a16:creationId xmlns:a16="http://schemas.microsoft.com/office/drawing/2014/main" id="{928D84DF-D936-9F85-BD94-B0EBE187AE9F}"/>
                  </a:ext>
                </a:extLst>
              </p:cNvPr>
              <p:cNvSpPr txBox="1"/>
              <p:nvPr/>
            </p:nvSpPr>
            <p:spPr>
              <a:xfrm>
                <a:off x="6079116" y="3639247"/>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6</a:t>
                </a:r>
              </a:p>
            </p:txBody>
          </p:sp>
          <p:sp>
            <p:nvSpPr>
              <p:cNvPr id="1465" name="TextBox 1464">
                <a:extLst>
                  <a:ext uri="{FF2B5EF4-FFF2-40B4-BE49-F238E27FC236}">
                    <a16:creationId xmlns:a16="http://schemas.microsoft.com/office/drawing/2014/main" id="{C3C5FE4A-F8B5-51F6-0508-82252C54976A}"/>
                  </a:ext>
                </a:extLst>
              </p:cNvPr>
              <p:cNvSpPr txBox="1"/>
              <p:nvPr/>
            </p:nvSpPr>
            <p:spPr>
              <a:xfrm>
                <a:off x="4666757" y="3638636"/>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28</a:t>
                </a:r>
              </a:p>
            </p:txBody>
          </p:sp>
          <p:sp>
            <p:nvSpPr>
              <p:cNvPr id="1466" name="TextBox 1465">
                <a:extLst>
                  <a:ext uri="{FF2B5EF4-FFF2-40B4-BE49-F238E27FC236}">
                    <a16:creationId xmlns:a16="http://schemas.microsoft.com/office/drawing/2014/main" id="{F1D78EFE-CB05-76D9-0E8C-04CB85F37DB5}"/>
                  </a:ext>
                </a:extLst>
              </p:cNvPr>
              <p:cNvSpPr txBox="1"/>
              <p:nvPr/>
            </p:nvSpPr>
            <p:spPr>
              <a:xfrm>
                <a:off x="4844388" y="3638636"/>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25</a:t>
                </a:r>
              </a:p>
            </p:txBody>
          </p:sp>
          <p:sp>
            <p:nvSpPr>
              <p:cNvPr id="1467" name="TextBox 1466">
                <a:extLst>
                  <a:ext uri="{FF2B5EF4-FFF2-40B4-BE49-F238E27FC236}">
                    <a16:creationId xmlns:a16="http://schemas.microsoft.com/office/drawing/2014/main" id="{F6D732B2-5392-37B0-86F7-27D0020D2067}"/>
                  </a:ext>
                </a:extLst>
              </p:cNvPr>
              <p:cNvSpPr txBox="1"/>
              <p:nvPr/>
            </p:nvSpPr>
            <p:spPr>
              <a:xfrm>
                <a:off x="5029539" y="3639247"/>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21</a:t>
                </a:r>
              </a:p>
            </p:txBody>
          </p:sp>
          <p:sp>
            <p:nvSpPr>
              <p:cNvPr id="1468" name="TextBox 1467">
                <a:extLst>
                  <a:ext uri="{FF2B5EF4-FFF2-40B4-BE49-F238E27FC236}">
                    <a16:creationId xmlns:a16="http://schemas.microsoft.com/office/drawing/2014/main" id="{DE090E3A-5EDD-175C-3103-5B2BAF870E18}"/>
                  </a:ext>
                </a:extLst>
              </p:cNvPr>
              <p:cNvSpPr txBox="1"/>
              <p:nvPr/>
            </p:nvSpPr>
            <p:spPr>
              <a:xfrm>
                <a:off x="5374080" y="3639247"/>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9</a:t>
                </a:r>
              </a:p>
            </p:txBody>
          </p:sp>
          <p:sp>
            <p:nvSpPr>
              <p:cNvPr id="1469" name="TextBox 1468">
                <a:extLst>
                  <a:ext uri="{FF2B5EF4-FFF2-40B4-BE49-F238E27FC236}">
                    <a16:creationId xmlns:a16="http://schemas.microsoft.com/office/drawing/2014/main" id="{CC7A5E85-6E13-748E-2F25-E627A034A9E2}"/>
                  </a:ext>
                </a:extLst>
              </p:cNvPr>
              <p:cNvSpPr txBox="1"/>
              <p:nvPr/>
            </p:nvSpPr>
            <p:spPr>
              <a:xfrm>
                <a:off x="5907633" y="3639247"/>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6</a:t>
                </a:r>
              </a:p>
            </p:txBody>
          </p:sp>
          <p:sp>
            <p:nvSpPr>
              <p:cNvPr id="1470" name="TextBox 1469">
                <a:extLst>
                  <a:ext uri="{FF2B5EF4-FFF2-40B4-BE49-F238E27FC236}">
                    <a16:creationId xmlns:a16="http://schemas.microsoft.com/office/drawing/2014/main" id="{1BD0FEAC-0E1A-D491-EC3D-81AEC7E2E197}"/>
                  </a:ext>
                </a:extLst>
              </p:cNvPr>
              <p:cNvSpPr txBox="1"/>
              <p:nvPr/>
            </p:nvSpPr>
            <p:spPr>
              <a:xfrm>
                <a:off x="5729850" y="3639247"/>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7</a:t>
                </a:r>
              </a:p>
            </p:txBody>
          </p:sp>
          <p:sp>
            <p:nvSpPr>
              <p:cNvPr id="1471" name="TextBox 1470">
                <a:extLst>
                  <a:ext uri="{FF2B5EF4-FFF2-40B4-BE49-F238E27FC236}">
                    <a16:creationId xmlns:a16="http://schemas.microsoft.com/office/drawing/2014/main" id="{068EA93C-D797-1C7B-99BE-D217105B0B9F}"/>
                  </a:ext>
                </a:extLst>
              </p:cNvPr>
              <p:cNvSpPr txBox="1"/>
              <p:nvPr/>
            </p:nvSpPr>
            <p:spPr>
              <a:xfrm>
                <a:off x="6256696" y="3639247"/>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5</a:t>
                </a:r>
              </a:p>
            </p:txBody>
          </p:sp>
          <p:sp>
            <p:nvSpPr>
              <p:cNvPr id="1472" name="TextBox 1471">
                <a:extLst>
                  <a:ext uri="{FF2B5EF4-FFF2-40B4-BE49-F238E27FC236}">
                    <a16:creationId xmlns:a16="http://schemas.microsoft.com/office/drawing/2014/main" id="{55A5564B-D141-499A-CBF3-A1B98A2ACE69}"/>
                  </a:ext>
                </a:extLst>
              </p:cNvPr>
              <p:cNvSpPr txBox="1"/>
              <p:nvPr/>
            </p:nvSpPr>
            <p:spPr>
              <a:xfrm>
                <a:off x="6819954" y="3639247"/>
                <a:ext cx="184898"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9</a:t>
                </a:r>
              </a:p>
            </p:txBody>
          </p:sp>
          <p:sp>
            <p:nvSpPr>
              <p:cNvPr id="1473" name="TextBox 1472">
                <a:extLst>
                  <a:ext uri="{FF2B5EF4-FFF2-40B4-BE49-F238E27FC236}">
                    <a16:creationId xmlns:a16="http://schemas.microsoft.com/office/drawing/2014/main" id="{63DB3638-22BF-12EE-AFAA-79731FC64E6E}"/>
                  </a:ext>
                </a:extLst>
              </p:cNvPr>
              <p:cNvSpPr txBox="1"/>
              <p:nvPr/>
            </p:nvSpPr>
            <p:spPr>
              <a:xfrm>
                <a:off x="7353239" y="3639247"/>
                <a:ext cx="184898"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5</a:t>
                </a:r>
              </a:p>
            </p:txBody>
          </p:sp>
          <p:sp>
            <p:nvSpPr>
              <p:cNvPr id="1474" name="TextBox 1473">
                <a:extLst>
                  <a:ext uri="{FF2B5EF4-FFF2-40B4-BE49-F238E27FC236}">
                    <a16:creationId xmlns:a16="http://schemas.microsoft.com/office/drawing/2014/main" id="{0990CBB0-B870-6551-6E9E-F8A724CE3B9C}"/>
                  </a:ext>
                </a:extLst>
              </p:cNvPr>
              <p:cNvSpPr txBox="1"/>
              <p:nvPr/>
            </p:nvSpPr>
            <p:spPr>
              <a:xfrm>
                <a:off x="7531327" y="3639247"/>
                <a:ext cx="184898"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3</a:t>
                </a:r>
              </a:p>
            </p:txBody>
          </p:sp>
          <p:sp>
            <p:nvSpPr>
              <p:cNvPr id="1475" name="TextBox 1474">
                <a:extLst>
                  <a:ext uri="{FF2B5EF4-FFF2-40B4-BE49-F238E27FC236}">
                    <a16:creationId xmlns:a16="http://schemas.microsoft.com/office/drawing/2014/main" id="{CCE44C73-CF1A-49BC-218E-46EB38415069}"/>
                  </a:ext>
                </a:extLst>
              </p:cNvPr>
              <p:cNvSpPr txBox="1"/>
              <p:nvPr/>
            </p:nvSpPr>
            <p:spPr>
              <a:xfrm>
                <a:off x="7706520" y="3639247"/>
                <a:ext cx="184898"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a:t>
                </a:r>
              </a:p>
            </p:txBody>
          </p:sp>
          <p:sp>
            <p:nvSpPr>
              <p:cNvPr id="1476" name="TextBox 1475">
                <a:extLst>
                  <a:ext uri="{FF2B5EF4-FFF2-40B4-BE49-F238E27FC236}">
                    <a16:creationId xmlns:a16="http://schemas.microsoft.com/office/drawing/2014/main" id="{51BE1EBC-94B4-03EE-6527-1D241CAF04E9}"/>
                  </a:ext>
                </a:extLst>
              </p:cNvPr>
              <p:cNvSpPr txBox="1"/>
              <p:nvPr/>
            </p:nvSpPr>
            <p:spPr>
              <a:xfrm>
                <a:off x="5200463" y="3639247"/>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20</a:t>
                </a:r>
              </a:p>
            </p:txBody>
          </p:sp>
          <p:sp>
            <p:nvSpPr>
              <p:cNvPr id="1477" name="TextBox 1476">
                <a:extLst>
                  <a:ext uri="{FF2B5EF4-FFF2-40B4-BE49-F238E27FC236}">
                    <a16:creationId xmlns:a16="http://schemas.microsoft.com/office/drawing/2014/main" id="{7A77FC1D-F0B8-99FB-082F-260E80A00454}"/>
                  </a:ext>
                </a:extLst>
              </p:cNvPr>
              <p:cNvSpPr txBox="1"/>
              <p:nvPr/>
            </p:nvSpPr>
            <p:spPr>
              <a:xfrm>
                <a:off x="7175456" y="3639247"/>
                <a:ext cx="184898"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7</a:t>
                </a:r>
              </a:p>
            </p:txBody>
          </p:sp>
          <p:sp>
            <p:nvSpPr>
              <p:cNvPr id="1478" name="TextBox 1477">
                <a:extLst>
                  <a:ext uri="{FF2B5EF4-FFF2-40B4-BE49-F238E27FC236}">
                    <a16:creationId xmlns:a16="http://schemas.microsoft.com/office/drawing/2014/main" id="{57407B9D-C3BB-F9E3-8292-855DA518433E}"/>
                  </a:ext>
                </a:extLst>
              </p:cNvPr>
              <p:cNvSpPr txBox="1"/>
              <p:nvPr/>
            </p:nvSpPr>
            <p:spPr>
              <a:xfrm>
                <a:off x="6435191" y="3639247"/>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2</a:t>
                </a:r>
              </a:p>
            </p:txBody>
          </p:sp>
          <p:sp>
            <p:nvSpPr>
              <p:cNvPr id="1479" name="TextBox 1478">
                <a:extLst>
                  <a:ext uri="{FF2B5EF4-FFF2-40B4-BE49-F238E27FC236}">
                    <a16:creationId xmlns:a16="http://schemas.microsoft.com/office/drawing/2014/main" id="{EA361819-0E0B-E99A-A800-4C9D9EA7136A}"/>
                  </a:ext>
                </a:extLst>
              </p:cNvPr>
              <p:cNvSpPr txBox="1"/>
              <p:nvPr/>
            </p:nvSpPr>
            <p:spPr>
              <a:xfrm>
                <a:off x="6619681" y="3639247"/>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11</a:t>
                </a:r>
              </a:p>
            </p:txBody>
          </p:sp>
          <p:sp>
            <p:nvSpPr>
              <p:cNvPr id="1480" name="TextBox 1479">
                <a:extLst>
                  <a:ext uri="{FF2B5EF4-FFF2-40B4-BE49-F238E27FC236}">
                    <a16:creationId xmlns:a16="http://schemas.microsoft.com/office/drawing/2014/main" id="{5DFF2163-BE5D-BA80-F16E-2A529FFA96E4}"/>
                  </a:ext>
                </a:extLst>
              </p:cNvPr>
              <p:cNvSpPr txBox="1"/>
              <p:nvPr/>
            </p:nvSpPr>
            <p:spPr>
              <a:xfrm>
                <a:off x="7838492" y="3639247"/>
                <a:ext cx="266973"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NE</a:t>
                </a:r>
              </a:p>
            </p:txBody>
          </p:sp>
        </p:grpSp>
        <p:sp>
          <p:nvSpPr>
            <p:cNvPr id="1481" name="TextBox 1480">
              <a:extLst>
                <a:ext uri="{FF2B5EF4-FFF2-40B4-BE49-F238E27FC236}">
                  <a16:creationId xmlns:a16="http://schemas.microsoft.com/office/drawing/2014/main" id="{97052482-4119-D3E5-70D6-4E531BC32E78}"/>
                </a:ext>
              </a:extLst>
            </p:cNvPr>
            <p:cNvSpPr txBox="1"/>
            <p:nvPr/>
          </p:nvSpPr>
          <p:spPr>
            <a:xfrm>
              <a:off x="542084" y="3756977"/>
              <a:ext cx="654552" cy="19959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66" b="1"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All patients</a:t>
              </a:r>
            </a:p>
          </p:txBody>
        </p:sp>
        <p:sp>
          <p:nvSpPr>
            <p:cNvPr id="1482" name="TextBox 1481">
              <a:extLst>
                <a:ext uri="{FF2B5EF4-FFF2-40B4-BE49-F238E27FC236}">
                  <a16:creationId xmlns:a16="http://schemas.microsoft.com/office/drawing/2014/main" id="{8EBACE45-71BA-6264-3830-963C34C31ED7}"/>
                </a:ext>
              </a:extLst>
            </p:cNvPr>
            <p:cNvSpPr txBox="1"/>
            <p:nvPr/>
          </p:nvSpPr>
          <p:spPr>
            <a:xfrm>
              <a:off x="534665" y="3521471"/>
              <a:ext cx="613514" cy="19959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66" b="1"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Prior BTKi</a:t>
              </a:r>
            </a:p>
          </p:txBody>
        </p:sp>
        <p:sp>
          <p:nvSpPr>
            <p:cNvPr id="1483" name="TextBox 1482">
              <a:extLst>
                <a:ext uri="{FF2B5EF4-FFF2-40B4-BE49-F238E27FC236}">
                  <a16:creationId xmlns:a16="http://schemas.microsoft.com/office/drawing/2014/main" id="{BD4DA23A-73A7-A7B2-258F-F36CF843AA21}"/>
                </a:ext>
              </a:extLst>
            </p:cNvPr>
            <p:cNvSpPr txBox="1"/>
            <p:nvPr/>
          </p:nvSpPr>
          <p:spPr>
            <a:xfrm>
              <a:off x="534665" y="3643911"/>
              <a:ext cx="634033" cy="19959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66" b="1"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BTKi naïve</a:t>
              </a:r>
            </a:p>
          </p:txBody>
        </p:sp>
        <p:grpSp>
          <p:nvGrpSpPr>
            <p:cNvPr id="1484" name="Graphic 4">
              <a:extLst>
                <a:ext uri="{FF2B5EF4-FFF2-40B4-BE49-F238E27FC236}">
                  <a16:creationId xmlns:a16="http://schemas.microsoft.com/office/drawing/2014/main" id="{F81FE907-6328-CC74-074A-32A551E18A5B}"/>
                </a:ext>
              </a:extLst>
            </p:cNvPr>
            <p:cNvGrpSpPr/>
            <p:nvPr/>
          </p:nvGrpSpPr>
          <p:grpSpPr>
            <a:xfrm>
              <a:off x="1226403" y="3634970"/>
              <a:ext cx="4149942" cy="200203"/>
              <a:chOff x="4489025" y="3761089"/>
              <a:chExt cx="4149942" cy="200203"/>
            </a:xfrm>
            <a:solidFill>
              <a:srgbClr val="544F4F"/>
            </a:solidFill>
          </p:grpSpPr>
          <p:sp>
            <p:nvSpPr>
              <p:cNvPr id="1485" name="TextBox 1484">
                <a:extLst>
                  <a:ext uri="{FF2B5EF4-FFF2-40B4-BE49-F238E27FC236}">
                    <a16:creationId xmlns:a16="http://schemas.microsoft.com/office/drawing/2014/main" id="{9FCBD0CD-A1D4-8B5A-D5FD-CDD7FAC753D1}"/>
                  </a:ext>
                </a:extLst>
              </p:cNvPr>
              <p:cNvSpPr txBox="1"/>
              <p:nvPr/>
            </p:nvSpPr>
            <p:spPr>
              <a:xfrm>
                <a:off x="4489025" y="3761700"/>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7</a:t>
                </a:r>
              </a:p>
            </p:txBody>
          </p:sp>
          <p:sp>
            <p:nvSpPr>
              <p:cNvPr id="1486" name="TextBox 1485">
                <a:extLst>
                  <a:ext uri="{FF2B5EF4-FFF2-40B4-BE49-F238E27FC236}">
                    <a16:creationId xmlns:a16="http://schemas.microsoft.com/office/drawing/2014/main" id="{8057A4A3-D865-FC51-6A73-8680C70DE527}"/>
                  </a:ext>
                </a:extLst>
              </p:cNvPr>
              <p:cNvSpPr txBox="1"/>
              <p:nvPr/>
            </p:nvSpPr>
            <p:spPr>
              <a:xfrm>
                <a:off x="6997825" y="3761700"/>
                <a:ext cx="184898"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8</a:t>
                </a:r>
              </a:p>
            </p:txBody>
          </p:sp>
          <p:sp>
            <p:nvSpPr>
              <p:cNvPr id="1487" name="TextBox 1486">
                <a:extLst>
                  <a:ext uri="{FF2B5EF4-FFF2-40B4-BE49-F238E27FC236}">
                    <a16:creationId xmlns:a16="http://schemas.microsoft.com/office/drawing/2014/main" id="{1A4C0FD5-0CC6-BA3F-6FED-B686D6248298}"/>
                  </a:ext>
                </a:extLst>
              </p:cNvPr>
              <p:cNvSpPr txBox="1"/>
              <p:nvPr/>
            </p:nvSpPr>
            <p:spPr>
              <a:xfrm>
                <a:off x="5556385" y="3761700"/>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2</a:t>
                </a:r>
              </a:p>
            </p:txBody>
          </p:sp>
          <p:sp>
            <p:nvSpPr>
              <p:cNvPr id="1488" name="TextBox 1487">
                <a:extLst>
                  <a:ext uri="{FF2B5EF4-FFF2-40B4-BE49-F238E27FC236}">
                    <a16:creationId xmlns:a16="http://schemas.microsoft.com/office/drawing/2014/main" id="{F8D8397F-6ED1-DFC1-2178-6AAAC61F183A}"/>
                  </a:ext>
                </a:extLst>
              </p:cNvPr>
              <p:cNvSpPr txBox="1"/>
              <p:nvPr/>
            </p:nvSpPr>
            <p:spPr>
              <a:xfrm>
                <a:off x="6083282" y="3761700"/>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0</a:t>
                </a:r>
              </a:p>
            </p:txBody>
          </p:sp>
          <p:sp>
            <p:nvSpPr>
              <p:cNvPr id="1489" name="TextBox 1488">
                <a:extLst>
                  <a:ext uri="{FF2B5EF4-FFF2-40B4-BE49-F238E27FC236}">
                    <a16:creationId xmlns:a16="http://schemas.microsoft.com/office/drawing/2014/main" id="{1026EA9B-B1FE-A3BE-D0AF-3AFB78AE5D20}"/>
                  </a:ext>
                </a:extLst>
              </p:cNvPr>
              <p:cNvSpPr txBox="1"/>
              <p:nvPr/>
            </p:nvSpPr>
            <p:spPr>
              <a:xfrm>
                <a:off x="4666859" y="3761700"/>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7</a:t>
                </a:r>
              </a:p>
            </p:txBody>
          </p:sp>
          <p:sp>
            <p:nvSpPr>
              <p:cNvPr id="1490" name="TextBox 1489">
                <a:extLst>
                  <a:ext uri="{FF2B5EF4-FFF2-40B4-BE49-F238E27FC236}">
                    <a16:creationId xmlns:a16="http://schemas.microsoft.com/office/drawing/2014/main" id="{208F706C-80E9-A357-DB75-3F99A14DC35C}"/>
                  </a:ext>
                </a:extLst>
              </p:cNvPr>
              <p:cNvSpPr txBox="1"/>
              <p:nvPr/>
            </p:nvSpPr>
            <p:spPr>
              <a:xfrm>
                <a:off x="4844642" y="3761089"/>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6</a:t>
                </a:r>
              </a:p>
            </p:txBody>
          </p:sp>
          <p:sp>
            <p:nvSpPr>
              <p:cNvPr id="1491" name="TextBox 1490">
                <a:extLst>
                  <a:ext uri="{FF2B5EF4-FFF2-40B4-BE49-F238E27FC236}">
                    <a16:creationId xmlns:a16="http://schemas.microsoft.com/office/drawing/2014/main" id="{951A2F22-68C7-2DD9-8409-FD09A20F2DF4}"/>
                  </a:ext>
                </a:extLst>
              </p:cNvPr>
              <p:cNvSpPr txBox="1"/>
              <p:nvPr/>
            </p:nvSpPr>
            <p:spPr>
              <a:xfrm>
                <a:off x="5022629" y="3761700"/>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4</a:t>
                </a:r>
              </a:p>
            </p:txBody>
          </p:sp>
          <p:sp>
            <p:nvSpPr>
              <p:cNvPr id="1492" name="TextBox 1491">
                <a:extLst>
                  <a:ext uri="{FF2B5EF4-FFF2-40B4-BE49-F238E27FC236}">
                    <a16:creationId xmlns:a16="http://schemas.microsoft.com/office/drawing/2014/main" id="{A474D8D7-ECBD-FB33-D6B1-61A3C27DCEA3}"/>
                  </a:ext>
                </a:extLst>
              </p:cNvPr>
              <p:cNvSpPr txBox="1"/>
              <p:nvPr/>
            </p:nvSpPr>
            <p:spPr>
              <a:xfrm>
                <a:off x="5378297" y="3761700"/>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4</a:t>
                </a:r>
              </a:p>
            </p:txBody>
          </p:sp>
          <p:sp>
            <p:nvSpPr>
              <p:cNvPr id="1493" name="TextBox 1492">
                <a:extLst>
                  <a:ext uri="{FF2B5EF4-FFF2-40B4-BE49-F238E27FC236}">
                    <a16:creationId xmlns:a16="http://schemas.microsoft.com/office/drawing/2014/main" id="{546A023D-0B34-FB12-F43A-AA2E02D84CCD}"/>
                  </a:ext>
                </a:extLst>
              </p:cNvPr>
              <p:cNvSpPr txBox="1"/>
              <p:nvPr/>
            </p:nvSpPr>
            <p:spPr>
              <a:xfrm>
                <a:off x="5918710" y="3761700"/>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1</a:t>
                </a:r>
              </a:p>
            </p:txBody>
          </p:sp>
          <p:sp>
            <p:nvSpPr>
              <p:cNvPr id="1494" name="TextBox 1493">
                <a:extLst>
                  <a:ext uri="{FF2B5EF4-FFF2-40B4-BE49-F238E27FC236}">
                    <a16:creationId xmlns:a16="http://schemas.microsoft.com/office/drawing/2014/main" id="{368F1D75-8320-C3DE-E174-D5CDDC8D6ECA}"/>
                  </a:ext>
                </a:extLst>
              </p:cNvPr>
              <p:cNvSpPr txBox="1"/>
              <p:nvPr/>
            </p:nvSpPr>
            <p:spPr>
              <a:xfrm>
                <a:off x="5734219" y="3761700"/>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2</a:t>
                </a:r>
              </a:p>
            </p:txBody>
          </p:sp>
          <p:sp>
            <p:nvSpPr>
              <p:cNvPr id="1495" name="TextBox 1494">
                <a:extLst>
                  <a:ext uri="{FF2B5EF4-FFF2-40B4-BE49-F238E27FC236}">
                    <a16:creationId xmlns:a16="http://schemas.microsoft.com/office/drawing/2014/main" id="{089ABD5A-1D83-C24B-DCEC-7361A4F5490C}"/>
                  </a:ext>
                </a:extLst>
              </p:cNvPr>
              <p:cNvSpPr txBox="1"/>
              <p:nvPr/>
            </p:nvSpPr>
            <p:spPr>
              <a:xfrm>
                <a:off x="6256899" y="3761700"/>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8</a:t>
                </a:r>
              </a:p>
            </p:txBody>
          </p:sp>
          <p:sp>
            <p:nvSpPr>
              <p:cNvPr id="1496" name="TextBox 1495">
                <a:extLst>
                  <a:ext uri="{FF2B5EF4-FFF2-40B4-BE49-F238E27FC236}">
                    <a16:creationId xmlns:a16="http://schemas.microsoft.com/office/drawing/2014/main" id="{6031F8E2-3901-2D29-F70B-5C9410A8030A}"/>
                  </a:ext>
                </a:extLst>
              </p:cNvPr>
              <p:cNvSpPr txBox="1"/>
              <p:nvPr/>
            </p:nvSpPr>
            <p:spPr>
              <a:xfrm>
                <a:off x="6819990" y="3761700"/>
                <a:ext cx="184898"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8</a:t>
                </a:r>
              </a:p>
            </p:txBody>
          </p:sp>
          <p:sp>
            <p:nvSpPr>
              <p:cNvPr id="1497" name="TextBox 1496">
                <a:extLst>
                  <a:ext uri="{FF2B5EF4-FFF2-40B4-BE49-F238E27FC236}">
                    <a16:creationId xmlns:a16="http://schemas.microsoft.com/office/drawing/2014/main" id="{4309E8D4-2517-7746-97A9-8002CB99CF2F}"/>
                  </a:ext>
                </a:extLst>
              </p:cNvPr>
              <p:cNvSpPr txBox="1"/>
              <p:nvPr/>
            </p:nvSpPr>
            <p:spPr>
              <a:xfrm>
                <a:off x="7353495" y="3761700"/>
                <a:ext cx="184898"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8</a:t>
                </a:r>
              </a:p>
            </p:txBody>
          </p:sp>
          <p:sp>
            <p:nvSpPr>
              <p:cNvPr id="1498" name="TextBox 1497">
                <a:extLst>
                  <a:ext uri="{FF2B5EF4-FFF2-40B4-BE49-F238E27FC236}">
                    <a16:creationId xmlns:a16="http://schemas.microsoft.com/office/drawing/2014/main" id="{53D99B32-4F96-2FED-20C8-52E066889924}"/>
                  </a:ext>
                </a:extLst>
              </p:cNvPr>
              <p:cNvSpPr txBox="1"/>
              <p:nvPr/>
            </p:nvSpPr>
            <p:spPr>
              <a:xfrm>
                <a:off x="7532394" y="3761700"/>
                <a:ext cx="184898"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a:t>
                </a:r>
              </a:p>
            </p:txBody>
          </p:sp>
          <p:sp>
            <p:nvSpPr>
              <p:cNvPr id="1499" name="TextBox 1498">
                <a:extLst>
                  <a:ext uri="{FF2B5EF4-FFF2-40B4-BE49-F238E27FC236}">
                    <a16:creationId xmlns:a16="http://schemas.microsoft.com/office/drawing/2014/main" id="{3B7B105D-340C-9978-A4C3-9DD9AF324EB9}"/>
                  </a:ext>
                </a:extLst>
              </p:cNvPr>
              <p:cNvSpPr txBox="1"/>
              <p:nvPr/>
            </p:nvSpPr>
            <p:spPr>
              <a:xfrm>
                <a:off x="7706519" y="3761700"/>
                <a:ext cx="184898"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a:t>
                </a:r>
              </a:p>
            </p:txBody>
          </p:sp>
          <p:sp>
            <p:nvSpPr>
              <p:cNvPr id="1500" name="TextBox 1499">
                <a:extLst>
                  <a:ext uri="{FF2B5EF4-FFF2-40B4-BE49-F238E27FC236}">
                    <a16:creationId xmlns:a16="http://schemas.microsoft.com/office/drawing/2014/main" id="{EFB2D174-E607-41F3-D7AE-2622DF2DCC61}"/>
                  </a:ext>
                </a:extLst>
              </p:cNvPr>
              <p:cNvSpPr txBox="1"/>
              <p:nvPr/>
            </p:nvSpPr>
            <p:spPr>
              <a:xfrm>
                <a:off x="5200463" y="3761700"/>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24</a:t>
                </a:r>
              </a:p>
            </p:txBody>
          </p:sp>
          <p:sp>
            <p:nvSpPr>
              <p:cNvPr id="1501" name="TextBox 1500">
                <a:extLst>
                  <a:ext uri="{FF2B5EF4-FFF2-40B4-BE49-F238E27FC236}">
                    <a16:creationId xmlns:a16="http://schemas.microsoft.com/office/drawing/2014/main" id="{F76948E5-6126-055D-1A2A-EF414BB59B0A}"/>
                  </a:ext>
                </a:extLst>
              </p:cNvPr>
              <p:cNvSpPr txBox="1"/>
              <p:nvPr/>
            </p:nvSpPr>
            <p:spPr>
              <a:xfrm>
                <a:off x="7175659" y="3761700"/>
                <a:ext cx="184898"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8</a:t>
                </a:r>
              </a:p>
            </p:txBody>
          </p:sp>
          <p:sp>
            <p:nvSpPr>
              <p:cNvPr id="1502" name="TextBox 1501">
                <a:extLst>
                  <a:ext uri="{FF2B5EF4-FFF2-40B4-BE49-F238E27FC236}">
                    <a16:creationId xmlns:a16="http://schemas.microsoft.com/office/drawing/2014/main" id="{3E424281-1DE5-65FA-AA20-A15935DEFC73}"/>
                  </a:ext>
                </a:extLst>
              </p:cNvPr>
              <p:cNvSpPr txBox="1"/>
              <p:nvPr/>
            </p:nvSpPr>
            <p:spPr>
              <a:xfrm>
                <a:off x="8371994" y="3761700"/>
                <a:ext cx="266973"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NE</a:t>
                </a:r>
              </a:p>
            </p:txBody>
          </p:sp>
          <p:sp>
            <p:nvSpPr>
              <p:cNvPr id="1503" name="TextBox 1502">
                <a:extLst>
                  <a:ext uri="{FF2B5EF4-FFF2-40B4-BE49-F238E27FC236}">
                    <a16:creationId xmlns:a16="http://schemas.microsoft.com/office/drawing/2014/main" id="{941611B0-EB53-5A6B-E053-770A6168D470}"/>
                  </a:ext>
                </a:extLst>
              </p:cNvPr>
              <p:cNvSpPr txBox="1"/>
              <p:nvPr/>
            </p:nvSpPr>
            <p:spPr>
              <a:xfrm>
                <a:off x="8062187" y="3761700"/>
                <a:ext cx="184898"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a:t>
                </a:r>
              </a:p>
            </p:txBody>
          </p:sp>
          <p:sp>
            <p:nvSpPr>
              <p:cNvPr id="1504" name="TextBox 1503">
                <a:extLst>
                  <a:ext uri="{FF2B5EF4-FFF2-40B4-BE49-F238E27FC236}">
                    <a16:creationId xmlns:a16="http://schemas.microsoft.com/office/drawing/2014/main" id="{13CE5DF8-35CE-7649-13BD-4487F1B382BD}"/>
                  </a:ext>
                </a:extLst>
              </p:cNvPr>
              <p:cNvSpPr txBox="1"/>
              <p:nvPr/>
            </p:nvSpPr>
            <p:spPr>
              <a:xfrm>
                <a:off x="8240022" y="3761700"/>
                <a:ext cx="184898"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a:t>
                </a:r>
              </a:p>
            </p:txBody>
          </p:sp>
          <p:sp>
            <p:nvSpPr>
              <p:cNvPr id="1505" name="TextBox 1504">
                <a:extLst>
                  <a:ext uri="{FF2B5EF4-FFF2-40B4-BE49-F238E27FC236}">
                    <a16:creationId xmlns:a16="http://schemas.microsoft.com/office/drawing/2014/main" id="{5167CBE6-D455-5CDB-E3AB-3BCE216526E0}"/>
                  </a:ext>
                </a:extLst>
              </p:cNvPr>
              <p:cNvSpPr txBox="1"/>
              <p:nvPr/>
            </p:nvSpPr>
            <p:spPr>
              <a:xfrm>
                <a:off x="6434835" y="3761700"/>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7</a:t>
                </a:r>
              </a:p>
            </p:txBody>
          </p:sp>
          <p:sp>
            <p:nvSpPr>
              <p:cNvPr id="1506" name="TextBox 1505">
                <a:extLst>
                  <a:ext uri="{FF2B5EF4-FFF2-40B4-BE49-F238E27FC236}">
                    <a16:creationId xmlns:a16="http://schemas.microsoft.com/office/drawing/2014/main" id="{93652A81-DA8A-78BC-46AD-B858A428F56A}"/>
                  </a:ext>
                </a:extLst>
              </p:cNvPr>
              <p:cNvSpPr txBox="1"/>
              <p:nvPr/>
            </p:nvSpPr>
            <p:spPr>
              <a:xfrm>
                <a:off x="6612364" y="3761700"/>
                <a:ext cx="238474"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5</a:t>
                </a:r>
              </a:p>
            </p:txBody>
          </p:sp>
          <p:sp>
            <p:nvSpPr>
              <p:cNvPr id="1507" name="TextBox 1506">
                <a:extLst>
                  <a:ext uri="{FF2B5EF4-FFF2-40B4-BE49-F238E27FC236}">
                    <a16:creationId xmlns:a16="http://schemas.microsoft.com/office/drawing/2014/main" id="{C58927E7-C343-0AB4-EB9D-2182292B1E75}"/>
                  </a:ext>
                </a:extLst>
              </p:cNvPr>
              <p:cNvSpPr txBox="1"/>
              <p:nvPr/>
            </p:nvSpPr>
            <p:spPr>
              <a:xfrm>
                <a:off x="7884353" y="3761700"/>
                <a:ext cx="184898" cy="19959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544F4F"/>
                    </a:solidFill>
                    <a:effectLst/>
                    <a:uLnTx/>
                    <a:uFillTx/>
                    <a:latin typeface="Arial"/>
                    <a:ea typeface="MS PGothic" panose="020B0600070205080204" pitchFamily="34" charset="-128"/>
                    <a:cs typeface="Arial"/>
                    <a:sym typeface="Arial"/>
                    <a:rtl val="0"/>
                  </a:rPr>
                  <a:t>1</a:t>
                </a:r>
              </a:p>
            </p:txBody>
          </p:sp>
        </p:grpSp>
        <p:sp>
          <p:nvSpPr>
            <p:cNvPr id="1508" name="Freeform 1844">
              <a:extLst>
                <a:ext uri="{FF2B5EF4-FFF2-40B4-BE49-F238E27FC236}">
                  <a16:creationId xmlns:a16="http://schemas.microsoft.com/office/drawing/2014/main" id="{F7E2DB85-3822-8F0D-7BFB-9AE0D6F2CB92}"/>
                </a:ext>
              </a:extLst>
            </p:cNvPr>
            <p:cNvSpPr/>
            <p:nvPr/>
          </p:nvSpPr>
          <p:spPr>
            <a:xfrm>
              <a:off x="1338890" y="1329730"/>
              <a:ext cx="3870280" cy="552338"/>
            </a:xfrm>
            <a:custGeom>
              <a:avLst/>
              <a:gdLst>
                <a:gd name="connsiteX0" fmla="*/ 0 w 3870280"/>
                <a:gd name="connsiteY0" fmla="*/ 0 h 552338"/>
                <a:gd name="connsiteX1" fmla="*/ 302140 w 3870280"/>
                <a:gd name="connsiteY1" fmla="*/ 0 h 552338"/>
                <a:gd name="connsiteX2" fmla="*/ 302140 w 3870280"/>
                <a:gd name="connsiteY2" fmla="*/ 69098 h 552338"/>
                <a:gd name="connsiteX3" fmla="*/ 372512 w 3870280"/>
                <a:gd name="connsiteY3" fmla="*/ 69098 h 552338"/>
                <a:gd name="connsiteX4" fmla="*/ 372512 w 3870280"/>
                <a:gd name="connsiteY4" fmla="*/ 136107 h 552338"/>
                <a:gd name="connsiteX5" fmla="*/ 489031 w 3870280"/>
                <a:gd name="connsiteY5" fmla="*/ 136107 h 552338"/>
                <a:gd name="connsiteX6" fmla="*/ 489031 w 3870280"/>
                <a:gd name="connsiteY6" fmla="*/ 207638 h 552338"/>
                <a:gd name="connsiteX7" fmla="*/ 909304 w 3870280"/>
                <a:gd name="connsiteY7" fmla="*/ 207638 h 552338"/>
                <a:gd name="connsiteX8" fmla="*/ 909304 w 3870280"/>
                <a:gd name="connsiteY8" fmla="*/ 274953 h 552338"/>
                <a:gd name="connsiteX9" fmla="*/ 1008078 w 3870280"/>
                <a:gd name="connsiteY9" fmla="*/ 274953 h 552338"/>
                <a:gd name="connsiteX10" fmla="*/ 1008078 w 3870280"/>
                <a:gd name="connsiteY10" fmla="*/ 346165 h 552338"/>
                <a:gd name="connsiteX11" fmla="*/ 1279555 w 3870280"/>
                <a:gd name="connsiteY11" fmla="*/ 346165 h 552338"/>
                <a:gd name="connsiteX12" fmla="*/ 1279555 w 3870280"/>
                <a:gd name="connsiteY12" fmla="*/ 413811 h 552338"/>
                <a:gd name="connsiteX13" fmla="*/ 1597827 w 3870280"/>
                <a:gd name="connsiteY13" fmla="*/ 413811 h 552338"/>
                <a:gd name="connsiteX14" fmla="*/ 1597827 w 3870280"/>
                <a:gd name="connsiteY14" fmla="*/ 482756 h 552338"/>
                <a:gd name="connsiteX15" fmla="*/ 1688205 w 3870280"/>
                <a:gd name="connsiteY15" fmla="*/ 482756 h 552338"/>
                <a:gd name="connsiteX16" fmla="*/ 1688205 w 3870280"/>
                <a:gd name="connsiteY16" fmla="*/ 552338 h 552338"/>
                <a:gd name="connsiteX17" fmla="*/ 3870281 w 3870280"/>
                <a:gd name="connsiteY17" fmla="*/ 552338 h 55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70280" h="552338">
                  <a:moveTo>
                    <a:pt x="0" y="0"/>
                  </a:moveTo>
                  <a:lnTo>
                    <a:pt x="302140" y="0"/>
                  </a:lnTo>
                  <a:lnTo>
                    <a:pt x="302140" y="69098"/>
                  </a:lnTo>
                  <a:lnTo>
                    <a:pt x="372512" y="69098"/>
                  </a:lnTo>
                  <a:lnTo>
                    <a:pt x="372512" y="136107"/>
                  </a:lnTo>
                  <a:lnTo>
                    <a:pt x="489031" y="136107"/>
                  </a:lnTo>
                  <a:lnTo>
                    <a:pt x="489031" y="207638"/>
                  </a:lnTo>
                  <a:lnTo>
                    <a:pt x="909304" y="207638"/>
                  </a:lnTo>
                  <a:lnTo>
                    <a:pt x="909304" y="274953"/>
                  </a:lnTo>
                  <a:lnTo>
                    <a:pt x="1008078" y="274953"/>
                  </a:lnTo>
                  <a:lnTo>
                    <a:pt x="1008078" y="346165"/>
                  </a:lnTo>
                  <a:lnTo>
                    <a:pt x="1279555" y="346165"/>
                  </a:lnTo>
                  <a:lnTo>
                    <a:pt x="1279555" y="413811"/>
                  </a:lnTo>
                  <a:lnTo>
                    <a:pt x="1597827" y="413811"/>
                  </a:lnTo>
                  <a:lnTo>
                    <a:pt x="1597827" y="482756"/>
                  </a:lnTo>
                  <a:lnTo>
                    <a:pt x="1688205" y="482756"/>
                  </a:lnTo>
                  <a:lnTo>
                    <a:pt x="1688205" y="552338"/>
                  </a:lnTo>
                  <a:lnTo>
                    <a:pt x="3870281" y="552338"/>
                  </a:lnTo>
                </a:path>
              </a:pathLst>
            </a:custGeom>
            <a:noFill/>
            <a:ln w="19050"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09" name="Freeform 1845">
              <a:extLst>
                <a:ext uri="{FF2B5EF4-FFF2-40B4-BE49-F238E27FC236}">
                  <a16:creationId xmlns:a16="http://schemas.microsoft.com/office/drawing/2014/main" id="{197805E9-E3A5-D8C2-D349-751FE6861A6F}"/>
                </a:ext>
              </a:extLst>
            </p:cNvPr>
            <p:cNvSpPr/>
            <p:nvPr/>
          </p:nvSpPr>
          <p:spPr>
            <a:xfrm>
              <a:off x="1342675" y="1329909"/>
              <a:ext cx="3279985" cy="1198382"/>
            </a:xfrm>
            <a:custGeom>
              <a:avLst/>
              <a:gdLst>
                <a:gd name="connsiteX0" fmla="*/ 0 w 3279985"/>
                <a:gd name="connsiteY0" fmla="*/ 0 h 1198382"/>
                <a:gd name="connsiteX1" fmla="*/ 32264 w 3279985"/>
                <a:gd name="connsiteY1" fmla="*/ 0 h 1198382"/>
                <a:gd name="connsiteX2" fmla="*/ 32264 w 3279985"/>
                <a:gd name="connsiteY2" fmla="*/ 53801 h 1198382"/>
                <a:gd name="connsiteX3" fmla="*/ 39987 w 3279985"/>
                <a:gd name="connsiteY3" fmla="*/ 53801 h 1198382"/>
                <a:gd name="connsiteX4" fmla="*/ 39987 w 3279985"/>
                <a:gd name="connsiteY4" fmla="*/ 110620 h 1198382"/>
                <a:gd name="connsiteX5" fmla="*/ 58761 w 3279985"/>
                <a:gd name="connsiteY5" fmla="*/ 110620 h 1198382"/>
                <a:gd name="connsiteX6" fmla="*/ 58761 w 3279985"/>
                <a:gd name="connsiteY6" fmla="*/ 166103 h 1198382"/>
                <a:gd name="connsiteX7" fmla="*/ 110410 w 3279985"/>
                <a:gd name="connsiteY7" fmla="*/ 166103 h 1198382"/>
                <a:gd name="connsiteX8" fmla="*/ 110410 w 3279985"/>
                <a:gd name="connsiteY8" fmla="*/ 223941 h 1198382"/>
                <a:gd name="connsiteX9" fmla="*/ 116443 w 3279985"/>
                <a:gd name="connsiteY9" fmla="*/ 223941 h 1198382"/>
                <a:gd name="connsiteX10" fmla="*/ 116443 w 3279985"/>
                <a:gd name="connsiteY10" fmla="*/ 280761 h 1198382"/>
                <a:gd name="connsiteX11" fmla="*/ 238831 w 3279985"/>
                <a:gd name="connsiteY11" fmla="*/ 280761 h 1198382"/>
                <a:gd name="connsiteX12" fmla="*/ 238831 w 3279985"/>
                <a:gd name="connsiteY12" fmla="*/ 337262 h 1198382"/>
                <a:gd name="connsiteX13" fmla="*/ 282096 w 3279985"/>
                <a:gd name="connsiteY13" fmla="*/ 337262 h 1198382"/>
                <a:gd name="connsiteX14" fmla="*/ 282096 w 3279985"/>
                <a:gd name="connsiteY14" fmla="*/ 394413 h 1198382"/>
                <a:gd name="connsiteX15" fmla="*/ 299867 w 3279985"/>
                <a:gd name="connsiteY15" fmla="*/ 394413 h 1198382"/>
                <a:gd name="connsiteX16" fmla="*/ 299867 w 3279985"/>
                <a:gd name="connsiteY16" fmla="*/ 449895 h 1198382"/>
                <a:gd name="connsiteX17" fmla="*/ 363252 w 3279985"/>
                <a:gd name="connsiteY17" fmla="*/ 449895 h 1198382"/>
                <a:gd name="connsiteX18" fmla="*/ 363252 w 3279985"/>
                <a:gd name="connsiteY18" fmla="*/ 507733 h 1198382"/>
                <a:gd name="connsiteX19" fmla="*/ 520178 w 3279985"/>
                <a:gd name="connsiteY19" fmla="*/ 507733 h 1198382"/>
                <a:gd name="connsiteX20" fmla="*/ 520178 w 3279985"/>
                <a:gd name="connsiteY20" fmla="*/ 563547 h 1198382"/>
                <a:gd name="connsiteX21" fmla="*/ 531915 w 3279985"/>
                <a:gd name="connsiteY21" fmla="*/ 563547 h 1198382"/>
                <a:gd name="connsiteX22" fmla="*/ 531915 w 3279985"/>
                <a:gd name="connsiteY22" fmla="*/ 626760 h 1198382"/>
                <a:gd name="connsiteX23" fmla="*/ 669406 w 3279985"/>
                <a:gd name="connsiteY23" fmla="*/ 626760 h 1198382"/>
                <a:gd name="connsiteX24" fmla="*/ 669406 w 3279985"/>
                <a:gd name="connsiteY24" fmla="*/ 683249 h 1198382"/>
                <a:gd name="connsiteX25" fmla="*/ 803544 w 3279985"/>
                <a:gd name="connsiteY25" fmla="*/ 683249 h 1198382"/>
                <a:gd name="connsiteX26" fmla="*/ 803544 w 3279985"/>
                <a:gd name="connsiteY26" fmla="*/ 741087 h 1198382"/>
                <a:gd name="connsiteX27" fmla="*/ 925944 w 3279985"/>
                <a:gd name="connsiteY27" fmla="*/ 741087 h 1198382"/>
                <a:gd name="connsiteX28" fmla="*/ 925944 w 3279985"/>
                <a:gd name="connsiteY28" fmla="*/ 799257 h 1198382"/>
                <a:gd name="connsiteX29" fmla="*/ 992670 w 3279985"/>
                <a:gd name="connsiteY29" fmla="*/ 799257 h 1198382"/>
                <a:gd name="connsiteX30" fmla="*/ 992670 w 3279985"/>
                <a:gd name="connsiteY30" fmla="*/ 860114 h 1198382"/>
                <a:gd name="connsiteX31" fmla="*/ 1255573 w 3279985"/>
                <a:gd name="connsiteY31" fmla="*/ 860114 h 1198382"/>
                <a:gd name="connsiteX32" fmla="*/ 1255573 w 3279985"/>
                <a:gd name="connsiteY32" fmla="*/ 916946 h 1198382"/>
                <a:gd name="connsiteX33" fmla="*/ 1767290 w 3279985"/>
                <a:gd name="connsiteY33" fmla="*/ 916946 h 1198382"/>
                <a:gd name="connsiteX34" fmla="*/ 1767290 w 3279985"/>
                <a:gd name="connsiteY34" fmla="*/ 976466 h 1198382"/>
                <a:gd name="connsiteX35" fmla="*/ 1879631 w 3279985"/>
                <a:gd name="connsiteY35" fmla="*/ 976466 h 1198382"/>
                <a:gd name="connsiteX36" fmla="*/ 1879631 w 3279985"/>
                <a:gd name="connsiteY36" fmla="*/ 1035973 h 1198382"/>
                <a:gd name="connsiteX37" fmla="*/ 2001028 w 3279985"/>
                <a:gd name="connsiteY37" fmla="*/ 1035973 h 1198382"/>
                <a:gd name="connsiteX38" fmla="*/ 2001028 w 3279985"/>
                <a:gd name="connsiteY38" fmla="*/ 1105237 h 1198382"/>
                <a:gd name="connsiteX39" fmla="*/ 2527493 w 3279985"/>
                <a:gd name="connsiteY39" fmla="*/ 1105237 h 1198382"/>
                <a:gd name="connsiteX40" fmla="*/ 2527493 w 3279985"/>
                <a:gd name="connsiteY40" fmla="*/ 1198382 h 1198382"/>
                <a:gd name="connsiteX41" fmla="*/ 3279986 w 3279985"/>
                <a:gd name="connsiteY41" fmla="*/ 1198382 h 119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279985" h="1198382">
                  <a:moveTo>
                    <a:pt x="0" y="0"/>
                  </a:moveTo>
                  <a:lnTo>
                    <a:pt x="32264" y="0"/>
                  </a:lnTo>
                  <a:lnTo>
                    <a:pt x="32264" y="53801"/>
                  </a:lnTo>
                  <a:lnTo>
                    <a:pt x="39987" y="53801"/>
                  </a:lnTo>
                  <a:lnTo>
                    <a:pt x="39987" y="110620"/>
                  </a:lnTo>
                  <a:lnTo>
                    <a:pt x="58761" y="110620"/>
                  </a:lnTo>
                  <a:lnTo>
                    <a:pt x="58761" y="166103"/>
                  </a:lnTo>
                  <a:lnTo>
                    <a:pt x="110410" y="166103"/>
                  </a:lnTo>
                  <a:lnTo>
                    <a:pt x="110410" y="223941"/>
                  </a:lnTo>
                  <a:lnTo>
                    <a:pt x="116443" y="223941"/>
                  </a:lnTo>
                  <a:lnTo>
                    <a:pt x="116443" y="280761"/>
                  </a:lnTo>
                  <a:lnTo>
                    <a:pt x="238831" y="280761"/>
                  </a:lnTo>
                  <a:lnTo>
                    <a:pt x="238831" y="337262"/>
                  </a:lnTo>
                  <a:lnTo>
                    <a:pt x="282096" y="337262"/>
                  </a:lnTo>
                  <a:lnTo>
                    <a:pt x="282096" y="394413"/>
                  </a:lnTo>
                  <a:lnTo>
                    <a:pt x="299867" y="394413"/>
                  </a:lnTo>
                  <a:lnTo>
                    <a:pt x="299867" y="449895"/>
                  </a:lnTo>
                  <a:lnTo>
                    <a:pt x="363252" y="449895"/>
                  </a:lnTo>
                  <a:lnTo>
                    <a:pt x="363252" y="507733"/>
                  </a:lnTo>
                  <a:lnTo>
                    <a:pt x="520178" y="507733"/>
                  </a:lnTo>
                  <a:lnTo>
                    <a:pt x="520178" y="563547"/>
                  </a:lnTo>
                  <a:lnTo>
                    <a:pt x="531915" y="563547"/>
                  </a:lnTo>
                  <a:lnTo>
                    <a:pt x="531915" y="626760"/>
                  </a:lnTo>
                  <a:lnTo>
                    <a:pt x="669406" y="626760"/>
                  </a:lnTo>
                  <a:lnTo>
                    <a:pt x="669406" y="683249"/>
                  </a:lnTo>
                  <a:lnTo>
                    <a:pt x="803544" y="683249"/>
                  </a:lnTo>
                  <a:lnTo>
                    <a:pt x="803544" y="741087"/>
                  </a:lnTo>
                  <a:lnTo>
                    <a:pt x="925944" y="741087"/>
                  </a:lnTo>
                  <a:lnTo>
                    <a:pt x="925944" y="799257"/>
                  </a:lnTo>
                  <a:lnTo>
                    <a:pt x="992670" y="799257"/>
                  </a:lnTo>
                  <a:lnTo>
                    <a:pt x="992670" y="860114"/>
                  </a:lnTo>
                  <a:lnTo>
                    <a:pt x="1255573" y="860114"/>
                  </a:lnTo>
                  <a:lnTo>
                    <a:pt x="1255573" y="916946"/>
                  </a:lnTo>
                  <a:lnTo>
                    <a:pt x="1767290" y="916946"/>
                  </a:lnTo>
                  <a:lnTo>
                    <a:pt x="1767290" y="976466"/>
                  </a:lnTo>
                  <a:lnTo>
                    <a:pt x="1879631" y="976466"/>
                  </a:lnTo>
                  <a:lnTo>
                    <a:pt x="1879631" y="1035973"/>
                  </a:lnTo>
                  <a:lnTo>
                    <a:pt x="2001028" y="1035973"/>
                  </a:lnTo>
                  <a:lnTo>
                    <a:pt x="2001028" y="1105237"/>
                  </a:lnTo>
                  <a:lnTo>
                    <a:pt x="2527493" y="1105237"/>
                  </a:lnTo>
                  <a:lnTo>
                    <a:pt x="2527493" y="1198382"/>
                  </a:lnTo>
                  <a:lnTo>
                    <a:pt x="3279986" y="1198382"/>
                  </a:lnTo>
                </a:path>
              </a:pathLst>
            </a:custGeom>
            <a:noFill/>
            <a:ln w="19050"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10" name="Freeform 1846">
              <a:extLst>
                <a:ext uri="{FF2B5EF4-FFF2-40B4-BE49-F238E27FC236}">
                  <a16:creationId xmlns:a16="http://schemas.microsoft.com/office/drawing/2014/main" id="{CF4B4B45-BFB9-A8B5-E8B8-16DA06E938CD}"/>
                </a:ext>
              </a:extLst>
            </p:cNvPr>
            <p:cNvSpPr/>
            <p:nvPr/>
          </p:nvSpPr>
          <p:spPr>
            <a:xfrm>
              <a:off x="1345889" y="1329692"/>
              <a:ext cx="3861503" cy="920856"/>
            </a:xfrm>
            <a:custGeom>
              <a:avLst/>
              <a:gdLst>
                <a:gd name="connsiteX0" fmla="*/ 0 w 3861503"/>
                <a:gd name="connsiteY0" fmla="*/ 0 h 920856"/>
                <a:gd name="connsiteX1" fmla="*/ 26256 w 3861503"/>
                <a:gd name="connsiteY1" fmla="*/ 0 h 920856"/>
                <a:gd name="connsiteX2" fmla="*/ 26256 w 3861503"/>
                <a:gd name="connsiteY2" fmla="*/ 35243 h 920856"/>
                <a:gd name="connsiteX3" fmla="*/ 45373 w 3861503"/>
                <a:gd name="connsiteY3" fmla="*/ 35243 h 920856"/>
                <a:gd name="connsiteX4" fmla="*/ 45373 w 3861503"/>
                <a:gd name="connsiteY4" fmla="*/ 71391 h 920856"/>
                <a:gd name="connsiteX5" fmla="*/ 61963 w 3861503"/>
                <a:gd name="connsiteY5" fmla="*/ 71391 h 920856"/>
                <a:gd name="connsiteX6" fmla="*/ 61963 w 3861503"/>
                <a:gd name="connsiteY6" fmla="*/ 100647 h 920856"/>
                <a:gd name="connsiteX7" fmla="*/ 107297 w 3861503"/>
                <a:gd name="connsiteY7" fmla="*/ 100647 h 920856"/>
                <a:gd name="connsiteX8" fmla="*/ 107297 w 3861503"/>
                <a:gd name="connsiteY8" fmla="*/ 134451 h 920856"/>
                <a:gd name="connsiteX9" fmla="*/ 121677 w 3861503"/>
                <a:gd name="connsiteY9" fmla="*/ 134451 h 920856"/>
                <a:gd name="connsiteX10" fmla="*/ 121677 w 3861503"/>
                <a:gd name="connsiteY10" fmla="*/ 165899 h 920856"/>
                <a:gd name="connsiteX11" fmla="*/ 239619 w 3861503"/>
                <a:gd name="connsiteY11" fmla="*/ 165899 h 920856"/>
                <a:gd name="connsiteX12" fmla="*/ 239619 w 3861503"/>
                <a:gd name="connsiteY12" fmla="*/ 186240 h 920856"/>
                <a:gd name="connsiteX13" fmla="*/ 281257 w 3861503"/>
                <a:gd name="connsiteY13" fmla="*/ 186240 h 920856"/>
                <a:gd name="connsiteX14" fmla="*/ 281257 w 3861503"/>
                <a:gd name="connsiteY14" fmla="*/ 228960 h 920856"/>
                <a:gd name="connsiteX15" fmla="*/ 300375 w 3861503"/>
                <a:gd name="connsiteY15" fmla="*/ 228960 h 920856"/>
                <a:gd name="connsiteX16" fmla="*/ 300375 w 3861503"/>
                <a:gd name="connsiteY16" fmla="*/ 278557 h 920856"/>
                <a:gd name="connsiteX17" fmla="*/ 362299 w 3861503"/>
                <a:gd name="connsiteY17" fmla="*/ 278557 h 920856"/>
                <a:gd name="connsiteX18" fmla="*/ 362299 w 3861503"/>
                <a:gd name="connsiteY18" fmla="*/ 319086 h 920856"/>
                <a:gd name="connsiteX19" fmla="*/ 379054 w 3861503"/>
                <a:gd name="connsiteY19" fmla="*/ 319086 h 920856"/>
                <a:gd name="connsiteX20" fmla="*/ 379054 w 3861503"/>
                <a:gd name="connsiteY20" fmla="*/ 348343 h 920856"/>
                <a:gd name="connsiteX21" fmla="*/ 483950 w 3861503"/>
                <a:gd name="connsiteY21" fmla="*/ 348343 h 920856"/>
                <a:gd name="connsiteX22" fmla="*/ 483950 w 3861503"/>
                <a:gd name="connsiteY22" fmla="*/ 379791 h 920856"/>
                <a:gd name="connsiteX23" fmla="*/ 517294 w 3861503"/>
                <a:gd name="connsiteY23" fmla="*/ 379791 h 920856"/>
                <a:gd name="connsiteX24" fmla="*/ 517294 w 3861503"/>
                <a:gd name="connsiteY24" fmla="*/ 413594 h 920856"/>
                <a:gd name="connsiteX25" fmla="*/ 534036 w 3861503"/>
                <a:gd name="connsiteY25" fmla="*/ 413594 h 920856"/>
                <a:gd name="connsiteX26" fmla="*/ 534036 w 3861503"/>
                <a:gd name="connsiteY26" fmla="*/ 440660 h 920856"/>
                <a:gd name="connsiteX27" fmla="*/ 665011 w 3861503"/>
                <a:gd name="connsiteY27" fmla="*/ 440660 h 920856"/>
                <a:gd name="connsiteX28" fmla="*/ 665011 w 3861503"/>
                <a:gd name="connsiteY28" fmla="*/ 472261 h 920856"/>
                <a:gd name="connsiteX29" fmla="*/ 805627 w 3861503"/>
                <a:gd name="connsiteY29" fmla="*/ 472261 h 920856"/>
                <a:gd name="connsiteX30" fmla="*/ 805627 w 3861503"/>
                <a:gd name="connsiteY30" fmla="*/ 506065 h 920856"/>
                <a:gd name="connsiteX31" fmla="*/ 912315 w 3861503"/>
                <a:gd name="connsiteY31" fmla="*/ 506065 h 920856"/>
                <a:gd name="connsiteX32" fmla="*/ 912315 w 3861503"/>
                <a:gd name="connsiteY32" fmla="*/ 537512 h 920856"/>
                <a:gd name="connsiteX33" fmla="*/ 927278 w 3861503"/>
                <a:gd name="connsiteY33" fmla="*/ 537512 h 920856"/>
                <a:gd name="connsiteX34" fmla="*/ 927278 w 3861503"/>
                <a:gd name="connsiteY34" fmla="*/ 571303 h 920856"/>
                <a:gd name="connsiteX35" fmla="*/ 991591 w 3861503"/>
                <a:gd name="connsiteY35" fmla="*/ 571303 h 920856"/>
                <a:gd name="connsiteX36" fmla="*/ 991591 w 3861503"/>
                <a:gd name="connsiteY36" fmla="*/ 605107 h 920856"/>
                <a:gd name="connsiteX37" fmla="*/ 1008332 w 3861503"/>
                <a:gd name="connsiteY37" fmla="*/ 605107 h 920856"/>
                <a:gd name="connsiteX38" fmla="*/ 1008332 w 3861503"/>
                <a:gd name="connsiteY38" fmla="*/ 634364 h 920856"/>
                <a:gd name="connsiteX39" fmla="*/ 1256220 w 3861503"/>
                <a:gd name="connsiteY39" fmla="*/ 634364 h 920856"/>
                <a:gd name="connsiteX40" fmla="*/ 1256220 w 3861503"/>
                <a:gd name="connsiteY40" fmla="*/ 665812 h 920856"/>
                <a:gd name="connsiteX41" fmla="*/ 1277700 w 3861503"/>
                <a:gd name="connsiteY41" fmla="*/ 665812 h 920856"/>
                <a:gd name="connsiteX42" fmla="*/ 1277700 w 3861503"/>
                <a:gd name="connsiteY42" fmla="*/ 697425 h 920856"/>
                <a:gd name="connsiteX43" fmla="*/ 1585163 w 3861503"/>
                <a:gd name="connsiteY43" fmla="*/ 697425 h 920856"/>
                <a:gd name="connsiteX44" fmla="*/ 1585163 w 3861503"/>
                <a:gd name="connsiteY44" fmla="*/ 704150 h 920856"/>
                <a:gd name="connsiteX45" fmla="*/ 1594639 w 3861503"/>
                <a:gd name="connsiteY45" fmla="*/ 704150 h 920856"/>
                <a:gd name="connsiteX46" fmla="*/ 1594639 w 3861503"/>
                <a:gd name="connsiteY46" fmla="*/ 726682 h 920856"/>
                <a:gd name="connsiteX47" fmla="*/ 1682946 w 3861503"/>
                <a:gd name="connsiteY47" fmla="*/ 726682 h 920856"/>
                <a:gd name="connsiteX48" fmla="*/ 1682946 w 3861503"/>
                <a:gd name="connsiteY48" fmla="*/ 757823 h 920856"/>
                <a:gd name="connsiteX49" fmla="*/ 1764001 w 3861503"/>
                <a:gd name="connsiteY49" fmla="*/ 757823 h 920856"/>
                <a:gd name="connsiteX50" fmla="*/ 1764001 w 3861503"/>
                <a:gd name="connsiteY50" fmla="*/ 789742 h 920856"/>
                <a:gd name="connsiteX51" fmla="*/ 1876023 w 3861503"/>
                <a:gd name="connsiteY51" fmla="*/ 789742 h 920856"/>
                <a:gd name="connsiteX52" fmla="*/ 1876023 w 3861503"/>
                <a:gd name="connsiteY52" fmla="*/ 823852 h 920856"/>
                <a:gd name="connsiteX53" fmla="*/ 1995147 w 3861503"/>
                <a:gd name="connsiteY53" fmla="*/ 823852 h 920856"/>
                <a:gd name="connsiteX54" fmla="*/ 1995147 w 3861503"/>
                <a:gd name="connsiteY54" fmla="*/ 861872 h 920856"/>
                <a:gd name="connsiteX55" fmla="*/ 2524267 w 3861503"/>
                <a:gd name="connsiteY55" fmla="*/ 861872 h 920856"/>
                <a:gd name="connsiteX56" fmla="*/ 2524267 w 3861503"/>
                <a:gd name="connsiteY56" fmla="*/ 920857 h 920856"/>
                <a:gd name="connsiteX57" fmla="*/ 3861503 w 3861503"/>
                <a:gd name="connsiteY57" fmla="*/ 920857 h 920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861503" h="920856">
                  <a:moveTo>
                    <a:pt x="0" y="0"/>
                  </a:moveTo>
                  <a:lnTo>
                    <a:pt x="26256" y="0"/>
                  </a:lnTo>
                  <a:lnTo>
                    <a:pt x="26256" y="35243"/>
                  </a:lnTo>
                  <a:lnTo>
                    <a:pt x="45373" y="35243"/>
                  </a:lnTo>
                  <a:lnTo>
                    <a:pt x="45373" y="71391"/>
                  </a:lnTo>
                  <a:lnTo>
                    <a:pt x="61963" y="71391"/>
                  </a:lnTo>
                  <a:lnTo>
                    <a:pt x="61963" y="100647"/>
                  </a:lnTo>
                  <a:lnTo>
                    <a:pt x="107297" y="100647"/>
                  </a:lnTo>
                  <a:lnTo>
                    <a:pt x="107297" y="134451"/>
                  </a:lnTo>
                  <a:lnTo>
                    <a:pt x="121677" y="134451"/>
                  </a:lnTo>
                  <a:lnTo>
                    <a:pt x="121677" y="165899"/>
                  </a:lnTo>
                  <a:lnTo>
                    <a:pt x="239619" y="165899"/>
                  </a:lnTo>
                  <a:lnTo>
                    <a:pt x="239619" y="186240"/>
                  </a:lnTo>
                  <a:lnTo>
                    <a:pt x="281257" y="186240"/>
                  </a:lnTo>
                  <a:lnTo>
                    <a:pt x="281257" y="228960"/>
                  </a:lnTo>
                  <a:lnTo>
                    <a:pt x="300375" y="228960"/>
                  </a:lnTo>
                  <a:lnTo>
                    <a:pt x="300375" y="278557"/>
                  </a:lnTo>
                  <a:lnTo>
                    <a:pt x="362299" y="278557"/>
                  </a:lnTo>
                  <a:lnTo>
                    <a:pt x="362299" y="319086"/>
                  </a:lnTo>
                  <a:lnTo>
                    <a:pt x="379054" y="319086"/>
                  </a:lnTo>
                  <a:lnTo>
                    <a:pt x="379054" y="348343"/>
                  </a:lnTo>
                  <a:lnTo>
                    <a:pt x="483950" y="348343"/>
                  </a:lnTo>
                  <a:lnTo>
                    <a:pt x="483950" y="379791"/>
                  </a:lnTo>
                  <a:lnTo>
                    <a:pt x="517294" y="379791"/>
                  </a:lnTo>
                  <a:lnTo>
                    <a:pt x="517294" y="413594"/>
                  </a:lnTo>
                  <a:lnTo>
                    <a:pt x="534036" y="413594"/>
                  </a:lnTo>
                  <a:lnTo>
                    <a:pt x="534036" y="440660"/>
                  </a:lnTo>
                  <a:lnTo>
                    <a:pt x="665011" y="440660"/>
                  </a:lnTo>
                  <a:lnTo>
                    <a:pt x="665011" y="472261"/>
                  </a:lnTo>
                  <a:lnTo>
                    <a:pt x="805627" y="472261"/>
                  </a:lnTo>
                  <a:lnTo>
                    <a:pt x="805627" y="506065"/>
                  </a:lnTo>
                  <a:lnTo>
                    <a:pt x="912315" y="506065"/>
                  </a:lnTo>
                  <a:lnTo>
                    <a:pt x="912315" y="537512"/>
                  </a:lnTo>
                  <a:lnTo>
                    <a:pt x="927278" y="537512"/>
                  </a:lnTo>
                  <a:lnTo>
                    <a:pt x="927278" y="571303"/>
                  </a:lnTo>
                  <a:lnTo>
                    <a:pt x="991591" y="571303"/>
                  </a:lnTo>
                  <a:lnTo>
                    <a:pt x="991591" y="605107"/>
                  </a:lnTo>
                  <a:lnTo>
                    <a:pt x="1008332" y="605107"/>
                  </a:lnTo>
                  <a:lnTo>
                    <a:pt x="1008332" y="634364"/>
                  </a:lnTo>
                  <a:lnTo>
                    <a:pt x="1256220" y="634364"/>
                  </a:lnTo>
                  <a:lnTo>
                    <a:pt x="1256220" y="665812"/>
                  </a:lnTo>
                  <a:lnTo>
                    <a:pt x="1277700" y="665812"/>
                  </a:lnTo>
                  <a:lnTo>
                    <a:pt x="1277700" y="697425"/>
                  </a:lnTo>
                  <a:lnTo>
                    <a:pt x="1585163" y="697425"/>
                  </a:lnTo>
                  <a:lnTo>
                    <a:pt x="1585163" y="704150"/>
                  </a:lnTo>
                  <a:lnTo>
                    <a:pt x="1594639" y="704150"/>
                  </a:lnTo>
                  <a:lnTo>
                    <a:pt x="1594639" y="726682"/>
                  </a:lnTo>
                  <a:lnTo>
                    <a:pt x="1682946" y="726682"/>
                  </a:lnTo>
                  <a:lnTo>
                    <a:pt x="1682946" y="757823"/>
                  </a:lnTo>
                  <a:lnTo>
                    <a:pt x="1764001" y="757823"/>
                  </a:lnTo>
                  <a:lnTo>
                    <a:pt x="1764001" y="789742"/>
                  </a:lnTo>
                  <a:lnTo>
                    <a:pt x="1876023" y="789742"/>
                  </a:lnTo>
                  <a:lnTo>
                    <a:pt x="1876023" y="823852"/>
                  </a:lnTo>
                  <a:lnTo>
                    <a:pt x="1995147" y="823852"/>
                  </a:lnTo>
                  <a:lnTo>
                    <a:pt x="1995147" y="861872"/>
                  </a:lnTo>
                  <a:lnTo>
                    <a:pt x="2524267" y="861872"/>
                  </a:lnTo>
                  <a:lnTo>
                    <a:pt x="2524267" y="920857"/>
                  </a:lnTo>
                  <a:lnTo>
                    <a:pt x="3861503" y="920857"/>
                  </a:lnTo>
                </a:path>
              </a:pathLst>
            </a:custGeom>
            <a:noFill/>
            <a:ln w="19050"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11" name="Freeform 1847">
              <a:extLst>
                <a:ext uri="{FF2B5EF4-FFF2-40B4-BE49-F238E27FC236}">
                  <a16:creationId xmlns:a16="http://schemas.microsoft.com/office/drawing/2014/main" id="{287436F5-B51C-A544-13BE-9E0067707B50}"/>
                </a:ext>
              </a:extLst>
            </p:cNvPr>
            <p:cNvSpPr/>
            <p:nvPr/>
          </p:nvSpPr>
          <p:spPr>
            <a:xfrm>
              <a:off x="1453199" y="3080947"/>
              <a:ext cx="57160" cy="12736"/>
            </a:xfrm>
            <a:custGeom>
              <a:avLst/>
              <a:gdLst>
                <a:gd name="connsiteX0" fmla="*/ 0 w 57160"/>
                <a:gd name="connsiteY0" fmla="*/ 0 h 12736"/>
                <a:gd name="connsiteX1" fmla="*/ 57161 w 57160"/>
                <a:gd name="connsiteY1" fmla="*/ 0 h 12736"/>
              </a:gdLst>
              <a:ahLst/>
              <a:cxnLst>
                <a:cxn ang="0">
                  <a:pos x="connsiteX0" y="connsiteY0"/>
                </a:cxn>
                <a:cxn ang="0">
                  <a:pos x="connsiteX1" y="connsiteY1"/>
                </a:cxn>
              </a:cxnLst>
              <a:rect l="l" t="t" r="r" b="b"/>
              <a:pathLst>
                <a:path w="57160" h="12736">
                  <a:moveTo>
                    <a:pt x="0" y="0"/>
                  </a:moveTo>
                  <a:lnTo>
                    <a:pt x="57161" y="0"/>
                  </a:lnTo>
                </a:path>
              </a:pathLst>
            </a:custGeom>
            <a:ln w="9525"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12" name="Freeform 1848">
              <a:extLst>
                <a:ext uri="{FF2B5EF4-FFF2-40B4-BE49-F238E27FC236}">
                  <a16:creationId xmlns:a16="http://schemas.microsoft.com/office/drawing/2014/main" id="{330EF84E-B3CB-3F27-C4C6-3ED33C705A94}"/>
                </a:ext>
              </a:extLst>
            </p:cNvPr>
            <p:cNvSpPr/>
            <p:nvPr/>
          </p:nvSpPr>
          <p:spPr>
            <a:xfrm>
              <a:off x="1481780" y="3052289"/>
              <a:ext cx="12702" cy="57316"/>
            </a:xfrm>
            <a:custGeom>
              <a:avLst/>
              <a:gdLst>
                <a:gd name="connsiteX0" fmla="*/ 0 w 12702"/>
                <a:gd name="connsiteY0" fmla="*/ 0 h 57316"/>
                <a:gd name="connsiteX1" fmla="*/ 0 w 12702"/>
                <a:gd name="connsiteY1" fmla="*/ 57316 h 57316"/>
              </a:gdLst>
              <a:ahLst/>
              <a:cxnLst>
                <a:cxn ang="0">
                  <a:pos x="connsiteX0" y="connsiteY0"/>
                </a:cxn>
                <a:cxn ang="0">
                  <a:pos x="connsiteX1" y="connsiteY1"/>
                </a:cxn>
              </a:cxnLst>
              <a:rect l="l" t="t" r="r" b="b"/>
              <a:pathLst>
                <a:path w="12702" h="57316">
                  <a:moveTo>
                    <a:pt x="0" y="0"/>
                  </a:moveTo>
                  <a:lnTo>
                    <a:pt x="0" y="57316"/>
                  </a:lnTo>
                </a:path>
              </a:pathLst>
            </a:custGeom>
            <a:ln w="9525" cap="flat">
              <a:solidFill>
                <a:srgbClr val="00000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13" name="TextBox 1512">
              <a:extLst>
                <a:ext uri="{FF2B5EF4-FFF2-40B4-BE49-F238E27FC236}">
                  <a16:creationId xmlns:a16="http://schemas.microsoft.com/office/drawing/2014/main" id="{FCBCD8D2-9131-378A-D941-DF4CA7148E5A}"/>
                </a:ext>
              </a:extLst>
            </p:cNvPr>
            <p:cNvSpPr txBox="1"/>
            <p:nvPr/>
          </p:nvSpPr>
          <p:spPr>
            <a:xfrm>
              <a:off x="1531375" y="2860652"/>
              <a:ext cx="932696" cy="19959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All patients (N=61)</a:t>
              </a:r>
            </a:p>
          </p:txBody>
        </p:sp>
        <p:sp>
          <p:nvSpPr>
            <p:cNvPr id="1514" name="TextBox 1513">
              <a:extLst>
                <a:ext uri="{FF2B5EF4-FFF2-40B4-BE49-F238E27FC236}">
                  <a16:creationId xmlns:a16="http://schemas.microsoft.com/office/drawing/2014/main" id="{A5FEF58C-B794-75DF-2537-729F1B40A4F8}"/>
                </a:ext>
              </a:extLst>
            </p:cNvPr>
            <p:cNvSpPr txBox="1"/>
            <p:nvPr/>
          </p:nvSpPr>
          <p:spPr>
            <a:xfrm>
              <a:off x="1520362" y="2979463"/>
              <a:ext cx="550817" cy="19959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Censored</a:t>
              </a:r>
            </a:p>
          </p:txBody>
        </p:sp>
        <p:sp>
          <p:nvSpPr>
            <p:cNvPr id="1515" name="TextBox 1514">
              <a:extLst>
                <a:ext uri="{FF2B5EF4-FFF2-40B4-BE49-F238E27FC236}">
                  <a16:creationId xmlns:a16="http://schemas.microsoft.com/office/drawing/2014/main" id="{E7BD2F57-2DA6-5289-3999-00021CBFAFD6}"/>
                </a:ext>
              </a:extLst>
            </p:cNvPr>
            <p:cNvSpPr txBox="1"/>
            <p:nvPr/>
          </p:nvSpPr>
          <p:spPr>
            <a:xfrm>
              <a:off x="1531375" y="2741855"/>
              <a:ext cx="915596" cy="19959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BTKi naïve (n=27)</a:t>
              </a:r>
            </a:p>
          </p:txBody>
        </p:sp>
        <p:grpSp>
          <p:nvGrpSpPr>
            <p:cNvPr id="1516" name="Graphic 4">
              <a:extLst>
                <a:ext uri="{FF2B5EF4-FFF2-40B4-BE49-F238E27FC236}">
                  <a16:creationId xmlns:a16="http://schemas.microsoft.com/office/drawing/2014/main" id="{64B74299-0753-FB72-EEDE-AC926C9E9F7F}"/>
                </a:ext>
              </a:extLst>
            </p:cNvPr>
            <p:cNvGrpSpPr/>
            <p:nvPr/>
          </p:nvGrpSpPr>
          <p:grpSpPr>
            <a:xfrm>
              <a:off x="1315022" y="1291723"/>
              <a:ext cx="3326286" cy="1274714"/>
              <a:chOff x="4577644" y="1417842"/>
              <a:chExt cx="3326286" cy="1274714"/>
            </a:xfrm>
          </p:grpSpPr>
          <p:grpSp>
            <p:nvGrpSpPr>
              <p:cNvPr id="1517" name="Graphic 4">
                <a:extLst>
                  <a:ext uri="{FF2B5EF4-FFF2-40B4-BE49-F238E27FC236}">
                    <a16:creationId xmlns:a16="http://schemas.microsoft.com/office/drawing/2014/main" id="{BF6250A0-35AA-8960-C8EE-401856D0451C}"/>
                  </a:ext>
                </a:extLst>
              </p:cNvPr>
              <p:cNvGrpSpPr/>
              <p:nvPr/>
            </p:nvGrpSpPr>
            <p:grpSpPr>
              <a:xfrm>
                <a:off x="4577644" y="1417842"/>
                <a:ext cx="69863" cy="76421"/>
                <a:chOff x="4577644" y="1417842"/>
                <a:chExt cx="69863" cy="76421"/>
              </a:xfrm>
            </p:grpSpPr>
            <p:sp>
              <p:nvSpPr>
                <p:cNvPr id="1554" name="Freeform 1890">
                  <a:extLst>
                    <a:ext uri="{FF2B5EF4-FFF2-40B4-BE49-F238E27FC236}">
                      <a16:creationId xmlns:a16="http://schemas.microsoft.com/office/drawing/2014/main" id="{CBD8670D-956B-D0FA-606A-48E1A831D350}"/>
                    </a:ext>
                  </a:extLst>
                </p:cNvPr>
                <p:cNvSpPr/>
                <p:nvPr/>
              </p:nvSpPr>
              <p:spPr>
                <a:xfrm>
                  <a:off x="4577644" y="1456053"/>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55" name="Freeform 1891">
                  <a:extLst>
                    <a:ext uri="{FF2B5EF4-FFF2-40B4-BE49-F238E27FC236}">
                      <a16:creationId xmlns:a16="http://schemas.microsoft.com/office/drawing/2014/main" id="{CD0D8F52-5213-8F1F-9433-D99EA5F0BBE2}"/>
                    </a:ext>
                  </a:extLst>
                </p:cNvPr>
                <p:cNvSpPr/>
                <p:nvPr/>
              </p:nvSpPr>
              <p:spPr>
                <a:xfrm>
                  <a:off x="4612576" y="1417842"/>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18" name="Graphic 4">
                <a:extLst>
                  <a:ext uri="{FF2B5EF4-FFF2-40B4-BE49-F238E27FC236}">
                    <a16:creationId xmlns:a16="http://schemas.microsoft.com/office/drawing/2014/main" id="{1F7CEE62-C05A-4982-1954-855028D21FC8}"/>
                  </a:ext>
                </a:extLst>
              </p:cNvPr>
              <p:cNvGrpSpPr/>
              <p:nvPr/>
            </p:nvGrpSpPr>
            <p:grpSpPr>
              <a:xfrm>
                <a:off x="4983881" y="1925627"/>
                <a:ext cx="69863" cy="76421"/>
                <a:chOff x="4983881" y="1925627"/>
                <a:chExt cx="69863" cy="76421"/>
              </a:xfrm>
            </p:grpSpPr>
            <p:sp>
              <p:nvSpPr>
                <p:cNvPr id="1552" name="Freeform 1888">
                  <a:extLst>
                    <a:ext uri="{FF2B5EF4-FFF2-40B4-BE49-F238E27FC236}">
                      <a16:creationId xmlns:a16="http://schemas.microsoft.com/office/drawing/2014/main" id="{3E92753A-BA31-286A-6F81-6DD9C8983204}"/>
                    </a:ext>
                  </a:extLst>
                </p:cNvPr>
                <p:cNvSpPr/>
                <p:nvPr/>
              </p:nvSpPr>
              <p:spPr>
                <a:xfrm>
                  <a:off x="4983881" y="1963837"/>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53" name="Freeform 1889">
                  <a:extLst>
                    <a:ext uri="{FF2B5EF4-FFF2-40B4-BE49-F238E27FC236}">
                      <a16:creationId xmlns:a16="http://schemas.microsoft.com/office/drawing/2014/main" id="{1699674F-2016-69A7-80CA-814CCDA90381}"/>
                    </a:ext>
                  </a:extLst>
                </p:cNvPr>
                <p:cNvSpPr/>
                <p:nvPr/>
              </p:nvSpPr>
              <p:spPr>
                <a:xfrm>
                  <a:off x="5018812" y="1925627"/>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19" name="Graphic 4">
                <a:extLst>
                  <a:ext uri="{FF2B5EF4-FFF2-40B4-BE49-F238E27FC236}">
                    <a16:creationId xmlns:a16="http://schemas.microsoft.com/office/drawing/2014/main" id="{8E6F2D4C-BF51-4C7A-E468-6329D31E1B49}"/>
                  </a:ext>
                </a:extLst>
              </p:cNvPr>
              <p:cNvGrpSpPr/>
              <p:nvPr/>
            </p:nvGrpSpPr>
            <p:grpSpPr>
              <a:xfrm>
                <a:off x="6478488" y="2453777"/>
                <a:ext cx="69863" cy="76421"/>
                <a:chOff x="6478488" y="2453777"/>
                <a:chExt cx="69863" cy="76421"/>
              </a:xfrm>
            </p:grpSpPr>
            <p:sp>
              <p:nvSpPr>
                <p:cNvPr id="1550" name="Freeform 1886">
                  <a:extLst>
                    <a:ext uri="{FF2B5EF4-FFF2-40B4-BE49-F238E27FC236}">
                      <a16:creationId xmlns:a16="http://schemas.microsoft.com/office/drawing/2014/main" id="{9FC58BE1-03D6-1CC2-8CE6-F7094C236B2B}"/>
                    </a:ext>
                  </a:extLst>
                </p:cNvPr>
                <p:cNvSpPr/>
                <p:nvPr/>
              </p:nvSpPr>
              <p:spPr>
                <a:xfrm>
                  <a:off x="6478488" y="2491988"/>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51" name="Freeform 1887">
                  <a:extLst>
                    <a:ext uri="{FF2B5EF4-FFF2-40B4-BE49-F238E27FC236}">
                      <a16:creationId xmlns:a16="http://schemas.microsoft.com/office/drawing/2014/main" id="{925C08AB-05B0-3077-196E-D19D28BB9F53}"/>
                    </a:ext>
                  </a:extLst>
                </p:cNvPr>
                <p:cNvSpPr/>
                <p:nvPr/>
              </p:nvSpPr>
              <p:spPr>
                <a:xfrm>
                  <a:off x="6513420" y="2453777"/>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20" name="Graphic 4">
                <a:extLst>
                  <a:ext uri="{FF2B5EF4-FFF2-40B4-BE49-F238E27FC236}">
                    <a16:creationId xmlns:a16="http://schemas.microsoft.com/office/drawing/2014/main" id="{9F2ACA1D-9949-FBFD-6F4A-8568F1FC1AFD}"/>
                  </a:ext>
                </a:extLst>
              </p:cNvPr>
              <p:cNvGrpSpPr/>
              <p:nvPr/>
            </p:nvGrpSpPr>
            <p:grpSpPr>
              <a:xfrm>
                <a:off x="6749888" y="2522952"/>
                <a:ext cx="69863" cy="76421"/>
                <a:chOff x="6749888" y="2522952"/>
                <a:chExt cx="69863" cy="76421"/>
              </a:xfrm>
            </p:grpSpPr>
            <p:sp>
              <p:nvSpPr>
                <p:cNvPr id="1548" name="Freeform 1884">
                  <a:extLst>
                    <a:ext uri="{FF2B5EF4-FFF2-40B4-BE49-F238E27FC236}">
                      <a16:creationId xmlns:a16="http://schemas.microsoft.com/office/drawing/2014/main" id="{43D45C33-BCC1-2E8E-9382-D2C15FC497D5}"/>
                    </a:ext>
                  </a:extLst>
                </p:cNvPr>
                <p:cNvSpPr/>
                <p:nvPr/>
              </p:nvSpPr>
              <p:spPr>
                <a:xfrm>
                  <a:off x="6749888" y="2561163"/>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49" name="Freeform 1885">
                  <a:extLst>
                    <a:ext uri="{FF2B5EF4-FFF2-40B4-BE49-F238E27FC236}">
                      <a16:creationId xmlns:a16="http://schemas.microsoft.com/office/drawing/2014/main" id="{2D156530-512A-BBD3-FADC-D47D88589669}"/>
                    </a:ext>
                  </a:extLst>
                </p:cNvPr>
                <p:cNvSpPr/>
                <p:nvPr/>
              </p:nvSpPr>
              <p:spPr>
                <a:xfrm>
                  <a:off x="6784820" y="2522952"/>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21" name="Graphic 4">
                <a:extLst>
                  <a:ext uri="{FF2B5EF4-FFF2-40B4-BE49-F238E27FC236}">
                    <a16:creationId xmlns:a16="http://schemas.microsoft.com/office/drawing/2014/main" id="{899A0A21-5F05-4EDD-B30D-5D48AAE4744F}"/>
                  </a:ext>
                </a:extLst>
              </p:cNvPr>
              <p:cNvGrpSpPr/>
              <p:nvPr/>
            </p:nvGrpSpPr>
            <p:grpSpPr>
              <a:xfrm>
                <a:off x="6850568" y="2522952"/>
                <a:ext cx="69863" cy="76421"/>
                <a:chOff x="6850568" y="2522952"/>
                <a:chExt cx="69863" cy="76421"/>
              </a:xfrm>
            </p:grpSpPr>
            <p:sp>
              <p:nvSpPr>
                <p:cNvPr id="1546" name="Freeform 1882">
                  <a:extLst>
                    <a:ext uri="{FF2B5EF4-FFF2-40B4-BE49-F238E27FC236}">
                      <a16:creationId xmlns:a16="http://schemas.microsoft.com/office/drawing/2014/main" id="{40C36992-214C-57CD-E1A7-9D0749D3327E}"/>
                    </a:ext>
                  </a:extLst>
                </p:cNvPr>
                <p:cNvSpPr/>
                <p:nvPr/>
              </p:nvSpPr>
              <p:spPr>
                <a:xfrm>
                  <a:off x="6850568" y="2561163"/>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47" name="Freeform 1883">
                  <a:extLst>
                    <a:ext uri="{FF2B5EF4-FFF2-40B4-BE49-F238E27FC236}">
                      <a16:creationId xmlns:a16="http://schemas.microsoft.com/office/drawing/2014/main" id="{33CFD5A5-811D-5F10-162C-9FF6D0535A21}"/>
                    </a:ext>
                  </a:extLst>
                </p:cNvPr>
                <p:cNvSpPr/>
                <p:nvPr/>
              </p:nvSpPr>
              <p:spPr>
                <a:xfrm>
                  <a:off x="6885499" y="2522952"/>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22" name="Graphic 4">
                <a:extLst>
                  <a:ext uri="{FF2B5EF4-FFF2-40B4-BE49-F238E27FC236}">
                    <a16:creationId xmlns:a16="http://schemas.microsoft.com/office/drawing/2014/main" id="{78D83309-D13E-AF54-0F93-76FE27EA4E5A}"/>
                  </a:ext>
                </a:extLst>
              </p:cNvPr>
              <p:cNvGrpSpPr/>
              <p:nvPr/>
            </p:nvGrpSpPr>
            <p:grpSpPr>
              <a:xfrm>
                <a:off x="7025506" y="2522952"/>
                <a:ext cx="69863" cy="76421"/>
                <a:chOff x="7025506" y="2522952"/>
                <a:chExt cx="69863" cy="76421"/>
              </a:xfrm>
            </p:grpSpPr>
            <p:sp>
              <p:nvSpPr>
                <p:cNvPr id="1544" name="Freeform 1880">
                  <a:extLst>
                    <a:ext uri="{FF2B5EF4-FFF2-40B4-BE49-F238E27FC236}">
                      <a16:creationId xmlns:a16="http://schemas.microsoft.com/office/drawing/2014/main" id="{3457C87D-6357-71C5-680C-E53595A5C920}"/>
                    </a:ext>
                  </a:extLst>
                </p:cNvPr>
                <p:cNvSpPr/>
                <p:nvPr/>
              </p:nvSpPr>
              <p:spPr>
                <a:xfrm>
                  <a:off x="7025506" y="2561163"/>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45" name="Freeform 1881">
                  <a:extLst>
                    <a:ext uri="{FF2B5EF4-FFF2-40B4-BE49-F238E27FC236}">
                      <a16:creationId xmlns:a16="http://schemas.microsoft.com/office/drawing/2014/main" id="{5D1C556D-CA2E-CB3B-6391-FA8EE1E0CD82}"/>
                    </a:ext>
                  </a:extLst>
                </p:cNvPr>
                <p:cNvSpPr/>
                <p:nvPr/>
              </p:nvSpPr>
              <p:spPr>
                <a:xfrm>
                  <a:off x="7060437" y="2522952"/>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23" name="Graphic 4">
                <a:extLst>
                  <a:ext uri="{FF2B5EF4-FFF2-40B4-BE49-F238E27FC236}">
                    <a16:creationId xmlns:a16="http://schemas.microsoft.com/office/drawing/2014/main" id="{2A0B3FAB-D8B8-535A-BE06-D5B5E19C2784}"/>
                  </a:ext>
                </a:extLst>
              </p:cNvPr>
              <p:cNvGrpSpPr/>
              <p:nvPr/>
            </p:nvGrpSpPr>
            <p:grpSpPr>
              <a:xfrm>
                <a:off x="7249031" y="2616135"/>
                <a:ext cx="69863" cy="76421"/>
                <a:chOff x="7249031" y="2616135"/>
                <a:chExt cx="69863" cy="76421"/>
              </a:xfrm>
            </p:grpSpPr>
            <p:sp>
              <p:nvSpPr>
                <p:cNvPr id="1542" name="Freeform 1878">
                  <a:extLst>
                    <a:ext uri="{FF2B5EF4-FFF2-40B4-BE49-F238E27FC236}">
                      <a16:creationId xmlns:a16="http://schemas.microsoft.com/office/drawing/2014/main" id="{FEB628F9-AAAB-2676-705D-25BEA8A2F65D}"/>
                    </a:ext>
                  </a:extLst>
                </p:cNvPr>
                <p:cNvSpPr/>
                <p:nvPr/>
              </p:nvSpPr>
              <p:spPr>
                <a:xfrm>
                  <a:off x="7249031" y="2654346"/>
                  <a:ext cx="69863" cy="12736"/>
                </a:xfrm>
                <a:custGeom>
                  <a:avLst/>
                  <a:gdLst>
                    <a:gd name="connsiteX0" fmla="*/ 0 w 69863"/>
                    <a:gd name="connsiteY0" fmla="*/ 0 h 12736"/>
                    <a:gd name="connsiteX1" fmla="*/ 69864 w 69863"/>
                    <a:gd name="connsiteY1" fmla="*/ 0 h 12736"/>
                  </a:gdLst>
                  <a:ahLst/>
                  <a:cxnLst>
                    <a:cxn ang="0">
                      <a:pos x="connsiteX0" y="connsiteY0"/>
                    </a:cxn>
                    <a:cxn ang="0">
                      <a:pos x="connsiteX1" y="connsiteY1"/>
                    </a:cxn>
                  </a:cxnLst>
                  <a:rect l="l" t="t" r="r" b="b"/>
                  <a:pathLst>
                    <a:path w="69863" h="12736">
                      <a:moveTo>
                        <a:pt x="0" y="0"/>
                      </a:moveTo>
                      <a:lnTo>
                        <a:pt x="69864" y="0"/>
                      </a:lnTo>
                    </a:path>
                  </a:pathLst>
                </a:custGeom>
                <a:ln w="952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43" name="Freeform 1879">
                  <a:extLst>
                    <a:ext uri="{FF2B5EF4-FFF2-40B4-BE49-F238E27FC236}">
                      <a16:creationId xmlns:a16="http://schemas.microsoft.com/office/drawing/2014/main" id="{C46F3352-5583-258F-8112-841D35FE0DC3}"/>
                    </a:ext>
                  </a:extLst>
                </p:cNvPr>
                <p:cNvSpPr/>
                <p:nvPr/>
              </p:nvSpPr>
              <p:spPr>
                <a:xfrm>
                  <a:off x="7283962" y="2616135"/>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24" name="Graphic 4">
                <a:extLst>
                  <a:ext uri="{FF2B5EF4-FFF2-40B4-BE49-F238E27FC236}">
                    <a16:creationId xmlns:a16="http://schemas.microsoft.com/office/drawing/2014/main" id="{822A62CE-984D-EB85-3DEA-A4B1FE2C8DAE}"/>
                  </a:ext>
                </a:extLst>
              </p:cNvPr>
              <p:cNvGrpSpPr/>
              <p:nvPr/>
            </p:nvGrpSpPr>
            <p:grpSpPr>
              <a:xfrm>
                <a:off x="7346191" y="2616135"/>
                <a:ext cx="69863" cy="76421"/>
                <a:chOff x="7346191" y="2616135"/>
                <a:chExt cx="69863" cy="76421"/>
              </a:xfrm>
            </p:grpSpPr>
            <p:sp>
              <p:nvSpPr>
                <p:cNvPr id="1540" name="Freeform 1876">
                  <a:extLst>
                    <a:ext uri="{FF2B5EF4-FFF2-40B4-BE49-F238E27FC236}">
                      <a16:creationId xmlns:a16="http://schemas.microsoft.com/office/drawing/2014/main" id="{D9C8E33D-94B7-F1EC-136B-37C800CC3AD8}"/>
                    </a:ext>
                  </a:extLst>
                </p:cNvPr>
                <p:cNvSpPr/>
                <p:nvPr/>
              </p:nvSpPr>
              <p:spPr>
                <a:xfrm>
                  <a:off x="7346191" y="2654346"/>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41" name="Freeform 1877">
                  <a:extLst>
                    <a:ext uri="{FF2B5EF4-FFF2-40B4-BE49-F238E27FC236}">
                      <a16:creationId xmlns:a16="http://schemas.microsoft.com/office/drawing/2014/main" id="{4DEEF642-B9A0-79C7-7F12-CDC4C1103377}"/>
                    </a:ext>
                  </a:extLst>
                </p:cNvPr>
                <p:cNvSpPr/>
                <p:nvPr/>
              </p:nvSpPr>
              <p:spPr>
                <a:xfrm>
                  <a:off x="7381123" y="2616135"/>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25" name="Graphic 4">
                <a:extLst>
                  <a:ext uri="{FF2B5EF4-FFF2-40B4-BE49-F238E27FC236}">
                    <a16:creationId xmlns:a16="http://schemas.microsoft.com/office/drawing/2014/main" id="{07965574-8D5C-8F73-0F26-66532D2D2D3D}"/>
                  </a:ext>
                </a:extLst>
              </p:cNvPr>
              <p:cNvGrpSpPr/>
              <p:nvPr/>
            </p:nvGrpSpPr>
            <p:grpSpPr>
              <a:xfrm>
                <a:off x="7478538" y="2616135"/>
                <a:ext cx="69863" cy="76421"/>
                <a:chOff x="7478538" y="2616135"/>
                <a:chExt cx="69863" cy="76421"/>
              </a:xfrm>
            </p:grpSpPr>
            <p:sp>
              <p:nvSpPr>
                <p:cNvPr id="1538" name="Freeform 1874">
                  <a:extLst>
                    <a:ext uri="{FF2B5EF4-FFF2-40B4-BE49-F238E27FC236}">
                      <a16:creationId xmlns:a16="http://schemas.microsoft.com/office/drawing/2014/main" id="{7C3DB5B9-F101-D224-258E-FA9BF30D4D88}"/>
                    </a:ext>
                  </a:extLst>
                </p:cNvPr>
                <p:cNvSpPr/>
                <p:nvPr/>
              </p:nvSpPr>
              <p:spPr>
                <a:xfrm>
                  <a:off x="7478538" y="2654346"/>
                  <a:ext cx="69863" cy="12736"/>
                </a:xfrm>
                <a:custGeom>
                  <a:avLst/>
                  <a:gdLst>
                    <a:gd name="connsiteX0" fmla="*/ 0 w 69863"/>
                    <a:gd name="connsiteY0" fmla="*/ 0 h 12736"/>
                    <a:gd name="connsiteX1" fmla="*/ 69864 w 69863"/>
                    <a:gd name="connsiteY1" fmla="*/ 0 h 12736"/>
                  </a:gdLst>
                  <a:ahLst/>
                  <a:cxnLst>
                    <a:cxn ang="0">
                      <a:pos x="connsiteX0" y="connsiteY0"/>
                    </a:cxn>
                    <a:cxn ang="0">
                      <a:pos x="connsiteX1" y="connsiteY1"/>
                    </a:cxn>
                  </a:cxnLst>
                  <a:rect l="l" t="t" r="r" b="b"/>
                  <a:pathLst>
                    <a:path w="69863" h="12736">
                      <a:moveTo>
                        <a:pt x="0" y="0"/>
                      </a:moveTo>
                      <a:lnTo>
                        <a:pt x="69864" y="0"/>
                      </a:lnTo>
                    </a:path>
                  </a:pathLst>
                </a:custGeom>
                <a:ln w="952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39" name="Freeform 1875">
                  <a:extLst>
                    <a:ext uri="{FF2B5EF4-FFF2-40B4-BE49-F238E27FC236}">
                      <a16:creationId xmlns:a16="http://schemas.microsoft.com/office/drawing/2014/main" id="{19CE023B-65EE-CA33-14DD-03ABF113C386}"/>
                    </a:ext>
                  </a:extLst>
                </p:cNvPr>
                <p:cNvSpPr/>
                <p:nvPr/>
              </p:nvSpPr>
              <p:spPr>
                <a:xfrm>
                  <a:off x="7513470" y="2616135"/>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26" name="Graphic 4">
                <a:extLst>
                  <a:ext uri="{FF2B5EF4-FFF2-40B4-BE49-F238E27FC236}">
                    <a16:creationId xmlns:a16="http://schemas.microsoft.com/office/drawing/2014/main" id="{0E773D2E-2ACB-8C78-54D0-3C2D9C00B037}"/>
                  </a:ext>
                </a:extLst>
              </p:cNvPr>
              <p:cNvGrpSpPr/>
              <p:nvPr/>
            </p:nvGrpSpPr>
            <p:grpSpPr>
              <a:xfrm>
                <a:off x="7491215" y="2616135"/>
                <a:ext cx="69863" cy="76421"/>
                <a:chOff x="7491215" y="2616135"/>
                <a:chExt cx="69863" cy="76421"/>
              </a:xfrm>
            </p:grpSpPr>
            <p:sp>
              <p:nvSpPr>
                <p:cNvPr id="1536" name="Freeform 1872">
                  <a:extLst>
                    <a:ext uri="{FF2B5EF4-FFF2-40B4-BE49-F238E27FC236}">
                      <a16:creationId xmlns:a16="http://schemas.microsoft.com/office/drawing/2014/main" id="{F550275A-6434-50F6-BAA1-5EFF1628D68E}"/>
                    </a:ext>
                  </a:extLst>
                </p:cNvPr>
                <p:cNvSpPr/>
                <p:nvPr/>
              </p:nvSpPr>
              <p:spPr>
                <a:xfrm>
                  <a:off x="7491215" y="2654346"/>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37" name="Freeform 1873">
                  <a:extLst>
                    <a:ext uri="{FF2B5EF4-FFF2-40B4-BE49-F238E27FC236}">
                      <a16:creationId xmlns:a16="http://schemas.microsoft.com/office/drawing/2014/main" id="{03714A63-D6DC-BBDB-A4A7-CABDC9DDE300}"/>
                    </a:ext>
                  </a:extLst>
                </p:cNvPr>
                <p:cNvSpPr/>
                <p:nvPr/>
              </p:nvSpPr>
              <p:spPr>
                <a:xfrm>
                  <a:off x="7526147" y="2616135"/>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27" name="Graphic 4">
                <a:extLst>
                  <a:ext uri="{FF2B5EF4-FFF2-40B4-BE49-F238E27FC236}">
                    <a16:creationId xmlns:a16="http://schemas.microsoft.com/office/drawing/2014/main" id="{D0C8C856-553C-D346-6966-8A1AA79F3068}"/>
                  </a:ext>
                </a:extLst>
              </p:cNvPr>
              <p:cNvGrpSpPr/>
              <p:nvPr/>
            </p:nvGrpSpPr>
            <p:grpSpPr>
              <a:xfrm>
                <a:off x="7668275" y="2616135"/>
                <a:ext cx="69863" cy="76421"/>
                <a:chOff x="7668275" y="2616135"/>
                <a:chExt cx="69863" cy="76421"/>
              </a:xfrm>
            </p:grpSpPr>
            <p:sp>
              <p:nvSpPr>
                <p:cNvPr id="1534" name="Freeform 1870">
                  <a:extLst>
                    <a:ext uri="{FF2B5EF4-FFF2-40B4-BE49-F238E27FC236}">
                      <a16:creationId xmlns:a16="http://schemas.microsoft.com/office/drawing/2014/main" id="{B9EF9C5A-8E9A-12DA-B010-71D159353251}"/>
                    </a:ext>
                  </a:extLst>
                </p:cNvPr>
                <p:cNvSpPr/>
                <p:nvPr/>
              </p:nvSpPr>
              <p:spPr>
                <a:xfrm>
                  <a:off x="7668275" y="2654346"/>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35" name="Freeform 1871">
                  <a:extLst>
                    <a:ext uri="{FF2B5EF4-FFF2-40B4-BE49-F238E27FC236}">
                      <a16:creationId xmlns:a16="http://schemas.microsoft.com/office/drawing/2014/main" id="{E48285AF-E18A-5CC2-8D65-CB801DD44B43}"/>
                    </a:ext>
                  </a:extLst>
                </p:cNvPr>
                <p:cNvSpPr/>
                <p:nvPr/>
              </p:nvSpPr>
              <p:spPr>
                <a:xfrm>
                  <a:off x="7703206" y="2616135"/>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28" name="Graphic 4">
                <a:extLst>
                  <a:ext uri="{FF2B5EF4-FFF2-40B4-BE49-F238E27FC236}">
                    <a16:creationId xmlns:a16="http://schemas.microsoft.com/office/drawing/2014/main" id="{514A20F0-A53C-8B79-37CC-1C4103FDD160}"/>
                  </a:ext>
                </a:extLst>
              </p:cNvPr>
              <p:cNvGrpSpPr/>
              <p:nvPr/>
            </p:nvGrpSpPr>
            <p:grpSpPr>
              <a:xfrm>
                <a:off x="7679186" y="2616135"/>
                <a:ext cx="69863" cy="76421"/>
                <a:chOff x="7679186" y="2616135"/>
                <a:chExt cx="69863" cy="76421"/>
              </a:xfrm>
            </p:grpSpPr>
            <p:sp>
              <p:nvSpPr>
                <p:cNvPr id="1532" name="Freeform 1868">
                  <a:extLst>
                    <a:ext uri="{FF2B5EF4-FFF2-40B4-BE49-F238E27FC236}">
                      <a16:creationId xmlns:a16="http://schemas.microsoft.com/office/drawing/2014/main" id="{E8312353-38E4-02E1-615B-D2CA2DF28AA2}"/>
                    </a:ext>
                  </a:extLst>
                </p:cNvPr>
                <p:cNvSpPr/>
                <p:nvPr/>
              </p:nvSpPr>
              <p:spPr>
                <a:xfrm>
                  <a:off x="7679186" y="2654346"/>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33" name="Freeform 1869">
                  <a:extLst>
                    <a:ext uri="{FF2B5EF4-FFF2-40B4-BE49-F238E27FC236}">
                      <a16:creationId xmlns:a16="http://schemas.microsoft.com/office/drawing/2014/main" id="{AF3D99AB-A1FE-72F5-99EC-E2C05F3C340E}"/>
                    </a:ext>
                  </a:extLst>
                </p:cNvPr>
                <p:cNvSpPr/>
                <p:nvPr/>
              </p:nvSpPr>
              <p:spPr>
                <a:xfrm>
                  <a:off x="7714118" y="2616135"/>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29" name="Graphic 4">
                <a:extLst>
                  <a:ext uri="{FF2B5EF4-FFF2-40B4-BE49-F238E27FC236}">
                    <a16:creationId xmlns:a16="http://schemas.microsoft.com/office/drawing/2014/main" id="{D4ED3FD7-51C3-DDE1-CF53-87B128961298}"/>
                  </a:ext>
                </a:extLst>
              </p:cNvPr>
              <p:cNvGrpSpPr/>
              <p:nvPr/>
            </p:nvGrpSpPr>
            <p:grpSpPr>
              <a:xfrm>
                <a:off x="7834067" y="2616135"/>
                <a:ext cx="69863" cy="76421"/>
                <a:chOff x="7834067" y="2616135"/>
                <a:chExt cx="69863" cy="76421"/>
              </a:xfrm>
            </p:grpSpPr>
            <p:sp>
              <p:nvSpPr>
                <p:cNvPr id="1530" name="Freeform 1866">
                  <a:extLst>
                    <a:ext uri="{FF2B5EF4-FFF2-40B4-BE49-F238E27FC236}">
                      <a16:creationId xmlns:a16="http://schemas.microsoft.com/office/drawing/2014/main" id="{4014B476-89D6-1B0E-AC0A-DDAC3C4650F7}"/>
                    </a:ext>
                  </a:extLst>
                </p:cNvPr>
                <p:cNvSpPr/>
                <p:nvPr/>
              </p:nvSpPr>
              <p:spPr>
                <a:xfrm>
                  <a:off x="7834067" y="2654346"/>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31" name="Freeform 1867">
                  <a:extLst>
                    <a:ext uri="{FF2B5EF4-FFF2-40B4-BE49-F238E27FC236}">
                      <a16:creationId xmlns:a16="http://schemas.microsoft.com/office/drawing/2014/main" id="{FE9F6F67-C4FD-3D3A-B7C8-DE1D4BE0FA70}"/>
                    </a:ext>
                  </a:extLst>
                </p:cNvPr>
                <p:cNvSpPr/>
                <p:nvPr/>
              </p:nvSpPr>
              <p:spPr>
                <a:xfrm>
                  <a:off x="7868998" y="2616135"/>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sp>
          <p:nvSpPr>
            <p:cNvPr id="1556" name="Freeform 1892">
              <a:extLst>
                <a:ext uri="{FF2B5EF4-FFF2-40B4-BE49-F238E27FC236}">
                  <a16:creationId xmlns:a16="http://schemas.microsoft.com/office/drawing/2014/main" id="{3AE6C1CF-F161-4746-80EA-9D73CD4BB897}"/>
                </a:ext>
              </a:extLst>
            </p:cNvPr>
            <p:cNvSpPr/>
            <p:nvPr/>
          </p:nvSpPr>
          <p:spPr>
            <a:xfrm>
              <a:off x="1419830" y="2734617"/>
              <a:ext cx="136614" cy="12736"/>
            </a:xfrm>
            <a:custGeom>
              <a:avLst/>
              <a:gdLst>
                <a:gd name="connsiteX0" fmla="*/ 0 w 136614"/>
                <a:gd name="connsiteY0" fmla="*/ 0 h 12736"/>
                <a:gd name="connsiteX1" fmla="*/ 136615 w 136614"/>
                <a:gd name="connsiteY1" fmla="*/ 0 h 12736"/>
              </a:gdLst>
              <a:ahLst/>
              <a:cxnLst>
                <a:cxn ang="0">
                  <a:pos x="connsiteX0" y="connsiteY0"/>
                </a:cxn>
                <a:cxn ang="0">
                  <a:pos x="connsiteX1" y="connsiteY1"/>
                </a:cxn>
              </a:cxnLst>
              <a:rect l="l" t="t" r="r" b="b"/>
              <a:pathLst>
                <a:path w="136614" h="12736">
                  <a:moveTo>
                    <a:pt x="0" y="0"/>
                  </a:moveTo>
                  <a:lnTo>
                    <a:pt x="136615" y="0"/>
                  </a:lnTo>
                </a:path>
              </a:pathLst>
            </a:custGeom>
            <a:ln w="19050" cap="flat">
              <a:solidFill>
                <a:srgbClr val="BC36F0"/>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57" name="TextBox 1556">
              <a:extLst>
                <a:ext uri="{FF2B5EF4-FFF2-40B4-BE49-F238E27FC236}">
                  <a16:creationId xmlns:a16="http://schemas.microsoft.com/office/drawing/2014/main" id="{73DC1DF4-5A6A-BD90-FF12-1A1B6283876B}"/>
                </a:ext>
              </a:extLst>
            </p:cNvPr>
            <p:cNvSpPr txBox="1"/>
            <p:nvPr/>
          </p:nvSpPr>
          <p:spPr>
            <a:xfrm>
              <a:off x="1531375" y="2623044"/>
              <a:ext cx="882538" cy="19959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Prior BTKi (n=34)</a:t>
              </a:r>
            </a:p>
          </p:txBody>
        </p:sp>
        <p:grpSp>
          <p:nvGrpSpPr>
            <p:cNvPr id="1558" name="Graphic 4">
              <a:extLst>
                <a:ext uri="{FF2B5EF4-FFF2-40B4-BE49-F238E27FC236}">
                  <a16:creationId xmlns:a16="http://schemas.microsoft.com/office/drawing/2014/main" id="{C1085998-9CC5-3682-D283-52467B7E5FEA}"/>
                </a:ext>
              </a:extLst>
            </p:cNvPr>
            <p:cNvGrpSpPr/>
            <p:nvPr/>
          </p:nvGrpSpPr>
          <p:grpSpPr>
            <a:xfrm>
              <a:off x="3006847" y="1843756"/>
              <a:ext cx="2218862" cy="76421"/>
              <a:chOff x="6269469" y="1969875"/>
              <a:chExt cx="2218862" cy="76421"/>
            </a:xfrm>
          </p:grpSpPr>
          <p:grpSp>
            <p:nvGrpSpPr>
              <p:cNvPr id="1559" name="Graphic 4">
                <a:extLst>
                  <a:ext uri="{FF2B5EF4-FFF2-40B4-BE49-F238E27FC236}">
                    <a16:creationId xmlns:a16="http://schemas.microsoft.com/office/drawing/2014/main" id="{5570E228-32E2-84E9-0DB4-9C627BFB6FAA}"/>
                  </a:ext>
                </a:extLst>
              </p:cNvPr>
              <p:cNvGrpSpPr/>
              <p:nvPr/>
            </p:nvGrpSpPr>
            <p:grpSpPr>
              <a:xfrm>
                <a:off x="8418468" y="1969875"/>
                <a:ext cx="69863" cy="76421"/>
                <a:chOff x="8418468" y="1969875"/>
                <a:chExt cx="69863" cy="76421"/>
              </a:xfrm>
            </p:grpSpPr>
            <p:sp>
              <p:nvSpPr>
                <p:cNvPr id="1608" name="Freeform 1944">
                  <a:extLst>
                    <a:ext uri="{FF2B5EF4-FFF2-40B4-BE49-F238E27FC236}">
                      <a16:creationId xmlns:a16="http://schemas.microsoft.com/office/drawing/2014/main" id="{71FF3D43-612D-1584-FDF4-80FA6DCAD9E7}"/>
                    </a:ext>
                  </a:extLst>
                </p:cNvPr>
                <p:cNvSpPr/>
                <p:nvPr/>
              </p:nvSpPr>
              <p:spPr>
                <a:xfrm>
                  <a:off x="8418468" y="2008086"/>
                  <a:ext cx="69863" cy="12736"/>
                </a:xfrm>
                <a:custGeom>
                  <a:avLst/>
                  <a:gdLst>
                    <a:gd name="connsiteX0" fmla="*/ 0 w 69863"/>
                    <a:gd name="connsiteY0" fmla="*/ 0 h 12736"/>
                    <a:gd name="connsiteX1" fmla="*/ 69864 w 69863"/>
                    <a:gd name="connsiteY1" fmla="*/ 0 h 12736"/>
                  </a:gdLst>
                  <a:ahLst/>
                  <a:cxnLst>
                    <a:cxn ang="0">
                      <a:pos x="connsiteX0" y="connsiteY0"/>
                    </a:cxn>
                    <a:cxn ang="0">
                      <a:pos x="connsiteX1" y="connsiteY1"/>
                    </a:cxn>
                  </a:cxnLst>
                  <a:rect l="l" t="t" r="r" b="b"/>
                  <a:pathLst>
                    <a:path w="69863" h="12736">
                      <a:moveTo>
                        <a:pt x="0" y="0"/>
                      </a:moveTo>
                      <a:lnTo>
                        <a:pt x="69864" y="0"/>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09" name="Freeform 1945">
                  <a:extLst>
                    <a:ext uri="{FF2B5EF4-FFF2-40B4-BE49-F238E27FC236}">
                      <a16:creationId xmlns:a16="http://schemas.microsoft.com/office/drawing/2014/main" id="{5BAD797E-AD07-CB30-3CEC-D57AB8DB3065}"/>
                    </a:ext>
                  </a:extLst>
                </p:cNvPr>
                <p:cNvSpPr/>
                <p:nvPr/>
              </p:nvSpPr>
              <p:spPr>
                <a:xfrm>
                  <a:off x="8453400" y="1969875"/>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60" name="Graphic 4">
                <a:extLst>
                  <a:ext uri="{FF2B5EF4-FFF2-40B4-BE49-F238E27FC236}">
                    <a16:creationId xmlns:a16="http://schemas.microsoft.com/office/drawing/2014/main" id="{769FAB52-520F-5721-F596-97223EBA8408}"/>
                  </a:ext>
                </a:extLst>
              </p:cNvPr>
              <p:cNvGrpSpPr/>
              <p:nvPr/>
            </p:nvGrpSpPr>
            <p:grpSpPr>
              <a:xfrm>
                <a:off x="7593724" y="1969875"/>
                <a:ext cx="69863" cy="76421"/>
                <a:chOff x="7593724" y="1969875"/>
                <a:chExt cx="69863" cy="76421"/>
              </a:xfrm>
            </p:grpSpPr>
            <p:sp>
              <p:nvSpPr>
                <p:cNvPr id="1606" name="Freeform 1942">
                  <a:extLst>
                    <a:ext uri="{FF2B5EF4-FFF2-40B4-BE49-F238E27FC236}">
                      <a16:creationId xmlns:a16="http://schemas.microsoft.com/office/drawing/2014/main" id="{7532C0A7-38DB-9A10-B67B-3B2713CC3ED5}"/>
                    </a:ext>
                  </a:extLst>
                </p:cNvPr>
                <p:cNvSpPr/>
                <p:nvPr/>
              </p:nvSpPr>
              <p:spPr>
                <a:xfrm>
                  <a:off x="7593724" y="2008086"/>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07" name="Freeform 1943">
                  <a:extLst>
                    <a:ext uri="{FF2B5EF4-FFF2-40B4-BE49-F238E27FC236}">
                      <a16:creationId xmlns:a16="http://schemas.microsoft.com/office/drawing/2014/main" id="{9DDCEFAB-8C64-3E9F-83D8-6BA79E01EBAB}"/>
                    </a:ext>
                  </a:extLst>
                </p:cNvPr>
                <p:cNvSpPr/>
                <p:nvPr/>
              </p:nvSpPr>
              <p:spPr>
                <a:xfrm>
                  <a:off x="7628656" y="1969875"/>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61" name="Graphic 4">
                <a:extLst>
                  <a:ext uri="{FF2B5EF4-FFF2-40B4-BE49-F238E27FC236}">
                    <a16:creationId xmlns:a16="http://schemas.microsoft.com/office/drawing/2014/main" id="{518AEE48-FE42-CCBA-9684-1A5A39F5EC00}"/>
                  </a:ext>
                </a:extLst>
              </p:cNvPr>
              <p:cNvGrpSpPr/>
              <p:nvPr/>
            </p:nvGrpSpPr>
            <p:grpSpPr>
              <a:xfrm>
                <a:off x="7573654" y="1969875"/>
                <a:ext cx="69863" cy="76421"/>
                <a:chOff x="7573654" y="1969875"/>
                <a:chExt cx="69863" cy="76421"/>
              </a:xfrm>
            </p:grpSpPr>
            <p:sp>
              <p:nvSpPr>
                <p:cNvPr id="1604" name="Freeform 1940">
                  <a:extLst>
                    <a:ext uri="{FF2B5EF4-FFF2-40B4-BE49-F238E27FC236}">
                      <a16:creationId xmlns:a16="http://schemas.microsoft.com/office/drawing/2014/main" id="{C7B895F8-FAA2-6743-C51D-C84F48AFDDAD}"/>
                    </a:ext>
                  </a:extLst>
                </p:cNvPr>
                <p:cNvSpPr/>
                <p:nvPr/>
              </p:nvSpPr>
              <p:spPr>
                <a:xfrm>
                  <a:off x="7573654" y="2008086"/>
                  <a:ext cx="69863" cy="12736"/>
                </a:xfrm>
                <a:custGeom>
                  <a:avLst/>
                  <a:gdLst>
                    <a:gd name="connsiteX0" fmla="*/ 0 w 69863"/>
                    <a:gd name="connsiteY0" fmla="*/ 0 h 12736"/>
                    <a:gd name="connsiteX1" fmla="*/ 69864 w 69863"/>
                    <a:gd name="connsiteY1" fmla="*/ 0 h 12736"/>
                  </a:gdLst>
                  <a:ahLst/>
                  <a:cxnLst>
                    <a:cxn ang="0">
                      <a:pos x="connsiteX0" y="connsiteY0"/>
                    </a:cxn>
                    <a:cxn ang="0">
                      <a:pos x="connsiteX1" y="connsiteY1"/>
                    </a:cxn>
                  </a:cxnLst>
                  <a:rect l="l" t="t" r="r" b="b"/>
                  <a:pathLst>
                    <a:path w="69863" h="12736">
                      <a:moveTo>
                        <a:pt x="0" y="0"/>
                      </a:moveTo>
                      <a:lnTo>
                        <a:pt x="69864" y="0"/>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05" name="Freeform 1941">
                  <a:extLst>
                    <a:ext uri="{FF2B5EF4-FFF2-40B4-BE49-F238E27FC236}">
                      <a16:creationId xmlns:a16="http://schemas.microsoft.com/office/drawing/2014/main" id="{7453A5FF-1A9D-C8E7-E98E-E0B2D7970D9B}"/>
                    </a:ext>
                  </a:extLst>
                </p:cNvPr>
                <p:cNvSpPr/>
                <p:nvPr/>
              </p:nvSpPr>
              <p:spPr>
                <a:xfrm>
                  <a:off x="7608586" y="1969875"/>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62" name="Graphic 4">
                <a:extLst>
                  <a:ext uri="{FF2B5EF4-FFF2-40B4-BE49-F238E27FC236}">
                    <a16:creationId xmlns:a16="http://schemas.microsoft.com/office/drawing/2014/main" id="{CD454E32-AC3C-22FD-07A1-BE2CEB2271A1}"/>
                  </a:ext>
                </a:extLst>
              </p:cNvPr>
              <p:cNvGrpSpPr/>
              <p:nvPr/>
            </p:nvGrpSpPr>
            <p:grpSpPr>
              <a:xfrm>
                <a:off x="7550421" y="1969875"/>
                <a:ext cx="69863" cy="76421"/>
                <a:chOff x="7550421" y="1969875"/>
                <a:chExt cx="69863" cy="76421"/>
              </a:xfrm>
            </p:grpSpPr>
            <p:sp>
              <p:nvSpPr>
                <p:cNvPr id="1602" name="Freeform 1938">
                  <a:extLst>
                    <a:ext uri="{FF2B5EF4-FFF2-40B4-BE49-F238E27FC236}">
                      <a16:creationId xmlns:a16="http://schemas.microsoft.com/office/drawing/2014/main" id="{8C367AFB-AB0C-47D9-17B7-138BEEBEDBDD}"/>
                    </a:ext>
                  </a:extLst>
                </p:cNvPr>
                <p:cNvSpPr/>
                <p:nvPr/>
              </p:nvSpPr>
              <p:spPr>
                <a:xfrm>
                  <a:off x="7550421" y="2008086"/>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03" name="Freeform 1939">
                  <a:extLst>
                    <a:ext uri="{FF2B5EF4-FFF2-40B4-BE49-F238E27FC236}">
                      <a16:creationId xmlns:a16="http://schemas.microsoft.com/office/drawing/2014/main" id="{953C2370-030D-CF79-7ACC-855557C5647C}"/>
                    </a:ext>
                  </a:extLst>
                </p:cNvPr>
                <p:cNvSpPr/>
                <p:nvPr/>
              </p:nvSpPr>
              <p:spPr>
                <a:xfrm>
                  <a:off x="7585353" y="1969875"/>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63" name="Graphic 4">
                <a:extLst>
                  <a:ext uri="{FF2B5EF4-FFF2-40B4-BE49-F238E27FC236}">
                    <a16:creationId xmlns:a16="http://schemas.microsoft.com/office/drawing/2014/main" id="{AAD616E4-2CD5-D01A-684D-B85098CC3D42}"/>
                  </a:ext>
                </a:extLst>
              </p:cNvPr>
              <p:cNvGrpSpPr/>
              <p:nvPr/>
            </p:nvGrpSpPr>
            <p:grpSpPr>
              <a:xfrm>
                <a:off x="7446935" y="1969875"/>
                <a:ext cx="69863" cy="76421"/>
                <a:chOff x="7446935" y="1969875"/>
                <a:chExt cx="69863" cy="76421"/>
              </a:xfrm>
            </p:grpSpPr>
            <p:sp>
              <p:nvSpPr>
                <p:cNvPr id="1600" name="Freeform 1936">
                  <a:extLst>
                    <a:ext uri="{FF2B5EF4-FFF2-40B4-BE49-F238E27FC236}">
                      <a16:creationId xmlns:a16="http://schemas.microsoft.com/office/drawing/2014/main" id="{E0398F83-0C6B-BFFD-7B52-5125FE0AF358}"/>
                    </a:ext>
                  </a:extLst>
                </p:cNvPr>
                <p:cNvSpPr/>
                <p:nvPr/>
              </p:nvSpPr>
              <p:spPr>
                <a:xfrm>
                  <a:off x="7446935" y="2008086"/>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01" name="Freeform 1937">
                  <a:extLst>
                    <a:ext uri="{FF2B5EF4-FFF2-40B4-BE49-F238E27FC236}">
                      <a16:creationId xmlns:a16="http://schemas.microsoft.com/office/drawing/2014/main" id="{DB838DE5-3F78-63CE-8B73-98A3D7FB587E}"/>
                    </a:ext>
                  </a:extLst>
                </p:cNvPr>
                <p:cNvSpPr/>
                <p:nvPr/>
              </p:nvSpPr>
              <p:spPr>
                <a:xfrm>
                  <a:off x="7481866" y="1969875"/>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64" name="Graphic 4">
                <a:extLst>
                  <a:ext uri="{FF2B5EF4-FFF2-40B4-BE49-F238E27FC236}">
                    <a16:creationId xmlns:a16="http://schemas.microsoft.com/office/drawing/2014/main" id="{B7061905-0CE5-0300-EF3F-08A50ECA9A03}"/>
                  </a:ext>
                </a:extLst>
              </p:cNvPr>
              <p:cNvGrpSpPr/>
              <p:nvPr/>
            </p:nvGrpSpPr>
            <p:grpSpPr>
              <a:xfrm>
                <a:off x="7436379" y="1969875"/>
                <a:ext cx="69863" cy="76421"/>
                <a:chOff x="7436379" y="1969875"/>
                <a:chExt cx="69863" cy="76421"/>
              </a:xfrm>
            </p:grpSpPr>
            <p:sp>
              <p:nvSpPr>
                <p:cNvPr id="1598" name="Freeform 1934">
                  <a:extLst>
                    <a:ext uri="{FF2B5EF4-FFF2-40B4-BE49-F238E27FC236}">
                      <a16:creationId xmlns:a16="http://schemas.microsoft.com/office/drawing/2014/main" id="{7EBDE3BB-F14A-3ED3-A105-2752798E43A3}"/>
                    </a:ext>
                  </a:extLst>
                </p:cNvPr>
                <p:cNvSpPr/>
                <p:nvPr/>
              </p:nvSpPr>
              <p:spPr>
                <a:xfrm>
                  <a:off x="7436379" y="2008086"/>
                  <a:ext cx="69863" cy="12736"/>
                </a:xfrm>
                <a:custGeom>
                  <a:avLst/>
                  <a:gdLst>
                    <a:gd name="connsiteX0" fmla="*/ 0 w 69863"/>
                    <a:gd name="connsiteY0" fmla="*/ 0 h 12736"/>
                    <a:gd name="connsiteX1" fmla="*/ 69864 w 69863"/>
                    <a:gd name="connsiteY1" fmla="*/ 0 h 12736"/>
                  </a:gdLst>
                  <a:ahLst/>
                  <a:cxnLst>
                    <a:cxn ang="0">
                      <a:pos x="connsiteX0" y="connsiteY0"/>
                    </a:cxn>
                    <a:cxn ang="0">
                      <a:pos x="connsiteX1" y="connsiteY1"/>
                    </a:cxn>
                  </a:cxnLst>
                  <a:rect l="l" t="t" r="r" b="b"/>
                  <a:pathLst>
                    <a:path w="69863" h="12736">
                      <a:moveTo>
                        <a:pt x="0" y="0"/>
                      </a:moveTo>
                      <a:lnTo>
                        <a:pt x="69864" y="0"/>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99" name="Freeform 1935">
                  <a:extLst>
                    <a:ext uri="{FF2B5EF4-FFF2-40B4-BE49-F238E27FC236}">
                      <a16:creationId xmlns:a16="http://schemas.microsoft.com/office/drawing/2014/main" id="{0444CCD9-3480-1CE0-B81E-65689D8E722A}"/>
                    </a:ext>
                  </a:extLst>
                </p:cNvPr>
                <p:cNvSpPr/>
                <p:nvPr/>
              </p:nvSpPr>
              <p:spPr>
                <a:xfrm>
                  <a:off x="7471310" y="1969875"/>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65" name="Graphic 4">
                <a:extLst>
                  <a:ext uri="{FF2B5EF4-FFF2-40B4-BE49-F238E27FC236}">
                    <a16:creationId xmlns:a16="http://schemas.microsoft.com/office/drawing/2014/main" id="{A2AC48A0-6358-FF9E-2D88-E83A64EBAE1D}"/>
                  </a:ext>
                </a:extLst>
              </p:cNvPr>
              <p:cNvGrpSpPr/>
              <p:nvPr/>
            </p:nvGrpSpPr>
            <p:grpSpPr>
              <a:xfrm>
                <a:off x="7412079" y="1969875"/>
                <a:ext cx="69863" cy="76421"/>
                <a:chOff x="7412079" y="1969875"/>
                <a:chExt cx="69863" cy="76421"/>
              </a:xfrm>
            </p:grpSpPr>
            <p:sp>
              <p:nvSpPr>
                <p:cNvPr id="1596" name="Freeform 1932">
                  <a:extLst>
                    <a:ext uri="{FF2B5EF4-FFF2-40B4-BE49-F238E27FC236}">
                      <a16:creationId xmlns:a16="http://schemas.microsoft.com/office/drawing/2014/main" id="{B86AF051-C433-C6ED-F7A6-67D483441357}"/>
                    </a:ext>
                  </a:extLst>
                </p:cNvPr>
                <p:cNvSpPr/>
                <p:nvPr/>
              </p:nvSpPr>
              <p:spPr>
                <a:xfrm>
                  <a:off x="7412079" y="2008086"/>
                  <a:ext cx="69863" cy="12736"/>
                </a:xfrm>
                <a:custGeom>
                  <a:avLst/>
                  <a:gdLst>
                    <a:gd name="connsiteX0" fmla="*/ 0 w 69863"/>
                    <a:gd name="connsiteY0" fmla="*/ 0 h 12736"/>
                    <a:gd name="connsiteX1" fmla="*/ 69864 w 69863"/>
                    <a:gd name="connsiteY1" fmla="*/ 0 h 12736"/>
                  </a:gdLst>
                  <a:ahLst/>
                  <a:cxnLst>
                    <a:cxn ang="0">
                      <a:pos x="connsiteX0" y="connsiteY0"/>
                    </a:cxn>
                    <a:cxn ang="0">
                      <a:pos x="connsiteX1" y="connsiteY1"/>
                    </a:cxn>
                  </a:cxnLst>
                  <a:rect l="l" t="t" r="r" b="b"/>
                  <a:pathLst>
                    <a:path w="69863" h="12736">
                      <a:moveTo>
                        <a:pt x="0" y="0"/>
                      </a:moveTo>
                      <a:lnTo>
                        <a:pt x="69864" y="0"/>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97" name="Freeform 1933">
                  <a:extLst>
                    <a:ext uri="{FF2B5EF4-FFF2-40B4-BE49-F238E27FC236}">
                      <a16:creationId xmlns:a16="http://schemas.microsoft.com/office/drawing/2014/main" id="{39C08C29-BEBB-165D-9D27-87AF696A5B0A}"/>
                    </a:ext>
                  </a:extLst>
                </p:cNvPr>
                <p:cNvSpPr/>
                <p:nvPr/>
              </p:nvSpPr>
              <p:spPr>
                <a:xfrm>
                  <a:off x="7447011" y="1969875"/>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66" name="Graphic 4">
                <a:extLst>
                  <a:ext uri="{FF2B5EF4-FFF2-40B4-BE49-F238E27FC236}">
                    <a16:creationId xmlns:a16="http://schemas.microsoft.com/office/drawing/2014/main" id="{A20B6BF1-BF62-F3DD-4BF3-01922E7A38F8}"/>
                  </a:ext>
                </a:extLst>
              </p:cNvPr>
              <p:cNvGrpSpPr/>
              <p:nvPr/>
            </p:nvGrpSpPr>
            <p:grpSpPr>
              <a:xfrm>
                <a:off x="6871400" y="1969875"/>
                <a:ext cx="69863" cy="76421"/>
                <a:chOff x="6871400" y="1969875"/>
                <a:chExt cx="69863" cy="76421"/>
              </a:xfrm>
            </p:grpSpPr>
            <p:sp>
              <p:nvSpPr>
                <p:cNvPr id="1594" name="Freeform 1930">
                  <a:extLst>
                    <a:ext uri="{FF2B5EF4-FFF2-40B4-BE49-F238E27FC236}">
                      <a16:creationId xmlns:a16="http://schemas.microsoft.com/office/drawing/2014/main" id="{4CD712B2-C218-D4F4-9EF5-31CBE6E1A167}"/>
                    </a:ext>
                  </a:extLst>
                </p:cNvPr>
                <p:cNvSpPr/>
                <p:nvPr/>
              </p:nvSpPr>
              <p:spPr>
                <a:xfrm>
                  <a:off x="6871400" y="2008086"/>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95" name="Freeform 1931">
                  <a:extLst>
                    <a:ext uri="{FF2B5EF4-FFF2-40B4-BE49-F238E27FC236}">
                      <a16:creationId xmlns:a16="http://schemas.microsoft.com/office/drawing/2014/main" id="{418C531A-784F-0C1B-97D5-60C57E133667}"/>
                    </a:ext>
                  </a:extLst>
                </p:cNvPr>
                <p:cNvSpPr/>
                <p:nvPr/>
              </p:nvSpPr>
              <p:spPr>
                <a:xfrm>
                  <a:off x="6906331" y="1969875"/>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67" name="Graphic 4">
                <a:extLst>
                  <a:ext uri="{FF2B5EF4-FFF2-40B4-BE49-F238E27FC236}">
                    <a16:creationId xmlns:a16="http://schemas.microsoft.com/office/drawing/2014/main" id="{9E926566-8B9C-CC34-0525-22397212695A}"/>
                  </a:ext>
                </a:extLst>
              </p:cNvPr>
              <p:cNvGrpSpPr/>
              <p:nvPr/>
            </p:nvGrpSpPr>
            <p:grpSpPr>
              <a:xfrm>
                <a:off x="6842883" y="1969875"/>
                <a:ext cx="69876" cy="76421"/>
                <a:chOff x="6842883" y="1969875"/>
                <a:chExt cx="69876" cy="76421"/>
              </a:xfrm>
            </p:grpSpPr>
            <p:sp>
              <p:nvSpPr>
                <p:cNvPr id="1592" name="Freeform 1928">
                  <a:extLst>
                    <a:ext uri="{FF2B5EF4-FFF2-40B4-BE49-F238E27FC236}">
                      <a16:creationId xmlns:a16="http://schemas.microsoft.com/office/drawing/2014/main" id="{E344E111-A400-4615-6772-BED0B96FFC2F}"/>
                    </a:ext>
                  </a:extLst>
                </p:cNvPr>
                <p:cNvSpPr/>
                <p:nvPr/>
              </p:nvSpPr>
              <p:spPr>
                <a:xfrm>
                  <a:off x="6842883" y="2008086"/>
                  <a:ext cx="69876" cy="12736"/>
                </a:xfrm>
                <a:custGeom>
                  <a:avLst/>
                  <a:gdLst>
                    <a:gd name="connsiteX0" fmla="*/ 0 w 69876"/>
                    <a:gd name="connsiteY0" fmla="*/ 0 h 12736"/>
                    <a:gd name="connsiteX1" fmla="*/ 69876 w 69876"/>
                    <a:gd name="connsiteY1" fmla="*/ 0 h 12736"/>
                  </a:gdLst>
                  <a:ahLst/>
                  <a:cxnLst>
                    <a:cxn ang="0">
                      <a:pos x="connsiteX0" y="connsiteY0"/>
                    </a:cxn>
                    <a:cxn ang="0">
                      <a:pos x="connsiteX1" y="connsiteY1"/>
                    </a:cxn>
                  </a:cxnLst>
                  <a:rect l="l" t="t" r="r" b="b"/>
                  <a:pathLst>
                    <a:path w="69876" h="12736">
                      <a:moveTo>
                        <a:pt x="0" y="0"/>
                      </a:moveTo>
                      <a:lnTo>
                        <a:pt x="69876" y="0"/>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93" name="Freeform 1929">
                  <a:extLst>
                    <a:ext uri="{FF2B5EF4-FFF2-40B4-BE49-F238E27FC236}">
                      <a16:creationId xmlns:a16="http://schemas.microsoft.com/office/drawing/2014/main" id="{806B01A2-C40F-E9DB-2298-E87C198B31C8}"/>
                    </a:ext>
                  </a:extLst>
                </p:cNvPr>
                <p:cNvSpPr/>
                <p:nvPr/>
              </p:nvSpPr>
              <p:spPr>
                <a:xfrm>
                  <a:off x="6877827" y="1969875"/>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68" name="Graphic 4">
                <a:extLst>
                  <a:ext uri="{FF2B5EF4-FFF2-40B4-BE49-F238E27FC236}">
                    <a16:creationId xmlns:a16="http://schemas.microsoft.com/office/drawing/2014/main" id="{ED663FC3-249D-5941-BF11-DFAE64EDC0F3}"/>
                  </a:ext>
                </a:extLst>
              </p:cNvPr>
              <p:cNvGrpSpPr/>
              <p:nvPr/>
            </p:nvGrpSpPr>
            <p:grpSpPr>
              <a:xfrm>
                <a:off x="6790091" y="1969875"/>
                <a:ext cx="69863" cy="76421"/>
                <a:chOff x="6790091" y="1969875"/>
                <a:chExt cx="69863" cy="76421"/>
              </a:xfrm>
            </p:grpSpPr>
            <p:sp>
              <p:nvSpPr>
                <p:cNvPr id="1590" name="Freeform 1926">
                  <a:extLst>
                    <a:ext uri="{FF2B5EF4-FFF2-40B4-BE49-F238E27FC236}">
                      <a16:creationId xmlns:a16="http://schemas.microsoft.com/office/drawing/2014/main" id="{2968D104-6CFF-0797-EDDF-3CA9A851349F}"/>
                    </a:ext>
                  </a:extLst>
                </p:cNvPr>
                <p:cNvSpPr/>
                <p:nvPr/>
              </p:nvSpPr>
              <p:spPr>
                <a:xfrm>
                  <a:off x="6790091" y="2008086"/>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91" name="Freeform 1927">
                  <a:extLst>
                    <a:ext uri="{FF2B5EF4-FFF2-40B4-BE49-F238E27FC236}">
                      <a16:creationId xmlns:a16="http://schemas.microsoft.com/office/drawing/2014/main" id="{FF70E21B-5C98-4EEE-7085-86DE7AED5F4B}"/>
                    </a:ext>
                  </a:extLst>
                </p:cNvPr>
                <p:cNvSpPr/>
                <p:nvPr/>
              </p:nvSpPr>
              <p:spPr>
                <a:xfrm>
                  <a:off x="6825023" y="1969875"/>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69" name="Graphic 4">
                <a:extLst>
                  <a:ext uri="{FF2B5EF4-FFF2-40B4-BE49-F238E27FC236}">
                    <a16:creationId xmlns:a16="http://schemas.microsoft.com/office/drawing/2014/main" id="{1E61822E-EBA7-A3A9-CB48-539EB1F2FDD2}"/>
                  </a:ext>
                </a:extLst>
              </p:cNvPr>
              <p:cNvGrpSpPr/>
              <p:nvPr/>
            </p:nvGrpSpPr>
            <p:grpSpPr>
              <a:xfrm>
                <a:off x="6776360" y="1969875"/>
                <a:ext cx="69863" cy="76421"/>
                <a:chOff x="6776360" y="1969875"/>
                <a:chExt cx="69863" cy="76421"/>
              </a:xfrm>
            </p:grpSpPr>
            <p:sp>
              <p:nvSpPr>
                <p:cNvPr id="1588" name="Freeform 1924">
                  <a:extLst>
                    <a:ext uri="{FF2B5EF4-FFF2-40B4-BE49-F238E27FC236}">
                      <a16:creationId xmlns:a16="http://schemas.microsoft.com/office/drawing/2014/main" id="{83D6A928-4F15-687F-3532-B745071E88CF}"/>
                    </a:ext>
                  </a:extLst>
                </p:cNvPr>
                <p:cNvSpPr/>
                <p:nvPr/>
              </p:nvSpPr>
              <p:spPr>
                <a:xfrm>
                  <a:off x="6776360" y="2008086"/>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89" name="Freeform 1925">
                  <a:extLst>
                    <a:ext uri="{FF2B5EF4-FFF2-40B4-BE49-F238E27FC236}">
                      <a16:creationId xmlns:a16="http://schemas.microsoft.com/office/drawing/2014/main" id="{0AEE5C62-B826-E93C-1DF9-B5C4EC92FBF6}"/>
                    </a:ext>
                  </a:extLst>
                </p:cNvPr>
                <p:cNvSpPr/>
                <p:nvPr/>
              </p:nvSpPr>
              <p:spPr>
                <a:xfrm>
                  <a:off x="6811292" y="1969875"/>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70" name="Graphic 4">
                <a:extLst>
                  <a:ext uri="{FF2B5EF4-FFF2-40B4-BE49-F238E27FC236}">
                    <a16:creationId xmlns:a16="http://schemas.microsoft.com/office/drawing/2014/main" id="{454FFC97-7CA2-4D5D-A75A-2B8CB32757A5}"/>
                  </a:ext>
                </a:extLst>
              </p:cNvPr>
              <p:cNvGrpSpPr/>
              <p:nvPr/>
            </p:nvGrpSpPr>
            <p:grpSpPr>
              <a:xfrm>
                <a:off x="6745734" y="1969875"/>
                <a:ext cx="69863" cy="76421"/>
                <a:chOff x="6745734" y="1969875"/>
                <a:chExt cx="69863" cy="76421"/>
              </a:xfrm>
            </p:grpSpPr>
            <p:sp>
              <p:nvSpPr>
                <p:cNvPr id="1586" name="Freeform 1922">
                  <a:extLst>
                    <a:ext uri="{FF2B5EF4-FFF2-40B4-BE49-F238E27FC236}">
                      <a16:creationId xmlns:a16="http://schemas.microsoft.com/office/drawing/2014/main" id="{B0BF7FF2-E3EB-AC55-DBA4-E14DEB559D5A}"/>
                    </a:ext>
                  </a:extLst>
                </p:cNvPr>
                <p:cNvSpPr/>
                <p:nvPr/>
              </p:nvSpPr>
              <p:spPr>
                <a:xfrm>
                  <a:off x="6745734" y="2008086"/>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87" name="Freeform 1923">
                  <a:extLst>
                    <a:ext uri="{FF2B5EF4-FFF2-40B4-BE49-F238E27FC236}">
                      <a16:creationId xmlns:a16="http://schemas.microsoft.com/office/drawing/2014/main" id="{D8938A75-BFEB-35CD-6BF0-2ACFAADE3F34}"/>
                    </a:ext>
                  </a:extLst>
                </p:cNvPr>
                <p:cNvSpPr/>
                <p:nvPr/>
              </p:nvSpPr>
              <p:spPr>
                <a:xfrm>
                  <a:off x="6780666" y="1969875"/>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71" name="Graphic 4">
                <a:extLst>
                  <a:ext uri="{FF2B5EF4-FFF2-40B4-BE49-F238E27FC236}">
                    <a16:creationId xmlns:a16="http://schemas.microsoft.com/office/drawing/2014/main" id="{977CCEEA-5C8C-CCCE-8F54-24A9BC81A9CE}"/>
                  </a:ext>
                </a:extLst>
              </p:cNvPr>
              <p:cNvGrpSpPr/>
              <p:nvPr/>
            </p:nvGrpSpPr>
            <p:grpSpPr>
              <a:xfrm>
                <a:off x="6710892" y="1969875"/>
                <a:ext cx="69863" cy="76421"/>
                <a:chOff x="6710892" y="1969875"/>
                <a:chExt cx="69863" cy="76421"/>
              </a:xfrm>
            </p:grpSpPr>
            <p:sp>
              <p:nvSpPr>
                <p:cNvPr id="1584" name="Freeform 1920">
                  <a:extLst>
                    <a:ext uri="{FF2B5EF4-FFF2-40B4-BE49-F238E27FC236}">
                      <a16:creationId xmlns:a16="http://schemas.microsoft.com/office/drawing/2014/main" id="{B145EBED-4EFF-19E0-7DAD-90DA0508A150}"/>
                    </a:ext>
                  </a:extLst>
                </p:cNvPr>
                <p:cNvSpPr/>
                <p:nvPr/>
              </p:nvSpPr>
              <p:spPr>
                <a:xfrm>
                  <a:off x="6710892" y="2008086"/>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85" name="Freeform 1921">
                  <a:extLst>
                    <a:ext uri="{FF2B5EF4-FFF2-40B4-BE49-F238E27FC236}">
                      <a16:creationId xmlns:a16="http://schemas.microsoft.com/office/drawing/2014/main" id="{33293892-2171-C4BD-3261-75EC710BB4DB}"/>
                    </a:ext>
                  </a:extLst>
                </p:cNvPr>
                <p:cNvSpPr/>
                <p:nvPr/>
              </p:nvSpPr>
              <p:spPr>
                <a:xfrm>
                  <a:off x="6745823" y="1969875"/>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72" name="Graphic 4">
                <a:extLst>
                  <a:ext uri="{FF2B5EF4-FFF2-40B4-BE49-F238E27FC236}">
                    <a16:creationId xmlns:a16="http://schemas.microsoft.com/office/drawing/2014/main" id="{0890CCE3-A2C4-645C-875F-8EBF0B8F8B90}"/>
                  </a:ext>
                </a:extLst>
              </p:cNvPr>
              <p:cNvGrpSpPr/>
              <p:nvPr/>
            </p:nvGrpSpPr>
            <p:grpSpPr>
              <a:xfrm>
                <a:off x="6685538" y="1969875"/>
                <a:ext cx="69863" cy="76421"/>
                <a:chOff x="6685538" y="1969875"/>
                <a:chExt cx="69863" cy="76421"/>
              </a:xfrm>
            </p:grpSpPr>
            <p:sp>
              <p:nvSpPr>
                <p:cNvPr id="1582" name="Freeform 1918">
                  <a:extLst>
                    <a:ext uri="{FF2B5EF4-FFF2-40B4-BE49-F238E27FC236}">
                      <a16:creationId xmlns:a16="http://schemas.microsoft.com/office/drawing/2014/main" id="{076932C8-9534-7C13-B6A2-05CF620A2372}"/>
                    </a:ext>
                  </a:extLst>
                </p:cNvPr>
                <p:cNvSpPr/>
                <p:nvPr/>
              </p:nvSpPr>
              <p:spPr>
                <a:xfrm>
                  <a:off x="6685538" y="2008086"/>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83" name="Freeform 1919">
                  <a:extLst>
                    <a:ext uri="{FF2B5EF4-FFF2-40B4-BE49-F238E27FC236}">
                      <a16:creationId xmlns:a16="http://schemas.microsoft.com/office/drawing/2014/main" id="{9E04FA74-BA21-1DD3-77FA-C9CE9CBBE52B}"/>
                    </a:ext>
                  </a:extLst>
                </p:cNvPr>
                <p:cNvSpPr/>
                <p:nvPr/>
              </p:nvSpPr>
              <p:spPr>
                <a:xfrm>
                  <a:off x="6720469" y="1969875"/>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73" name="Graphic 4">
                <a:extLst>
                  <a:ext uri="{FF2B5EF4-FFF2-40B4-BE49-F238E27FC236}">
                    <a16:creationId xmlns:a16="http://schemas.microsoft.com/office/drawing/2014/main" id="{17D058B0-DB06-A7E6-CD82-14646AF19F01}"/>
                  </a:ext>
                </a:extLst>
              </p:cNvPr>
              <p:cNvGrpSpPr/>
              <p:nvPr/>
            </p:nvGrpSpPr>
            <p:grpSpPr>
              <a:xfrm>
                <a:off x="6530301" y="1969875"/>
                <a:ext cx="69876" cy="76421"/>
                <a:chOff x="6530301" y="1969875"/>
                <a:chExt cx="69876" cy="76421"/>
              </a:xfrm>
            </p:grpSpPr>
            <p:sp>
              <p:nvSpPr>
                <p:cNvPr id="1580" name="Freeform 1916">
                  <a:extLst>
                    <a:ext uri="{FF2B5EF4-FFF2-40B4-BE49-F238E27FC236}">
                      <a16:creationId xmlns:a16="http://schemas.microsoft.com/office/drawing/2014/main" id="{E1F7704C-D378-D2F4-2BEC-0BED5A370412}"/>
                    </a:ext>
                  </a:extLst>
                </p:cNvPr>
                <p:cNvSpPr/>
                <p:nvPr/>
              </p:nvSpPr>
              <p:spPr>
                <a:xfrm>
                  <a:off x="6530301" y="2008086"/>
                  <a:ext cx="69876" cy="12736"/>
                </a:xfrm>
                <a:custGeom>
                  <a:avLst/>
                  <a:gdLst>
                    <a:gd name="connsiteX0" fmla="*/ 0 w 69876"/>
                    <a:gd name="connsiteY0" fmla="*/ 0 h 12736"/>
                    <a:gd name="connsiteX1" fmla="*/ 69876 w 69876"/>
                    <a:gd name="connsiteY1" fmla="*/ 0 h 12736"/>
                  </a:gdLst>
                  <a:ahLst/>
                  <a:cxnLst>
                    <a:cxn ang="0">
                      <a:pos x="connsiteX0" y="connsiteY0"/>
                    </a:cxn>
                    <a:cxn ang="0">
                      <a:pos x="connsiteX1" y="connsiteY1"/>
                    </a:cxn>
                  </a:cxnLst>
                  <a:rect l="l" t="t" r="r" b="b"/>
                  <a:pathLst>
                    <a:path w="69876" h="12736">
                      <a:moveTo>
                        <a:pt x="0" y="0"/>
                      </a:moveTo>
                      <a:lnTo>
                        <a:pt x="69876" y="0"/>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81" name="Freeform 1917">
                  <a:extLst>
                    <a:ext uri="{FF2B5EF4-FFF2-40B4-BE49-F238E27FC236}">
                      <a16:creationId xmlns:a16="http://schemas.microsoft.com/office/drawing/2014/main" id="{02883FF0-8043-7AE7-A5D0-C8F6A0A952FA}"/>
                    </a:ext>
                  </a:extLst>
                </p:cNvPr>
                <p:cNvSpPr/>
                <p:nvPr/>
              </p:nvSpPr>
              <p:spPr>
                <a:xfrm>
                  <a:off x="6565233" y="1969875"/>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74" name="Graphic 4">
                <a:extLst>
                  <a:ext uri="{FF2B5EF4-FFF2-40B4-BE49-F238E27FC236}">
                    <a16:creationId xmlns:a16="http://schemas.microsoft.com/office/drawing/2014/main" id="{E325C42D-200B-CD01-9B4C-0AD8BEEA0A9C}"/>
                  </a:ext>
                </a:extLst>
              </p:cNvPr>
              <p:cNvGrpSpPr/>
              <p:nvPr/>
            </p:nvGrpSpPr>
            <p:grpSpPr>
              <a:xfrm>
                <a:off x="6461670" y="1969875"/>
                <a:ext cx="69863" cy="76421"/>
                <a:chOff x="6461670" y="1969875"/>
                <a:chExt cx="69863" cy="76421"/>
              </a:xfrm>
            </p:grpSpPr>
            <p:sp>
              <p:nvSpPr>
                <p:cNvPr id="1578" name="Freeform 1914">
                  <a:extLst>
                    <a:ext uri="{FF2B5EF4-FFF2-40B4-BE49-F238E27FC236}">
                      <a16:creationId xmlns:a16="http://schemas.microsoft.com/office/drawing/2014/main" id="{E347B6C1-F1DD-0F4A-7E41-3C5EEBD97127}"/>
                    </a:ext>
                  </a:extLst>
                </p:cNvPr>
                <p:cNvSpPr/>
                <p:nvPr/>
              </p:nvSpPr>
              <p:spPr>
                <a:xfrm>
                  <a:off x="6461670" y="2008086"/>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79" name="Freeform 1915">
                  <a:extLst>
                    <a:ext uri="{FF2B5EF4-FFF2-40B4-BE49-F238E27FC236}">
                      <a16:creationId xmlns:a16="http://schemas.microsoft.com/office/drawing/2014/main" id="{37E6C531-2262-BD4D-9BC9-7C4DF2FD53A9}"/>
                    </a:ext>
                  </a:extLst>
                </p:cNvPr>
                <p:cNvSpPr/>
                <p:nvPr/>
              </p:nvSpPr>
              <p:spPr>
                <a:xfrm>
                  <a:off x="6496602" y="1969875"/>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575" name="Graphic 4">
                <a:extLst>
                  <a:ext uri="{FF2B5EF4-FFF2-40B4-BE49-F238E27FC236}">
                    <a16:creationId xmlns:a16="http://schemas.microsoft.com/office/drawing/2014/main" id="{A8F23667-D446-C5F8-D658-239C9CB046FE}"/>
                  </a:ext>
                </a:extLst>
              </p:cNvPr>
              <p:cNvGrpSpPr/>
              <p:nvPr/>
            </p:nvGrpSpPr>
            <p:grpSpPr>
              <a:xfrm>
                <a:off x="6269469" y="1969875"/>
                <a:ext cx="69863" cy="76421"/>
                <a:chOff x="6269469" y="1969875"/>
                <a:chExt cx="69863" cy="76421"/>
              </a:xfrm>
            </p:grpSpPr>
            <p:sp>
              <p:nvSpPr>
                <p:cNvPr id="1576" name="Freeform 1912">
                  <a:extLst>
                    <a:ext uri="{FF2B5EF4-FFF2-40B4-BE49-F238E27FC236}">
                      <a16:creationId xmlns:a16="http://schemas.microsoft.com/office/drawing/2014/main" id="{C2A4C86E-5355-8A8A-15DD-3BAEBA960801}"/>
                    </a:ext>
                  </a:extLst>
                </p:cNvPr>
                <p:cNvSpPr/>
                <p:nvPr/>
              </p:nvSpPr>
              <p:spPr>
                <a:xfrm>
                  <a:off x="6269469" y="2008086"/>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77" name="Freeform 1913">
                  <a:extLst>
                    <a:ext uri="{FF2B5EF4-FFF2-40B4-BE49-F238E27FC236}">
                      <a16:creationId xmlns:a16="http://schemas.microsoft.com/office/drawing/2014/main" id="{ACDCA9FD-9ED9-9D70-94ED-B84582003DEF}"/>
                    </a:ext>
                  </a:extLst>
                </p:cNvPr>
                <p:cNvSpPr/>
                <p:nvPr/>
              </p:nvSpPr>
              <p:spPr>
                <a:xfrm>
                  <a:off x="6304401" y="1969875"/>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sp>
          <p:nvSpPr>
            <p:cNvPr id="1610" name="Freeform 1946">
              <a:extLst>
                <a:ext uri="{FF2B5EF4-FFF2-40B4-BE49-F238E27FC236}">
                  <a16:creationId xmlns:a16="http://schemas.microsoft.com/office/drawing/2014/main" id="{4DB58DBD-9CA1-ED9C-7CA9-E76858D00720}"/>
                </a:ext>
              </a:extLst>
            </p:cNvPr>
            <p:cNvSpPr/>
            <p:nvPr/>
          </p:nvSpPr>
          <p:spPr>
            <a:xfrm>
              <a:off x="1419830" y="2853427"/>
              <a:ext cx="136614" cy="12736"/>
            </a:xfrm>
            <a:custGeom>
              <a:avLst/>
              <a:gdLst>
                <a:gd name="connsiteX0" fmla="*/ 0 w 136614"/>
                <a:gd name="connsiteY0" fmla="*/ 0 h 12736"/>
                <a:gd name="connsiteX1" fmla="*/ 136615 w 136614"/>
                <a:gd name="connsiteY1" fmla="*/ 0 h 12736"/>
              </a:gdLst>
              <a:ahLst/>
              <a:cxnLst>
                <a:cxn ang="0">
                  <a:pos x="connsiteX0" y="connsiteY0"/>
                </a:cxn>
                <a:cxn ang="0">
                  <a:pos x="connsiteX1" y="connsiteY1"/>
                </a:cxn>
              </a:cxnLst>
              <a:rect l="l" t="t" r="r" b="b"/>
              <a:pathLst>
                <a:path w="136614" h="12736">
                  <a:moveTo>
                    <a:pt x="0" y="0"/>
                  </a:moveTo>
                  <a:lnTo>
                    <a:pt x="136615" y="0"/>
                  </a:lnTo>
                </a:path>
              </a:pathLst>
            </a:custGeom>
            <a:ln w="19050" cap="flat">
              <a:solidFill>
                <a:srgbClr val="544F4F"/>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nvGrpSpPr>
            <p:cNvPr id="1611" name="Graphic 4">
              <a:extLst>
                <a:ext uri="{FF2B5EF4-FFF2-40B4-BE49-F238E27FC236}">
                  <a16:creationId xmlns:a16="http://schemas.microsoft.com/office/drawing/2014/main" id="{F98423EA-D3ED-0F79-6D50-E9B18557D708}"/>
                </a:ext>
              </a:extLst>
            </p:cNvPr>
            <p:cNvGrpSpPr/>
            <p:nvPr/>
          </p:nvGrpSpPr>
          <p:grpSpPr>
            <a:xfrm>
              <a:off x="1310919" y="1292093"/>
              <a:ext cx="3912351" cy="996666"/>
              <a:chOff x="4573541" y="1418212"/>
              <a:chExt cx="3912351" cy="996666"/>
            </a:xfrm>
          </p:grpSpPr>
          <p:grpSp>
            <p:nvGrpSpPr>
              <p:cNvPr id="1612" name="Graphic 4">
                <a:extLst>
                  <a:ext uri="{FF2B5EF4-FFF2-40B4-BE49-F238E27FC236}">
                    <a16:creationId xmlns:a16="http://schemas.microsoft.com/office/drawing/2014/main" id="{4CB21D15-588F-689B-9024-89A99E28ABEE}"/>
                  </a:ext>
                </a:extLst>
              </p:cNvPr>
              <p:cNvGrpSpPr/>
              <p:nvPr/>
            </p:nvGrpSpPr>
            <p:grpSpPr>
              <a:xfrm>
                <a:off x="4573541" y="1418212"/>
                <a:ext cx="69863" cy="76421"/>
                <a:chOff x="4573541" y="1418212"/>
                <a:chExt cx="69863" cy="76421"/>
              </a:xfrm>
            </p:grpSpPr>
            <p:sp>
              <p:nvSpPr>
                <p:cNvPr id="1669" name="Freeform 2005">
                  <a:extLst>
                    <a:ext uri="{FF2B5EF4-FFF2-40B4-BE49-F238E27FC236}">
                      <a16:creationId xmlns:a16="http://schemas.microsoft.com/office/drawing/2014/main" id="{8ACD2D31-1F74-25A5-1CBF-1F8414D1065B}"/>
                    </a:ext>
                  </a:extLst>
                </p:cNvPr>
                <p:cNvSpPr/>
                <p:nvPr/>
              </p:nvSpPr>
              <p:spPr>
                <a:xfrm>
                  <a:off x="4573541" y="1456423"/>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70" name="Freeform 2006">
                  <a:extLst>
                    <a:ext uri="{FF2B5EF4-FFF2-40B4-BE49-F238E27FC236}">
                      <a16:creationId xmlns:a16="http://schemas.microsoft.com/office/drawing/2014/main" id="{5A77A509-04E1-50AC-D544-1C5D332DA0CB}"/>
                    </a:ext>
                  </a:extLst>
                </p:cNvPr>
                <p:cNvSpPr/>
                <p:nvPr/>
              </p:nvSpPr>
              <p:spPr>
                <a:xfrm>
                  <a:off x="4608473" y="1418212"/>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613" name="Graphic 4">
                <a:extLst>
                  <a:ext uri="{FF2B5EF4-FFF2-40B4-BE49-F238E27FC236}">
                    <a16:creationId xmlns:a16="http://schemas.microsoft.com/office/drawing/2014/main" id="{6B12C4F9-EC22-CE86-094E-C0F49DA28B6E}"/>
                  </a:ext>
                </a:extLst>
              </p:cNvPr>
              <p:cNvGrpSpPr/>
              <p:nvPr/>
            </p:nvGrpSpPr>
            <p:grpSpPr>
              <a:xfrm>
                <a:off x="4986370" y="1766020"/>
                <a:ext cx="76214" cy="76421"/>
                <a:chOff x="4986370" y="1766020"/>
                <a:chExt cx="76214" cy="76421"/>
              </a:xfrm>
            </p:grpSpPr>
            <p:sp>
              <p:nvSpPr>
                <p:cNvPr id="1667" name="Freeform 2003">
                  <a:extLst>
                    <a:ext uri="{FF2B5EF4-FFF2-40B4-BE49-F238E27FC236}">
                      <a16:creationId xmlns:a16="http://schemas.microsoft.com/office/drawing/2014/main" id="{75BA4334-C62E-5D7E-AA52-1F05BE847353}"/>
                    </a:ext>
                  </a:extLst>
                </p:cNvPr>
                <p:cNvSpPr/>
                <p:nvPr/>
              </p:nvSpPr>
              <p:spPr>
                <a:xfrm>
                  <a:off x="4986370" y="1804231"/>
                  <a:ext cx="76214" cy="12736"/>
                </a:xfrm>
                <a:custGeom>
                  <a:avLst/>
                  <a:gdLst>
                    <a:gd name="connsiteX0" fmla="*/ 0 w 76214"/>
                    <a:gd name="connsiteY0" fmla="*/ 0 h 12736"/>
                    <a:gd name="connsiteX1" fmla="*/ 76215 w 76214"/>
                    <a:gd name="connsiteY1" fmla="*/ 0 h 12736"/>
                  </a:gdLst>
                  <a:ahLst/>
                  <a:cxnLst>
                    <a:cxn ang="0">
                      <a:pos x="connsiteX0" y="connsiteY0"/>
                    </a:cxn>
                    <a:cxn ang="0">
                      <a:pos x="connsiteX1" y="connsiteY1"/>
                    </a:cxn>
                  </a:cxnLst>
                  <a:rect l="l" t="t" r="r" b="b"/>
                  <a:pathLst>
                    <a:path w="76214" h="12736">
                      <a:moveTo>
                        <a:pt x="0" y="0"/>
                      </a:moveTo>
                      <a:lnTo>
                        <a:pt x="76215" y="0"/>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68" name="Freeform 2004">
                  <a:extLst>
                    <a:ext uri="{FF2B5EF4-FFF2-40B4-BE49-F238E27FC236}">
                      <a16:creationId xmlns:a16="http://schemas.microsoft.com/office/drawing/2014/main" id="{A260BC7F-4325-A782-4BAC-DB964B40B7E5}"/>
                    </a:ext>
                  </a:extLst>
                </p:cNvPr>
                <p:cNvSpPr/>
                <p:nvPr/>
              </p:nvSpPr>
              <p:spPr>
                <a:xfrm>
                  <a:off x="5024478" y="1766020"/>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614" name="Graphic 4">
                <a:extLst>
                  <a:ext uri="{FF2B5EF4-FFF2-40B4-BE49-F238E27FC236}">
                    <a16:creationId xmlns:a16="http://schemas.microsoft.com/office/drawing/2014/main" id="{ABE8EB55-4F7E-D469-1DC9-179AA688C0A5}"/>
                  </a:ext>
                </a:extLst>
              </p:cNvPr>
              <p:cNvGrpSpPr/>
              <p:nvPr/>
            </p:nvGrpSpPr>
            <p:grpSpPr>
              <a:xfrm>
                <a:off x="6267729" y="2178634"/>
                <a:ext cx="69863" cy="70053"/>
                <a:chOff x="6267729" y="2178634"/>
                <a:chExt cx="69863" cy="70053"/>
              </a:xfrm>
            </p:grpSpPr>
            <p:sp>
              <p:nvSpPr>
                <p:cNvPr id="1665" name="Freeform 2001">
                  <a:extLst>
                    <a:ext uri="{FF2B5EF4-FFF2-40B4-BE49-F238E27FC236}">
                      <a16:creationId xmlns:a16="http://schemas.microsoft.com/office/drawing/2014/main" id="{4B6B14B3-19A6-9BFE-B574-D22B749829CB}"/>
                    </a:ext>
                  </a:extLst>
                </p:cNvPr>
                <p:cNvSpPr/>
                <p:nvPr/>
              </p:nvSpPr>
              <p:spPr>
                <a:xfrm>
                  <a:off x="6267729" y="2213660"/>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66" name="Freeform 2002">
                  <a:extLst>
                    <a:ext uri="{FF2B5EF4-FFF2-40B4-BE49-F238E27FC236}">
                      <a16:creationId xmlns:a16="http://schemas.microsoft.com/office/drawing/2014/main" id="{58BFC4FD-5456-DC58-F30A-7F5706EFCEEA}"/>
                    </a:ext>
                  </a:extLst>
                </p:cNvPr>
                <p:cNvSpPr/>
                <p:nvPr/>
              </p:nvSpPr>
              <p:spPr>
                <a:xfrm>
                  <a:off x="6302661" y="2178634"/>
                  <a:ext cx="12702" cy="70053"/>
                </a:xfrm>
                <a:custGeom>
                  <a:avLst/>
                  <a:gdLst>
                    <a:gd name="connsiteX0" fmla="*/ 0 w 12702"/>
                    <a:gd name="connsiteY0" fmla="*/ 0 h 70053"/>
                    <a:gd name="connsiteX1" fmla="*/ 0 w 12702"/>
                    <a:gd name="connsiteY1" fmla="*/ 70053 h 70053"/>
                  </a:gdLst>
                  <a:ahLst/>
                  <a:cxnLst>
                    <a:cxn ang="0">
                      <a:pos x="connsiteX0" y="connsiteY0"/>
                    </a:cxn>
                    <a:cxn ang="0">
                      <a:pos x="connsiteX1" y="connsiteY1"/>
                    </a:cxn>
                  </a:cxnLst>
                  <a:rect l="l" t="t" r="r" b="b"/>
                  <a:pathLst>
                    <a:path w="12702" h="70053">
                      <a:moveTo>
                        <a:pt x="0" y="0"/>
                      </a:moveTo>
                      <a:lnTo>
                        <a:pt x="0" y="70053"/>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sp>
            <p:nvSpPr>
              <p:cNvPr id="1615" name="Freeform 1951">
                <a:extLst>
                  <a:ext uri="{FF2B5EF4-FFF2-40B4-BE49-F238E27FC236}">
                    <a16:creationId xmlns:a16="http://schemas.microsoft.com/office/drawing/2014/main" id="{AB9E18B4-844D-7479-CCD3-1CB2965ECACA}"/>
                  </a:ext>
                </a:extLst>
              </p:cNvPr>
              <p:cNvSpPr/>
              <p:nvPr/>
            </p:nvSpPr>
            <p:spPr>
              <a:xfrm>
                <a:off x="6478907" y="2279676"/>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16" name="Freeform 1952">
                <a:extLst>
                  <a:ext uri="{FF2B5EF4-FFF2-40B4-BE49-F238E27FC236}">
                    <a16:creationId xmlns:a16="http://schemas.microsoft.com/office/drawing/2014/main" id="{B2C7AC10-DEA9-F4A4-FBFC-16B9FA4B6F39}"/>
                  </a:ext>
                </a:extLst>
              </p:cNvPr>
              <p:cNvSpPr/>
              <p:nvPr/>
            </p:nvSpPr>
            <p:spPr>
              <a:xfrm>
                <a:off x="6517014" y="2241465"/>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17" name="Freeform 1953">
                <a:extLst>
                  <a:ext uri="{FF2B5EF4-FFF2-40B4-BE49-F238E27FC236}">
                    <a16:creationId xmlns:a16="http://schemas.microsoft.com/office/drawing/2014/main" id="{19997466-80AB-5776-07DF-AB6BF98A645F}"/>
                  </a:ext>
                </a:extLst>
              </p:cNvPr>
              <p:cNvSpPr/>
              <p:nvPr/>
            </p:nvSpPr>
            <p:spPr>
              <a:xfrm>
                <a:off x="6491609" y="2279676"/>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18" name="Freeform 1954">
                <a:extLst>
                  <a:ext uri="{FF2B5EF4-FFF2-40B4-BE49-F238E27FC236}">
                    <a16:creationId xmlns:a16="http://schemas.microsoft.com/office/drawing/2014/main" id="{5862AEF8-FBD7-94A7-4475-4ED11AC926FE}"/>
                  </a:ext>
                </a:extLst>
              </p:cNvPr>
              <p:cNvSpPr/>
              <p:nvPr/>
            </p:nvSpPr>
            <p:spPr>
              <a:xfrm>
                <a:off x="6523366" y="2241465"/>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19" name="Freeform 1955">
                <a:extLst>
                  <a:ext uri="{FF2B5EF4-FFF2-40B4-BE49-F238E27FC236}">
                    <a16:creationId xmlns:a16="http://schemas.microsoft.com/office/drawing/2014/main" id="{85AAFE5F-A295-AABD-AAC4-73EFEAC4F036}"/>
                  </a:ext>
                </a:extLst>
              </p:cNvPr>
              <p:cNvSpPr/>
              <p:nvPr/>
            </p:nvSpPr>
            <p:spPr>
              <a:xfrm>
                <a:off x="6529717" y="2279676"/>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20" name="Freeform 1956">
                <a:extLst>
                  <a:ext uri="{FF2B5EF4-FFF2-40B4-BE49-F238E27FC236}">
                    <a16:creationId xmlns:a16="http://schemas.microsoft.com/office/drawing/2014/main" id="{5D3F71CA-B99F-5765-977C-E24C28BFB987}"/>
                  </a:ext>
                </a:extLst>
              </p:cNvPr>
              <p:cNvSpPr/>
              <p:nvPr/>
            </p:nvSpPr>
            <p:spPr>
              <a:xfrm>
                <a:off x="6561473" y="2241465"/>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21" name="Freeform 1957">
                <a:extLst>
                  <a:ext uri="{FF2B5EF4-FFF2-40B4-BE49-F238E27FC236}">
                    <a16:creationId xmlns:a16="http://schemas.microsoft.com/office/drawing/2014/main" id="{B81F3904-E1B0-AD69-E85F-38A279ACC5AA}"/>
                  </a:ext>
                </a:extLst>
              </p:cNvPr>
              <p:cNvSpPr/>
              <p:nvPr/>
            </p:nvSpPr>
            <p:spPr>
              <a:xfrm>
                <a:off x="6682146" y="2317759"/>
                <a:ext cx="76214" cy="12736"/>
              </a:xfrm>
              <a:custGeom>
                <a:avLst/>
                <a:gdLst>
                  <a:gd name="connsiteX0" fmla="*/ 0 w 76214"/>
                  <a:gd name="connsiteY0" fmla="*/ 0 h 12736"/>
                  <a:gd name="connsiteX1" fmla="*/ 76215 w 76214"/>
                  <a:gd name="connsiteY1" fmla="*/ 0 h 12736"/>
                </a:gdLst>
                <a:ahLst/>
                <a:cxnLst>
                  <a:cxn ang="0">
                    <a:pos x="connsiteX0" y="connsiteY0"/>
                  </a:cxn>
                  <a:cxn ang="0">
                    <a:pos x="connsiteX1" y="connsiteY1"/>
                  </a:cxn>
                </a:cxnLst>
                <a:rect l="l" t="t" r="r" b="b"/>
                <a:pathLst>
                  <a:path w="76214" h="12736">
                    <a:moveTo>
                      <a:pt x="0" y="0"/>
                    </a:moveTo>
                    <a:lnTo>
                      <a:pt x="76215" y="0"/>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22" name="Freeform 1958">
                <a:extLst>
                  <a:ext uri="{FF2B5EF4-FFF2-40B4-BE49-F238E27FC236}">
                    <a16:creationId xmlns:a16="http://schemas.microsoft.com/office/drawing/2014/main" id="{BCB5849A-5F91-77D7-A2F9-87378077E870}"/>
                  </a:ext>
                </a:extLst>
              </p:cNvPr>
              <p:cNvSpPr/>
              <p:nvPr/>
            </p:nvSpPr>
            <p:spPr>
              <a:xfrm>
                <a:off x="6720253" y="2279548"/>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23" name="Freeform 1959">
                <a:extLst>
                  <a:ext uri="{FF2B5EF4-FFF2-40B4-BE49-F238E27FC236}">
                    <a16:creationId xmlns:a16="http://schemas.microsoft.com/office/drawing/2014/main" id="{CB1B17E6-A11D-A268-9440-3563FCDA790A}"/>
                  </a:ext>
                </a:extLst>
              </p:cNvPr>
              <p:cNvSpPr/>
              <p:nvPr/>
            </p:nvSpPr>
            <p:spPr>
              <a:xfrm>
                <a:off x="6713902" y="2317759"/>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24" name="Freeform 1960">
                <a:extLst>
                  <a:ext uri="{FF2B5EF4-FFF2-40B4-BE49-F238E27FC236}">
                    <a16:creationId xmlns:a16="http://schemas.microsoft.com/office/drawing/2014/main" id="{593C5D95-5AFA-D3B6-DA3F-90BF0957BC86}"/>
                  </a:ext>
                </a:extLst>
              </p:cNvPr>
              <p:cNvSpPr/>
              <p:nvPr/>
            </p:nvSpPr>
            <p:spPr>
              <a:xfrm>
                <a:off x="6745658" y="2279548"/>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25" name="Freeform 1961">
                <a:extLst>
                  <a:ext uri="{FF2B5EF4-FFF2-40B4-BE49-F238E27FC236}">
                    <a16:creationId xmlns:a16="http://schemas.microsoft.com/office/drawing/2014/main" id="{901924BD-1838-DE37-AC04-7365812F93D1}"/>
                  </a:ext>
                </a:extLst>
              </p:cNvPr>
              <p:cNvSpPr/>
              <p:nvPr/>
            </p:nvSpPr>
            <p:spPr>
              <a:xfrm>
                <a:off x="6745658" y="2317759"/>
                <a:ext cx="76214" cy="12736"/>
              </a:xfrm>
              <a:custGeom>
                <a:avLst/>
                <a:gdLst>
                  <a:gd name="connsiteX0" fmla="*/ 0 w 76214"/>
                  <a:gd name="connsiteY0" fmla="*/ 0 h 12736"/>
                  <a:gd name="connsiteX1" fmla="*/ 76215 w 76214"/>
                  <a:gd name="connsiteY1" fmla="*/ 0 h 12736"/>
                </a:gdLst>
                <a:ahLst/>
                <a:cxnLst>
                  <a:cxn ang="0">
                    <a:pos x="connsiteX0" y="connsiteY0"/>
                  </a:cxn>
                  <a:cxn ang="0">
                    <a:pos x="connsiteX1" y="connsiteY1"/>
                  </a:cxn>
                </a:cxnLst>
                <a:rect l="l" t="t" r="r" b="b"/>
                <a:pathLst>
                  <a:path w="76214" h="12736">
                    <a:moveTo>
                      <a:pt x="0" y="0"/>
                    </a:moveTo>
                    <a:lnTo>
                      <a:pt x="76215" y="0"/>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26" name="Freeform 1962">
                <a:extLst>
                  <a:ext uri="{FF2B5EF4-FFF2-40B4-BE49-F238E27FC236}">
                    <a16:creationId xmlns:a16="http://schemas.microsoft.com/office/drawing/2014/main" id="{76F7B46B-28A1-2078-CD88-8AC695E30FA8}"/>
                  </a:ext>
                </a:extLst>
              </p:cNvPr>
              <p:cNvSpPr/>
              <p:nvPr/>
            </p:nvSpPr>
            <p:spPr>
              <a:xfrm>
                <a:off x="6783766" y="2279548"/>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27" name="Freeform 1963">
                <a:extLst>
                  <a:ext uri="{FF2B5EF4-FFF2-40B4-BE49-F238E27FC236}">
                    <a16:creationId xmlns:a16="http://schemas.microsoft.com/office/drawing/2014/main" id="{BB890533-337B-A341-249D-C23439E1E27E}"/>
                  </a:ext>
                </a:extLst>
              </p:cNvPr>
              <p:cNvSpPr/>
              <p:nvPr/>
            </p:nvSpPr>
            <p:spPr>
              <a:xfrm>
                <a:off x="6783766" y="2317759"/>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28" name="Freeform 1964">
                <a:extLst>
                  <a:ext uri="{FF2B5EF4-FFF2-40B4-BE49-F238E27FC236}">
                    <a16:creationId xmlns:a16="http://schemas.microsoft.com/office/drawing/2014/main" id="{A330A5A0-FA0B-0C33-2DFF-CD1CCFBAE5E6}"/>
                  </a:ext>
                </a:extLst>
              </p:cNvPr>
              <p:cNvSpPr/>
              <p:nvPr/>
            </p:nvSpPr>
            <p:spPr>
              <a:xfrm>
                <a:off x="6815522" y="2279548"/>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29" name="Freeform 1965">
                <a:extLst>
                  <a:ext uri="{FF2B5EF4-FFF2-40B4-BE49-F238E27FC236}">
                    <a16:creationId xmlns:a16="http://schemas.microsoft.com/office/drawing/2014/main" id="{F49433A4-08D5-5A5E-8171-432CDB6A61E1}"/>
                  </a:ext>
                </a:extLst>
              </p:cNvPr>
              <p:cNvSpPr/>
              <p:nvPr/>
            </p:nvSpPr>
            <p:spPr>
              <a:xfrm>
                <a:off x="6790117" y="2317759"/>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30" name="Freeform 1966">
                <a:extLst>
                  <a:ext uri="{FF2B5EF4-FFF2-40B4-BE49-F238E27FC236}">
                    <a16:creationId xmlns:a16="http://schemas.microsoft.com/office/drawing/2014/main" id="{F3C96AD9-1100-9F62-C7F9-CD429D0396D2}"/>
                  </a:ext>
                </a:extLst>
              </p:cNvPr>
              <p:cNvSpPr/>
              <p:nvPr/>
            </p:nvSpPr>
            <p:spPr>
              <a:xfrm>
                <a:off x="6821873" y="2279548"/>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31" name="Freeform 1967">
                <a:extLst>
                  <a:ext uri="{FF2B5EF4-FFF2-40B4-BE49-F238E27FC236}">
                    <a16:creationId xmlns:a16="http://schemas.microsoft.com/office/drawing/2014/main" id="{F801AF5A-F401-B8AB-78F7-55EFC336E3DD}"/>
                  </a:ext>
                </a:extLst>
              </p:cNvPr>
              <p:cNvSpPr/>
              <p:nvPr/>
            </p:nvSpPr>
            <p:spPr>
              <a:xfrm>
                <a:off x="6840927" y="2317759"/>
                <a:ext cx="76214" cy="12736"/>
              </a:xfrm>
              <a:custGeom>
                <a:avLst/>
                <a:gdLst>
                  <a:gd name="connsiteX0" fmla="*/ 0 w 76214"/>
                  <a:gd name="connsiteY0" fmla="*/ 0 h 12736"/>
                  <a:gd name="connsiteX1" fmla="*/ 76215 w 76214"/>
                  <a:gd name="connsiteY1" fmla="*/ 0 h 12736"/>
                </a:gdLst>
                <a:ahLst/>
                <a:cxnLst>
                  <a:cxn ang="0">
                    <a:pos x="connsiteX0" y="connsiteY0"/>
                  </a:cxn>
                  <a:cxn ang="0">
                    <a:pos x="connsiteX1" y="connsiteY1"/>
                  </a:cxn>
                </a:cxnLst>
                <a:rect l="l" t="t" r="r" b="b"/>
                <a:pathLst>
                  <a:path w="76214" h="12736">
                    <a:moveTo>
                      <a:pt x="0" y="0"/>
                    </a:moveTo>
                    <a:lnTo>
                      <a:pt x="76215" y="0"/>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32" name="Freeform 1968">
                <a:extLst>
                  <a:ext uri="{FF2B5EF4-FFF2-40B4-BE49-F238E27FC236}">
                    <a16:creationId xmlns:a16="http://schemas.microsoft.com/office/drawing/2014/main" id="{B2812F82-55F0-8170-9200-7B8AD4A9FDF6}"/>
                  </a:ext>
                </a:extLst>
              </p:cNvPr>
              <p:cNvSpPr/>
              <p:nvPr/>
            </p:nvSpPr>
            <p:spPr>
              <a:xfrm>
                <a:off x="6879034" y="2279548"/>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33" name="Freeform 1969">
                <a:extLst>
                  <a:ext uri="{FF2B5EF4-FFF2-40B4-BE49-F238E27FC236}">
                    <a16:creationId xmlns:a16="http://schemas.microsoft.com/office/drawing/2014/main" id="{6998C0DB-C862-536F-1BBD-2569FAC84EA7}"/>
                  </a:ext>
                </a:extLst>
              </p:cNvPr>
              <p:cNvSpPr/>
              <p:nvPr/>
            </p:nvSpPr>
            <p:spPr>
              <a:xfrm>
                <a:off x="6847278" y="2317759"/>
                <a:ext cx="76214" cy="12736"/>
              </a:xfrm>
              <a:custGeom>
                <a:avLst/>
                <a:gdLst>
                  <a:gd name="connsiteX0" fmla="*/ 0 w 76214"/>
                  <a:gd name="connsiteY0" fmla="*/ 0 h 12736"/>
                  <a:gd name="connsiteX1" fmla="*/ 76215 w 76214"/>
                  <a:gd name="connsiteY1" fmla="*/ 0 h 12736"/>
                </a:gdLst>
                <a:ahLst/>
                <a:cxnLst>
                  <a:cxn ang="0">
                    <a:pos x="connsiteX0" y="connsiteY0"/>
                  </a:cxn>
                  <a:cxn ang="0">
                    <a:pos x="connsiteX1" y="connsiteY1"/>
                  </a:cxn>
                </a:cxnLst>
                <a:rect l="l" t="t" r="r" b="b"/>
                <a:pathLst>
                  <a:path w="76214" h="12736">
                    <a:moveTo>
                      <a:pt x="0" y="0"/>
                    </a:moveTo>
                    <a:lnTo>
                      <a:pt x="76215" y="0"/>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34" name="Freeform 1970">
                <a:extLst>
                  <a:ext uri="{FF2B5EF4-FFF2-40B4-BE49-F238E27FC236}">
                    <a16:creationId xmlns:a16="http://schemas.microsoft.com/office/drawing/2014/main" id="{4F85BDF5-26B3-89E6-BFF2-BFE16363D60C}"/>
                  </a:ext>
                </a:extLst>
              </p:cNvPr>
              <p:cNvSpPr/>
              <p:nvPr/>
            </p:nvSpPr>
            <p:spPr>
              <a:xfrm>
                <a:off x="6885385" y="2279548"/>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35" name="Freeform 1971">
                <a:extLst>
                  <a:ext uri="{FF2B5EF4-FFF2-40B4-BE49-F238E27FC236}">
                    <a16:creationId xmlns:a16="http://schemas.microsoft.com/office/drawing/2014/main" id="{C54FC1EC-AD49-C092-B7BB-184D1E20D116}"/>
                  </a:ext>
                </a:extLst>
              </p:cNvPr>
              <p:cNvSpPr/>
              <p:nvPr/>
            </p:nvSpPr>
            <p:spPr>
              <a:xfrm>
                <a:off x="6872683" y="2317759"/>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36" name="Freeform 1972">
                <a:extLst>
                  <a:ext uri="{FF2B5EF4-FFF2-40B4-BE49-F238E27FC236}">
                    <a16:creationId xmlns:a16="http://schemas.microsoft.com/office/drawing/2014/main" id="{B21CB9E1-EF57-7E12-AEED-0E6BD56A7773}"/>
                  </a:ext>
                </a:extLst>
              </p:cNvPr>
              <p:cNvSpPr/>
              <p:nvPr/>
            </p:nvSpPr>
            <p:spPr>
              <a:xfrm>
                <a:off x="6904439" y="2279548"/>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37" name="Freeform 1973">
                <a:extLst>
                  <a:ext uri="{FF2B5EF4-FFF2-40B4-BE49-F238E27FC236}">
                    <a16:creationId xmlns:a16="http://schemas.microsoft.com/office/drawing/2014/main" id="{233BBF8A-06A8-4EE1-E70D-FF9F03E8DD8E}"/>
                  </a:ext>
                </a:extLst>
              </p:cNvPr>
              <p:cNvSpPr/>
              <p:nvPr/>
            </p:nvSpPr>
            <p:spPr>
              <a:xfrm>
                <a:off x="7025112" y="2317632"/>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38" name="Freeform 1974">
                <a:extLst>
                  <a:ext uri="{FF2B5EF4-FFF2-40B4-BE49-F238E27FC236}">
                    <a16:creationId xmlns:a16="http://schemas.microsoft.com/office/drawing/2014/main" id="{C2ABA54A-A05D-BAAB-1203-1FCF6B549CF2}"/>
                  </a:ext>
                </a:extLst>
              </p:cNvPr>
              <p:cNvSpPr/>
              <p:nvPr/>
            </p:nvSpPr>
            <p:spPr>
              <a:xfrm>
                <a:off x="7060044" y="2279421"/>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39" name="Freeform 1975">
                <a:extLst>
                  <a:ext uri="{FF2B5EF4-FFF2-40B4-BE49-F238E27FC236}">
                    <a16:creationId xmlns:a16="http://schemas.microsoft.com/office/drawing/2014/main" id="{53AE227E-A751-8F1A-361F-708757A2F932}"/>
                  </a:ext>
                </a:extLst>
              </p:cNvPr>
              <p:cNvSpPr/>
              <p:nvPr/>
            </p:nvSpPr>
            <p:spPr>
              <a:xfrm>
                <a:off x="7253756" y="2376668"/>
                <a:ext cx="76214" cy="12736"/>
              </a:xfrm>
              <a:custGeom>
                <a:avLst/>
                <a:gdLst>
                  <a:gd name="connsiteX0" fmla="*/ 0 w 76214"/>
                  <a:gd name="connsiteY0" fmla="*/ 0 h 12736"/>
                  <a:gd name="connsiteX1" fmla="*/ 76215 w 76214"/>
                  <a:gd name="connsiteY1" fmla="*/ 0 h 12736"/>
                </a:gdLst>
                <a:ahLst/>
                <a:cxnLst>
                  <a:cxn ang="0">
                    <a:pos x="connsiteX0" y="connsiteY0"/>
                  </a:cxn>
                  <a:cxn ang="0">
                    <a:pos x="connsiteX1" y="connsiteY1"/>
                  </a:cxn>
                </a:cxnLst>
                <a:rect l="l" t="t" r="r" b="b"/>
                <a:pathLst>
                  <a:path w="76214" h="12736">
                    <a:moveTo>
                      <a:pt x="0" y="0"/>
                    </a:moveTo>
                    <a:lnTo>
                      <a:pt x="76215" y="0"/>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40" name="Freeform 1976">
                <a:extLst>
                  <a:ext uri="{FF2B5EF4-FFF2-40B4-BE49-F238E27FC236}">
                    <a16:creationId xmlns:a16="http://schemas.microsoft.com/office/drawing/2014/main" id="{26B27AB4-4709-CE96-42B5-359035FA2214}"/>
                  </a:ext>
                </a:extLst>
              </p:cNvPr>
              <p:cNvSpPr/>
              <p:nvPr/>
            </p:nvSpPr>
            <p:spPr>
              <a:xfrm>
                <a:off x="7291863" y="2338457"/>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41" name="Freeform 1977">
                <a:extLst>
                  <a:ext uri="{FF2B5EF4-FFF2-40B4-BE49-F238E27FC236}">
                    <a16:creationId xmlns:a16="http://schemas.microsoft.com/office/drawing/2014/main" id="{7C65E12E-A238-E00A-2B94-C088A2829D04}"/>
                  </a:ext>
                </a:extLst>
              </p:cNvPr>
              <p:cNvSpPr/>
              <p:nvPr/>
            </p:nvSpPr>
            <p:spPr>
              <a:xfrm>
                <a:off x="7349024" y="2376668"/>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42" name="Freeform 1978">
                <a:extLst>
                  <a:ext uri="{FF2B5EF4-FFF2-40B4-BE49-F238E27FC236}">
                    <a16:creationId xmlns:a16="http://schemas.microsoft.com/office/drawing/2014/main" id="{E110D10D-7A2A-D14B-C1B1-59CBC202B93C}"/>
                  </a:ext>
                </a:extLst>
              </p:cNvPr>
              <p:cNvSpPr/>
              <p:nvPr/>
            </p:nvSpPr>
            <p:spPr>
              <a:xfrm>
                <a:off x="7380780" y="2338457"/>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43" name="Freeform 1979">
                <a:extLst>
                  <a:ext uri="{FF2B5EF4-FFF2-40B4-BE49-F238E27FC236}">
                    <a16:creationId xmlns:a16="http://schemas.microsoft.com/office/drawing/2014/main" id="{48CAEB6F-02D4-FEDD-97F0-11A0FB62A4AC}"/>
                  </a:ext>
                </a:extLst>
              </p:cNvPr>
              <p:cNvSpPr/>
              <p:nvPr/>
            </p:nvSpPr>
            <p:spPr>
              <a:xfrm>
                <a:off x="7412536" y="2376668"/>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44" name="Freeform 1980">
                <a:extLst>
                  <a:ext uri="{FF2B5EF4-FFF2-40B4-BE49-F238E27FC236}">
                    <a16:creationId xmlns:a16="http://schemas.microsoft.com/office/drawing/2014/main" id="{E33A37D6-60B6-B4E6-D30B-B8BBF43E396C}"/>
                  </a:ext>
                </a:extLst>
              </p:cNvPr>
              <p:cNvSpPr/>
              <p:nvPr/>
            </p:nvSpPr>
            <p:spPr>
              <a:xfrm>
                <a:off x="7444292" y="2338457"/>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45" name="Freeform 1981">
                <a:extLst>
                  <a:ext uri="{FF2B5EF4-FFF2-40B4-BE49-F238E27FC236}">
                    <a16:creationId xmlns:a16="http://schemas.microsoft.com/office/drawing/2014/main" id="{0FAB9CA8-96B4-8657-1B2C-53C61E29F0D2}"/>
                  </a:ext>
                </a:extLst>
              </p:cNvPr>
              <p:cNvSpPr/>
              <p:nvPr/>
            </p:nvSpPr>
            <p:spPr>
              <a:xfrm>
                <a:off x="7431590" y="2376668"/>
                <a:ext cx="76214" cy="12736"/>
              </a:xfrm>
              <a:custGeom>
                <a:avLst/>
                <a:gdLst>
                  <a:gd name="connsiteX0" fmla="*/ 0 w 76214"/>
                  <a:gd name="connsiteY0" fmla="*/ 0 h 12736"/>
                  <a:gd name="connsiteX1" fmla="*/ 76215 w 76214"/>
                  <a:gd name="connsiteY1" fmla="*/ 0 h 12736"/>
                </a:gdLst>
                <a:ahLst/>
                <a:cxnLst>
                  <a:cxn ang="0">
                    <a:pos x="connsiteX0" y="connsiteY0"/>
                  </a:cxn>
                  <a:cxn ang="0">
                    <a:pos x="connsiteX1" y="connsiteY1"/>
                  </a:cxn>
                </a:cxnLst>
                <a:rect l="l" t="t" r="r" b="b"/>
                <a:pathLst>
                  <a:path w="76214" h="12736">
                    <a:moveTo>
                      <a:pt x="0" y="0"/>
                    </a:moveTo>
                    <a:lnTo>
                      <a:pt x="76215" y="0"/>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46" name="Freeform 1982">
                <a:extLst>
                  <a:ext uri="{FF2B5EF4-FFF2-40B4-BE49-F238E27FC236}">
                    <a16:creationId xmlns:a16="http://schemas.microsoft.com/office/drawing/2014/main" id="{BCA58856-A22A-D995-B168-A2E774D14AA6}"/>
                  </a:ext>
                </a:extLst>
              </p:cNvPr>
              <p:cNvSpPr/>
              <p:nvPr/>
            </p:nvSpPr>
            <p:spPr>
              <a:xfrm>
                <a:off x="7469697" y="2338457"/>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47" name="Freeform 1983">
                <a:extLst>
                  <a:ext uri="{FF2B5EF4-FFF2-40B4-BE49-F238E27FC236}">
                    <a16:creationId xmlns:a16="http://schemas.microsoft.com/office/drawing/2014/main" id="{BC389A78-373F-B26D-580C-DAC0F774B153}"/>
                  </a:ext>
                </a:extLst>
              </p:cNvPr>
              <p:cNvSpPr/>
              <p:nvPr/>
            </p:nvSpPr>
            <p:spPr>
              <a:xfrm>
                <a:off x="7450644" y="2376668"/>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48" name="Freeform 1984">
                <a:extLst>
                  <a:ext uri="{FF2B5EF4-FFF2-40B4-BE49-F238E27FC236}">
                    <a16:creationId xmlns:a16="http://schemas.microsoft.com/office/drawing/2014/main" id="{319155B8-6BAE-1604-0D25-36A2173ACAF7}"/>
                  </a:ext>
                </a:extLst>
              </p:cNvPr>
              <p:cNvSpPr/>
              <p:nvPr/>
            </p:nvSpPr>
            <p:spPr>
              <a:xfrm>
                <a:off x="7482400" y="2338457"/>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49" name="Freeform 1985">
                <a:extLst>
                  <a:ext uri="{FF2B5EF4-FFF2-40B4-BE49-F238E27FC236}">
                    <a16:creationId xmlns:a16="http://schemas.microsoft.com/office/drawing/2014/main" id="{EA1E3318-71B3-A52E-A847-5BBBA1830E62}"/>
                  </a:ext>
                </a:extLst>
              </p:cNvPr>
              <p:cNvSpPr/>
              <p:nvPr/>
            </p:nvSpPr>
            <p:spPr>
              <a:xfrm>
                <a:off x="7495102" y="2376668"/>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50" name="Freeform 1986">
                <a:extLst>
                  <a:ext uri="{FF2B5EF4-FFF2-40B4-BE49-F238E27FC236}">
                    <a16:creationId xmlns:a16="http://schemas.microsoft.com/office/drawing/2014/main" id="{9D6FE567-6555-FC61-E64E-006FF3755AC9}"/>
                  </a:ext>
                </a:extLst>
              </p:cNvPr>
              <p:cNvSpPr/>
              <p:nvPr/>
            </p:nvSpPr>
            <p:spPr>
              <a:xfrm>
                <a:off x="7526858" y="2338457"/>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51" name="Freeform 1987">
                <a:extLst>
                  <a:ext uri="{FF2B5EF4-FFF2-40B4-BE49-F238E27FC236}">
                    <a16:creationId xmlns:a16="http://schemas.microsoft.com/office/drawing/2014/main" id="{9C50775F-2ADB-7D11-618C-FA117B243DE7}"/>
                  </a:ext>
                </a:extLst>
              </p:cNvPr>
              <p:cNvSpPr/>
              <p:nvPr/>
            </p:nvSpPr>
            <p:spPr>
              <a:xfrm>
                <a:off x="7552263" y="2376668"/>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52" name="Freeform 1988">
                <a:extLst>
                  <a:ext uri="{FF2B5EF4-FFF2-40B4-BE49-F238E27FC236}">
                    <a16:creationId xmlns:a16="http://schemas.microsoft.com/office/drawing/2014/main" id="{E658E61C-C316-79F7-2022-343A50F69995}"/>
                  </a:ext>
                </a:extLst>
              </p:cNvPr>
              <p:cNvSpPr/>
              <p:nvPr/>
            </p:nvSpPr>
            <p:spPr>
              <a:xfrm>
                <a:off x="7590370" y="2338457"/>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53" name="Freeform 1989">
                <a:extLst>
                  <a:ext uri="{FF2B5EF4-FFF2-40B4-BE49-F238E27FC236}">
                    <a16:creationId xmlns:a16="http://schemas.microsoft.com/office/drawing/2014/main" id="{C3CFB6B0-99AF-3368-5165-618598F5D08E}"/>
                  </a:ext>
                </a:extLst>
              </p:cNvPr>
              <p:cNvSpPr/>
              <p:nvPr/>
            </p:nvSpPr>
            <p:spPr>
              <a:xfrm>
                <a:off x="7571317" y="2376668"/>
                <a:ext cx="76214" cy="12736"/>
              </a:xfrm>
              <a:custGeom>
                <a:avLst/>
                <a:gdLst>
                  <a:gd name="connsiteX0" fmla="*/ 0 w 76214"/>
                  <a:gd name="connsiteY0" fmla="*/ 0 h 12736"/>
                  <a:gd name="connsiteX1" fmla="*/ 76215 w 76214"/>
                  <a:gd name="connsiteY1" fmla="*/ 0 h 12736"/>
                </a:gdLst>
                <a:ahLst/>
                <a:cxnLst>
                  <a:cxn ang="0">
                    <a:pos x="connsiteX0" y="connsiteY0"/>
                  </a:cxn>
                  <a:cxn ang="0">
                    <a:pos x="connsiteX1" y="connsiteY1"/>
                  </a:cxn>
                </a:cxnLst>
                <a:rect l="l" t="t" r="r" b="b"/>
                <a:pathLst>
                  <a:path w="76214" h="12736">
                    <a:moveTo>
                      <a:pt x="0" y="0"/>
                    </a:moveTo>
                    <a:lnTo>
                      <a:pt x="76215" y="0"/>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54" name="Freeform 1990">
                <a:extLst>
                  <a:ext uri="{FF2B5EF4-FFF2-40B4-BE49-F238E27FC236}">
                    <a16:creationId xmlns:a16="http://schemas.microsoft.com/office/drawing/2014/main" id="{1715AE90-638A-3F04-ABB8-C53255864B10}"/>
                  </a:ext>
                </a:extLst>
              </p:cNvPr>
              <p:cNvSpPr/>
              <p:nvPr/>
            </p:nvSpPr>
            <p:spPr>
              <a:xfrm>
                <a:off x="7609424" y="2338457"/>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55" name="Freeform 1991">
                <a:extLst>
                  <a:ext uri="{FF2B5EF4-FFF2-40B4-BE49-F238E27FC236}">
                    <a16:creationId xmlns:a16="http://schemas.microsoft.com/office/drawing/2014/main" id="{E48FC2C0-DF36-AA1E-37AE-C97770991847}"/>
                  </a:ext>
                </a:extLst>
              </p:cNvPr>
              <p:cNvSpPr/>
              <p:nvPr/>
            </p:nvSpPr>
            <p:spPr>
              <a:xfrm>
                <a:off x="7590370" y="2376668"/>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56" name="Freeform 1992">
                <a:extLst>
                  <a:ext uri="{FF2B5EF4-FFF2-40B4-BE49-F238E27FC236}">
                    <a16:creationId xmlns:a16="http://schemas.microsoft.com/office/drawing/2014/main" id="{B429C4A1-2B62-6A04-FF08-4D7387955AF7}"/>
                  </a:ext>
                </a:extLst>
              </p:cNvPr>
              <p:cNvSpPr/>
              <p:nvPr/>
            </p:nvSpPr>
            <p:spPr>
              <a:xfrm>
                <a:off x="7628478" y="2338457"/>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57" name="Freeform 1993">
                <a:extLst>
                  <a:ext uri="{FF2B5EF4-FFF2-40B4-BE49-F238E27FC236}">
                    <a16:creationId xmlns:a16="http://schemas.microsoft.com/office/drawing/2014/main" id="{70C010BB-8C38-531B-D9CE-FEF25C6FD66F}"/>
                  </a:ext>
                </a:extLst>
              </p:cNvPr>
              <p:cNvSpPr/>
              <p:nvPr/>
            </p:nvSpPr>
            <p:spPr>
              <a:xfrm>
                <a:off x="7672936" y="2376668"/>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58" name="Freeform 1994">
                <a:extLst>
                  <a:ext uri="{FF2B5EF4-FFF2-40B4-BE49-F238E27FC236}">
                    <a16:creationId xmlns:a16="http://schemas.microsoft.com/office/drawing/2014/main" id="{4630D97F-C616-6041-852E-769C6B8A73DF}"/>
                  </a:ext>
                </a:extLst>
              </p:cNvPr>
              <p:cNvSpPr/>
              <p:nvPr/>
            </p:nvSpPr>
            <p:spPr>
              <a:xfrm>
                <a:off x="7707868" y="2338457"/>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nvGrpSpPr>
              <p:cNvPr id="1659" name="Graphic 4">
                <a:extLst>
                  <a:ext uri="{FF2B5EF4-FFF2-40B4-BE49-F238E27FC236}">
                    <a16:creationId xmlns:a16="http://schemas.microsoft.com/office/drawing/2014/main" id="{DF761D0D-A22F-1E42-2875-DB26051CD95C}"/>
                  </a:ext>
                </a:extLst>
              </p:cNvPr>
              <p:cNvGrpSpPr/>
              <p:nvPr/>
            </p:nvGrpSpPr>
            <p:grpSpPr>
              <a:xfrm>
                <a:off x="7838068" y="2338457"/>
                <a:ext cx="69863" cy="76421"/>
                <a:chOff x="7838068" y="2338457"/>
                <a:chExt cx="69863" cy="76421"/>
              </a:xfrm>
            </p:grpSpPr>
            <p:sp>
              <p:nvSpPr>
                <p:cNvPr id="1663" name="Freeform 1999">
                  <a:extLst>
                    <a:ext uri="{FF2B5EF4-FFF2-40B4-BE49-F238E27FC236}">
                      <a16:creationId xmlns:a16="http://schemas.microsoft.com/office/drawing/2014/main" id="{53AA5129-8E87-C3EA-7A80-EE0CA8411350}"/>
                    </a:ext>
                  </a:extLst>
                </p:cNvPr>
                <p:cNvSpPr/>
                <p:nvPr/>
              </p:nvSpPr>
              <p:spPr>
                <a:xfrm>
                  <a:off x="7838068" y="2376668"/>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64" name="Freeform 2000">
                  <a:extLst>
                    <a:ext uri="{FF2B5EF4-FFF2-40B4-BE49-F238E27FC236}">
                      <a16:creationId xmlns:a16="http://schemas.microsoft.com/office/drawing/2014/main" id="{9BAC2653-BEDA-C765-DE74-036D14C7768D}"/>
                    </a:ext>
                  </a:extLst>
                </p:cNvPr>
                <p:cNvSpPr/>
                <p:nvPr/>
              </p:nvSpPr>
              <p:spPr>
                <a:xfrm>
                  <a:off x="7873000" y="2338457"/>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1660" name="Graphic 4">
                <a:extLst>
                  <a:ext uri="{FF2B5EF4-FFF2-40B4-BE49-F238E27FC236}">
                    <a16:creationId xmlns:a16="http://schemas.microsoft.com/office/drawing/2014/main" id="{D09EA18A-F142-3F74-6777-D8F2DADD2DAC}"/>
                  </a:ext>
                </a:extLst>
              </p:cNvPr>
              <p:cNvGrpSpPr/>
              <p:nvPr/>
            </p:nvGrpSpPr>
            <p:grpSpPr>
              <a:xfrm>
                <a:off x="8416029" y="2338457"/>
                <a:ext cx="69863" cy="76421"/>
                <a:chOff x="8416029" y="2338457"/>
                <a:chExt cx="69863" cy="76421"/>
              </a:xfrm>
            </p:grpSpPr>
            <p:sp>
              <p:nvSpPr>
                <p:cNvPr id="1661" name="Freeform 1997">
                  <a:extLst>
                    <a:ext uri="{FF2B5EF4-FFF2-40B4-BE49-F238E27FC236}">
                      <a16:creationId xmlns:a16="http://schemas.microsoft.com/office/drawing/2014/main" id="{C7350260-F044-DD58-F80D-8246B4B7E278}"/>
                    </a:ext>
                  </a:extLst>
                </p:cNvPr>
                <p:cNvSpPr/>
                <p:nvPr/>
              </p:nvSpPr>
              <p:spPr>
                <a:xfrm>
                  <a:off x="8416029" y="2376668"/>
                  <a:ext cx="69863" cy="12736"/>
                </a:xfrm>
                <a:custGeom>
                  <a:avLst/>
                  <a:gdLst>
                    <a:gd name="connsiteX0" fmla="*/ 0 w 69863"/>
                    <a:gd name="connsiteY0" fmla="*/ 0 h 12736"/>
                    <a:gd name="connsiteX1" fmla="*/ 69863 w 69863"/>
                    <a:gd name="connsiteY1" fmla="*/ 0 h 12736"/>
                  </a:gdLst>
                  <a:ahLst/>
                  <a:cxnLst>
                    <a:cxn ang="0">
                      <a:pos x="connsiteX0" y="connsiteY0"/>
                    </a:cxn>
                    <a:cxn ang="0">
                      <a:pos x="connsiteX1" y="connsiteY1"/>
                    </a:cxn>
                  </a:cxnLst>
                  <a:rect l="l" t="t" r="r" b="b"/>
                  <a:pathLst>
                    <a:path w="69863" h="12736">
                      <a:moveTo>
                        <a:pt x="0" y="0"/>
                      </a:moveTo>
                      <a:lnTo>
                        <a:pt x="69863" y="0"/>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62" name="Freeform 1998">
                  <a:extLst>
                    <a:ext uri="{FF2B5EF4-FFF2-40B4-BE49-F238E27FC236}">
                      <a16:creationId xmlns:a16="http://schemas.microsoft.com/office/drawing/2014/main" id="{8A353A8C-01C8-D657-38D6-F77767FB9821}"/>
                    </a:ext>
                  </a:extLst>
                </p:cNvPr>
                <p:cNvSpPr/>
                <p:nvPr/>
              </p:nvSpPr>
              <p:spPr>
                <a:xfrm>
                  <a:off x="8450961" y="2338457"/>
                  <a:ext cx="12702" cy="76421"/>
                </a:xfrm>
                <a:custGeom>
                  <a:avLst/>
                  <a:gdLst>
                    <a:gd name="connsiteX0" fmla="*/ 0 w 12702"/>
                    <a:gd name="connsiteY0" fmla="*/ 0 h 76421"/>
                    <a:gd name="connsiteX1" fmla="*/ 0 w 12702"/>
                    <a:gd name="connsiteY1" fmla="*/ 76422 h 76421"/>
                  </a:gdLst>
                  <a:ahLst/>
                  <a:cxnLst>
                    <a:cxn ang="0">
                      <a:pos x="connsiteX0" y="connsiteY0"/>
                    </a:cxn>
                    <a:cxn ang="0">
                      <a:pos x="connsiteX1" y="connsiteY1"/>
                    </a:cxn>
                  </a:cxnLst>
                  <a:rect l="l" t="t" r="r" b="b"/>
                  <a:pathLst>
                    <a:path w="12702" h="76421">
                      <a:moveTo>
                        <a:pt x="0" y="0"/>
                      </a:moveTo>
                      <a:lnTo>
                        <a:pt x="0" y="76422"/>
                      </a:lnTo>
                    </a:path>
                  </a:pathLst>
                </a:custGeom>
                <a:ln w="9525"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sp>
          <p:nvSpPr>
            <p:cNvPr id="1671" name="Freeform 2007">
              <a:extLst>
                <a:ext uri="{FF2B5EF4-FFF2-40B4-BE49-F238E27FC236}">
                  <a16:creationId xmlns:a16="http://schemas.microsoft.com/office/drawing/2014/main" id="{EDCCD156-D857-1DAA-F3F2-50AC0F09986E}"/>
                </a:ext>
              </a:extLst>
            </p:cNvPr>
            <p:cNvSpPr/>
            <p:nvPr/>
          </p:nvSpPr>
          <p:spPr>
            <a:xfrm>
              <a:off x="1419830" y="2972225"/>
              <a:ext cx="136614" cy="12736"/>
            </a:xfrm>
            <a:custGeom>
              <a:avLst/>
              <a:gdLst>
                <a:gd name="connsiteX0" fmla="*/ 0 w 136614"/>
                <a:gd name="connsiteY0" fmla="*/ 0 h 12736"/>
                <a:gd name="connsiteX1" fmla="*/ 136615 w 136614"/>
                <a:gd name="connsiteY1" fmla="*/ 0 h 12736"/>
              </a:gdLst>
              <a:ahLst/>
              <a:cxnLst>
                <a:cxn ang="0">
                  <a:pos x="connsiteX0" y="connsiteY0"/>
                </a:cxn>
                <a:cxn ang="0">
                  <a:pos x="connsiteX1" y="connsiteY1"/>
                </a:cxn>
              </a:cxnLst>
              <a:rect l="l" t="t" r="r" b="b"/>
              <a:pathLst>
                <a:path w="136614" h="12736">
                  <a:moveTo>
                    <a:pt x="0" y="0"/>
                  </a:moveTo>
                  <a:lnTo>
                    <a:pt x="136615" y="0"/>
                  </a:lnTo>
                </a:path>
              </a:pathLst>
            </a:custGeom>
            <a:ln w="19050" cap="flat">
              <a:solidFill>
                <a:srgbClr val="0B41CD"/>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66"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72" name="TextBox 1671">
              <a:extLst>
                <a:ext uri="{FF2B5EF4-FFF2-40B4-BE49-F238E27FC236}">
                  <a16:creationId xmlns:a16="http://schemas.microsoft.com/office/drawing/2014/main" id="{6DB511A7-0B77-3A71-5152-C53AB2552F6A}"/>
                </a:ext>
              </a:extLst>
            </p:cNvPr>
            <p:cNvSpPr txBox="1"/>
            <p:nvPr/>
          </p:nvSpPr>
          <p:spPr>
            <a:xfrm>
              <a:off x="2793935" y="1179583"/>
              <a:ext cx="1541421" cy="647003"/>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6-month OS rate (95% CI):</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solidFill>
                    <a:srgbClr val="544F4F"/>
                  </a:solidFill>
                  <a:effectLst/>
                  <a:uLnTx/>
                  <a:uFillTx/>
                  <a:latin typeface="Arial" panose="020B0604020202020204" pitchFamily="34" charset="0"/>
                  <a:ea typeface="MS PGothic" panose="020B0600070205080204" pitchFamily="34" charset="-128"/>
                  <a:cs typeface="Arial"/>
                  <a:sym typeface="Arial"/>
                  <a:rtl val="0"/>
                </a:rPr>
                <a:t>72.7% (54.1, 91.3)</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54.0% (41.2, 66.9)</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solidFill>
                    <a:srgbClr val="BC36F0"/>
                  </a:solidFill>
                  <a:effectLst/>
                  <a:uLnTx/>
                  <a:uFillTx/>
                  <a:latin typeface="Arial"/>
                  <a:ea typeface="MS PGothic" panose="020B0600070205080204" pitchFamily="34" charset="-128"/>
                  <a:cs typeface="Arial"/>
                  <a:sym typeface="Arial"/>
                  <a:rtl val="0"/>
                </a:rPr>
                <a:t>40.6% (23.4, 57.8)</a:t>
              </a:r>
            </a:p>
          </p:txBody>
        </p:sp>
      </p:grpSp>
      <p:sp>
        <p:nvSpPr>
          <p:cNvPr id="3" name="TextBox 2">
            <a:extLst>
              <a:ext uri="{FF2B5EF4-FFF2-40B4-BE49-F238E27FC236}">
                <a16:creationId xmlns:a16="http://schemas.microsoft.com/office/drawing/2014/main" id="{BEACC242-D057-F627-296B-54CD8E6B0C56}"/>
              </a:ext>
            </a:extLst>
          </p:cNvPr>
          <p:cNvSpPr txBox="1"/>
          <p:nvPr/>
        </p:nvSpPr>
        <p:spPr>
          <a:xfrm>
            <a:off x="9514400" y="6442700"/>
            <a:ext cx="2407903" cy="338554"/>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544F4F">
                    <a:lumMod val="50000"/>
                  </a:srgbClr>
                </a:solidFill>
                <a:effectLst/>
                <a:uLnTx/>
                <a:uFillTx/>
                <a:latin typeface="Arial" panose="020B0604020202020204"/>
                <a:ea typeface="MS PGothic" panose="020B0600070205080204" pitchFamily="34" charset="-128"/>
                <a:cs typeface="+mn-cs"/>
              </a:rPr>
              <a:t>Karimi et al. ASCO 2026</a:t>
            </a:r>
          </a:p>
        </p:txBody>
      </p:sp>
    </p:spTree>
    <p:extLst>
      <p:ext uri="{BB962C8B-B14F-4D97-AF65-F5344CB8AC3E}">
        <p14:creationId xmlns:p14="http://schemas.microsoft.com/office/powerpoint/2010/main" val="18275451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7E0053-A0F3-CDA3-B93C-49B6334C0F1A}"/>
            </a:ext>
          </a:extLst>
        </p:cNvPr>
        <p:cNvGrpSpPr/>
        <p:nvPr/>
      </p:nvGrpSpPr>
      <p:grpSpPr>
        <a:xfrm>
          <a:off x="0" y="0"/>
          <a:ext cx="0" cy="0"/>
          <a:chOff x="0" y="0"/>
          <a:chExt cx="0" cy="0"/>
        </a:xfrm>
      </p:grpSpPr>
      <p:grpSp>
        <p:nvGrpSpPr>
          <p:cNvPr id="408" name="Graphic 4">
            <a:extLst>
              <a:ext uri="{FF2B5EF4-FFF2-40B4-BE49-F238E27FC236}">
                <a16:creationId xmlns:a16="http://schemas.microsoft.com/office/drawing/2014/main" id="{153703A8-6473-FE7F-D44F-18541D1B9B2E}"/>
              </a:ext>
            </a:extLst>
          </p:cNvPr>
          <p:cNvGrpSpPr/>
          <p:nvPr/>
        </p:nvGrpSpPr>
        <p:grpSpPr>
          <a:xfrm>
            <a:off x="6667341" y="3596211"/>
            <a:ext cx="4887435" cy="235898"/>
            <a:chOff x="6598933" y="3823698"/>
            <a:chExt cx="3550226" cy="168340"/>
          </a:xfrm>
          <a:solidFill>
            <a:srgbClr val="000000"/>
          </a:solidFill>
        </p:grpSpPr>
        <p:sp>
          <p:nvSpPr>
            <p:cNvPr id="409" name="TextBox 408">
              <a:extLst>
                <a:ext uri="{FF2B5EF4-FFF2-40B4-BE49-F238E27FC236}">
                  <a16:creationId xmlns:a16="http://schemas.microsoft.com/office/drawing/2014/main" id="{D146FE17-BF8D-AFF4-DD5C-2B3C8875A1C5}"/>
                </a:ext>
              </a:extLst>
            </p:cNvPr>
            <p:cNvSpPr txBox="1"/>
            <p:nvPr/>
          </p:nvSpPr>
          <p:spPr>
            <a:xfrm>
              <a:off x="6598933" y="3823698"/>
              <a:ext cx="183047"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0</a:t>
              </a:r>
            </a:p>
          </p:txBody>
        </p:sp>
        <p:sp>
          <p:nvSpPr>
            <p:cNvPr id="410" name="TextBox 409">
              <a:extLst>
                <a:ext uri="{FF2B5EF4-FFF2-40B4-BE49-F238E27FC236}">
                  <a16:creationId xmlns:a16="http://schemas.microsoft.com/office/drawing/2014/main" id="{F4A927DC-C423-E9CE-B58F-B058812C8BE9}"/>
                </a:ext>
              </a:extLst>
            </p:cNvPr>
            <p:cNvSpPr txBox="1"/>
            <p:nvPr/>
          </p:nvSpPr>
          <p:spPr>
            <a:xfrm>
              <a:off x="6765806" y="3823698"/>
              <a:ext cx="183047"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a:t>
              </a:r>
            </a:p>
          </p:txBody>
        </p:sp>
        <p:sp>
          <p:nvSpPr>
            <p:cNvPr id="411" name="TextBox 410">
              <a:extLst>
                <a:ext uri="{FF2B5EF4-FFF2-40B4-BE49-F238E27FC236}">
                  <a16:creationId xmlns:a16="http://schemas.microsoft.com/office/drawing/2014/main" id="{20549B03-325F-EAB1-253E-07CDCF588621}"/>
                </a:ext>
              </a:extLst>
            </p:cNvPr>
            <p:cNvSpPr txBox="1"/>
            <p:nvPr/>
          </p:nvSpPr>
          <p:spPr>
            <a:xfrm>
              <a:off x="6933188" y="3823698"/>
              <a:ext cx="183047"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6</a:t>
              </a:r>
            </a:p>
          </p:txBody>
        </p:sp>
        <p:sp>
          <p:nvSpPr>
            <p:cNvPr id="412" name="TextBox 411">
              <a:extLst>
                <a:ext uri="{FF2B5EF4-FFF2-40B4-BE49-F238E27FC236}">
                  <a16:creationId xmlns:a16="http://schemas.microsoft.com/office/drawing/2014/main" id="{88D654C0-E679-9BF0-6144-09CA15B5860A}"/>
                </a:ext>
              </a:extLst>
            </p:cNvPr>
            <p:cNvSpPr txBox="1"/>
            <p:nvPr/>
          </p:nvSpPr>
          <p:spPr>
            <a:xfrm>
              <a:off x="7100059" y="3823698"/>
              <a:ext cx="183047"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9</a:t>
              </a:r>
            </a:p>
          </p:txBody>
        </p:sp>
        <p:sp>
          <p:nvSpPr>
            <p:cNvPr id="413" name="TextBox 412">
              <a:extLst>
                <a:ext uri="{FF2B5EF4-FFF2-40B4-BE49-F238E27FC236}">
                  <a16:creationId xmlns:a16="http://schemas.microsoft.com/office/drawing/2014/main" id="{E9716E4D-4A7B-9086-80F3-CA8060C0EFC3}"/>
                </a:ext>
              </a:extLst>
            </p:cNvPr>
            <p:cNvSpPr txBox="1"/>
            <p:nvPr/>
          </p:nvSpPr>
          <p:spPr>
            <a:xfrm>
              <a:off x="7406873" y="3823698"/>
              <a:ext cx="231952"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5</a:t>
              </a:r>
            </a:p>
          </p:txBody>
        </p:sp>
        <p:sp>
          <p:nvSpPr>
            <p:cNvPr id="414" name="TextBox 413">
              <a:extLst>
                <a:ext uri="{FF2B5EF4-FFF2-40B4-BE49-F238E27FC236}">
                  <a16:creationId xmlns:a16="http://schemas.microsoft.com/office/drawing/2014/main" id="{97436769-C0FF-3DD9-8A89-EBD6CED1FBE0}"/>
                </a:ext>
              </a:extLst>
            </p:cNvPr>
            <p:cNvSpPr txBox="1"/>
            <p:nvPr/>
          </p:nvSpPr>
          <p:spPr>
            <a:xfrm>
              <a:off x="7574127" y="3823698"/>
              <a:ext cx="231952"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8</a:t>
              </a:r>
            </a:p>
          </p:txBody>
        </p:sp>
        <p:sp>
          <p:nvSpPr>
            <p:cNvPr id="415" name="TextBox 414">
              <a:extLst>
                <a:ext uri="{FF2B5EF4-FFF2-40B4-BE49-F238E27FC236}">
                  <a16:creationId xmlns:a16="http://schemas.microsoft.com/office/drawing/2014/main" id="{8EF4D428-BB7F-5481-F7C5-1216817BFACE}"/>
                </a:ext>
              </a:extLst>
            </p:cNvPr>
            <p:cNvSpPr txBox="1"/>
            <p:nvPr/>
          </p:nvSpPr>
          <p:spPr>
            <a:xfrm>
              <a:off x="7750913" y="3823698"/>
              <a:ext cx="231952"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1</a:t>
              </a:r>
            </a:p>
          </p:txBody>
        </p:sp>
        <p:sp>
          <p:nvSpPr>
            <p:cNvPr id="416" name="TextBox 415">
              <a:extLst>
                <a:ext uri="{FF2B5EF4-FFF2-40B4-BE49-F238E27FC236}">
                  <a16:creationId xmlns:a16="http://schemas.microsoft.com/office/drawing/2014/main" id="{298E8D38-C1DD-41EC-16CC-4ACFB5B5D983}"/>
                </a:ext>
              </a:extLst>
            </p:cNvPr>
            <p:cNvSpPr txBox="1"/>
            <p:nvPr/>
          </p:nvSpPr>
          <p:spPr>
            <a:xfrm>
              <a:off x="7912066" y="3823698"/>
              <a:ext cx="231952"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4</a:t>
              </a:r>
            </a:p>
          </p:txBody>
        </p:sp>
        <p:sp>
          <p:nvSpPr>
            <p:cNvPr id="417" name="TextBox 416">
              <a:extLst>
                <a:ext uri="{FF2B5EF4-FFF2-40B4-BE49-F238E27FC236}">
                  <a16:creationId xmlns:a16="http://schemas.microsoft.com/office/drawing/2014/main" id="{6BFF7499-6131-84A9-C355-F6D1C18774FA}"/>
                </a:ext>
              </a:extLst>
            </p:cNvPr>
            <p:cNvSpPr txBox="1"/>
            <p:nvPr/>
          </p:nvSpPr>
          <p:spPr>
            <a:xfrm>
              <a:off x="8079066" y="3823698"/>
              <a:ext cx="231952"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7</a:t>
              </a:r>
            </a:p>
          </p:txBody>
        </p:sp>
        <p:sp>
          <p:nvSpPr>
            <p:cNvPr id="418" name="TextBox 417">
              <a:extLst>
                <a:ext uri="{FF2B5EF4-FFF2-40B4-BE49-F238E27FC236}">
                  <a16:creationId xmlns:a16="http://schemas.microsoft.com/office/drawing/2014/main" id="{F84ABB7D-2E6F-C29A-E101-DC324A227AEE}"/>
                </a:ext>
              </a:extLst>
            </p:cNvPr>
            <p:cNvSpPr txBox="1"/>
            <p:nvPr/>
          </p:nvSpPr>
          <p:spPr>
            <a:xfrm>
              <a:off x="8245684" y="3823698"/>
              <a:ext cx="231952"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0</a:t>
              </a:r>
            </a:p>
          </p:txBody>
        </p:sp>
        <p:sp>
          <p:nvSpPr>
            <p:cNvPr id="419" name="TextBox 418">
              <a:extLst>
                <a:ext uri="{FF2B5EF4-FFF2-40B4-BE49-F238E27FC236}">
                  <a16:creationId xmlns:a16="http://schemas.microsoft.com/office/drawing/2014/main" id="{F2BA660E-16C1-CB30-1040-B000E74D83E4}"/>
                </a:ext>
              </a:extLst>
            </p:cNvPr>
            <p:cNvSpPr txBox="1"/>
            <p:nvPr/>
          </p:nvSpPr>
          <p:spPr>
            <a:xfrm>
              <a:off x="8412685" y="3823698"/>
              <a:ext cx="231952"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3</a:t>
              </a:r>
            </a:p>
          </p:txBody>
        </p:sp>
        <p:sp>
          <p:nvSpPr>
            <p:cNvPr id="420" name="TextBox 419">
              <a:extLst>
                <a:ext uri="{FF2B5EF4-FFF2-40B4-BE49-F238E27FC236}">
                  <a16:creationId xmlns:a16="http://schemas.microsoft.com/office/drawing/2014/main" id="{BE76FFBC-BC6A-7E57-2F43-9B1FE2B5CC3E}"/>
                </a:ext>
              </a:extLst>
            </p:cNvPr>
            <p:cNvSpPr txBox="1"/>
            <p:nvPr/>
          </p:nvSpPr>
          <p:spPr>
            <a:xfrm>
              <a:off x="8579811" y="3823698"/>
              <a:ext cx="231952"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6</a:t>
              </a:r>
            </a:p>
          </p:txBody>
        </p:sp>
        <p:sp>
          <p:nvSpPr>
            <p:cNvPr id="421" name="TextBox 420">
              <a:extLst>
                <a:ext uri="{FF2B5EF4-FFF2-40B4-BE49-F238E27FC236}">
                  <a16:creationId xmlns:a16="http://schemas.microsoft.com/office/drawing/2014/main" id="{D3B5D6C5-FA7A-8927-3088-E69AE42C5D5C}"/>
                </a:ext>
              </a:extLst>
            </p:cNvPr>
            <p:cNvSpPr txBox="1"/>
            <p:nvPr/>
          </p:nvSpPr>
          <p:spPr>
            <a:xfrm>
              <a:off x="8746811" y="3823698"/>
              <a:ext cx="231952"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9</a:t>
              </a:r>
            </a:p>
          </p:txBody>
        </p:sp>
        <p:sp>
          <p:nvSpPr>
            <p:cNvPr id="422" name="TextBox 421">
              <a:extLst>
                <a:ext uri="{FF2B5EF4-FFF2-40B4-BE49-F238E27FC236}">
                  <a16:creationId xmlns:a16="http://schemas.microsoft.com/office/drawing/2014/main" id="{4EF1F275-30E9-B7FC-3661-C881D1301BE1}"/>
                </a:ext>
              </a:extLst>
            </p:cNvPr>
            <p:cNvSpPr txBox="1"/>
            <p:nvPr/>
          </p:nvSpPr>
          <p:spPr>
            <a:xfrm>
              <a:off x="8915717" y="3823698"/>
              <a:ext cx="231952"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2</a:t>
              </a:r>
            </a:p>
          </p:txBody>
        </p:sp>
        <p:sp>
          <p:nvSpPr>
            <p:cNvPr id="423" name="TextBox 422">
              <a:extLst>
                <a:ext uri="{FF2B5EF4-FFF2-40B4-BE49-F238E27FC236}">
                  <a16:creationId xmlns:a16="http://schemas.microsoft.com/office/drawing/2014/main" id="{759A8678-1B52-DD6B-A81A-2A8BB35ABDBF}"/>
                </a:ext>
              </a:extLst>
            </p:cNvPr>
            <p:cNvSpPr txBox="1"/>
            <p:nvPr/>
          </p:nvSpPr>
          <p:spPr>
            <a:xfrm>
              <a:off x="9082208" y="3823698"/>
              <a:ext cx="231952"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5</a:t>
              </a:r>
            </a:p>
          </p:txBody>
        </p:sp>
        <p:sp>
          <p:nvSpPr>
            <p:cNvPr id="424" name="TextBox 423">
              <a:extLst>
                <a:ext uri="{FF2B5EF4-FFF2-40B4-BE49-F238E27FC236}">
                  <a16:creationId xmlns:a16="http://schemas.microsoft.com/office/drawing/2014/main" id="{37A67B63-BE1E-3E64-1E43-1E114C4E660B}"/>
                </a:ext>
              </a:extLst>
            </p:cNvPr>
            <p:cNvSpPr txBox="1"/>
            <p:nvPr/>
          </p:nvSpPr>
          <p:spPr>
            <a:xfrm>
              <a:off x="9249462" y="3823698"/>
              <a:ext cx="231952"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8</a:t>
              </a:r>
            </a:p>
          </p:txBody>
        </p:sp>
        <p:sp>
          <p:nvSpPr>
            <p:cNvPr id="425" name="TextBox 424">
              <a:extLst>
                <a:ext uri="{FF2B5EF4-FFF2-40B4-BE49-F238E27FC236}">
                  <a16:creationId xmlns:a16="http://schemas.microsoft.com/office/drawing/2014/main" id="{786C23CD-0972-33F7-AC68-45CDAB883DE0}"/>
                </a:ext>
              </a:extLst>
            </p:cNvPr>
            <p:cNvSpPr txBox="1"/>
            <p:nvPr/>
          </p:nvSpPr>
          <p:spPr>
            <a:xfrm>
              <a:off x="9421545" y="3823698"/>
              <a:ext cx="231952"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51</a:t>
              </a:r>
            </a:p>
          </p:txBody>
        </p:sp>
        <p:sp>
          <p:nvSpPr>
            <p:cNvPr id="426" name="TextBox 425">
              <a:extLst>
                <a:ext uri="{FF2B5EF4-FFF2-40B4-BE49-F238E27FC236}">
                  <a16:creationId xmlns:a16="http://schemas.microsoft.com/office/drawing/2014/main" id="{ACDE53C1-E654-6F4D-9AF7-F54968679E1F}"/>
                </a:ext>
              </a:extLst>
            </p:cNvPr>
            <p:cNvSpPr txBox="1"/>
            <p:nvPr/>
          </p:nvSpPr>
          <p:spPr>
            <a:xfrm>
              <a:off x="9582572" y="3823698"/>
              <a:ext cx="231952"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54</a:t>
              </a:r>
            </a:p>
          </p:txBody>
        </p:sp>
        <p:sp>
          <p:nvSpPr>
            <p:cNvPr id="427" name="TextBox 426">
              <a:extLst>
                <a:ext uri="{FF2B5EF4-FFF2-40B4-BE49-F238E27FC236}">
                  <a16:creationId xmlns:a16="http://schemas.microsoft.com/office/drawing/2014/main" id="{F769827E-1754-9087-7779-0BB036964540}"/>
                </a:ext>
              </a:extLst>
            </p:cNvPr>
            <p:cNvSpPr txBox="1"/>
            <p:nvPr/>
          </p:nvSpPr>
          <p:spPr>
            <a:xfrm>
              <a:off x="7240255" y="3823698"/>
              <a:ext cx="231952"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2</a:t>
              </a:r>
            </a:p>
          </p:txBody>
        </p:sp>
        <p:sp>
          <p:nvSpPr>
            <p:cNvPr id="428" name="TextBox 427">
              <a:extLst>
                <a:ext uri="{FF2B5EF4-FFF2-40B4-BE49-F238E27FC236}">
                  <a16:creationId xmlns:a16="http://schemas.microsoft.com/office/drawing/2014/main" id="{956A9570-17AA-9F59-DE23-F226A9A2BE68}"/>
                </a:ext>
              </a:extLst>
            </p:cNvPr>
            <p:cNvSpPr txBox="1"/>
            <p:nvPr/>
          </p:nvSpPr>
          <p:spPr>
            <a:xfrm>
              <a:off x="9749572" y="3823698"/>
              <a:ext cx="231952"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57</a:t>
              </a:r>
            </a:p>
          </p:txBody>
        </p:sp>
        <p:sp>
          <p:nvSpPr>
            <p:cNvPr id="429" name="TextBox 428">
              <a:extLst>
                <a:ext uri="{FF2B5EF4-FFF2-40B4-BE49-F238E27FC236}">
                  <a16:creationId xmlns:a16="http://schemas.microsoft.com/office/drawing/2014/main" id="{95CCCBE3-0AD0-B84E-6246-3F9054C480D9}"/>
                </a:ext>
              </a:extLst>
            </p:cNvPr>
            <p:cNvSpPr txBox="1"/>
            <p:nvPr/>
          </p:nvSpPr>
          <p:spPr>
            <a:xfrm>
              <a:off x="9917207" y="3823698"/>
              <a:ext cx="231952"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60</a:t>
              </a:r>
            </a:p>
          </p:txBody>
        </p:sp>
      </p:grpSp>
      <p:grpSp>
        <p:nvGrpSpPr>
          <p:cNvPr id="217" name="Graphic 4">
            <a:extLst>
              <a:ext uri="{FF2B5EF4-FFF2-40B4-BE49-F238E27FC236}">
                <a16:creationId xmlns:a16="http://schemas.microsoft.com/office/drawing/2014/main" id="{57FE5E8B-BC51-ABCC-1992-CC4A471E7B0D}"/>
              </a:ext>
            </a:extLst>
          </p:cNvPr>
          <p:cNvGrpSpPr/>
          <p:nvPr/>
        </p:nvGrpSpPr>
        <p:grpSpPr>
          <a:xfrm>
            <a:off x="1172890" y="3596211"/>
            <a:ext cx="4807509" cy="235898"/>
            <a:chOff x="2396529" y="3823698"/>
            <a:chExt cx="3553624" cy="168340"/>
          </a:xfrm>
          <a:solidFill>
            <a:srgbClr val="000000"/>
          </a:solidFill>
        </p:grpSpPr>
        <p:sp>
          <p:nvSpPr>
            <p:cNvPr id="227" name="TextBox 226">
              <a:extLst>
                <a:ext uri="{FF2B5EF4-FFF2-40B4-BE49-F238E27FC236}">
                  <a16:creationId xmlns:a16="http://schemas.microsoft.com/office/drawing/2014/main" id="{3E85CEE6-3809-1E4B-948A-C481A745F888}"/>
                </a:ext>
              </a:extLst>
            </p:cNvPr>
            <p:cNvSpPr txBox="1"/>
            <p:nvPr/>
          </p:nvSpPr>
          <p:spPr>
            <a:xfrm>
              <a:off x="4459968" y="3823698"/>
              <a:ext cx="236034"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0</a:t>
              </a:r>
            </a:p>
          </p:txBody>
        </p:sp>
        <p:sp>
          <p:nvSpPr>
            <p:cNvPr id="222" name="TextBox 221">
              <a:extLst>
                <a:ext uri="{FF2B5EF4-FFF2-40B4-BE49-F238E27FC236}">
                  <a16:creationId xmlns:a16="http://schemas.microsoft.com/office/drawing/2014/main" id="{15FDD997-DA0D-4AC2-4937-2DAF4D1117C2}"/>
                </a:ext>
              </a:extLst>
            </p:cNvPr>
            <p:cNvSpPr txBox="1"/>
            <p:nvPr/>
          </p:nvSpPr>
          <p:spPr>
            <a:xfrm>
              <a:off x="3412596" y="3823698"/>
              <a:ext cx="236034"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5</a:t>
              </a:r>
            </a:p>
          </p:txBody>
        </p:sp>
        <p:sp>
          <p:nvSpPr>
            <p:cNvPr id="223" name="TextBox 222">
              <a:extLst>
                <a:ext uri="{FF2B5EF4-FFF2-40B4-BE49-F238E27FC236}">
                  <a16:creationId xmlns:a16="http://schemas.microsoft.com/office/drawing/2014/main" id="{9DCF0E67-DE53-995A-7B10-4EAF20AA05B2}"/>
                </a:ext>
              </a:extLst>
            </p:cNvPr>
            <p:cNvSpPr txBox="1"/>
            <p:nvPr/>
          </p:nvSpPr>
          <p:spPr>
            <a:xfrm>
              <a:off x="3621537" y="3823698"/>
              <a:ext cx="236034"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8</a:t>
              </a:r>
            </a:p>
          </p:txBody>
        </p:sp>
        <p:sp>
          <p:nvSpPr>
            <p:cNvPr id="218" name="TextBox 217">
              <a:extLst>
                <a:ext uri="{FF2B5EF4-FFF2-40B4-BE49-F238E27FC236}">
                  <a16:creationId xmlns:a16="http://schemas.microsoft.com/office/drawing/2014/main" id="{49FD75D5-CE82-84AE-F633-74FAF5180CD3}"/>
                </a:ext>
              </a:extLst>
            </p:cNvPr>
            <p:cNvSpPr txBox="1"/>
            <p:nvPr/>
          </p:nvSpPr>
          <p:spPr>
            <a:xfrm>
              <a:off x="2396529" y="3823698"/>
              <a:ext cx="186268"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0</a:t>
              </a:r>
            </a:p>
          </p:txBody>
        </p:sp>
        <p:sp>
          <p:nvSpPr>
            <p:cNvPr id="219" name="TextBox 218">
              <a:extLst>
                <a:ext uri="{FF2B5EF4-FFF2-40B4-BE49-F238E27FC236}">
                  <a16:creationId xmlns:a16="http://schemas.microsoft.com/office/drawing/2014/main" id="{82A235F1-857C-8B55-72A3-8E8E3CC6061E}"/>
                </a:ext>
              </a:extLst>
            </p:cNvPr>
            <p:cNvSpPr txBox="1"/>
            <p:nvPr/>
          </p:nvSpPr>
          <p:spPr>
            <a:xfrm>
              <a:off x="2605216" y="3823698"/>
              <a:ext cx="186268"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a:t>
              </a:r>
            </a:p>
          </p:txBody>
        </p:sp>
        <p:sp>
          <p:nvSpPr>
            <p:cNvPr id="220" name="TextBox 219">
              <a:extLst>
                <a:ext uri="{FF2B5EF4-FFF2-40B4-BE49-F238E27FC236}">
                  <a16:creationId xmlns:a16="http://schemas.microsoft.com/office/drawing/2014/main" id="{94E4B8BE-988C-8502-C715-64CEF2AF2F68}"/>
                </a:ext>
              </a:extLst>
            </p:cNvPr>
            <p:cNvSpPr txBox="1"/>
            <p:nvPr/>
          </p:nvSpPr>
          <p:spPr>
            <a:xfrm>
              <a:off x="2814156" y="3823698"/>
              <a:ext cx="186268"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6</a:t>
              </a:r>
            </a:p>
          </p:txBody>
        </p:sp>
        <p:sp>
          <p:nvSpPr>
            <p:cNvPr id="221" name="TextBox 220">
              <a:extLst>
                <a:ext uri="{FF2B5EF4-FFF2-40B4-BE49-F238E27FC236}">
                  <a16:creationId xmlns:a16="http://schemas.microsoft.com/office/drawing/2014/main" id="{C0C11144-9193-7080-9A6D-FB1A5AEB4EFA}"/>
                </a:ext>
              </a:extLst>
            </p:cNvPr>
            <p:cNvSpPr txBox="1"/>
            <p:nvPr/>
          </p:nvSpPr>
          <p:spPr>
            <a:xfrm>
              <a:off x="3022842" y="3823698"/>
              <a:ext cx="186268"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9</a:t>
              </a:r>
            </a:p>
          </p:txBody>
        </p:sp>
        <p:sp>
          <p:nvSpPr>
            <p:cNvPr id="224" name="TextBox 223">
              <a:extLst>
                <a:ext uri="{FF2B5EF4-FFF2-40B4-BE49-F238E27FC236}">
                  <a16:creationId xmlns:a16="http://schemas.microsoft.com/office/drawing/2014/main" id="{82801C66-951E-45E0-D344-0E8A4780ECFF}"/>
                </a:ext>
              </a:extLst>
            </p:cNvPr>
            <p:cNvSpPr txBox="1"/>
            <p:nvPr/>
          </p:nvSpPr>
          <p:spPr>
            <a:xfrm>
              <a:off x="3840137" y="3823698"/>
              <a:ext cx="236034"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1</a:t>
              </a:r>
            </a:p>
          </p:txBody>
        </p:sp>
        <p:sp>
          <p:nvSpPr>
            <p:cNvPr id="225" name="TextBox 224">
              <a:extLst>
                <a:ext uri="{FF2B5EF4-FFF2-40B4-BE49-F238E27FC236}">
                  <a16:creationId xmlns:a16="http://schemas.microsoft.com/office/drawing/2014/main" id="{A732A040-7785-92BC-C221-453CD6196087}"/>
                </a:ext>
              </a:extLst>
            </p:cNvPr>
            <p:cNvSpPr txBox="1"/>
            <p:nvPr/>
          </p:nvSpPr>
          <p:spPr>
            <a:xfrm>
              <a:off x="4042976" y="3823698"/>
              <a:ext cx="236034"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4</a:t>
              </a:r>
            </a:p>
          </p:txBody>
        </p:sp>
        <p:sp>
          <p:nvSpPr>
            <p:cNvPr id="226" name="TextBox 225">
              <a:extLst>
                <a:ext uri="{FF2B5EF4-FFF2-40B4-BE49-F238E27FC236}">
                  <a16:creationId xmlns:a16="http://schemas.microsoft.com/office/drawing/2014/main" id="{6023712A-05BC-5535-0ABC-DB487B2E6CFD}"/>
                </a:ext>
              </a:extLst>
            </p:cNvPr>
            <p:cNvSpPr txBox="1"/>
            <p:nvPr/>
          </p:nvSpPr>
          <p:spPr>
            <a:xfrm>
              <a:off x="4251664" y="3823698"/>
              <a:ext cx="236034"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7</a:t>
              </a:r>
            </a:p>
          </p:txBody>
        </p:sp>
        <p:sp>
          <p:nvSpPr>
            <p:cNvPr id="228" name="TextBox 227">
              <a:extLst>
                <a:ext uri="{FF2B5EF4-FFF2-40B4-BE49-F238E27FC236}">
                  <a16:creationId xmlns:a16="http://schemas.microsoft.com/office/drawing/2014/main" id="{EC822446-400E-77F0-0883-A7B0296BC22E}"/>
                </a:ext>
              </a:extLst>
            </p:cNvPr>
            <p:cNvSpPr txBox="1"/>
            <p:nvPr/>
          </p:nvSpPr>
          <p:spPr>
            <a:xfrm>
              <a:off x="4668654" y="3823698"/>
              <a:ext cx="236034"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3</a:t>
              </a:r>
            </a:p>
          </p:txBody>
        </p:sp>
        <p:sp>
          <p:nvSpPr>
            <p:cNvPr id="229" name="TextBox 228">
              <a:extLst>
                <a:ext uri="{FF2B5EF4-FFF2-40B4-BE49-F238E27FC236}">
                  <a16:creationId xmlns:a16="http://schemas.microsoft.com/office/drawing/2014/main" id="{68EA2B32-2AB9-DE58-CC7D-A78E89A76AEF}"/>
                </a:ext>
              </a:extLst>
            </p:cNvPr>
            <p:cNvSpPr txBox="1"/>
            <p:nvPr/>
          </p:nvSpPr>
          <p:spPr>
            <a:xfrm>
              <a:off x="4877593" y="3823698"/>
              <a:ext cx="236034"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6</a:t>
              </a:r>
            </a:p>
          </p:txBody>
        </p:sp>
        <p:sp>
          <p:nvSpPr>
            <p:cNvPr id="230" name="TextBox 229">
              <a:extLst>
                <a:ext uri="{FF2B5EF4-FFF2-40B4-BE49-F238E27FC236}">
                  <a16:creationId xmlns:a16="http://schemas.microsoft.com/office/drawing/2014/main" id="{5E58C472-10C8-CB80-3DEE-91496DFD559D}"/>
                </a:ext>
              </a:extLst>
            </p:cNvPr>
            <p:cNvSpPr txBox="1"/>
            <p:nvPr/>
          </p:nvSpPr>
          <p:spPr>
            <a:xfrm>
              <a:off x="5086280" y="3823698"/>
              <a:ext cx="236034"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9</a:t>
              </a:r>
            </a:p>
          </p:txBody>
        </p:sp>
        <p:sp>
          <p:nvSpPr>
            <p:cNvPr id="231" name="TextBox 230">
              <a:extLst>
                <a:ext uri="{FF2B5EF4-FFF2-40B4-BE49-F238E27FC236}">
                  <a16:creationId xmlns:a16="http://schemas.microsoft.com/office/drawing/2014/main" id="{C9809559-C4E0-F388-FF5D-D6CD76B1E38A}"/>
                </a:ext>
              </a:extLst>
            </p:cNvPr>
            <p:cNvSpPr txBox="1"/>
            <p:nvPr/>
          </p:nvSpPr>
          <p:spPr>
            <a:xfrm>
              <a:off x="5296873" y="3823698"/>
              <a:ext cx="236034"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2</a:t>
              </a:r>
            </a:p>
          </p:txBody>
        </p:sp>
        <p:sp>
          <p:nvSpPr>
            <p:cNvPr id="232" name="TextBox 231">
              <a:extLst>
                <a:ext uri="{FF2B5EF4-FFF2-40B4-BE49-F238E27FC236}">
                  <a16:creationId xmlns:a16="http://schemas.microsoft.com/office/drawing/2014/main" id="{9DE88933-574A-51BB-5386-422CB6FC1A4C}"/>
                </a:ext>
              </a:extLst>
            </p:cNvPr>
            <p:cNvSpPr txBox="1"/>
            <p:nvPr/>
          </p:nvSpPr>
          <p:spPr>
            <a:xfrm>
              <a:off x="5505179" y="3823698"/>
              <a:ext cx="236034"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5</a:t>
              </a:r>
            </a:p>
          </p:txBody>
        </p:sp>
        <p:sp>
          <p:nvSpPr>
            <p:cNvPr id="233" name="TextBox 232">
              <a:extLst>
                <a:ext uri="{FF2B5EF4-FFF2-40B4-BE49-F238E27FC236}">
                  <a16:creationId xmlns:a16="http://schemas.microsoft.com/office/drawing/2014/main" id="{48154879-5FFE-A028-0B19-B84CC1D4A3B9}"/>
                </a:ext>
              </a:extLst>
            </p:cNvPr>
            <p:cNvSpPr txBox="1"/>
            <p:nvPr/>
          </p:nvSpPr>
          <p:spPr>
            <a:xfrm>
              <a:off x="3204291" y="3823698"/>
              <a:ext cx="236034"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2</a:t>
              </a:r>
            </a:p>
          </p:txBody>
        </p:sp>
        <p:sp>
          <p:nvSpPr>
            <p:cNvPr id="234" name="TextBox 233">
              <a:extLst>
                <a:ext uri="{FF2B5EF4-FFF2-40B4-BE49-F238E27FC236}">
                  <a16:creationId xmlns:a16="http://schemas.microsoft.com/office/drawing/2014/main" id="{16A03D2A-9BF1-748F-594A-DE44B8BC77C5}"/>
                </a:ext>
              </a:extLst>
            </p:cNvPr>
            <p:cNvSpPr txBox="1"/>
            <p:nvPr/>
          </p:nvSpPr>
          <p:spPr>
            <a:xfrm>
              <a:off x="5714119" y="3823698"/>
              <a:ext cx="236034" cy="16834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8</a:t>
              </a:r>
            </a:p>
          </p:txBody>
        </p:sp>
      </p:grpSp>
      <p:sp>
        <p:nvSpPr>
          <p:cNvPr id="2" name="Title 1">
            <a:extLst>
              <a:ext uri="{FF2B5EF4-FFF2-40B4-BE49-F238E27FC236}">
                <a16:creationId xmlns:a16="http://schemas.microsoft.com/office/drawing/2014/main" id="{B74B6698-D6F5-DEDD-BFEA-9057E90F00EE}"/>
              </a:ext>
            </a:extLst>
          </p:cNvPr>
          <p:cNvSpPr>
            <a:spLocks noGrp="1"/>
          </p:cNvSpPr>
          <p:nvPr>
            <p:ph type="title"/>
          </p:nvPr>
        </p:nvSpPr>
        <p:spPr>
          <a:xfrm>
            <a:off x="530039" y="242908"/>
            <a:ext cx="9024373" cy="906972"/>
          </a:xfrm>
        </p:spPr>
        <p:txBody>
          <a:bodyPr/>
          <a:lstStyle/>
          <a:p>
            <a:r>
              <a:rPr lang="en-GB" dirty="0"/>
              <a:t>Landmark analyses by response at EOT</a:t>
            </a:r>
          </a:p>
        </p:txBody>
      </p:sp>
      <p:sp>
        <p:nvSpPr>
          <p:cNvPr id="4" name="Text Placeholder 3">
            <a:extLst>
              <a:ext uri="{FF2B5EF4-FFF2-40B4-BE49-F238E27FC236}">
                <a16:creationId xmlns:a16="http://schemas.microsoft.com/office/drawing/2014/main" id="{D3D87A3D-95BE-9E87-6A1C-494D9FFFFBEE}"/>
              </a:ext>
            </a:extLst>
          </p:cNvPr>
          <p:cNvSpPr>
            <a:spLocks noGrp="1"/>
          </p:cNvSpPr>
          <p:nvPr>
            <p:ph type="body" sz="quarter" idx="11"/>
          </p:nvPr>
        </p:nvSpPr>
        <p:spPr>
          <a:xfrm>
            <a:off x="528767" y="6077097"/>
            <a:ext cx="10269468" cy="541518"/>
          </a:xfrm>
        </p:spPr>
        <p:txBody>
          <a:bodyPr/>
          <a:lstStyle/>
          <a:p>
            <a:pPr>
              <a:spcAft>
                <a:spcPts val="0"/>
              </a:spcAft>
              <a:buSzPts val="650"/>
            </a:pPr>
            <a:r>
              <a:rPr lang="en-GB" sz="933" dirty="0"/>
              <a:t>*INV-assessed. </a:t>
            </a:r>
          </a:p>
          <a:p>
            <a:pPr>
              <a:spcAft>
                <a:spcPts val="0"/>
              </a:spcAft>
              <a:buSzPts val="650"/>
            </a:pPr>
            <a:r>
              <a:rPr lang="en-GB" sz="933" dirty="0"/>
              <a:t>EOT, end of treatment; NR, no response.</a:t>
            </a:r>
          </a:p>
        </p:txBody>
      </p:sp>
      <p:sp>
        <p:nvSpPr>
          <p:cNvPr id="25" name="Rounded Rectangle 2015">
            <a:extLst>
              <a:ext uri="{FF2B5EF4-FFF2-40B4-BE49-F238E27FC236}">
                <a16:creationId xmlns:a16="http://schemas.microsoft.com/office/drawing/2014/main" id="{107511A5-AC8D-387B-E3A8-BF98DE7C5750}"/>
              </a:ext>
            </a:extLst>
          </p:cNvPr>
          <p:cNvSpPr/>
          <p:nvPr/>
        </p:nvSpPr>
        <p:spPr>
          <a:xfrm>
            <a:off x="539352" y="5386109"/>
            <a:ext cx="11134463" cy="690987"/>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6923" rtl="0" eaLnBrk="0" fontAlgn="base" latinLnBrk="0" hangingPunct="0">
              <a:lnSpc>
                <a:spcPct val="100000"/>
              </a:lnSpc>
              <a:spcBef>
                <a:spcPct val="0"/>
              </a:spcBef>
              <a:spcAft>
                <a:spcPct val="0"/>
              </a:spcAft>
              <a:buClrTx/>
              <a:buSzTx/>
              <a:buFontTx/>
              <a:buNone/>
              <a:tabLst/>
              <a:defRPr/>
            </a:pPr>
            <a:r>
              <a:rPr kumimoji="0" lang="en-GB" sz="1866" b="0" i="0" u="none" strike="noStrike" kern="1200" cap="none" spc="0" normalizeH="0" baseline="0" noProof="0" dirty="0">
                <a:ln>
                  <a:noFill/>
                </a:ln>
                <a:solidFill>
                  <a:srgbClr val="FFFFFF"/>
                </a:solidFill>
                <a:effectLst/>
                <a:uLnTx/>
                <a:uFillTx/>
                <a:latin typeface="Arial" panose="020B0604020202020204"/>
                <a:ea typeface="+mn-ea"/>
                <a:cs typeface="+mn-cs"/>
              </a:rPr>
              <a:t>A large proportion of patients (65.6%) with a CR at EOT </a:t>
            </a:r>
            <a:br>
              <a:rPr kumimoji="0" lang="en-GB" sz="1866"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GB" sz="1866" b="0" i="0" u="none" strike="noStrike" kern="1200" cap="none" spc="0" normalizeH="0" baseline="0" noProof="0" dirty="0">
                <a:ln>
                  <a:noFill/>
                </a:ln>
                <a:solidFill>
                  <a:srgbClr val="FFFFFF"/>
                </a:solidFill>
                <a:effectLst/>
                <a:uLnTx/>
                <a:uFillTx/>
                <a:latin typeface="Arial" panose="020B0604020202020204"/>
                <a:ea typeface="+mn-ea"/>
                <a:cs typeface="+mn-cs"/>
              </a:rPr>
              <a:t>remained progression-free and alive 2 years post EOT</a:t>
            </a:r>
            <a:r>
              <a:rPr kumimoji="0" lang="en-GB" sz="1866" b="0" i="0" u="none" strike="noStrike" kern="1200" cap="none" spc="0" normalizeH="0" baseline="30000" noProof="0" dirty="0">
                <a:ln>
                  <a:noFill/>
                </a:ln>
                <a:solidFill>
                  <a:srgbClr val="FFFFFF"/>
                </a:solidFill>
                <a:effectLst/>
                <a:uLnTx/>
                <a:uFillTx/>
                <a:latin typeface="Arial" panose="020B0604020202020204"/>
                <a:ea typeface="+mn-ea"/>
                <a:cs typeface="+mn-cs"/>
              </a:rPr>
              <a:t> </a:t>
            </a:r>
          </a:p>
        </p:txBody>
      </p:sp>
      <p:graphicFrame>
        <p:nvGraphicFramePr>
          <p:cNvPr id="8" name="Google Shape;264;p27">
            <a:extLst>
              <a:ext uri="{FF2B5EF4-FFF2-40B4-BE49-F238E27FC236}">
                <a16:creationId xmlns:a16="http://schemas.microsoft.com/office/drawing/2014/main" id="{17246EB1-5D39-5318-FA10-BE379F57C98B}"/>
              </a:ext>
            </a:extLst>
          </p:cNvPr>
          <p:cNvGraphicFramePr/>
          <p:nvPr/>
        </p:nvGraphicFramePr>
        <p:xfrm>
          <a:off x="549313" y="4442195"/>
          <a:ext cx="5506699" cy="844539"/>
        </p:xfrm>
        <a:graphic>
          <a:graphicData uri="http://schemas.openxmlformats.org/drawingml/2006/table">
            <a:tbl>
              <a:tblPr>
                <a:gradFill>
                  <a:gsLst>
                    <a:gs pos="0">
                      <a:srgbClr val="FFFFFF"/>
                    </a:gs>
                    <a:gs pos="50000">
                      <a:srgbClr val="FBFBFE"/>
                    </a:gs>
                    <a:gs pos="100000">
                      <a:srgbClr val="FAFBFD"/>
                    </a:gs>
                  </a:gsLst>
                  <a:lin ang="5400012" scaled="0"/>
                </a:gradFill>
              </a:tblPr>
              <a:tblGrid>
                <a:gridCol w="3234092">
                  <a:extLst>
                    <a:ext uri="{9D8B030D-6E8A-4147-A177-3AD203B41FA5}">
                      <a16:colId xmlns:a16="http://schemas.microsoft.com/office/drawing/2014/main" val="20000"/>
                    </a:ext>
                  </a:extLst>
                </a:gridCol>
                <a:gridCol w="2272607">
                  <a:extLst>
                    <a:ext uri="{9D8B030D-6E8A-4147-A177-3AD203B41FA5}">
                      <a16:colId xmlns:a16="http://schemas.microsoft.com/office/drawing/2014/main" val="20001"/>
                    </a:ext>
                  </a:extLst>
                </a:gridCol>
              </a:tblGrid>
              <a:tr h="494247">
                <a:tc>
                  <a:txBody>
                    <a:bodyPr/>
                    <a:lstStyle/>
                    <a:p>
                      <a:pPr marL="0" marR="0" lvl="0" indent="0" algn="l" rtl="0">
                        <a:lnSpc>
                          <a:spcPct val="100000"/>
                        </a:lnSpc>
                        <a:spcBef>
                          <a:spcPts val="0"/>
                        </a:spcBef>
                        <a:spcAft>
                          <a:spcPts val="0"/>
                        </a:spcAft>
                        <a:buClr>
                          <a:srgbClr val="000000"/>
                        </a:buClr>
                        <a:buSzPts val="1000"/>
                        <a:buFont typeface="Arial"/>
                        <a:buNone/>
                      </a:pPr>
                      <a:r>
                        <a:rPr lang="en-GB" sz="1200" b="1" u="none" strike="noStrike" cap="none" dirty="0">
                          <a:solidFill>
                            <a:schemeClr val="lt1"/>
                          </a:solidFill>
                          <a:latin typeface="+mn-lt"/>
                          <a:ea typeface="Arial"/>
                          <a:cs typeface="Arial"/>
                          <a:sym typeface="Arial"/>
                        </a:rPr>
                        <a:t>Landmark PFS from EOT in patients with CR* at EOT</a:t>
                      </a:r>
                      <a:endParaRPr lang="en-GB" sz="1600" dirty="0"/>
                    </a:p>
                  </a:txBody>
                  <a:tcPr marL="109699" marR="109699" marT="54816" marB="54816" anchor="ctr">
                    <a:lnL w="12700" cap="flat" cmpd="sng">
                      <a:solidFill>
                        <a:schemeClr val="dk2"/>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12700" cap="flat" cmpd="sng">
                      <a:solidFill>
                        <a:schemeClr val="dk2"/>
                      </a:solidFill>
                      <a:prstDash val="solid"/>
                      <a:round/>
                      <a:headEnd type="none" w="sm" len="sm"/>
                      <a:tailEnd type="none" w="sm" len="sm"/>
                    </a:lnT>
                    <a:lnB w="12700" cap="flat" cmpd="sng" algn="ctr">
                      <a:solidFill>
                        <a:schemeClr val="bg2">
                          <a:lumMod val="20000"/>
                          <a:lumOff val="80000"/>
                        </a:schemeClr>
                      </a:solidFill>
                      <a:prstDash val="solid"/>
                      <a:round/>
                      <a:headEnd type="none" w="med" len="med"/>
                      <a:tailEnd type="none" w="med" len="med"/>
                    </a:lnB>
                    <a:solidFill>
                      <a:schemeClr val="dk2"/>
                    </a:solidFill>
                  </a:tcPr>
                </a:tc>
                <a:tc>
                  <a:txBody>
                    <a:bodyPr/>
                    <a:lstStyle/>
                    <a:p>
                      <a:pPr marL="0" marR="0" lvl="0" indent="0" algn="ctr" rtl="0">
                        <a:lnSpc>
                          <a:spcPct val="100000"/>
                        </a:lnSpc>
                        <a:spcBef>
                          <a:spcPts val="0"/>
                        </a:spcBef>
                        <a:spcAft>
                          <a:spcPts val="0"/>
                        </a:spcAft>
                        <a:buClr>
                          <a:schemeClr val="lt1"/>
                        </a:buClr>
                        <a:buSzPts val="1000"/>
                        <a:buFont typeface="Arial"/>
                        <a:buNone/>
                      </a:pPr>
                      <a:r>
                        <a:rPr lang="en" sz="1200" b="1" i="0" u="none" strike="noStrike" cap="none" dirty="0">
                          <a:solidFill>
                            <a:schemeClr val="lt1"/>
                          </a:solidFill>
                          <a:latin typeface="Arial"/>
                          <a:ea typeface="Arial"/>
                          <a:cs typeface="Arial"/>
                          <a:sym typeface="Arial"/>
                        </a:rPr>
                        <a:t>All patients N=61</a:t>
                      </a:r>
                      <a:endParaRPr sz="1200" b="1" i="0" u="none" strike="noStrike" cap="none" dirty="0">
                        <a:solidFill>
                          <a:schemeClr val="lt1"/>
                        </a:solidFill>
                        <a:latin typeface="Arial"/>
                        <a:ea typeface="Arial"/>
                        <a:cs typeface="Arial"/>
                        <a:sym typeface="Arial"/>
                      </a:endParaRPr>
                    </a:p>
                  </a:txBody>
                  <a:tcPr marL="109699" marR="109699" marT="54816" marB="54816" anchor="ctr">
                    <a:lnL w="9525" cap="flat" cmpd="sng" algn="ctr">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chemeClr val="dk2"/>
                      </a:solidFill>
                      <a:prstDash val="solid"/>
                      <a:round/>
                      <a:headEnd type="none" w="sm" len="sm"/>
                      <a:tailEnd type="none" w="sm" len="sm"/>
                    </a:lnT>
                    <a:lnB w="12700" cap="flat" cmpd="sng" algn="ctr">
                      <a:solidFill>
                        <a:schemeClr val="bg2">
                          <a:lumMod val="20000"/>
                          <a:lumOff val="80000"/>
                        </a:schemeClr>
                      </a:solidFill>
                      <a:prstDash val="solid"/>
                      <a:round/>
                      <a:headEnd type="none" w="med" len="med"/>
                      <a:tailEnd type="none" w="med" len="med"/>
                    </a:lnB>
                    <a:solidFill>
                      <a:schemeClr val="dk2"/>
                    </a:solidFill>
                  </a:tcPr>
                </a:tc>
                <a:extLst>
                  <a:ext uri="{0D108BD9-81ED-4DB2-BD59-A6C34878D82A}">
                    <a16:rowId xmlns:a16="http://schemas.microsoft.com/office/drawing/2014/main" val="10000"/>
                  </a:ext>
                </a:extLst>
              </a:tr>
              <a:tr h="350292">
                <a:tc>
                  <a:txBody>
                    <a:bodyPr/>
                    <a:lstStyle/>
                    <a:p>
                      <a:pPr marL="0" marR="0" lvl="0" indent="0" algn="l" defTabSz="684560" rtl="0" eaLnBrk="1" fontAlgn="auto" latinLnBrk="0" hangingPunct="1">
                        <a:lnSpc>
                          <a:spcPct val="100000"/>
                        </a:lnSpc>
                        <a:spcBef>
                          <a:spcPts val="0"/>
                        </a:spcBef>
                        <a:spcAft>
                          <a:spcPts val="0"/>
                        </a:spcAft>
                        <a:buClr>
                          <a:srgbClr val="000000"/>
                        </a:buClr>
                        <a:buSzPts val="1000"/>
                        <a:buFont typeface="Arial"/>
                        <a:buNone/>
                        <a:tabLst/>
                        <a:defRPr/>
                      </a:pPr>
                      <a:r>
                        <a:rPr lang="en-GB" sz="1200" b="1" u="none" strike="noStrike" cap="none" dirty="0"/>
                        <a:t>Median PFS</a:t>
                      </a:r>
                      <a:r>
                        <a:rPr lang="en-GB" sz="1200" b="0" u="none" strike="noStrike" cap="none" dirty="0"/>
                        <a:t>, months (95% CI)</a:t>
                      </a:r>
                      <a:endParaRPr lang="en-GB" sz="1200" b="0" dirty="0"/>
                    </a:p>
                  </a:txBody>
                  <a:tcPr marL="109699" marR="109699" marT="54816" marB="54816" anchor="ctr">
                    <a:lnL w="9525" cap="flat" cmpd="sng">
                      <a:solidFill>
                        <a:srgbClr val="000000">
                          <a:alpha val="0"/>
                        </a:srgbClr>
                      </a:solidFill>
                      <a:prstDash val="solid"/>
                      <a:round/>
                      <a:headEnd type="none" w="sm" len="sm"/>
                      <a:tailEnd type="none" w="sm" len="sm"/>
                    </a:lnL>
                    <a:lnR w="12700" cap="flat" cmpd="sng" algn="ctr">
                      <a:solidFill>
                        <a:schemeClr val="dk2"/>
                      </a:solidFill>
                      <a:prstDash val="solid"/>
                      <a:round/>
                      <a:headEnd type="none" w="sm" len="sm"/>
                      <a:tailEnd type="none" w="sm" len="sm"/>
                    </a:lnR>
                    <a:lnT w="12700" cap="flat" cmpd="sng" algn="ctr">
                      <a:solidFill>
                        <a:schemeClr val="bg2">
                          <a:lumMod val="20000"/>
                          <a:lumOff val="80000"/>
                        </a:schemeClr>
                      </a:solidFill>
                      <a:prstDash val="solid"/>
                      <a:round/>
                      <a:headEnd type="none" w="med" len="med"/>
                      <a:tailEnd type="none" w="med" len="med"/>
                    </a:lnT>
                    <a:lnB w="12700" cap="flat" cmpd="sng">
                      <a:solidFill>
                        <a:srgbClr val="D8D8D8"/>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dirty="0">
                          <a:solidFill>
                            <a:schemeClr val="dk1"/>
                          </a:solidFill>
                        </a:rPr>
                        <a:t>44.1 (23.6, NE)</a:t>
                      </a:r>
                      <a:endParaRPr lang="en-US" sz="1200" b="0" u="none" strike="noStrike" cap="none" dirty="0">
                        <a:solidFill>
                          <a:schemeClr val="dk1"/>
                        </a:solidFill>
                      </a:endParaRPr>
                    </a:p>
                  </a:txBody>
                  <a:tcPr marL="0" marR="0" marT="0" marB="0" anchor="ctr">
                    <a:lnL w="12700" cap="flat" cmpd="sng" algn="ctr">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lgn="ctr">
                      <a:solidFill>
                        <a:schemeClr val="bg2">
                          <a:lumMod val="20000"/>
                          <a:lumOff val="80000"/>
                        </a:schemeClr>
                      </a:solidFill>
                      <a:prstDash val="solid"/>
                      <a:round/>
                      <a:headEnd type="none" w="med" len="med"/>
                      <a:tailEnd type="none" w="med" len="med"/>
                    </a:lnT>
                    <a:lnB w="12700" cap="flat" cmpd="sng">
                      <a:solidFill>
                        <a:srgbClr val="DCDADA"/>
                      </a:solidFill>
                      <a:prstDash val="solid"/>
                      <a:round/>
                      <a:headEnd type="none" w="sm" len="sm"/>
                      <a:tailEnd type="none" w="sm" len="sm"/>
                    </a:lnB>
                    <a:solidFill>
                      <a:schemeClr val="tx2">
                        <a:lumMod val="20000"/>
                        <a:lumOff val="80000"/>
                      </a:schemeClr>
                    </a:solidFill>
                  </a:tcPr>
                </a:tc>
                <a:extLst>
                  <a:ext uri="{0D108BD9-81ED-4DB2-BD59-A6C34878D82A}">
                    <a16:rowId xmlns:a16="http://schemas.microsoft.com/office/drawing/2014/main" val="4252844302"/>
                  </a:ext>
                </a:extLst>
              </a:tr>
            </a:tbl>
          </a:graphicData>
        </a:graphic>
      </p:graphicFrame>
      <p:graphicFrame>
        <p:nvGraphicFramePr>
          <p:cNvPr id="9" name="Google Shape;265;p27">
            <a:extLst>
              <a:ext uri="{FF2B5EF4-FFF2-40B4-BE49-F238E27FC236}">
                <a16:creationId xmlns:a16="http://schemas.microsoft.com/office/drawing/2014/main" id="{3767B643-3A2F-F115-2F8C-CFC93B813379}"/>
              </a:ext>
            </a:extLst>
          </p:cNvPr>
          <p:cNvGraphicFramePr/>
          <p:nvPr/>
        </p:nvGraphicFramePr>
        <p:xfrm>
          <a:off x="6135988" y="4447949"/>
          <a:ext cx="5506294" cy="845039"/>
        </p:xfrm>
        <a:graphic>
          <a:graphicData uri="http://schemas.openxmlformats.org/drawingml/2006/table">
            <a:tbl>
              <a:tblPr>
                <a:gradFill>
                  <a:gsLst>
                    <a:gs pos="0">
                      <a:srgbClr val="FFFFFF"/>
                    </a:gs>
                    <a:gs pos="50000">
                      <a:srgbClr val="FBFBFE"/>
                    </a:gs>
                    <a:gs pos="100000">
                      <a:srgbClr val="FAFBFD"/>
                    </a:gs>
                  </a:gsLst>
                  <a:lin ang="5400012" scaled="0"/>
                </a:gradFill>
              </a:tblPr>
              <a:tblGrid>
                <a:gridCol w="3233855">
                  <a:extLst>
                    <a:ext uri="{9D8B030D-6E8A-4147-A177-3AD203B41FA5}">
                      <a16:colId xmlns:a16="http://schemas.microsoft.com/office/drawing/2014/main" val="20000"/>
                    </a:ext>
                  </a:extLst>
                </a:gridCol>
                <a:gridCol w="2272439">
                  <a:extLst>
                    <a:ext uri="{9D8B030D-6E8A-4147-A177-3AD203B41FA5}">
                      <a16:colId xmlns:a16="http://schemas.microsoft.com/office/drawing/2014/main" val="20001"/>
                    </a:ext>
                  </a:extLst>
                </a:gridCol>
              </a:tblGrid>
              <a:tr h="496268">
                <a:tc>
                  <a:txBody>
                    <a:bodyPr/>
                    <a:lstStyle/>
                    <a:p>
                      <a:pPr marL="0" marR="0" lvl="0" indent="0" algn="l" rtl="0">
                        <a:lnSpc>
                          <a:spcPct val="100000"/>
                        </a:lnSpc>
                        <a:spcBef>
                          <a:spcPts val="0"/>
                        </a:spcBef>
                        <a:spcAft>
                          <a:spcPts val="0"/>
                        </a:spcAft>
                        <a:buClr>
                          <a:srgbClr val="000000"/>
                        </a:buClr>
                        <a:buSzPts val="1000"/>
                        <a:buFont typeface="Arial"/>
                        <a:buNone/>
                      </a:pPr>
                      <a:r>
                        <a:rPr lang="en-GB" sz="1200" b="1" u="none" strike="noStrike" cap="none" dirty="0">
                          <a:solidFill>
                            <a:schemeClr val="lt1"/>
                          </a:solidFill>
                          <a:latin typeface="+mn-lt"/>
                          <a:ea typeface="Arial"/>
                          <a:cs typeface="Arial"/>
                          <a:sym typeface="Arial"/>
                        </a:rPr>
                        <a:t>Landmark OS from EOT in patients with CR* at EOT</a:t>
                      </a:r>
                      <a:endParaRPr lang="en-GB" sz="1600" dirty="0"/>
                    </a:p>
                  </a:txBody>
                  <a:tcPr marL="109699" marR="109699" marT="54816" marB="54816" anchor="ctr">
                    <a:lnL w="12700" cap="flat" cmpd="sng">
                      <a:solidFill>
                        <a:schemeClr val="dk2"/>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12700" cap="flat" cmpd="sng">
                      <a:solidFill>
                        <a:schemeClr val="dk2"/>
                      </a:solidFill>
                      <a:prstDash val="solid"/>
                      <a:round/>
                      <a:headEnd type="none" w="sm" len="sm"/>
                      <a:tailEnd type="none" w="sm" len="sm"/>
                    </a:lnT>
                    <a:lnB w="12700" cap="flat" cmpd="sng" algn="ctr">
                      <a:solidFill>
                        <a:schemeClr val="bg2">
                          <a:lumMod val="20000"/>
                          <a:lumOff val="80000"/>
                        </a:schemeClr>
                      </a:solidFill>
                      <a:prstDash val="solid"/>
                      <a:round/>
                      <a:headEnd type="none" w="med" len="med"/>
                      <a:tailEnd type="none" w="med" len="med"/>
                    </a:lnB>
                    <a:solidFill>
                      <a:schemeClr val="dk2"/>
                    </a:solidFill>
                  </a:tcPr>
                </a:tc>
                <a:tc>
                  <a:txBody>
                    <a:bodyPr/>
                    <a:lstStyle/>
                    <a:p>
                      <a:pPr marL="0" marR="0" lvl="0" indent="0" algn="ctr" rtl="0">
                        <a:lnSpc>
                          <a:spcPct val="100000"/>
                        </a:lnSpc>
                        <a:spcBef>
                          <a:spcPts val="0"/>
                        </a:spcBef>
                        <a:spcAft>
                          <a:spcPts val="0"/>
                        </a:spcAft>
                        <a:buClr>
                          <a:schemeClr val="lt1"/>
                        </a:buClr>
                        <a:buSzPts val="1000"/>
                        <a:buFont typeface="Arial"/>
                        <a:buNone/>
                      </a:pPr>
                      <a:r>
                        <a:rPr lang="en" sz="1200" b="1" i="0" u="none" strike="noStrike" cap="none" dirty="0">
                          <a:solidFill>
                            <a:schemeClr val="lt1"/>
                          </a:solidFill>
                          <a:latin typeface="Arial"/>
                          <a:ea typeface="Arial"/>
                          <a:cs typeface="Arial"/>
                          <a:sym typeface="Arial"/>
                        </a:rPr>
                        <a:t>All patients N=61</a:t>
                      </a:r>
                      <a:endParaRPr sz="1200" b="1" i="0" u="none" strike="noStrike" cap="none" dirty="0">
                        <a:solidFill>
                          <a:schemeClr val="lt1"/>
                        </a:solidFill>
                        <a:latin typeface="Arial"/>
                        <a:ea typeface="Arial"/>
                        <a:cs typeface="Arial"/>
                        <a:sym typeface="Arial"/>
                      </a:endParaRPr>
                    </a:p>
                  </a:txBody>
                  <a:tcPr marL="109699" marR="109699" marT="54816" marB="54816" anchor="ctr">
                    <a:lnL w="9525" cap="flat" cmpd="sng" algn="ctr">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chemeClr val="dk2"/>
                      </a:solidFill>
                      <a:prstDash val="solid"/>
                      <a:round/>
                      <a:headEnd type="none" w="sm" len="sm"/>
                      <a:tailEnd type="none" w="sm" len="sm"/>
                    </a:lnT>
                    <a:lnB w="12700" cap="flat" cmpd="sng" algn="ctr">
                      <a:solidFill>
                        <a:schemeClr val="bg2">
                          <a:lumMod val="20000"/>
                          <a:lumOff val="80000"/>
                        </a:schemeClr>
                      </a:solidFill>
                      <a:prstDash val="solid"/>
                      <a:round/>
                      <a:headEnd type="none" w="med" len="med"/>
                      <a:tailEnd type="none" w="med" len="med"/>
                    </a:lnB>
                    <a:solidFill>
                      <a:schemeClr val="dk2"/>
                    </a:solidFill>
                  </a:tcPr>
                </a:tc>
                <a:extLst>
                  <a:ext uri="{0D108BD9-81ED-4DB2-BD59-A6C34878D82A}">
                    <a16:rowId xmlns:a16="http://schemas.microsoft.com/office/drawing/2014/main" val="10000"/>
                  </a:ext>
                </a:extLst>
              </a:tr>
              <a:tr h="348771">
                <a:tc>
                  <a:txBody>
                    <a:bodyPr/>
                    <a:lstStyle/>
                    <a:p>
                      <a:pPr marL="0" marR="0" lvl="0" indent="0" algn="l" defTabSz="684560" rtl="0" eaLnBrk="1" fontAlgn="auto" latinLnBrk="0" hangingPunct="1">
                        <a:lnSpc>
                          <a:spcPct val="100000"/>
                        </a:lnSpc>
                        <a:spcBef>
                          <a:spcPts val="0"/>
                        </a:spcBef>
                        <a:spcAft>
                          <a:spcPts val="0"/>
                        </a:spcAft>
                        <a:buClr>
                          <a:srgbClr val="000000"/>
                        </a:buClr>
                        <a:buSzPts val="1000"/>
                        <a:buFont typeface="Arial"/>
                        <a:buNone/>
                        <a:tabLst/>
                        <a:defRPr/>
                      </a:pPr>
                      <a:r>
                        <a:rPr lang="en-GB" sz="1200" b="1" u="none" strike="noStrike" cap="none" dirty="0"/>
                        <a:t>Median OS</a:t>
                      </a:r>
                      <a:r>
                        <a:rPr lang="en-GB" sz="1200" b="0" u="none" strike="noStrike" cap="none" dirty="0"/>
                        <a:t>, months (95% CI)</a:t>
                      </a:r>
                      <a:endParaRPr lang="en-GB" sz="1200" b="0" dirty="0"/>
                    </a:p>
                  </a:txBody>
                  <a:tcPr marL="109699" marR="109699" marT="54816" marB="54816" anchor="ctr">
                    <a:lnL w="9525" cap="flat" cmpd="sng">
                      <a:solidFill>
                        <a:srgbClr val="000000">
                          <a:alpha val="0"/>
                        </a:srgbClr>
                      </a:solidFill>
                      <a:prstDash val="solid"/>
                      <a:round/>
                      <a:headEnd type="none" w="sm" len="sm"/>
                      <a:tailEnd type="none" w="sm" len="sm"/>
                    </a:lnL>
                    <a:lnR w="12700" cap="flat" cmpd="sng" algn="ctr">
                      <a:solidFill>
                        <a:schemeClr val="dk2"/>
                      </a:solidFill>
                      <a:prstDash val="solid"/>
                      <a:round/>
                      <a:headEnd type="none" w="sm" len="sm"/>
                      <a:tailEnd type="none" w="sm" len="sm"/>
                    </a:lnR>
                    <a:lnT w="12700" cap="flat" cmpd="sng" algn="ctr">
                      <a:solidFill>
                        <a:schemeClr val="bg2">
                          <a:lumMod val="20000"/>
                          <a:lumOff val="80000"/>
                        </a:schemeClr>
                      </a:solidFill>
                      <a:prstDash val="solid"/>
                      <a:round/>
                      <a:headEnd type="none" w="med" len="med"/>
                      <a:tailEnd type="none" w="med" len="med"/>
                    </a:lnT>
                    <a:lnB w="12700" cap="flat" cmpd="sng">
                      <a:solidFill>
                        <a:srgbClr val="D8D8D8"/>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00"/>
                        <a:buFont typeface="Arial"/>
                        <a:buNone/>
                      </a:pPr>
                      <a:r>
                        <a:rPr lang="en" sz="1200" dirty="0"/>
                        <a:t>NE </a:t>
                      </a:r>
                      <a:r>
                        <a:rPr lang="en-US" sz="1200" i="0" u="none" strike="noStrike" cap="none" dirty="0">
                          <a:latin typeface="+mn-lt"/>
                          <a:ea typeface="Arial"/>
                          <a:cs typeface="Arial"/>
                          <a:sym typeface="Arial"/>
                        </a:rPr>
                        <a:t>(</a:t>
                      </a:r>
                      <a:r>
                        <a:rPr lang="en-US" sz="1200" dirty="0"/>
                        <a:t>NE, NE</a:t>
                      </a:r>
                      <a:r>
                        <a:rPr lang="en-US" sz="1200" i="0" u="none" strike="noStrike" cap="none" dirty="0">
                          <a:latin typeface="+mn-lt"/>
                          <a:ea typeface="Arial"/>
                          <a:cs typeface="Arial"/>
                          <a:sym typeface="Arial"/>
                        </a:rPr>
                        <a:t>)</a:t>
                      </a:r>
                      <a:endParaRPr sz="1200" dirty="0"/>
                    </a:p>
                  </a:txBody>
                  <a:tcPr marL="0" marR="0" marT="0" marB="0" anchor="ctr">
                    <a:lnL w="12700" cap="flat" cmpd="sng" algn="ctr">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lgn="ctr">
                      <a:solidFill>
                        <a:schemeClr val="bg2">
                          <a:lumMod val="20000"/>
                          <a:lumOff val="80000"/>
                        </a:schemeClr>
                      </a:solidFill>
                      <a:prstDash val="solid"/>
                      <a:round/>
                      <a:headEnd type="none" w="med" len="med"/>
                      <a:tailEnd type="none" w="med" len="med"/>
                    </a:lnT>
                    <a:lnB w="12700" cap="flat" cmpd="sng">
                      <a:solidFill>
                        <a:srgbClr val="DCDADA"/>
                      </a:solidFill>
                      <a:prstDash val="solid"/>
                      <a:round/>
                      <a:headEnd type="none" w="sm" len="sm"/>
                      <a:tailEnd type="none" w="sm" len="sm"/>
                    </a:lnB>
                    <a:solidFill>
                      <a:schemeClr val="tx2">
                        <a:lumMod val="20000"/>
                        <a:lumOff val="80000"/>
                      </a:schemeClr>
                    </a:solidFill>
                  </a:tcPr>
                </a:tc>
                <a:extLst>
                  <a:ext uri="{0D108BD9-81ED-4DB2-BD59-A6C34878D82A}">
                    <a16:rowId xmlns:a16="http://schemas.microsoft.com/office/drawing/2014/main" val="1963069303"/>
                  </a:ext>
                </a:extLst>
              </a:tr>
            </a:tbl>
          </a:graphicData>
        </a:graphic>
      </p:graphicFrame>
      <p:sp>
        <p:nvSpPr>
          <p:cNvPr id="10" name="Google Shape;269;p27">
            <a:extLst>
              <a:ext uri="{FF2B5EF4-FFF2-40B4-BE49-F238E27FC236}">
                <a16:creationId xmlns:a16="http://schemas.microsoft.com/office/drawing/2014/main" id="{5CBB9CA1-2173-ADC6-50EA-CACEF163C657}"/>
              </a:ext>
            </a:extLst>
          </p:cNvPr>
          <p:cNvSpPr/>
          <p:nvPr/>
        </p:nvSpPr>
        <p:spPr>
          <a:xfrm>
            <a:off x="539352" y="1617760"/>
            <a:ext cx="5528258" cy="2731313"/>
          </a:xfrm>
          <a:prstGeom prst="rect">
            <a:avLst/>
          </a:prstGeom>
          <a:noFill/>
          <a:ln w="12700" cap="flat" cmpd="sng">
            <a:solidFill>
              <a:schemeClr val="dk2"/>
            </a:solidFill>
            <a:prstDash val="solid"/>
            <a:round/>
            <a:headEnd type="none" w="sm" len="sm"/>
            <a:tailEnd type="none" w="sm" len="sm"/>
          </a:ln>
        </p:spPr>
        <p:txBody>
          <a:bodyPr spcFirstLastPara="1" wrap="square" lIns="121862" tIns="60915" rIns="121862" bIns="60915" anchor="ctr" anchorCtr="0">
            <a:noAutofit/>
          </a:bodyPr>
          <a:lstStyle/>
          <a:p>
            <a:pPr marL="0" marR="0" lvl="0" indent="0" algn="ctr" defTabSz="914400" rtl="0" eaLnBrk="0" fontAlgn="base" latinLnBrk="0" hangingPunct="0">
              <a:lnSpc>
                <a:spcPct val="100000"/>
              </a:lnSpc>
              <a:spcBef>
                <a:spcPts val="0"/>
              </a:spcBef>
              <a:spcAft>
                <a:spcPts val="0"/>
              </a:spcAft>
              <a:buClr>
                <a:srgbClr val="FFFFFF"/>
              </a:buClr>
              <a:buSzPts val="1600"/>
              <a:buFontTx/>
              <a:buNone/>
              <a:tabLst/>
              <a:defRPr/>
            </a:pPr>
            <a:endParaRPr kumimoji="0" sz="2133" b="0" i="1"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15" name="Google Shape;270;p27">
            <a:extLst>
              <a:ext uri="{FF2B5EF4-FFF2-40B4-BE49-F238E27FC236}">
                <a16:creationId xmlns:a16="http://schemas.microsoft.com/office/drawing/2014/main" id="{992717ED-9605-56D5-42B4-67B184F17B71}"/>
              </a:ext>
            </a:extLst>
          </p:cNvPr>
          <p:cNvSpPr/>
          <p:nvPr/>
        </p:nvSpPr>
        <p:spPr>
          <a:xfrm>
            <a:off x="6127198" y="1496071"/>
            <a:ext cx="5517890" cy="2860101"/>
          </a:xfrm>
          <a:prstGeom prst="rect">
            <a:avLst/>
          </a:prstGeom>
          <a:noFill/>
          <a:ln w="12700" cap="flat" cmpd="sng">
            <a:solidFill>
              <a:schemeClr val="dk2"/>
            </a:solidFill>
            <a:prstDash val="solid"/>
            <a:round/>
            <a:headEnd type="none" w="sm" len="sm"/>
            <a:tailEnd type="none" w="sm" len="sm"/>
          </a:ln>
        </p:spPr>
        <p:txBody>
          <a:bodyPr spcFirstLastPara="1" wrap="square" lIns="121862" tIns="60915" rIns="121862" bIns="60915" anchor="ctr" anchorCtr="0">
            <a:noAutofit/>
          </a:bodyPr>
          <a:lstStyle/>
          <a:p>
            <a:pPr marL="0" marR="0" lvl="0" indent="0" algn="ctr" defTabSz="914400" rtl="0" eaLnBrk="0" fontAlgn="base" latinLnBrk="0" hangingPunct="0">
              <a:lnSpc>
                <a:spcPct val="100000"/>
              </a:lnSpc>
              <a:spcBef>
                <a:spcPts val="0"/>
              </a:spcBef>
              <a:spcAft>
                <a:spcPts val="0"/>
              </a:spcAft>
              <a:buClr>
                <a:srgbClr val="FFFFFF"/>
              </a:buClr>
              <a:buSzPts val="1600"/>
              <a:buFontTx/>
              <a:buNone/>
              <a:tabLst/>
              <a:defRPr/>
            </a:pPr>
            <a:endParaRPr kumimoji="0" sz="2133" b="0" i="1"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19" name="Google Shape;260;p27">
            <a:extLst>
              <a:ext uri="{FF2B5EF4-FFF2-40B4-BE49-F238E27FC236}">
                <a16:creationId xmlns:a16="http://schemas.microsoft.com/office/drawing/2014/main" id="{02CF842E-2C07-07EB-D0CC-81582BE4172D}"/>
              </a:ext>
            </a:extLst>
          </p:cNvPr>
          <p:cNvSpPr/>
          <p:nvPr/>
        </p:nvSpPr>
        <p:spPr>
          <a:xfrm>
            <a:off x="6133185" y="1360297"/>
            <a:ext cx="5509098" cy="331098"/>
          </a:xfrm>
          <a:prstGeom prst="round1Rect">
            <a:avLst>
              <a:gd name="adj" fmla="val 16667"/>
            </a:avLst>
          </a:prstGeom>
          <a:solidFill>
            <a:schemeClr val="dk2"/>
          </a:solidFill>
          <a:ln w="25400" cap="flat" cmpd="sng">
            <a:solidFill>
              <a:schemeClr val="dk2"/>
            </a:solidFill>
            <a:prstDash val="solid"/>
            <a:round/>
            <a:headEnd type="none" w="sm" len="sm"/>
            <a:tailEnd type="none" w="sm" len="sm"/>
          </a:ln>
        </p:spPr>
        <p:txBody>
          <a:bodyPr spcFirstLastPara="1" wrap="square" lIns="121862" tIns="60915" rIns="121862" bIns="60915" anchor="ctr" anchorCtr="0">
            <a:noAutofit/>
          </a:bodyPr>
          <a:lstStyle/>
          <a:p>
            <a:pPr marL="0" marR="0" lvl="0" indent="0" algn="ctr" defTabSz="914400" rtl="0" eaLnBrk="0" fontAlgn="base" latinLnBrk="0" hangingPunct="0">
              <a:lnSpc>
                <a:spcPct val="100000"/>
              </a:lnSpc>
              <a:spcBef>
                <a:spcPts val="0"/>
              </a:spcBef>
              <a:spcAft>
                <a:spcPts val="0"/>
              </a:spcAft>
              <a:buClr>
                <a:srgbClr val="FFFFFF"/>
              </a:buClr>
              <a:buSzPts val="1200"/>
              <a:buFontTx/>
              <a:buNone/>
              <a:tabLst/>
              <a:defRPr/>
            </a:pPr>
            <a:r>
              <a:rPr kumimoji="0" lang="en" sz="1599" b="1" i="0" u="none" strike="noStrike" kern="1200" cap="none" spc="0" normalizeH="0" baseline="0" noProof="0" dirty="0">
                <a:ln>
                  <a:noFill/>
                </a:ln>
                <a:solidFill>
                  <a:srgbClr val="FFFFFF"/>
                </a:solidFill>
                <a:effectLst/>
                <a:uLnTx/>
                <a:uFillTx/>
                <a:latin typeface="Arial"/>
                <a:ea typeface="Arial"/>
                <a:cs typeface="Arial"/>
                <a:sym typeface="Arial"/>
              </a:rPr>
              <a:t>OS </a:t>
            </a:r>
            <a:r>
              <a:rPr kumimoji="0" lang="en" sz="1599" b="1" i="0" u="none" strike="noStrike" kern="1200" cap="none" spc="0" normalizeH="0" baseline="0" noProof="0">
                <a:ln>
                  <a:noFill/>
                </a:ln>
                <a:solidFill>
                  <a:srgbClr val="FFFFFF"/>
                </a:solidFill>
                <a:effectLst/>
                <a:uLnTx/>
                <a:uFillTx/>
                <a:latin typeface="Arial"/>
                <a:ea typeface="Arial"/>
                <a:cs typeface="Arial"/>
                <a:sym typeface="Arial"/>
              </a:rPr>
              <a:t>post EOT</a:t>
            </a:r>
            <a:endParaRPr kumimoji="0" sz="1599" b="1"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20" name="Google Shape;259;p27">
            <a:extLst>
              <a:ext uri="{FF2B5EF4-FFF2-40B4-BE49-F238E27FC236}">
                <a16:creationId xmlns:a16="http://schemas.microsoft.com/office/drawing/2014/main" id="{60009D11-3DCA-E93E-8D53-AFDEDA68D535}"/>
              </a:ext>
            </a:extLst>
          </p:cNvPr>
          <p:cNvSpPr/>
          <p:nvPr/>
        </p:nvSpPr>
        <p:spPr>
          <a:xfrm>
            <a:off x="549717" y="1360297"/>
            <a:ext cx="5515087" cy="331098"/>
          </a:xfrm>
          <a:prstGeom prst="round1Rect">
            <a:avLst>
              <a:gd name="adj" fmla="val 16667"/>
            </a:avLst>
          </a:prstGeom>
          <a:solidFill>
            <a:schemeClr val="dk2"/>
          </a:solidFill>
          <a:ln w="25400" cap="flat" cmpd="sng">
            <a:solidFill>
              <a:schemeClr val="dk2"/>
            </a:solidFill>
            <a:prstDash val="solid"/>
            <a:round/>
            <a:headEnd type="none" w="sm" len="sm"/>
            <a:tailEnd type="none" w="sm" len="sm"/>
          </a:ln>
        </p:spPr>
        <p:txBody>
          <a:bodyPr spcFirstLastPara="1" wrap="square" lIns="121862" tIns="60915" rIns="121862" bIns="60915" anchor="ctr" anchorCtr="0">
            <a:noAutofit/>
          </a:bodyPr>
          <a:lstStyle/>
          <a:p>
            <a:pPr marL="0" marR="0" lvl="0" indent="0" algn="ctr" defTabSz="914400" rtl="0" eaLnBrk="0" fontAlgn="base" latinLnBrk="0" hangingPunct="0">
              <a:lnSpc>
                <a:spcPct val="100000"/>
              </a:lnSpc>
              <a:spcBef>
                <a:spcPts val="0"/>
              </a:spcBef>
              <a:spcAft>
                <a:spcPts val="0"/>
              </a:spcAft>
              <a:buClr>
                <a:srgbClr val="FFFFFF"/>
              </a:buClr>
              <a:buSzPts val="1200"/>
              <a:buFontTx/>
              <a:buNone/>
              <a:tabLst/>
              <a:defRPr/>
            </a:pPr>
            <a:r>
              <a:rPr kumimoji="0" lang="en" sz="1599" b="1" i="0" u="none" strike="noStrike" kern="1200" cap="none" spc="0" normalizeH="0" baseline="0" noProof="0" dirty="0">
                <a:ln>
                  <a:noFill/>
                </a:ln>
                <a:solidFill>
                  <a:srgbClr val="FFFFFF"/>
                </a:solidFill>
                <a:effectLst/>
                <a:uLnTx/>
                <a:uFillTx/>
                <a:latin typeface="Arial"/>
                <a:ea typeface="Arial"/>
                <a:cs typeface="Arial"/>
                <a:sym typeface="Arial"/>
              </a:rPr>
              <a:t>PFS* post EOT</a:t>
            </a:r>
            <a:endParaRPr kumimoji="0" sz="1599" b="1"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206" name="TextBox 205">
            <a:extLst>
              <a:ext uri="{FF2B5EF4-FFF2-40B4-BE49-F238E27FC236}">
                <a16:creationId xmlns:a16="http://schemas.microsoft.com/office/drawing/2014/main" id="{98775416-FF5B-8416-A081-8167E4B91828}"/>
              </a:ext>
            </a:extLst>
          </p:cNvPr>
          <p:cNvSpPr txBox="1"/>
          <p:nvPr/>
        </p:nvSpPr>
        <p:spPr>
          <a:xfrm>
            <a:off x="1541488" y="2930279"/>
            <a:ext cx="817853" cy="25635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CR (n=31)</a:t>
            </a:r>
          </a:p>
        </p:txBody>
      </p:sp>
      <p:sp>
        <p:nvSpPr>
          <p:cNvPr id="362" name="TextBox 361">
            <a:extLst>
              <a:ext uri="{FF2B5EF4-FFF2-40B4-BE49-F238E27FC236}">
                <a16:creationId xmlns:a16="http://schemas.microsoft.com/office/drawing/2014/main" id="{06266236-5DE5-86A9-36E3-49F244377692}"/>
              </a:ext>
            </a:extLst>
          </p:cNvPr>
          <p:cNvSpPr txBox="1"/>
          <p:nvPr/>
        </p:nvSpPr>
        <p:spPr>
          <a:xfrm>
            <a:off x="813761" y="3994429"/>
            <a:ext cx="303288" cy="194797"/>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666" b="1"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PR</a:t>
            </a:r>
          </a:p>
        </p:txBody>
      </p:sp>
      <p:grpSp>
        <p:nvGrpSpPr>
          <p:cNvPr id="194" name="Graphic 4">
            <a:extLst>
              <a:ext uri="{FF2B5EF4-FFF2-40B4-BE49-F238E27FC236}">
                <a16:creationId xmlns:a16="http://schemas.microsoft.com/office/drawing/2014/main" id="{D05DAADD-DF97-44DD-A0BA-A79E3CAE81C2}"/>
              </a:ext>
            </a:extLst>
          </p:cNvPr>
          <p:cNvGrpSpPr/>
          <p:nvPr/>
        </p:nvGrpSpPr>
        <p:grpSpPr>
          <a:xfrm>
            <a:off x="968469" y="1752714"/>
            <a:ext cx="386644" cy="1966647"/>
            <a:chOff x="2245422" y="2502825"/>
            <a:chExt cx="285800" cy="1403426"/>
          </a:xfrm>
          <a:solidFill>
            <a:srgbClr val="000000"/>
          </a:solidFill>
        </p:grpSpPr>
        <p:sp>
          <p:nvSpPr>
            <p:cNvPr id="195" name="TextBox 194">
              <a:extLst>
                <a:ext uri="{FF2B5EF4-FFF2-40B4-BE49-F238E27FC236}">
                  <a16:creationId xmlns:a16="http://schemas.microsoft.com/office/drawing/2014/main" id="{227379DA-11D1-1353-F3AD-9DAD890DCDDA}"/>
                </a:ext>
              </a:extLst>
            </p:cNvPr>
            <p:cNvSpPr txBox="1"/>
            <p:nvPr/>
          </p:nvSpPr>
          <p:spPr>
            <a:xfrm>
              <a:off x="2245422" y="2502825"/>
              <a:ext cx="285800" cy="168340"/>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00</a:t>
              </a:r>
            </a:p>
          </p:txBody>
        </p:sp>
        <p:sp>
          <p:nvSpPr>
            <p:cNvPr id="196" name="TextBox 195">
              <a:extLst>
                <a:ext uri="{FF2B5EF4-FFF2-40B4-BE49-F238E27FC236}">
                  <a16:creationId xmlns:a16="http://schemas.microsoft.com/office/drawing/2014/main" id="{7C932979-C257-1B66-6A00-CF2147E64294}"/>
                </a:ext>
              </a:extLst>
            </p:cNvPr>
            <p:cNvSpPr txBox="1"/>
            <p:nvPr/>
          </p:nvSpPr>
          <p:spPr>
            <a:xfrm>
              <a:off x="2295060" y="2748495"/>
              <a:ext cx="236034" cy="168340"/>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80</a:t>
              </a:r>
            </a:p>
          </p:txBody>
        </p:sp>
        <p:sp>
          <p:nvSpPr>
            <p:cNvPr id="197" name="TextBox 196">
              <a:extLst>
                <a:ext uri="{FF2B5EF4-FFF2-40B4-BE49-F238E27FC236}">
                  <a16:creationId xmlns:a16="http://schemas.microsoft.com/office/drawing/2014/main" id="{67FFABA1-0B59-012F-2FBF-B675762CE34C}"/>
                </a:ext>
              </a:extLst>
            </p:cNvPr>
            <p:cNvSpPr txBox="1"/>
            <p:nvPr/>
          </p:nvSpPr>
          <p:spPr>
            <a:xfrm>
              <a:off x="2295060" y="2995563"/>
              <a:ext cx="236034" cy="168340"/>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60</a:t>
              </a:r>
            </a:p>
          </p:txBody>
        </p:sp>
        <p:sp>
          <p:nvSpPr>
            <p:cNvPr id="198" name="TextBox 197">
              <a:extLst>
                <a:ext uri="{FF2B5EF4-FFF2-40B4-BE49-F238E27FC236}">
                  <a16:creationId xmlns:a16="http://schemas.microsoft.com/office/drawing/2014/main" id="{4B4628C8-DB65-64D1-6D04-ED6DCE28BE8C}"/>
                </a:ext>
              </a:extLst>
            </p:cNvPr>
            <p:cNvSpPr txBox="1"/>
            <p:nvPr/>
          </p:nvSpPr>
          <p:spPr>
            <a:xfrm>
              <a:off x="2295060" y="3242631"/>
              <a:ext cx="236034" cy="168340"/>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0</a:t>
              </a:r>
            </a:p>
          </p:txBody>
        </p:sp>
        <p:sp>
          <p:nvSpPr>
            <p:cNvPr id="199" name="TextBox 198">
              <a:extLst>
                <a:ext uri="{FF2B5EF4-FFF2-40B4-BE49-F238E27FC236}">
                  <a16:creationId xmlns:a16="http://schemas.microsoft.com/office/drawing/2014/main" id="{81E46B11-B03F-3431-DD46-3F08EF7651C6}"/>
                </a:ext>
              </a:extLst>
            </p:cNvPr>
            <p:cNvSpPr txBox="1"/>
            <p:nvPr/>
          </p:nvSpPr>
          <p:spPr>
            <a:xfrm>
              <a:off x="2295060" y="3489572"/>
              <a:ext cx="236034" cy="168340"/>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0</a:t>
              </a:r>
            </a:p>
          </p:txBody>
        </p:sp>
        <p:sp>
          <p:nvSpPr>
            <p:cNvPr id="200" name="TextBox 199">
              <a:extLst>
                <a:ext uri="{FF2B5EF4-FFF2-40B4-BE49-F238E27FC236}">
                  <a16:creationId xmlns:a16="http://schemas.microsoft.com/office/drawing/2014/main" id="{1AB7815E-0C40-9DE4-5A6B-569808A5090A}"/>
                </a:ext>
              </a:extLst>
            </p:cNvPr>
            <p:cNvSpPr txBox="1"/>
            <p:nvPr/>
          </p:nvSpPr>
          <p:spPr>
            <a:xfrm>
              <a:off x="2344573" y="3737911"/>
              <a:ext cx="186268" cy="168340"/>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0</a:t>
              </a:r>
            </a:p>
          </p:txBody>
        </p:sp>
      </p:grpSp>
      <p:sp>
        <p:nvSpPr>
          <p:cNvPr id="201" name="Freeform 22">
            <a:extLst>
              <a:ext uri="{FF2B5EF4-FFF2-40B4-BE49-F238E27FC236}">
                <a16:creationId xmlns:a16="http://schemas.microsoft.com/office/drawing/2014/main" id="{3C0C2705-4B8B-C943-43B2-BB998A8CD58A}"/>
              </a:ext>
            </a:extLst>
          </p:cNvPr>
          <p:cNvSpPr/>
          <p:nvPr/>
        </p:nvSpPr>
        <p:spPr>
          <a:xfrm>
            <a:off x="1358284" y="3210688"/>
            <a:ext cx="250511" cy="17809"/>
          </a:xfrm>
          <a:custGeom>
            <a:avLst/>
            <a:gdLst>
              <a:gd name="csX0" fmla="*/ 0 w 185173"/>
              <a:gd name="csY0" fmla="*/ 0 h 12709"/>
              <a:gd name="csX1" fmla="*/ 185174 w 185173"/>
              <a:gd name="csY1" fmla="*/ 0 h 12709"/>
            </a:gdLst>
            <a:ahLst/>
            <a:cxnLst>
              <a:cxn ang="0">
                <a:pos x="csX0" y="csY0"/>
              </a:cxn>
              <a:cxn ang="0">
                <a:pos x="csX1" y="csY1"/>
              </a:cxn>
            </a:cxnLst>
            <a:rect l="l" t="t" r="r" b="b"/>
            <a:pathLst>
              <a:path w="185173" h="12709">
                <a:moveTo>
                  <a:pt x="0" y="0"/>
                </a:moveTo>
                <a:lnTo>
                  <a:pt x="185174" y="0"/>
                </a:lnTo>
              </a:path>
            </a:pathLst>
          </a:custGeom>
          <a:ln w="19058" cap="flat">
            <a:solidFill>
              <a:schemeClr val="accent3">
                <a:lumMod val="20000"/>
                <a:lumOff val="80000"/>
              </a:schemeClr>
            </a:solidFill>
            <a:prstDash val="sysDash"/>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2" name="Freeform 23">
            <a:extLst>
              <a:ext uri="{FF2B5EF4-FFF2-40B4-BE49-F238E27FC236}">
                <a16:creationId xmlns:a16="http://schemas.microsoft.com/office/drawing/2014/main" id="{B8381CD5-A470-8350-3AA6-3DE1B11B144C}"/>
              </a:ext>
            </a:extLst>
          </p:cNvPr>
          <p:cNvSpPr/>
          <p:nvPr/>
        </p:nvSpPr>
        <p:spPr>
          <a:xfrm>
            <a:off x="1445284" y="3492649"/>
            <a:ext cx="76511" cy="17809"/>
          </a:xfrm>
          <a:custGeom>
            <a:avLst/>
            <a:gdLst>
              <a:gd name="csX0" fmla="*/ 0 w 56556"/>
              <a:gd name="csY0" fmla="*/ 0 h 12709"/>
              <a:gd name="csX1" fmla="*/ 56556 w 56556"/>
              <a:gd name="csY1" fmla="*/ 0 h 12709"/>
            </a:gdLst>
            <a:ahLst/>
            <a:cxnLst>
              <a:cxn ang="0">
                <a:pos x="csX0" y="csY0"/>
              </a:cxn>
              <a:cxn ang="0">
                <a:pos x="csX1" y="csY1"/>
              </a:cxn>
            </a:cxnLst>
            <a:rect l="l" t="t" r="r" b="b"/>
            <a:pathLst>
              <a:path w="56556" h="12709">
                <a:moveTo>
                  <a:pt x="0" y="0"/>
                </a:moveTo>
                <a:lnTo>
                  <a:pt x="56556" y="0"/>
                </a:lnTo>
              </a:path>
            </a:pathLst>
          </a:custGeom>
          <a:ln w="9529" cap="flat">
            <a:solidFill>
              <a:srgbClr val="000000"/>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3" name="Freeform 25">
            <a:extLst>
              <a:ext uri="{FF2B5EF4-FFF2-40B4-BE49-F238E27FC236}">
                <a16:creationId xmlns:a16="http://schemas.microsoft.com/office/drawing/2014/main" id="{91FFC419-DFFF-A49A-22F0-BB009A7C21DC}"/>
              </a:ext>
            </a:extLst>
          </p:cNvPr>
          <p:cNvSpPr/>
          <p:nvPr/>
        </p:nvSpPr>
        <p:spPr>
          <a:xfrm>
            <a:off x="1483455" y="3451152"/>
            <a:ext cx="17193" cy="82993"/>
          </a:xfrm>
          <a:custGeom>
            <a:avLst/>
            <a:gdLst>
              <a:gd name="csX0" fmla="*/ 0 w 12709"/>
              <a:gd name="csY0" fmla="*/ 0 h 59225"/>
              <a:gd name="csX1" fmla="*/ 0 w 12709"/>
              <a:gd name="csY1" fmla="*/ 59225 h 59225"/>
            </a:gdLst>
            <a:ahLst/>
            <a:cxnLst>
              <a:cxn ang="0">
                <a:pos x="csX0" y="csY0"/>
              </a:cxn>
              <a:cxn ang="0">
                <a:pos x="csX1" y="csY1"/>
              </a:cxn>
            </a:cxnLst>
            <a:rect l="l" t="t" r="r" b="b"/>
            <a:pathLst>
              <a:path w="12709" h="59225">
                <a:moveTo>
                  <a:pt x="0" y="0"/>
                </a:moveTo>
                <a:lnTo>
                  <a:pt x="0" y="59225"/>
                </a:lnTo>
              </a:path>
            </a:pathLst>
          </a:custGeom>
          <a:ln w="9529" cap="flat">
            <a:solidFill>
              <a:srgbClr val="000000"/>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4" name="TextBox 203">
            <a:extLst>
              <a:ext uri="{FF2B5EF4-FFF2-40B4-BE49-F238E27FC236}">
                <a16:creationId xmlns:a16="http://schemas.microsoft.com/office/drawing/2014/main" id="{22E7CCFE-6260-F52D-6E63-1D2E31B70DA0}"/>
              </a:ext>
            </a:extLst>
          </p:cNvPr>
          <p:cNvSpPr txBox="1"/>
          <p:nvPr/>
        </p:nvSpPr>
        <p:spPr>
          <a:xfrm>
            <a:off x="1541487" y="3065268"/>
            <a:ext cx="734496" cy="25635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PR (n=2)</a:t>
            </a:r>
          </a:p>
        </p:txBody>
      </p:sp>
      <p:sp>
        <p:nvSpPr>
          <p:cNvPr id="205" name="Freeform 29">
            <a:extLst>
              <a:ext uri="{FF2B5EF4-FFF2-40B4-BE49-F238E27FC236}">
                <a16:creationId xmlns:a16="http://schemas.microsoft.com/office/drawing/2014/main" id="{FA604A33-BD08-3CAC-025D-ADF5AEA8FA8B}"/>
              </a:ext>
            </a:extLst>
          </p:cNvPr>
          <p:cNvSpPr/>
          <p:nvPr/>
        </p:nvSpPr>
        <p:spPr>
          <a:xfrm>
            <a:off x="1358284" y="3075698"/>
            <a:ext cx="250511" cy="17809"/>
          </a:xfrm>
          <a:custGeom>
            <a:avLst/>
            <a:gdLst>
              <a:gd name="csX0" fmla="*/ 0 w 185173"/>
              <a:gd name="csY0" fmla="*/ 0 h 12709"/>
              <a:gd name="csX1" fmla="*/ 185174 w 185173"/>
              <a:gd name="csY1" fmla="*/ 0 h 12709"/>
            </a:gdLst>
            <a:ahLst/>
            <a:cxnLst>
              <a:cxn ang="0">
                <a:pos x="csX0" y="csY0"/>
              </a:cxn>
              <a:cxn ang="0">
                <a:pos x="csX1" y="csY1"/>
              </a:cxn>
            </a:cxnLst>
            <a:rect l="l" t="t" r="r" b="b"/>
            <a:pathLst>
              <a:path w="185173" h="12709">
                <a:moveTo>
                  <a:pt x="0" y="0"/>
                </a:moveTo>
                <a:lnTo>
                  <a:pt x="185174" y="0"/>
                </a:lnTo>
              </a:path>
            </a:pathLst>
          </a:custGeom>
          <a:ln w="19058"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7" name="TextBox 206">
            <a:extLst>
              <a:ext uri="{FF2B5EF4-FFF2-40B4-BE49-F238E27FC236}">
                <a16:creationId xmlns:a16="http://schemas.microsoft.com/office/drawing/2014/main" id="{E1945D90-24C8-1741-2BD3-7A99BA94D88A}"/>
              </a:ext>
            </a:extLst>
          </p:cNvPr>
          <p:cNvSpPr txBox="1"/>
          <p:nvPr/>
        </p:nvSpPr>
        <p:spPr>
          <a:xfrm>
            <a:off x="1541488" y="3343489"/>
            <a:ext cx="774571" cy="25635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Censored</a:t>
            </a:r>
          </a:p>
        </p:txBody>
      </p:sp>
      <p:sp>
        <p:nvSpPr>
          <p:cNvPr id="208" name="TextBox 207">
            <a:extLst>
              <a:ext uri="{FF2B5EF4-FFF2-40B4-BE49-F238E27FC236}">
                <a16:creationId xmlns:a16="http://schemas.microsoft.com/office/drawing/2014/main" id="{56122578-825E-1C52-1051-2F241AC9C201}"/>
              </a:ext>
            </a:extLst>
          </p:cNvPr>
          <p:cNvSpPr txBox="1"/>
          <p:nvPr/>
        </p:nvSpPr>
        <p:spPr>
          <a:xfrm>
            <a:off x="2938577" y="3722115"/>
            <a:ext cx="1261884" cy="23589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Months (post EOT)</a:t>
            </a:r>
          </a:p>
        </p:txBody>
      </p:sp>
      <p:sp>
        <p:nvSpPr>
          <p:cNvPr id="209" name="TextBox 208">
            <a:extLst>
              <a:ext uri="{FF2B5EF4-FFF2-40B4-BE49-F238E27FC236}">
                <a16:creationId xmlns:a16="http://schemas.microsoft.com/office/drawing/2014/main" id="{BEF33470-2584-01AE-965B-FDB34A49B896}"/>
              </a:ext>
            </a:extLst>
          </p:cNvPr>
          <p:cNvSpPr txBox="1"/>
          <p:nvPr/>
        </p:nvSpPr>
        <p:spPr>
          <a:xfrm rot="16200000">
            <a:off x="253843" y="2632464"/>
            <a:ext cx="1289134" cy="23589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PFS probability (%)</a:t>
            </a:r>
          </a:p>
        </p:txBody>
      </p:sp>
      <p:grpSp>
        <p:nvGrpSpPr>
          <p:cNvPr id="210" name="Graphic 4">
            <a:extLst>
              <a:ext uri="{FF2B5EF4-FFF2-40B4-BE49-F238E27FC236}">
                <a16:creationId xmlns:a16="http://schemas.microsoft.com/office/drawing/2014/main" id="{14BDB371-3F73-CD98-F961-1C82052E9B82}"/>
              </a:ext>
            </a:extLst>
          </p:cNvPr>
          <p:cNvGrpSpPr/>
          <p:nvPr/>
        </p:nvGrpSpPr>
        <p:grpSpPr>
          <a:xfrm>
            <a:off x="1257528" y="1883692"/>
            <a:ext cx="39545" cy="1730748"/>
            <a:chOff x="2459093" y="2596292"/>
            <a:chExt cx="29231" cy="1235085"/>
          </a:xfrm>
        </p:grpSpPr>
        <p:sp>
          <p:nvSpPr>
            <p:cNvPr id="211" name="Freeform 415">
              <a:extLst>
                <a:ext uri="{FF2B5EF4-FFF2-40B4-BE49-F238E27FC236}">
                  <a16:creationId xmlns:a16="http://schemas.microsoft.com/office/drawing/2014/main" id="{3C539A6A-09C7-2FA5-0628-015EDD69DCA0}"/>
                </a:ext>
              </a:extLst>
            </p:cNvPr>
            <p:cNvSpPr/>
            <p:nvPr/>
          </p:nvSpPr>
          <p:spPr>
            <a:xfrm>
              <a:off x="2459093" y="2596292"/>
              <a:ext cx="29231" cy="12709"/>
            </a:xfrm>
            <a:custGeom>
              <a:avLst/>
              <a:gdLst>
                <a:gd name="csX0" fmla="*/ 0 w 29231"/>
                <a:gd name="csY0" fmla="*/ 0 h 12709"/>
                <a:gd name="csX1" fmla="*/ 29231 w 29231"/>
                <a:gd name="csY1" fmla="*/ 0 h 12709"/>
              </a:gdLst>
              <a:ahLst/>
              <a:cxnLst>
                <a:cxn ang="0">
                  <a:pos x="csX0" y="csY0"/>
                </a:cxn>
                <a:cxn ang="0">
                  <a:pos x="csX1" y="csY1"/>
                </a:cxn>
              </a:cxnLst>
              <a:rect l="l" t="t" r="r" b="b"/>
              <a:pathLst>
                <a:path w="29231" h="12709">
                  <a:moveTo>
                    <a:pt x="0" y="0"/>
                  </a:moveTo>
                  <a:lnTo>
                    <a:pt x="29231" y="0"/>
                  </a:lnTo>
                </a:path>
              </a:pathLst>
            </a:custGeom>
            <a:ln w="12705" cap="flat">
              <a:solidFill>
                <a:srgbClr val="000000"/>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12" name="Freeform 416">
              <a:extLst>
                <a:ext uri="{FF2B5EF4-FFF2-40B4-BE49-F238E27FC236}">
                  <a16:creationId xmlns:a16="http://schemas.microsoft.com/office/drawing/2014/main" id="{4815C984-2E60-25AB-BBD9-6ABA87AD82B5}"/>
                </a:ext>
              </a:extLst>
            </p:cNvPr>
            <p:cNvSpPr/>
            <p:nvPr/>
          </p:nvSpPr>
          <p:spPr>
            <a:xfrm>
              <a:off x="2459093" y="2843360"/>
              <a:ext cx="29231" cy="12709"/>
            </a:xfrm>
            <a:custGeom>
              <a:avLst/>
              <a:gdLst>
                <a:gd name="csX0" fmla="*/ 0 w 29231"/>
                <a:gd name="csY0" fmla="*/ 0 h 12709"/>
                <a:gd name="csX1" fmla="*/ 29231 w 29231"/>
                <a:gd name="csY1" fmla="*/ 0 h 12709"/>
              </a:gdLst>
              <a:ahLst/>
              <a:cxnLst>
                <a:cxn ang="0">
                  <a:pos x="csX0" y="csY0"/>
                </a:cxn>
                <a:cxn ang="0">
                  <a:pos x="csX1" y="csY1"/>
                </a:cxn>
              </a:cxnLst>
              <a:rect l="l" t="t" r="r" b="b"/>
              <a:pathLst>
                <a:path w="29231" h="12709">
                  <a:moveTo>
                    <a:pt x="0" y="0"/>
                  </a:moveTo>
                  <a:lnTo>
                    <a:pt x="29231" y="0"/>
                  </a:lnTo>
                </a:path>
              </a:pathLst>
            </a:custGeom>
            <a:ln w="12705" cap="flat">
              <a:solidFill>
                <a:srgbClr val="000000"/>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13" name="Freeform 417">
              <a:extLst>
                <a:ext uri="{FF2B5EF4-FFF2-40B4-BE49-F238E27FC236}">
                  <a16:creationId xmlns:a16="http://schemas.microsoft.com/office/drawing/2014/main" id="{3D00779D-C9E4-8EA2-3EA1-76F1C900EFA6}"/>
                </a:ext>
              </a:extLst>
            </p:cNvPr>
            <p:cNvSpPr/>
            <p:nvPr/>
          </p:nvSpPr>
          <p:spPr>
            <a:xfrm>
              <a:off x="2459093" y="3090301"/>
              <a:ext cx="29231" cy="12709"/>
            </a:xfrm>
            <a:custGeom>
              <a:avLst/>
              <a:gdLst>
                <a:gd name="csX0" fmla="*/ 0 w 29231"/>
                <a:gd name="csY0" fmla="*/ 0 h 12709"/>
                <a:gd name="csX1" fmla="*/ 29231 w 29231"/>
                <a:gd name="csY1" fmla="*/ 0 h 12709"/>
              </a:gdLst>
              <a:ahLst/>
              <a:cxnLst>
                <a:cxn ang="0">
                  <a:pos x="csX0" y="csY0"/>
                </a:cxn>
                <a:cxn ang="0">
                  <a:pos x="csX1" y="csY1"/>
                </a:cxn>
              </a:cxnLst>
              <a:rect l="l" t="t" r="r" b="b"/>
              <a:pathLst>
                <a:path w="29231" h="12709">
                  <a:moveTo>
                    <a:pt x="0" y="0"/>
                  </a:moveTo>
                  <a:lnTo>
                    <a:pt x="29231" y="0"/>
                  </a:lnTo>
                </a:path>
              </a:pathLst>
            </a:custGeom>
            <a:ln w="12705" cap="flat">
              <a:solidFill>
                <a:srgbClr val="000000"/>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14" name="Freeform 418">
              <a:extLst>
                <a:ext uri="{FF2B5EF4-FFF2-40B4-BE49-F238E27FC236}">
                  <a16:creationId xmlns:a16="http://schemas.microsoft.com/office/drawing/2014/main" id="{50D65D0F-34C7-5B1D-5CF0-CB7B41E3910A}"/>
                </a:ext>
              </a:extLst>
            </p:cNvPr>
            <p:cNvSpPr/>
            <p:nvPr/>
          </p:nvSpPr>
          <p:spPr>
            <a:xfrm>
              <a:off x="2459093" y="3337369"/>
              <a:ext cx="29231" cy="12709"/>
            </a:xfrm>
            <a:custGeom>
              <a:avLst/>
              <a:gdLst>
                <a:gd name="csX0" fmla="*/ 0 w 29231"/>
                <a:gd name="csY0" fmla="*/ 0 h 12709"/>
                <a:gd name="csX1" fmla="*/ 29231 w 29231"/>
                <a:gd name="csY1" fmla="*/ 0 h 12709"/>
              </a:gdLst>
              <a:ahLst/>
              <a:cxnLst>
                <a:cxn ang="0">
                  <a:pos x="csX0" y="csY0"/>
                </a:cxn>
                <a:cxn ang="0">
                  <a:pos x="csX1" y="csY1"/>
                </a:cxn>
              </a:cxnLst>
              <a:rect l="l" t="t" r="r" b="b"/>
              <a:pathLst>
                <a:path w="29231" h="12709">
                  <a:moveTo>
                    <a:pt x="0" y="0"/>
                  </a:moveTo>
                  <a:lnTo>
                    <a:pt x="29231" y="0"/>
                  </a:lnTo>
                </a:path>
              </a:pathLst>
            </a:custGeom>
            <a:ln w="12705" cap="flat">
              <a:solidFill>
                <a:srgbClr val="000000"/>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15" name="Freeform 419">
              <a:extLst>
                <a:ext uri="{FF2B5EF4-FFF2-40B4-BE49-F238E27FC236}">
                  <a16:creationId xmlns:a16="http://schemas.microsoft.com/office/drawing/2014/main" id="{C6331448-77A7-55D8-FEBA-008B66055AB3}"/>
                </a:ext>
              </a:extLst>
            </p:cNvPr>
            <p:cNvSpPr/>
            <p:nvPr/>
          </p:nvSpPr>
          <p:spPr>
            <a:xfrm>
              <a:off x="2459093" y="3584437"/>
              <a:ext cx="29231" cy="12709"/>
            </a:xfrm>
            <a:custGeom>
              <a:avLst/>
              <a:gdLst>
                <a:gd name="csX0" fmla="*/ 0 w 29231"/>
                <a:gd name="csY0" fmla="*/ 0 h 12709"/>
                <a:gd name="csX1" fmla="*/ 29231 w 29231"/>
                <a:gd name="csY1" fmla="*/ 0 h 12709"/>
              </a:gdLst>
              <a:ahLst/>
              <a:cxnLst>
                <a:cxn ang="0">
                  <a:pos x="csX0" y="csY0"/>
                </a:cxn>
                <a:cxn ang="0">
                  <a:pos x="csX1" y="csY1"/>
                </a:cxn>
              </a:cxnLst>
              <a:rect l="l" t="t" r="r" b="b"/>
              <a:pathLst>
                <a:path w="29231" h="12709">
                  <a:moveTo>
                    <a:pt x="0" y="0"/>
                  </a:moveTo>
                  <a:lnTo>
                    <a:pt x="29231" y="0"/>
                  </a:lnTo>
                </a:path>
              </a:pathLst>
            </a:custGeom>
            <a:ln w="12705" cap="flat">
              <a:solidFill>
                <a:srgbClr val="000000"/>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16" name="Freeform 420">
              <a:extLst>
                <a:ext uri="{FF2B5EF4-FFF2-40B4-BE49-F238E27FC236}">
                  <a16:creationId xmlns:a16="http://schemas.microsoft.com/office/drawing/2014/main" id="{5DC58E81-D1F3-1BAD-42E2-8A424868235D}"/>
                </a:ext>
              </a:extLst>
            </p:cNvPr>
            <p:cNvSpPr/>
            <p:nvPr/>
          </p:nvSpPr>
          <p:spPr>
            <a:xfrm>
              <a:off x="2459093" y="3831378"/>
              <a:ext cx="29231" cy="12709"/>
            </a:xfrm>
            <a:custGeom>
              <a:avLst/>
              <a:gdLst>
                <a:gd name="csX0" fmla="*/ 0 w 29231"/>
                <a:gd name="csY0" fmla="*/ 0 h 12709"/>
                <a:gd name="csX1" fmla="*/ 29231 w 29231"/>
                <a:gd name="csY1" fmla="*/ 0 h 12709"/>
              </a:gdLst>
              <a:ahLst/>
              <a:cxnLst>
                <a:cxn ang="0">
                  <a:pos x="csX0" y="csY0"/>
                </a:cxn>
                <a:cxn ang="0">
                  <a:pos x="csX1" y="csY1"/>
                </a:cxn>
              </a:cxnLst>
              <a:rect l="l" t="t" r="r" b="b"/>
              <a:pathLst>
                <a:path w="29231" h="12709">
                  <a:moveTo>
                    <a:pt x="0" y="0"/>
                  </a:moveTo>
                  <a:lnTo>
                    <a:pt x="29231" y="0"/>
                  </a:lnTo>
                </a:path>
              </a:pathLst>
            </a:custGeom>
            <a:ln w="12705" cap="flat">
              <a:solidFill>
                <a:srgbClr val="000000"/>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235" name="Graphic 4">
            <a:extLst>
              <a:ext uri="{FF2B5EF4-FFF2-40B4-BE49-F238E27FC236}">
                <a16:creationId xmlns:a16="http://schemas.microsoft.com/office/drawing/2014/main" id="{3B5FAC0E-A9A8-1AE3-928A-29651DD265AC}"/>
              </a:ext>
            </a:extLst>
          </p:cNvPr>
          <p:cNvGrpSpPr/>
          <p:nvPr/>
        </p:nvGrpSpPr>
        <p:grpSpPr>
          <a:xfrm>
            <a:off x="1297073" y="3614442"/>
            <a:ext cx="4521940" cy="40962"/>
            <a:chOff x="2488324" y="3831378"/>
            <a:chExt cx="3342536" cy="29231"/>
          </a:xfrm>
        </p:grpSpPr>
        <p:sp>
          <p:nvSpPr>
            <p:cNvPr id="236" name="Freeform 381">
              <a:extLst>
                <a:ext uri="{FF2B5EF4-FFF2-40B4-BE49-F238E27FC236}">
                  <a16:creationId xmlns:a16="http://schemas.microsoft.com/office/drawing/2014/main" id="{83B82C96-9274-B66C-838F-0C567EB9ECF2}"/>
                </a:ext>
              </a:extLst>
            </p:cNvPr>
            <p:cNvSpPr/>
            <p:nvPr/>
          </p:nvSpPr>
          <p:spPr>
            <a:xfrm>
              <a:off x="2488324"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37" name="Freeform 382">
              <a:extLst>
                <a:ext uri="{FF2B5EF4-FFF2-40B4-BE49-F238E27FC236}">
                  <a16:creationId xmlns:a16="http://schemas.microsoft.com/office/drawing/2014/main" id="{FA83DA0D-FBC7-D526-627B-0149CD812C54}"/>
                </a:ext>
              </a:extLst>
            </p:cNvPr>
            <p:cNvSpPr/>
            <p:nvPr/>
          </p:nvSpPr>
          <p:spPr>
            <a:xfrm>
              <a:off x="2697265"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38" name="Freeform 383">
              <a:extLst>
                <a:ext uri="{FF2B5EF4-FFF2-40B4-BE49-F238E27FC236}">
                  <a16:creationId xmlns:a16="http://schemas.microsoft.com/office/drawing/2014/main" id="{62F5B026-153E-FA9A-3AE5-350A9FF8441F}"/>
                </a:ext>
              </a:extLst>
            </p:cNvPr>
            <p:cNvSpPr/>
            <p:nvPr/>
          </p:nvSpPr>
          <p:spPr>
            <a:xfrm>
              <a:off x="2906078"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39" name="Freeform 384">
              <a:extLst>
                <a:ext uri="{FF2B5EF4-FFF2-40B4-BE49-F238E27FC236}">
                  <a16:creationId xmlns:a16="http://schemas.microsoft.com/office/drawing/2014/main" id="{4209C74C-14A5-9049-71D9-B99EBF728C1E}"/>
                </a:ext>
              </a:extLst>
            </p:cNvPr>
            <p:cNvSpPr/>
            <p:nvPr/>
          </p:nvSpPr>
          <p:spPr>
            <a:xfrm>
              <a:off x="3115018"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40" name="Freeform 385">
              <a:extLst>
                <a:ext uri="{FF2B5EF4-FFF2-40B4-BE49-F238E27FC236}">
                  <a16:creationId xmlns:a16="http://schemas.microsoft.com/office/drawing/2014/main" id="{7A6E1A24-D533-489C-3183-8F9C8038955B}"/>
                </a:ext>
              </a:extLst>
            </p:cNvPr>
            <p:cNvSpPr/>
            <p:nvPr/>
          </p:nvSpPr>
          <p:spPr>
            <a:xfrm>
              <a:off x="3323959"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41" name="Freeform 386">
              <a:extLst>
                <a:ext uri="{FF2B5EF4-FFF2-40B4-BE49-F238E27FC236}">
                  <a16:creationId xmlns:a16="http://schemas.microsoft.com/office/drawing/2014/main" id="{67F11FE6-523F-B2AF-6141-C1651AFCD3AF}"/>
                </a:ext>
              </a:extLst>
            </p:cNvPr>
            <p:cNvSpPr/>
            <p:nvPr/>
          </p:nvSpPr>
          <p:spPr>
            <a:xfrm>
              <a:off x="3532899"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42" name="Freeform 387">
              <a:extLst>
                <a:ext uri="{FF2B5EF4-FFF2-40B4-BE49-F238E27FC236}">
                  <a16:creationId xmlns:a16="http://schemas.microsoft.com/office/drawing/2014/main" id="{7826FD43-DD28-80B1-97FE-AF3587BD6431}"/>
                </a:ext>
              </a:extLst>
            </p:cNvPr>
            <p:cNvSpPr/>
            <p:nvPr/>
          </p:nvSpPr>
          <p:spPr>
            <a:xfrm>
              <a:off x="3741712"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43" name="Freeform 388">
              <a:extLst>
                <a:ext uri="{FF2B5EF4-FFF2-40B4-BE49-F238E27FC236}">
                  <a16:creationId xmlns:a16="http://schemas.microsoft.com/office/drawing/2014/main" id="{9FBA238F-3B12-FA7C-4E86-BCCF53FD0AD2}"/>
                </a:ext>
              </a:extLst>
            </p:cNvPr>
            <p:cNvSpPr/>
            <p:nvPr/>
          </p:nvSpPr>
          <p:spPr>
            <a:xfrm>
              <a:off x="3950652"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44" name="Freeform 389">
              <a:extLst>
                <a:ext uri="{FF2B5EF4-FFF2-40B4-BE49-F238E27FC236}">
                  <a16:creationId xmlns:a16="http://schemas.microsoft.com/office/drawing/2014/main" id="{60ACB1CC-4EEB-A421-6867-6CB620552A52}"/>
                </a:ext>
              </a:extLst>
            </p:cNvPr>
            <p:cNvSpPr/>
            <p:nvPr/>
          </p:nvSpPr>
          <p:spPr>
            <a:xfrm>
              <a:off x="4159593"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45" name="Freeform 390">
              <a:extLst>
                <a:ext uri="{FF2B5EF4-FFF2-40B4-BE49-F238E27FC236}">
                  <a16:creationId xmlns:a16="http://schemas.microsoft.com/office/drawing/2014/main" id="{E09D2A99-1527-B0D2-BAB7-F6968A4D7413}"/>
                </a:ext>
              </a:extLst>
            </p:cNvPr>
            <p:cNvSpPr/>
            <p:nvPr/>
          </p:nvSpPr>
          <p:spPr>
            <a:xfrm>
              <a:off x="4368406"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46" name="Freeform 391">
              <a:extLst>
                <a:ext uri="{FF2B5EF4-FFF2-40B4-BE49-F238E27FC236}">
                  <a16:creationId xmlns:a16="http://schemas.microsoft.com/office/drawing/2014/main" id="{D4F6CB5E-30BE-D773-F047-A58508EF36D6}"/>
                </a:ext>
              </a:extLst>
            </p:cNvPr>
            <p:cNvSpPr/>
            <p:nvPr/>
          </p:nvSpPr>
          <p:spPr>
            <a:xfrm>
              <a:off x="4577346"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47" name="Freeform 392">
              <a:extLst>
                <a:ext uri="{FF2B5EF4-FFF2-40B4-BE49-F238E27FC236}">
                  <a16:creationId xmlns:a16="http://schemas.microsoft.com/office/drawing/2014/main" id="{471442AE-49C5-31D8-F21E-37546F5375E7}"/>
                </a:ext>
              </a:extLst>
            </p:cNvPr>
            <p:cNvSpPr/>
            <p:nvPr/>
          </p:nvSpPr>
          <p:spPr>
            <a:xfrm>
              <a:off x="4786287"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48" name="Freeform 393">
              <a:extLst>
                <a:ext uri="{FF2B5EF4-FFF2-40B4-BE49-F238E27FC236}">
                  <a16:creationId xmlns:a16="http://schemas.microsoft.com/office/drawing/2014/main" id="{DD07D7F3-AA3A-A21F-6CB9-8716518E6E26}"/>
                </a:ext>
              </a:extLst>
            </p:cNvPr>
            <p:cNvSpPr/>
            <p:nvPr/>
          </p:nvSpPr>
          <p:spPr>
            <a:xfrm>
              <a:off x="4995227"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49" name="Freeform 394">
              <a:extLst>
                <a:ext uri="{FF2B5EF4-FFF2-40B4-BE49-F238E27FC236}">
                  <a16:creationId xmlns:a16="http://schemas.microsoft.com/office/drawing/2014/main" id="{4966DB13-6FC4-B3DB-00C9-80C2B5F81C56}"/>
                </a:ext>
              </a:extLst>
            </p:cNvPr>
            <p:cNvSpPr/>
            <p:nvPr/>
          </p:nvSpPr>
          <p:spPr>
            <a:xfrm>
              <a:off x="5412980"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50" name="Freeform 395">
              <a:extLst>
                <a:ext uri="{FF2B5EF4-FFF2-40B4-BE49-F238E27FC236}">
                  <a16:creationId xmlns:a16="http://schemas.microsoft.com/office/drawing/2014/main" id="{E655D718-9FB7-22BE-3314-E2202CAF3C31}"/>
                </a:ext>
              </a:extLst>
            </p:cNvPr>
            <p:cNvSpPr/>
            <p:nvPr/>
          </p:nvSpPr>
          <p:spPr>
            <a:xfrm>
              <a:off x="5621921"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51" name="Freeform 396">
              <a:extLst>
                <a:ext uri="{FF2B5EF4-FFF2-40B4-BE49-F238E27FC236}">
                  <a16:creationId xmlns:a16="http://schemas.microsoft.com/office/drawing/2014/main" id="{EEB64AB8-DEFE-8E3D-C362-C5B57F2274A0}"/>
                </a:ext>
              </a:extLst>
            </p:cNvPr>
            <p:cNvSpPr/>
            <p:nvPr/>
          </p:nvSpPr>
          <p:spPr>
            <a:xfrm>
              <a:off x="5830861"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52" name="Freeform 397">
              <a:extLst>
                <a:ext uri="{FF2B5EF4-FFF2-40B4-BE49-F238E27FC236}">
                  <a16:creationId xmlns:a16="http://schemas.microsoft.com/office/drawing/2014/main" id="{8EEB0545-6CA0-4F5B-BF28-057431FFCA20}"/>
                </a:ext>
              </a:extLst>
            </p:cNvPr>
            <p:cNvSpPr/>
            <p:nvPr/>
          </p:nvSpPr>
          <p:spPr>
            <a:xfrm>
              <a:off x="5204040"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sp>
        <p:nvSpPr>
          <p:cNvPr id="253" name="Freeform 43">
            <a:extLst>
              <a:ext uri="{FF2B5EF4-FFF2-40B4-BE49-F238E27FC236}">
                <a16:creationId xmlns:a16="http://schemas.microsoft.com/office/drawing/2014/main" id="{FEDF6CAD-9A30-25C6-B7AD-2EF9AC1F70BF}"/>
              </a:ext>
            </a:extLst>
          </p:cNvPr>
          <p:cNvSpPr/>
          <p:nvPr/>
        </p:nvSpPr>
        <p:spPr>
          <a:xfrm>
            <a:off x="1297073" y="1883692"/>
            <a:ext cx="4521940" cy="1730748"/>
          </a:xfrm>
          <a:custGeom>
            <a:avLst/>
            <a:gdLst>
              <a:gd name="csX0" fmla="*/ 0 w 3342536"/>
              <a:gd name="csY0" fmla="*/ 0 h 1235085"/>
              <a:gd name="csX1" fmla="*/ 0 w 3342536"/>
              <a:gd name="csY1" fmla="*/ 1235086 h 1235085"/>
              <a:gd name="csX2" fmla="*/ 3342537 w 3342536"/>
              <a:gd name="csY2" fmla="*/ 1235086 h 1235085"/>
            </a:gdLst>
            <a:ahLst/>
            <a:cxnLst>
              <a:cxn ang="0">
                <a:pos x="csX0" y="csY0"/>
              </a:cxn>
              <a:cxn ang="0">
                <a:pos x="csX1" y="csY1"/>
              </a:cxn>
              <a:cxn ang="0">
                <a:pos x="csX2" y="csY2"/>
              </a:cxn>
            </a:cxnLst>
            <a:rect l="l" t="t" r="r" b="b"/>
            <a:pathLst>
              <a:path w="3342536" h="1235085">
                <a:moveTo>
                  <a:pt x="0" y="0"/>
                </a:moveTo>
                <a:lnTo>
                  <a:pt x="0" y="1235086"/>
                </a:lnTo>
                <a:lnTo>
                  <a:pt x="3342537" y="1235086"/>
                </a:lnTo>
              </a:path>
            </a:pathLst>
          </a:custGeom>
          <a:noFill/>
          <a:ln w="12705" cap="sq">
            <a:solidFill>
              <a:srgbClr val="000000"/>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nvGrpSpPr>
          <p:cNvPr id="254" name="Graphic 4">
            <a:extLst>
              <a:ext uri="{FF2B5EF4-FFF2-40B4-BE49-F238E27FC236}">
                <a16:creationId xmlns:a16="http://schemas.microsoft.com/office/drawing/2014/main" id="{5F4FBD6D-6965-D1DB-EF65-078E72AE8E77}"/>
              </a:ext>
            </a:extLst>
          </p:cNvPr>
          <p:cNvGrpSpPr/>
          <p:nvPr/>
        </p:nvGrpSpPr>
        <p:grpSpPr>
          <a:xfrm>
            <a:off x="3561445" y="2473619"/>
            <a:ext cx="1144279" cy="1140820"/>
            <a:chOff x="4162106" y="2775669"/>
            <a:chExt cx="845830" cy="1055708"/>
          </a:xfrm>
        </p:grpSpPr>
        <p:sp>
          <p:nvSpPr>
            <p:cNvPr id="255" name="Freeform 378">
              <a:extLst>
                <a:ext uri="{FF2B5EF4-FFF2-40B4-BE49-F238E27FC236}">
                  <a16:creationId xmlns:a16="http://schemas.microsoft.com/office/drawing/2014/main" id="{05F742ED-F0B7-CB39-A1C6-10F3DEF59B1A}"/>
                </a:ext>
              </a:extLst>
            </p:cNvPr>
            <p:cNvSpPr/>
            <p:nvPr/>
          </p:nvSpPr>
          <p:spPr>
            <a:xfrm>
              <a:off x="4995227" y="3812314"/>
              <a:ext cx="12709" cy="19063"/>
            </a:xfrm>
            <a:custGeom>
              <a:avLst/>
              <a:gdLst>
                <a:gd name="csX0" fmla="*/ 0 w 12709"/>
                <a:gd name="csY0" fmla="*/ 19064 h 19063"/>
                <a:gd name="csX1" fmla="*/ 0 w 12709"/>
                <a:gd name="csY1" fmla="*/ 0 h 19063"/>
              </a:gdLst>
              <a:ahLst/>
              <a:cxnLst>
                <a:cxn ang="0">
                  <a:pos x="csX0" y="csY0"/>
                </a:cxn>
                <a:cxn ang="0">
                  <a:pos x="csX1" y="csY1"/>
                </a:cxn>
              </a:cxnLst>
              <a:rect l="l" t="t" r="r" b="b"/>
              <a:pathLst>
                <a:path w="12709" h="19063">
                  <a:moveTo>
                    <a:pt x="0" y="19064"/>
                  </a:moveTo>
                  <a:lnTo>
                    <a:pt x="0" y="0"/>
                  </a:lnTo>
                </a:path>
              </a:pathLst>
            </a:custGeom>
            <a:ln w="12705" cap="flat">
              <a:solidFill>
                <a:srgbClr val="000000"/>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56" name="Freeform 379">
              <a:extLst>
                <a:ext uri="{FF2B5EF4-FFF2-40B4-BE49-F238E27FC236}">
                  <a16:creationId xmlns:a16="http://schemas.microsoft.com/office/drawing/2014/main" id="{B6991FDF-A946-6066-6D2F-CCBDD6F89A5E}"/>
                </a:ext>
              </a:extLst>
            </p:cNvPr>
            <p:cNvSpPr/>
            <p:nvPr/>
          </p:nvSpPr>
          <p:spPr>
            <a:xfrm>
              <a:off x="4162106" y="2775669"/>
              <a:ext cx="45046" cy="1026849"/>
            </a:xfrm>
            <a:custGeom>
              <a:avLst/>
              <a:gdLst>
                <a:gd name="csX0" fmla="*/ 0 w 12709"/>
                <a:gd name="csY0" fmla="*/ 718582 h 718581"/>
                <a:gd name="csX1" fmla="*/ 0 w 12709"/>
                <a:gd name="csY1" fmla="*/ 0 h 718581"/>
              </a:gdLst>
              <a:ahLst/>
              <a:cxnLst>
                <a:cxn ang="0">
                  <a:pos x="csX0" y="csY0"/>
                </a:cxn>
                <a:cxn ang="0">
                  <a:pos x="csX1" y="csY1"/>
                </a:cxn>
              </a:cxnLst>
              <a:rect l="l" t="t" r="r" b="b"/>
              <a:pathLst>
                <a:path w="12709" h="718581">
                  <a:moveTo>
                    <a:pt x="0" y="718582"/>
                  </a:moveTo>
                  <a:lnTo>
                    <a:pt x="0" y="0"/>
                  </a:lnTo>
                </a:path>
              </a:pathLst>
            </a:custGeom>
            <a:ln w="12705" cap="flat">
              <a:solidFill>
                <a:srgbClr val="000000"/>
              </a:solidFill>
              <a:custDash>
                <a:ds d="217500" sp="217500"/>
              </a:custDash>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sp>
        <p:nvSpPr>
          <p:cNvPr id="258" name="Freeform 56">
            <a:extLst>
              <a:ext uri="{FF2B5EF4-FFF2-40B4-BE49-F238E27FC236}">
                <a16:creationId xmlns:a16="http://schemas.microsoft.com/office/drawing/2014/main" id="{34CC0AB5-7952-1424-5D8A-F7F1960B671C}"/>
              </a:ext>
            </a:extLst>
          </p:cNvPr>
          <p:cNvSpPr/>
          <p:nvPr/>
        </p:nvSpPr>
        <p:spPr>
          <a:xfrm>
            <a:off x="1281086" y="1887077"/>
            <a:ext cx="4403991" cy="1164399"/>
          </a:xfrm>
          <a:custGeom>
            <a:avLst/>
            <a:gdLst>
              <a:gd name="csX0" fmla="*/ 0 w 3255351"/>
              <a:gd name="csY0" fmla="*/ 0 h 830931"/>
              <a:gd name="csX1" fmla="*/ 110571 w 3255351"/>
              <a:gd name="csY1" fmla="*/ 0 h 830931"/>
              <a:gd name="csX2" fmla="*/ 110571 w 3255351"/>
              <a:gd name="csY2" fmla="*/ 44355 h 830931"/>
              <a:gd name="csX3" fmla="*/ 207542 w 3255351"/>
              <a:gd name="csY3" fmla="*/ 44355 h 830931"/>
              <a:gd name="csX4" fmla="*/ 207542 w 3255351"/>
              <a:gd name="csY4" fmla="*/ 81339 h 830931"/>
              <a:gd name="csX5" fmla="*/ 299939 w 3255351"/>
              <a:gd name="csY5" fmla="*/ 81339 h 830931"/>
              <a:gd name="csX6" fmla="*/ 299939 w 3255351"/>
              <a:gd name="csY6" fmla="*/ 122136 h 830931"/>
              <a:gd name="csX7" fmla="*/ 351030 w 3255351"/>
              <a:gd name="csY7" fmla="*/ 122136 h 830931"/>
              <a:gd name="csX8" fmla="*/ 351030 w 3255351"/>
              <a:gd name="csY8" fmla="*/ 164712 h 830931"/>
              <a:gd name="csX9" fmla="*/ 577382 w 3255351"/>
              <a:gd name="csY9" fmla="*/ 164712 h 830931"/>
              <a:gd name="csX10" fmla="*/ 577382 w 3255351"/>
              <a:gd name="csY10" fmla="*/ 208432 h 830931"/>
              <a:gd name="csX11" fmla="*/ 667745 w 3255351"/>
              <a:gd name="csY11" fmla="*/ 208432 h 830931"/>
              <a:gd name="csX12" fmla="*/ 667745 w 3255351"/>
              <a:gd name="csY12" fmla="*/ 247195 h 830931"/>
              <a:gd name="csX13" fmla="*/ 749974 w 3255351"/>
              <a:gd name="csY13" fmla="*/ 247195 h 830931"/>
              <a:gd name="csX14" fmla="*/ 749974 w 3255351"/>
              <a:gd name="csY14" fmla="*/ 292313 h 830931"/>
              <a:gd name="csX15" fmla="*/ 784924 w 3255351"/>
              <a:gd name="csY15" fmla="*/ 292313 h 830931"/>
              <a:gd name="csX16" fmla="*/ 784924 w 3255351"/>
              <a:gd name="csY16" fmla="*/ 329297 h 830931"/>
              <a:gd name="csX17" fmla="*/ 1382895 w 3255351"/>
              <a:gd name="csY17" fmla="*/ 329297 h 830931"/>
              <a:gd name="csX18" fmla="*/ 1382895 w 3255351"/>
              <a:gd name="csY18" fmla="*/ 373144 h 830931"/>
              <a:gd name="csX19" fmla="*/ 1664405 w 3255351"/>
              <a:gd name="csY19" fmla="*/ 373144 h 830931"/>
              <a:gd name="csX20" fmla="*/ 1664405 w 3255351"/>
              <a:gd name="csY20" fmla="*/ 423981 h 830931"/>
              <a:gd name="csX21" fmla="*/ 3078820 w 3255351"/>
              <a:gd name="csY21" fmla="*/ 423981 h 830931"/>
              <a:gd name="csX22" fmla="*/ 3078820 w 3255351"/>
              <a:gd name="csY22" fmla="*/ 830932 h 830931"/>
              <a:gd name="csX23" fmla="*/ 3255351 w 3255351"/>
              <a:gd name="csY23" fmla="*/ 830932 h 83093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Lst>
            <a:rect l="l" t="t" r="r" b="b"/>
            <a:pathLst>
              <a:path w="3255351" h="830931">
                <a:moveTo>
                  <a:pt x="0" y="0"/>
                </a:moveTo>
                <a:lnTo>
                  <a:pt x="110571" y="0"/>
                </a:lnTo>
                <a:lnTo>
                  <a:pt x="110571" y="44355"/>
                </a:lnTo>
                <a:lnTo>
                  <a:pt x="207542" y="44355"/>
                </a:lnTo>
                <a:lnTo>
                  <a:pt x="207542" y="81339"/>
                </a:lnTo>
                <a:lnTo>
                  <a:pt x="299939" y="81339"/>
                </a:lnTo>
                <a:lnTo>
                  <a:pt x="299939" y="122136"/>
                </a:lnTo>
                <a:lnTo>
                  <a:pt x="351030" y="122136"/>
                </a:lnTo>
                <a:lnTo>
                  <a:pt x="351030" y="164712"/>
                </a:lnTo>
                <a:lnTo>
                  <a:pt x="577382" y="164712"/>
                </a:lnTo>
                <a:lnTo>
                  <a:pt x="577382" y="208432"/>
                </a:lnTo>
                <a:lnTo>
                  <a:pt x="667745" y="208432"/>
                </a:lnTo>
                <a:lnTo>
                  <a:pt x="667745" y="247195"/>
                </a:lnTo>
                <a:lnTo>
                  <a:pt x="749974" y="247195"/>
                </a:lnTo>
                <a:lnTo>
                  <a:pt x="749974" y="292313"/>
                </a:lnTo>
                <a:lnTo>
                  <a:pt x="784924" y="292313"/>
                </a:lnTo>
                <a:lnTo>
                  <a:pt x="784924" y="329297"/>
                </a:lnTo>
                <a:lnTo>
                  <a:pt x="1382895" y="329297"/>
                </a:lnTo>
                <a:lnTo>
                  <a:pt x="1382895" y="373144"/>
                </a:lnTo>
                <a:lnTo>
                  <a:pt x="1664405" y="373144"/>
                </a:lnTo>
                <a:lnTo>
                  <a:pt x="1664405" y="423981"/>
                </a:lnTo>
                <a:lnTo>
                  <a:pt x="3078820" y="423981"/>
                </a:lnTo>
                <a:lnTo>
                  <a:pt x="3078820" y="830932"/>
                </a:lnTo>
                <a:lnTo>
                  <a:pt x="3255351" y="830932"/>
                </a:lnTo>
              </a:path>
            </a:pathLst>
          </a:custGeom>
          <a:noFill/>
          <a:ln w="19058"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nvGrpSpPr>
          <p:cNvPr id="259" name="Graphic 4">
            <a:extLst>
              <a:ext uri="{FF2B5EF4-FFF2-40B4-BE49-F238E27FC236}">
                <a16:creationId xmlns:a16="http://schemas.microsoft.com/office/drawing/2014/main" id="{90CF5E59-E1B5-77FD-318E-BE550798E0E1}"/>
              </a:ext>
            </a:extLst>
          </p:cNvPr>
          <p:cNvGrpSpPr/>
          <p:nvPr/>
        </p:nvGrpSpPr>
        <p:grpSpPr>
          <a:xfrm>
            <a:off x="1270768" y="1844155"/>
            <a:ext cx="4449555" cy="1250243"/>
            <a:chOff x="2468879" y="2568078"/>
            <a:chExt cx="3289030" cy="892190"/>
          </a:xfrm>
        </p:grpSpPr>
        <p:grpSp>
          <p:nvGrpSpPr>
            <p:cNvPr id="260" name="Graphic 4">
              <a:extLst>
                <a:ext uri="{FF2B5EF4-FFF2-40B4-BE49-F238E27FC236}">
                  <a16:creationId xmlns:a16="http://schemas.microsoft.com/office/drawing/2014/main" id="{4ED93DF5-418D-6C8E-D0A5-F0D94A3E2E40}"/>
                </a:ext>
              </a:extLst>
            </p:cNvPr>
            <p:cNvGrpSpPr/>
            <p:nvPr/>
          </p:nvGrpSpPr>
          <p:grpSpPr>
            <a:xfrm>
              <a:off x="2468879" y="2568078"/>
              <a:ext cx="61258" cy="61258"/>
              <a:chOff x="2468879" y="2568078"/>
              <a:chExt cx="61258" cy="61258"/>
            </a:xfrm>
          </p:grpSpPr>
          <p:sp>
            <p:nvSpPr>
              <p:cNvPr id="315" name="Freeform 319">
                <a:extLst>
                  <a:ext uri="{FF2B5EF4-FFF2-40B4-BE49-F238E27FC236}">
                    <a16:creationId xmlns:a16="http://schemas.microsoft.com/office/drawing/2014/main" id="{135B9306-6C2A-8FDB-5421-1112C33D86E2}"/>
                  </a:ext>
                </a:extLst>
              </p:cNvPr>
              <p:cNvSpPr/>
              <p:nvPr/>
            </p:nvSpPr>
            <p:spPr>
              <a:xfrm>
                <a:off x="2468879" y="2598707"/>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16" name="Freeform 320">
                <a:extLst>
                  <a:ext uri="{FF2B5EF4-FFF2-40B4-BE49-F238E27FC236}">
                    <a16:creationId xmlns:a16="http://schemas.microsoft.com/office/drawing/2014/main" id="{16AA49E5-5060-7D2C-4F1A-4DB3DACD68D3}"/>
                  </a:ext>
                </a:extLst>
              </p:cNvPr>
              <p:cNvSpPr/>
              <p:nvPr/>
            </p:nvSpPr>
            <p:spPr>
              <a:xfrm>
                <a:off x="2499509" y="2568078"/>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261" name="Graphic 4">
              <a:extLst>
                <a:ext uri="{FF2B5EF4-FFF2-40B4-BE49-F238E27FC236}">
                  <a16:creationId xmlns:a16="http://schemas.microsoft.com/office/drawing/2014/main" id="{4157E4D9-7737-81C2-29B0-B055F7537B12}"/>
                </a:ext>
              </a:extLst>
            </p:cNvPr>
            <p:cNvGrpSpPr/>
            <p:nvPr/>
          </p:nvGrpSpPr>
          <p:grpSpPr>
            <a:xfrm>
              <a:off x="3234994" y="2897375"/>
              <a:ext cx="61131" cy="61258"/>
              <a:chOff x="3234994" y="2897375"/>
              <a:chExt cx="61131" cy="61258"/>
            </a:xfrm>
          </p:grpSpPr>
          <p:sp>
            <p:nvSpPr>
              <p:cNvPr id="313" name="Freeform 317">
                <a:extLst>
                  <a:ext uri="{FF2B5EF4-FFF2-40B4-BE49-F238E27FC236}">
                    <a16:creationId xmlns:a16="http://schemas.microsoft.com/office/drawing/2014/main" id="{41CDC1BA-A6E6-A800-9FBC-88EEE1AF3CD5}"/>
                  </a:ext>
                </a:extLst>
              </p:cNvPr>
              <p:cNvSpPr/>
              <p:nvPr/>
            </p:nvSpPr>
            <p:spPr>
              <a:xfrm>
                <a:off x="3234994" y="2928004"/>
                <a:ext cx="61131" cy="12709"/>
              </a:xfrm>
              <a:custGeom>
                <a:avLst/>
                <a:gdLst>
                  <a:gd name="csX0" fmla="*/ 0 w 61131"/>
                  <a:gd name="csY0" fmla="*/ 0 h 12709"/>
                  <a:gd name="csX1" fmla="*/ 61132 w 61131"/>
                  <a:gd name="csY1" fmla="*/ 0 h 12709"/>
                </a:gdLst>
                <a:ahLst/>
                <a:cxnLst>
                  <a:cxn ang="0">
                    <a:pos x="csX0" y="csY0"/>
                  </a:cxn>
                  <a:cxn ang="0">
                    <a:pos x="csX1" y="csY1"/>
                  </a:cxn>
                </a:cxnLst>
                <a:rect l="l" t="t" r="r" b="b"/>
                <a:pathLst>
                  <a:path w="61131" h="12709">
                    <a:moveTo>
                      <a:pt x="0" y="0"/>
                    </a:moveTo>
                    <a:lnTo>
                      <a:pt x="61132"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14" name="Freeform 318">
                <a:extLst>
                  <a:ext uri="{FF2B5EF4-FFF2-40B4-BE49-F238E27FC236}">
                    <a16:creationId xmlns:a16="http://schemas.microsoft.com/office/drawing/2014/main" id="{FABD4567-1C94-D4F0-E444-9BC48524B682}"/>
                  </a:ext>
                </a:extLst>
              </p:cNvPr>
              <p:cNvSpPr/>
              <p:nvPr/>
            </p:nvSpPr>
            <p:spPr>
              <a:xfrm>
                <a:off x="3265623" y="2897375"/>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262" name="Graphic 4">
              <a:extLst>
                <a:ext uri="{FF2B5EF4-FFF2-40B4-BE49-F238E27FC236}">
                  <a16:creationId xmlns:a16="http://schemas.microsoft.com/office/drawing/2014/main" id="{01C2498E-F19A-2321-2BDF-DED03BB5C7D2}"/>
                </a:ext>
              </a:extLst>
            </p:cNvPr>
            <p:cNvGrpSpPr/>
            <p:nvPr/>
          </p:nvGrpSpPr>
          <p:grpSpPr>
            <a:xfrm>
              <a:off x="3772596" y="2897375"/>
              <a:ext cx="61258" cy="61258"/>
              <a:chOff x="3772596" y="2897375"/>
              <a:chExt cx="61258" cy="61258"/>
            </a:xfrm>
          </p:grpSpPr>
          <p:sp>
            <p:nvSpPr>
              <p:cNvPr id="311" name="Freeform 315">
                <a:extLst>
                  <a:ext uri="{FF2B5EF4-FFF2-40B4-BE49-F238E27FC236}">
                    <a16:creationId xmlns:a16="http://schemas.microsoft.com/office/drawing/2014/main" id="{731B2CBD-A4D3-D7A7-7E9A-7C59EDAC10DC}"/>
                  </a:ext>
                </a:extLst>
              </p:cNvPr>
              <p:cNvSpPr/>
              <p:nvPr/>
            </p:nvSpPr>
            <p:spPr>
              <a:xfrm>
                <a:off x="3772596" y="2928004"/>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12" name="Freeform 316">
                <a:extLst>
                  <a:ext uri="{FF2B5EF4-FFF2-40B4-BE49-F238E27FC236}">
                    <a16:creationId xmlns:a16="http://schemas.microsoft.com/office/drawing/2014/main" id="{44B8900A-D280-A2F4-4178-959A41AC05C0}"/>
                  </a:ext>
                </a:extLst>
              </p:cNvPr>
              <p:cNvSpPr/>
              <p:nvPr/>
            </p:nvSpPr>
            <p:spPr>
              <a:xfrm>
                <a:off x="3803225" y="2897375"/>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263" name="Graphic 4">
              <a:extLst>
                <a:ext uri="{FF2B5EF4-FFF2-40B4-BE49-F238E27FC236}">
                  <a16:creationId xmlns:a16="http://schemas.microsoft.com/office/drawing/2014/main" id="{92D376AB-EE10-E4C4-B081-690D0648B637}"/>
                </a:ext>
              </a:extLst>
            </p:cNvPr>
            <p:cNvGrpSpPr/>
            <p:nvPr/>
          </p:nvGrpSpPr>
          <p:grpSpPr>
            <a:xfrm>
              <a:off x="3980519" y="2941222"/>
              <a:ext cx="61258" cy="61258"/>
              <a:chOff x="3980519" y="2941222"/>
              <a:chExt cx="61258" cy="61258"/>
            </a:xfrm>
          </p:grpSpPr>
          <p:sp>
            <p:nvSpPr>
              <p:cNvPr id="309" name="Freeform 313">
                <a:extLst>
                  <a:ext uri="{FF2B5EF4-FFF2-40B4-BE49-F238E27FC236}">
                    <a16:creationId xmlns:a16="http://schemas.microsoft.com/office/drawing/2014/main" id="{7F4D8260-F289-FB07-41BA-27CF2346D8B4}"/>
                  </a:ext>
                </a:extLst>
              </p:cNvPr>
              <p:cNvSpPr/>
              <p:nvPr/>
            </p:nvSpPr>
            <p:spPr>
              <a:xfrm>
                <a:off x="3980519" y="2971851"/>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10" name="Freeform 314">
                <a:extLst>
                  <a:ext uri="{FF2B5EF4-FFF2-40B4-BE49-F238E27FC236}">
                    <a16:creationId xmlns:a16="http://schemas.microsoft.com/office/drawing/2014/main" id="{2F042C1F-5C44-221B-C813-7A162C2055B1}"/>
                  </a:ext>
                </a:extLst>
              </p:cNvPr>
              <p:cNvSpPr/>
              <p:nvPr/>
            </p:nvSpPr>
            <p:spPr>
              <a:xfrm>
                <a:off x="4011149" y="2941222"/>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264" name="Graphic 4">
              <a:extLst>
                <a:ext uri="{FF2B5EF4-FFF2-40B4-BE49-F238E27FC236}">
                  <a16:creationId xmlns:a16="http://schemas.microsoft.com/office/drawing/2014/main" id="{09C88F7D-BA65-75F6-D246-E158BC20AB0F}"/>
                </a:ext>
              </a:extLst>
            </p:cNvPr>
            <p:cNvGrpSpPr/>
            <p:nvPr/>
          </p:nvGrpSpPr>
          <p:grpSpPr>
            <a:xfrm>
              <a:off x="4084227" y="2941222"/>
              <a:ext cx="61258" cy="61258"/>
              <a:chOff x="4084227" y="2941222"/>
              <a:chExt cx="61258" cy="61258"/>
            </a:xfrm>
          </p:grpSpPr>
          <p:sp>
            <p:nvSpPr>
              <p:cNvPr id="307" name="Freeform 311">
                <a:extLst>
                  <a:ext uri="{FF2B5EF4-FFF2-40B4-BE49-F238E27FC236}">
                    <a16:creationId xmlns:a16="http://schemas.microsoft.com/office/drawing/2014/main" id="{3E5F2176-8349-92BF-8F15-E0416CEB2EC9}"/>
                  </a:ext>
                </a:extLst>
              </p:cNvPr>
              <p:cNvSpPr/>
              <p:nvPr/>
            </p:nvSpPr>
            <p:spPr>
              <a:xfrm>
                <a:off x="4084227" y="2971851"/>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08" name="Freeform 312">
                <a:extLst>
                  <a:ext uri="{FF2B5EF4-FFF2-40B4-BE49-F238E27FC236}">
                    <a16:creationId xmlns:a16="http://schemas.microsoft.com/office/drawing/2014/main" id="{003DD537-2C7B-EF43-87BB-79789C6976D3}"/>
                  </a:ext>
                </a:extLst>
              </p:cNvPr>
              <p:cNvSpPr/>
              <p:nvPr/>
            </p:nvSpPr>
            <p:spPr>
              <a:xfrm>
                <a:off x="4114856" y="2941222"/>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265" name="Graphic 4">
              <a:extLst>
                <a:ext uri="{FF2B5EF4-FFF2-40B4-BE49-F238E27FC236}">
                  <a16:creationId xmlns:a16="http://schemas.microsoft.com/office/drawing/2014/main" id="{C9CFD529-6538-4921-50C7-4412EA44B7E5}"/>
                </a:ext>
              </a:extLst>
            </p:cNvPr>
            <p:cNvGrpSpPr/>
            <p:nvPr/>
          </p:nvGrpSpPr>
          <p:grpSpPr>
            <a:xfrm>
              <a:off x="4157432" y="2992059"/>
              <a:ext cx="61258" cy="61258"/>
              <a:chOff x="4157432" y="2992059"/>
              <a:chExt cx="61258" cy="61258"/>
            </a:xfrm>
          </p:grpSpPr>
          <p:sp>
            <p:nvSpPr>
              <p:cNvPr id="305" name="Freeform 309">
                <a:extLst>
                  <a:ext uri="{FF2B5EF4-FFF2-40B4-BE49-F238E27FC236}">
                    <a16:creationId xmlns:a16="http://schemas.microsoft.com/office/drawing/2014/main" id="{F88253CB-1472-6117-A6F4-73ADC632C799}"/>
                  </a:ext>
                </a:extLst>
              </p:cNvPr>
              <p:cNvSpPr/>
              <p:nvPr/>
            </p:nvSpPr>
            <p:spPr>
              <a:xfrm>
                <a:off x="4157432" y="3022688"/>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06" name="Freeform 310">
                <a:extLst>
                  <a:ext uri="{FF2B5EF4-FFF2-40B4-BE49-F238E27FC236}">
                    <a16:creationId xmlns:a16="http://schemas.microsoft.com/office/drawing/2014/main" id="{CE1E2A22-A131-D144-90AC-6C0ADEA6CB01}"/>
                  </a:ext>
                </a:extLst>
              </p:cNvPr>
              <p:cNvSpPr/>
              <p:nvPr/>
            </p:nvSpPr>
            <p:spPr>
              <a:xfrm>
                <a:off x="4188061" y="2992059"/>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266" name="Graphic 4">
              <a:extLst>
                <a:ext uri="{FF2B5EF4-FFF2-40B4-BE49-F238E27FC236}">
                  <a16:creationId xmlns:a16="http://schemas.microsoft.com/office/drawing/2014/main" id="{540A5AC3-394D-1915-FDBD-7B9FD5AFBA78}"/>
                </a:ext>
              </a:extLst>
            </p:cNvPr>
            <p:cNvGrpSpPr/>
            <p:nvPr/>
          </p:nvGrpSpPr>
          <p:grpSpPr>
            <a:xfrm>
              <a:off x="4244236" y="2992059"/>
              <a:ext cx="61258" cy="61258"/>
              <a:chOff x="4244236" y="2992059"/>
              <a:chExt cx="61258" cy="61258"/>
            </a:xfrm>
          </p:grpSpPr>
          <p:sp>
            <p:nvSpPr>
              <p:cNvPr id="303" name="Freeform 307">
                <a:extLst>
                  <a:ext uri="{FF2B5EF4-FFF2-40B4-BE49-F238E27FC236}">
                    <a16:creationId xmlns:a16="http://schemas.microsoft.com/office/drawing/2014/main" id="{BA9DF9A5-C33C-BFEE-C84C-49A7F0DABDE2}"/>
                  </a:ext>
                </a:extLst>
              </p:cNvPr>
              <p:cNvSpPr/>
              <p:nvPr/>
            </p:nvSpPr>
            <p:spPr>
              <a:xfrm>
                <a:off x="4244236" y="3022688"/>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04" name="Freeform 308">
                <a:extLst>
                  <a:ext uri="{FF2B5EF4-FFF2-40B4-BE49-F238E27FC236}">
                    <a16:creationId xmlns:a16="http://schemas.microsoft.com/office/drawing/2014/main" id="{2CCF793D-71AB-1883-5708-22D44AEA7F67}"/>
                  </a:ext>
                </a:extLst>
              </p:cNvPr>
              <p:cNvSpPr/>
              <p:nvPr/>
            </p:nvSpPr>
            <p:spPr>
              <a:xfrm>
                <a:off x="4274866" y="2992059"/>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267" name="Graphic 4">
              <a:extLst>
                <a:ext uri="{FF2B5EF4-FFF2-40B4-BE49-F238E27FC236}">
                  <a16:creationId xmlns:a16="http://schemas.microsoft.com/office/drawing/2014/main" id="{879FB031-39C3-4C8D-A9B3-E6358A8B658E}"/>
                </a:ext>
              </a:extLst>
            </p:cNvPr>
            <p:cNvGrpSpPr/>
            <p:nvPr/>
          </p:nvGrpSpPr>
          <p:grpSpPr>
            <a:xfrm>
              <a:off x="4285669" y="2992059"/>
              <a:ext cx="61258" cy="61258"/>
              <a:chOff x="4285669" y="2992059"/>
              <a:chExt cx="61258" cy="61258"/>
            </a:xfrm>
          </p:grpSpPr>
          <p:sp>
            <p:nvSpPr>
              <p:cNvPr id="301" name="Freeform 305">
                <a:extLst>
                  <a:ext uri="{FF2B5EF4-FFF2-40B4-BE49-F238E27FC236}">
                    <a16:creationId xmlns:a16="http://schemas.microsoft.com/office/drawing/2014/main" id="{D080E724-0B9A-F9E5-4089-25BB1A7BE50D}"/>
                  </a:ext>
                </a:extLst>
              </p:cNvPr>
              <p:cNvSpPr/>
              <p:nvPr/>
            </p:nvSpPr>
            <p:spPr>
              <a:xfrm>
                <a:off x="4285669" y="3022688"/>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02" name="Freeform 306">
                <a:extLst>
                  <a:ext uri="{FF2B5EF4-FFF2-40B4-BE49-F238E27FC236}">
                    <a16:creationId xmlns:a16="http://schemas.microsoft.com/office/drawing/2014/main" id="{40DFB907-10CD-28BE-DFC9-6D70897FFE96}"/>
                  </a:ext>
                </a:extLst>
              </p:cNvPr>
              <p:cNvSpPr/>
              <p:nvPr/>
            </p:nvSpPr>
            <p:spPr>
              <a:xfrm>
                <a:off x="4316298" y="2992059"/>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268" name="Graphic 4">
              <a:extLst>
                <a:ext uri="{FF2B5EF4-FFF2-40B4-BE49-F238E27FC236}">
                  <a16:creationId xmlns:a16="http://schemas.microsoft.com/office/drawing/2014/main" id="{0F40F818-C837-02D1-519D-039EF80C42A1}"/>
                </a:ext>
              </a:extLst>
            </p:cNvPr>
            <p:cNvGrpSpPr/>
            <p:nvPr/>
          </p:nvGrpSpPr>
          <p:grpSpPr>
            <a:xfrm>
              <a:off x="4317950" y="2992059"/>
              <a:ext cx="61258" cy="61258"/>
              <a:chOff x="4317950" y="2992059"/>
              <a:chExt cx="61258" cy="61258"/>
            </a:xfrm>
          </p:grpSpPr>
          <p:sp>
            <p:nvSpPr>
              <p:cNvPr id="299" name="Freeform 303">
                <a:extLst>
                  <a:ext uri="{FF2B5EF4-FFF2-40B4-BE49-F238E27FC236}">
                    <a16:creationId xmlns:a16="http://schemas.microsoft.com/office/drawing/2014/main" id="{CA6C6218-2F97-AE84-A808-372EABE99A0E}"/>
                  </a:ext>
                </a:extLst>
              </p:cNvPr>
              <p:cNvSpPr/>
              <p:nvPr/>
            </p:nvSpPr>
            <p:spPr>
              <a:xfrm>
                <a:off x="4317950" y="3022688"/>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00" name="Freeform 304">
                <a:extLst>
                  <a:ext uri="{FF2B5EF4-FFF2-40B4-BE49-F238E27FC236}">
                    <a16:creationId xmlns:a16="http://schemas.microsoft.com/office/drawing/2014/main" id="{9384E05B-ADA6-C828-DDE6-0C3DEFDE2FB9}"/>
                  </a:ext>
                </a:extLst>
              </p:cNvPr>
              <p:cNvSpPr/>
              <p:nvPr/>
            </p:nvSpPr>
            <p:spPr>
              <a:xfrm>
                <a:off x="4348580" y="2992059"/>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269" name="Graphic 4">
              <a:extLst>
                <a:ext uri="{FF2B5EF4-FFF2-40B4-BE49-F238E27FC236}">
                  <a16:creationId xmlns:a16="http://schemas.microsoft.com/office/drawing/2014/main" id="{7BE660AF-CBEF-DF63-22FF-35BAAE1A9A72}"/>
                </a:ext>
              </a:extLst>
            </p:cNvPr>
            <p:cNvGrpSpPr/>
            <p:nvPr/>
          </p:nvGrpSpPr>
          <p:grpSpPr>
            <a:xfrm>
              <a:off x="4334218" y="2992059"/>
              <a:ext cx="61258" cy="61258"/>
              <a:chOff x="4334218" y="2992059"/>
              <a:chExt cx="61258" cy="61258"/>
            </a:xfrm>
          </p:grpSpPr>
          <p:sp>
            <p:nvSpPr>
              <p:cNvPr id="297" name="Freeform 301">
                <a:extLst>
                  <a:ext uri="{FF2B5EF4-FFF2-40B4-BE49-F238E27FC236}">
                    <a16:creationId xmlns:a16="http://schemas.microsoft.com/office/drawing/2014/main" id="{5A27E13F-8856-21CE-E793-ACE07C3C75AD}"/>
                  </a:ext>
                </a:extLst>
              </p:cNvPr>
              <p:cNvSpPr/>
              <p:nvPr/>
            </p:nvSpPr>
            <p:spPr>
              <a:xfrm>
                <a:off x="4334218" y="3022688"/>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98" name="Freeform 302">
                <a:extLst>
                  <a:ext uri="{FF2B5EF4-FFF2-40B4-BE49-F238E27FC236}">
                    <a16:creationId xmlns:a16="http://schemas.microsoft.com/office/drawing/2014/main" id="{FD2849E5-06CF-5E7B-71D4-CFF1D23E7F06}"/>
                  </a:ext>
                </a:extLst>
              </p:cNvPr>
              <p:cNvSpPr/>
              <p:nvPr/>
            </p:nvSpPr>
            <p:spPr>
              <a:xfrm>
                <a:off x="4364847" y="2992059"/>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270" name="Graphic 4">
              <a:extLst>
                <a:ext uri="{FF2B5EF4-FFF2-40B4-BE49-F238E27FC236}">
                  <a16:creationId xmlns:a16="http://schemas.microsoft.com/office/drawing/2014/main" id="{82D0E469-366B-A272-54E0-F8E06DB3164F}"/>
                </a:ext>
              </a:extLst>
            </p:cNvPr>
            <p:cNvGrpSpPr/>
            <p:nvPr/>
          </p:nvGrpSpPr>
          <p:grpSpPr>
            <a:xfrm>
              <a:off x="4368660" y="2992059"/>
              <a:ext cx="61258" cy="61258"/>
              <a:chOff x="4368660" y="2992059"/>
              <a:chExt cx="61258" cy="61258"/>
            </a:xfrm>
          </p:grpSpPr>
          <p:sp>
            <p:nvSpPr>
              <p:cNvPr id="295" name="Freeform 299">
                <a:extLst>
                  <a:ext uri="{FF2B5EF4-FFF2-40B4-BE49-F238E27FC236}">
                    <a16:creationId xmlns:a16="http://schemas.microsoft.com/office/drawing/2014/main" id="{8163ABC2-C728-6C95-ED57-6F7F5539DEE9}"/>
                  </a:ext>
                </a:extLst>
              </p:cNvPr>
              <p:cNvSpPr/>
              <p:nvPr/>
            </p:nvSpPr>
            <p:spPr>
              <a:xfrm>
                <a:off x="4368660" y="3022688"/>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96" name="Freeform 300">
                <a:extLst>
                  <a:ext uri="{FF2B5EF4-FFF2-40B4-BE49-F238E27FC236}">
                    <a16:creationId xmlns:a16="http://schemas.microsoft.com/office/drawing/2014/main" id="{D7E6EF12-EEBE-BF01-0252-0C4B52F3D95D}"/>
                  </a:ext>
                </a:extLst>
              </p:cNvPr>
              <p:cNvSpPr/>
              <p:nvPr/>
            </p:nvSpPr>
            <p:spPr>
              <a:xfrm>
                <a:off x="4399289" y="2992059"/>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271" name="Graphic 4">
              <a:extLst>
                <a:ext uri="{FF2B5EF4-FFF2-40B4-BE49-F238E27FC236}">
                  <a16:creationId xmlns:a16="http://schemas.microsoft.com/office/drawing/2014/main" id="{C33CD04B-99FA-E00C-29C9-A0995AEAA153}"/>
                </a:ext>
              </a:extLst>
            </p:cNvPr>
            <p:cNvGrpSpPr/>
            <p:nvPr/>
          </p:nvGrpSpPr>
          <p:grpSpPr>
            <a:xfrm>
              <a:off x="4743456" y="2992059"/>
              <a:ext cx="61258" cy="61258"/>
              <a:chOff x="4743456" y="2992059"/>
              <a:chExt cx="61258" cy="61258"/>
            </a:xfrm>
          </p:grpSpPr>
          <p:sp>
            <p:nvSpPr>
              <p:cNvPr id="293" name="Freeform 297">
                <a:extLst>
                  <a:ext uri="{FF2B5EF4-FFF2-40B4-BE49-F238E27FC236}">
                    <a16:creationId xmlns:a16="http://schemas.microsoft.com/office/drawing/2014/main" id="{F66F5609-BFF6-FDC3-BBD3-22B210C14E2A}"/>
                  </a:ext>
                </a:extLst>
              </p:cNvPr>
              <p:cNvSpPr/>
              <p:nvPr/>
            </p:nvSpPr>
            <p:spPr>
              <a:xfrm>
                <a:off x="4743456" y="3022688"/>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94" name="Freeform 298">
                <a:extLst>
                  <a:ext uri="{FF2B5EF4-FFF2-40B4-BE49-F238E27FC236}">
                    <a16:creationId xmlns:a16="http://schemas.microsoft.com/office/drawing/2014/main" id="{56DB3F69-CBC2-9279-001D-11F7AA2C3518}"/>
                  </a:ext>
                </a:extLst>
              </p:cNvPr>
              <p:cNvSpPr/>
              <p:nvPr/>
            </p:nvSpPr>
            <p:spPr>
              <a:xfrm>
                <a:off x="4774086" y="2992059"/>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272" name="Graphic 4">
              <a:extLst>
                <a:ext uri="{FF2B5EF4-FFF2-40B4-BE49-F238E27FC236}">
                  <a16:creationId xmlns:a16="http://schemas.microsoft.com/office/drawing/2014/main" id="{9C6ECCA1-C059-3243-6A33-548198CB4832}"/>
                </a:ext>
              </a:extLst>
            </p:cNvPr>
            <p:cNvGrpSpPr/>
            <p:nvPr/>
          </p:nvGrpSpPr>
          <p:grpSpPr>
            <a:xfrm>
              <a:off x="4739644" y="2992059"/>
              <a:ext cx="61258" cy="61258"/>
              <a:chOff x="4739644" y="2992059"/>
              <a:chExt cx="61258" cy="61258"/>
            </a:xfrm>
          </p:grpSpPr>
          <p:sp>
            <p:nvSpPr>
              <p:cNvPr id="291" name="Freeform 295">
                <a:extLst>
                  <a:ext uri="{FF2B5EF4-FFF2-40B4-BE49-F238E27FC236}">
                    <a16:creationId xmlns:a16="http://schemas.microsoft.com/office/drawing/2014/main" id="{8CA400C3-3EA1-0476-103E-D32235B76D02}"/>
                  </a:ext>
                </a:extLst>
              </p:cNvPr>
              <p:cNvSpPr/>
              <p:nvPr/>
            </p:nvSpPr>
            <p:spPr>
              <a:xfrm>
                <a:off x="4739644" y="3022688"/>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92" name="Freeform 296">
                <a:extLst>
                  <a:ext uri="{FF2B5EF4-FFF2-40B4-BE49-F238E27FC236}">
                    <a16:creationId xmlns:a16="http://schemas.microsoft.com/office/drawing/2014/main" id="{68CF2709-786D-BF95-3CC9-4CC7C6B01529}"/>
                  </a:ext>
                </a:extLst>
              </p:cNvPr>
              <p:cNvSpPr/>
              <p:nvPr/>
            </p:nvSpPr>
            <p:spPr>
              <a:xfrm>
                <a:off x="4770273" y="2992059"/>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273" name="Graphic 4">
              <a:extLst>
                <a:ext uri="{FF2B5EF4-FFF2-40B4-BE49-F238E27FC236}">
                  <a16:creationId xmlns:a16="http://schemas.microsoft.com/office/drawing/2014/main" id="{5C036B37-DBCF-2B48-CE05-0758090A5CCB}"/>
                </a:ext>
              </a:extLst>
            </p:cNvPr>
            <p:cNvGrpSpPr/>
            <p:nvPr/>
          </p:nvGrpSpPr>
          <p:grpSpPr>
            <a:xfrm>
              <a:off x="4890630" y="2992059"/>
              <a:ext cx="61258" cy="61258"/>
              <a:chOff x="4890630" y="2992059"/>
              <a:chExt cx="61258" cy="61258"/>
            </a:xfrm>
          </p:grpSpPr>
          <p:sp>
            <p:nvSpPr>
              <p:cNvPr id="289" name="Freeform 293">
                <a:extLst>
                  <a:ext uri="{FF2B5EF4-FFF2-40B4-BE49-F238E27FC236}">
                    <a16:creationId xmlns:a16="http://schemas.microsoft.com/office/drawing/2014/main" id="{CE6C4429-183D-1284-5A27-DC3C9F92E0D6}"/>
                  </a:ext>
                </a:extLst>
              </p:cNvPr>
              <p:cNvSpPr/>
              <p:nvPr/>
            </p:nvSpPr>
            <p:spPr>
              <a:xfrm>
                <a:off x="4890630" y="3022688"/>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90" name="Freeform 294">
                <a:extLst>
                  <a:ext uri="{FF2B5EF4-FFF2-40B4-BE49-F238E27FC236}">
                    <a16:creationId xmlns:a16="http://schemas.microsoft.com/office/drawing/2014/main" id="{B960A1E7-F242-0B33-17CB-3DE2A06A494E}"/>
                  </a:ext>
                </a:extLst>
              </p:cNvPr>
              <p:cNvSpPr/>
              <p:nvPr/>
            </p:nvSpPr>
            <p:spPr>
              <a:xfrm>
                <a:off x="4921259" y="2992059"/>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274" name="Graphic 4">
              <a:extLst>
                <a:ext uri="{FF2B5EF4-FFF2-40B4-BE49-F238E27FC236}">
                  <a16:creationId xmlns:a16="http://schemas.microsoft.com/office/drawing/2014/main" id="{138D7DCE-AE35-F12A-7DCF-A116BACB2A3B}"/>
                </a:ext>
              </a:extLst>
            </p:cNvPr>
            <p:cNvGrpSpPr/>
            <p:nvPr/>
          </p:nvGrpSpPr>
          <p:grpSpPr>
            <a:xfrm>
              <a:off x="4914142" y="2992059"/>
              <a:ext cx="61258" cy="61258"/>
              <a:chOff x="4914142" y="2992059"/>
              <a:chExt cx="61258" cy="61258"/>
            </a:xfrm>
          </p:grpSpPr>
          <p:sp>
            <p:nvSpPr>
              <p:cNvPr id="287" name="Freeform 291">
                <a:extLst>
                  <a:ext uri="{FF2B5EF4-FFF2-40B4-BE49-F238E27FC236}">
                    <a16:creationId xmlns:a16="http://schemas.microsoft.com/office/drawing/2014/main" id="{037719CF-4B39-990C-9E2D-E1EBD76F62AF}"/>
                  </a:ext>
                </a:extLst>
              </p:cNvPr>
              <p:cNvSpPr/>
              <p:nvPr/>
            </p:nvSpPr>
            <p:spPr>
              <a:xfrm>
                <a:off x="4914142" y="3022688"/>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88" name="Freeform 292">
                <a:extLst>
                  <a:ext uri="{FF2B5EF4-FFF2-40B4-BE49-F238E27FC236}">
                    <a16:creationId xmlns:a16="http://schemas.microsoft.com/office/drawing/2014/main" id="{B5EC656A-C987-047C-A030-0DF8D045F2BC}"/>
                  </a:ext>
                </a:extLst>
              </p:cNvPr>
              <p:cNvSpPr/>
              <p:nvPr/>
            </p:nvSpPr>
            <p:spPr>
              <a:xfrm>
                <a:off x="4944771" y="2992059"/>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275" name="Graphic 4">
              <a:extLst>
                <a:ext uri="{FF2B5EF4-FFF2-40B4-BE49-F238E27FC236}">
                  <a16:creationId xmlns:a16="http://schemas.microsoft.com/office/drawing/2014/main" id="{845A77A1-373B-A75B-1336-41BAAD8EC481}"/>
                </a:ext>
              </a:extLst>
            </p:cNvPr>
            <p:cNvGrpSpPr/>
            <p:nvPr/>
          </p:nvGrpSpPr>
          <p:grpSpPr>
            <a:xfrm>
              <a:off x="4927487" y="2992059"/>
              <a:ext cx="61258" cy="61258"/>
              <a:chOff x="4927487" y="2992059"/>
              <a:chExt cx="61258" cy="61258"/>
            </a:xfrm>
          </p:grpSpPr>
          <p:sp>
            <p:nvSpPr>
              <p:cNvPr id="285" name="Freeform 289">
                <a:extLst>
                  <a:ext uri="{FF2B5EF4-FFF2-40B4-BE49-F238E27FC236}">
                    <a16:creationId xmlns:a16="http://schemas.microsoft.com/office/drawing/2014/main" id="{DBEFFC92-021F-884F-1591-852166E1A489}"/>
                  </a:ext>
                </a:extLst>
              </p:cNvPr>
              <p:cNvSpPr/>
              <p:nvPr/>
            </p:nvSpPr>
            <p:spPr>
              <a:xfrm>
                <a:off x="4927487" y="3022688"/>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86" name="Freeform 290">
                <a:extLst>
                  <a:ext uri="{FF2B5EF4-FFF2-40B4-BE49-F238E27FC236}">
                    <a16:creationId xmlns:a16="http://schemas.microsoft.com/office/drawing/2014/main" id="{8A339A54-78D5-B95A-8377-5E43F05B5D58}"/>
                  </a:ext>
                </a:extLst>
              </p:cNvPr>
              <p:cNvSpPr/>
              <p:nvPr/>
            </p:nvSpPr>
            <p:spPr>
              <a:xfrm>
                <a:off x="4958116" y="2992059"/>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276" name="Graphic 4">
              <a:extLst>
                <a:ext uri="{FF2B5EF4-FFF2-40B4-BE49-F238E27FC236}">
                  <a16:creationId xmlns:a16="http://schemas.microsoft.com/office/drawing/2014/main" id="{0E4E601F-BC85-206B-0E14-B59E98B29F00}"/>
                </a:ext>
              </a:extLst>
            </p:cNvPr>
            <p:cNvGrpSpPr/>
            <p:nvPr/>
          </p:nvGrpSpPr>
          <p:grpSpPr>
            <a:xfrm>
              <a:off x="4968919" y="2992059"/>
              <a:ext cx="61258" cy="61258"/>
              <a:chOff x="4968919" y="2992059"/>
              <a:chExt cx="61258" cy="61258"/>
            </a:xfrm>
          </p:grpSpPr>
          <p:sp>
            <p:nvSpPr>
              <p:cNvPr id="283" name="Freeform 287">
                <a:extLst>
                  <a:ext uri="{FF2B5EF4-FFF2-40B4-BE49-F238E27FC236}">
                    <a16:creationId xmlns:a16="http://schemas.microsoft.com/office/drawing/2014/main" id="{77991E54-D7B5-A56A-74C0-E12AF46B473E}"/>
                  </a:ext>
                </a:extLst>
              </p:cNvPr>
              <p:cNvSpPr/>
              <p:nvPr/>
            </p:nvSpPr>
            <p:spPr>
              <a:xfrm>
                <a:off x="4968919" y="3022688"/>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84" name="Freeform 288">
                <a:extLst>
                  <a:ext uri="{FF2B5EF4-FFF2-40B4-BE49-F238E27FC236}">
                    <a16:creationId xmlns:a16="http://schemas.microsoft.com/office/drawing/2014/main" id="{F6A613F5-AEBD-7775-A9A9-D5E9A24799BC}"/>
                  </a:ext>
                </a:extLst>
              </p:cNvPr>
              <p:cNvSpPr/>
              <p:nvPr/>
            </p:nvSpPr>
            <p:spPr>
              <a:xfrm>
                <a:off x="4999548" y="2992059"/>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277" name="Graphic 4">
              <a:extLst>
                <a:ext uri="{FF2B5EF4-FFF2-40B4-BE49-F238E27FC236}">
                  <a16:creationId xmlns:a16="http://schemas.microsoft.com/office/drawing/2014/main" id="{EAAEE22D-5E06-8660-0E29-567F0D05E00C}"/>
                </a:ext>
              </a:extLst>
            </p:cNvPr>
            <p:cNvGrpSpPr/>
            <p:nvPr/>
          </p:nvGrpSpPr>
          <p:grpSpPr>
            <a:xfrm>
              <a:off x="5472460" y="2992059"/>
              <a:ext cx="61131" cy="61258"/>
              <a:chOff x="5472460" y="2992059"/>
              <a:chExt cx="61131" cy="61258"/>
            </a:xfrm>
          </p:grpSpPr>
          <p:sp>
            <p:nvSpPr>
              <p:cNvPr id="281" name="Freeform 285">
                <a:extLst>
                  <a:ext uri="{FF2B5EF4-FFF2-40B4-BE49-F238E27FC236}">
                    <a16:creationId xmlns:a16="http://schemas.microsoft.com/office/drawing/2014/main" id="{B5D31A5A-2A61-4F07-FB90-4C506B9264E1}"/>
                  </a:ext>
                </a:extLst>
              </p:cNvPr>
              <p:cNvSpPr/>
              <p:nvPr/>
            </p:nvSpPr>
            <p:spPr>
              <a:xfrm>
                <a:off x="5472460" y="3022688"/>
                <a:ext cx="61131" cy="12709"/>
              </a:xfrm>
              <a:custGeom>
                <a:avLst/>
                <a:gdLst>
                  <a:gd name="csX0" fmla="*/ 0 w 61131"/>
                  <a:gd name="csY0" fmla="*/ 0 h 12709"/>
                  <a:gd name="csX1" fmla="*/ 61131 w 61131"/>
                  <a:gd name="csY1" fmla="*/ 0 h 12709"/>
                </a:gdLst>
                <a:ahLst/>
                <a:cxnLst>
                  <a:cxn ang="0">
                    <a:pos x="csX0" y="csY0"/>
                  </a:cxn>
                  <a:cxn ang="0">
                    <a:pos x="csX1" y="csY1"/>
                  </a:cxn>
                </a:cxnLst>
                <a:rect l="l" t="t" r="r" b="b"/>
                <a:pathLst>
                  <a:path w="61131" h="12709">
                    <a:moveTo>
                      <a:pt x="0" y="0"/>
                    </a:moveTo>
                    <a:lnTo>
                      <a:pt x="61131"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82" name="Freeform 286">
                <a:extLst>
                  <a:ext uri="{FF2B5EF4-FFF2-40B4-BE49-F238E27FC236}">
                    <a16:creationId xmlns:a16="http://schemas.microsoft.com/office/drawing/2014/main" id="{4B19ED2B-CC52-B5ED-F2F1-5069727C6E10}"/>
                  </a:ext>
                </a:extLst>
              </p:cNvPr>
              <p:cNvSpPr/>
              <p:nvPr/>
            </p:nvSpPr>
            <p:spPr>
              <a:xfrm>
                <a:off x="5502962" y="2992059"/>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278" name="Graphic 4">
              <a:extLst>
                <a:ext uri="{FF2B5EF4-FFF2-40B4-BE49-F238E27FC236}">
                  <a16:creationId xmlns:a16="http://schemas.microsoft.com/office/drawing/2014/main" id="{7DD8A9E0-646C-0DB5-343E-6B9FF1A7661D}"/>
                </a:ext>
              </a:extLst>
            </p:cNvPr>
            <p:cNvGrpSpPr/>
            <p:nvPr/>
          </p:nvGrpSpPr>
          <p:grpSpPr>
            <a:xfrm>
              <a:off x="5696651" y="3399009"/>
              <a:ext cx="61258" cy="61258"/>
              <a:chOff x="5696651" y="3399009"/>
              <a:chExt cx="61258" cy="61258"/>
            </a:xfrm>
          </p:grpSpPr>
          <p:sp>
            <p:nvSpPr>
              <p:cNvPr id="279" name="Freeform 283">
                <a:extLst>
                  <a:ext uri="{FF2B5EF4-FFF2-40B4-BE49-F238E27FC236}">
                    <a16:creationId xmlns:a16="http://schemas.microsoft.com/office/drawing/2014/main" id="{91C24D3D-E825-DE4F-18FA-11F4B93889C4}"/>
                  </a:ext>
                </a:extLst>
              </p:cNvPr>
              <p:cNvSpPr/>
              <p:nvPr/>
            </p:nvSpPr>
            <p:spPr>
              <a:xfrm>
                <a:off x="5696651" y="3429639"/>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80" name="Freeform 284">
                <a:extLst>
                  <a:ext uri="{FF2B5EF4-FFF2-40B4-BE49-F238E27FC236}">
                    <a16:creationId xmlns:a16="http://schemas.microsoft.com/office/drawing/2014/main" id="{09A70F17-FCCC-3370-6FD6-A56784FA85EA}"/>
                  </a:ext>
                </a:extLst>
              </p:cNvPr>
              <p:cNvSpPr/>
              <p:nvPr/>
            </p:nvSpPr>
            <p:spPr>
              <a:xfrm>
                <a:off x="5727281" y="3399009"/>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grpSp>
        <p:nvGrpSpPr>
          <p:cNvPr id="317" name="Graphic 4">
            <a:extLst>
              <a:ext uri="{FF2B5EF4-FFF2-40B4-BE49-F238E27FC236}">
                <a16:creationId xmlns:a16="http://schemas.microsoft.com/office/drawing/2014/main" id="{CBD8A015-A6D0-5F57-1CD8-FDDD04C69103}"/>
              </a:ext>
            </a:extLst>
          </p:cNvPr>
          <p:cNvGrpSpPr/>
          <p:nvPr/>
        </p:nvGrpSpPr>
        <p:grpSpPr>
          <a:xfrm>
            <a:off x="3474140" y="2714871"/>
            <a:ext cx="82873" cy="85842"/>
            <a:chOff x="4097572" y="3189433"/>
            <a:chExt cx="61258" cy="61258"/>
          </a:xfrm>
        </p:grpSpPr>
        <p:sp>
          <p:nvSpPr>
            <p:cNvPr id="318" name="Freeform 262">
              <a:extLst>
                <a:ext uri="{FF2B5EF4-FFF2-40B4-BE49-F238E27FC236}">
                  <a16:creationId xmlns:a16="http://schemas.microsoft.com/office/drawing/2014/main" id="{E7CBE48C-CD0E-C555-EAAE-BE00CA4BFFEC}"/>
                </a:ext>
              </a:extLst>
            </p:cNvPr>
            <p:cNvSpPr/>
            <p:nvPr/>
          </p:nvSpPr>
          <p:spPr>
            <a:xfrm>
              <a:off x="4097572" y="3220063"/>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chemeClr val="accent3">
                  <a:lumMod val="40000"/>
                  <a:lumOff val="60000"/>
                </a:schemeClr>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19" name="Freeform 263">
              <a:extLst>
                <a:ext uri="{FF2B5EF4-FFF2-40B4-BE49-F238E27FC236}">
                  <a16:creationId xmlns:a16="http://schemas.microsoft.com/office/drawing/2014/main" id="{41D17142-FEAE-2DB2-37B0-C719F6A72C36}"/>
                </a:ext>
              </a:extLst>
            </p:cNvPr>
            <p:cNvSpPr/>
            <p:nvPr/>
          </p:nvSpPr>
          <p:spPr>
            <a:xfrm>
              <a:off x="4128201" y="3189433"/>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chemeClr val="accent3">
                  <a:lumMod val="40000"/>
                  <a:lumOff val="60000"/>
                </a:schemeClr>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sp>
        <p:nvSpPr>
          <p:cNvPr id="320" name="Freeform 62">
            <a:extLst>
              <a:ext uri="{FF2B5EF4-FFF2-40B4-BE49-F238E27FC236}">
                <a16:creationId xmlns:a16="http://schemas.microsoft.com/office/drawing/2014/main" id="{83D3DEA5-8F00-783D-08B6-0A39B16A4CAD}"/>
              </a:ext>
            </a:extLst>
          </p:cNvPr>
          <p:cNvSpPr/>
          <p:nvPr/>
        </p:nvSpPr>
        <p:spPr>
          <a:xfrm>
            <a:off x="1304296" y="1887076"/>
            <a:ext cx="17193" cy="1727366"/>
          </a:xfrm>
          <a:custGeom>
            <a:avLst/>
            <a:gdLst>
              <a:gd name="csX0" fmla="*/ 0 w 12709"/>
              <a:gd name="csY0" fmla="*/ 1232671 h 1232671"/>
              <a:gd name="csX1" fmla="*/ 0 w 12709"/>
              <a:gd name="csY1" fmla="*/ 0 h 1232671"/>
            </a:gdLst>
            <a:ahLst/>
            <a:cxnLst>
              <a:cxn ang="0">
                <a:pos x="csX0" y="csY0"/>
              </a:cxn>
              <a:cxn ang="0">
                <a:pos x="csX1" y="csY1"/>
              </a:cxn>
            </a:cxnLst>
            <a:rect l="l" t="t" r="r" b="b"/>
            <a:pathLst>
              <a:path w="12709" h="1232671">
                <a:moveTo>
                  <a:pt x="0" y="1232671"/>
                </a:moveTo>
                <a:lnTo>
                  <a:pt x="0" y="0"/>
                </a:lnTo>
              </a:path>
            </a:pathLst>
          </a:custGeom>
          <a:ln w="19058" cap="flat">
            <a:solidFill>
              <a:schemeClr val="accent2">
                <a:lumMod val="20000"/>
                <a:lumOff val="80000"/>
              </a:schemeClr>
            </a:solidFill>
            <a:prstDash val="sysDash"/>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21" name="TextBox 320">
            <a:extLst>
              <a:ext uri="{FF2B5EF4-FFF2-40B4-BE49-F238E27FC236}">
                <a16:creationId xmlns:a16="http://schemas.microsoft.com/office/drawing/2014/main" id="{ED227E2F-3770-E028-C350-225FB3F55B4A}"/>
              </a:ext>
            </a:extLst>
          </p:cNvPr>
          <p:cNvSpPr txBox="1"/>
          <p:nvPr/>
        </p:nvSpPr>
        <p:spPr>
          <a:xfrm>
            <a:off x="813752" y="3874577"/>
            <a:ext cx="330540" cy="194797"/>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666" b="1"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CR </a:t>
            </a:r>
          </a:p>
        </p:txBody>
      </p:sp>
      <p:sp>
        <p:nvSpPr>
          <p:cNvPr id="322" name="TextBox 321">
            <a:extLst>
              <a:ext uri="{FF2B5EF4-FFF2-40B4-BE49-F238E27FC236}">
                <a16:creationId xmlns:a16="http://schemas.microsoft.com/office/drawing/2014/main" id="{1A0DA6BA-07F4-80F4-D92C-AE9709C9DC0D}"/>
              </a:ext>
            </a:extLst>
          </p:cNvPr>
          <p:cNvSpPr txBox="1"/>
          <p:nvPr/>
        </p:nvSpPr>
        <p:spPr>
          <a:xfrm>
            <a:off x="676301" y="3753291"/>
            <a:ext cx="1063112" cy="194797"/>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666"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No. of patients at risk</a:t>
            </a:r>
          </a:p>
        </p:txBody>
      </p:sp>
      <p:grpSp>
        <p:nvGrpSpPr>
          <p:cNvPr id="323" name="Graphic 4">
            <a:extLst>
              <a:ext uri="{FF2B5EF4-FFF2-40B4-BE49-F238E27FC236}">
                <a16:creationId xmlns:a16="http://schemas.microsoft.com/office/drawing/2014/main" id="{961C821F-CE47-5CA9-C334-6903F8E6CBD4}"/>
              </a:ext>
            </a:extLst>
          </p:cNvPr>
          <p:cNvGrpSpPr/>
          <p:nvPr/>
        </p:nvGrpSpPr>
        <p:grpSpPr>
          <a:xfrm>
            <a:off x="1153129" y="3873330"/>
            <a:ext cx="4809136" cy="195153"/>
            <a:chOff x="2381922" y="4016123"/>
            <a:chExt cx="3554827" cy="139264"/>
          </a:xfrm>
          <a:solidFill>
            <a:srgbClr val="000000"/>
          </a:solidFill>
        </p:grpSpPr>
        <p:sp>
          <p:nvSpPr>
            <p:cNvPr id="333" name="TextBox 332">
              <a:extLst>
                <a:ext uri="{FF2B5EF4-FFF2-40B4-BE49-F238E27FC236}">
                  <a16:creationId xmlns:a16="http://schemas.microsoft.com/office/drawing/2014/main" id="{82B2C78B-324A-3B33-F595-380906670F5D}"/>
                </a:ext>
              </a:extLst>
            </p:cNvPr>
            <p:cNvSpPr txBox="1"/>
            <p:nvPr/>
          </p:nvSpPr>
          <p:spPr>
            <a:xfrm>
              <a:off x="4490390" y="4016377"/>
              <a:ext cx="207596"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0</a:t>
              </a:r>
            </a:p>
          </p:txBody>
        </p:sp>
        <p:sp>
          <p:nvSpPr>
            <p:cNvPr id="328" name="TextBox 327">
              <a:extLst>
                <a:ext uri="{FF2B5EF4-FFF2-40B4-BE49-F238E27FC236}">
                  <a16:creationId xmlns:a16="http://schemas.microsoft.com/office/drawing/2014/main" id="{3590B21A-4180-E3EA-EC7C-86CF5D506C54}"/>
                </a:ext>
              </a:extLst>
            </p:cNvPr>
            <p:cNvSpPr txBox="1"/>
            <p:nvPr/>
          </p:nvSpPr>
          <p:spPr>
            <a:xfrm>
              <a:off x="3432724" y="4016377"/>
              <a:ext cx="207596"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1</a:t>
              </a:r>
            </a:p>
          </p:txBody>
        </p:sp>
        <p:sp>
          <p:nvSpPr>
            <p:cNvPr id="324" name="TextBox 323">
              <a:extLst>
                <a:ext uri="{FF2B5EF4-FFF2-40B4-BE49-F238E27FC236}">
                  <a16:creationId xmlns:a16="http://schemas.microsoft.com/office/drawing/2014/main" id="{8DBEB0B1-20C3-2B4F-9BF7-247E0A383214}"/>
                </a:ext>
              </a:extLst>
            </p:cNvPr>
            <p:cNvSpPr txBox="1"/>
            <p:nvPr/>
          </p:nvSpPr>
          <p:spPr>
            <a:xfrm>
              <a:off x="2381922" y="4016377"/>
              <a:ext cx="207596"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31</a:t>
              </a:r>
            </a:p>
          </p:txBody>
        </p:sp>
        <p:sp>
          <p:nvSpPr>
            <p:cNvPr id="325" name="TextBox 324">
              <a:extLst>
                <a:ext uri="{FF2B5EF4-FFF2-40B4-BE49-F238E27FC236}">
                  <a16:creationId xmlns:a16="http://schemas.microsoft.com/office/drawing/2014/main" id="{84A3AA33-3101-490D-3839-91C1162023B1}"/>
                </a:ext>
              </a:extLst>
            </p:cNvPr>
            <p:cNvSpPr txBox="1"/>
            <p:nvPr/>
          </p:nvSpPr>
          <p:spPr>
            <a:xfrm>
              <a:off x="2609164" y="4016377"/>
              <a:ext cx="207596"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8</a:t>
              </a:r>
            </a:p>
          </p:txBody>
        </p:sp>
        <p:sp>
          <p:nvSpPr>
            <p:cNvPr id="326" name="TextBox 325">
              <a:extLst>
                <a:ext uri="{FF2B5EF4-FFF2-40B4-BE49-F238E27FC236}">
                  <a16:creationId xmlns:a16="http://schemas.microsoft.com/office/drawing/2014/main" id="{1489FD5D-B41A-4901-DCEA-0EA37BA2E82B}"/>
                </a:ext>
              </a:extLst>
            </p:cNvPr>
            <p:cNvSpPr txBox="1"/>
            <p:nvPr/>
          </p:nvSpPr>
          <p:spPr>
            <a:xfrm>
              <a:off x="2805523" y="4016377"/>
              <a:ext cx="207596"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6</a:t>
              </a:r>
            </a:p>
          </p:txBody>
        </p:sp>
        <p:sp>
          <p:nvSpPr>
            <p:cNvPr id="327" name="TextBox 326">
              <a:extLst>
                <a:ext uri="{FF2B5EF4-FFF2-40B4-BE49-F238E27FC236}">
                  <a16:creationId xmlns:a16="http://schemas.microsoft.com/office/drawing/2014/main" id="{49753094-D96D-2713-C285-F2C6F408BE25}"/>
                </a:ext>
              </a:extLst>
            </p:cNvPr>
            <p:cNvSpPr txBox="1"/>
            <p:nvPr/>
          </p:nvSpPr>
          <p:spPr>
            <a:xfrm>
              <a:off x="3025772" y="4016377"/>
              <a:ext cx="207596"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5</a:t>
              </a:r>
            </a:p>
          </p:txBody>
        </p:sp>
        <p:sp>
          <p:nvSpPr>
            <p:cNvPr id="329" name="TextBox 328">
              <a:extLst>
                <a:ext uri="{FF2B5EF4-FFF2-40B4-BE49-F238E27FC236}">
                  <a16:creationId xmlns:a16="http://schemas.microsoft.com/office/drawing/2014/main" id="{55EA1F26-FFFE-AA6B-DAA1-D097C57655A5}"/>
                </a:ext>
              </a:extLst>
            </p:cNvPr>
            <p:cNvSpPr txBox="1"/>
            <p:nvPr/>
          </p:nvSpPr>
          <p:spPr>
            <a:xfrm>
              <a:off x="3647510" y="4016377"/>
              <a:ext cx="207596"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1</a:t>
              </a:r>
            </a:p>
          </p:txBody>
        </p:sp>
        <p:sp>
          <p:nvSpPr>
            <p:cNvPr id="330" name="TextBox 329">
              <a:extLst>
                <a:ext uri="{FF2B5EF4-FFF2-40B4-BE49-F238E27FC236}">
                  <a16:creationId xmlns:a16="http://schemas.microsoft.com/office/drawing/2014/main" id="{CD2A9017-D9B6-797A-AA30-D30C884B4C81}"/>
                </a:ext>
              </a:extLst>
            </p:cNvPr>
            <p:cNvSpPr txBox="1"/>
            <p:nvPr/>
          </p:nvSpPr>
          <p:spPr>
            <a:xfrm>
              <a:off x="3848444" y="4016377"/>
              <a:ext cx="207596"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9</a:t>
              </a:r>
            </a:p>
          </p:txBody>
        </p:sp>
        <p:sp>
          <p:nvSpPr>
            <p:cNvPr id="331" name="TextBox 330">
              <a:extLst>
                <a:ext uri="{FF2B5EF4-FFF2-40B4-BE49-F238E27FC236}">
                  <a16:creationId xmlns:a16="http://schemas.microsoft.com/office/drawing/2014/main" id="{16599040-5274-43C3-55DB-E5DBFBFA8289}"/>
                </a:ext>
              </a:extLst>
            </p:cNvPr>
            <p:cNvSpPr txBox="1"/>
            <p:nvPr/>
          </p:nvSpPr>
          <p:spPr>
            <a:xfrm>
              <a:off x="4057129" y="4016377"/>
              <a:ext cx="207596"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6</a:t>
              </a:r>
            </a:p>
          </p:txBody>
        </p:sp>
        <p:sp>
          <p:nvSpPr>
            <p:cNvPr id="332" name="TextBox 331">
              <a:extLst>
                <a:ext uri="{FF2B5EF4-FFF2-40B4-BE49-F238E27FC236}">
                  <a16:creationId xmlns:a16="http://schemas.microsoft.com/office/drawing/2014/main" id="{275A9266-7590-1ACF-29A8-09EBCAFA2168}"/>
                </a:ext>
              </a:extLst>
            </p:cNvPr>
            <p:cNvSpPr txBox="1"/>
            <p:nvPr/>
          </p:nvSpPr>
          <p:spPr>
            <a:xfrm>
              <a:off x="4271789" y="4016377"/>
              <a:ext cx="207596"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1</a:t>
              </a:r>
            </a:p>
          </p:txBody>
        </p:sp>
        <p:sp>
          <p:nvSpPr>
            <p:cNvPr id="334" name="TextBox 333">
              <a:extLst>
                <a:ext uri="{FF2B5EF4-FFF2-40B4-BE49-F238E27FC236}">
                  <a16:creationId xmlns:a16="http://schemas.microsoft.com/office/drawing/2014/main" id="{F950E576-5365-2785-8740-76A2C31C1680}"/>
                </a:ext>
              </a:extLst>
            </p:cNvPr>
            <p:cNvSpPr txBox="1"/>
            <p:nvPr/>
          </p:nvSpPr>
          <p:spPr>
            <a:xfrm>
              <a:off x="4707859" y="4016377"/>
              <a:ext cx="172049"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8</a:t>
              </a:r>
            </a:p>
          </p:txBody>
        </p:sp>
        <p:sp>
          <p:nvSpPr>
            <p:cNvPr id="335" name="TextBox 334">
              <a:extLst>
                <a:ext uri="{FF2B5EF4-FFF2-40B4-BE49-F238E27FC236}">
                  <a16:creationId xmlns:a16="http://schemas.microsoft.com/office/drawing/2014/main" id="{AF56E492-A91B-629F-EA3F-ED34775539E2}"/>
                </a:ext>
              </a:extLst>
            </p:cNvPr>
            <p:cNvSpPr txBox="1"/>
            <p:nvPr/>
          </p:nvSpPr>
          <p:spPr>
            <a:xfrm>
              <a:off x="4912733" y="4016123"/>
              <a:ext cx="172049"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4</a:t>
              </a:r>
            </a:p>
          </p:txBody>
        </p:sp>
        <p:sp>
          <p:nvSpPr>
            <p:cNvPr id="336" name="TextBox 335">
              <a:extLst>
                <a:ext uri="{FF2B5EF4-FFF2-40B4-BE49-F238E27FC236}">
                  <a16:creationId xmlns:a16="http://schemas.microsoft.com/office/drawing/2014/main" id="{ABEF9A63-1BEC-C17E-4F57-CFEE739642DE}"/>
                </a:ext>
              </a:extLst>
            </p:cNvPr>
            <p:cNvSpPr txBox="1"/>
            <p:nvPr/>
          </p:nvSpPr>
          <p:spPr>
            <a:xfrm>
              <a:off x="5125230" y="4016377"/>
              <a:ext cx="172049"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3</a:t>
              </a:r>
            </a:p>
          </p:txBody>
        </p:sp>
        <p:sp>
          <p:nvSpPr>
            <p:cNvPr id="337" name="TextBox 336">
              <a:extLst>
                <a:ext uri="{FF2B5EF4-FFF2-40B4-BE49-F238E27FC236}">
                  <a16:creationId xmlns:a16="http://schemas.microsoft.com/office/drawing/2014/main" id="{081C308A-A051-8A0D-B01F-A08D056F4F55}"/>
                </a:ext>
              </a:extLst>
            </p:cNvPr>
            <p:cNvSpPr txBox="1"/>
            <p:nvPr/>
          </p:nvSpPr>
          <p:spPr>
            <a:xfrm>
              <a:off x="5336205" y="4016377"/>
              <a:ext cx="172049"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3</a:t>
              </a:r>
            </a:p>
          </p:txBody>
        </p:sp>
        <p:sp>
          <p:nvSpPr>
            <p:cNvPr id="338" name="TextBox 337">
              <a:extLst>
                <a:ext uri="{FF2B5EF4-FFF2-40B4-BE49-F238E27FC236}">
                  <a16:creationId xmlns:a16="http://schemas.microsoft.com/office/drawing/2014/main" id="{BDE46C81-063D-BCE6-E75C-073EF9DFA1C0}"/>
                </a:ext>
              </a:extLst>
            </p:cNvPr>
            <p:cNvSpPr txBox="1"/>
            <p:nvPr/>
          </p:nvSpPr>
          <p:spPr>
            <a:xfrm>
              <a:off x="5566242" y="4016377"/>
              <a:ext cx="172049"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a:t>
              </a:r>
            </a:p>
          </p:txBody>
        </p:sp>
        <p:sp>
          <p:nvSpPr>
            <p:cNvPr id="339" name="TextBox 338">
              <a:extLst>
                <a:ext uri="{FF2B5EF4-FFF2-40B4-BE49-F238E27FC236}">
                  <a16:creationId xmlns:a16="http://schemas.microsoft.com/office/drawing/2014/main" id="{49783590-7EF1-F9D1-116B-4BEB708DC5A2}"/>
                </a:ext>
              </a:extLst>
            </p:cNvPr>
            <p:cNvSpPr txBox="1"/>
            <p:nvPr/>
          </p:nvSpPr>
          <p:spPr>
            <a:xfrm>
              <a:off x="5712564" y="4016123"/>
              <a:ext cx="224185"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NE</a:t>
              </a:r>
            </a:p>
          </p:txBody>
        </p:sp>
        <p:sp>
          <p:nvSpPr>
            <p:cNvPr id="340" name="TextBox 339">
              <a:extLst>
                <a:ext uri="{FF2B5EF4-FFF2-40B4-BE49-F238E27FC236}">
                  <a16:creationId xmlns:a16="http://schemas.microsoft.com/office/drawing/2014/main" id="{D84F0870-C8D5-297B-D234-FEB1B573163A}"/>
                </a:ext>
              </a:extLst>
            </p:cNvPr>
            <p:cNvSpPr txBox="1"/>
            <p:nvPr/>
          </p:nvSpPr>
          <p:spPr>
            <a:xfrm>
              <a:off x="3222132" y="4016377"/>
              <a:ext cx="207596"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1</a:t>
              </a:r>
            </a:p>
          </p:txBody>
        </p:sp>
      </p:grpSp>
      <p:sp>
        <p:nvSpPr>
          <p:cNvPr id="341" name="TextBox 340">
            <a:extLst>
              <a:ext uri="{FF2B5EF4-FFF2-40B4-BE49-F238E27FC236}">
                <a16:creationId xmlns:a16="http://schemas.microsoft.com/office/drawing/2014/main" id="{7A701E63-9E16-DB77-C782-3FE59D064898}"/>
              </a:ext>
            </a:extLst>
          </p:cNvPr>
          <p:cNvSpPr txBox="1"/>
          <p:nvPr/>
        </p:nvSpPr>
        <p:spPr>
          <a:xfrm>
            <a:off x="813751" y="4106705"/>
            <a:ext cx="306494" cy="194797"/>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666" b="1"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NR</a:t>
            </a:r>
          </a:p>
        </p:txBody>
      </p:sp>
      <p:grpSp>
        <p:nvGrpSpPr>
          <p:cNvPr id="342" name="Graphic 4">
            <a:extLst>
              <a:ext uri="{FF2B5EF4-FFF2-40B4-BE49-F238E27FC236}">
                <a16:creationId xmlns:a16="http://schemas.microsoft.com/office/drawing/2014/main" id="{71CACBDE-CA01-C55E-BB8D-3CC4A421EDAF}"/>
              </a:ext>
            </a:extLst>
          </p:cNvPr>
          <p:cNvGrpSpPr/>
          <p:nvPr/>
        </p:nvGrpSpPr>
        <p:grpSpPr>
          <a:xfrm>
            <a:off x="1153129" y="4105637"/>
            <a:ext cx="4809136" cy="195153"/>
            <a:chOff x="2381922" y="4094158"/>
            <a:chExt cx="3554827" cy="139264"/>
          </a:xfrm>
          <a:solidFill>
            <a:srgbClr val="000000"/>
          </a:solidFill>
        </p:grpSpPr>
        <p:sp>
          <p:nvSpPr>
            <p:cNvPr id="343" name="TextBox 342">
              <a:extLst>
                <a:ext uri="{FF2B5EF4-FFF2-40B4-BE49-F238E27FC236}">
                  <a16:creationId xmlns:a16="http://schemas.microsoft.com/office/drawing/2014/main" id="{26EDDBCF-D8F7-57BE-D8C6-B42B26404229}"/>
                </a:ext>
              </a:extLst>
            </p:cNvPr>
            <p:cNvSpPr txBox="1"/>
            <p:nvPr/>
          </p:nvSpPr>
          <p:spPr>
            <a:xfrm>
              <a:off x="2381922" y="4094412"/>
              <a:ext cx="207596"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11</a:t>
              </a:r>
            </a:p>
          </p:txBody>
        </p:sp>
        <p:sp>
          <p:nvSpPr>
            <p:cNvPr id="344" name="TextBox 343">
              <a:extLst>
                <a:ext uri="{FF2B5EF4-FFF2-40B4-BE49-F238E27FC236}">
                  <a16:creationId xmlns:a16="http://schemas.microsoft.com/office/drawing/2014/main" id="{756994F3-B750-C31C-2C01-47B7CA205408}"/>
                </a:ext>
              </a:extLst>
            </p:cNvPr>
            <p:cNvSpPr txBox="1"/>
            <p:nvPr/>
          </p:nvSpPr>
          <p:spPr>
            <a:xfrm>
              <a:off x="2608200" y="4094158"/>
              <a:ext cx="224185"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NE</a:t>
              </a:r>
            </a:p>
          </p:txBody>
        </p:sp>
        <p:sp>
          <p:nvSpPr>
            <p:cNvPr id="345" name="TextBox 344">
              <a:extLst>
                <a:ext uri="{FF2B5EF4-FFF2-40B4-BE49-F238E27FC236}">
                  <a16:creationId xmlns:a16="http://schemas.microsoft.com/office/drawing/2014/main" id="{6ED97C36-299A-282D-8E91-7B5E5767BD75}"/>
                </a:ext>
              </a:extLst>
            </p:cNvPr>
            <p:cNvSpPr txBox="1"/>
            <p:nvPr/>
          </p:nvSpPr>
          <p:spPr>
            <a:xfrm>
              <a:off x="2804557" y="4094158"/>
              <a:ext cx="224185"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NE</a:t>
              </a:r>
            </a:p>
          </p:txBody>
        </p:sp>
        <p:sp>
          <p:nvSpPr>
            <p:cNvPr id="346" name="TextBox 345">
              <a:extLst>
                <a:ext uri="{FF2B5EF4-FFF2-40B4-BE49-F238E27FC236}">
                  <a16:creationId xmlns:a16="http://schemas.microsoft.com/office/drawing/2014/main" id="{93C5690D-D6B4-235E-736E-6A13111DF6E2}"/>
                </a:ext>
              </a:extLst>
            </p:cNvPr>
            <p:cNvSpPr txBox="1"/>
            <p:nvPr/>
          </p:nvSpPr>
          <p:spPr>
            <a:xfrm>
              <a:off x="3024809" y="4094158"/>
              <a:ext cx="224185"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NE</a:t>
              </a:r>
            </a:p>
          </p:txBody>
        </p:sp>
        <p:sp>
          <p:nvSpPr>
            <p:cNvPr id="347" name="TextBox 346">
              <a:extLst>
                <a:ext uri="{FF2B5EF4-FFF2-40B4-BE49-F238E27FC236}">
                  <a16:creationId xmlns:a16="http://schemas.microsoft.com/office/drawing/2014/main" id="{DEAB24AF-11C6-0818-C2EB-D602F6CF203D}"/>
                </a:ext>
              </a:extLst>
            </p:cNvPr>
            <p:cNvSpPr txBox="1"/>
            <p:nvPr/>
          </p:nvSpPr>
          <p:spPr>
            <a:xfrm>
              <a:off x="3431759" y="4094158"/>
              <a:ext cx="224185"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NE</a:t>
              </a:r>
            </a:p>
          </p:txBody>
        </p:sp>
        <p:sp>
          <p:nvSpPr>
            <p:cNvPr id="348" name="TextBox 347">
              <a:extLst>
                <a:ext uri="{FF2B5EF4-FFF2-40B4-BE49-F238E27FC236}">
                  <a16:creationId xmlns:a16="http://schemas.microsoft.com/office/drawing/2014/main" id="{2535EBA0-85C5-4F67-0729-CC7799CB4D02}"/>
                </a:ext>
              </a:extLst>
            </p:cNvPr>
            <p:cNvSpPr txBox="1"/>
            <p:nvPr/>
          </p:nvSpPr>
          <p:spPr>
            <a:xfrm>
              <a:off x="3646546" y="4094158"/>
              <a:ext cx="224185"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NE</a:t>
              </a:r>
            </a:p>
          </p:txBody>
        </p:sp>
        <p:sp>
          <p:nvSpPr>
            <p:cNvPr id="349" name="TextBox 348">
              <a:extLst>
                <a:ext uri="{FF2B5EF4-FFF2-40B4-BE49-F238E27FC236}">
                  <a16:creationId xmlns:a16="http://schemas.microsoft.com/office/drawing/2014/main" id="{AD494B5B-DB2D-0F3F-2795-8558484468BF}"/>
                </a:ext>
              </a:extLst>
            </p:cNvPr>
            <p:cNvSpPr txBox="1"/>
            <p:nvPr/>
          </p:nvSpPr>
          <p:spPr>
            <a:xfrm>
              <a:off x="3847480" y="4094158"/>
              <a:ext cx="224185"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NE</a:t>
              </a:r>
            </a:p>
          </p:txBody>
        </p:sp>
        <p:sp>
          <p:nvSpPr>
            <p:cNvPr id="350" name="TextBox 349">
              <a:extLst>
                <a:ext uri="{FF2B5EF4-FFF2-40B4-BE49-F238E27FC236}">
                  <a16:creationId xmlns:a16="http://schemas.microsoft.com/office/drawing/2014/main" id="{67D47AEF-C08D-9F84-39E4-974A4FE7D1CA}"/>
                </a:ext>
              </a:extLst>
            </p:cNvPr>
            <p:cNvSpPr txBox="1"/>
            <p:nvPr/>
          </p:nvSpPr>
          <p:spPr>
            <a:xfrm>
              <a:off x="4056167" y="4094158"/>
              <a:ext cx="224185"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NE</a:t>
              </a:r>
            </a:p>
          </p:txBody>
        </p:sp>
        <p:sp>
          <p:nvSpPr>
            <p:cNvPr id="351" name="TextBox 350">
              <a:extLst>
                <a:ext uri="{FF2B5EF4-FFF2-40B4-BE49-F238E27FC236}">
                  <a16:creationId xmlns:a16="http://schemas.microsoft.com/office/drawing/2014/main" id="{9B812D1C-545C-E114-C941-07C11B066F2F}"/>
                </a:ext>
              </a:extLst>
            </p:cNvPr>
            <p:cNvSpPr txBox="1"/>
            <p:nvPr/>
          </p:nvSpPr>
          <p:spPr>
            <a:xfrm>
              <a:off x="4270825" y="4094158"/>
              <a:ext cx="224185"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NE</a:t>
              </a:r>
            </a:p>
          </p:txBody>
        </p:sp>
        <p:sp>
          <p:nvSpPr>
            <p:cNvPr id="352" name="TextBox 351">
              <a:extLst>
                <a:ext uri="{FF2B5EF4-FFF2-40B4-BE49-F238E27FC236}">
                  <a16:creationId xmlns:a16="http://schemas.microsoft.com/office/drawing/2014/main" id="{BE8951F7-DBF1-29EA-502E-ABD5BB3D9669}"/>
                </a:ext>
              </a:extLst>
            </p:cNvPr>
            <p:cNvSpPr txBox="1"/>
            <p:nvPr/>
          </p:nvSpPr>
          <p:spPr>
            <a:xfrm>
              <a:off x="4489424" y="4094158"/>
              <a:ext cx="224185"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NE</a:t>
              </a:r>
            </a:p>
          </p:txBody>
        </p:sp>
        <p:sp>
          <p:nvSpPr>
            <p:cNvPr id="353" name="TextBox 352">
              <a:extLst>
                <a:ext uri="{FF2B5EF4-FFF2-40B4-BE49-F238E27FC236}">
                  <a16:creationId xmlns:a16="http://schemas.microsoft.com/office/drawing/2014/main" id="{6687C0BB-1AFF-795D-9800-0E037FEE5F20}"/>
                </a:ext>
              </a:extLst>
            </p:cNvPr>
            <p:cNvSpPr txBox="1"/>
            <p:nvPr/>
          </p:nvSpPr>
          <p:spPr>
            <a:xfrm>
              <a:off x="4691376" y="4094158"/>
              <a:ext cx="224185"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NE</a:t>
              </a:r>
            </a:p>
          </p:txBody>
        </p:sp>
        <p:sp>
          <p:nvSpPr>
            <p:cNvPr id="354" name="TextBox 353">
              <a:extLst>
                <a:ext uri="{FF2B5EF4-FFF2-40B4-BE49-F238E27FC236}">
                  <a16:creationId xmlns:a16="http://schemas.microsoft.com/office/drawing/2014/main" id="{6CDAF5E4-FA11-4B29-8986-6E2C0DB8F516}"/>
                </a:ext>
              </a:extLst>
            </p:cNvPr>
            <p:cNvSpPr txBox="1"/>
            <p:nvPr/>
          </p:nvSpPr>
          <p:spPr>
            <a:xfrm>
              <a:off x="4896374" y="4094158"/>
              <a:ext cx="224185"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NE</a:t>
              </a:r>
            </a:p>
          </p:txBody>
        </p:sp>
        <p:sp>
          <p:nvSpPr>
            <p:cNvPr id="355" name="TextBox 354">
              <a:extLst>
                <a:ext uri="{FF2B5EF4-FFF2-40B4-BE49-F238E27FC236}">
                  <a16:creationId xmlns:a16="http://schemas.microsoft.com/office/drawing/2014/main" id="{57C3289E-BDBA-5089-DD80-F551C2AA567E}"/>
                </a:ext>
              </a:extLst>
            </p:cNvPr>
            <p:cNvSpPr txBox="1"/>
            <p:nvPr/>
          </p:nvSpPr>
          <p:spPr>
            <a:xfrm>
              <a:off x="5108874" y="4094158"/>
              <a:ext cx="224185"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NE</a:t>
              </a:r>
            </a:p>
          </p:txBody>
        </p:sp>
        <p:sp>
          <p:nvSpPr>
            <p:cNvPr id="356" name="TextBox 355">
              <a:extLst>
                <a:ext uri="{FF2B5EF4-FFF2-40B4-BE49-F238E27FC236}">
                  <a16:creationId xmlns:a16="http://schemas.microsoft.com/office/drawing/2014/main" id="{A7758D28-0E7D-2ACE-62CD-17A74A78FD03}"/>
                </a:ext>
              </a:extLst>
            </p:cNvPr>
            <p:cNvSpPr txBox="1"/>
            <p:nvPr/>
          </p:nvSpPr>
          <p:spPr>
            <a:xfrm>
              <a:off x="5319721" y="4094158"/>
              <a:ext cx="224185"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NE</a:t>
              </a:r>
            </a:p>
          </p:txBody>
        </p:sp>
        <p:sp>
          <p:nvSpPr>
            <p:cNvPr id="357" name="TextBox 356">
              <a:extLst>
                <a:ext uri="{FF2B5EF4-FFF2-40B4-BE49-F238E27FC236}">
                  <a16:creationId xmlns:a16="http://schemas.microsoft.com/office/drawing/2014/main" id="{27C4F129-50F3-F773-C86A-7B4BCFAD1354}"/>
                </a:ext>
              </a:extLst>
            </p:cNvPr>
            <p:cNvSpPr txBox="1"/>
            <p:nvPr/>
          </p:nvSpPr>
          <p:spPr>
            <a:xfrm>
              <a:off x="5549759" y="4094158"/>
              <a:ext cx="224185"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NE</a:t>
              </a:r>
            </a:p>
          </p:txBody>
        </p:sp>
        <p:sp>
          <p:nvSpPr>
            <p:cNvPr id="358" name="TextBox 357">
              <a:extLst>
                <a:ext uri="{FF2B5EF4-FFF2-40B4-BE49-F238E27FC236}">
                  <a16:creationId xmlns:a16="http://schemas.microsoft.com/office/drawing/2014/main" id="{A1A3B746-DB09-6231-9CAF-BE5DBFAD8617}"/>
                </a:ext>
              </a:extLst>
            </p:cNvPr>
            <p:cNvSpPr txBox="1"/>
            <p:nvPr/>
          </p:nvSpPr>
          <p:spPr>
            <a:xfrm>
              <a:off x="5712564" y="4094158"/>
              <a:ext cx="224185"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NE</a:t>
              </a:r>
            </a:p>
          </p:txBody>
        </p:sp>
        <p:sp>
          <p:nvSpPr>
            <p:cNvPr id="359" name="TextBox 358">
              <a:extLst>
                <a:ext uri="{FF2B5EF4-FFF2-40B4-BE49-F238E27FC236}">
                  <a16:creationId xmlns:a16="http://schemas.microsoft.com/office/drawing/2014/main" id="{1AABE3A2-1F1F-2D21-0886-92BB18CAE71F}"/>
                </a:ext>
              </a:extLst>
            </p:cNvPr>
            <p:cNvSpPr txBox="1"/>
            <p:nvPr/>
          </p:nvSpPr>
          <p:spPr>
            <a:xfrm>
              <a:off x="3221166" y="4094158"/>
              <a:ext cx="224185"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NE</a:t>
              </a:r>
            </a:p>
          </p:txBody>
        </p:sp>
      </p:grpSp>
      <p:sp>
        <p:nvSpPr>
          <p:cNvPr id="360" name="Freeform 78">
            <a:extLst>
              <a:ext uri="{FF2B5EF4-FFF2-40B4-BE49-F238E27FC236}">
                <a16:creationId xmlns:a16="http://schemas.microsoft.com/office/drawing/2014/main" id="{4FD79393-5BBB-8707-0E67-E052501A2BAC}"/>
              </a:ext>
            </a:extLst>
          </p:cNvPr>
          <p:cNvSpPr/>
          <p:nvPr/>
        </p:nvSpPr>
        <p:spPr>
          <a:xfrm>
            <a:off x="1299997" y="1887076"/>
            <a:ext cx="2215578" cy="870717"/>
          </a:xfrm>
          <a:custGeom>
            <a:avLst/>
            <a:gdLst>
              <a:gd name="csX0" fmla="*/ 0 w 1637715"/>
              <a:gd name="csY0" fmla="*/ 0 h 621355"/>
              <a:gd name="csX1" fmla="*/ 1044066 w 1637715"/>
              <a:gd name="csY1" fmla="*/ 0 h 621355"/>
              <a:gd name="csX2" fmla="*/ 1044066 w 1637715"/>
              <a:gd name="csY2" fmla="*/ 621356 h 621355"/>
              <a:gd name="csX3" fmla="*/ 1637716 w 1637715"/>
              <a:gd name="csY3" fmla="*/ 621356 h 621355"/>
            </a:gdLst>
            <a:ahLst/>
            <a:cxnLst>
              <a:cxn ang="0">
                <a:pos x="csX0" y="csY0"/>
              </a:cxn>
              <a:cxn ang="0">
                <a:pos x="csX1" y="csY1"/>
              </a:cxn>
              <a:cxn ang="0">
                <a:pos x="csX2" y="csY2"/>
              </a:cxn>
              <a:cxn ang="0">
                <a:pos x="csX3" y="csY3"/>
              </a:cxn>
            </a:cxnLst>
            <a:rect l="l" t="t" r="r" b="b"/>
            <a:pathLst>
              <a:path w="1637715" h="621355">
                <a:moveTo>
                  <a:pt x="0" y="0"/>
                </a:moveTo>
                <a:lnTo>
                  <a:pt x="1044066" y="0"/>
                </a:lnTo>
                <a:lnTo>
                  <a:pt x="1044066" y="621356"/>
                </a:lnTo>
                <a:lnTo>
                  <a:pt x="1637716" y="621356"/>
                </a:lnTo>
              </a:path>
            </a:pathLst>
          </a:custGeom>
          <a:noFill/>
          <a:ln w="19058" cap="flat">
            <a:solidFill>
              <a:schemeClr val="accent3">
                <a:lumMod val="20000"/>
                <a:lumOff val="80000"/>
              </a:schemeClr>
            </a:solidFill>
            <a:prstDash val="sysDash"/>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61" name="TextBox 360">
            <a:extLst>
              <a:ext uri="{FF2B5EF4-FFF2-40B4-BE49-F238E27FC236}">
                <a16:creationId xmlns:a16="http://schemas.microsoft.com/office/drawing/2014/main" id="{35AA5AA6-DEA6-3FF8-50A5-F9622B678E55}"/>
              </a:ext>
            </a:extLst>
          </p:cNvPr>
          <p:cNvSpPr txBox="1"/>
          <p:nvPr/>
        </p:nvSpPr>
        <p:spPr>
          <a:xfrm>
            <a:off x="2853436" y="1974024"/>
            <a:ext cx="3214173" cy="441018"/>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33"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4-month rate in patients with CR* at EOT: </a:t>
            </a:r>
            <a:r>
              <a:rPr kumimoji="0" lang="en-US" sz="11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65.6% (95% CI: 48.1, 83.0)</a:t>
            </a:r>
          </a:p>
        </p:txBody>
      </p:sp>
      <p:grpSp>
        <p:nvGrpSpPr>
          <p:cNvPr id="363" name="Graphic 4">
            <a:extLst>
              <a:ext uri="{FF2B5EF4-FFF2-40B4-BE49-F238E27FC236}">
                <a16:creationId xmlns:a16="http://schemas.microsoft.com/office/drawing/2014/main" id="{D2C9BA95-E8BE-F418-0AEC-C89A569E160C}"/>
              </a:ext>
            </a:extLst>
          </p:cNvPr>
          <p:cNvGrpSpPr/>
          <p:nvPr/>
        </p:nvGrpSpPr>
        <p:grpSpPr>
          <a:xfrm>
            <a:off x="1174294" y="3993360"/>
            <a:ext cx="4787969" cy="195153"/>
            <a:chOff x="2397568" y="4171049"/>
            <a:chExt cx="3539181" cy="139264"/>
          </a:xfrm>
          <a:solidFill>
            <a:srgbClr val="000000"/>
          </a:solidFill>
        </p:grpSpPr>
        <p:sp>
          <p:nvSpPr>
            <p:cNvPr id="364" name="TextBox 363">
              <a:extLst>
                <a:ext uri="{FF2B5EF4-FFF2-40B4-BE49-F238E27FC236}">
                  <a16:creationId xmlns:a16="http://schemas.microsoft.com/office/drawing/2014/main" id="{95CAD69C-9E15-49C6-B558-F1ED484F2FB6}"/>
                </a:ext>
              </a:extLst>
            </p:cNvPr>
            <p:cNvSpPr txBox="1"/>
            <p:nvPr/>
          </p:nvSpPr>
          <p:spPr>
            <a:xfrm>
              <a:off x="2397568" y="4171303"/>
              <a:ext cx="172049"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2</a:t>
              </a:r>
            </a:p>
          </p:txBody>
        </p:sp>
        <p:sp>
          <p:nvSpPr>
            <p:cNvPr id="365" name="TextBox 364">
              <a:extLst>
                <a:ext uri="{FF2B5EF4-FFF2-40B4-BE49-F238E27FC236}">
                  <a16:creationId xmlns:a16="http://schemas.microsoft.com/office/drawing/2014/main" id="{28B2ADD9-B65D-4DD3-596B-823327A20CE5}"/>
                </a:ext>
              </a:extLst>
            </p:cNvPr>
            <p:cNvSpPr txBox="1"/>
            <p:nvPr/>
          </p:nvSpPr>
          <p:spPr>
            <a:xfrm>
              <a:off x="2624682" y="4171303"/>
              <a:ext cx="172049"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2</a:t>
              </a:r>
            </a:p>
          </p:txBody>
        </p:sp>
        <p:sp>
          <p:nvSpPr>
            <p:cNvPr id="366" name="TextBox 365">
              <a:extLst>
                <a:ext uri="{FF2B5EF4-FFF2-40B4-BE49-F238E27FC236}">
                  <a16:creationId xmlns:a16="http://schemas.microsoft.com/office/drawing/2014/main" id="{FA210868-3BDB-8ECA-917B-E0543CB51FA6}"/>
                </a:ext>
              </a:extLst>
            </p:cNvPr>
            <p:cNvSpPr txBox="1"/>
            <p:nvPr/>
          </p:nvSpPr>
          <p:spPr>
            <a:xfrm>
              <a:off x="2821042" y="4171303"/>
              <a:ext cx="172049"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2</a:t>
              </a:r>
            </a:p>
          </p:txBody>
        </p:sp>
        <p:sp>
          <p:nvSpPr>
            <p:cNvPr id="367" name="TextBox 366">
              <a:extLst>
                <a:ext uri="{FF2B5EF4-FFF2-40B4-BE49-F238E27FC236}">
                  <a16:creationId xmlns:a16="http://schemas.microsoft.com/office/drawing/2014/main" id="{272A01B2-3088-2C84-CEB7-DA2D621FEA1B}"/>
                </a:ext>
              </a:extLst>
            </p:cNvPr>
            <p:cNvSpPr txBox="1"/>
            <p:nvPr/>
          </p:nvSpPr>
          <p:spPr>
            <a:xfrm>
              <a:off x="3041293" y="4171303"/>
              <a:ext cx="172049"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2</a:t>
              </a:r>
            </a:p>
          </p:txBody>
        </p:sp>
        <p:sp>
          <p:nvSpPr>
            <p:cNvPr id="368" name="TextBox 367">
              <a:extLst>
                <a:ext uri="{FF2B5EF4-FFF2-40B4-BE49-F238E27FC236}">
                  <a16:creationId xmlns:a16="http://schemas.microsoft.com/office/drawing/2014/main" id="{F4B6EB61-D381-B89D-7CE0-F849C71B90B9}"/>
                </a:ext>
              </a:extLst>
            </p:cNvPr>
            <p:cNvSpPr txBox="1"/>
            <p:nvPr/>
          </p:nvSpPr>
          <p:spPr>
            <a:xfrm>
              <a:off x="3448370" y="4171303"/>
              <a:ext cx="172049"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1</a:t>
              </a:r>
            </a:p>
          </p:txBody>
        </p:sp>
        <p:sp>
          <p:nvSpPr>
            <p:cNvPr id="369" name="TextBox 368">
              <a:extLst>
                <a:ext uri="{FF2B5EF4-FFF2-40B4-BE49-F238E27FC236}">
                  <a16:creationId xmlns:a16="http://schemas.microsoft.com/office/drawing/2014/main" id="{8946D7AE-27C4-02C8-07D6-08EE2F38D09D}"/>
                </a:ext>
              </a:extLst>
            </p:cNvPr>
            <p:cNvSpPr txBox="1"/>
            <p:nvPr/>
          </p:nvSpPr>
          <p:spPr>
            <a:xfrm>
              <a:off x="3663030" y="4171303"/>
              <a:ext cx="172049"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1</a:t>
              </a:r>
            </a:p>
          </p:txBody>
        </p:sp>
        <p:sp>
          <p:nvSpPr>
            <p:cNvPr id="370" name="TextBox 369">
              <a:extLst>
                <a:ext uri="{FF2B5EF4-FFF2-40B4-BE49-F238E27FC236}">
                  <a16:creationId xmlns:a16="http://schemas.microsoft.com/office/drawing/2014/main" id="{905DBCA6-E718-7D78-F398-51F6A7DE1F5B}"/>
                </a:ext>
              </a:extLst>
            </p:cNvPr>
            <p:cNvSpPr txBox="1"/>
            <p:nvPr/>
          </p:nvSpPr>
          <p:spPr>
            <a:xfrm>
              <a:off x="3863962" y="4171303"/>
              <a:ext cx="172049"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1</a:t>
              </a:r>
            </a:p>
          </p:txBody>
        </p:sp>
        <p:sp>
          <p:nvSpPr>
            <p:cNvPr id="371" name="TextBox 370">
              <a:extLst>
                <a:ext uri="{FF2B5EF4-FFF2-40B4-BE49-F238E27FC236}">
                  <a16:creationId xmlns:a16="http://schemas.microsoft.com/office/drawing/2014/main" id="{BFA55314-92DC-9955-B858-4CA3A0E6C852}"/>
                </a:ext>
              </a:extLst>
            </p:cNvPr>
            <p:cNvSpPr txBox="1"/>
            <p:nvPr/>
          </p:nvSpPr>
          <p:spPr>
            <a:xfrm>
              <a:off x="4056165" y="4171049"/>
              <a:ext cx="224185"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NE</a:t>
              </a:r>
            </a:p>
          </p:txBody>
        </p:sp>
        <p:sp>
          <p:nvSpPr>
            <p:cNvPr id="372" name="TextBox 371">
              <a:extLst>
                <a:ext uri="{FF2B5EF4-FFF2-40B4-BE49-F238E27FC236}">
                  <a16:creationId xmlns:a16="http://schemas.microsoft.com/office/drawing/2014/main" id="{FDA3C07B-4403-9825-C484-77B8693060C1}"/>
                </a:ext>
              </a:extLst>
            </p:cNvPr>
            <p:cNvSpPr txBox="1"/>
            <p:nvPr/>
          </p:nvSpPr>
          <p:spPr>
            <a:xfrm>
              <a:off x="4270825" y="4171049"/>
              <a:ext cx="224185"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NE</a:t>
              </a:r>
            </a:p>
          </p:txBody>
        </p:sp>
        <p:sp>
          <p:nvSpPr>
            <p:cNvPr id="373" name="TextBox 372">
              <a:extLst>
                <a:ext uri="{FF2B5EF4-FFF2-40B4-BE49-F238E27FC236}">
                  <a16:creationId xmlns:a16="http://schemas.microsoft.com/office/drawing/2014/main" id="{0376886A-462E-73F7-8DCF-A31302C0776F}"/>
                </a:ext>
              </a:extLst>
            </p:cNvPr>
            <p:cNvSpPr txBox="1"/>
            <p:nvPr/>
          </p:nvSpPr>
          <p:spPr>
            <a:xfrm>
              <a:off x="4489424" y="4171049"/>
              <a:ext cx="224185"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NE</a:t>
              </a:r>
            </a:p>
          </p:txBody>
        </p:sp>
        <p:sp>
          <p:nvSpPr>
            <p:cNvPr id="374" name="TextBox 373">
              <a:extLst>
                <a:ext uri="{FF2B5EF4-FFF2-40B4-BE49-F238E27FC236}">
                  <a16:creationId xmlns:a16="http://schemas.microsoft.com/office/drawing/2014/main" id="{33E1C43C-2048-0579-D8B1-68802932CC90}"/>
                </a:ext>
              </a:extLst>
            </p:cNvPr>
            <p:cNvSpPr txBox="1"/>
            <p:nvPr/>
          </p:nvSpPr>
          <p:spPr>
            <a:xfrm>
              <a:off x="4691376" y="4171049"/>
              <a:ext cx="224185"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NE</a:t>
              </a:r>
            </a:p>
          </p:txBody>
        </p:sp>
        <p:sp>
          <p:nvSpPr>
            <p:cNvPr id="375" name="TextBox 374">
              <a:extLst>
                <a:ext uri="{FF2B5EF4-FFF2-40B4-BE49-F238E27FC236}">
                  <a16:creationId xmlns:a16="http://schemas.microsoft.com/office/drawing/2014/main" id="{2116C915-7930-5AF8-89DE-9720FEFB752C}"/>
                </a:ext>
              </a:extLst>
            </p:cNvPr>
            <p:cNvSpPr txBox="1"/>
            <p:nvPr/>
          </p:nvSpPr>
          <p:spPr>
            <a:xfrm>
              <a:off x="4896374" y="4171049"/>
              <a:ext cx="224185"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NE</a:t>
              </a:r>
            </a:p>
          </p:txBody>
        </p:sp>
        <p:sp>
          <p:nvSpPr>
            <p:cNvPr id="376" name="TextBox 375">
              <a:extLst>
                <a:ext uri="{FF2B5EF4-FFF2-40B4-BE49-F238E27FC236}">
                  <a16:creationId xmlns:a16="http://schemas.microsoft.com/office/drawing/2014/main" id="{D2CFCB57-B562-856A-8B47-E5F57C2E6FE5}"/>
                </a:ext>
              </a:extLst>
            </p:cNvPr>
            <p:cNvSpPr txBox="1"/>
            <p:nvPr/>
          </p:nvSpPr>
          <p:spPr>
            <a:xfrm>
              <a:off x="5108874" y="4171049"/>
              <a:ext cx="224185"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NE</a:t>
              </a:r>
            </a:p>
          </p:txBody>
        </p:sp>
        <p:sp>
          <p:nvSpPr>
            <p:cNvPr id="377" name="TextBox 376">
              <a:extLst>
                <a:ext uri="{FF2B5EF4-FFF2-40B4-BE49-F238E27FC236}">
                  <a16:creationId xmlns:a16="http://schemas.microsoft.com/office/drawing/2014/main" id="{2A769B01-C318-EE08-11D2-846BBC5A8037}"/>
                </a:ext>
              </a:extLst>
            </p:cNvPr>
            <p:cNvSpPr txBox="1"/>
            <p:nvPr/>
          </p:nvSpPr>
          <p:spPr>
            <a:xfrm>
              <a:off x="5319722" y="4171049"/>
              <a:ext cx="224185"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NE</a:t>
              </a:r>
            </a:p>
          </p:txBody>
        </p:sp>
        <p:sp>
          <p:nvSpPr>
            <p:cNvPr id="378" name="TextBox 377">
              <a:extLst>
                <a:ext uri="{FF2B5EF4-FFF2-40B4-BE49-F238E27FC236}">
                  <a16:creationId xmlns:a16="http://schemas.microsoft.com/office/drawing/2014/main" id="{BB4E8B13-98B3-27D4-6CEB-541F7D41E126}"/>
                </a:ext>
              </a:extLst>
            </p:cNvPr>
            <p:cNvSpPr txBox="1"/>
            <p:nvPr/>
          </p:nvSpPr>
          <p:spPr>
            <a:xfrm>
              <a:off x="5549759" y="4171049"/>
              <a:ext cx="224185"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NE</a:t>
              </a:r>
            </a:p>
          </p:txBody>
        </p:sp>
        <p:sp>
          <p:nvSpPr>
            <p:cNvPr id="379" name="TextBox 378">
              <a:extLst>
                <a:ext uri="{FF2B5EF4-FFF2-40B4-BE49-F238E27FC236}">
                  <a16:creationId xmlns:a16="http://schemas.microsoft.com/office/drawing/2014/main" id="{F686B462-E92A-2242-5B9C-0F14B3C94E0E}"/>
                </a:ext>
              </a:extLst>
            </p:cNvPr>
            <p:cNvSpPr txBox="1"/>
            <p:nvPr/>
          </p:nvSpPr>
          <p:spPr>
            <a:xfrm>
              <a:off x="5712564" y="4171049"/>
              <a:ext cx="224185"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NE</a:t>
              </a:r>
            </a:p>
          </p:txBody>
        </p:sp>
        <p:sp>
          <p:nvSpPr>
            <p:cNvPr id="380" name="TextBox 379">
              <a:extLst>
                <a:ext uri="{FF2B5EF4-FFF2-40B4-BE49-F238E27FC236}">
                  <a16:creationId xmlns:a16="http://schemas.microsoft.com/office/drawing/2014/main" id="{9FEA08C4-B3A5-293C-97C7-5AE86038C293}"/>
                </a:ext>
              </a:extLst>
            </p:cNvPr>
            <p:cNvSpPr txBox="1"/>
            <p:nvPr/>
          </p:nvSpPr>
          <p:spPr>
            <a:xfrm>
              <a:off x="3237651" y="4171303"/>
              <a:ext cx="172049"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2</a:t>
              </a:r>
            </a:p>
          </p:txBody>
        </p:sp>
      </p:grpSp>
      <p:sp>
        <p:nvSpPr>
          <p:cNvPr id="381" name="Freeform 459">
            <a:extLst>
              <a:ext uri="{FF2B5EF4-FFF2-40B4-BE49-F238E27FC236}">
                <a16:creationId xmlns:a16="http://schemas.microsoft.com/office/drawing/2014/main" id="{2BAFEE23-8652-95EE-A81B-7B9B00862FDD}"/>
              </a:ext>
            </a:extLst>
          </p:cNvPr>
          <p:cNvSpPr/>
          <p:nvPr/>
        </p:nvSpPr>
        <p:spPr>
          <a:xfrm>
            <a:off x="1358284" y="3341952"/>
            <a:ext cx="250511" cy="17809"/>
          </a:xfrm>
          <a:custGeom>
            <a:avLst/>
            <a:gdLst>
              <a:gd name="csX0" fmla="*/ 0 w 185173"/>
              <a:gd name="csY0" fmla="*/ 0 h 12709"/>
              <a:gd name="csX1" fmla="*/ 185174 w 185173"/>
              <a:gd name="csY1" fmla="*/ 0 h 12709"/>
            </a:gdLst>
            <a:ahLst/>
            <a:cxnLst>
              <a:cxn ang="0">
                <a:pos x="csX0" y="csY0"/>
              </a:cxn>
              <a:cxn ang="0">
                <a:pos x="csX1" y="csY1"/>
              </a:cxn>
            </a:cxnLst>
            <a:rect l="l" t="t" r="r" b="b"/>
            <a:pathLst>
              <a:path w="185173" h="12709">
                <a:moveTo>
                  <a:pt x="0" y="0"/>
                </a:moveTo>
                <a:lnTo>
                  <a:pt x="185174" y="0"/>
                </a:lnTo>
              </a:path>
            </a:pathLst>
          </a:custGeom>
          <a:ln w="19058" cap="flat">
            <a:solidFill>
              <a:schemeClr val="accent2">
                <a:lumMod val="20000"/>
                <a:lumOff val="80000"/>
              </a:schemeClr>
            </a:solidFill>
            <a:prstDash val="sysDash"/>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82" name="TextBox 381">
            <a:extLst>
              <a:ext uri="{FF2B5EF4-FFF2-40B4-BE49-F238E27FC236}">
                <a16:creationId xmlns:a16="http://schemas.microsoft.com/office/drawing/2014/main" id="{B4D2DCC6-5B9C-012E-5E43-1CF00BBBB9C8}"/>
              </a:ext>
            </a:extLst>
          </p:cNvPr>
          <p:cNvSpPr txBox="1"/>
          <p:nvPr/>
        </p:nvSpPr>
        <p:spPr>
          <a:xfrm>
            <a:off x="1541488" y="3196532"/>
            <a:ext cx="817853" cy="25635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NR (n=11)</a:t>
            </a:r>
          </a:p>
        </p:txBody>
      </p:sp>
      <p:sp>
        <p:nvSpPr>
          <p:cNvPr id="398" name="TextBox 397">
            <a:extLst>
              <a:ext uri="{FF2B5EF4-FFF2-40B4-BE49-F238E27FC236}">
                <a16:creationId xmlns:a16="http://schemas.microsoft.com/office/drawing/2014/main" id="{59D50243-3A77-9F0F-2A56-DEDB5E39814D}"/>
              </a:ext>
            </a:extLst>
          </p:cNvPr>
          <p:cNvSpPr txBox="1"/>
          <p:nvPr/>
        </p:nvSpPr>
        <p:spPr>
          <a:xfrm>
            <a:off x="7040382" y="3343489"/>
            <a:ext cx="774571" cy="25635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Censored</a:t>
            </a:r>
          </a:p>
        </p:txBody>
      </p:sp>
      <p:sp>
        <p:nvSpPr>
          <p:cNvPr id="600" name="TextBox 599">
            <a:extLst>
              <a:ext uri="{FF2B5EF4-FFF2-40B4-BE49-F238E27FC236}">
                <a16:creationId xmlns:a16="http://schemas.microsoft.com/office/drawing/2014/main" id="{7B6AFBE5-EBF3-7E11-1786-884002B25D93}"/>
              </a:ext>
            </a:extLst>
          </p:cNvPr>
          <p:cNvSpPr txBox="1"/>
          <p:nvPr/>
        </p:nvSpPr>
        <p:spPr>
          <a:xfrm>
            <a:off x="7040383" y="3194415"/>
            <a:ext cx="817853" cy="25635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NR (n=11)</a:t>
            </a:r>
          </a:p>
        </p:txBody>
      </p:sp>
      <p:sp>
        <p:nvSpPr>
          <p:cNvPr id="385" name="Freeform 31">
            <a:extLst>
              <a:ext uri="{FF2B5EF4-FFF2-40B4-BE49-F238E27FC236}">
                <a16:creationId xmlns:a16="http://schemas.microsoft.com/office/drawing/2014/main" id="{71F7BE48-9015-B307-4294-52EEA0694E88}"/>
              </a:ext>
            </a:extLst>
          </p:cNvPr>
          <p:cNvSpPr/>
          <p:nvPr/>
        </p:nvSpPr>
        <p:spPr>
          <a:xfrm>
            <a:off x="6853781" y="3210688"/>
            <a:ext cx="254919" cy="17809"/>
          </a:xfrm>
          <a:custGeom>
            <a:avLst/>
            <a:gdLst>
              <a:gd name="csX0" fmla="*/ 0 w 185173"/>
              <a:gd name="csY0" fmla="*/ 0 h 12709"/>
              <a:gd name="csX1" fmla="*/ 185174 w 185173"/>
              <a:gd name="csY1" fmla="*/ 0 h 12709"/>
            </a:gdLst>
            <a:ahLst/>
            <a:cxnLst>
              <a:cxn ang="0">
                <a:pos x="csX0" y="csY0"/>
              </a:cxn>
              <a:cxn ang="0">
                <a:pos x="csX1" y="csY1"/>
              </a:cxn>
            </a:cxnLst>
            <a:rect l="l" t="t" r="r" b="b"/>
            <a:pathLst>
              <a:path w="185173" h="12709">
                <a:moveTo>
                  <a:pt x="0" y="0"/>
                </a:moveTo>
                <a:lnTo>
                  <a:pt x="185174" y="0"/>
                </a:lnTo>
              </a:path>
            </a:pathLst>
          </a:custGeom>
          <a:ln w="19058" cap="flat">
            <a:solidFill>
              <a:schemeClr val="accent3">
                <a:lumMod val="20000"/>
                <a:lumOff val="80000"/>
              </a:schemeClr>
            </a:solidFill>
            <a:prstDash val="sysDash"/>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86" name="TextBox 385">
            <a:extLst>
              <a:ext uri="{FF2B5EF4-FFF2-40B4-BE49-F238E27FC236}">
                <a16:creationId xmlns:a16="http://schemas.microsoft.com/office/drawing/2014/main" id="{668B6974-390C-5355-7317-499AA7EDC0E4}"/>
              </a:ext>
            </a:extLst>
          </p:cNvPr>
          <p:cNvSpPr txBox="1"/>
          <p:nvPr/>
        </p:nvSpPr>
        <p:spPr>
          <a:xfrm>
            <a:off x="7040382" y="3056802"/>
            <a:ext cx="734496" cy="25635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PR (n=2)</a:t>
            </a:r>
          </a:p>
        </p:txBody>
      </p:sp>
      <p:sp>
        <p:nvSpPr>
          <p:cNvPr id="387" name="Freeform 35">
            <a:extLst>
              <a:ext uri="{FF2B5EF4-FFF2-40B4-BE49-F238E27FC236}">
                <a16:creationId xmlns:a16="http://schemas.microsoft.com/office/drawing/2014/main" id="{5D6DEDD0-E144-491D-193C-D7681EBD6782}"/>
              </a:ext>
            </a:extLst>
          </p:cNvPr>
          <p:cNvSpPr/>
          <p:nvPr/>
        </p:nvSpPr>
        <p:spPr>
          <a:xfrm>
            <a:off x="6853781" y="3075698"/>
            <a:ext cx="254919" cy="17809"/>
          </a:xfrm>
          <a:custGeom>
            <a:avLst/>
            <a:gdLst>
              <a:gd name="csX0" fmla="*/ 0 w 185173"/>
              <a:gd name="csY0" fmla="*/ 0 h 12709"/>
              <a:gd name="csX1" fmla="*/ 185174 w 185173"/>
              <a:gd name="csY1" fmla="*/ 0 h 12709"/>
            </a:gdLst>
            <a:ahLst/>
            <a:cxnLst>
              <a:cxn ang="0">
                <a:pos x="csX0" y="csY0"/>
              </a:cxn>
              <a:cxn ang="0">
                <a:pos x="csX1" y="csY1"/>
              </a:cxn>
            </a:cxnLst>
            <a:rect l="l" t="t" r="r" b="b"/>
            <a:pathLst>
              <a:path w="185173" h="12709">
                <a:moveTo>
                  <a:pt x="0" y="0"/>
                </a:moveTo>
                <a:lnTo>
                  <a:pt x="185174" y="0"/>
                </a:lnTo>
              </a:path>
            </a:pathLst>
          </a:custGeom>
          <a:ln w="19058"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88" name="TextBox 387">
            <a:extLst>
              <a:ext uri="{FF2B5EF4-FFF2-40B4-BE49-F238E27FC236}">
                <a16:creationId xmlns:a16="http://schemas.microsoft.com/office/drawing/2014/main" id="{A8F46BA7-0DC5-11D5-D224-03674293A026}"/>
              </a:ext>
            </a:extLst>
          </p:cNvPr>
          <p:cNvSpPr txBox="1"/>
          <p:nvPr/>
        </p:nvSpPr>
        <p:spPr>
          <a:xfrm>
            <a:off x="7040383" y="2919696"/>
            <a:ext cx="817853" cy="25635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66"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CR (n=31)</a:t>
            </a:r>
          </a:p>
        </p:txBody>
      </p:sp>
      <p:grpSp>
        <p:nvGrpSpPr>
          <p:cNvPr id="389" name="Graphic 4">
            <a:extLst>
              <a:ext uri="{FF2B5EF4-FFF2-40B4-BE49-F238E27FC236}">
                <a16:creationId xmlns:a16="http://schemas.microsoft.com/office/drawing/2014/main" id="{41E2C6FB-AE7C-DE82-27AB-A4E35D0F2A8C}"/>
              </a:ext>
            </a:extLst>
          </p:cNvPr>
          <p:cNvGrpSpPr/>
          <p:nvPr/>
        </p:nvGrpSpPr>
        <p:grpSpPr>
          <a:xfrm>
            <a:off x="6463922" y="1752714"/>
            <a:ext cx="386644" cy="1966647"/>
            <a:chOff x="6451158" y="2502825"/>
            <a:chExt cx="280857" cy="1403426"/>
          </a:xfrm>
          <a:solidFill>
            <a:srgbClr val="000000"/>
          </a:solidFill>
        </p:grpSpPr>
        <p:sp>
          <p:nvSpPr>
            <p:cNvPr id="390" name="TextBox 389">
              <a:extLst>
                <a:ext uri="{FF2B5EF4-FFF2-40B4-BE49-F238E27FC236}">
                  <a16:creationId xmlns:a16="http://schemas.microsoft.com/office/drawing/2014/main" id="{4DED6B0A-C481-ECFB-F098-A5A48B276658}"/>
                </a:ext>
              </a:extLst>
            </p:cNvPr>
            <p:cNvSpPr txBox="1"/>
            <p:nvPr/>
          </p:nvSpPr>
          <p:spPr>
            <a:xfrm>
              <a:off x="6451158" y="2502825"/>
              <a:ext cx="280857" cy="168340"/>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00</a:t>
              </a:r>
            </a:p>
          </p:txBody>
        </p:sp>
        <p:sp>
          <p:nvSpPr>
            <p:cNvPr id="391" name="TextBox 390">
              <a:extLst>
                <a:ext uri="{FF2B5EF4-FFF2-40B4-BE49-F238E27FC236}">
                  <a16:creationId xmlns:a16="http://schemas.microsoft.com/office/drawing/2014/main" id="{CF1CF76C-EAD6-8BAB-AF43-8D4FA9A469B8}"/>
                </a:ext>
              </a:extLst>
            </p:cNvPr>
            <p:cNvSpPr txBox="1"/>
            <p:nvPr/>
          </p:nvSpPr>
          <p:spPr>
            <a:xfrm>
              <a:off x="6499936" y="2748495"/>
              <a:ext cx="231952" cy="168340"/>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80</a:t>
              </a:r>
            </a:p>
          </p:txBody>
        </p:sp>
        <p:sp>
          <p:nvSpPr>
            <p:cNvPr id="392" name="TextBox 391">
              <a:extLst>
                <a:ext uri="{FF2B5EF4-FFF2-40B4-BE49-F238E27FC236}">
                  <a16:creationId xmlns:a16="http://schemas.microsoft.com/office/drawing/2014/main" id="{15739042-9633-B61C-4772-65566BB6D63A}"/>
                </a:ext>
              </a:extLst>
            </p:cNvPr>
            <p:cNvSpPr txBox="1"/>
            <p:nvPr/>
          </p:nvSpPr>
          <p:spPr>
            <a:xfrm>
              <a:off x="6499936" y="2995563"/>
              <a:ext cx="231952" cy="168340"/>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60</a:t>
              </a:r>
            </a:p>
          </p:txBody>
        </p:sp>
        <p:sp>
          <p:nvSpPr>
            <p:cNvPr id="393" name="TextBox 392">
              <a:extLst>
                <a:ext uri="{FF2B5EF4-FFF2-40B4-BE49-F238E27FC236}">
                  <a16:creationId xmlns:a16="http://schemas.microsoft.com/office/drawing/2014/main" id="{BF1DE2D1-3F85-D16A-ADE0-E969848DA817}"/>
                </a:ext>
              </a:extLst>
            </p:cNvPr>
            <p:cNvSpPr txBox="1"/>
            <p:nvPr/>
          </p:nvSpPr>
          <p:spPr>
            <a:xfrm>
              <a:off x="6499936" y="3242631"/>
              <a:ext cx="231952" cy="168340"/>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0</a:t>
              </a:r>
            </a:p>
          </p:txBody>
        </p:sp>
        <p:sp>
          <p:nvSpPr>
            <p:cNvPr id="394" name="TextBox 393">
              <a:extLst>
                <a:ext uri="{FF2B5EF4-FFF2-40B4-BE49-F238E27FC236}">
                  <a16:creationId xmlns:a16="http://schemas.microsoft.com/office/drawing/2014/main" id="{C8463B43-371F-F0D6-EC65-5E4F23447687}"/>
                </a:ext>
              </a:extLst>
            </p:cNvPr>
            <p:cNvSpPr txBox="1"/>
            <p:nvPr/>
          </p:nvSpPr>
          <p:spPr>
            <a:xfrm>
              <a:off x="6499936" y="3489572"/>
              <a:ext cx="231952" cy="168340"/>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0</a:t>
              </a:r>
            </a:p>
          </p:txBody>
        </p:sp>
        <p:sp>
          <p:nvSpPr>
            <p:cNvPr id="395" name="TextBox 394">
              <a:extLst>
                <a:ext uri="{FF2B5EF4-FFF2-40B4-BE49-F238E27FC236}">
                  <a16:creationId xmlns:a16="http://schemas.microsoft.com/office/drawing/2014/main" id="{F550CE30-6E7B-D187-2330-E1625F67B4BE}"/>
                </a:ext>
              </a:extLst>
            </p:cNvPr>
            <p:cNvSpPr txBox="1"/>
            <p:nvPr/>
          </p:nvSpPr>
          <p:spPr>
            <a:xfrm>
              <a:off x="6548589" y="3737911"/>
              <a:ext cx="183046" cy="168340"/>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0</a:t>
              </a:r>
            </a:p>
          </p:txBody>
        </p:sp>
      </p:grpSp>
      <p:sp>
        <p:nvSpPr>
          <p:cNvPr id="396" name="Freeform 46">
            <a:extLst>
              <a:ext uri="{FF2B5EF4-FFF2-40B4-BE49-F238E27FC236}">
                <a16:creationId xmlns:a16="http://schemas.microsoft.com/office/drawing/2014/main" id="{4A41404C-8736-88D5-C973-6E82FEBC8C8C}"/>
              </a:ext>
            </a:extLst>
          </p:cNvPr>
          <p:cNvSpPr/>
          <p:nvPr/>
        </p:nvSpPr>
        <p:spPr>
          <a:xfrm>
            <a:off x="6942312" y="3492649"/>
            <a:ext cx="77859" cy="17809"/>
          </a:xfrm>
          <a:custGeom>
            <a:avLst/>
            <a:gdLst>
              <a:gd name="csX0" fmla="*/ 0 w 56556"/>
              <a:gd name="csY0" fmla="*/ 0 h 12709"/>
              <a:gd name="csX1" fmla="*/ 56556 w 56556"/>
              <a:gd name="csY1" fmla="*/ 0 h 12709"/>
            </a:gdLst>
            <a:ahLst/>
            <a:cxnLst>
              <a:cxn ang="0">
                <a:pos x="csX0" y="csY0"/>
              </a:cxn>
              <a:cxn ang="0">
                <a:pos x="csX1" y="csY1"/>
              </a:cxn>
            </a:cxnLst>
            <a:rect l="l" t="t" r="r" b="b"/>
            <a:pathLst>
              <a:path w="56556" h="12709">
                <a:moveTo>
                  <a:pt x="0" y="0"/>
                </a:moveTo>
                <a:lnTo>
                  <a:pt x="56556" y="0"/>
                </a:lnTo>
              </a:path>
            </a:pathLst>
          </a:custGeom>
          <a:ln w="9529" cap="flat">
            <a:solidFill>
              <a:srgbClr val="000000"/>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97" name="Freeform 47">
            <a:extLst>
              <a:ext uri="{FF2B5EF4-FFF2-40B4-BE49-F238E27FC236}">
                <a16:creationId xmlns:a16="http://schemas.microsoft.com/office/drawing/2014/main" id="{E4F62BA5-501F-3E40-43D3-4D937D95653B}"/>
              </a:ext>
            </a:extLst>
          </p:cNvPr>
          <p:cNvSpPr/>
          <p:nvPr/>
        </p:nvSpPr>
        <p:spPr>
          <a:xfrm>
            <a:off x="6981153" y="3451152"/>
            <a:ext cx="17496" cy="82993"/>
          </a:xfrm>
          <a:custGeom>
            <a:avLst/>
            <a:gdLst>
              <a:gd name="csX0" fmla="*/ 0 w 12709"/>
              <a:gd name="csY0" fmla="*/ 0 h 59225"/>
              <a:gd name="csX1" fmla="*/ 0 w 12709"/>
              <a:gd name="csY1" fmla="*/ 59225 h 59225"/>
            </a:gdLst>
            <a:ahLst/>
            <a:cxnLst>
              <a:cxn ang="0">
                <a:pos x="csX0" y="csY0"/>
              </a:cxn>
              <a:cxn ang="0">
                <a:pos x="csX1" y="csY1"/>
              </a:cxn>
            </a:cxnLst>
            <a:rect l="l" t="t" r="r" b="b"/>
            <a:pathLst>
              <a:path w="12709" h="59225">
                <a:moveTo>
                  <a:pt x="0" y="0"/>
                </a:moveTo>
                <a:lnTo>
                  <a:pt x="0" y="59225"/>
                </a:lnTo>
              </a:path>
            </a:pathLst>
          </a:custGeom>
          <a:ln w="9529" cap="flat">
            <a:solidFill>
              <a:srgbClr val="000000"/>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99" name="TextBox 398">
            <a:extLst>
              <a:ext uri="{FF2B5EF4-FFF2-40B4-BE49-F238E27FC236}">
                <a16:creationId xmlns:a16="http://schemas.microsoft.com/office/drawing/2014/main" id="{04C4C6F8-C01A-1EE6-8804-B5E79543FCEB}"/>
              </a:ext>
            </a:extLst>
          </p:cNvPr>
          <p:cNvSpPr txBox="1"/>
          <p:nvPr/>
        </p:nvSpPr>
        <p:spPr>
          <a:xfrm>
            <a:off x="8472989" y="3722115"/>
            <a:ext cx="1261884" cy="23589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Months (post EOT)</a:t>
            </a:r>
          </a:p>
        </p:txBody>
      </p:sp>
      <p:sp>
        <p:nvSpPr>
          <p:cNvPr id="400" name="TextBox 399">
            <a:extLst>
              <a:ext uri="{FF2B5EF4-FFF2-40B4-BE49-F238E27FC236}">
                <a16:creationId xmlns:a16="http://schemas.microsoft.com/office/drawing/2014/main" id="{0FA6A392-8104-2EDD-5E3E-37E72E357A57}"/>
              </a:ext>
            </a:extLst>
          </p:cNvPr>
          <p:cNvSpPr txBox="1"/>
          <p:nvPr/>
        </p:nvSpPr>
        <p:spPr>
          <a:xfrm rot="16200000">
            <a:off x="5771701" y="2630684"/>
            <a:ext cx="1228221" cy="235898"/>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OS probability (%)</a:t>
            </a:r>
          </a:p>
        </p:txBody>
      </p:sp>
      <p:grpSp>
        <p:nvGrpSpPr>
          <p:cNvPr id="401" name="Graphic 4">
            <a:extLst>
              <a:ext uri="{FF2B5EF4-FFF2-40B4-BE49-F238E27FC236}">
                <a16:creationId xmlns:a16="http://schemas.microsoft.com/office/drawing/2014/main" id="{5ABD875B-E851-F108-8DCF-35549D211587}"/>
              </a:ext>
            </a:extLst>
          </p:cNvPr>
          <p:cNvGrpSpPr/>
          <p:nvPr/>
        </p:nvGrpSpPr>
        <p:grpSpPr>
          <a:xfrm>
            <a:off x="6751251" y="1883692"/>
            <a:ext cx="40241" cy="1730748"/>
            <a:chOff x="6659886" y="2596292"/>
            <a:chExt cx="29231" cy="1235085"/>
          </a:xfrm>
        </p:grpSpPr>
        <p:sp>
          <p:nvSpPr>
            <p:cNvPr id="402" name="Freeform 366">
              <a:extLst>
                <a:ext uri="{FF2B5EF4-FFF2-40B4-BE49-F238E27FC236}">
                  <a16:creationId xmlns:a16="http://schemas.microsoft.com/office/drawing/2014/main" id="{92038598-2ADE-F69A-57A1-E975202E1395}"/>
                </a:ext>
              </a:extLst>
            </p:cNvPr>
            <p:cNvSpPr/>
            <p:nvPr/>
          </p:nvSpPr>
          <p:spPr>
            <a:xfrm>
              <a:off x="6659886" y="2596292"/>
              <a:ext cx="29231" cy="12709"/>
            </a:xfrm>
            <a:custGeom>
              <a:avLst/>
              <a:gdLst>
                <a:gd name="csX0" fmla="*/ 0 w 29231"/>
                <a:gd name="csY0" fmla="*/ 0 h 12709"/>
                <a:gd name="csX1" fmla="*/ 29231 w 29231"/>
                <a:gd name="csY1" fmla="*/ 0 h 12709"/>
              </a:gdLst>
              <a:ahLst/>
              <a:cxnLst>
                <a:cxn ang="0">
                  <a:pos x="csX0" y="csY0"/>
                </a:cxn>
                <a:cxn ang="0">
                  <a:pos x="csX1" y="csY1"/>
                </a:cxn>
              </a:cxnLst>
              <a:rect l="l" t="t" r="r" b="b"/>
              <a:pathLst>
                <a:path w="29231" h="12709">
                  <a:moveTo>
                    <a:pt x="0" y="0"/>
                  </a:moveTo>
                  <a:lnTo>
                    <a:pt x="29231" y="0"/>
                  </a:lnTo>
                </a:path>
              </a:pathLst>
            </a:custGeom>
            <a:ln w="12705" cap="flat">
              <a:solidFill>
                <a:srgbClr val="000000"/>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03" name="Freeform 367">
              <a:extLst>
                <a:ext uri="{FF2B5EF4-FFF2-40B4-BE49-F238E27FC236}">
                  <a16:creationId xmlns:a16="http://schemas.microsoft.com/office/drawing/2014/main" id="{C27AD3EB-930B-8D60-575D-CFB4EDCC215A}"/>
                </a:ext>
              </a:extLst>
            </p:cNvPr>
            <p:cNvSpPr/>
            <p:nvPr/>
          </p:nvSpPr>
          <p:spPr>
            <a:xfrm>
              <a:off x="6659886" y="2843360"/>
              <a:ext cx="29231" cy="12709"/>
            </a:xfrm>
            <a:custGeom>
              <a:avLst/>
              <a:gdLst>
                <a:gd name="csX0" fmla="*/ 0 w 29231"/>
                <a:gd name="csY0" fmla="*/ 0 h 12709"/>
                <a:gd name="csX1" fmla="*/ 29231 w 29231"/>
                <a:gd name="csY1" fmla="*/ 0 h 12709"/>
              </a:gdLst>
              <a:ahLst/>
              <a:cxnLst>
                <a:cxn ang="0">
                  <a:pos x="csX0" y="csY0"/>
                </a:cxn>
                <a:cxn ang="0">
                  <a:pos x="csX1" y="csY1"/>
                </a:cxn>
              </a:cxnLst>
              <a:rect l="l" t="t" r="r" b="b"/>
              <a:pathLst>
                <a:path w="29231" h="12709">
                  <a:moveTo>
                    <a:pt x="0" y="0"/>
                  </a:moveTo>
                  <a:lnTo>
                    <a:pt x="29231" y="0"/>
                  </a:lnTo>
                </a:path>
              </a:pathLst>
            </a:custGeom>
            <a:ln w="12705" cap="flat">
              <a:solidFill>
                <a:srgbClr val="000000"/>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04" name="Freeform 368">
              <a:extLst>
                <a:ext uri="{FF2B5EF4-FFF2-40B4-BE49-F238E27FC236}">
                  <a16:creationId xmlns:a16="http://schemas.microsoft.com/office/drawing/2014/main" id="{541D1680-A47C-A4D3-D30E-C209E8FB0524}"/>
                </a:ext>
              </a:extLst>
            </p:cNvPr>
            <p:cNvSpPr/>
            <p:nvPr/>
          </p:nvSpPr>
          <p:spPr>
            <a:xfrm>
              <a:off x="6659886" y="3090301"/>
              <a:ext cx="29231" cy="12709"/>
            </a:xfrm>
            <a:custGeom>
              <a:avLst/>
              <a:gdLst>
                <a:gd name="csX0" fmla="*/ 0 w 29231"/>
                <a:gd name="csY0" fmla="*/ 0 h 12709"/>
                <a:gd name="csX1" fmla="*/ 29231 w 29231"/>
                <a:gd name="csY1" fmla="*/ 0 h 12709"/>
              </a:gdLst>
              <a:ahLst/>
              <a:cxnLst>
                <a:cxn ang="0">
                  <a:pos x="csX0" y="csY0"/>
                </a:cxn>
                <a:cxn ang="0">
                  <a:pos x="csX1" y="csY1"/>
                </a:cxn>
              </a:cxnLst>
              <a:rect l="l" t="t" r="r" b="b"/>
              <a:pathLst>
                <a:path w="29231" h="12709">
                  <a:moveTo>
                    <a:pt x="0" y="0"/>
                  </a:moveTo>
                  <a:lnTo>
                    <a:pt x="29231" y="0"/>
                  </a:lnTo>
                </a:path>
              </a:pathLst>
            </a:custGeom>
            <a:ln w="12705" cap="flat">
              <a:solidFill>
                <a:srgbClr val="000000"/>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05" name="Freeform 369">
              <a:extLst>
                <a:ext uri="{FF2B5EF4-FFF2-40B4-BE49-F238E27FC236}">
                  <a16:creationId xmlns:a16="http://schemas.microsoft.com/office/drawing/2014/main" id="{9FBE6CF7-ED6A-8F68-D2B6-74665F61B1A9}"/>
                </a:ext>
              </a:extLst>
            </p:cNvPr>
            <p:cNvSpPr/>
            <p:nvPr/>
          </p:nvSpPr>
          <p:spPr>
            <a:xfrm>
              <a:off x="6659886" y="3337369"/>
              <a:ext cx="29231" cy="12709"/>
            </a:xfrm>
            <a:custGeom>
              <a:avLst/>
              <a:gdLst>
                <a:gd name="csX0" fmla="*/ 0 w 29231"/>
                <a:gd name="csY0" fmla="*/ 0 h 12709"/>
                <a:gd name="csX1" fmla="*/ 29231 w 29231"/>
                <a:gd name="csY1" fmla="*/ 0 h 12709"/>
              </a:gdLst>
              <a:ahLst/>
              <a:cxnLst>
                <a:cxn ang="0">
                  <a:pos x="csX0" y="csY0"/>
                </a:cxn>
                <a:cxn ang="0">
                  <a:pos x="csX1" y="csY1"/>
                </a:cxn>
              </a:cxnLst>
              <a:rect l="l" t="t" r="r" b="b"/>
              <a:pathLst>
                <a:path w="29231" h="12709">
                  <a:moveTo>
                    <a:pt x="0" y="0"/>
                  </a:moveTo>
                  <a:lnTo>
                    <a:pt x="29231" y="0"/>
                  </a:lnTo>
                </a:path>
              </a:pathLst>
            </a:custGeom>
            <a:ln w="12705" cap="flat">
              <a:solidFill>
                <a:srgbClr val="000000"/>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06" name="Freeform 370">
              <a:extLst>
                <a:ext uri="{FF2B5EF4-FFF2-40B4-BE49-F238E27FC236}">
                  <a16:creationId xmlns:a16="http://schemas.microsoft.com/office/drawing/2014/main" id="{348B0DB1-B8A8-E648-309A-1E29C1A17D85}"/>
                </a:ext>
              </a:extLst>
            </p:cNvPr>
            <p:cNvSpPr/>
            <p:nvPr/>
          </p:nvSpPr>
          <p:spPr>
            <a:xfrm>
              <a:off x="6659886" y="3584437"/>
              <a:ext cx="29231" cy="12709"/>
            </a:xfrm>
            <a:custGeom>
              <a:avLst/>
              <a:gdLst>
                <a:gd name="csX0" fmla="*/ 0 w 29231"/>
                <a:gd name="csY0" fmla="*/ 0 h 12709"/>
                <a:gd name="csX1" fmla="*/ 29231 w 29231"/>
                <a:gd name="csY1" fmla="*/ 0 h 12709"/>
              </a:gdLst>
              <a:ahLst/>
              <a:cxnLst>
                <a:cxn ang="0">
                  <a:pos x="csX0" y="csY0"/>
                </a:cxn>
                <a:cxn ang="0">
                  <a:pos x="csX1" y="csY1"/>
                </a:cxn>
              </a:cxnLst>
              <a:rect l="l" t="t" r="r" b="b"/>
              <a:pathLst>
                <a:path w="29231" h="12709">
                  <a:moveTo>
                    <a:pt x="0" y="0"/>
                  </a:moveTo>
                  <a:lnTo>
                    <a:pt x="29231" y="0"/>
                  </a:lnTo>
                </a:path>
              </a:pathLst>
            </a:custGeom>
            <a:ln w="12705" cap="flat">
              <a:solidFill>
                <a:srgbClr val="000000"/>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07" name="Freeform 371">
              <a:extLst>
                <a:ext uri="{FF2B5EF4-FFF2-40B4-BE49-F238E27FC236}">
                  <a16:creationId xmlns:a16="http://schemas.microsoft.com/office/drawing/2014/main" id="{1DD7E791-2995-CA55-2510-5F556BB09613}"/>
                </a:ext>
              </a:extLst>
            </p:cNvPr>
            <p:cNvSpPr/>
            <p:nvPr/>
          </p:nvSpPr>
          <p:spPr>
            <a:xfrm>
              <a:off x="6659886" y="3831378"/>
              <a:ext cx="29231" cy="12709"/>
            </a:xfrm>
            <a:custGeom>
              <a:avLst/>
              <a:gdLst>
                <a:gd name="csX0" fmla="*/ 0 w 29231"/>
                <a:gd name="csY0" fmla="*/ 0 h 12709"/>
                <a:gd name="csX1" fmla="*/ 29231 w 29231"/>
                <a:gd name="csY1" fmla="*/ 0 h 12709"/>
              </a:gdLst>
              <a:ahLst/>
              <a:cxnLst>
                <a:cxn ang="0">
                  <a:pos x="csX0" y="csY0"/>
                </a:cxn>
                <a:cxn ang="0">
                  <a:pos x="csX1" y="csY1"/>
                </a:cxn>
              </a:cxnLst>
              <a:rect l="l" t="t" r="r" b="b"/>
              <a:pathLst>
                <a:path w="29231" h="12709">
                  <a:moveTo>
                    <a:pt x="0" y="0"/>
                  </a:moveTo>
                  <a:lnTo>
                    <a:pt x="29231" y="0"/>
                  </a:lnTo>
                </a:path>
              </a:pathLst>
            </a:custGeom>
            <a:ln w="12705" cap="flat">
              <a:solidFill>
                <a:srgbClr val="000000"/>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430" name="Graphic 4">
            <a:extLst>
              <a:ext uri="{FF2B5EF4-FFF2-40B4-BE49-F238E27FC236}">
                <a16:creationId xmlns:a16="http://schemas.microsoft.com/office/drawing/2014/main" id="{F058C772-8B1D-CFAB-89D6-E91091A7EBA8}"/>
              </a:ext>
            </a:extLst>
          </p:cNvPr>
          <p:cNvGrpSpPr/>
          <p:nvPr/>
        </p:nvGrpSpPr>
        <p:grpSpPr>
          <a:xfrm>
            <a:off x="6791494" y="3614442"/>
            <a:ext cx="4601518" cy="40962"/>
            <a:chOff x="6689118" y="3831378"/>
            <a:chExt cx="3342536" cy="29231"/>
          </a:xfrm>
        </p:grpSpPr>
        <p:sp>
          <p:nvSpPr>
            <p:cNvPr id="431" name="Freeform 324">
              <a:extLst>
                <a:ext uri="{FF2B5EF4-FFF2-40B4-BE49-F238E27FC236}">
                  <a16:creationId xmlns:a16="http://schemas.microsoft.com/office/drawing/2014/main" id="{951BC5C3-E241-A917-245A-3E7AE78C85D3}"/>
                </a:ext>
              </a:extLst>
            </p:cNvPr>
            <p:cNvSpPr/>
            <p:nvPr/>
          </p:nvSpPr>
          <p:spPr>
            <a:xfrm>
              <a:off x="6689118"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32" name="Freeform 325">
              <a:extLst>
                <a:ext uri="{FF2B5EF4-FFF2-40B4-BE49-F238E27FC236}">
                  <a16:creationId xmlns:a16="http://schemas.microsoft.com/office/drawing/2014/main" id="{DDCE5BA4-B64C-6A03-0971-190286B8085A}"/>
                </a:ext>
              </a:extLst>
            </p:cNvPr>
            <p:cNvSpPr/>
            <p:nvPr/>
          </p:nvSpPr>
          <p:spPr>
            <a:xfrm>
              <a:off x="6856245"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33" name="Freeform 326">
              <a:extLst>
                <a:ext uri="{FF2B5EF4-FFF2-40B4-BE49-F238E27FC236}">
                  <a16:creationId xmlns:a16="http://schemas.microsoft.com/office/drawing/2014/main" id="{27D179A6-5C19-CF91-FF1B-0380E74A8639}"/>
                </a:ext>
              </a:extLst>
            </p:cNvPr>
            <p:cNvSpPr/>
            <p:nvPr/>
          </p:nvSpPr>
          <p:spPr>
            <a:xfrm>
              <a:off x="7023371"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34" name="Freeform 327">
              <a:extLst>
                <a:ext uri="{FF2B5EF4-FFF2-40B4-BE49-F238E27FC236}">
                  <a16:creationId xmlns:a16="http://schemas.microsoft.com/office/drawing/2014/main" id="{148C686D-D561-2571-7DE3-0562A3F78B73}"/>
                </a:ext>
              </a:extLst>
            </p:cNvPr>
            <p:cNvSpPr/>
            <p:nvPr/>
          </p:nvSpPr>
          <p:spPr>
            <a:xfrm>
              <a:off x="7190498"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35" name="Freeform 328">
              <a:extLst>
                <a:ext uri="{FF2B5EF4-FFF2-40B4-BE49-F238E27FC236}">
                  <a16:creationId xmlns:a16="http://schemas.microsoft.com/office/drawing/2014/main" id="{76A77871-955E-2695-E34F-784000E8EBA4}"/>
                </a:ext>
              </a:extLst>
            </p:cNvPr>
            <p:cNvSpPr/>
            <p:nvPr/>
          </p:nvSpPr>
          <p:spPr>
            <a:xfrm>
              <a:off x="7357625"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36" name="Freeform 329">
              <a:extLst>
                <a:ext uri="{FF2B5EF4-FFF2-40B4-BE49-F238E27FC236}">
                  <a16:creationId xmlns:a16="http://schemas.microsoft.com/office/drawing/2014/main" id="{FDDF098A-B1DA-2A37-D337-43A7B02025FB}"/>
                </a:ext>
              </a:extLst>
            </p:cNvPr>
            <p:cNvSpPr/>
            <p:nvPr/>
          </p:nvSpPr>
          <p:spPr>
            <a:xfrm>
              <a:off x="7524752"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37" name="Freeform 330">
              <a:extLst>
                <a:ext uri="{FF2B5EF4-FFF2-40B4-BE49-F238E27FC236}">
                  <a16:creationId xmlns:a16="http://schemas.microsoft.com/office/drawing/2014/main" id="{EE97EE20-08D2-634B-1711-8901DF1FF0EE}"/>
                </a:ext>
              </a:extLst>
            </p:cNvPr>
            <p:cNvSpPr/>
            <p:nvPr/>
          </p:nvSpPr>
          <p:spPr>
            <a:xfrm>
              <a:off x="7691879"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38" name="Freeform 331">
              <a:extLst>
                <a:ext uri="{FF2B5EF4-FFF2-40B4-BE49-F238E27FC236}">
                  <a16:creationId xmlns:a16="http://schemas.microsoft.com/office/drawing/2014/main" id="{38FDD608-0E26-DDCC-2BF4-68C8C2588670}"/>
                </a:ext>
              </a:extLst>
            </p:cNvPr>
            <p:cNvSpPr/>
            <p:nvPr/>
          </p:nvSpPr>
          <p:spPr>
            <a:xfrm>
              <a:off x="7859006"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39" name="Freeform 332">
              <a:extLst>
                <a:ext uri="{FF2B5EF4-FFF2-40B4-BE49-F238E27FC236}">
                  <a16:creationId xmlns:a16="http://schemas.microsoft.com/office/drawing/2014/main" id="{38B0604F-F4F3-9B33-EC34-83BC650F06F4}"/>
                </a:ext>
              </a:extLst>
            </p:cNvPr>
            <p:cNvSpPr/>
            <p:nvPr/>
          </p:nvSpPr>
          <p:spPr>
            <a:xfrm>
              <a:off x="8026132"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40" name="Freeform 333">
              <a:extLst>
                <a:ext uri="{FF2B5EF4-FFF2-40B4-BE49-F238E27FC236}">
                  <a16:creationId xmlns:a16="http://schemas.microsoft.com/office/drawing/2014/main" id="{AC25EC17-BBF4-6BAB-61E0-B5F6742CCBFE}"/>
                </a:ext>
              </a:extLst>
            </p:cNvPr>
            <p:cNvSpPr/>
            <p:nvPr/>
          </p:nvSpPr>
          <p:spPr>
            <a:xfrm>
              <a:off x="8193259"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41" name="Freeform 334">
              <a:extLst>
                <a:ext uri="{FF2B5EF4-FFF2-40B4-BE49-F238E27FC236}">
                  <a16:creationId xmlns:a16="http://schemas.microsoft.com/office/drawing/2014/main" id="{0E13985C-2819-74AF-14FE-8738B41DF56E}"/>
                </a:ext>
              </a:extLst>
            </p:cNvPr>
            <p:cNvSpPr/>
            <p:nvPr/>
          </p:nvSpPr>
          <p:spPr>
            <a:xfrm>
              <a:off x="8360386"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42" name="Freeform 335">
              <a:extLst>
                <a:ext uri="{FF2B5EF4-FFF2-40B4-BE49-F238E27FC236}">
                  <a16:creationId xmlns:a16="http://schemas.microsoft.com/office/drawing/2014/main" id="{7017422E-ECA6-4D1A-C004-5DA94F2353F7}"/>
                </a:ext>
              </a:extLst>
            </p:cNvPr>
            <p:cNvSpPr/>
            <p:nvPr/>
          </p:nvSpPr>
          <p:spPr>
            <a:xfrm>
              <a:off x="8527513"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43" name="Freeform 336">
              <a:extLst>
                <a:ext uri="{FF2B5EF4-FFF2-40B4-BE49-F238E27FC236}">
                  <a16:creationId xmlns:a16="http://schemas.microsoft.com/office/drawing/2014/main" id="{60B21871-EA78-B814-6E8F-6C63D2514DFF}"/>
                </a:ext>
              </a:extLst>
            </p:cNvPr>
            <p:cNvSpPr/>
            <p:nvPr/>
          </p:nvSpPr>
          <p:spPr>
            <a:xfrm>
              <a:off x="8694640"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44" name="Freeform 337">
              <a:extLst>
                <a:ext uri="{FF2B5EF4-FFF2-40B4-BE49-F238E27FC236}">
                  <a16:creationId xmlns:a16="http://schemas.microsoft.com/office/drawing/2014/main" id="{12DEE9E5-82A7-B13E-E26A-7CCCE69C1E35}"/>
                </a:ext>
              </a:extLst>
            </p:cNvPr>
            <p:cNvSpPr/>
            <p:nvPr/>
          </p:nvSpPr>
          <p:spPr>
            <a:xfrm>
              <a:off x="9028893"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45" name="Freeform 338">
              <a:extLst>
                <a:ext uri="{FF2B5EF4-FFF2-40B4-BE49-F238E27FC236}">
                  <a16:creationId xmlns:a16="http://schemas.microsoft.com/office/drawing/2014/main" id="{EDCF26C0-D016-2836-9743-769BDCD6E973}"/>
                </a:ext>
              </a:extLst>
            </p:cNvPr>
            <p:cNvSpPr/>
            <p:nvPr/>
          </p:nvSpPr>
          <p:spPr>
            <a:xfrm>
              <a:off x="9196020"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46" name="Freeform 339">
              <a:extLst>
                <a:ext uri="{FF2B5EF4-FFF2-40B4-BE49-F238E27FC236}">
                  <a16:creationId xmlns:a16="http://schemas.microsoft.com/office/drawing/2014/main" id="{798FDA03-52DB-9401-8E66-67369E6C9BB8}"/>
                </a:ext>
              </a:extLst>
            </p:cNvPr>
            <p:cNvSpPr/>
            <p:nvPr/>
          </p:nvSpPr>
          <p:spPr>
            <a:xfrm>
              <a:off x="9363147"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47" name="Freeform 340">
              <a:extLst>
                <a:ext uri="{FF2B5EF4-FFF2-40B4-BE49-F238E27FC236}">
                  <a16:creationId xmlns:a16="http://schemas.microsoft.com/office/drawing/2014/main" id="{E0BE3FD5-5DB1-9DE5-3453-09F46FE91504}"/>
                </a:ext>
              </a:extLst>
            </p:cNvPr>
            <p:cNvSpPr/>
            <p:nvPr/>
          </p:nvSpPr>
          <p:spPr>
            <a:xfrm>
              <a:off x="9530274"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48" name="Freeform 341">
              <a:extLst>
                <a:ext uri="{FF2B5EF4-FFF2-40B4-BE49-F238E27FC236}">
                  <a16:creationId xmlns:a16="http://schemas.microsoft.com/office/drawing/2014/main" id="{8B841311-9FF7-2B3F-BC5F-2860081E91F8}"/>
                </a:ext>
              </a:extLst>
            </p:cNvPr>
            <p:cNvSpPr/>
            <p:nvPr/>
          </p:nvSpPr>
          <p:spPr>
            <a:xfrm>
              <a:off x="9697401"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49" name="Freeform 342">
              <a:extLst>
                <a:ext uri="{FF2B5EF4-FFF2-40B4-BE49-F238E27FC236}">
                  <a16:creationId xmlns:a16="http://schemas.microsoft.com/office/drawing/2014/main" id="{6F86A160-3EFC-A84F-9BC6-AE9F79B7ED39}"/>
                </a:ext>
              </a:extLst>
            </p:cNvPr>
            <p:cNvSpPr/>
            <p:nvPr/>
          </p:nvSpPr>
          <p:spPr>
            <a:xfrm>
              <a:off x="9864528"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50" name="Freeform 343">
              <a:extLst>
                <a:ext uri="{FF2B5EF4-FFF2-40B4-BE49-F238E27FC236}">
                  <a16:creationId xmlns:a16="http://schemas.microsoft.com/office/drawing/2014/main" id="{CB03B8A5-4BE4-12FD-C8BD-0275914E9C0C}"/>
                </a:ext>
              </a:extLst>
            </p:cNvPr>
            <p:cNvSpPr/>
            <p:nvPr/>
          </p:nvSpPr>
          <p:spPr>
            <a:xfrm>
              <a:off x="10031655"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51" name="Freeform 344">
              <a:extLst>
                <a:ext uri="{FF2B5EF4-FFF2-40B4-BE49-F238E27FC236}">
                  <a16:creationId xmlns:a16="http://schemas.microsoft.com/office/drawing/2014/main" id="{95F6CE6E-8B9F-E859-C021-A9CC33ACD6C8}"/>
                </a:ext>
              </a:extLst>
            </p:cNvPr>
            <p:cNvSpPr/>
            <p:nvPr/>
          </p:nvSpPr>
          <p:spPr>
            <a:xfrm>
              <a:off x="8861767" y="3831378"/>
              <a:ext cx="12709" cy="29231"/>
            </a:xfrm>
            <a:custGeom>
              <a:avLst/>
              <a:gdLst>
                <a:gd name="csX0" fmla="*/ 0 w 12709"/>
                <a:gd name="csY0" fmla="*/ 0 h 29231"/>
                <a:gd name="csX1" fmla="*/ 0 w 12709"/>
                <a:gd name="csY1" fmla="*/ 29231 h 29231"/>
              </a:gdLst>
              <a:ahLst/>
              <a:cxnLst>
                <a:cxn ang="0">
                  <a:pos x="csX0" y="csY0"/>
                </a:cxn>
                <a:cxn ang="0">
                  <a:pos x="csX1" y="csY1"/>
                </a:cxn>
              </a:cxnLst>
              <a:rect l="l" t="t" r="r" b="b"/>
              <a:pathLst>
                <a:path w="12709" h="29231">
                  <a:moveTo>
                    <a:pt x="0" y="0"/>
                  </a:moveTo>
                  <a:lnTo>
                    <a:pt x="0" y="29231"/>
                  </a:lnTo>
                </a:path>
              </a:pathLst>
            </a:custGeom>
            <a:ln w="12705" cap="flat">
              <a:solidFill>
                <a:srgbClr val="000000"/>
              </a:solidFill>
              <a:prstDash val="solid"/>
              <a:miter/>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sp>
        <p:nvSpPr>
          <p:cNvPr id="452" name="Freeform 54">
            <a:extLst>
              <a:ext uri="{FF2B5EF4-FFF2-40B4-BE49-F238E27FC236}">
                <a16:creationId xmlns:a16="http://schemas.microsoft.com/office/drawing/2014/main" id="{0222942C-6C34-B7DF-E285-34983919A159}"/>
              </a:ext>
            </a:extLst>
          </p:cNvPr>
          <p:cNvSpPr/>
          <p:nvPr/>
        </p:nvSpPr>
        <p:spPr>
          <a:xfrm>
            <a:off x="6791494" y="1883692"/>
            <a:ext cx="4601518" cy="1730748"/>
          </a:xfrm>
          <a:custGeom>
            <a:avLst/>
            <a:gdLst>
              <a:gd name="csX0" fmla="*/ 0 w 3342536"/>
              <a:gd name="csY0" fmla="*/ 0 h 1235085"/>
              <a:gd name="csX1" fmla="*/ 0 w 3342536"/>
              <a:gd name="csY1" fmla="*/ 1235086 h 1235085"/>
              <a:gd name="csX2" fmla="*/ 3342537 w 3342536"/>
              <a:gd name="csY2" fmla="*/ 1235086 h 1235085"/>
            </a:gdLst>
            <a:ahLst/>
            <a:cxnLst>
              <a:cxn ang="0">
                <a:pos x="csX0" y="csY0"/>
              </a:cxn>
              <a:cxn ang="0">
                <a:pos x="csX1" y="csY1"/>
              </a:cxn>
              <a:cxn ang="0">
                <a:pos x="csX2" y="csY2"/>
              </a:cxn>
            </a:cxnLst>
            <a:rect l="l" t="t" r="r" b="b"/>
            <a:pathLst>
              <a:path w="3342536" h="1235085">
                <a:moveTo>
                  <a:pt x="0" y="0"/>
                </a:moveTo>
                <a:lnTo>
                  <a:pt x="0" y="1235086"/>
                </a:lnTo>
                <a:lnTo>
                  <a:pt x="3342537" y="1235086"/>
                </a:lnTo>
              </a:path>
            </a:pathLst>
          </a:custGeom>
          <a:noFill/>
          <a:ln w="12705" cap="sq">
            <a:solidFill>
              <a:srgbClr val="000000"/>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nvGrpSpPr>
          <p:cNvPr id="453" name="Graphic 4">
            <a:extLst>
              <a:ext uri="{FF2B5EF4-FFF2-40B4-BE49-F238E27FC236}">
                <a16:creationId xmlns:a16="http://schemas.microsoft.com/office/drawing/2014/main" id="{4B638AD8-9539-1854-AD8C-A548328B0D62}"/>
              </a:ext>
            </a:extLst>
          </p:cNvPr>
          <p:cNvGrpSpPr/>
          <p:nvPr/>
        </p:nvGrpSpPr>
        <p:grpSpPr>
          <a:xfrm>
            <a:off x="8521568" y="2274008"/>
            <a:ext cx="1048334" cy="1340432"/>
            <a:chOff x="7945841" y="2545459"/>
            <a:chExt cx="761508" cy="1285918"/>
          </a:xfrm>
        </p:grpSpPr>
        <p:sp>
          <p:nvSpPr>
            <p:cNvPr id="454" name="Freeform 321">
              <a:extLst>
                <a:ext uri="{FF2B5EF4-FFF2-40B4-BE49-F238E27FC236}">
                  <a16:creationId xmlns:a16="http://schemas.microsoft.com/office/drawing/2014/main" id="{524EEFFF-3926-72B1-5500-C19CA63AA6E4}"/>
                </a:ext>
              </a:extLst>
            </p:cNvPr>
            <p:cNvSpPr/>
            <p:nvPr/>
          </p:nvSpPr>
          <p:spPr>
            <a:xfrm>
              <a:off x="8694640" y="3812314"/>
              <a:ext cx="12709" cy="19063"/>
            </a:xfrm>
            <a:custGeom>
              <a:avLst/>
              <a:gdLst>
                <a:gd name="csX0" fmla="*/ 0 w 12709"/>
                <a:gd name="csY0" fmla="*/ 19064 h 19063"/>
                <a:gd name="csX1" fmla="*/ 0 w 12709"/>
                <a:gd name="csY1" fmla="*/ 0 h 19063"/>
              </a:gdLst>
              <a:ahLst/>
              <a:cxnLst>
                <a:cxn ang="0">
                  <a:pos x="csX0" y="csY0"/>
                </a:cxn>
                <a:cxn ang="0">
                  <a:pos x="csX1" y="csY1"/>
                </a:cxn>
              </a:cxnLst>
              <a:rect l="l" t="t" r="r" b="b"/>
              <a:pathLst>
                <a:path w="12709" h="19063">
                  <a:moveTo>
                    <a:pt x="0" y="19064"/>
                  </a:moveTo>
                  <a:lnTo>
                    <a:pt x="0" y="0"/>
                  </a:lnTo>
                </a:path>
              </a:pathLst>
            </a:custGeom>
            <a:ln w="12705" cap="flat">
              <a:solidFill>
                <a:srgbClr val="000000"/>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55" name="Freeform 322">
              <a:extLst>
                <a:ext uri="{FF2B5EF4-FFF2-40B4-BE49-F238E27FC236}">
                  <a16:creationId xmlns:a16="http://schemas.microsoft.com/office/drawing/2014/main" id="{9610C819-48F8-75CA-6079-E9849A22A117}"/>
                </a:ext>
              </a:extLst>
            </p:cNvPr>
            <p:cNvSpPr/>
            <p:nvPr/>
          </p:nvSpPr>
          <p:spPr>
            <a:xfrm flipH="1">
              <a:off x="7945841" y="2545459"/>
              <a:ext cx="78878" cy="1260879"/>
            </a:xfrm>
            <a:custGeom>
              <a:avLst/>
              <a:gdLst>
                <a:gd name="csX0" fmla="*/ 0 w 12709"/>
                <a:gd name="csY0" fmla="*/ 1139131 h 1139131"/>
                <a:gd name="csX1" fmla="*/ 0 w 12709"/>
                <a:gd name="csY1" fmla="*/ 0 h 1139131"/>
              </a:gdLst>
              <a:ahLst/>
              <a:cxnLst>
                <a:cxn ang="0">
                  <a:pos x="csX0" y="csY0"/>
                </a:cxn>
                <a:cxn ang="0">
                  <a:pos x="csX1" y="csY1"/>
                </a:cxn>
              </a:cxnLst>
              <a:rect l="l" t="t" r="r" b="b"/>
              <a:pathLst>
                <a:path w="12709" h="1139131">
                  <a:moveTo>
                    <a:pt x="0" y="1139131"/>
                  </a:moveTo>
                  <a:lnTo>
                    <a:pt x="0" y="0"/>
                  </a:lnTo>
                </a:path>
              </a:pathLst>
            </a:custGeom>
            <a:ln w="12705" cap="flat">
              <a:solidFill>
                <a:srgbClr val="000000"/>
              </a:solidFill>
              <a:custDash>
                <a:ds d="228000" sp="228000"/>
              </a:custDash>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457" name="Graphic 4">
            <a:extLst>
              <a:ext uri="{FF2B5EF4-FFF2-40B4-BE49-F238E27FC236}">
                <a16:creationId xmlns:a16="http://schemas.microsoft.com/office/drawing/2014/main" id="{48D64EA0-7985-640E-5EB7-E6853125E7F1}"/>
              </a:ext>
            </a:extLst>
          </p:cNvPr>
          <p:cNvGrpSpPr/>
          <p:nvPr/>
        </p:nvGrpSpPr>
        <p:grpSpPr>
          <a:xfrm>
            <a:off x="8555118" y="1843442"/>
            <a:ext cx="1490681" cy="85842"/>
            <a:chOff x="7970212" y="2567569"/>
            <a:chExt cx="1082829" cy="61258"/>
          </a:xfrm>
        </p:grpSpPr>
        <p:grpSp>
          <p:nvGrpSpPr>
            <p:cNvPr id="458" name="Graphic 4">
              <a:extLst>
                <a:ext uri="{FF2B5EF4-FFF2-40B4-BE49-F238E27FC236}">
                  <a16:creationId xmlns:a16="http://schemas.microsoft.com/office/drawing/2014/main" id="{ACB6B5D7-F567-2239-2D0B-B5230456EDCE}"/>
                </a:ext>
              </a:extLst>
            </p:cNvPr>
            <p:cNvGrpSpPr/>
            <p:nvPr/>
          </p:nvGrpSpPr>
          <p:grpSpPr>
            <a:xfrm>
              <a:off x="8991782" y="2567569"/>
              <a:ext cx="61258" cy="61258"/>
              <a:chOff x="8991782" y="2567569"/>
              <a:chExt cx="61258" cy="61258"/>
            </a:xfrm>
          </p:grpSpPr>
          <p:sp>
            <p:nvSpPr>
              <p:cNvPr id="462" name="Freeform 260">
                <a:extLst>
                  <a:ext uri="{FF2B5EF4-FFF2-40B4-BE49-F238E27FC236}">
                    <a16:creationId xmlns:a16="http://schemas.microsoft.com/office/drawing/2014/main" id="{784A0242-247F-C7EF-4D87-E08B8A47602D}"/>
                  </a:ext>
                </a:extLst>
              </p:cNvPr>
              <p:cNvSpPr/>
              <p:nvPr/>
            </p:nvSpPr>
            <p:spPr>
              <a:xfrm>
                <a:off x="8991782" y="2598199"/>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chemeClr val="accent3">
                    <a:lumMod val="40000"/>
                    <a:lumOff val="60000"/>
                  </a:schemeClr>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63" name="Freeform 261">
                <a:extLst>
                  <a:ext uri="{FF2B5EF4-FFF2-40B4-BE49-F238E27FC236}">
                    <a16:creationId xmlns:a16="http://schemas.microsoft.com/office/drawing/2014/main" id="{698C66EE-469F-D531-2D07-36E029B76236}"/>
                  </a:ext>
                </a:extLst>
              </p:cNvPr>
              <p:cNvSpPr/>
              <p:nvPr/>
            </p:nvSpPr>
            <p:spPr>
              <a:xfrm>
                <a:off x="9022412" y="2567569"/>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chemeClr val="accent3">
                    <a:lumMod val="40000"/>
                    <a:lumOff val="60000"/>
                  </a:schemeClr>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459" name="Graphic 4">
              <a:extLst>
                <a:ext uri="{FF2B5EF4-FFF2-40B4-BE49-F238E27FC236}">
                  <a16:creationId xmlns:a16="http://schemas.microsoft.com/office/drawing/2014/main" id="{3E60C967-D10A-CF23-410B-5A7EB02DF763}"/>
                </a:ext>
              </a:extLst>
            </p:cNvPr>
            <p:cNvGrpSpPr/>
            <p:nvPr/>
          </p:nvGrpSpPr>
          <p:grpSpPr>
            <a:xfrm>
              <a:off x="7970212" y="2567569"/>
              <a:ext cx="61258" cy="61258"/>
              <a:chOff x="7970212" y="2567569"/>
              <a:chExt cx="61258" cy="61258"/>
            </a:xfrm>
          </p:grpSpPr>
          <p:sp>
            <p:nvSpPr>
              <p:cNvPr id="460" name="Freeform 258">
                <a:extLst>
                  <a:ext uri="{FF2B5EF4-FFF2-40B4-BE49-F238E27FC236}">
                    <a16:creationId xmlns:a16="http://schemas.microsoft.com/office/drawing/2014/main" id="{AAC07389-0CED-E3E6-20D2-A02000E30723}"/>
                  </a:ext>
                </a:extLst>
              </p:cNvPr>
              <p:cNvSpPr/>
              <p:nvPr/>
            </p:nvSpPr>
            <p:spPr>
              <a:xfrm>
                <a:off x="7970212" y="2598199"/>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chemeClr val="accent3">
                    <a:lumMod val="40000"/>
                    <a:lumOff val="60000"/>
                  </a:schemeClr>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61" name="Freeform 259">
                <a:extLst>
                  <a:ext uri="{FF2B5EF4-FFF2-40B4-BE49-F238E27FC236}">
                    <a16:creationId xmlns:a16="http://schemas.microsoft.com/office/drawing/2014/main" id="{5E620359-6AEA-FC05-3680-B9270FAE0E54}"/>
                  </a:ext>
                </a:extLst>
              </p:cNvPr>
              <p:cNvSpPr/>
              <p:nvPr/>
            </p:nvSpPr>
            <p:spPr>
              <a:xfrm>
                <a:off x="8000841" y="2567569"/>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chemeClr val="accent3">
                    <a:lumMod val="40000"/>
                    <a:lumOff val="60000"/>
                  </a:schemeClr>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grpSp>
        <p:nvGrpSpPr>
          <p:cNvPr id="464" name="Graphic 4">
            <a:extLst>
              <a:ext uri="{FF2B5EF4-FFF2-40B4-BE49-F238E27FC236}">
                <a16:creationId xmlns:a16="http://schemas.microsoft.com/office/drawing/2014/main" id="{4F9E423A-7593-AC6A-BB4B-4CEA8AB92F0A}"/>
              </a:ext>
            </a:extLst>
          </p:cNvPr>
          <p:cNvGrpSpPr/>
          <p:nvPr/>
        </p:nvGrpSpPr>
        <p:grpSpPr>
          <a:xfrm>
            <a:off x="8201694" y="2175416"/>
            <a:ext cx="3165250" cy="214073"/>
            <a:chOff x="7713485" y="2804470"/>
            <a:chExt cx="2299233" cy="152765"/>
          </a:xfrm>
        </p:grpSpPr>
        <p:grpSp>
          <p:nvGrpSpPr>
            <p:cNvPr id="465" name="Graphic 4">
              <a:extLst>
                <a:ext uri="{FF2B5EF4-FFF2-40B4-BE49-F238E27FC236}">
                  <a16:creationId xmlns:a16="http://schemas.microsoft.com/office/drawing/2014/main" id="{F613EA84-23DD-2A1E-2A8E-D8D91EC34F71}"/>
                </a:ext>
              </a:extLst>
            </p:cNvPr>
            <p:cNvGrpSpPr/>
            <p:nvPr/>
          </p:nvGrpSpPr>
          <p:grpSpPr>
            <a:xfrm>
              <a:off x="9951459" y="2895977"/>
              <a:ext cx="61258" cy="61258"/>
              <a:chOff x="9951459" y="2895977"/>
              <a:chExt cx="61258" cy="61258"/>
            </a:xfrm>
          </p:grpSpPr>
          <p:sp>
            <p:nvSpPr>
              <p:cNvPr id="523" name="Freeform 254">
                <a:extLst>
                  <a:ext uri="{FF2B5EF4-FFF2-40B4-BE49-F238E27FC236}">
                    <a16:creationId xmlns:a16="http://schemas.microsoft.com/office/drawing/2014/main" id="{C634F07E-9B08-C6AA-E985-1B83D7EBBFB3}"/>
                  </a:ext>
                </a:extLst>
              </p:cNvPr>
              <p:cNvSpPr/>
              <p:nvPr/>
            </p:nvSpPr>
            <p:spPr>
              <a:xfrm>
                <a:off x="9951459" y="2926606"/>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24" name="Freeform 255">
                <a:extLst>
                  <a:ext uri="{FF2B5EF4-FFF2-40B4-BE49-F238E27FC236}">
                    <a16:creationId xmlns:a16="http://schemas.microsoft.com/office/drawing/2014/main" id="{B3835780-1DF4-3FBB-CF54-1E8747EB7B41}"/>
                  </a:ext>
                </a:extLst>
              </p:cNvPr>
              <p:cNvSpPr/>
              <p:nvPr/>
            </p:nvSpPr>
            <p:spPr>
              <a:xfrm>
                <a:off x="9982088" y="2895977"/>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466" name="Graphic 4">
              <a:extLst>
                <a:ext uri="{FF2B5EF4-FFF2-40B4-BE49-F238E27FC236}">
                  <a16:creationId xmlns:a16="http://schemas.microsoft.com/office/drawing/2014/main" id="{A172E358-A900-AF14-637E-527677A4F67C}"/>
                </a:ext>
              </a:extLst>
            </p:cNvPr>
            <p:cNvGrpSpPr/>
            <p:nvPr/>
          </p:nvGrpSpPr>
          <p:grpSpPr>
            <a:xfrm>
              <a:off x="9256516" y="2895977"/>
              <a:ext cx="61258" cy="61258"/>
              <a:chOff x="9256516" y="2895977"/>
              <a:chExt cx="61258" cy="61258"/>
            </a:xfrm>
          </p:grpSpPr>
          <p:sp>
            <p:nvSpPr>
              <p:cNvPr id="521" name="Freeform 252">
                <a:extLst>
                  <a:ext uri="{FF2B5EF4-FFF2-40B4-BE49-F238E27FC236}">
                    <a16:creationId xmlns:a16="http://schemas.microsoft.com/office/drawing/2014/main" id="{E3F43446-4BF7-FAD7-CB47-14708D166648}"/>
                  </a:ext>
                </a:extLst>
              </p:cNvPr>
              <p:cNvSpPr/>
              <p:nvPr/>
            </p:nvSpPr>
            <p:spPr>
              <a:xfrm>
                <a:off x="9256516" y="2926606"/>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22" name="Freeform 253">
                <a:extLst>
                  <a:ext uri="{FF2B5EF4-FFF2-40B4-BE49-F238E27FC236}">
                    <a16:creationId xmlns:a16="http://schemas.microsoft.com/office/drawing/2014/main" id="{36943225-B5B6-3DBD-C031-4C794950184D}"/>
                  </a:ext>
                </a:extLst>
              </p:cNvPr>
              <p:cNvSpPr/>
              <p:nvPr/>
            </p:nvSpPr>
            <p:spPr>
              <a:xfrm>
                <a:off x="9287146" y="2895977"/>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467" name="Graphic 4">
              <a:extLst>
                <a:ext uri="{FF2B5EF4-FFF2-40B4-BE49-F238E27FC236}">
                  <a16:creationId xmlns:a16="http://schemas.microsoft.com/office/drawing/2014/main" id="{2F1FB3AD-244D-3644-CFF1-7F824935A12C}"/>
                </a:ext>
              </a:extLst>
            </p:cNvPr>
            <p:cNvGrpSpPr/>
            <p:nvPr/>
          </p:nvGrpSpPr>
          <p:grpSpPr>
            <a:xfrm>
              <a:off x="9078841" y="2895977"/>
              <a:ext cx="61258" cy="61258"/>
              <a:chOff x="9078841" y="2895977"/>
              <a:chExt cx="61258" cy="61258"/>
            </a:xfrm>
          </p:grpSpPr>
          <p:sp>
            <p:nvSpPr>
              <p:cNvPr id="519" name="Freeform 250">
                <a:extLst>
                  <a:ext uri="{FF2B5EF4-FFF2-40B4-BE49-F238E27FC236}">
                    <a16:creationId xmlns:a16="http://schemas.microsoft.com/office/drawing/2014/main" id="{A4AD9BA4-AAC0-3B2B-A5B6-15405368B86A}"/>
                  </a:ext>
                </a:extLst>
              </p:cNvPr>
              <p:cNvSpPr/>
              <p:nvPr/>
            </p:nvSpPr>
            <p:spPr>
              <a:xfrm>
                <a:off x="9078841" y="2926606"/>
                <a:ext cx="61258" cy="12709"/>
              </a:xfrm>
              <a:custGeom>
                <a:avLst/>
                <a:gdLst>
                  <a:gd name="csX0" fmla="*/ 0 w 61258"/>
                  <a:gd name="csY0" fmla="*/ 0 h 12709"/>
                  <a:gd name="csX1" fmla="*/ 61258 w 61258"/>
                  <a:gd name="csY1" fmla="*/ 0 h 12709"/>
                </a:gdLst>
                <a:ahLst/>
                <a:cxnLst>
                  <a:cxn ang="0">
                    <a:pos x="csX0" y="csY0"/>
                  </a:cxn>
                  <a:cxn ang="0">
                    <a:pos x="csX1" y="csY1"/>
                  </a:cxn>
                </a:cxnLst>
                <a:rect l="l" t="t" r="r" b="b"/>
                <a:pathLst>
                  <a:path w="61258" h="12709">
                    <a:moveTo>
                      <a:pt x="0" y="0"/>
                    </a:moveTo>
                    <a:lnTo>
                      <a:pt x="61258"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20" name="Freeform 251">
                <a:extLst>
                  <a:ext uri="{FF2B5EF4-FFF2-40B4-BE49-F238E27FC236}">
                    <a16:creationId xmlns:a16="http://schemas.microsoft.com/office/drawing/2014/main" id="{564F807F-EAE7-D68E-DEAA-EDBD8A099125}"/>
                  </a:ext>
                </a:extLst>
              </p:cNvPr>
              <p:cNvSpPr/>
              <p:nvPr/>
            </p:nvSpPr>
            <p:spPr>
              <a:xfrm>
                <a:off x="9109470" y="2895977"/>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468" name="Graphic 4">
              <a:extLst>
                <a:ext uri="{FF2B5EF4-FFF2-40B4-BE49-F238E27FC236}">
                  <a16:creationId xmlns:a16="http://schemas.microsoft.com/office/drawing/2014/main" id="{B7FC0873-8FB7-1829-DDD3-E874AFC225E4}"/>
                </a:ext>
              </a:extLst>
            </p:cNvPr>
            <p:cNvGrpSpPr/>
            <p:nvPr/>
          </p:nvGrpSpPr>
          <p:grpSpPr>
            <a:xfrm>
              <a:off x="9017582" y="2895977"/>
              <a:ext cx="61258" cy="61258"/>
              <a:chOff x="9017582" y="2895977"/>
              <a:chExt cx="61258" cy="61258"/>
            </a:xfrm>
          </p:grpSpPr>
          <p:sp>
            <p:nvSpPr>
              <p:cNvPr id="517" name="Freeform 248">
                <a:extLst>
                  <a:ext uri="{FF2B5EF4-FFF2-40B4-BE49-F238E27FC236}">
                    <a16:creationId xmlns:a16="http://schemas.microsoft.com/office/drawing/2014/main" id="{D8765C9C-A841-070C-7845-CEF73C993996}"/>
                  </a:ext>
                </a:extLst>
              </p:cNvPr>
              <p:cNvSpPr/>
              <p:nvPr/>
            </p:nvSpPr>
            <p:spPr>
              <a:xfrm>
                <a:off x="9017582" y="2926606"/>
                <a:ext cx="61258" cy="12709"/>
              </a:xfrm>
              <a:custGeom>
                <a:avLst/>
                <a:gdLst>
                  <a:gd name="csX0" fmla="*/ 0 w 61258"/>
                  <a:gd name="csY0" fmla="*/ 0 h 12709"/>
                  <a:gd name="csX1" fmla="*/ 61258 w 61258"/>
                  <a:gd name="csY1" fmla="*/ 0 h 12709"/>
                </a:gdLst>
                <a:ahLst/>
                <a:cxnLst>
                  <a:cxn ang="0">
                    <a:pos x="csX0" y="csY0"/>
                  </a:cxn>
                  <a:cxn ang="0">
                    <a:pos x="csX1" y="csY1"/>
                  </a:cxn>
                </a:cxnLst>
                <a:rect l="l" t="t" r="r" b="b"/>
                <a:pathLst>
                  <a:path w="61258" h="12709">
                    <a:moveTo>
                      <a:pt x="0" y="0"/>
                    </a:moveTo>
                    <a:lnTo>
                      <a:pt x="61258"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18" name="Freeform 249">
                <a:extLst>
                  <a:ext uri="{FF2B5EF4-FFF2-40B4-BE49-F238E27FC236}">
                    <a16:creationId xmlns:a16="http://schemas.microsoft.com/office/drawing/2014/main" id="{AF5CC2F1-DBB3-BF33-2AB5-6E5334F171E2}"/>
                  </a:ext>
                </a:extLst>
              </p:cNvPr>
              <p:cNvSpPr/>
              <p:nvPr/>
            </p:nvSpPr>
            <p:spPr>
              <a:xfrm>
                <a:off x="9048212" y="2895977"/>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469" name="Graphic 4">
              <a:extLst>
                <a:ext uri="{FF2B5EF4-FFF2-40B4-BE49-F238E27FC236}">
                  <a16:creationId xmlns:a16="http://schemas.microsoft.com/office/drawing/2014/main" id="{7605B7BE-146B-50AF-1E91-517F89F754DE}"/>
                </a:ext>
              </a:extLst>
            </p:cNvPr>
            <p:cNvGrpSpPr/>
            <p:nvPr/>
          </p:nvGrpSpPr>
          <p:grpSpPr>
            <a:xfrm>
              <a:off x="8941454" y="2895977"/>
              <a:ext cx="61258" cy="61258"/>
              <a:chOff x="8941454" y="2895977"/>
              <a:chExt cx="61258" cy="61258"/>
            </a:xfrm>
          </p:grpSpPr>
          <p:sp>
            <p:nvSpPr>
              <p:cNvPr id="515" name="Freeform 246">
                <a:extLst>
                  <a:ext uri="{FF2B5EF4-FFF2-40B4-BE49-F238E27FC236}">
                    <a16:creationId xmlns:a16="http://schemas.microsoft.com/office/drawing/2014/main" id="{865D18AF-1D99-FEA7-3DA9-6CD1BE7EBAB9}"/>
                  </a:ext>
                </a:extLst>
              </p:cNvPr>
              <p:cNvSpPr/>
              <p:nvPr/>
            </p:nvSpPr>
            <p:spPr>
              <a:xfrm>
                <a:off x="8941454" y="2926606"/>
                <a:ext cx="61258" cy="12709"/>
              </a:xfrm>
              <a:custGeom>
                <a:avLst/>
                <a:gdLst>
                  <a:gd name="csX0" fmla="*/ 0 w 61258"/>
                  <a:gd name="csY0" fmla="*/ 0 h 12709"/>
                  <a:gd name="csX1" fmla="*/ 61258 w 61258"/>
                  <a:gd name="csY1" fmla="*/ 0 h 12709"/>
                </a:gdLst>
                <a:ahLst/>
                <a:cxnLst>
                  <a:cxn ang="0">
                    <a:pos x="csX0" y="csY0"/>
                  </a:cxn>
                  <a:cxn ang="0">
                    <a:pos x="csX1" y="csY1"/>
                  </a:cxn>
                </a:cxnLst>
                <a:rect l="l" t="t" r="r" b="b"/>
                <a:pathLst>
                  <a:path w="61258" h="12709">
                    <a:moveTo>
                      <a:pt x="0" y="0"/>
                    </a:moveTo>
                    <a:lnTo>
                      <a:pt x="61258"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16" name="Freeform 247">
                <a:extLst>
                  <a:ext uri="{FF2B5EF4-FFF2-40B4-BE49-F238E27FC236}">
                    <a16:creationId xmlns:a16="http://schemas.microsoft.com/office/drawing/2014/main" id="{1E5D4CBD-F7C5-4B8D-4EC9-FD2256312057}"/>
                  </a:ext>
                </a:extLst>
              </p:cNvPr>
              <p:cNvSpPr/>
              <p:nvPr/>
            </p:nvSpPr>
            <p:spPr>
              <a:xfrm>
                <a:off x="8972083" y="2895977"/>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470" name="Graphic 4">
              <a:extLst>
                <a:ext uri="{FF2B5EF4-FFF2-40B4-BE49-F238E27FC236}">
                  <a16:creationId xmlns:a16="http://schemas.microsoft.com/office/drawing/2014/main" id="{790538A5-52F7-E43C-EEFD-B876C4968319}"/>
                </a:ext>
              </a:extLst>
            </p:cNvPr>
            <p:cNvGrpSpPr/>
            <p:nvPr/>
          </p:nvGrpSpPr>
          <p:grpSpPr>
            <a:xfrm>
              <a:off x="8917942" y="2895977"/>
              <a:ext cx="61258" cy="61258"/>
              <a:chOff x="8917942" y="2895977"/>
              <a:chExt cx="61258" cy="61258"/>
            </a:xfrm>
          </p:grpSpPr>
          <p:sp>
            <p:nvSpPr>
              <p:cNvPr id="513" name="Freeform 244">
                <a:extLst>
                  <a:ext uri="{FF2B5EF4-FFF2-40B4-BE49-F238E27FC236}">
                    <a16:creationId xmlns:a16="http://schemas.microsoft.com/office/drawing/2014/main" id="{EED4A663-9A95-2CB6-7EBE-67C32CB88A97}"/>
                  </a:ext>
                </a:extLst>
              </p:cNvPr>
              <p:cNvSpPr/>
              <p:nvPr/>
            </p:nvSpPr>
            <p:spPr>
              <a:xfrm>
                <a:off x="8917942" y="2926606"/>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14" name="Freeform 245">
                <a:extLst>
                  <a:ext uri="{FF2B5EF4-FFF2-40B4-BE49-F238E27FC236}">
                    <a16:creationId xmlns:a16="http://schemas.microsoft.com/office/drawing/2014/main" id="{6C6DBBCC-B65F-D5E7-98DE-F3840B77BDB8}"/>
                  </a:ext>
                </a:extLst>
              </p:cNvPr>
              <p:cNvSpPr/>
              <p:nvPr/>
            </p:nvSpPr>
            <p:spPr>
              <a:xfrm>
                <a:off x="8948571" y="2895977"/>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471" name="Graphic 4">
              <a:extLst>
                <a:ext uri="{FF2B5EF4-FFF2-40B4-BE49-F238E27FC236}">
                  <a16:creationId xmlns:a16="http://schemas.microsoft.com/office/drawing/2014/main" id="{B14AF50E-721A-F95B-7242-A06BA4F9EA53}"/>
                </a:ext>
              </a:extLst>
            </p:cNvPr>
            <p:cNvGrpSpPr/>
            <p:nvPr/>
          </p:nvGrpSpPr>
          <p:grpSpPr>
            <a:xfrm>
              <a:off x="8825927" y="2895977"/>
              <a:ext cx="61258" cy="61258"/>
              <a:chOff x="8825927" y="2895977"/>
              <a:chExt cx="61258" cy="61258"/>
            </a:xfrm>
          </p:grpSpPr>
          <p:sp>
            <p:nvSpPr>
              <p:cNvPr id="511" name="Freeform 242">
                <a:extLst>
                  <a:ext uri="{FF2B5EF4-FFF2-40B4-BE49-F238E27FC236}">
                    <a16:creationId xmlns:a16="http://schemas.microsoft.com/office/drawing/2014/main" id="{6C26FCC6-B91E-B710-3DEB-9333B600FB2F}"/>
                  </a:ext>
                </a:extLst>
              </p:cNvPr>
              <p:cNvSpPr/>
              <p:nvPr/>
            </p:nvSpPr>
            <p:spPr>
              <a:xfrm>
                <a:off x="8825927" y="2926606"/>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12" name="Freeform 243">
                <a:extLst>
                  <a:ext uri="{FF2B5EF4-FFF2-40B4-BE49-F238E27FC236}">
                    <a16:creationId xmlns:a16="http://schemas.microsoft.com/office/drawing/2014/main" id="{55EB9E15-7569-E999-B5B4-638622CDD8F1}"/>
                  </a:ext>
                </a:extLst>
              </p:cNvPr>
              <p:cNvSpPr/>
              <p:nvPr/>
            </p:nvSpPr>
            <p:spPr>
              <a:xfrm>
                <a:off x="8856556" y="2895977"/>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472" name="Graphic 4">
              <a:extLst>
                <a:ext uri="{FF2B5EF4-FFF2-40B4-BE49-F238E27FC236}">
                  <a16:creationId xmlns:a16="http://schemas.microsoft.com/office/drawing/2014/main" id="{F27821B4-3C5F-77CB-2145-E570656F820C}"/>
                </a:ext>
              </a:extLst>
            </p:cNvPr>
            <p:cNvGrpSpPr/>
            <p:nvPr/>
          </p:nvGrpSpPr>
          <p:grpSpPr>
            <a:xfrm>
              <a:off x="8778267" y="2895977"/>
              <a:ext cx="61258" cy="61258"/>
              <a:chOff x="8778267" y="2895977"/>
              <a:chExt cx="61258" cy="61258"/>
            </a:xfrm>
          </p:grpSpPr>
          <p:sp>
            <p:nvSpPr>
              <p:cNvPr id="509" name="Freeform 240">
                <a:extLst>
                  <a:ext uri="{FF2B5EF4-FFF2-40B4-BE49-F238E27FC236}">
                    <a16:creationId xmlns:a16="http://schemas.microsoft.com/office/drawing/2014/main" id="{BCE50678-54A5-1E97-58BF-8C65C82FEE31}"/>
                  </a:ext>
                </a:extLst>
              </p:cNvPr>
              <p:cNvSpPr/>
              <p:nvPr/>
            </p:nvSpPr>
            <p:spPr>
              <a:xfrm>
                <a:off x="8778267" y="2926606"/>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10" name="Freeform 241">
                <a:extLst>
                  <a:ext uri="{FF2B5EF4-FFF2-40B4-BE49-F238E27FC236}">
                    <a16:creationId xmlns:a16="http://schemas.microsoft.com/office/drawing/2014/main" id="{EDFBA0D3-65D2-7B5B-0B1D-E0304607A2AA}"/>
                  </a:ext>
                </a:extLst>
              </p:cNvPr>
              <p:cNvSpPr/>
              <p:nvPr/>
            </p:nvSpPr>
            <p:spPr>
              <a:xfrm>
                <a:off x="8808896" y="2895977"/>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473" name="Graphic 4">
              <a:extLst>
                <a:ext uri="{FF2B5EF4-FFF2-40B4-BE49-F238E27FC236}">
                  <a16:creationId xmlns:a16="http://schemas.microsoft.com/office/drawing/2014/main" id="{0DFD14BA-E7B1-1E83-0BE5-C625A9B1EA05}"/>
                </a:ext>
              </a:extLst>
            </p:cNvPr>
            <p:cNvGrpSpPr/>
            <p:nvPr/>
          </p:nvGrpSpPr>
          <p:grpSpPr>
            <a:xfrm>
              <a:off x="8599066" y="2895977"/>
              <a:ext cx="61258" cy="61258"/>
              <a:chOff x="8599066" y="2895977"/>
              <a:chExt cx="61258" cy="61258"/>
            </a:xfrm>
          </p:grpSpPr>
          <p:sp>
            <p:nvSpPr>
              <p:cNvPr id="507" name="Freeform 238">
                <a:extLst>
                  <a:ext uri="{FF2B5EF4-FFF2-40B4-BE49-F238E27FC236}">
                    <a16:creationId xmlns:a16="http://schemas.microsoft.com/office/drawing/2014/main" id="{7E666D5F-4BEF-5EEC-9EBB-1CCAC7D0D3C5}"/>
                  </a:ext>
                </a:extLst>
              </p:cNvPr>
              <p:cNvSpPr/>
              <p:nvPr/>
            </p:nvSpPr>
            <p:spPr>
              <a:xfrm>
                <a:off x="8599066" y="2926606"/>
                <a:ext cx="61258" cy="12709"/>
              </a:xfrm>
              <a:custGeom>
                <a:avLst/>
                <a:gdLst>
                  <a:gd name="csX0" fmla="*/ 0 w 61258"/>
                  <a:gd name="csY0" fmla="*/ 0 h 12709"/>
                  <a:gd name="csX1" fmla="*/ 61258 w 61258"/>
                  <a:gd name="csY1" fmla="*/ 0 h 12709"/>
                </a:gdLst>
                <a:ahLst/>
                <a:cxnLst>
                  <a:cxn ang="0">
                    <a:pos x="csX0" y="csY0"/>
                  </a:cxn>
                  <a:cxn ang="0">
                    <a:pos x="csX1" y="csY1"/>
                  </a:cxn>
                </a:cxnLst>
                <a:rect l="l" t="t" r="r" b="b"/>
                <a:pathLst>
                  <a:path w="61258" h="12709">
                    <a:moveTo>
                      <a:pt x="0" y="0"/>
                    </a:moveTo>
                    <a:lnTo>
                      <a:pt x="61258"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8" name="Freeform 239">
                <a:extLst>
                  <a:ext uri="{FF2B5EF4-FFF2-40B4-BE49-F238E27FC236}">
                    <a16:creationId xmlns:a16="http://schemas.microsoft.com/office/drawing/2014/main" id="{F67C8254-3704-498F-4CCF-9B2E07364560}"/>
                  </a:ext>
                </a:extLst>
              </p:cNvPr>
              <p:cNvSpPr/>
              <p:nvPr/>
            </p:nvSpPr>
            <p:spPr>
              <a:xfrm>
                <a:off x="8629695" y="2895977"/>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474" name="Graphic 4">
              <a:extLst>
                <a:ext uri="{FF2B5EF4-FFF2-40B4-BE49-F238E27FC236}">
                  <a16:creationId xmlns:a16="http://schemas.microsoft.com/office/drawing/2014/main" id="{66F9E36A-D22F-1DC6-786B-DCA68C76F168}"/>
                </a:ext>
              </a:extLst>
            </p:cNvPr>
            <p:cNvGrpSpPr/>
            <p:nvPr/>
          </p:nvGrpSpPr>
          <p:grpSpPr>
            <a:xfrm>
              <a:off x="8494088" y="2895977"/>
              <a:ext cx="61258" cy="61258"/>
              <a:chOff x="8494088" y="2895977"/>
              <a:chExt cx="61258" cy="61258"/>
            </a:xfrm>
          </p:grpSpPr>
          <p:sp>
            <p:nvSpPr>
              <p:cNvPr id="505" name="Freeform 236">
                <a:extLst>
                  <a:ext uri="{FF2B5EF4-FFF2-40B4-BE49-F238E27FC236}">
                    <a16:creationId xmlns:a16="http://schemas.microsoft.com/office/drawing/2014/main" id="{53B0F162-CE79-F978-54D1-BAA29C754601}"/>
                  </a:ext>
                </a:extLst>
              </p:cNvPr>
              <p:cNvSpPr/>
              <p:nvPr/>
            </p:nvSpPr>
            <p:spPr>
              <a:xfrm>
                <a:off x="8494088" y="2926606"/>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6" name="Freeform 237">
                <a:extLst>
                  <a:ext uri="{FF2B5EF4-FFF2-40B4-BE49-F238E27FC236}">
                    <a16:creationId xmlns:a16="http://schemas.microsoft.com/office/drawing/2014/main" id="{6CAC11BC-E8B5-F935-A3C8-D35F4E635E09}"/>
                  </a:ext>
                </a:extLst>
              </p:cNvPr>
              <p:cNvSpPr/>
              <p:nvPr/>
            </p:nvSpPr>
            <p:spPr>
              <a:xfrm>
                <a:off x="8524717" y="2895977"/>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475" name="Graphic 4">
              <a:extLst>
                <a:ext uri="{FF2B5EF4-FFF2-40B4-BE49-F238E27FC236}">
                  <a16:creationId xmlns:a16="http://schemas.microsoft.com/office/drawing/2014/main" id="{F366AF4E-D58B-4B24-1395-E0A392917D0F}"/>
                </a:ext>
              </a:extLst>
            </p:cNvPr>
            <p:cNvGrpSpPr/>
            <p:nvPr/>
          </p:nvGrpSpPr>
          <p:grpSpPr>
            <a:xfrm>
              <a:off x="8315650" y="2895977"/>
              <a:ext cx="61131" cy="61258"/>
              <a:chOff x="8315650" y="2895977"/>
              <a:chExt cx="61131" cy="61258"/>
            </a:xfrm>
          </p:grpSpPr>
          <p:sp>
            <p:nvSpPr>
              <p:cNvPr id="503" name="Freeform 234">
                <a:extLst>
                  <a:ext uri="{FF2B5EF4-FFF2-40B4-BE49-F238E27FC236}">
                    <a16:creationId xmlns:a16="http://schemas.microsoft.com/office/drawing/2014/main" id="{DAAD0348-B255-78A0-3208-A2D72B9BED56}"/>
                  </a:ext>
                </a:extLst>
              </p:cNvPr>
              <p:cNvSpPr/>
              <p:nvPr/>
            </p:nvSpPr>
            <p:spPr>
              <a:xfrm>
                <a:off x="8315650" y="2926606"/>
                <a:ext cx="61131" cy="12709"/>
              </a:xfrm>
              <a:custGeom>
                <a:avLst/>
                <a:gdLst>
                  <a:gd name="csX0" fmla="*/ 0 w 61131"/>
                  <a:gd name="csY0" fmla="*/ 0 h 12709"/>
                  <a:gd name="csX1" fmla="*/ 61132 w 61131"/>
                  <a:gd name="csY1" fmla="*/ 0 h 12709"/>
                </a:gdLst>
                <a:ahLst/>
                <a:cxnLst>
                  <a:cxn ang="0">
                    <a:pos x="csX0" y="csY0"/>
                  </a:cxn>
                  <a:cxn ang="0">
                    <a:pos x="csX1" y="csY1"/>
                  </a:cxn>
                </a:cxnLst>
                <a:rect l="l" t="t" r="r" b="b"/>
                <a:pathLst>
                  <a:path w="61131" h="12709">
                    <a:moveTo>
                      <a:pt x="0" y="0"/>
                    </a:moveTo>
                    <a:lnTo>
                      <a:pt x="61132"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4" name="Freeform 235">
                <a:extLst>
                  <a:ext uri="{FF2B5EF4-FFF2-40B4-BE49-F238E27FC236}">
                    <a16:creationId xmlns:a16="http://schemas.microsoft.com/office/drawing/2014/main" id="{2B90F993-0E84-C43E-CF0B-2B93F2234373}"/>
                  </a:ext>
                </a:extLst>
              </p:cNvPr>
              <p:cNvSpPr/>
              <p:nvPr/>
            </p:nvSpPr>
            <p:spPr>
              <a:xfrm>
                <a:off x="8346279" y="2895977"/>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476" name="Graphic 4">
              <a:extLst>
                <a:ext uri="{FF2B5EF4-FFF2-40B4-BE49-F238E27FC236}">
                  <a16:creationId xmlns:a16="http://schemas.microsoft.com/office/drawing/2014/main" id="{1BE7B75F-E7F6-CBFC-89E9-9B46FEF2E48A}"/>
                </a:ext>
              </a:extLst>
            </p:cNvPr>
            <p:cNvGrpSpPr/>
            <p:nvPr/>
          </p:nvGrpSpPr>
          <p:grpSpPr>
            <a:xfrm>
              <a:off x="8304592" y="2895977"/>
              <a:ext cx="61258" cy="61258"/>
              <a:chOff x="8304592" y="2895977"/>
              <a:chExt cx="61258" cy="61258"/>
            </a:xfrm>
          </p:grpSpPr>
          <p:sp>
            <p:nvSpPr>
              <p:cNvPr id="501" name="Freeform 232">
                <a:extLst>
                  <a:ext uri="{FF2B5EF4-FFF2-40B4-BE49-F238E27FC236}">
                    <a16:creationId xmlns:a16="http://schemas.microsoft.com/office/drawing/2014/main" id="{E95F280C-D1D0-4575-A8CE-153969AB8BDE}"/>
                  </a:ext>
                </a:extLst>
              </p:cNvPr>
              <p:cNvSpPr/>
              <p:nvPr/>
            </p:nvSpPr>
            <p:spPr>
              <a:xfrm>
                <a:off x="8304592" y="2926606"/>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2" name="Freeform 233">
                <a:extLst>
                  <a:ext uri="{FF2B5EF4-FFF2-40B4-BE49-F238E27FC236}">
                    <a16:creationId xmlns:a16="http://schemas.microsoft.com/office/drawing/2014/main" id="{1D462CE8-AAE2-E49F-1C24-8DD53AE05958}"/>
                  </a:ext>
                </a:extLst>
              </p:cNvPr>
              <p:cNvSpPr/>
              <p:nvPr/>
            </p:nvSpPr>
            <p:spPr>
              <a:xfrm>
                <a:off x="8335222" y="2895977"/>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477" name="Graphic 4">
              <a:extLst>
                <a:ext uri="{FF2B5EF4-FFF2-40B4-BE49-F238E27FC236}">
                  <a16:creationId xmlns:a16="http://schemas.microsoft.com/office/drawing/2014/main" id="{1A129CC4-1ABE-F439-8DEA-C20EB2512195}"/>
                </a:ext>
              </a:extLst>
            </p:cNvPr>
            <p:cNvGrpSpPr/>
            <p:nvPr/>
          </p:nvGrpSpPr>
          <p:grpSpPr>
            <a:xfrm>
              <a:off x="8253374" y="2895977"/>
              <a:ext cx="61258" cy="61258"/>
              <a:chOff x="8253374" y="2895977"/>
              <a:chExt cx="61258" cy="61258"/>
            </a:xfrm>
          </p:grpSpPr>
          <p:sp>
            <p:nvSpPr>
              <p:cNvPr id="499" name="Freeform 230">
                <a:extLst>
                  <a:ext uri="{FF2B5EF4-FFF2-40B4-BE49-F238E27FC236}">
                    <a16:creationId xmlns:a16="http://schemas.microsoft.com/office/drawing/2014/main" id="{6687E63F-3D56-FF8F-951E-93D5B73F9E2E}"/>
                  </a:ext>
                </a:extLst>
              </p:cNvPr>
              <p:cNvSpPr/>
              <p:nvPr/>
            </p:nvSpPr>
            <p:spPr>
              <a:xfrm>
                <a:off x="8253374" y="2926606"/>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0" name="Freeform 231">
                <a:extLst>
                  <a:ext uri="{FF2B5EF4-FFF2-40B4-BE49-F238E27FC236}">
                    <a16:creationId xmlns:a16="http://schemas.microsoft.com/office/drawing/2014/main" id="{24C600DF-9BE7-34BB-51F8-A01378496C9E}"/>
                  </a:ext>
                </a:extLst>
              </p:cNvPr>
              <p:cNvSpPr/>
              <p:nvPr/>
            </p:nvSpPr>
            <p:spPr>
              <a:xfrm>
                <a:off x="8284003" y="2895977"/>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478" name="Graphic 4">
              <a:extLst>
                <a:ext uri="{FF2B5EF4-FFF2-40B4-BE49-F238E27FC236}">
                  <a16:creationId xmlns:a16="http://schemas.microsoft.com/office/drawing/2014/main" id="{F6772A48-E8B6-4862-4531-72A1690D4BF5}"/>
                </a:ext>
              </a:extLst>
            </p:cNvPr>
            <p:cNvGrpSpPr/>
            <p:nvPr/>
          </p:nvGrpSpPr>
          <p:grpSpPr>
            <a:xfrm>
              <a:off x="8257568" y="2895977"/>
              <a:ext cx="61258" cy="61258"/>
              <a:chOff x="8257568" y="2895977"/>
              <a:chExt cx="61258" cy="61258"/>
            </a:xfrm>
          </p:grpSpPr>
          <p:sp>
            <p:nvSpPr>
              <p:cNvPr id="497" name="Freeform 228">
                <a:extLst>
                  <a:ext uri="{FF2B5EF4-FFF2-40B4-BE49-F238E27FC236}">
                    <a16:creationId xmlns:a16="http://schemas.microsoft.com/office/drawing/2014/main" id="{13524CEC-5439-466D-A31A-31A714D71D0E}"/>
                  </a:ext>
                </a:extLst>
              </p:cNvPr>
              <p:cNvSpPr/>
              <p:nvPr/>
            </p:nvSpPr>
            <p:spPr>
              <a:xfrm>
                <a:off x="8257568" y="2926606"/>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98" name="Freeform 229">
                <a:extLst>
                  <a:ext uri="{FF2B5EF4-FFF2-40B4-BE49-F238E27FC236}">
                    <a16:creationId xmlns:a16="http://schemas.microsoft.com/office/drawing/2014/main" id="{4615BF4D-14F5-7516-CCDC-32F220EE7415}"/>
                  </a:ext>
                </a:extLst>
              </p:cNvPr>
              <p:cNvSpPr/>
              <p:nvPr/>
            </p:nvSpPr>
            <p:spPr>
              <a:xfrm>
                <a:off x="8288198" y="2895977"/>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479" name="Graphic 4">
              <a:extLst>
                <a:ext uri="{FF2B5EF4-FFF2-40B4-BE49-F238E27FC236}">
                  <a16:creationId xmlns:a16="http://schemas.microsoft.com/office/drawing/2014/main" id="{F7872B02-85EF-BCE9-08F7-59553611D8A5}"/>
                </a:ext>
              </a:extLst>
            </p:cNvPr>
            <p:cNvGrpSpPr/>
            <p:nvPr/>
          </p:nvGrpSpPr>
          <p:grpSpPr>
            <a:xfrm>
              <a:off x="8212069" y="2895977"/>
              <a:ext cx="61258" cy="61258"/>
              <a:chOff x="8212069" y="2895977"/>
              <a:chExt cx="61258" cy="61258"/>
            </a:xfrm>
          </p:grpSpPr>
          <p:sp>
            <p:nvSpPr>
              <p:cNvPr id="495" name="Freeform 226">
                <a:extLst>
                  <a:ext uri="{FF2B5EF4-FFF2-40B4-BE49-F238E27FC236}">
                    <a16:creationId xmlns:a16="http://schemas.microsoft.com/office/drawing/2014/main" id="{B2460E54-5CAD-2DB8-E6B4-4F51049A0A2F}"/>
                  </a:ext>
                </a:extLst>
              </p:cNvPr>
              <p:cNvSpPr/>
              <p:nvPr/>
            </p:nvSpPr>
            <p:spPr>
              <a:xfrm>
                <a:off x="8212069" y="2926606"/>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96" name="Freeform 227">
                <a:extLst>
                  <a:ext uri="{FF2B5EF4-FFF2-40B4-BE49-F238E27FC236}">
                    <a16:creationId xmlns:a16="http://schemas.microsoft.com/office/drawing/2014/main" id="{C64AB045-129B-B5F4-8D1C-CC5ED5A201C6}"/>
                  </a:ext>
                </a:extLst>
              </p:cNvPr>
              <p:cNvSpPr/>
              <p:nvPr/>
            </p:nvSpPr>
            <p:spPr>
              <a:xfrm>
                <a:off x="8242698" y="2895977"/>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480" name="Graphic 4">
              <a:extLst>
                <a:ext uri="{FF2B5EF4-FFF2-40B4-BE49-F238E27FC236}">
                  <a16:creationId xmlns:a16="http://schemas.microsoft.com/office/drawing/2014/main" id="{A6FE5CF2-9067-CD6D-64BA-F61A0B5966B7}"/>
                </a:ext>
              </a:extLst>
            </p:cNvPr>
            <p:cNvGrpSpPr/>
            <p:nvPr/>
          </p:nvGrpSpPr>
          <p:grpSpPr>
            <a:xfrm>
              <a:off x="8194403" y="2895977"/>
              <a:ext cx="61258" cy="61258"/>
              <a:chOff x="8194403" y="2895977"/>
              <a:chExt cx="61258" cy="61258"/>
            </a:xfrm>
          </p:grpSpPr>
          <p:sp>
            <p:nvSpPr>
              <p:cNvPr id="493" name="Freeform 224">
                <a:extLst>
                  <a:ext uri="{FF2B5EF4-FFF2-40B4-BE49-F238E27FC236}">
                    <a16:creationId xmlns:a16="http://schemas.microsoft.com/office/drawing/2014/main" id="{62526580-AB7A-78B4-2790-1D59E7F0D103}"/>
                  </a:ext>
                </a:extLst>
              </p:cNvPr>
              <p:cNvSpPr/>
              <p:nvPr/>
            </p:nvSpPr>
            <p:spPr>
              <a:xfrm>
                <a:off x="8194403" y="2926606"/>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94" name="Freeform 225">
                <a:extLst>
                  <a:ext uri="{FF2B5EF4-FFF2-40B4-BE49-F238E27FC236}">
                    <a16:creationId xmlns:a16="http://schemas.microsoft.com/office/drawing/2014/main" id="{44C57864-BF27-06F5-E646-CCD9B9C4C4A7}"/>
                  </a:ext>
                </a:extLst>
              </p:cNvPr>
              <p:cNvSpPr/>
              <p:nvPr/>
            </p:nvSpPr>
            <p:spPr>
              <a:xfrm>
                <a:off x="8225032" y="2895977"/>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481" name="Graphic 4">
              <a:extLst>
                <a:ext uri="{FF2B5EF4-FFF2-40B4-BE49-F238E27FC236}">
                  <a16:creationId xmlns:a16="http://schemas.microsoft.com/office/drawing/2014/main" id="{3308174C-2C81-878C-C2FE-712FCAF38066}"/>
                </a:ext>
              </a:extLst>
            </p:cNvPr>
            <p:cNvGrpSpPr/>
            <p:nvPr/>
          </p:nvGrpSpPr>
          <p:grpSpPr>
            <a:xfrm>
              <a:off x="7970212" y="2850605"/>
              <a:ext cx="61258" cy="61258"/>
              <a:chOff x="7970212" y="2850605"/>
              <a:chExt cx="61258" cy="61258"/>
            </a:xfrm>
          </p:grpSpPr>
          <p:sp>
            <p:nvSpPr>
              <p:cNvPr id="491" name="Freeform 222">
                <a:extLst>
                  <a:ext uri="{FF2B5EF4-FFF2-40B4-BE49-F238E27FC236}">
                    <a16:creationId xmlns:a16="http://schemas.microsoft.com/office/drawing/2014/main" id="{175F2F75-D856-5384-0A76-BCBC5F98FEA9}"/>
                  </a:ext>
                </a:extLst>
              </p:cNvPr>
              <p:cNvSpPr/>
              <p:nvPr/>
            </p:nvSpPr>
            <p:spPr>
              <a:xfrm>
                <a:off x="7970212" y="2881234"/>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92" name="Freeform 223">
                <a:extLst>
                  <a:ext uri="{FF2B5EF4-FFF2-40B4-BE49-F238E27FC236}">
                    <a16:creationId xmlns:a16="http://schemas.microsoft.com/office/drawing/2014/main" id="{13F18749-9F2D-1DFC-2117-B3B87D115856}"/>
                  </a:ext>
                </a:extLst>
              </p:cNvPr>
              <p:cNvSpPr/>
              <p:nvPr/>
            </p:nvSpPr>
            <p:spPr>
              <a:xfrm>
                <a:off x="8000841" y="2850605"/>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482" name="Graphic 4">
              <a:extLst>
                <a:ext uri="{FF2B5EF4-FFF2-40B4-BE49-F238E27FC236}">
                  <a16:creationId xmlns:a16="http://schemas.microsoft.com/office/drawing/2014/main" id="{97182238-0D4F-97AB-D256-BB1DEF895D97}"/>
                </a:ext>
              </a:extLst>
            </p:cNvPr>
            <p:cNvGrpSpPr/>
            <p:nvPr/>
          </p:nvGrpSpPr>
          <p:grpSpPr>
            <a:xfrm>
              <a:off x="8028293" y="2850605"/>
              <a:ext cx="61258" cy="61258"/>
              <a:chOff x="8028293" y="2850605"/>
              <a:chExt cx="61258" cy="61258"/>
            </a:xfrm>
          </p:grpSpPr>
          <p:sp>
            <p:nvSpPr>
              <p:cNvPr id="489" name="Freeform 220">
                <a:extLst>
                  <a:ext uri="{FF2B5EF4-FFF2-40B4-BE49-F238E27FC236}">
                    <a16:creationId xmlns:a16="http://schemas.microsoft.com/office/drawing/2014/main" id="{8C97116C-D2A1-4CD1-55B0-66ABC80AE7EE}"/>
                  </a:ext>
                </a:extLst>
              </p:cNvPr>
              <p:cNvSpPr/>
              <p:nvPr/>
            </p:nvSpPr>
            <p:spPr>
              <a:xfrm>
                <a:off x="8028293" y="2881234"/>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90" name="Freeform 221">
                <a:extLst>
                  <a:ext uri="{FF2B5EF4-FFF2-40B4-BE49-F238E27FC236}">
                    <a16:creationId xmlns:a16="http://schemas.microsoft.com/office/drawing/2014/main" id="{D2D3C005-8A04-066D-A781-9F7866B3E9E3}"/>
                  </a:ext>
                </a:extLst>
              </p:cNvPr>
              <p:cNvSpPr/>
              <p:nvPr/>
            </p:nvSpPr>
            <p:spPr>
              <a:xfrm>
                <a:off x="8058922" y="2850605"/>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483" name="Graphic 4">
              <a:extLst>
                <a:ext uri="{FF2B5EF4-FFF2-40B4-BE49-F238E27FC236}">
                  <a16:creationId xmlns:a16="http://schemas.microsoft.com/office/drawing/2014/main" id="{6A550104-97D8-FD04-1B56-D28399B7906C}"/>
                </a:ext>
              </a:extLst>
            </p:cNvPr>
            <p:cNvGrpSpPr/>
            <p:nvPr/>
          </p:nvGrpSpPr>
          <p:grpSpPr>
            <a:xfrm>
              <a:off x="7713485" y="2804470"/>
              <a:ext cx="61258" cy="61258"/>
              <a:chOff x="7713485" y="2804470"/>
              <a:chExt cx="61258" cy="61258"/>
            </a:xfrm>
          </p:grpSpPr>
          <p:sp>
            <p:nvSpPr>
              <p:cNvPr id="487" name="Freeform 218">
                <a:extLst>
                  <a:ext uri="{FF2B5EF4-FFF2-40B4-BE49-F238E27FC236}">
                    <a16:creationId xmlns:a16="http://schemas.microsoft.com/office/drawing/2014/main" id="{2139A88F-8BE2-AE80-8C14-E84A0D09D64A}"/>
                  </a:ext>
                </a:extLst>
              </p:cNvPr>
              <p:cNvSpPr/>
              <p:nvPr/>
            </p:nvSpPr>
            <p:spPr>
              <a:xfrm>
                <a:off x="7713485" y="2835099"/>
                <a:ext cx="61258" cy="12709"/>
              </a:xfrm>
              <a:custGeom>
                <a:avLst/>
                <a:gdLst>
                  <a:gd name="csX0" fmla="*/ 0 w 61258"/>
                  <a:gd name="csY0" fmla="*/ 0 h 12709"/>
                  <a:gd name="csX1" fmla="*/ 61258 w 61258"/>
                  <a:gd name="csY1" fmla="*/ 0 h 12709"/>
                </a:gdLst>
                <a:ahLst/>
                <a:cxnLst>
                  <a:cxn ang="0">
                    <a:pos x="csX0" y="csY0"/>
                  </a:cxn>
                  <a:cxn ang="0">
                    <a:pos x="csX1" y="csY1"/>
                  </a:cxn>
                </a:cxnLst>
                <a:rect l="l" t="t" r="r" b="b"/>
                <a:pathLst>
                  <a:path w="61258" h="12709">
                    <a:moveTo>
                      <a:pt x="0" y="0"/>
                    </a:moveTo>
                    <a:lnTo>
                      <a:pt x="61258"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88" name="Freeform 219">
                <a:extLst>
                  <a:ext uri="{FF2B5EF4-FFF2-40B4-BE49-F238E27FC236}">
                    <a16:creationId xmlns:a16="http://schemas.microsoft.com/office/drawing/2014/main" id="{6D15AD71-0360-EB44-FA67-E99FFFC82F7F}"/>
                  </a:ext>
                </a:extLst>
              </p:cNvPr>
              <p:cNvSpPr/>
              <p:nvPr/>
            </p:nvSpPr>
            <p:spPr>
              <a:xfrm>
                <a:off x="7744114" y="2804470"/>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484" name="Graphic 4">
              <a:extLst>
                <a:ext uri="{FF2B5EF4-FFF2-40B4-BE49-F238E27FC236}">
                  <a16:creationId xmlns:a16="http://schemas.microsoft.com/office/drawing/2014/main" id="{EE979421-A261-F9A6-B4DE-2C3F0FB91673}"/>
                </a:ext>
              </a:extLst>
            </p:cNvPr>
            <p:cNvGrpSpPr/>
            <p:nvPr/>
          </p:nvGrpSpPr>
          <p:grpSpPr>
            <a:xfrm>
              <a:off x="8167968" y="2895977"/>
              <a:ext cx="61258" cy="61258"/>
              <a:chOff x="8167968" y="2895977"/>
              <a:chExt cx="61258" cy="61258"/>
            </a:xfrm>
          </p:grpSpPr>
          <p:sp>
            <p:nvSpPr>
              <p:cNvPr id="485" name="Freeform 216">
                <a:extLst>
                  <a:ext uri="{FF2B5EF4-FFF2-40B4-BE49-F238E27FC236}">
                    <a16:creationId xmlns:a16="http://schemas.microsoft.com/office/drawing/2014/main" id="{78971392-0095-F333-008A-0A61D5056A6F}"/>
                  </a:ext>
                </a:extLst>
              </p:cNvPr>
              <p:cNvSpPr/>
              <p:nvPr/>
            </p:nvSpPr>
            <p:spPr>
              <a:xfrm>
                <a:off x="8167968" y="2926606"/>
                <a:ext cx="61258" cy="12709"/>
              </a:xfrm>
              <a:custGeom>
                <a:avLst/>
                <a:gdLst>
                  <a:gd name="csX0" fmla="*/ 0 w 61258"/>
                  <a:gd name="csY0" fmla="*/ 0 h 12709"/>
                  <a:gd name="csX1" fmla="*/ 61259 w 61258"/>
                  <a:gd name="csY1" fmla="*/ 0 h 12709"/>
                </a:gdLst>
                <a:ahLst/>
                <a:cxnLst>
                  <a:cxn ang="0">
                    <a:pos x="csX0" y="csY0"/>
                  </a:cxn>
                  <a:cxn ang="0">
                    <a:pos x="csX1" y="csY1"/>
                  </a:cxn>
                </a:cxnLst>
                <a:rect l="l" t="t" r="r" b="b"/>
                <a:pathLst>
                  <a:path w="61258" h="12709">
                    <a:moveTo>
                      <a:pt x="0" y="0"/>
                    </a:moveTo>
                    <a:lnTo>
                      <a:pt x="61259" y="0"/>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86" name="Freeform 217">
                <a:extLst>
                  <a:ext uri="{FF2B5EF4-FFF2-40B4-BE49-F238E27FC236}">
                    <a16:creationId xmlns:a16="http://schemas.microsoft.com/office/drawing/2014/main" id="{2101EEA8-E2E0-0085-ED8D-1DA9676B2C61}"/>
                  </a:ext>
                </a:extLst>
              </p:cNvPr>
              <p:cNvSpPr/>
              <p:nvPr/>
            </p:nvSpPr>
            <p:spPr>
              <a:xfrm>
                <a:off x="8198597" y="2895977"/>
                <a:ext cx="12709" cy="61258"/>
              </a:xfrm>
              <a:custGeom>
                <a:avLst/>
                <a:gdLst>
                  <a:gd name="csX0" fmla="*/ 0 w 12709"/>
                  <a:gd name="csY0" fmla="*/ 0 h 61258"/>
                  <a:gd name="csX1" fmla="*/ 0 w 12709"/>
                  <a:gd name="csY1" fmla="*/ 61259 h 61258"/>
                </a:gdLst>
                <a:ahLst/>
                <a:cxnLst>
                  <a:cxn ang="0">
                    <a:pos x="csX0" y="csY0"/>
                  </a:cxn>
                  <a:cxn ang="0">
                    <a:pos x="csX1" y="csY1"/>
                  </a:cxn>
                </a:cxnLst>
                <a:rect l="l" t="t" r="r" b="b"/>
                <a:pathLst>
                  <a:path w="12709" h="61258">
                    <a:moveTo>
                      <a:pt x="0" y="0"/>
                    </a:moveTo>
                    <a:lnTo>
                      <a:pt x="0" y="61259"/>
                    </a:lnTo>
                  </a:path>
                </a:pathLst>
              </a:custGeom>
              <a:ln w="9529"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sp>
        <p:nvSpPr>
          <p:cNvPr id="525" name="Freeform 61">
            <a:extLst>
              <a:ext uri="{FF2B5EF4-FFF2-40B4-BE49-F238E27FC236}">
                <a16:creationId xmlns:a16="http://schemas.microsoft.com/office/drawing/2014/main" id="{58259C2C-3105-5E52-0E13-657C09F5965B}"/>
              </a:ext>
            </a:extLst>
          </p:cNvPr>
          <p:cNvSpPr/>
          <p:nvPr/>
        </p:nvSpPr>
        <p:spPr>
          <a:xfrm>
            <a:off x="6791494" y="1886365"/>
            <a:ext cx="4533282" cy="460203"/>
          </a:xfrm>
          <a:custGeom>
            <a:avLst/>
            <a:gdLst>
              <a:gd name="csX0" fmla="*/ 0 w 3292970"/>
              <a:gd name="csY0" fmla="*/ 0 h 328407"/>
              <a:gd name="csX1" fmla="*/ 152765 w 3292970"/>
              <a:gd name="csY1" fmla="*/ 0 h 328407"/>
              <a:gd name="csX2" fmla="*/ 152765 w 3292970"/>
              <a:gd name="csY2" fmla="*/ 39399 h 328407"/>
              <a:gd name="csX3" fmla="*/ 224827 w 3292970"/>
              <a:gd name="csY3" fmla="*/ 39399 h 328407"/>
              <a:gd name="csX4" fmla="*/ 224827 w 3292970"/>
              <a:gd name="csY4" fmla="*/ 77781 h 328407"/>
              <a:gd name="csX5" fmla="*/ 333745 w 3292970"/>
              <a:gd name="csY5" fmla="*/ 77781 h 328407"/>
              <a:gd name="csX6" fmla="*/ 333745 w 3292970"/>
              <a:gd name="csY6" fmla="*/ 116290 h 328407"/>
              <a:gd name="csX7" fmla="*/ 445206 w 3292970"/>
              <a:gd name="csY7" fmla="*/ 116290 h 328407"/>
              <a:gd name="csX8" fmla="*/ 445206 w 3292970"/>
              <a:gd name="csY8" fmla="*/ 163314 h 328407"/>
              <a:gd name="csX9" fmla="*/ 587804 w 3292970"/>
              <a:gd name="csY9" fmla="*/ 163314 h 328407"/>
              <a:gd name="csX10" fmla="*/ 587804 w 3292970"/>
              <a:gd name="csY10" fmla="*/ 198264 h 328407"/>
              <a:gd name="csX11" fmla="*/ 830169 w 3292970"/>
              <a:gd name="csY11" fmla="*/ 198264 h 328407"/>
              <a:gd name="csX12" fmla="*/ 830169 w 3292970"/>
              <a:gd name="csY12" fmla="*/ 236901 h 328407"/>
              <a:gd name="csX13" fmla="*/ 1092234 w 3292970"/>
              <a:gd name="csY13" fmla="*/ 236901 h 328407"/>
              <a:gd name="csX14" fmla="*/ 1092234 w 3292970"/>
              <a:gd name="csY14" fmla="*/ 283035 h 328407"/>
              <a:gd name="csX15" fmla="*/ 1405264 w 3292970"/>
              <a:gd name="csY15" fmla="*/ 283035 h 328407"/>
              <a:gd name="csX16" fmla="*/ 1405264 w 3292970"/>
              <a:gd name="csY16" fmla="*/ 328407 h 328407"/>
              <a:gd name="csX17" fmla="*/ 3292970 w 3292970"/>
              <a:gd name="csY17" fmla="*/ 328407 h 32840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Lst>
            <a:rect l="l" t="t" r="r" b="b"/>
            <a:pathLst>
              <a:path w="3292970" h="328407">
                <a:moveTo>
                  <a:pt x="0" y="0"/>
                </a:moveTo>
                <a:lnTo>
                  <a:pt x="152765" y="0"/>
                </a:lnTo>
                <a:lnTo>
                  <a:pt x="152765" y="39399"/>
                </a:lnTo>
                <a:lnTo>
                  <a:pt x="224827" y="39399"/>
                </a:lnTo>
                <a:lnTo>
                  <a:pt x="224827" y="77781"/>
                </a:lnTo>
                <a:lnTo>
                  <a:pt x="333745" y="77781"/>
                </a:lnTo>
                <a:lnTo>
                  <a:pt x="333745" y="116290"/>
                </a:lnTo>
                <a:lnTo>
                  <a:pt x="445206" y="116290"/>
                </a:lnTo>
                <a:lnTo>
                  <a:pt x="445206" y="163314"/>
                </a:lnTo>
                <a:lnTo>
                  <a:pt x="587804" y="163314"/>
                </a:lnTo>
                <a:lnTo>
                  <a:pt x="587804" y="198264"/>
                </a:lnTo>
                <a:lnTo>
                  <a:pt x="830169" y="198264"/>
                </a:lnTo>
                <a:lnTo>
                  <a:pt x="830169" y="236901"/>
                </a:lnTo>
                <a:lnTo>
                  <a:pt x="1092234" y="236901"/>
                </a:lnTo>
                <a:lnTo>
                  <a:pt x="1092234" y="283035"/>
                </a:lnTo>
                <a:lnTo>
                  <a:pt x="1405264" y="283035"/>
                </a:lnTo>
                <a:lnTo>
                  <a:pt x="1405264" y="328407"/>
                </a:lnTo>
                <a:lnTo>
                  <a:pt x="3292970" y="328407"/>
                </a:lnTo>
              </a:path>
            </a:pathLst>
          </a:custGeom>
          <a:noFill/>
          <a:ln w="19058" cap="flat">
            <a:solidFill>
              <a:srgbClr val="0B41CD"/>
            </a:solidFill>
            <a:prstDash val="solid"/>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26" name="TextBox 525">
            <a:extLst>
              <a:ext uri="{FF2B5EF4-FFF2-40B4-BE49-F238E27FC236}">
                <a16:creationId xmlns:a16="http://schemas.microsoft.com/office/drawing/2014/main" id="{C46500BD-F99F-BF38-36F0-84005DFD68AC}"/>
              </a:ext>
            </a:extLst>
          </p:cNvPr>
          <p:cNvSpPr txBox="1"/>
          <p:nvPr/>
        </p:nvSpPr>
        <p:spPr>
          <a:xfrm>
            <a:off x="6105032" y="3753291"/>
            <a:ext cx="1063112" cy="194797"/>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666"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No. of patients at risk</a:t>
            </a:r>
          </a:p>
        </p:txBody>
      </p:sp>
      <p:grpSp>
        <p:nvGrpSpPr>
          <p:cNvPr id="527" name="Graphic 4">
            <a:extLst>
              <a:ext uri="{FF2B5EF4-FFF2-40B4-BE49-F238E27FC236}">
                <a16:creationId xmlns:a16="http://schemas.microsoft.com/office/drawing/2014/main" id="{CC0570E3-4BA0-413F-13A9-B58875741680}"/>
              </a:ext>
            </a:extLst>
          </p:cNvPr>
          <p:cNvGrpSpPr/>
          <p:nvPr/>
        </p:nvGrpSpPr>
        <p:grpSpPr>
          <a:xfrm>
            <a:off x="6659729" y="3872629"/>
            <a:ext cx="4886006" cy="195865"/>
            <a:chOff x="6593406" y="4015615"/>
            <a:chExt cx="3549188" cy="139772"/>
          </a:xfrm>
          <a:solidFill>
            <a:srgbClr val="000000"/>
          </a:solidFill>
        </p:grpSpPr>
        <p:sp>
          <p:nvSpPr>
            <p:cNvPr id="528" name="TextBox 527">
              <a:extLst>
                <a:ext uri="{FF2B5EF4-FFF2-40B4-BE49-F238E27FC236}">
                  <a16:creationId xmlns:a16="http://schemas.microsoft.com/office/drawing/2014/main" id="{7471F8DB-11B0-8FE0-84F7-3517E2CF84DD}"/>
                </a:ext>
              </a:extLst>
            </p:cNvPr>
            <p:cNvSpPr txBox="1"/>
            <p:nvPr/>
          </p:nvSpPr>
          <p:spPr>
            <a:xfrm>
              <a:off x="6593406" y="4016377"/>
              <a:ext cx="204006"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31</a:t>
              </a:r>
            </a:p>
          </p:txBody>
        </p:sp>
        <p:sp>
          <p:nvSpPr>
            <p:cNvPr id="529" name="TextBox 528">
              <a:extLst>
                <a:ext uri="{FF2B5EF4-FFF2-40B4-BE49-F238E27FC236}">
                  <a16:creationId xmlns:a16="http://schemas.microsoft.com/office/drawing/2014/main" id="{FECC35B7-4440-5D80-B178-2BB157021FD8}"/>
                </a:ext>
              </a:extLst>
            </p:cNvPr>
            <p:cNvSpPr txBox="1"/>
            <p:nvPr/>
          </p:nvSpPr>
          <p:spPr>
            <a:xfrm>
              <a:off x="6755323" y="4016377"/>
              <a:ext cx="204006"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30</a:t>
              </a:r>
            </a:p>
          </p:txBody>
        </p:sp>
        <p:sp>
          <p:nvSpPr>
            <p:cNvPr id="530" name="TextBox 529">
              <a:extLst>
                <a:ext uri="{FF2B5EF4-FFF2-40B4-BE49-F238E27FC236}">
                  <a16:creationId xmlns:a16="http://schemas.microsoft.com/office/drawing/2014/main" id="{08B51273-A00B-D869-DB04-33AC8D0BE58D}"/>
                </a:ext>
              </a:extLst>
            </p:cNvPr>
            <p:cNvSpPr txBox="1"/>
            <p:nvPr/>
          </p:nvSpPr>
          <p:spPr>
            <a:xfrm>
              <a:off x="6922704" y="4016377"/>
              <a:ext cx="204006"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9</a:t>
              </a:r>
            </a:p>
          </p:txBody>
        </p:sp>
        <p:sp>
          <p:nvSpPr>
            <p:cNvPr id="531" name="TextBox 530">
              <a:extLst>
                <a:ext uri="{FF2B5EF4-FFF2-40B4-BE49-F238E27FC236}">
                  <a16:creationId xmlns:a16="http://schemas.microsoft.com/office/drawing/2014/main" id="{31D3A15B-3000-8EF6-7618-52CFF7CAAC0B}"/>
                </a:ext>
              </a:extLst>
            </p:cNvPr>
            <p:cNvSpPr txBox="1"/>
            <p:nvPr/>
          </p:nvSpPr>
          <p:spPr>
            <a:xfrm>
              <a:off x="7089957" y="4016377"/>
              <a:ext cx="204006"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7</a:t>
              </a:r>
            </a:p>
          </p:txBody>
        </p:sp>
        <p:sp>
          <p:nvSpPr>
            <p:cNvPr id="532" name="TextBox 531">
              <a:extLst>
                <a:ext uri="{FF2B5EF4-FFF2-40B4-BE49-F238E27FC236}">
                  <a16:creationId xmlns:a16="http://schemas.microsoft.com/office/drawing/2014/main" id="{2F8A97FC-CB36-C9C3-C248-109C1386B0BD}"/>
                </a:ext>
              </a:extLst>
            </p:cNvPr>
            <p:cNvSpPr txBox="1"/>
            <p:nvPr/>
          </p:nvSpPr>
          <p:spPr>
            <a:xfrm>
              <a:off x="7424212" y="4016377"/>
              <a:ext cx="204006"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6</a:t>
              </a:r>
            </a:p>
          </p:txBody>
        </p:sp>
        <p:sp>
          <p:nvSpPr>
            <p:cNvPr id="533" name="TextBox 532">
              <a:extLst>
                <a:ext uri="{FF2B5EF4-FFF2-40B4-BE49-F238E27FC236}">
                  <a16:creationId xmlns:a16="http://schemas.microsoft.com/office/drawing/2014/main" id="{4F7DE0B2-4E83-5D39-9F31-6F6EC2102401}"/>
                </a:ext>
              </a:extLst>
            </p:cNvPr>
            <p:cNvSpPr txBox="1"/>
            <p:nvPr/>
          </p:nvSpPr>
          <p:spPr>
            <a:xfrm>
              <a:off x="7591083" y="4016377"/>
              <a:ext cx="204006"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5</a:t>
              </a:r>
            </a:p>
          </p:txBody>
        </p:sp>
        <p:sp>
          <p:nvSpPr>
            <p:cNvPr id="534" name="TextBox 533">
              <a:extLst>
                <a:ext uri="{FF2B5EF4-FFF2-40B4-BE49-F238E27FC236}">
                  <a16:creationId xmlns:a16="http://schemas.microsoft.com/office/drawing/2014/main" id="{A389A930-0BA9-AB93-B02A-178B7B961934}"/>
                </a:ext>
              </a:extLst>
            </p:cNvPr>
            <p:cNvSpPr txBox="1"/>
            <p:nvPr/>
          </p:nvSpPr>
          <p:spPr>
            <a:xfrm>
              <a:off x="7758465" y="4016377"/>
              <a:ext cx="204006"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3</a:t>
              </a:r>
            </a:p>
          </p:txBody>
        </p:sp>
        <p:sp>
          <p:nvSpPr>
            <p:cNvPr id="535" name="TextBox 534">
              <a:extLst>
                <a:ext uri="{FF2B5EF4-FFF2-40B4-BE49-F238E27FC236}">
                  <a16:creationId xmlns:a16="http://schemas.microsoft.com/office/drawing/2014/main" id="{06685544-6D13-77AD-05D4-DF2EC0BB4164}"/>
                </a:ext>
              </a:extLst>
            </p:cNvPr>
            <p:cNvSpPr txBox="1"/>
            <p:nvPr/>
          </p:nvSpPr>
          <p:spPr>
            <a:xfrm>
              <a:off x="7925845" y="4016377"/>
              <a:ext cx="204006"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2</a:t>
              </a:r>
            </a:p>
          </p:txBody>
        </p:sp>
        <p:sp>
          <p:nvSpPr>
            <p:cNvPr id="536" name="TextBox 535">
              <a:extLst>
                <a:ext uri="{FF2B5EF4-FFF2-40B4-BE49-F238E27FC236}">
                  <a16:creationId xmlns:a16="http://schemas.microsoft.com/office/drawing/2014/main" id="{A74AF3CD-1942-236C-C7C7-A3163D617A5F}"/>
                </a:ext>
              </a:extLst>
            </p:cNvPr>
            <p:cNvSpPr txBox="1"/>
            <p:nvPr/>
          </p:nvSpPr>
          <p:spPr>
            <a:xfrm>
              <a:off x="8089668" y="4016377"/>
              <a:ext cx="204006"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9</a:t>
              </a:r>
            </a:p>
          </p:txBody>
        </p:sp>
        <p:sp>
          <p:nvSpPr>
            <p:cNvPr id="537" name="TextBox 536">
              <a:extLst>
                <a:ext uri="{FF2B5EF4-FFF2-40B4-BE49-F238E27FC236}">
                  <a16:creationId xmlns:a16="http://schemas.microsoft.com/office/drawing/2014/main" id="{BE690559-223B-2544-405B-9DD31A9E9E0C}"/>
                </a:ext>
              </a:extLst>
            </p:cNvPr>
            <p:cNvSpPr txBox="1"/>
            <p:nvPr/>
          </p:nvSpPr>
          <p:spPr>
            <a:xfrm>
              <a:off x="8257049" y="4016377"/>
              <a:ext cx="204006"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2</a:t>
              </a:r>
            </a:p>
          </p:txBody>
        </p:sp>
        <p:sp>
          <p:nvSpPr>
            <p:cNvPr id="538" name="TextBox 537">
              <a:extLst>
                <a:ext uri="{FF2B5EF4-FFF2-40B4-BE49-F238E27FC236}">
                  <a16:creationId xmlns:a16="http://schemas.microsoft.com/office/drawing/2014/main" id="{9EFA578A-8753-0D55-B085-1513DF56EA8E}"/>
                </a:ext>
              </a:extLst>
            </p:cNvPr>
            <p:cNvSpPr txBox="1"/>
            <p:nvPr/>
          </p:nvSpPr>
          <p:spPr>
            <a:xfrm>
              <a:off x="8429132" y="4016377"/>
              <a:ext cx="204006"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1</a:t>
              </a:r>
            </a:p>
          </p:txBody>
        </p:sp>
        <p:sp>
          <p:nvSpPr>
            <p:cNvPr id="539" name="TextBox 538">
              <a:extLst>
                <a:ext uri="{FF2B5EF4-FFF2-40B4-BE49-F238E27FC236}">
                  <a16:creationId xmlns:a16="http://schemas.microsoft.com/office/drawing/2014/main" id="{2B6139F8-BB04-1316-0DD6-8F6DB78B8541}"/>
                </a:ext>
              </a:extLst>
            </p:cNvPr>
            <p:cNvSpPr txBox="1"/>
            <p:nvPr/>
          </p:nvSpPr>
          <p:spPr>
            <a:xfrm>
              <a:off x="8591176" y="4016377"/>
              <a:ext cx="204006"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0</a:t>
              </a:r>
            </a:p>
          </p:txBody>
        </p:sp>
        <p:sp>
          <p:nvSpPr>
            <p:cNvPr id="540" name="TextBox 539">
              <a:extLst>
                <a:ext uri="{FF2B5EF4-FFF2-40B4-BE49-F238E27FC236}">
                  <a16:creationId xmlns:a16="http://schemas.microsoft.com/office/drawing/2014/main" id="{107E1410-0459-6179-D497-414CCA4A6509}"/>
                </a:ext>
              </a:extLst>
            </p:cNvPr>
            <p:cNvSpPr txBox="1"/>
            <p:nvPr/>
          </p:nvSpPr>
          <p:spPr>
            <a:xfrm>
              <a:off x="8777963" y="4015615"/>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7</a:t>
              </a:r>
            </a:p>
          </p:txBody>
        </p:sp>
        <p:sp>
          <p:nvSpPr>
            <p:cNvPr id="541" name="TextBox 540">
              <a:extLst>
                <a:ext uri="{FF2B5EF4-FFF2-40B4-BE49-F238E27FC236}">
                  <a16:creationId xmlns:a16="http://schemas.microsoft.com/office/drawing/2014/main" id="{D23E2019-88ED-D05C-B43B-533B15B7F527}"/>
                </a:ext>
              </a:extLst>
            </p:cNvPr>
            <p:cNvSpPr txBox="1"/>
            <p:nvPr/>
          </p:nvSpPr>
          <p:spPr>
            <a:xfrm>
              <a:off x="8945091" y="4015615"/>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5</a:t>
              </a:r>
            </a:p>
          </p:txBody>
        </p:sp>
        <p:sp>
          <p:nvSpPr>
            <p:cNvPr id="542" name="TextBox 541">
              <a:extLst>
                <a:ext uri="{FF2B5EF4-FFF2-40B4-BE49-F238E27FC236}">
                  <a16:creationId xmlns:a16="http://schemas.microsoft.com/office/drawing/2014/main" id="{41F2021E-DE35-B57C-A1A5-CF278658A471}"/>
                </a:ext>
              </a:extLst>
            </p:cNvPr>
            <p:cNvSpPr txBox="1"/>
            <p:nvPr/>
          </p:nvSpPr>
          <p:spPr>
            <a:xfrm>
              <a:off x="9113233" y="4016377"/>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a:t>
              </a:r>
            </a:p>
          </p:txBody>
        </p:sp>
        <p:sp>
          <p:nvSpPr>
            <p:cNvPr id="543" name="TextBox 542">
              <a:extLst>
                <a:ext uri="{FF2B5EF4-FFF2-40B4-BE49-F238E27FC236}">
                  <a16:creationId xmlns:a16="http://schemas.microsoft.com/office/drawing/2014/main" id="{4A10F414-8A21-E035-4554-DAA34E594257}"/>
                </a:ext>
              </a:extLst>
            </p:cNvPr>
            <p:cNvSpPr txBox="1"/>
            <p:nvPr/>
          </p:nvSpPr>
          <p:spPr>
            <a:xfrm>
              <a:off x="9282266" y="4016377"/>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a:t>
              </a:r>
            </a:p>
          </p:txBody>
        </p:sp>
        <p:sp>
          <p:nvSpPr>
            <p:cNvPr id="544" name="TextBox 543">
              <a:extLst>
                <a:ext uri="{FF2B5EF4-FFF2-40B4-BE49-F238E27FC236}">
                  <a16:creationId xmlns:a16="http://schemas.microsoft.com/office/drawing/2014/main" id="{9C4DBD33-921C-F58A-C74D-242B9D806F2A}"/>
                </a:ext>
              </a:extLst>
            </p:cNvPr>
            <p:cNvSpPr txBox="1"/>
            <p:nvPr/>
          </p:nvSpPr>
          <p:spPr>
            <a:xfrm>
              <a:off x="9449393" y="4016377"/>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a:t>
              </a:r>
            </a:p>
          </p:txBody>
        </p:sp>
        <p:sp>
          <p:nvSpPr>
            <p:cNvPr id="545" name="TextBox 544">
              <a:extLst>
                <a:ext uri="{FF2B5EF4-FFF2-40B4-BE49-F238E27FC236}">
                  <a16:creationId xmlns:a16="http://schemas.microsoft.com/office/drawing/2014/main" id="{804BC872-A79C-AD85-1590-4A1EB53B83DC}"/>
                </a:ext>
              </a:extLst>
            </p:cNvPr>
            <p:cNvSpPr txBox="1"/>
            <p:nvPr/>
          </p:nvSpPr>
          <p:spPr>
            <a:xfrm>
              <a:off x="9616520" y="4016377"/>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a:t>
              </a:r>
            </a:p>
          </p:txBody>
        </p:sp>
        <p:sp>
          <p:nvSpPr>
            <p:cNvPr id="546" name="TextBox 545">
              <a:extLst>
                <a:ext uri="{FF2B5EF4-FFF2-40B4-BE49-F238E27FC236}">
                  <a16:creationId xmlns:a16="http://schemas.microsoft.com/office/drawing/2014/main" id="{E6B792C3-EBB1-F21B-A19A-77FD3F803A53}"/>
                </a:ext>
              </a:extLst>
            </p:cNvPr>
            <p:cNvSpPr txBox="1"/>
            <p:nvPr/>
          </p:nvSpPr>
          <p:spPr>
            <a:xfrm>
              <a:off x="7257084" y="4016377"/>
              <a:ext cx="204006"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26</a:t>
              </a:r>
            </a:p>
          </p:txBody>
        </p:sp>
        <p:sp>
          <p:nvSpPr>
            <p:cNvPr id="547" name="TextBox 546">
              <a:extLst>
                <a:ext uri="{FF2B5EF4-FFF2-40B4-BE49-F238E27FC236}">
                  <a16:creationId xmlns:a16="http://schemas.microsoft.com/office/drawing/2014/main" id="{1D496C4C-C8E6-751B-BCB0-976662D34FEA}"/>
                </a:ext>
              </a:extLst>
            </p:cNvPr>
            <p:cNvSpPr txBox="1"/>
            <p:nvPr/>
          </p:nvSpPr>
          <p:spPr>
            <a:xfrm>
              <a:off x="9783647" y="4016377"/>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1</a:t>
              </a:r>
            </a:p>
          </p:txBody>
        </p:sp>
        <p:sp>
          <p:nvSpPr>
            <p:cNvPr id="548" name="TextBox 547">
              <a:extLst>
                <a:ext uri="{FF2B5EF4-FFF2-40B4-BE49-F238E27FC236}">
                  <a16:creationId xmlns:a16="http://schemas.microsoft.com/office/drawing/2014/main" id="{564A5C43-29F9-3641-CEBF-C7C1BFEC9DF4}"/>
                </a:ext>
              </a:extLst>
            </p:cNvPr>
            <p:cNvSpPr txBox="1"/>
            <p:nvPr/>
          </p:nvSpPr>
          <p:spPr>
            <a:xfrm>
              <a:off x="9922286" y="4016123"/>
              <a:ext cx="220308"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NE</a:t>
              </a:r>
            </a:p>
          </p:txBody>
        </p:sp>
      </p:grpSp>
      <p:sp>
        <p:nvSpPr>
          <p:cNvPr id="549" name="TextBox 548">
            <a:extLst>
              <a:ext uri="{FF2B5EF4-FFF2-40B4-BE49-F238E27FC236}">
                <a16:creationId xmlns:a16="http://schemas.microsoft.com/office/drawing/2014/main" id="{1CF50353-1509-AC90-109E-ADE9F1ACE5D2}"/>
              </a:ext>
            </a:extLst>
          </p:cNvPr>
          <p:cNvSpPr txBox="1"/>
          <p:nvPr/>
        </p:nvSpPr>
        <p:spPr>
          <a:xfrm>
            <a:off x="6253738" y="3874577"/>
            <a:ext cx="306494" cy="194797"/>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666" b="1" i="0" u="none" strike="noStrike" kern="1200" cap="none" spc="0" normalizeH="0" baseline="0" noProof="0" dirty="0">
                <a:ln/>
                <a:solidFill>
                  <a:srgbClr val="0B41CD"/>
                </a:solidFill>
                <a:effectLst/>
                <a:uLnTx/>
                <a:uFillTx/>
                <a:latin typeface="Arial"/>
                <a:ea typeface="MS PGothic" panose="020B0600070205080204" pitchFamily="34" charset="-128"/>
                <a:cs typeface="Arial"/>
                <a:sym typeface="Arial"/>
                <a:rtl val="0"/>
              </a:rPr>
              <a:t>CR</a:t>
            </a:r>
          </a:p>
        </p:txBody>
      </p:sp>
      <p:grpSp>
        <p:nvGrpSpPr>
          <p:cNvPr id="550" name="Graphic 4">
            <a:extLst>
              <a:ext uri="{FF2B5EF4-FFF2-40B4-BE49-F238E27FC236}">
                <a16:creationId xmlns:a16="http://schemas.microsoft.com/office/drawing/2014/main" id="{4C36F32F-005D-DCF2-593C-636A53E73FCC}"/>
              </a:ext>
            </a:extLst>
          </p:cNvPr>
          <p:cNvGrpSpPr/>
          <p:nvPr/>
        </p:nvGrpSpPr>
        <p:grpSpPr>
          <a:xfrm>
            <a:off x="6656229" y="4104935"/>
            <a:ext cx="4889505" cy="195865"/>
            <a:chOff x="6590864" y="4093650"/>
            <a:chExt cx="3551730" cy="139772"/>
          </a:xfrm>
          <a:solidFill>
            <a:srgbClr val="000000"/>
          </a:solidFill>
        </p:grpSpPr>
        <p:sp>
          <p:nvSpPr>
            <p:cNvPr id="551" name="TextBox 550">
              <a:extLst>
                <a:ext uri="{FF2B5EF4-FFF2-40B4-BE49-F238E27FC236}">
                  <a16:creationId xmlns:a16="http://schemas.microsoft.com/office/drawing/2014/main" id="{C2FAFA53-8FAF-29F9-5702-4E84326EF2CA}"/>
                </a:ext>
              </a:extLst>
            </p:cNvPr>
            <p:cNvSpPr txBox="1"/>
            <p:nvPr/>
          </p:nvSpPr>
          <p:spPr>
            <a:xfrm>
              <a:off x="6590864" y="4094412"/>
              <a:ext cx="204006"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11</a:t>
              </a:r>
            </a:p>
          </p:txBody>
        </p:sp>
        <p:sp>
          <p:nvSpPr>
            <p:cNvPr id="552" name="TextBox 551">
              <a:extLst>
                <a:ext uri="{FF2B5EF4-FFF2-40B4-BE49-F238E27FC236}">
                  <a16:creationId xmlns:a16="http://schemas.microsoft.com/office/drawing/2014/main" id="{A80DE6AF-DCB8-7B7B-EED0-25399F995F59}"/>
                </a:ext>
              </a:extLst>
            </p:cNvPr>
            <p:cNvSpPr txBox="1"/>
            <p:nvPr/>
          </p:nvSpPr>
          <p:spPr>
            <a:xfrm>
              <a:off x="6772568" y="4093650"/>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7</a:t>
              </a:r>
            </a:p>
          </p:txBody>
        </p:sp>
        <p:sp>
          <p:nvSpPr>
            <p:cNvPr id="553" name="TextBox 552">
              <a:extLst>
                <a:ext uri="{FF2B5EF4-FFF2-40B4-BE49-F238E27FC236}">
                  <a16:creationId xmlns:a16="http://schemas.microsoft.com/office/drawing/2014/main" id="{BB6B0813-F90F-7A4D-5B71-525AF7A739AE}"/>
                </a:ext>
              </a:extLst>
            </p:cNvPr>
            <p:cNvSpPr txBox="1"/>
            <p:nvPr/>
          </p:nvSpPr>
          <p:spPr>
            <a:xfrm>
              <a:off x="6939697" y="4093650"/>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7</a:t>
              </a:r>
            </a:p>
          </p:txBody>
        </p:sp>
        <p:sp>
          <p:nvSpPr>
            <p:cNvPr id="554" name="TextBox 553">
              <a:extLst>
                <a:ext uri="{FF2B5EF4-FFF2-40B4-BE49-F238E27FC236}">
                  <a16:creationId xmlns:a16="http://schemas.microsoft.com/office/drawing/2014/main" id="{9DF10E69-8064-4D98-5CEF-37493C3D5E5B}"/>
                </a:ext>
              </a:extLst>
            </p:cNvPr>
            <p:cNvSpPr txBox="1"/>
            <p:nvPr/>
          </p:nvSpPr>
          <p:spPr>
            <a:xfrm>
              <a:off x="7107076" y="4094412"/>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6</a:t>
              </a:r>
            </a:p>
          </p:txBody>
        </p:sp>
        <p:sp>
          <p:nvSpPr>
            <p:cNvPr id="555" name="TextBox 554">
              <a:extLst>
                <a:ext uri="{FF2B5EF4-FFF2-40B4-BE49-F238E27FC236}">
                  <a16:creationId xmlns:a16="http://schemas.microsoft.com/office/drawing/2014/main" id="{C4AE9AC0-8B85-3E4E-5F5E-7A9D762F3360}"/>
                </a:ext>
              </a:extLst>
            </p:cNvPr>
            <p:cNvSpPr txBox="1"/>
            <p:nvPr/>
          </p:nvSpPr>
          <p:spPr>
            <a:xfrm>
              <a:off x="7441329" y="4094412"/>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6</a:t>
              </a:r>
            </a:p>
          </p:txBody>
        </p:sp>
        <p:sp>
          <p:nvSpPr>
            <p:cNvPr id="556" name="TextBox 555">
              <a:extLst>
                <a:ext uri="{FF2B5EF4-FFF2-40B4-BE49-F238E27FC236}">
                  <a16:creationId xmlns:a16="http://schemas.microsoft.com/office/drawing/2014/main" id="{FF5AA1F7-4654-AF6D-10A8-6FF3B94E21F1}"/>
                </a:ext>
              </a:extLst>
            </p:cNvPr>
            <p:cNvSpPr txBox="1"/>
            <p:nvPr/>
          </p:nvSpPr>
          <p:spPr>
            <a:xfrm>
              <a:off x="7608456" y="4094412"/>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6</a:t>
              </a:r>
            </a:p>
          </p:txBody>
        </p:sp>
        <p:sp>
          <p:nvSpPr>
            <p:cNvPr id="557" name="TextBox 556">
              <a:extLst>
                <a:ext uri="{FF2B5EF4-FFF2-40B4-BE49-F238E27FC236}">
                  <a16:creationId xmlns:a16="http://schemas.microsoft.com/office/drawing/2014/main" id="{519DCCE1-F825-325C-E756-E8AD24AA1B18}"/>
                </a:ext>
              </a:extLst>
            </p:cNvPr>
            <p:cNvSpPr txBox="1"/>
            <p:nvPr/>
          </p:nvSpPr>
          <p:spPr>
            <a:xfrm>
              <a:off x="7775203" y="4093650"/>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5</a:t>
              </a:r>
            </a:p>
          </p:txBody>
        </p:sp>
        <p:sp>
          <p:nvSpPr>
            <p:cNvPr id="558" name="TextBox 557">
              <a:extLst>
                <a:ext uri="{FF2B5EF4-FFF2-40B4-BE49-F238E27FC236}">
                  <a16:creationId xmlns:a16="http://schemas.microsoft.com/office/drawing/2014/main" id="{C1D80BED-06B9-16E0-00EF-F5E44E13642C}"/>
                </a:ext>
              </a:extLst>
            </p:cNvPr>
            <p:cNvSpPr txBox="1"/>
            <p:nvPr/>
          </p:nvSpPr>
          <p:spPr>
            <a:xfrm>
              <a:off x="7942330" y="4093650"/>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5</a:t>
              </a:r>
            </a:p>
          </p:txBody>
        </p:sp>
        <p:sp>
          <p:nvSpPr>
            <p:cNvPr id="559" name="TextBox 558">
              <a:extLst>
                <a:ext uri="{FF2B5EF4-FFF2-40B4-BE49-F238E27FC236}">
                  <a16:creationId xmlns:a16="http://schemas.microsoft.com/office/drawing/2014/main" id="{A6A9C572-ED38-FA40-EE21-F90E385C655E}"/>
                </a:ext>
              </a:extLst>
            </p:cNvPr>
            <p:cNvSpPr txBox="1"/>
            <p:nvPr/>
          </p:nvSpPr>
          <p:spPr>
            <a:xfrm>
              <a:off x="8109456" y="4093650"/>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5</a:t>
              </a:r>
            </a:p>
          </p:txBody>
        </p:sp>
        <p:sp>
          <p:nvSpPr>
            <p:cNvPr id="560" name="TextBox 559">
              <a:extLst>
                <a:ext uri="{FF2B5EF4-FFF2-40B4-BE49-F238E27FC236}">
                  <a16:creationId xmlns:a16="http://schemas.microsoft.com/office/drawing/2014/main" id="{B520CAF3-7653-C6AB-BA1E-12E3FE5E2F77}"/>
                </a:ext>
              </a:extLst>
            </p:cNvPr>
            <p:cNvSpPr txBox="1"/>
            <p:nvPr/>
          </p:nvSpPr>
          <p:spPr>
            <a:xfrm>
              <a:off x="8278107" y="4094158"/>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4</a:t>
              </a:r>
            </a:p>
          </p:txBody>
        </p:sp>
        <p:sp>
          <p:nvSpPr>
            <p:cNvPr id="561" name="TextBox 560">
              <a:extLst>
                <a:ext uri="{FF2B5EF4-FFF2-40B4-BE49-F238E27FC236}">
                  <a16:creationId xmlns:a16="http://schemas.microsoft.com/office/drawing/2014/main" id="{BEF81C55-1198-6D7C-357E-4120411F098C}"/>
                </a:ext>
              </a:extLst>
            </p:cNvPr>
            <p:cNvSpPr txBox="1"/>
            <p:nvPr/>
          </p:nvSpPr>
          <p:spPr>
            <a:xfrm>
              <a:off x="8445236" y="4094158"/>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4</a:t>
              </a:r>
            </a:p>
          </p:txBody>
        </p:sp>
        <p:sp>
          <p:nvSpPr>
            <p:cNvPr id="562" name="TextBox 561">
              <a:extLst>
                <a:ext uri="{FF2B5EF4-FFF2-40B4-BE49-F238E27FC236}">
                  <a16:creationId xmlns:a16="http://schemas.microsoft.com/office/drawing/2014/main" id="{4A0EA52C-D637-E293-C0B9-78D0A7CFC63B}"/>
                </a:ext>
              </a:extLst>
            </p:cNvPr>
            <p:cNvSpPr txBox="1"/>
            <p:nvPr/>
          </p:nvSpPr>
          <p:spPr>
            <a:xfrm>
              <a:off x="8612361" y="4094158"/>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4</a:t>
              </a:r>
            </a:p>
          </p:txBody>
        </p:sp>
        <p:sp>
          <p:nvSpPr>
            <p:cNvPr id="563" name="TextBox 562">
              <a:extLst>
                <a:ext uri="{FF2B5EF4-FFF2-40B4-BE49-F238E27FC236}">
                  <a16:creationId xmlns:a16="http://schemas.microsoft.com/office/drawing/2014/main" id="{357AB430-4301-28E4-8FCB-9ADCBDD140F8}"/>
                </a:ext>
              </a:extLst>
            </p:cNvPr>
            <p:cNvSpPr txBox="1"/>
            <p:nvPr/>
          </p:nvSpPr>
          <p:spPr>
            <a:xfrm>
              <a:off x="8778091" y="4094412"/>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3</a:t>
              </a:r>
            </a:p>
          </p:txBody>
        </p:sp>
        <p:sp>
          <p:nvSpPr>
            <p:cNvPr id="564" name="TextBox 563">
              <a:extLst>
                <a:ext uri="{FF2B5EF4-FFF2-40B4-BE49-F238E27FC236}">
                  <a16:creationId xmlns:a16="http://schemas.microsoft.com/office/drawing/2014/main" id="{B4B43178-0B71-DC95-8D07-542AD786139B}"/>
                </a:ext>
              </a:extLst>
            </p:cNvPr>
            <p:cNvSpPr txBox="1"/>
            <p:nvPr/>
          </p:nvSpPr>
          <p:spPr>
            <a:xfrm>
              <a:off x="8946106" y="4094412"/>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2</a:t>
              </a:r>
            </a:p>
          </p:txBody>
        </p:sp>
        <p:sp>
          <p:nvSpPr>
            <p:cNvPr id="565" name="TextBox 564">
              <a:extLst>
                <a:ext uri="{FF2B5EF4-FFF2-40B4-BE49-F238E27FC236}">
                  <a16:creationId xmlns:a16="http://schemas.microsoft.com/office/drawing/2014/main" id="{D45160BB-8E40-8522-1AEF-B50593E659F2}"/>
                </a:ext>
              </a:extLst>
            </p:cNvPr>
            <p:cNvSpPr txBox="1"/>
            <p:nvPr/>
          </p:nvSpPr>
          <p:spPr>
            <a:xfrm>
              <a:off x="9113233" y="4094412"/>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2</a:t>
              </a:r>
            </a:p>
          </p:txBody>
        </p:sp>
        <p:sp>
          <p:nvSpPr>
            <p:cNvPr id="566" name="TextBox 565">
              <a:extLst>
                <a:ext uri="{FF2B5EF4-FFF2-40B4-BE49-F238E27FC236}">
                  <a16:creationId xmlns:a16="http://schemas.microsoft.com/office/drawing/2014/main" id="{9795B1EB-E3ED-8F86-AA37-6848D462BCE9}"/>
                </a:ext>
              </a:extLst>
            </p:cNvPr>
            <p:cNvSpPr txBox="1"/>
            <p:nvPr/>
          </p:nvSpPr>
          <p:spPr>
            <a:xfrm>
              <a:off x="9253778" y="4094158"/>
              <a:ext cx="220308"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NE</a:t>
              </a:r>
            </a:p>
          </p:txBody>
        </p:sp>
        <p:sp>
          <p:nvSpPr>
            <p:cNvPr id="567" name="TextBox 566">
              <a:extLst>
                <a:ext uri="{FF2B5EF4-FFF2-40B4-BE49-F238E27FC236}">
                  <a16:creationId xmlns:a16="http://schemas.microsoft.com/office/drawing/2014/main" id="{EA71D8D6-6C43-C8E0-46B4-1C5A754E2D7A}"/>
                </a:ext>
              </a:extLst>
            </p:cNvPr>
            <p:cNvSpPr txBox="1"/>
            <p:nvPr/>
          </p:nvSpPr>
          <p:spPr>
            <a:xfrm>
              <a:off x="9420905" y="4094158"/>
              <a:ext cx="220308"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NE</a:t>
              </a:r>
            </a:p>
          </p:txBody>
        </p:sp>
        <p:sp>
          <p:nvSpPr>
            <p:cNvPr id="568" name="TextBox 567">
              <a:extLst>
                <a:ext uri="{FF2B5EF4-FFF2-40B4-BE49-F238E27FC236}">
                  <a16:creationId xmlns:a16="http://schemas.microsoft.com/office/drawing/2014/main" id="{A1C94278-D3F1-B2D8-11B6-B4AF543AF91F}"/>
                </a:ext>
              </a:extLst>
            </p:cNvPr>
            <p:cNvSpPr txBox="1"/>
            <p:nvPr/>
          </p:nvSpPr>
          <p:spPr>
            <a:xfrm>
              <a:off x="9588032" y="4094158"/>
              <a:ext cx="220308"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NE</a:t>
              </a:r>
            </a:p>
          </p:txBody>
        </p:sp>
        <p:sp>
          <p:nvSpPr>
            <p:cNvPr id="569" name="TextBox 568">
              <a:extLst>
                <a:ext uri="{FF2B5EF4-FFF2-40B4-BE49-F238E27FC236}">
                  <a16:creationId xmlns:a16="http://schemas.microsoft.com/office/drawing/2014/main" id="{3614D813-FD69-1ED2-4D71-EAB0464231C8}"/>
                </a:ext>
              </a:extLst>
            </p:cNvPr>
            <p:cNvSpPr txBox="1"/>
            <p:nvPr/>
          </p:nvSpPr>
          <p:spPr>
            <a:xfrm>
              <a:off x="7274203" y="4094412"/>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6</a:t>
              </a:r>
            </a:p>
          </p:txBody>
        </p:sp>
        <p:sp>
          <p:nvSpPr>
            <p:cNvPr id="570" name="TextBox 569">
              <a:extLst>
                <a:ext uri="{FF2B5EF4-FFF2-40B4-BE49-F238E27FC236}">
                  <a16:creationId xmlns:a16="http://schemas.microsoft.com/office/drawing/2014/main" id="{2749EB80-9DD4-0048-C4ED-09B55B889F04}"/>
                </a:ext>
              </a:extLst>
            </p:cNvPr>
            <p:cNvSpPr txBox="1"/>
            <p:nvPr/>
          </p:nvSpPr>
          <p:spPr>
            <a:xfrm>
              <a:off x="9755161" y="4094158"/>
              <a:ext cx="220308"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NE</a:t>
              </a:r>
            </a:p>
          </p:txBody>
        </p:sp>
        <p:sp>
          <p:nvSpPr>
            <p:cNvPr id="571" name="TextBox 570">
              <a:extLst>
                <a:ext uri="{FF2B5EF4-FFF2-40B4-BE49-F238E27FC236}">
                  <a16:creationId xmlns:a16="http://schemas.microsoft.com/office/drawing/2014/main" id="{61778402-3042-D2CA-1424-989C9882641D}"/>
                </a:ext>
              </a:extLst>
            </p:cNvPr>
            <p:cNvSpPr txBox="1"/>
            <p:nvPr/>
          </p:nvSpPr>
          <p:spPr>
            <a:xfrm>
              <a:off x="9922286" y="4094158"/>
              <a:ext cx="220308"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NE</a:t>
              </a:r>
            </a:p>
          </p:txBody>
        </p:sp>
      </p:grpSp>
      <p:sp>
        <p:nvSpPr>
          <p:cNvPr id="572" name="TextBox 571">
            <a:extLst>
              <a:ext uri="{FF2B5EF4-FFF2-40B4-BE49-F238E27FC236}">
                <a16:creationId xmlns:a16="http://schemas.microsoft.com/office/drawing/2014/main" id="{E5C84359-7899-C906-A08A-8084015A7F98}"/>
              </a:ext>
            </a:extLst>
          </p:cNvPr>
          <p:cNvSpPr txBox="1"/>
          <p:nvPr/>
        </p:nvSpPr>
        <p:spPr>
          <a:xfrm>
            <a:off x="6255837" y="4106705"/>
            <a:ext cx="330540" cy="194797"/>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666" b="1" i="0" u="none" strike="noStrike" kern="1200" cap="none" spc="0" normalizeH="0" baseline="0" noProof="0" dirty="0">
                <a:ln/>
                <a:solidFill>
                  <a:srgbClr val="E9BDF9"/>
                </a:solidFill>
                <a:effectLst/>
                <a:uLnTx/>
                <a:uFillTx/>
                <a:latin typeface="Arial"/>
                <a:ea typeface="MS PGothic" panose="020B0600070205080204" pitchFamily="34" charset="-128"/>
                <a:cs typeface="Arial"/>
                <a:sym typeface="Arial"/>
                <a:rtl val="0"/>
              </a:rPr>
              <a:t>NR </a:t>
            </a:r>
          </a:p>
        </p:txBody>
      </p:sp>
      <p:sp>
        <p:nvSpPr>
          <p:cNvPr id="573" name="Freeform 77">
            <a:extLst>
              <a:ext uri="{FF2B5EF4-FFF2-40B4-BE49-F238E27FC236}">
                <a16:creationId xmlns:a16="http://schemas.microsoft.com/office/drawing/2014/main" id="{6B777D9B-447E-4E35-5A1F-CA4763612F2B}"/>
              </a:ext>
            </a:extLst>
          </p:cNvPr>
          <p:cNvSpPr/>
          <p:nvPr/>
        </p:nvSpPr>
        <p:spPr>
          <a:xfrm>
            <a:off x="6794467" y="1886365"/>
            <a:ext cx="3651822" cy="1101709"/>
          </a:xfrm>
          <a:custGeom>
            <a:avLst/>
            <a:gdLst>
              <a:gd name="csX0" fmla="*/ 0 w 2652678"/>
              <a:gd name="csY0" fmla="*/ 0 h 786194"/>
              <a:gd name="csX1" fmla="*/ 32790 w 2652678"/>
              <a:gd name="csY1" fmla="*/ 0 h 786194"/>
              <a:gd name="csX2" fmla="*/ 32790 w 2652678"/>
              <a:gd name="csY2" fmla="*/ 116290 h 786194"/>
              <a:gd name="csX3" fmla="*/ 41305 w 2652678"/>
              <a:gd name="csY3" fmla="*/ 116290 h 786194"/>
              <a:gd name="csX4" fmla="*/ 41305 w 2652678"/>
              <a:gd name="csY4" fmla="*/ 225971 h 786194"/>
              <a:gd name="csX5" fmla="*/ 69138 w 2652678"/>
              <a:gd name="csY5" fmla="*/ 225971 h 786194"/>
              <a:gd name="csX6" fmla="*/ 69138 w 2652678"/>
              <a:gd name="csY6" fmla="*/ 335016 h 786194"/>
              <a:gd name="csX7" fmla="*/ 102310 w 2652678"/>
              <a:gd name="csY7" fmla="*/ 335016 h 786194"/>
              <a:gd name="csX8" fmla="*/ 102310 w 2652678"/>
              <a:gd name="csY8" fmla="*/ 449527 h 786194"/>
              <a:gd name="csX9" fmla="*/ 383947 w 2652678"/>
              <a:gd name="csY9" fmla="*/ 449527 h 786194"/>
              <a:gd name="csX10" fmla="*/ 383947 w 2652678"/>
              <a:gd name="csY10" fmla="*/ 559335 h 786194"/>
              <a:gd name="csX11" fmla="*/ 1142436 w 2652678"/>
              <a:gd name="csY11" fmla="*/ 559335 h 786194"/>
              <a:gd name="csX12" fmla="*/ 1142436 w 2652678"/>
              <a:gd name="csY12" fmla="*/ 673082 h 786194"/>
              <a:gd name="csX13" fmla="*/ 1532611 w 2652678"/>
              <a:gd name="csY13" fmla="*/ 673082 h 786194"/>
              <a:gd name="csX14" fmla="*/ 1532611 w 2652678"/>
              <a:gd name="csY14" fmla="*/ 786195 h 786194"/>
              <a:gd name="csX15" fmla="*/ 2652678 w 2652678"/>
              <a:gd name="csY15" fmla="*/ 786195 h 78619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2652678" h="786194">
                <a:moveTo>
                  <a:pt x="0" y="0"/>
                </a:moveTo>
                <a:lnTo>
                  <a:pt x="32790" y="0"/>
                </a:lnTo>
                <a:lnTo>
                  <a:pt x="32790" y="116290"/>
                </a:lnTo>
                <a:lnTo>
                  <a:pt x="41305" y="116290"/>
                </a:lnTo>
                <a:lnTo>
                  <a:pt x="41305" y="225971"/>
                </a:lnTo>
                <a:lnTo>
                  <a:pt x="69138" y="225971"/>
                </a:lnTo>
                <a:lnTo>
                  <a:pt x="69138" y="335016"/>
                </a:lnTo>
                <a:lnTo>
                  <a:pt x="102310" y="335016"/>
                </a:lnTo>
                <a:lnTo>
                  <a:pt x="102310" y="449527"/>
                </a:lnTo>
                <a:lnTo>
                  <a:pt x="383947" y="449527"/>
                </a:lnTo>
                <a:lnTo>
                  <a:pt x="383947" y="559335"/>
                </a:lnTo>
                <a:lnTo>
                  <a:pt x="1142436" y="559335"/>
                </a:lnTo>
                <a:lnTo>
                  <a:pt x="1142436" y="673082"/>
                </a:lnTo>
                <a:lnTo>
                  <a:pt x="1532611" y="673082"/>
                </a:lnTo>
                <a:lnTo>
                  <a:pt x="1532611" y="786195"/>
                </a:lnTo>
                <a:lnTo>
                  <a:pt x="2652678" y="786195"/>
                </a:lnTo>
              </a:path>
            </a:pathLst>
          </a:custGeom>
          <a:noFill/>
          <a:ln w="19058" cap="flat">
            <a:solidFill>
              <a:schemeClr val="accent2">
                <a:lumMod val="20000"/>
                <a:lumOff val="80000"/>
              </a:schemeClr>
            </a:solidFill>
            <a:prstDash val="sysDash"/>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74" name="Freeform 79">
            <a:extLst>
              <a:ext uri="{FF2B5EF4-FFF2-40B4-BE49-F238E27FC236}">
                <a16:creationId xmlns:a16="http://schemas.microsoft.com/office/drawing/2014/main" id="{96E7CF46-FF3E-A909-FE18-9996C571B04D}"/>
              </a:ext>
            </a:extLst>
          </p:cNvPr>
          <p:cNvSpPr/>
          <p:nvPr/>
        </p:nvSpPr>
        <p:spPr>
          <a:xfrm>
            <a:off x="6792019" y="1886365"/>
            <a:ext cx="3211614" cy="17809"/>
          </a:xfrm>
          <a:custGeom>
            <a:avLst/>
            <a:gdLst>
              <a:gd name="csX0" fmla="*/ 0 w 2332912"/>
              <a:gd name="csY0" fmla="*/ 0 h 12709"/>
              <a:gd name="csX1" fmla="*/ 2332913 w 2332912"/>
              <a:gd name="csY1" fmla="*/ 0 h 12709"/>
            </a:gdLst>
            <a:ahLst/>
            <a:cxnLst>
              <a:cxn ang="0">
                <a:pos x="csX0" y="csY0"/>
              </a:cxn>
              <a:cxn ang="0">
                <a:pos x="csX1" y="csY1"/>
              </a:cxn>
            </a:cxnLst>
            <a:rect l="l" t="t" r="r" b="b"/>
            <a:pathLst>
              <a:path w="2332912" h="12709">
                <a:moveTo>
                  <a:pt x="0" y="0"/>
                </a:moveTo>
                <a:lnTo>
                  <a:pt x="2332913" y="0"/>
                </a:lnTo>
              </a:path>
            </a:pathLst>
          </a:custGeom>
          <a:ln w="19058" cap="flat">
            <a:solidFill>
              <a:schemeClr val="accent3">
                <a:lumMod val="20000"/>
                <a:lumOff val="80000"/>
              </a:schemeClr>
            </a:solidFill>
            <a:prstDash val="sysDash"/>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75" name="TextBox 574">
            <a:extLst>
              <a:ext uri="{FF2B5EF4-FFF2-40B4-BE49-F238E27FC236}">
                <a16:creationId xmlns:a16="http://schemas.microsoft.com/office/drawing/2014/main" id="{3CAF875B-8DE9-AC22-E4CB-CA8228694598}"/>
              </a:ext>
            </a:extLst>
          </p:cNvPr>
          <p:cNvSpPr txBox="1"/>
          <p:nvPr/>
        </p:nvSpPr>
        <p:spPr>
          <a:xfrm>
            <a:off x="8130615" y="1867473"/>
            <a:ext cx="3211613" cy="441018"/>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33"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4-month rate in patients with CR* at EOT: </a:t>
            </a:r>
            <a:r>
              <a:rPr kumimoji="0" lang="en-US" sz="11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77.3% (95% CI: 62.5, 92.1)</a:t>
            </a:r>
          </a:p>
        </p:txBody>
      </p:sp>
      <p:grpSp>
        <p:nvGrpSpPr>
          <p:cNvPr id="576" name="Graphic 4">
            <a:extLst>
              <a:ext uri="{FF2B5EF4-FFF2-40B4-BE49-F238E27FC236}">
                <a16:creationId xmlns:a16="http://schemas.microsoft.com/office/drawing/2014/main" id="{690CF751-E33C-9697-D995-CCD271AB2D1E}"/>
              </a:ext>
            </a:extLst>
          </p:cNvPr>
          <p:cNvGrpSpPr/>
          <p:nvPr/>
        </p:nvGrpSpPr>
        <p:grpSpPr>
          <a:xfrm>
            <a:off x="6677523" y="3993361"/>
            <a:ext cx="4868212" cy="195153"/>
            <a:chOff x="6606331" y="4171049"/>
            <a:chExt cx="3536263" cy="139264"/>
          </a:xfrm>
          <a:solidFill>
            <a:srgbClr val="000000"/>
          </a:solidFill>
        </p:grpSpPr>
        <p:sp>
          <p:nvSpPr>
            <p:cNvPr id="577" name="TextBox 576">
              <a:extLst>
                <a:ext uri="{FF2B5EF4-FFF2-40B4-BE49-F238E27FC236}">
                  <a16:creationId xmlns:a16="http://schemas.microsoft.com/office/drawing/2014/main" id="{C9974557-9BDB-E6EA-9C2D-82024032D5DA}"/>
                </a:ext>
              </a:extLst>
            </p:cNvPr>
            <p:cNvSpPr txBox="1"/>
            <p:nvPr/>
          </p:nvSpPr>
          <p:spPr>
            <a:xfrm>
              <a:off x="6606331" y="4171303"/>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2</a:t>
              </a:r>
            </a:p>
          </p:txBody>
        </p:sp>
        <p:sp>
          <p:nvSpPr>
            <p:cNvPr id="578" name="TextBox 577">
              <a:extLst>
                <a:ext uri="{FF2B5EF4-FFF2-40B4-BE49-F238E27FC236}">
                  <a16:creationId xmlns:a16="http://schemas.microsoft.com/office/drawing/2014/main" id="{CC5D8995-7750-FD2B-F58A-C869C61C813B}"/>
                </a:ext>
              </a:extLst>
            </p:cNvPr>
            <p:cNvSpPr txBox="1"/>
            <p:nvPr/>
          </p:nvSpPr>
          <p:spPr>
            <a:xfrm>
              <a:off x="6773459" y="4171303"/>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2</a:t>
              </a:r>
            </a:p>
          </p:txBody>
        </p:sp>
        <p:sp>
          <p:nvSpPr>
            <p:cNvPr id="579" name="TextBox 578">
              <a:extLst>
                <a:ext uri="{FF2B5EF4-FFF2-40B4-BE49-F238E27FC236}">
                  <a16:creationId xmlns:a16="http://schemas.microsoft.com/office/drawing/2014/main" id="{B86D1402-730D-ED47-554B-688CB6BCC6FE}"/>
                </a:ext>
              </a:extLst>
            </p:cNvPr>
            <p:cNvSpPr txBox="1"/>
            <p:nvPr/>
          </p:nvSpPr>
          <p:spPr>
            <a:xfrm>
              <a:off x="6940583" y="4171303"/>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2</a:t>
              </a:r>
            </a:p>
          </p:txBody>
        </p:sp>
        <p:sp>
          <p:nvSpPr>
            <p:cNvPr id="580" name="TextBox 579">
              <a:extLst>
                <a:ext uri="{FF2B5EF4-FFF2-40B4-BE49-F238E27FC236}">
                  <a16:creationId xmlns:a16="http://schemas.microsoft.com/office/drawing/2014/main" id="{E37852A7-9F5D-97BC-6D13-AD063118C6D6}"/>
                </a:ext>
              </a:extLst>
            </p:cNvPr>
            <p:cNvSpPr txBox="1"/>
            <p:nvPr/>
          </p:nvSpPr>
          <p:spPr>
            <a:xfrm>
              <a:off x="7107711" y="4171303"/>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2</a:t>
              </a:r>
            </a:p>
          </p:txBody>
        </p:sp>
        <p:sp>
          <p:nvSpPr>
            <p:cNvPr id="581" name="TextBox 580">
              <a:extLst>
                <a:ext uri="{FF2B5EF4-FFF2-40B4-BE49-F238E27FC236}">
                  <a16:creationId xmlns:a16="http://schemas.microsoft.com/office/drawing/2014/main" id="{349C7D86-75F4-0707-5612-F9ACE8E7EE89}"/>
                </a:ext>
              </a:extLst>
            </p:cNvPr>
            <p:cNvSpPr txBox="1"/>
            <p:nvPr/>
          </p:nvSpPr>
          <p:spPr>
            <a:xfrm>
              <a:off x="7441966" y="4171303"/>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2</a:t>
              </a:r>
            </a:p>
          </p:txBody>
        </p:sp>
        <p:sp>
          <p:nvSpPr>
            <p:cNvPr id="582" name="TextBox 581">
              <a:extLst>
                <a:ext uri="{FF2B5EF4-FFF2-40B4-BE49-F238E27FC236}">
                  <a16:creationId xmlns:a16="http://schemas.microsoft.com/office/drawing/2014/main" id="{69ABE38B-AC95-DF37-E4D0-8D6E5DFD5AC7}"/>
                </a:ext>
              </a:extLst>
            </p:cNvPr>
            <p:cNvSpPr txBox="1"/>
            <p:nvPr/>
          </p:nvSpPr>
          <p:spPr>
            <a:xfrm>
              <a:off x="7609093" y="4171303"/>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2</a:t>
              </a:r>
            </a:p>
          </p:txBody>
        </p:sp>
        <p:sp>
          <p:nvSpPr>
            <p:cNvPr id="583" name="TextBox 582">
              <a:extLst>
                <a:ext uri="{FF2B5EF4-FFF2-40B4-BE49-F238E27FC236}">
                  <a16:creationId xmlns:a16="http://schemas.microsoft.com/office/drawing/2014/main" id="{13E33FD1-22C0-7AD4-9058-B6F79C931ED2}"/>
                </a:ext>
              </a:extLst>
            </p:cNvPr>
            <p:cNvSpPr txBox="1"/>
            <p:nvPr/>
          </p:nvSpPr>
          <p:spPr>
            <a:xfrm>
              <a:off x="7776217" y="4171303"/>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2</a:t>
              </a:r>
            </a:p>
          </p:txBody>
        </p:sp>
        <p:sp>
          <p:nvSpPr>
            <p:cNvPr id="584" name="TextBox 583">
              <a:extLst>
                <a:ext uri="{FF2B5EF4-FFF2-40B4-BE49-F238E27FC236}">
                  <a16:creationId xmlns:a16="http://schemas.microsoft.com/office/drawing/2014/main" id="{F6FE21AB-A2E8-E7E7-B848-9F51502101FB}"/>
                </a:ext>
              </a:extLst>
            </p:cNvPr>
            <p:cNvSpPr txBox="1"/>
            <p:nvPr/>
          </p:nvSpPr>
          <p:spPr>
            <a:xfrm>
              <a:off x="7945378" y="4171303"/>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1</a:t>
              </a:r>
            </a:p>
          </p:txBody>
        </p:sp>
        <p:sp>
          <p:nvSpPr>
            <p:cNvPr id="585" name="TextBox 584">
              <a:extLst>
                <a:ext uri="{FF2B5EF4-FFF2-40B4-BE49-F238E27FC236}">
                  <a16:creationId xmlns:a16="http://schemas.microsoft.com/office/drawing/2014/main" id="{1A795952-FD65-D091-5D23-AE64ACD1F6ED}"/>
                </a:ext>
              </a:extLst>
            </p:cNvPr>
            <p:cNvSpPr txBox="1"/>
            <p:nvPr/>
          </p:nvSpPr>
          <p:spPr>
            <a:xfrm>
              <a:off x="8112506" y="4171303"/>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1</a:t>
              </a:r>
            </a:p>
          </p:txBody>
        </p:sp>
        <p:sp>
          <p:nvSpPr>
            <p:cNvPr id="586" name="TextBox 585">
              <a:extLst>
                <a:ext uri="{FF2B5EF4-FFF2-40B4-BE49-F238E27FC236}">
                  <a16:creationId xmlns:a16="http://schemas.microsoft.com/office/drawing/2014/main" id="{BB511500-80E0-CA1C-E4EA-4DBB3DF0C1C4}"/>
                </a:ext>
              </a:extLst>
            </p:cNvPr>
            <p:cNvSpPr txBox="1"/>
            <p:nvPr/>
          </p:nvSpPr>
          <p:spPr>
            <a:xfrm>
              <a:off x="8279633" y="4171303"/>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1</a:t>
              </a:r>
            </a:p>
          </p:txBody>
        </p:sp>
        <p:sp>
          <p:nvSpPr>
            <p:cNvPr id="587" name="TextBox 586">
              <a:extLst>
                <a:ext uri="{FF2B5EF4-FFF2-40B4-BE49-F238E27FC236}">
                  <a16:creationId xmlns:a16="http://schemas.microsoft.com/office/drawing/2014/main" id="{A8744E3F-F6BE-0E8E-A9C8-648F0188C2DF}"/>
                </a:ext>
              </a:extLst>
            </p:cNvPr>
            <p:cNvSpPr txBox="1"/>
            <p:nvPr/>
          </p:nvSpPr>
          <p:spPr>
            <a:xfrm>
              <a:off x="8446760" y="4171303"/>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1</a:t>
              </a:r>
            </a:p>
          </p:txBody>
        </p:sp>
        <p:sp>
          <p:nvSpPr>
            <p:cNvPr id="588" name="TextBox 587">
              <a:extLst>
                <a:ext uri="{FF2B5EF4-FFF2-40B4-BE49-F238E27FC236}">
                  <a16:creationId xmlns:a16="http://schemas.microsoft.com/office/drawing/2014/main" id="{90DA4F0D-6F08-E23D-DE25-EFE3DCA9E3BA}"/>
                </a:ext>
              </a:extLst>
            </p:cNvPr>
            <p:cNvSpPr txBox="1"/>
            <p:nvPr/>
          </p:nvSpPr>
          <p:spPr>
            <a:xfrm>
              <a:off x="8613886" y="4171303"/>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1</a:t>
              </a:r>
            </a:p>
          </p:txBody>
        </p:sp>
        <p:sp>
          <p:nvSpPr>
            <p:cNvPr id="589" name="TextBox 588">
              <a:extLst>
                <a:ext uri="{FF2B5EF4-FFF2-40B4-BE49-F238E27FC236}">
                  <a16:creationId xmlns:a16="http://schemas.microsoft.com/office/drawing/2014/main" id="{D9A89644-AAE3-A8BD-37BE-C815D48D5597}"/>
                </a:ext>
              </a:extLst>
            </p:cNvPr>
            <p:cNvSpPr txBox="1"/>
            <p:nvPr/>
          </p:nvSpPr>
          <p:spPr>
            <a:xfrm>
              <a:off x="8780887" y="4171303"/>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1</a:t>
              </a:r>
            </a:p>
          </p:txBody>
        </p:sp>
        <p:sp>
          <p:nvSpPr>
            <p:cNvPr id="590" name="TextBox 589">
              <a:extLst>
                <a:ext uri="{FF2B5EF4-FFF2-40B4-BE49-F238E27FC236}">
                  <a16:creationId xmlns:a16="http://schemas.microsoft.com/office/drawing/2014/main" id="{46AB921E-1F5E-D547-026C-13F10F3A180C}"/>
                </a:ext>
              </a:extLst>
            </p:cNvPr>
            <p:cNvSpPr txBox="1"/>
            <p:nvPr/>
          </p:nvSpPr>
          <p:spPr>
            <a:xfrm>
              <a:off x="8919526" y="4171049"/>
              <a:ext cx="220308"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NE</a:t>
              </a:r>
            </a:p>
          </p:txBody>
        </p:sp>
        <p:sp>
          <p:nvSpPr>
            <p:cNvPr id="591" name="TextBox 590">
              <a:extLst>
                <a:ext uri="{FF2B5EF4-FFF2-40B4-BE49-F238E27FC236}">
                  <a16:creationId xmlns:a16="http://schemas.microsoft.com/office/drawing/2014/main" id="{AA4588D0-44B0-6634-A527-B192B8AC6A8B}"/>
                </a:ext>
              </a:extLst>
            </p:cNvPr>
            <p:cNvSpPr txBox="1"/>
            <p:nvPr/>
          </p:nvSpPr>
          <p:spPr>
            <a:xfrm>
              <a:off x="9086652" y="4171049"/>
              <a:ext cx="220308"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NE</a:t>
              </a:r>
            </a:p>
          </p:txBody>
        </p:sp>
        <p:sp>
          <p:nvSpPr>
            <p:cNvPr id="592" name="TextBox 591">
              <a:extLst>
                <a:ext uri="{FF2B5EF4-FFF2-40B4-BE49-F238E27FC236}">
                  <a16:creationId xmlns:a16="http://schemas.microsoft.com/office/drawing/2014/main" id="{D2F4D019-A68E-405C-309A-627656FF9498}"/>
                </a:ext>
              </a:extLst>
            </p:cNvPr>
            <p:cNvSpPr txBox="1"/>
            <p:nvPr/>
          </p:nvSpPr>
          <p:spPr>
            <a:xfrm>
              <a:off x="9253778" y="4171049"/>
              <a:ext cx="220308"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NE</a:t>
              </a:r>
            </a:p>
          </p:txBody>
        </p:sp>
        <p:sp>
          <p:nvSpPr>
            <p:cNvPr id="593" name="TextBox 592">
              <a:extLst>
                <a:ext uri="{FF2B5EF4-FFF2-40B4-BE49-F238E27FC236}">
                  <a16:creationId xmlns:a16="http://schemas.microsoft.com/office/drawing/2014/main" id="{729231E3-1E2B-A1C3-A208-A6BC03525A4C}"/>
                </a:ext>
              </a:extLst>
            </p:cNvPr>
            <p:cNvSpPr txBox="1"/>
            <p:nvPr/>
          </p:nvSpPr>
          <p:spPr>
            <a:xfrm>
              <a:off x="9420906" y="4171049"/>
              <a:ext cx="220308"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NE</a:t>
              </a:r>
            </a:p>
          </p:txBody>
        </p:sp>
        <p:sp>
          <p:nvSpPr>
            <p:cNvPr id="594" name="TextBox 593">
              <a:extLst>
                <a:ext uri="{FF2B5EF4-FFF2-40B4-BE49-F238E27FC236}">
                  <a16:creationId xmlns:a16="http://schemas.microsoft.com/office/drawing/2014/main" id="{E7C2C816-0F4B-F31D-0573-3E1896EA2E24}"/>
                </a:ext>
              </a:extLst>
            </p:cNvPr>
            <p:cNvSpPr txBox="1"/>
            <p:nvPr/>
          </p:nvSpPr>
          <p:spPr>
            <a:xfrm>
              <a:off x="9588032" y="4171049"/>
              <a:ext cx="220308"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NE</a:t>
              </a:r>
            </a:p>
          </p:txBody>
        </p:sp>
        <p:sp>
          <p:nvSpPr>
            <p:cNvPr id="595" name="TextBox 594">
              <a:extLst>
                <a:ext uri="{FF2B5EF4-FFF2-40B4-BE49-F238E27FC236}">
                  <a16:creationId xmlns:a16="http://schemas.microsoft.com/office/drawing/2014/main" id="{592C985F-C1A1-116F-108F-BA9E05F9EEAA}"/>
                </a:ext>
              </a:extLst>
            </p:cNvPr>
            <p:cNvSpPr txBox="1"/>
            <p:nvPr/>
          </p:nvSpPr>
          <p:spPr>
            <a:xfrm>
              <a:off x="7274839" y="4171303"/>
              <a:ext cx="169074"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2</a:t>
              </a:r>
            </a:p>
          </p:txBody>
        </p:sp>
        <p:sp>
          <p:nvSpPr>
            <p:cNvPr id="596" name="TextBox 595">
              <a:extLst>
                <a:ext uri="{FF2B5EF4-FFF2-40B4-BE49-F238E27FC236}">
                  <a16:creationId xmlns:a16="http://schemas.microsoft.com/office/drawing/2014/main" id="{67536A88-C9E7-5F97-FED5-6EAC3D75E9BE}"/>
                </a:ext>
              </a:extLst>
            </p:cNvPr>
            <p:cNvSpPr txBox="1"/>
            <p:nvPr/>
          </p:nvSpPr>
          <p:spPr>
            <a:xfrm>
              <a:off x="9755161" y="4171049"/>
              <a:ext cx="220308"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NE</a:t>
              </a:r>
            </a:p>
          </p:txBody>
        </p:sp>
        <p:sp>
          <p:nvSpPr>
            <p:cNvPr id="597" name="TextBox 596">
              <a:extLst>
                <a:ext uri="{FF2B5EF4-FFF2-40B4-BE49-F238E27FC236}">
                  <a16:creationId xmlns:a16="http://schemas.microsoft.com/office/drawing/2014/main" id="{9909CFD5-08D0-4E10-F965-ACB1F0C0FC4A}"/>
                </a:ext>
              </a:extLst>
            </p:cNvPr>
            <p:cNvSpPr txBox="1"/>
            <p:nvPr/>
          </p:nvSpPr>
          <p:spPr>
            <a:xfrm>
              <a:off x="9922286" y="4171049"/>
              <a:ext cx="220308" cy="13901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666" b="0"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NE</a:t>
              </a:r>
            </a:p>
          </p:txBody>
        </p:sp>
      </p:grpSp>
      <p:sp>
        <p:nvSpPr>
          <p:cNvPr id="598" name="TextBox 597">
            <a:extLst>
              <a:ext uri="{FF2B5EF4-FFF2-40B4-BE49-F238E27FC236}">
                <a16:creationId xmlns:a16="http://schemas.microsoft.com/office/drawing/2014/main" id="{4B181314-5B1A-30DE-2877-7DDD6052A652}"/>
              </a:ext>
            </a:extLst>
          </p:cNvPr>
          <p:cNvSpPr txBox="1"/>
          <p:nvPr/>
        </p:nvSpPr>
        <p:spPr>
          <a:xfrm>
            <a:off x="6253738" y="3994429"/>
            <a:ext cx="303288" cy="194797"/>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666" b="1" i="0" u="none" strike="noStrike" kern="1200" cap="none" spc="0" normalizeH="0" baseline="0" noProof="0" dirty="0">
                <a:ln/>
                <a:solidFill>
                  <a:srgbClr val="A1CDFD"/>
                </a:solidFill>
                <a:effectLst/>
                <a:uLnTx/>
                <a:uFillTx/>
                <a:latin typeface="Arial"/>
                <a:ea typeface="MS PGothic" panose="020B0600070205080204" pitchFamily="34" charset="-128"/>
                <a:cs typeface="Arial"/>
                <a:sym typeface="Arial"/>
                <a:rtl val="0"/>
              </a:rPr>
              <a:t>PR</a:t>
            </a:r>
          </a:p>
        </p:txBody>
      </p:sp>
      <p:sp>
        <p:nvSpPr>
          <p:cNvPr id="599" name="Freeform 461">
            <a:extLst>
              <a:ext uri="{FF2B5EF4-FFF2-40B4-BE49-F238E27FC236}">
                <a16:creationId xmlns:a16="http://schemas.microsoft.com/office/drawing/2014/main" id="{0B8E17C5-4385-F5DC-DCE3-892C3BD09D72}"/>
              </a:ext>
            </a:extLst>
          </p:cNvPr>
          <p:cNvSpPr/>
          <p:nvPr/>
        </p:nvSpPr>
        <p:spPr>
          <a:xfrm>
            <a:off x="6853781" y="3341952"/>
            <a:ext cx="254919" cy="17809"/>
          </a:xfrm>
          <a:custGeom>
            <a:avLst/>
            <a:gdLst>
              <a:gd name="csX0" fmla="*/ 0 w 185173"/>
              <a:gd name="csY0" fmla="*/ 0 h 12709"/>
              <a:gd name="csX1" fmla="*/ 185174 w 185173"/>
              <a:gd name="csY1" fmla="*/ 0 h 12709"/>
            </a:gdLst>
            <a:ahLst/>
            <a:cxnLst>
              <a:cxn ang="0">
                <a:pos x="csX0" y="csY0"/>
              </a:cxn>
              <a:cxn ang="0">
                <a:pos x="csX1" y="csY1"/>
              </a:cxn>
            </a:cxnLst>
            <a:rect l="l" t="t" r="r" b="b"/>
            <a:pathLst>
              <a:path w="185173" h="12709">
                <a:moveTo>
                  <a:pt x="0" y="0"/>
                </a:moveTo>
                <a:lnTo>
                  <a:pt x="185174" y="0"/>
                </a:lnTo>
              </a:path>
            </a:pathLst>
          </a:custGeom>
          <a:ln w="19058" cap="flat">
            <a:solidFill>
              <a:schemeClr val="accent2">
                <a:lumMod val="20000"/>
                <a:lumOff val="80000"/>
              </a:schemeClr>
            </a:solidFill>
            <a:prstDash val="sysDash"/>
            <a:miter/>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pic>
        <p:nvPicPr>
          <p:cNvPr id="3" name="Picture 2">
            <a:extLst>
              <a:ext uri="{FF2B5EF4-FFF2-40B4-BE49-F238E27FC236}">
                <a16:creationId xmlns:a16="http://schemas.microsoft.com/office/drawing/2014/main" id="{9167E564-8BA6-2E3C-5214-17E86583D022}"/>
              </a:ext>
            </a:extLst>
          </p:cNvPr>
          <p:cNvPicPr>
            <a:picLocks noChangeAspect="1"/>
          </p:cNvPicPr>
          <p:nvPr/>
        </p:nvPicPr>
        <p:blipFill>
          <a:blip r:embed="rId3"/>
          <a:stretch>
            <a:fillRect/>
          </a:stretch>
        </p:blipFill>
        <p:spPr>
          <a:xfrm>
            <a:off x="0" y="80858"/>
            <a:ext cx="12057321" cy="6622313"/>
          </a:xfrm>
          <a:prstGeom prst="rect">
            <a:avLst/>
          </a:prstGeom>
        </p:spPr>
      </p:pic>
      <p:sp>
        <p:nvSpPr>
          <p:cNvPr id="5" name="TextBox 4">
            <a:extLst>
              <a:ext uri="{FF2B5EF4-FFF2-40B4-BE49-F238E27FC236}">
                <a16:creationId xmlns:a16="http://schemas.microsoft.com/office/drawing/2014/main" id="{B040260C-54B5-A9EB-DD55-248CCDCF6D49}"/>
              </a:ext>
            </a:extLst>
          </p:cNvPr>
          <p:cNvSpPr txBox="1"/>
          <p:nvPr/>
        </p:nvSpPr>
        <p:spPr>
          <a:xfrm>
            <a:off x="9514400" y="6442700"/>
            <a:ext cx="2407903" cy="338554"/>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544F4F">
                    <a:lumMod val="50000"/>
                  </a:srgbClr>
                </a:solidFill>
                <a:effectLst/>
                <a:uLnTx/>
                <a:uFillTx/>
                <a:latin typeface="Arial" panose="020B0604020202020204"/>
                <a:ea typeface="MS PGothic" panose="020B0600070205080204" pitchFamily="34" charset="-128"/>
                <a:cs typeface="+mn-cs"/>
              </a:rPr>
              <a:t>Karimi et al. ASCO 2026</a:t>
            </a:r>
          </a:p>
        </p:txBody>
      </p:sp>
    </p:spTree>
    <p:extLst>
      <p:ext uri="{BB962C8B-B14F-4D97-AF65-F5344CB8AC3E}">
        <p14:creationId xmlns:p14="http://schemas.microsoft.com/office/powerpoint/2010/main" val="37873797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D97CE2-96B0-0F25-BE4F-D577D85AB66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1C64079-2A08-4DA5-0463-9BA7E0CC3AC2}"/>
              </a:ext>
            </a:extLst>
          </p:cNvPr>
          <p:cNvSpPr>
            <a:spLocks noGrp="1"/>
          </p:cNvSpPr>
          <p:nvPr>
            <p:ph type="title"/>
          </p:nvPr>
        </p:nvSpPr>
        <p:spPr>
          <a:xfrm>
            <a:off x="530039" y="242908"/>
            <a:ext cx="8243832" cy="906972"/>
          </a:xfrm>
        </p:spPr>
        <p:txBody>
          <a:bodyPr/>
          <a:lstStyle/>
          <a:p>
            <a:r>
              <a:rPr lang="en-GB" dirty="0"/>
              <a:t>B-cell depletion and recovery </a:t>
            </a:r>
          </a:p>
        </p:txBody>
      </p:sp>
      <p:sp>
        <p:nvSpPr>
          <p:cNvPr id="4" name="Text Placeholder 3">
            <a:extLst>
              <a:ext uri="{FF2B5EF4-FFF2-40B4-BE49-F238E27FC236}">
                <a16:creationId xmlns:a16="http://schemas.microsoft.com/office/drawing/2014/main" id="{75722A5E-C20D-C2CA-502D-B2B9A3F5A528}"/>
              </a:ext>
            </a:extLst>
          </p:cNvPr>
          <p:cNvSpPr>
            <a:spLocks noGrp="1"/>
          </p:cNvSpPr>
          <p:nvPr>
            <p:ph type="body" sz="quarter" idx="11"/>
          </p:nvPr>
        </p:nvSpPr>
        <p:spPr>
          <a:xfrm>
            <a:off x="528766" y="6285635"/>
            <a:ext cx="8243832" cy="332981"/>
          </a:xfrm>
        </p:spPr>
        <p:txBody>
          <a:bodyPr/>
          <a:lstStyle/>
          <a:p>
            <a:pPr>
              <a:spcAft>
                <a:spcPts val="0"/>
              </a:spcAft>
            </a:pPr>
            <a:r>
              <a:rPr lang="en-GB" sz="933" dirty="0"/>
              <a:t>Patients who completed 12 cycles of treatment and did not have progressive metabolic disease at EOT were included in this analysis. Samples occurring within 45 days of a progression event were excluded. Only serious infections were systematically collected beyond the 90-day AE reporting period.</a:t>
            </a:r>
          </a:p>
          <a:p>
            <a:pPr>
              <a:spcAft>
                <a:spcPts val="0"/>
              </a:spcAft>
            </a:pPr>
            <a:r>
              <a:rPr lang="en-GB" sz="933" dirty="0"/>
              <a:t>LLN, lower limit of normal; mo, months; ULN, upper limit of normal.</a:t>
            </a:r>
          </a:p>
        </p:txBody>
      </p:sp>
      <p:sp>
        <p:nvSpPr>
          <p:cNvPr id="25" name="Rounded Rectangle 2015">
            <a:extLst>
              <a:ext uri="{FF2B5EF4-FFF2-40B4-BE49-F238E27FC236}">
                <a16:creationId xmlns:a16="http://schemas.microsoft.com/office/drawing/2014/main" id="{A4F3E3A4-DBA0-731A-064E-3341F052F6A2}"/>
              </a:ext>
            </a:extLst>
          </p:cNvPr>
          <p:cNvSpPr/>
          <p:nvPr/>
        </p:nvSpPr>
        <p:spPr>
          <a:xfrm>
            <a:off x="539352" y="5386109"/>
            <a:ext cx="11134463" cy="690987"/>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6923" rtl="0" eaLnBrk="1" fontAlgn="base" latinLnBrk="0" hangingPunct="1">
              <a:lnSpc>
                <a:spcPct val="100000"/>
              </a:lnSpc>
              <a:spcBef>
                <a:spcPct val="0"/>
              </a:spcBef>
              <a:spcAft>
                <a:spcPct val="0"/>
              </a:spcAft>
              <a:buClrTx/>
              <a:buSzTx/>
              <a:buFontTx/>
              <a:buNone/>
              <a:tabLst/>
              <a:defRPr/>
            </a:pPr>
            <a:r>
              <a:rPr kumimoji="0" lang="en-GB" sz="1866" b="0" i="0" u="none" strike="noStrike" kern="1200" cap="none" spc="0" normalizeH="0" baseline="0" noProof="0" dirty="0">
                <a:ln>
                  <a:noFill/>
                </a:ln>
                <a:solidFill>
                  <a:srgbClr val="FFFFFF"/>
                </a:solidFill>
                <a:effectLst/>
                <a:uLnTx/>
                <a:uFillTx/>
                <a:latin typeface="Arial" panose="020B0604020202020204"/>
                <a:ea typeface="+mn-ea"/>
                <a:cs typeface="+mn-cs"/>
              </a:rPr>
              <a:t>Peripheral B-cell depletion was rapid and sustained after treatment initiation. </a:t>
            </a:r>
            <a:br>
              <a:rPr kumimoji="0" lang="en-GB" sz="1866"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GB" sz="1866" b="0" i="0" u="none" strike="noStrike" kern="1200" cap="none" spc="0" normalizeH="0" baseline="0" noProof="0" dirty="0">
                <a:ln>
                  <a:noFill/>
                </a:ln>
                <a:solidFill>
                  <a:srgbClr val="FFFFFF"/>
                </a:solidFill>
                <a:effectLst/>
                <a:uLnTx/>
                <a:uFillTx/>
                <a:latin typeface="Arial" panose="020B0604020202020204"/>
                <a:ea typeface="+mn-ea"/>
                <a:cs typeface="+mn-cs"/>
              </a:rPr>
              <a:t>Recovery above the lower limit of normal was observed 12–18 months post EOT</a:t>
            </a:r>
          </a:p>
        </p:txBody>
      </p:sp>
      <p:grpSp>
        <p:nvGrpSpPr>
          <p:cNvPr id="6" name="Group 5">
            <a:extLst>
              <a:ext uri="{FF2B5EF4-FFF2-40B4-BE49-F238E27FC236}">
                <a16:creationId xmlns:a16="http://schemas.microsoft.com/office/drawing/2014/main" id="{4EF637B1-EDFB-2361-B966-58E2922214DC}"/>
              </a:ext>
            </a:extLst>
          </p:cNvPr>
          <p:cNvGrpSpPr/>
          <p:nvPr/>
        </p:nvGrpSpPr>
        <p:grpSpPr>
          <a:xfrm>
            <a:off x="1624346" y="1497151"/>
            <a:ext cx="9180662" cy="3754064"/>
            <a:chOff x="1217224" y="1123210"/>
            <a:chExt cx="6887622" cy="2816417"/>
          </a:xfrm>
        </p:grpSpPr>
        <p:grpSp>
          <p:nvGrpSpPr>
            <p:cNvPr id="109" name="Group 108">
              <a:extLst>
                <a:ext uri="{FF2B5EF4-FFF2-40B4-BE49-F238E27FC236}">
                  <a16:creationId xmlns:a16="http://schemas.microsoft.com/office/drawing/2014/main" id="{644BA722-D8C5-43D9-08DA-A2E16FE8593F}"/>
                </a:ext>
              </a:extLst>
            </p:cNvPr>
            <p:cNvGrpSpPr/>
            <p:nvPr/>
          </p:nvGrpSpPr>
          <p:grpSpPr>
            <a:xfrm>
              <a:off x="1217224" y="1123210"/>
              <a:ext cx="6887622" cy="2816417"/>
              <a:chOff x="1604204" y="1138440"/>
              <a:chExt cx="6887622" cy="2816417"/>
            </a:xfrm>
          </p:grpSpPr>
          <p:grpSp>
            <p:nvGrpSpPr>
              <p:cNvPr id="110" name="Graphic 4">
                <a:extLst>
                  <a:ext uri="{FF2B5EF4-FFF2-40B4-BE49-F238E27FC236}">
                    <a16:creationId xmlns:a16="http://schemas.microsoft.com/office/drawing/2014/main" id="{B2D5CB2D-B93F-DBBE-099F-52B58FDD1DA4}"/>
                  </a:ext>
                </a:extLst>
              </p:cNvPr>
              <p:cNvGrpSpPr/>
              <p:nvPr/>
            </p:nvGrpSpPr>
            <p:grpSpPr>
              <a:xfrm>
                <a:off x="3457940" y="3776751"/>
                <a:ext cx="3642122" cy="45719"/>
                <a:chOff x="5311322" y="5013211"/>
                <a:chExt cx="3642122" cy="45719"/>
              </a:xfrm>
              <a:solidFill>
                <a:srgbClr val="0B41CD"/>
              </a:solidFill>
            </p:grpSpPr>
            <p:sp>
              <p:nvSpPr>
                <p:cNvPr id="198" name="Freeform 197">
                  <a:extLst>
                    <a:ext uri="{FF2B5EF4-FFF2-40B4-BE49-F238E27FC236}">
                      <a16:creationId xmlns:a16="http://schemas.microsoft.com/office/drawing/2014/main" id="{4A9CF7D2-6CD3-A429-04A8-DC54A61E9B5F}"/>
                    </a:ext>
                  </a:extLst>
                </p:cNvPr>
                <p:cNvSpPr/>
                <p:nvPr/>
              </p:nvSpPr>
              <p:spPr>
                <a:xfrm>
                  <a:off x="5311322" y="5045004"/>
                  <a:ext cx="127" cy="12664"/>
                </a:xfrm>
                <a:custGeom>
                  <a:avLst/>
                  <a:gdLst>
                    <a:gd name="csX0" fmla="*/ 0 w 127"/>
                    <a:gd name="csY0" fmla="*/ 0 h 12664"/>
                    <a:gd name="csX1" fmla="*/ 127 w 127"/>
                    <a:gd name="csY1" fmla="*/ 0 h 12664"/>
                  </a:gdLst>
                  <a:ahLst/>
                  <a:cxnLst>
                    <a:cxn ang="0">
                      <a:pos x="csX0" y="csY0"/>
                    </a:cxn>
                    <a:cxn ang="0">
                      <a:pos x="csX1" y="csY1"/>
                    </a:cxn>
                  </a:cxnLst>
                  <a:rect l="l" t="t" r="r" b="b"/>
                  <a:pathLst>
                    <a:path w="127" h="12664">
                      <a:moveTo>
                        <a:pt x="0" y="0"/>
                      </a:moveTo>
                      <a:lnTo>
                        <a:pt x="127" y="0"/>
                      </a:lnTo>
                    </a:path>
                  </a:pathLst>
                </a:custGeom>
                <a:ln w="12700" cap="flat">
                  <a:solidFill>
                    <a:srgbClr val="0B41CD"/>
                  </a:solidFill>
                  <a:custDash>
                    <a:ds d="0" sp="0"/>
                  </a:custDash>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99" name="Freeform 198">
                  <a:extLst>
                    <a:ext uri="{FF2B5EF4-FFF2-40B4-BE49-F238E27FC236}">
                      <a16:creationId xmlns:a16="http://schemas.microsoft.com/office/drawing/2014/main" id="{2D1A18C4-94D7-26DE-B6E1-4B197279E52A}"/>
                    </a:ext>
                  </a:extLst>
                </p:cNvPr>
                <p:cNvSpPr/>
                <p:nvPr/>
              </p:nvSpPr>
              <p:spPr>
                <a:xfrm flipV="1">
                  <a:off x="5971686" y="5013211"/>
                  <a:ext cx="2981758" cy="45719"/>
                </a:xfrm>
                <a:custGeom>
                  <a:avLst/>
                  <a:gdLst>
                    <a:gd name="csX0" fmla="*/ 0 w 3641995"/>
                    <a:gd name="csY0" fmla="*/ 0 h 12664"/>
                    <a:gd name="csX1" fmla="*/ 3641996 w 3641995"/>
                    <a:gd name="csY1" fmla="*/ 0 h 12664"/>
                  </a:gdLst>
                  <a:ahLst/>
                  <a:cxnLst>
                    <a:cxn ang="0">
                      <a:pos x="csX0" y="csY0"/>
                    </a:cxn>
                    <a:cxn ang="0">
                      <a:pos x="csX1" y="csY1"/>
                    </a:cxn>
                  </a:cxnLst>
                  <a:rect l="l" t="t" r="r" b="b"/>
                  <a:pathLst>
                    <a:path w="3641995" h="12664">
                      <a:moveTo>
                        <a:pt x="0" y="0"/>
                      </a:moveTo>
                      <a:lnTo>
                        <a:pt x="3641996" y="0"/>
                      </a:lnTo>
                    </a:path>
                  </a:pathLst>
                </a:custGeom>
                <a:ln w="12700" cap="flat">
                  <a:solidFill>
                    <a:srgbClr val="0B41CD"/>
                  </a:solidFill>
                  <a:custDash>
                    <a:ds d="224250" sp="223500"/>
                    <a:ds d="0" sp="0"/>
                  </a:custDash>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grpSp>
          <p:sp>
            <p:nvSpPr>
              <p:cNvPr id="112" name="Freeform 111">
                <a:extLst>
                  <a:ext uri="{FF2B5EF4-FFF2-40B4-BE49-F238E27FC236}">
                    <a16:creationId xmlns:a16="http://schemas.microsoft.com/office/drawing/2014/main" id="{DAEB4336-6412-0B0A-C53B-86B627214B2A}"/>
                  </a:ext>
                </a:extLst>
              </p:cNvPr>
              <p:cNvSpPr/>
              <p:nvPr/>
            </p:nvSpPr>
            <p:spPr>
              <a:xfrm>
                <a:off x="2102353" y="1138440"/>
                <a:ext cx="5216696" cy="2250668"/>
              </a:xfrm>
              <a:custGeom>
                <a:avLst/>
                <a:gdLst>
                  <a:gd name="csX0" fmla="*/ 5216697 w 5216696"/>
                  <a:gd name="csY0" fmla="*/ 2250669 h 2250668"/>
                  <a:gd name="csX1" fmla="*/ 0 w 5216696"/>
                  <a:gd name="csY1" fmla="*/ 2250669 h 2250668"/>
                  <a:gd name="csX2" fmla="*/ 0 w 5216696"/>
                  <a:gd name="csY2" fmla="*/ 0 h 2250668"/>
                </a:gdLst>
                <a:ahLst/>
                <a:cxnLst>
                  <a:cxn ang="0">
                    <a:pos x="csX0" y="csY0"/>
                  </a:cxn>
                  <a:cxn ang="0">
                    <a:pos x="csX1" y="csY1"/>
                  </a:cxn>
                  <a:cxn ang="0">
                    <a:pos x="csX2" y="csY2"/>
                  </a:cxn>
                </a:cxnLst>
                <a:rect l="l" t="t" r="r" b="b"/>
                <a:pathLst>
                  <a:path w="5216696" h="2250668">
                    <a:moveTo>
                      <a:pt x="5216697" y="2250669"/>
                    </a:moveTo>
                    <a:lnTo>
                      <a:pt x="0" y="2250669"/>
                    </a:lnTo>
                    <a:lnTo>
                      <a:pt x="0" y="0"/>
                    </a:lnTo>
                  </a:path>
                </a:pathLst>
              </a:custGeom>
              <a:noFill/>
              <a:ln w="12700"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13" name="Freeform 112">
                <a:extLst>
                  <a:ext uri="{FF2B5EF4-FFF2-40B4-BE49-F238E27FC236}">
                    <a16:creationId xmlns:a16="http://schemas.microsoft.com/office/drawing/2014/main" id="{5487CDCA-E0DA-C4C4-F58C-E3A1D43D5B2C}"/>
                  </a:ext>
                </a:extLst>
              </p:cNvPr>
              <p:cNvSpPr/>
              <p:nvPr/>
            </p:nvSpPr>
            <p:spPr>
              <a:xfrm>
                <a:off x="2102353" y="1586243"/>
                <a:ext cx="5216696" cy="12664"/>
              </a:xfrm>
              <a:custGeom>
                <a:avLst/>
                <a:gdLst>
                  <a:gd name="csX0" fmla="*/ 0 w 5216696"/>
                  <a:gd name="csY0" fmla="*/ 0 h 12664"/>
                  <a:gd name="csX1" fmla="*/ 5216697 w 5216696"/>
                  <a:gd name="csY1" fmla="*/ 0 h 12664"/>
                </a:gdLst>
                <a:ahLst/>
                <a:cxnLst>
                  <a:cxn ang="0">
                    <a:pos x="csX0" y="csY0"/>
                  </a:cxn>
                  <a:cxn ang="0">
                    <a:pos x="csX1" y="csY1"/>
                  </a:cxn>
                </a:cxnLst>
                <a:rect l="l" t="t" r="r" b="b"/>
                <a:pathLst>
                  <a:path w="5216696" h="12664">
                    <a:moveTo>
                      <a:pt x="0" y="0"/>
                    </a:moveTo>
                    <a:lnTo>
                      <a:pt x="5216697" y="0"/>
                    </a:lnTo>
                  </a:path>
                </a:pathLst>
              </a:custGeom>
              <a:ln w="12700" cap="flat">
                <a:solidFill>
                  <a:srgbClr val="000000"/>
                </a:solidFill>
                <a:custDash>
                  <a:ds d="225000" sp="150000"/>
                </a:custDash>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14" name="Freeform 113">
                <a:extLst>
                  <a:ext uri="{FF2B5EF4-FFF2-40B4-BE49-F238E27FC236}">
                    <a16:creationId xmlns:a16="http://schemas.microsoft.com/office/drawing/2014/main" id="{FAB182B5-9D70-D4DE-5CAC-970269D5D9DD}"/>
                  </a:ext>
                </a:extLst>
              </p:cNvPr>
              <p:cNvSpPr/>
              <p:nvPr/>
            </p:nvSpPr>
            <p:spPr>
              <a:xfrm>
                <a:off x="2102353" y="3047557"/>
                <a:ext cx="5216696" cy="12664"/>
              </a:xfrm>
              <a:custGeom>
                <a:avLst/>
                <a:gdLst>
                  <a:gd name="csX0" fmla="*/ 0 w 5216696"/>
                  <a:gd name="csY0" fmla="*/ 0 h 12664"/>
                  <a:gd name="csX1" fmla="*/ 5216697 w 5216696"/>
                  <a:gd name="csY1" fmla="*/ 0 h 12664"/>
                </a:gdLst>
                <a:ahLst/>
                <a:cxnLst>
                  <a:cxn ang="0">
                    <a:pos x="csX0" y="csY0"/>
                  </a:cxn>
                  <a:cxn ang="0">
                    <a:pos x="csX1" y="csY1"/>
                  </a:cxn>
                </a:cxnLst>
                <a:rect l="l" t="t" r="r" b="b"/>
                <a:pathLst>
                  <a:path w="5216696" h="12664">
                    <a:moveTo>
                      <a:pt x="0" y="0"/>
                    </a:moveTo>
                    <a:lnTo>
                      <a:pt x="5216697" y="0"/>
                    </a:lnTo>
                  </a:path>
                </a:pathLst>
              </a:custGeom>
              <a:ln w="12700" cap="flat">
                <a:solidFill>
                  <a:srgbClr val="000000"/>
                </a:solidFill>
                <a:custDash>
                  <a:ds d="225000" sp="150000"/>
                </a:custDash>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15" name="TextBox 114">
                <a:extLst>
                  <a:ext uri="{FF2B5EF4-FFF2-40B4-BE49-F238E27FC236}">
                    <a16:creationId xmlns:a16="http://schemas.microsoft.com/office/drawing/2014/main" id="{5D09C3C5-C906-CB75-9322-59DFA18B0B3B}"/>
                  </a:ext>
                </a:extLst>
              </p:cNvPr>
              <p:cNvSpPr txBox="1"/>
              <p:nvPr/>
            </p:nvSpPr>
            <p:spPr>
              <a:xfrm rot="16200000">
                <a:off x="926742" y="2152036"/>
                <a:ext cx="1578083" cy="223159"/>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CD19+ B–cells (cells/µl)</a:t>
                </a:r>
              </a:p>
            </p:txBody>
          </p:sp>
          <p:grpSp>
            <p:nvGrpSpPr>
              <p:cNvPr id="116" name="Graphic 4">
                <a:extLst>
                  <a:ext uri="{FF2B5EF4-FFF2-40B4-BE49-F238E27FC236}">
                    <a16:creationId xmlns:a16="http://schemas.microsoft.com/office/drawing/2014/main" id="{0C390E76-B812-8F3D-05D8-3AC1234FE28F}"/>
                  </a:ext>
                </a:extLst>
              </p:cNvPr>
              <p:cNvGrpSpPr/>
              <p:nvPr/>
            </p:nvGrpSpPr>
            <p:grpSpPr>
              <a:xfrm>
                <a:off x="2066279" y="1243425"/>
                <a:ext cx="36074" cy="2042976"/>
                <a:chOff x="3919661" y="2479885"/>
                <a:chExt cx="36074" cy="2042976"/>
              </a:xfrm>
            </p:grpSpPr>
            <p:sp>
              <p:nvSpPr>
                <p:cNvPr id="193" name="Freeform 192">
                  <a:extLst>
                    <a:ext uri="{FF2B5EF4-FFF2-40B4-BE49-F238E27FC236}">
                      <a16:creationId xmlns:a16="http://schemas.microsoft.com/office/drawing/2014/main" id="{30E78BFF-ECB4-CDE3-9EEE-6E1C301FF8B4}"/>
                    </a:ext>
                  </a:extLst>
                </p:cNvPr>
                <p:cNvSpPr/>
                <p:nvPr/>
              </p:nvSpPr>
              <p:spPr>
                <a:xfrm>
                  <a:off x="3919661" y="2479885"/>
                  <a:ext cx="36074" cy="12664"/>
                </a:xfrm>
                <a:custGeom>
                  <a:avLst/>
                  <a:gdLst>
                    <a:gd name="csX0" fmla="*/ 0 w 36074"/>
                    <a:gd name="csY0" fmla="*/ 0 h 12664"/>
                    <a:gd name="csX1" fmla="*/ 36074 w 36074"/>
                    <a:gd name="csY1" fmla="*/ 0 h 12664"/>
                  </a:gdLst>
                  <a:ahLst/>
                  <a:cxnLst>
                    <a:cxn ang="0">
                      <a:pos x="csX0" y="csY0"/>
                    </a:cxn>
                    <a:cxn ang="0">
                      <a:pos x="csX1" y="csY1"/>
                    </a:cxn>
                  </a:cxnLst>
                  <a:rect l="l" t="t" r="r" b="b"/>
                  <a:pathLst>
                    <a:path w="36074" h="12664">
                      <a:moveTo>
                        <a:pt x="0" y="0"/>
                      </a:moveTo>
                      <a:lnTo>
                        <a:pt x="36074" y="0"/>
                      </a:lnTo>
                    </a:path>
                  </a:pathLst>
                </a:custGeom>
                <a:ln w="12700"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94" name="Freeform 193">
                  <a:extLst>
                    <a:ext uri="{FF2B5EF4-FFF2-40B4-BE49-F238E27FC236}">
                      <a16:creationId xmlns:a16="http://schemas.microsoft.com/office/drawing/2014/main" id="{736F9DB6-74D1-2FDA-9386-CC591FFC7768}"/>
                    </a:ext>
                  </a:extLst>
                </p:cNvPr>
                <p:cNvSpPr/>
                <p:nvPr/>
              </p:nvSpPr>
              <p:spPr>
                <a:xfrm>
                  <a:off x="3919661" y="3160962"/>
                  <a:ext cx="36074" cy="12664"/>
                </a:xfrm>
                <a:custGeom>
                  <a:avLst/>
                  <a:gdLst>
                    <a:gd name="csX0" fmla="*/ 0 w 36074"/>
                    <a:gd name="csY0" fmla="*/ 0 h 12664"/>
                    <a:gd name="csX1" fmla="*/ 36074 w 36074"/>
                    <a:gd name="csY1" fmla="*/ 0 h 12664"/>
                  </a:gdLst>
                  <a:ahLst/>
                  <a:cxnLst>
                    <a:cxn ang="0">
                      <a:pos x="csX0" y="csY0"/>
                    </a:cxn>
                    <a:cxn ang="0">
                      <a:pos x="csX1" y="csY1"/>
                    </a:cxn>
                  </a:cxnLst>
                  <a:rect l="l" t="t" r="r" b="b"/>
                  <a:pathLst>
                    <a:path w="36074" h="12664">
                      <a:moveTo>
                        <a:pt x="0" y="0"/>
                      </a:moveTo>
                      <a:lnTo>
                        <a:pt x="36074" y="0"/>
                      </a:lnTo>
                    </a:path>
                  </a:pathLst>
                </a:custGeom>
                <a:ln w="12700"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95" name="Freeform 194">
                  <a:extLst>
                    <a:ext uri="{FF2B5EF4-FFF2-40B4-BE49-F238E27FC236}">
                      <a16:creationId xmlns:a16="http://schemas.microsoft.com/office/drawing/2014/main" id="{226A9F6E-5E6C-B835-E2BE-0851185AC20C}"/>
                    </a:ext>
                  </a:extLst>
                </p:cNvPr>
                <p:cNvSpPr/>
                <p:nvPr/>
              </p:nvSpPr>
              <p:spPr>
                <a:xfrm>
                  <a:off x="3919661" y="3841912"/>
                  <a:ext cx="36074" cy="12664"/>
                </a:xfrm>
                <a:custGeom>
                  <a:avLst/>
                  <a:gdLst>
                    <a:gd name="csX0" fmla="*/ 0 w 36074"/>
                    <a:gd name="csY0" fmla="*/ 0 h 12664"/>
                    <a:gd name="csX1" fmla="*/ 36074 w 36074"/>
                    <a:gd name="csY1" fmla="*/ 0 h 12664"/>
                  </a:gdLst>
                  <a:ahLst/>
                  <a:cxnLst>
                    <a:cxn ang="0">
                      <a:pos x="csX0" y="csY0"/>
                    </a:cxn>
                    <a:cxn ang="0">
                      <a:pos x="csX1" y="csY1"/>
                    </a:cxn>
                  </a:cxnLst>
                  <a:rect l="l" t="t" r="r" b="b"/>
                  <a:pathLst>
                    <a:path w="36074" h="12664">
                      <a:moveTo>
                        <a:pt x="0" y="0"/>
                      </a:moveTo>
                      <a:lnTo>
                        <a:pt x="36074" y="0"/>
                      </a:lnTo>
                    </a:path>
                  </a:pathLst>
                </a:custGeom>
                <a:ln w="12700"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96" name="Freeform 195">
                  <a:extLst>
                    <a:ext uri="{FF2B5EF4-FFF2-40B4-BE49-F238E27FC236}">
                      <a16:creationId xmlns:a16="http://schemas.microsoft.com/office/drawing/2014/main" id="{560A186B-6826-833B-72B6-AC063AAE6D71}"/>
                    </a:ext>
                  </a:extLst>
                </p:cNvPr>
                <p:cNvSpPr/>
                <p:nvPr/>
              </p:nvSpPr>
              <p:spPr>
                <a:xfrm>
                  <a:off x="3919661" y="4522862"/>
                  <a:ext cx="36074" cy="12664"/>
                </a:xfrm>
                <a:custGeom>
                  <a:avLst/>
                  <a:gdLst>
                    <a:gd name="csX0" fmla="*/ 0 w 36074"/>
                    <a:gd name="csY0" fmla="*/ 0 h 12664"/>
                    <a:gd name="csX1" fmla="*/ 36074 w 36074"/>
                    <a:gd name="csY1" fmla="*/ 0 h 12664"/>
                  </a:gdLst>
                  <a:ahLst/>
                  <a:cxnLst>
                    <a:cxn ang="0">
                      <a:pos x="csX0" y="csY0"/>
                    </a:cxn>
                    <a:cxn ang="0">
                      <a:pos x="csX1" y="csY1"/>
                    </a:cxn>
                  </a:cxnLst>
                  <a:rect l="l" t="t" r="r" b="b"/>
                  <a:pathLst>
                    <a:path w="36074" h="12664">
                      <a:moveTo>
                        <a:pt x="0" y="0"/>
                      </a:moveTo>
                      <a:lnTo>
                        <a:pt x="36074" y="0"/>
                      </a:lnTo>
                    </a:path>
                  </a:pathLst>
                </a:custGeom>
                <a:ln w="12700"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17" name="Graphic 4">
                <a:extLst>
                  <a:ext uri="{FF2B5EF4-FFF2-40B4-BE49-F238E27FC236}">
                    <a16:creationId xmlns:a16="http://schemas.microsoft.com/office/drawing/2014/main" id="{A8D0280F-9991-1731-F2FE-41B07F0E0D27}"/>
                  </a:ext>
                </a:extLst>
              </p:cNvPr>
              <p:cNvGrpSpPr/>
              <p:nvPr/>
            </p:nvGrpSpPr>
            <p:grpSpPr>
              <a:xfrm>
                <a:off x="1846905" y="1148734"/>
                <a:ext cx="290072" cy="2220081"/>
                <a:chOff x="3700287" y="2385194"/>
                <a:chExt cx="290072" cy="2220081"/>
              </a:xfrm>
              <a:solidFill>
                <a:srgbClr val="000000"/>
              </a:solidFill>
            </p:grpSpPr>
            <p:sp>
              <p:nvSpPr>
                <p:cNvPr id="189" name="TextBox 188">
                  <a:extLst>
                    <a:ext uri="{FF2B5EF4-FFF2-40B4-BE49-F238E27FC236}">
                      <a16:creationId xmlns:a16="http://schemas.microsoft.com/office/drawing/2014/main" id="{B7948758-DC2B-DCE0-1BB6-5B907B90C640}"/>
                    </a:ext>
                  </a:extLst>
                </p:cNvPr>
                <p:cNvSpPr txBox="1"/>
                <p:nvPr/>
              </p:nvSpPr>
              <p:spPr>
                <a:xfrm>
                  <a:off x="3700287" y="2385194"/>
                  <a:ext cx="290072" cy="176978"/>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600</a:t>
                  </a:r>
                </a:p>
              </p:txBody>
            </p:sp>
            <p:sp>
              <p:nvSpPr>
                <p:cNvPr id="190" name="TextBox 189">
                  <a:extLst>
                    <a:ext uri="{FF2B5EF4-FFF2-40B4-BE49-F238E27FC236}">
                      <a16:creationId xmlns:a16="http://schemas.microsoft.com/office/drawing/2014/main" id="{6A92827E-29CD-08FC-9E4A-80BFC8D9BADA}"/>
                    </a:ext>
                  </a:extLst>
                </p:cNvPr>
                <p:cNvSpPr txBox="1"/>
                <p:nvPr/>
              </p:nvSpPr>
              <p:spPr>
                <a:xfrm>
                  <a:off x="3700287" y="3055253"/>
                  <a:ext cx="290072" cy="176978"/>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S PGothic" panose="020B0600070205080204" pitchFamily="34" charset="-128"/>
                      <a:cs typeface="Arial"/>
                      <a:sym typeface="Arial"/>
                      <a:rtl val="0"/>
                    </a:rPr>
                    <a:t>400</a:t>
                  </a:r>
                </a:p>
              </p:txBody>
            </p:sp>
            <p:sp>
              <p:nvSpPr>
                <p:cNvPr id="191" name="TextBox 190">
                  <a:extLst>
                    <a:ext uri="{FF2B5EF4-FFF2-40B4-BE49-F238E27FC236}">
                      <a16:creationId xmlns:a16="http://schemas.microsoft.com/office/drawing/2014/main" id="{7049415C-E8F8-93A9-1723-942BDD91B5A2}"/>
                    </a:ext>
                  </a:extLst>
                </p:cNvPr>
                <p:cNvSpPr txBox="1"/>
                <p:nvPr/>
              </p:nvSpPr>
              <p:spPr>
                <a:xfrm>
                  <a:off x="3700287" y="3736203"/>
                  <a:ext cx="290072" cy="176978"/>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S PGothic" panose="020B0600070205080204" pitchFamily="34" charset="-128"/>
                      <a:cs typeface="Arial"/>
                      <a:sym typeface="Arial"/>
                      <a:rtl val="0"/>
                    </a:rPr>
                    <a:t>200</a:t>
                  </a:r>
                </a:p>
              </p:txBody>
            </p:sp>
            <p:sp>
              <p:nvSpPr>
                <p:cNvPr id="192" name="TextBox 191">
                  <a:extLst>
                    <a:ext uri="{FF2B5EF4-FFF2-40B4-BE49-F238E27FC236}">
                      <a16:creationId xmlns:a16="http://schemas.microsoft.com/office/drawing/2014/main" id="{DEC4DBDB-2FF7-789D-6EC4-D75997A92B37}"/>
                    </a:ext>
                  </a:extLst>
                </p:cNvPr>
                <p:cNvSpPr txBox="1"/>
                <p:nvPr/>
              </p:nvSpPr>
              <p:spPr>
                <a:xfrm>
                  <a:off x="3800871" y="4428297"/>
                  <a:ext cx="189052" cy="176978"/>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S PGothic" panose="020B0600070205080204" pitchFamily="34" charset="-128"/>
                      <a:cs typeface="Arial"/>
                      <a:sym typeface="Arial"/>
                      <a:rtl val="0"/>
                    </a:rPr>
                    <a:t>0</a:t>
                  </a:r>
                </a:p>
              </p:txBody>
            </p:sp>
          </p:grpSp>
          <p:sp>
            <p:nvSpPr>
              <p:cNvPr id="118" name="TextBox 117">
                <a:extLst>
                  <a:ext uri="{FF2B5EF4-FFF2-40B4-BE49-F238E27FC236}">
                    <a16:creationId xmlns:a16="http://schemas.microsoft.com/office/drawing/2014/main" id="{69310030-3E03-517C-D322-16912D417ABA}"/>
                  </a:ext>
                </a:extLst>
              </p:cNvPr>
              <p:cNvSpPr txBox="1"/>
              <p:nvPr/>
            </p:nvSpPr>
            <p:spPr>
              <a:xfrm>
                <a:off x="2232715" y="3690037"/>
                <a:ext cx="338177" cy="207813"/>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solidFill>
                      <a:srgbClr val="000000"/>
                    </a:solidFill>
                    <a:effectLst/>
                    <a:uLnTx/>
                    <a:uFillTx/>
                    <a:latin typeface="Arial"/>
                    <a:ea typeface="MS PGothic" panose="020B0600070205080204" pitchFamily="34" charset="-128"/>
                    <a:cs typeface="Arial"/>
                    <a:sym typeface="Arial"/>
                    <a:rtl val="0"/>
                  </a:rPr>
                  <a:t>Gpt</a:t>
                </a:r>
                <a:endParaRPr kumimoji="0" lang="en-US" sz="1200"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endParaRPr>
              </a:p>
            </p:txBody>
          </p:sp>
          <p:sp>
            <p:nvSpPr>
              <p:cNvPr id="119" name="TextBox 118">
                <a:extLst>
                  <a:ext uri="{FF2B5EF4-FFF2-40B4-BE49-F238E27FC236}">
                    <a16:creationId xmlns:a16="http://schemas.microsoft.com/office/drawing/2014/main" id="{4D76EED9-2D55-ACC7-1DDB-DAE8FCAF1863}"/>
                  </a:ext>
                </a:extLst>
              </p:cNvPr>
              <p:cNvSpPr txBox="1"/>
              <p:nvPr/>
            </p:nvSpPr>
            <p:spPr>
              <a:xfrm>
                <a:off x="3218693" y="3697176"/>
                <a:ext cx="945502" cy="207813"/>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Post treatment</a:t>
                </a:r>
              </a:p>
            </p:txBody>
          </p:sp>
          <p:sp>
            <p:nvSpPr>
              <p:cNvPr id="120" name="TextBox 119">
                <a:extLst>
                  <a:ext uri="{FF2B5EF4-FFF2-40B4-BE49-F238E27FC236}">
                    <a16:creationId xmlns:a16="http://schemas.microsoft.com/office/drawing/2014/main" id="{F3CC9561-5B55-D3EC-B9FA-C9B8215C160C}"/>
                  </a:ext>
                </a:extLst>
              </p:cNvPr>
              <p:cNvSpPr txBox="1"/>
              <p:nvPr/>
            </p:nvSpPr>
            <p:spPr>
              <a:xfrm>
                <a:off x="7288962" y="1452599"/>
                <a:ext cx="1202864" cy="223159"/>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ULN: 500 cells/µL</a:t>
                </a:r>
              </a:p>
            </p:txBody>
          </p:sp>
          <p:sp>
            <p:nvSpPr>
              <p:cNvPr id="121" name="TextBox 120">
                <a:extLst>
                  <a:ext uri="{FF2B5EF4-FFF2-40B4-BE49-F238E27FC236}">
                    <a16:creationId xmlns:a16="http://schemas.microsoft.com/office/drawing/2014/main" id="{8A6C26AF-417E-0EE2-E2CF-68B1A65C9E6D}"/>
                  </a:ext>
                </a:extLst>
              </p:cNvPr>
              <p:cNvSpPr txBox="1"/>
              <p:nvPr/>
            </p:nvSpPr>
            <p:spPr>
              <a:xfrm>
                <a:off x="7288962" y="2914039"/>
                <a:ext cx="1117477" cy="223159"/>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LLN: 70 cells/µL</a:t>
                </a:r>
              </a:p>
            </p:txBody>
          </p:sp>
          <p:grpSp>
            <p:nvGrpSpPr>
              <p:cNvPr id="122" name="Graphic 4">
                <a:extLst>
                  <a:ext uri="{FF2B5EF4-FFF2-40B4-BE49-F238E27FC236}">
                    <a16:creationId xmlns:a16="http://schemas.microsoft.com/office/drawing/2014/main" id="{878F0733-1F63-A22B-CCE9-0B4717433B9D}"/>
                  </a:ext>
                </a:extLst>
              </p:cNvPr>
              <p:cNvGrpSpPr/>
              <p:nvPr/>
            </p:nvGrpSpPr>
            <p:grpSpPr>
              <a:xfrm>
                <a:off x="2407843" y="3389108"/>
                <a:ext cx="4596190" cy="35839"/>
                <a:chOff x="4261225" y="4625568"/>
                <a:chExt cx="4596190" cy="35839"/>
              </a:xfrm>
            </p:grpSpPr>
            <p:sp>
              <p:nvSpPr>
                <p:cNvPr id="179" name="Freeform 178">
                  <a:extLst>
                    <a:ext uri="{FF2B5EF4-FFF2-40B4-BE49-F238E27FC236}">
                      <a16:creationId xmlns:a16="http://schemas.microsoft.com/office/drawing/2014/main" id="{0EEFA36B-6165-7942-8898-63CC8E9B740A}"/>
                    </a:ext>
                  </a:extLst>
                </p:cNvPr>
                <p:cNvSpPr/>
                <p:nvPr/>
              </p:nvSpPr>
              <p:spPr>
                <a:xfrm>
                  <a:off x="4261225" y="4625568"/>
                  <a:ext cx="12702" cy="35839"/>
                </a:xfrm>
                <a:custGeom>
                  <a:avLst/>
                  <a:gdLst>
                    <a:gd name="csX0" fmla="*/ 0 w 12702"/>
                    <a:gd name="csY0" fmla="*/ 35840 h 35839"/>
                    <a:gd name="csX1" fmla="*/ 0 w 12702"/>
                    <a:gd name="csY1" fmla="*/ 0 h 35839"/>
                  </a:gdLst>
                  <a:ahLst/>
                  <a:cxnLst>
                    <a:cxn ang="0">
                      <a:pos x="csX0" y="csY0"/>
                    </a:cxn>
                    <a:cxn ang="0">
                      <a:pos x="csX1" y="csY1"/>
                    </a:cxn>
                  </a:cxnLst>
                  <a:rect l="l" t="t" r="r" b="b"/>
                  <a:pathLst>
                    <a:path w="12702" h="35839">
                      <a:moveTo>
                        <a:pt x="0" y="35840"/>
                      </a:moveTo>
                      <a:lnTo>
                        <a:pt x="0" y="0"/>
                      </a:lnTo>
                    </a:path>
                  </a:pathLst>
                </a:custGeom>
                <a:ln w="12700"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80" name="Freeform 179">
                  <a:extLst>
                    <a:ext uri="{FF2B5EF4-FFF2-40B4-BE49-F238E27FC236}">
                      <a16:creationId xmlns:a16="http://schemas.microsoft.com/office/drawing/2014/main" id="{91ED37D4-0BF1-1643-588B-B3E4238F7CDD}"/>
                    </a:ext>
                  </a:extLst>
                </p:cNvPr>
                <p:cNvSpPr/>
                <p:nvPr/>
              </p:nvSpPr>
              <p:spPr>
                <a:xfrm>
                  <a:off x="4771984" y="4625568"/>
                  <a:ext cx="12702" cy="35839"/>
                </a:xfrm>
                <a:custGeom>
                  <a:avLst/>
                  <a:gdLst>
                    <a:gd name="csX0" fmla="*/ 0 w 12702"/>
                    <a:gd name="csY0" fmla="*/ 35840 h 35839"/>
                    <a:gd name="csX1" fmla="*/ 0 w 12702"/>
                    <a:gd name="csY1" fmla="*/ 0 h 35839"/>
                  </a:gdLst>
                  <a:ahLst/>
                  <a:cxnLst>
                    <a:cxn ang="0">
                      <a:pos x="csX0" y="csY0"/>
                    </a:cxn>
                    <a:cxn ang="0">
                      <a:pos x="csX1" y="csY1"/>
                    </a:cxn>
                  </a:cxnLst>
                  <a:rect l="l" t="t" r="r" b="b"/>
                  <a:pathLst>
                    <a:path w="12702" h="35839">
                      <a:moveTo>
                        <a:pt x="0" y="35840"/>
                      </a:moveTo>
                      <a:lnTo>
                        <a:pt x="0" y="0"/>
                      </a:lnTo>
                    </a:path>
                  </a:pathLst>
                </a:custGeom>
                <a:ln w="12700"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81" name="Freeform 180">
                  <a:extLst>
                    <a:ext uri="{FF2B5EF4-FFF2-40B4-BE49-F238E27FC236}">
                      <a16:creationId xmlns:a16="http://schemas.microsoft.com/office/drawing/2014/main" id="{F1B6FF61-7680-5D74-853F-180DD4535B1F}"/>
                    </a:ext>
                  </a:extLst>
                </p:cNvPr>
                <p:cNvSpPr/>
                <p:nvPr/>
              </p:nvSpPr>
              <p:spPr>
                <a:xfrm>
                  <a:off x="5282615" y="4625568"/>
                  <a:ext cx="12702" cy="35839"/>
                </a:xfrm>
                <a:custGeom>
                  <a:avLst/>
                  <a:gdLst>
                    <a:gd name="csX0" fmla="*/ 0 w 12702"/>
                    <a:gd name="csY0" fmla="*/ 35840 h 35839"/>
                    <a:gd name="csX1" fmla="*/ 0 w 12702"/>
                    <a:gd name="csY1" fmla="*/ 0 h 35839"/>
                  </a:gdLst>
                  <a:ahLst/>
                  <a:cxnLst>
                    <a:cxn ang="0">
                      <a:pos x="csX0" y="csY0"/>
                    </a:cxn>
                    <a:cxn ang="0">
                      <a:pos x="csX1" y="csY1"/>
                    </a:cxn>
                  </a:cxnLst>
                  <a:rect l="l" t="t" r="r" b="b"/>
                  <a:pathLst>
                    <a:path w="12702" h="35839">
                      <a:moveTo>
                        <a:pt x="0" y="35840"/>
                      </a:moveTo>
                      <a:lnTo>
                        <a:pt x="0" y="0"/>
                      </a:lnTo>
                    </a:path>
                  </a:pathLst>
                </a:custGeom>
                <a:ln w="12700"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82" name="Freeform 181">
                  <a:extLst>
                    <a:ext uri="{FF2B5EF4-FFF2-40B4-BE49-F238E27FC236}">
                      <a16:creationId xmlns:a16="http://schemas.microsoft.com/office/drawing/2014/main" id="{7D24C8D6-8DC5-6DDB-DFAC-AEA9A3ED82AF}"/>
                    </a:ext>
                  </a:extLst>
                </p:cNvPr>
                <p:cNvSpPr/>
                <p:nvPr/>
              </p:nvSpPr>
              <p:spPr>
                <a:xfrm>
                  <a:off x="5793246" y="4625568"/>
                  <a:ext cx="12702" cy="35839"/>
                </a:xfrm>
                <a:custGeom>
                  <a:avLst/>
                  <a:gdLst>
                    <a:gd name="csX0" fmla="*/ 0 w 12702"/>
                    <a:gd name="csY0" fmla="*/ 35840 h 35839"/>
                    <a:gd name="csX1" fmla="*/ 0 w 12702"/>
                    <a:gd name="csY1" fmla="*/ 0 h 35839"/>
                  </a:gdLst>
                  <a:ahLst/>
                  <a:cxnLst>
                    <a:cxn ang="0">
                      <a:pos x="csX0" y="csY0"/>
                    </a:cxn>
                    <a:cxn ang="0">
                      <a:pos x="csX1" y="csY1"/>
                    </a:cxn>
                  </a:cxnLst>
                  <a:rect l="l" t="t" r="r" b="b"/>
                  <a:pathLst>
                    <a:path w="12702" h="35839">
                      <a:moveTo>
                        <a:pt x="0" y="35840"/>
                      </a:moveTo>
                      <a:lnTo>
                        <a:pt x="0" y="0"/>
                      </a:lnTo>
                    </a:path>
                  </a:pathLst>
                </a:custGeom>
                <a:ln w="12700"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83" name="Freeform 182">
                  <a:extLst>
                    <a:ext uri="{FF2B5EF4-FFF2-40B4-BE49-F238E27FC236}">
                      <a16:creationId xmlns:a16="http://schemas.microsoft.com/office/drawing/2014/main" id="{2D91CAEB-6F34-233B-19BE-10189C67BFD0}"/>
                    </a:ext>
                  </a:extLst>
                </p:cNvPr>
                <p:cNvSpPr/>
                <p:nvPr/>
              </p:nvSpPr>
              <p:spPr>
                <a:xfrm>
                  <a:off x="6304005" y="4625568"/>
                  <a:ext cx="12702" cy="35839"/>
                </a:xfrm>
                <a:custGeom>
                  <a:avLst/>
                  <a:gdLst>
                    <a:gd name="csX0" fmla="*/ 0 w 12702"/>
                    <a:gd name="csY0" fmla="*/ 35840 h 35839"/>
                    <a:gd name="csX1" fmla="*/ 0 w 12702"/>
                    <a:gd name="csY1" fmla="*/ 0 h 35839"/>
                  </a:gdLst>
                  <a:ahLst/>
                  <a:cxnLst>
                    <a:cxn ang="0">
                      <a:pos x="csX0" y="csY0"/>
                    </a:cxn>
                    <a:cxn ang="0">
                      <a:pos x="csX1" y="csY1"/>
                    </a:cxn>
                  </a:cxnLst>
                  <a:rect l="l" t="t" r="r" b="b"/>
                  <a:pathLst>
                    <a:path w="12702" h="35839">
                      <a:moveTo>
                        <a:pt x="0" y="35840"/>
                      </a:moveTo>
                      <a:lnTo>
                        <a:pt x="0" y="0"/>
                      </a:lnTo>
                    </a:path>
                  </a:pathLst>
                </a:custGeom>
                <a:ln w="12700"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84" name="Freeform 183">
                  <a:extLst>
                    <a:ext uri="{FF2B5EF4-FFF2-40B4-BE49-F238E27FC236}">
                      <a16:creationId xmlns:a16="http://schemas.microsoft.com/office/drawing/2014/main" id="{E3D98C1D-3B7B-684A-351D-55DB94B5E461}"/>
                    </a:ext>
                  </a:extLst>
                </p:cNvPr>
                <p:cNvSpPr/>
                <p:nvPr/>
              </p:nvSpPr>
              <p:spPr>
                <a:xfrm>
                  <a:off x="6814636" y="4625568"/>
                  <a:ext cx="12702" cy="35839"/>
                </a:xfrm>
                <a:custGeom>
                  <a:avLst/>
                  <a:gdLst>
                    <a:gd name="csX0" fmla="*/ 0 w 12702"/>
                    <a:gd name="csY0" fmla="*/ 35840 h 35839"/>
                    <a:gd name="csX1" fmla="*/ 0 w 12702"/>
                    <a:gd name="csY1" fmla="*/ 0 h 35839"/>
                  </a:gdLst>
                  <a:ahLst/>
                  <a:cxnLst>
                    <a:cxn ang="0">
                      <a:pos x="csX0" y="csY0"/>
                    </a:cxn>
                    <a:cxn ang="0">
                      <a:pos x="csX1" y="csY1"/>
                    </a:cxn>
                  </a:cxnLst>
                  <a:rect l="l" t="t" r="r" b="b"/>
                  <a:pathLst>
                    <a:path w="12702" h="35839">
                      <a:moveTo>
                        <a:pt x="0" y="35840"/>
                      </a:moveTo>
                      <a:lnTo>
                        <a:pt x="0" y="0"/>
                      </a:lnTo>
                    </a:path>
                  </a:pathLst>
                </a:custGeom>
                <a:ln w="12700"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85" name="Freeform 184">
                  <a:extLst>
                    <a:ext uri="{FF2B5EF4-FFF2-40B4-BE49-F238E27FC236}">
                      <a16:creationId xmlns:a16="http://schemas.microsoft.com/office/drawing/2014/main" id="{522E9355-5E30-C31C-3595-38F1E87864FA}"/>
                    </a:ext>
                  </a:extLst>
                </p:cNvPr>
                <p:cNvSpPr/>
                <p:nvPr/>
              </p:nvSpPr>
              <p:spPr>
                <a:xfrm>
                  <a:off x="7325394" y="4625568"/>
                  <a:ext cx="12702" cy="35839"/>
                </a:xfrm>
                <a:custGeom>
                  <a:avLst/>
                  <a:gdLst>
                    <a:gd name="csX0" fmla="*/ 0 w 12702"/>
                    <a:gd name="csY0" fmla="*/ 35840 h 35839"/>
                    <a:gd name="csX1" fmla="*/ 0 w 12702"/>
                    <a:gd name="csY1" fmla="*/ 0 h 35839"/>
                  </a:gdLst>
                  <a:ahLst/>
                  <a:cxnLst>
                    <a:cxn ang="0">
                      <a:pos x="csX0" y="csY0"/>
                    </a:cxn>
                    <a:cxn ang="0">
                      <a:pos x="csX1" y="csY1"/>
                    </a:cxn>
                  </a:cxnLst>
                  <a:rect l="l" t="t" r="r" b="b"/>
                  <a:pathLst>
                    <a:path w="12702" h="35839">
                      <a:moveTo>
                        <a:pt x="0" y="35840"/>
                      </a:moveTo>
                      <a:lnTo>
                        <a:pt x="0" y="0"/>
                      </a:lnTo>
                    </a:path>
                  </a:pathLst>
                </a:custGeom>
                <a:ln w="12700"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86" name="Freeform 185">
                  <a:extLst>
                    <a:ext uri="{FF2B5EF4-FFF2-40B4-BE49-F238E27FC236}">
                      <a16:creationId xmlns:a16="http://schemas.microsoft.com/office/drawing/2014/main" id="{07B8A2C6-E0D5-3F77-D095-1AEA2F21D259}"/>
                    </a:ext>
                  </a:extLst>
                </p:cNvPr>
                <p:cNvSpPr/>
                <p:nvPr/>
              </p:nvSpPr>
              <p:spPr>
                <a:xfrm>
                  <a:off x="7836026" y="4625568"/>
                  <a:ext cx="12702" cy="35839"/>
                </a:xfrm>
                <a:custGeom>
                  <a:avLst/>
                  <a:gdLst>
                    <a:gd name="csX0" fmla="*/ 0 w 12702"/>
                    <a:gd name="csY0" fmla="*/ 35840 h 35839"/>
                    <a:gd name="csX1" fmla="*/ 0 w 12702"/>
                    <a:gd name="csY1" fmla="*/ 0 h 35839"/>
                  </a:gdLst>
                  <a:ahLst/>
                  <a:cxnLst>
                    <a:cxn ang="0">
                      <a:pos x="csX0" y="csY0"/>
                    </a:cxn>
                    <a:cxn ang="0">
                      <a:pos x="csX1" y="csY1"/>
                    </a:cxn>
                  </a:cxnLst>
                  <a:rect l="l" t="t" r="r" b="b"/>
                  <a:pathLst>
                    <a:path w="12702" h="35839">
                      <a:moveTo>
                        <a:pt x="0" y="35840"/>
                      </a:moveTo>
                      <a:lnTo>
                        <a:pt x="0" y="0"/>
                      </a:lnTo>
                    </a:path>
                  </a:pathLst>
                </a:custGeom>
                <a:ln w="12700"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87" name="Freeform 186">
                  <a:extLst>
                    <a:ext uri="{FF2B5EF4-FFF2-40B4-BE49-F238E27FC236}">
                      <a16:creationId xmlns:a16="http://schemas.microsoft.com/office/drawing/2014/main" id="{533023C7-7F27-9079-7CD2-3736ED48805B}"/>
                    </a:ext>
                  </a:extLst>
                </p:cNvPr>
                <p:cNvSpPr/>
                <p:nvPr/>
              </p:nvSpPr>
              <p:spPr>
                <a:xfrm>
                  <a:off x="8346657" y="4625568"/>
                  <a:ext cx="12702" cy="35839"/>
                </a:xfrm>
                <a:custGeom>
                  <a:avLst/>
                  <a:gdLst>
                    <a:gd name="csX0" fmla="*/ 0 w 12702"/>
                    <a:gd name="csY0" fmla="*/ 35840 h 35839"/>
                    <a:gd name="csX1" fmla="*/ 0 w 12702"/>
                    <a:gd name="csY1" fmla="*/ 0 h 35839"/>
                  </a:gdLst>
                  <a:ahLst/>
                  <a:cxnLst>
                    <a:cxn ang="0">
                      <a:pos x="csX0" y="csY0"/>
                    </a:cxn>
                    <a:cxn ang="0">
                      <a:pos x="csX1" y="csY1"/>
                    </a:cxn>
                  </a:cxnLst>
                  <a:rect l="l" t="t" r="r" b="b"/>
                  <a:pathLst>
                    <a:path w="12702" h="35839">
                      <a:moveTo>
                        <a:pt x="0" y="35840"/>
                      </a:moveTo>
                      <a:lnTo>
                        <a:pt x="0" y="0"/>
                      </a:lnTo>
                    </a:path>
                  </a:pathLst>
                </a:custGeom>
                <a:ln w="12700"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88" name="Freeform 187">
                  <a:extLst>
                    <a:ext uri="{FF2B5EF4-FFF2-40B4-BE49-F238E27FC236}">
                      <a16:creationId xmlns:a16="http://schemas.microsoft.com/office/drawing/2014/main" id="{D53FDB20-DA5A-EE38-8484-DD189D0E8C38}"/>
                    </a:ext>
                  </a:extLst>
                </p:cNvPr>
                <p:cNvSpPr/>
                <p:nvPr/>
              </p:nvSpPr>
              <p:spPr>
                <a:xfrm>
                  <a:off x="8857416" y="4625568"/>
                  <a:ext cx="12702" cy="35839"/>
                </a:xfrm>
                <a:custGeom>
                  <a:avLst/>
                  <a:gdLst>
                    <a:gd name="csX0" fmla="*/ 0 w 12702"/>
                    <a:gd name="csY0" fmla="*/ 35840 h 35839"/>
                    <a:gd name="csX1" fmla="*/ 0 w 12702"/>
                    <a:gd name="csY1" fmla="*/ 0 h 35839"/>
                  </a:gdLst>
                  <a:ahLst/>
                  <a:cxnLst>
                    <a:cxn ang="0">
                      <a:pos x="csX0" y="csY0"/>
                    </a:cxn>
                    <a:cxn ang="0">
                      <a:pos x="csX1" y="csY1"/>
                    </a:cxn>
                  </a:cxnLst>
                  <a:rect l="l" t="t" r="r" b="b"/>
                  <a:pathLst>
                    <a:path w="12702" h="35839">
                      <a:moveTo>
                        <a:pt x="0" y="35840"/>
                      </a:moveTo>
                      <a:lnTo>
                        <a:pt x="0" y="0"/>
                      </a:lnTo>
                    </a:path>
                  </a:pathLst>
                </a:custGeom>
                <a:ln w="12700"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23" name="Graphic 4">
                <a:extLst>
                  <a:ext uri="{FF2B5EF4-FFF2-40B4-BE49-F238E27FC236}">
                    <a16:creationId xmlns:a16="http://schemas.microsoft.com/office/drawing/2014/main" id="{B39A19BF-D0EB-5D1E-08A5-9AFAAE6D0B40}"/>
                  </a:ext>
                </a:extLst>
              </p:cNvPr>
              <p:cNvGrpSpPr/>
              <p:nvPr/>
            </p:nvGrpSpPr>
            <p:grpSpPr>
              <a:xfrm>
                <a:off x="2214642" y="1650830"/>
                <a:ext cx="4982593" cy="1640637"/>
                <a:chOff x="4068024" y="2887290"/>
                <a:chExt cx="4982593" cy="1640637"/>
              </a:xfrm>
              <a:noFill/>
            </p:grpSpPr>
            <p:grpSp>
              <p:nvGrpSpPr>
                <p:cNvPr id="136" name="Graphic 4">
                  <a:extLst>
                    <a:ext uri="{FF2B5EF4-FFF2-40B4-BE49-F238E27FC236}">
                      <a16:creationId xmlns:a16="http://schemas.microsoft.com/office/drawing/2014/main" id="{83AD2A7F-4EBF-467B-C8B9-F2EC90074C11}"/>
                    </a:ext>
                  </a:extLst>
                </p:cNvPr>
                <p:cNvGrpSpPr/>
                <p:nvPr/>
              </p:nvGrpSpPr>
              <p:grpSpPr>
                <a:xfrm>
                  <a:off x="7642824" y="3484530"/>
                  <a:ext cx="386403" cy="425261"/>
                  <a:chOff x="7642824" y="3484530"/>
                  <a:chExt cx="386403" cy="425261"/>
                </a:xfrm>
                <a:noFill/>
              </p:grpSpPr>
              <p:sp>
                <p:nvSpPr>
                  <p:cNvPr id="175" name="Freeform 174">
                    <a:extLst>
                      <a:ext uri="{FF2B5EF4-FFF2-40B4-BE49-F238E27FC236}">
                        <a16:creationId xmlns:a16="http://schemas.microsoft.com/office/drawing/2014/main" id="{6E0D1308-E732-3E32-DE32-764C3D23BF6C}"/>
                      </a:ext>
                    </a:extLst>
                  </p:cNvPr>
                  <p:cNvSpPr/>
                  <p:nvPr/>
                </p:nvSpPr>
                <p:spPr>
                  <a:xfrm>
                    <a:off x="7836026" y="3828994"/>
                    <a:ext cx="12702" cy="80797"/>
                  </a:xfrm>
                  <a:custGeom>
                    <a:avLst/>
                    <a:gdLst>
                      <a:gd name="csX0" fmla="*/ 0 w 12702"/>
                      <a:gd name="csY0" fmla="*/ 0 h 80797"/>
                      <a:gd name="csX1" fmla="*/ 0 w 12702"/>
                      <a:gd name="csY1" fmla="*/ 80797 h 80797"/>
                    </a:gdLst>
                    <a:ahLst/>
                    <a:cxnLst>
                      <a:cxn ang="0">
                        <a:pos x="csX0" y="csY0"/>
                      </a:cxn>
                      <a:cxn ang="0">
                        <a:pos x="csX1" y="csY1"/>
                      </a:cxn>
                    </a:cxnLst>
                    <a:rect l="l" t="t" r="r" b="b"/>
                    <a:pathLst>
                      <a:path w="12702" h="80797">
                        <a:moveTo>
                          <a:pt x="0" y="0"/>
                        </a:moveTo>
                        <a:lnTo>
                          <a:pt x="0" y="80797"/>
                        </a:lnTo>
                      </a:path>
                    </a:pathLst>
                  </a:custGeom>
                  <a:ln w="1270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76" name="Freeform 175">
                    <a:extLst>
                      <a:ext uri="{FF2B5EF4-FFF2-40B4-BE49-F238E27FC236}">
                        <a16:creationId xmlns:a16="http://schemas.microsoft.com/office/drawing/2014/main" id="{DF530CD1-0AA9-41F4-8F0E-930A5260ED58}"/>
                      </a:ext>
                    </a:extLst>
                  </p:cNvPr>
                  <p:cNvSpPr/>
                  <p:nvPr/>
                </p:nvSpPr>
                <p:spPr>
                  <a:xfrm>
                    <a:off x="7836026" y="3484530"/>
                    <a:ext cx="12702" cy="36219"/>
                  </a:xfrm>
                  <a:custGeom>
                    <a:avLst/>
                    <a:gdLst>
                      <a:gd name="csX0" fmla="*/ 0 w 12702"/>
                      <a:gd name="csY0" fmla="*/ 0 h 36219"/>
                      <a:gd name="csX1" fmla="*/ 0 w 12702"/>
                      <a:gd name="csY1" fmla="*/ 36219 h 36219"/>
                    </a:gdLst>
                    <a:ahLst/>
                    <a:cxnLst>
                      <a:cxn ang="0">
                        <a:pos x="csX0" y="csY0"/>
                      </a:cxn>
                      <a:cxn ang="0">
                        <a:pos x="csX1" y="csY1"/>
                      </a:cxn>
                    </a:cxnLst>
                    <a:rect l="l" t="t" r="r" b="b"/>
                    <a:pathLst>
                      <a:path w="12702" h="36219">
                        <a:moveTo>
                          <a:pt x="0" y="0"/>
                        </a:moveTo>
                        <a:lnTo>
                          <a:pt x="0" y="36219"/>
                        </a:lnTo>
                      </a:path>
                    </a:pathLst>
                  </a:custGeom>
                  <a:ln w="1270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77" name="Rectangle 176">
                    <a:extLst>
                      <a:ext uri="{FF2B5EF4-FFF2-40B4-BE49-F238E27FC236}">
                        <a16:creationId xmlns:a16="http://schemas.microsoft.com/office/drawing/2014/main" id="{4CD94BE6-9F35-D1BE-2A30-781E0900705A}"/>
                      </a:ext>
                    </a:extLst>
                  </p:cNvPr>
                  <p:cNvSpPr/>
                  <p:nvPr/>
                </p:nvSpPr>
                <p:spPr>
                  <a:xfrm>
                    <a:off x="7642824" y="3520750"/>
                    <a:ext cx="386403" cy="308244"/>
                  </a:xfrm>
                  <a:prstGeom prst="rect">
                    <a:avLst/>
                  </a:prstGeom>
                  <a:noFill/>
                  <a:ln w="1270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78" name="Freeform 177">
                    <a:extLst>
                      <a:ext uri="{FF2B5EF4-FFF2-40B4-BE49-F238E27FC236}">
                        <a16:creationId xmlns:a16="http://schemas.microsoft.com/office/drawing/2014/main" id="{BABF30F0-91F7-B2E0-9CF9-7BDE4B2E1450}"/>
                      </a:ext>
                    </a:extLst>
                  </p:cNvPr>
                  <p:cNvSpPr/>
                  <p:nvPr/>
                </p:nvSpPr>
                <p:spPr>
                  <a:xfrm>
                    <a:off x="7642824" y="3673732"/>
                    <a:ext cx="386403" cy="12664"/>
                  </a:xfrm>
                  <a:custGeom>
                    <a:avLst/>
                    <a:gdLst>
                      <a:gd name="csX0" fmla="*/ 0 w 386403"/>
                      <a:gd name="csY0" fmla="*/ 0 h 12664"/>
                      <a:gd name="csX1" fmla="*/ 386403 w 386403"/>
                      <a:gd name="csY1" fmla="*/ 0 h 12664"/>
                    </a:gdLst>
                    <a:ahLst/>
                    <a:cxnLst>
                      <a:cxn ang="0">
                        <a:pos x="csX0" y="csY0"/>
                      </a:cxn>
                      <a:cxn ang="0">
                        <a:pos x="csX1" y="csY1"/>
                      </a:cxn>
                    </a:cxnLst>
                    <a:rect l="l" t="t" r="r" b="b"/>
                    <a:pathLst>
                      <a:path w="386403" h="12664">
                        <a:moveTo>
                          <a:pt x="0" y="0"/>
                        </a:moveTo>
                        <a:lnTo>
                          <a:pt x="386403" y="0"/>
                        </a:lnTo>
                      </a:path>
                    </a:pathLst>
                  </a:custGeom>
                  <a:ln w="1905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37" name="Graphic 4">
                  <a:extLst>
                    <a:ext uri="{FF2B5EF4-FFF2-40B4-BE49-F238E27FC236}">
                      <a16:creationId xmlns:a16="http://schemas.microsoft.com/office/drawing/2014/main" id="{EEF68622-9D7D-E030-5AAE-6E89974C7F5F}"/>
                    </a:ext>
                  </a:extLst>
                </p:cNvPr>
                <p:cNvGrpSpPr/>
                <p:nvPr/>
              </p:nvGrpSpPr>
              <p:grpSpPr>
                <a:xfrm>
                  <a:off x="8153456" y="3255056"/>
                  <a:ext cx="386403" cy="954495"/>
                  <a:chOff x="8153456" y="3255056"/>
                  <a:chExt cx="386403" cy="954495"/>
                </a:xfrm>
                <a:noFill/>
              </p:grpSpPr>
              <p:sp>
                <p:nvSpPr>
                  <p:cNvPr id="171" name="Freeform 170">
                    <a:extLst>
                      <a:ext uri="{FF2B5EF4-FFF2-40B4-BE49-F238E27FC236}">
                        <a16:creationId xmlns:a16="http://schemas.microsoft.com/office/drawing/2014/main" id="{09E9187D-131B-0525-9DB6-1E95344A39E7}"/>
                      </a:ext>
                    </a:extLst>
                  </p:cNvPr>
                  <p:cNvSpPr/>
                  <p:nvPr/>
                </p:nvSpPr>
                <p:spPr>
                  <a:xfrm>
                    <a:off x="8346657" y="3900800"/>
                    <a:ext cx="12702" cy="308751"/>
                  </a:xfrm>
                  <a:custGeom>
                    <a:avLst/>
                    <a:gdLst>
                      <a:gd name="csX0" fmla="*/ 0 w 12702"/>
                      <a:gd name="csY0" fmla="*/ 0 h 308751"/>
                      <a:gd name="csX1" fmla="*/ 0 w 12702"/>
                      <a:gd name="csY1" fmla="*/ 308751 h 308751"/>
                    </a:gdLst>
                    <a:ahLst/>
                    <a:cxnLst>
                      <a:cxn ang="0">
                        <a:pos x="csX0" y="csY0"/>
                      </a:cxn>
                      <a:cxn ang="0">
                        <a:pos x="csX1" y="csY1"/>
                      </a:cxn>
                    </a:cxnLst>
                    <a:rect l="l" t="t" r="r" b="b"/>
                    <a:pathLst>
                      <a:path w="12702" h="308751">
                        <a:moveTo>
                          <a:pt x="0" y="0"/>
                        </a:moveTo>
                        <a:lnTo>
                          <a:pt x="0" y="308751"/>
                        </a:lnTo>
                      </a:path>
                    </a:pathLst>
                  </a:custGeom>
                  <a:ln w="1270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72" name="Freeform 171">
                    <a:extLst>
                      <a:ext uri="{FF2B5EF4-FFF2-40B4-BE49-F238E27FC236}">
                        <a16:creationId xmlns:a16="http://schemas.microsoft.com/office/drawing/2014/main" id="{0E7092E9-5E77-3495-864E-55075309F2F4}"/>
                      </a:ext>
                    </a:extLst>
                  </p:cNvPr>
                  <p:cNvSpPr/>
                  <p:nvPr/>
                </p:nvSpPr>
                <p:spPr>
                  <a:xfrm>
                    <a:off x="8346657" y="3255056"/>
                    <a:ext cx="12702" cy="265693"/>
                  </a:xfrm>
                  <a:custGeom>
                    <a:avLst/>
                    <a:gdLst>
                      <a:gd name="csX0" fmla="*/ 0 w 12702"/>
                      <a:gd name="csY0" fmla="*/ 0 h 265693"/>
                      <a:gd name="csX1" fmla="*/ 0 w 12702"/>
                      <a:gd name="csY1" fmla="*/ 265693 h 265693"/>
                    </a:gdLst>
                    <a:ahLst/>
                    <a:cxnLst>
                      <a:cxn ang="0">
                        <a:pos x="csX0" y="csY0"/>
                      </a:cxn>
                      <a:cxn ang="0">
                        <a:pos x="csX1" y="csY1"/>
                      </a:cxn>
                    </a:cxnLst>
                    <a:rect l="l" t="t" r="r" b="b"/>
                    <a:pathLst>
                      <a:path w="12702" h="265693">
                        <a:moveTo>
                          <a:pt x="0" y="0"/>
                        </a:moveTo>
                        <a:lnTo>
                          <a:pt x="0" y="265693"/>
                        </a:lnTo>
                      </a:path>
                    </a:pathLst>
                  </a:custGeom>
                  <a:ln w="1270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73" name="Rectangle 172">
                    <a:extLst>
                      <a:ext uri="{FF2B5EF4-FFF2-40B4-BE49-F238E27FC236}">
                        <a16:creationId xmlns:a16="http://schemas.microsoft.com/office/drawing/2014/main" id="{E4F87643-30A9-78EA-2768-F182A0116164}"/>
                      </a:ext>
                    </a:extLst>
                  </p:cNvPr>
                  <p:cNvSpPr/>
                  <p:nvPr/>
                </p:nvSpPr>
                <p:spPr>
                  <a:xfrm>
                    <a:off x="8153456" y="3520750"/>
                    <a:ext cx="386403" cy="380050"/>
                  </a:xfrm>
                  <a:prstGeom prst="rect">
                    <a:avLst/>
                  </a:prstGeom>
                  <a:noFill/>
                  <a:ln w="1270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74" name="Freeform 173">
                    <a:extLst>
                      <a:ext uri="{FF2B5EF4-FFF2-40B4-BE49-F238E27FC236}">
                        <a16:creationId xmlns:a16="http://schemas.microsoft.com/office/drawing/2014/main" id="{D6EF885E-D70C-5717-98B2-C22AE8D86907}"/>
                      </a:ext>
                    </a:extLst>
                  </p:cNvPr>
                  <p:cNvSpPr/>
                  <p:nvPr/>
                </p:nvSpPr>
                <p:spPr>
                  <a:xfrm>
                    <a:off x="8153456" y="3706279"/>
                    <a:ext cx="386403" cy="12664"/>
                  </a:xfrm>
                  <a:custGeom>
                    <a:avLst/>
                    <a:gdLst>
                      <a:gd name="csX0" fmla="*/ 0 w 386403"/>
                      <a:gd name="csY0" fmla="*/ 0 h 12664"/>
                      <a:gd name="csX1" fmla="*/ 386403 w 386403"/>
                      <a:gd name="csY1" fmla="*/ 0 h 12664"/>
                    </a:gdLst>
                    <a:ahLst/>
                    <a:cxnLst>
                      <a:cxn ang="0">
                        <a:pos x="csX0" y="csY0"/>
                      </a:cxn>
                      <a:cxn ang="0">
                        <a:pos x="csX1" y="csY1"/>
                      </a:cxn>
                    </a:cxnLst>
                    <a:rect l="l" t="t" r="r" b="b"/>
                    <a:pathLst>
                      <a:path w="386403" h="12664">
                        <a:moveTo>
                          <a:pt x="0" y="0"/>
                        </a:moveTo>
                        <a:lnTo>
                          <a:pt x="386403" y="0"/>
                        </a:lnTo>
                      </a:path>
                    </a:pathLst>
                  </a:custGeom>
                  <a:ln w="1905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38" name="Graphic 4">
                  <a:extLst>
                    <a:ext uri="{FF2B5EF4-FFF2-40B4-BE49-F238E27FC236}">
                      <a16:creationId xmlns:a16="http://schemas.microsoft.com/office/drawing/2014/main" id="{527E4E98-AF39-0486-1585-AC5DA1F8604C}"/>
                    </a:ext>
                  </a:extLst>
                </p:cNvPr>
                <p:cNvGrpSpPr/>
                <p:nvPr/>
              </p:nvGrpSpPr>
              <p:grpSpPr>
                <a:xfrm>
                  <a:off x="7132066" y="2974293"/>
                  <a:ext cx="386530" cy="1438898"/>
                  <a:chOff x="7132066" y="2974293"/>
                  <a:chExt cx="386530" cy="1438898"/>
                </a:xfrm>
                <a:noFill/>
              </p:grpSpPr>
              <p:sp>
                <p:nvSpPr>
                  <p:cNvPr id="167" name="Freeform 166">
                    <a:extLst>
                      <a:ext uri="{FF2B5EF4-FFF2-40B4-BE49-F238E27FC236}">
                        <a16:creationId xmlns:a16="http://schemas.microsoft.com/office/drawing/2014/main" id="{82CAA6E8-FC7C-3472-A969-59DB12F7AEE7}"/>
                      </a:ext>
                    </a:extLst>
                  </p:cNvPr>
                  <p:cNvSpPr/>
                  <p:nvPr/>
                </p:nvSpPr>
                <p:spPr>
                  <a:xfrm>
                    <a:off x="7325394" y="4036939"/>
                    <a:ext cx="12702" cy="376251"/>
                  </a:xfrm>
                  <a:custGeom>
                    <a:avLst/>
                    <a:gdLst>
                      <a:gd name="csX0" fmla="*/ 0 w 12702"/>
                      <a:gd name="csY0" fmla="*/ 0 h 376251"/>
                      <a:gd name="csX1" fmla="*/ 0 w 12702"/>
                      <a:gd name="csY1" fmla="*/ 376251 h 376251"/>
                    </a:gdLst>
                    <a:ahLst/>
                    <a:cxnLst>
                      <a:cxn ang="0">
                        <a:pos x="csX0" y="csY0"/>
                      </a:cxn>
                      <a:cxn ang="0">
                        <a:pos x="csX1" y="csY1"/>
                      </a:cxn>
                    </a:cxnLst>
                    <a:rect l="l" t="t" r="r" b="b"/>
                    <a:pathLst>
                      <a:path w="12702" h="376251">
                        <a:moveTo>
                          <a:pt x="0" y="0"/>
                        </a:moveTo>
                        <a:lnTo>
                          <a:pt x="0" y="376251"/>
                        </a:lnTo>
                      </a:path>
                    </a:pathLst>
                  </a:custGeom>
                  <a:ln w="1270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68" name="Freeform 167">
                    <a:extLst>
                      <a:ext uri="{FF2B5EF4-FFF2-40B4-BE49-F238E27FC236}">
                        <a16:creationId xmlns:a16="http://schemas.microsoft.com/office/drawing/2014/main" id="{DEAADF7E-C054-81E5-7DB4-161D93F87C1D}"/>
                      </a:ext>
                    </a:extLst>
                  </p:cNvPr>
                  <p:cNvSpPr/>
                  <p:nvPr/>
                </p:nvSpPr>
                <p:spPr>
                  <a:xfrm>
                    <a:off x="7325394" y="2974293"/>
                    <a:ext cx="12702" cy="599393"/>
                  </a:xfrm>
                  <a:custGeom>
                    <a:avLst/>
                    <a:gdLst>
                      <a:gd name="csX0" fmla="*/ 0 w 12702"/>
                      <a:gd name="csY0" fmla="*/ 0 h 599393"/>
                      <a:gd name="csX1" fmla="*/ 0 w 12702"/>
                      <a:gd name="csY1" fmla="*/ 599393 h 599393"/>
                    </a:gdLst>
                    <a:ahLst/>
                    <a:cxnLst>
                      <a:cxn ang="0">
                        <a:pos x="csX0" y="csY0"/>
                      </a:cxn>
                      <a:cxn ang="0">
                        <a:pos x="csX1" y="csY1"/>
                      </a:cxn>
                    </a:cxnLst>
                    <a:rect l="l" t="t" r="r" b="b"/>
                    <a:pathLst>
                      <a:path w="12702" h="599393">
                        <a:moveTo>
                          <a:pt x="0" y="0"/>
                        </a:moveTo>
                        <a:lnTo>
                          <a:pt x="0" y="599393"/>
                        </a:lnTo>
                      </a:path>
                    </a:pathLst>
                  </a:custGeom>
                  <a:ln w="1270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69" name="Rectangle 168">
                    <a:extLst>
                      <a:ext uri="{FF2B5EF4-FFF2-40B4-BE49-F238E27FC236}">
                        <a16:creationId xmlns:a16="http://schemas.microsoft.com/office/drawing/2014/main" id="{BF274D54-8562-E10B-EF63-589B20AE36D1}"/>
                      </a:ext>
                    </a:extLst>
                  </p:cNvPr>
                  <p:cNvSpPr/>
                  <p:nvPr/>
                </p:nvSpPr>
                <p:spPr>
                  <a:xfrm>
                    <a:off x="7132066" y="3573686"/>
                    <a:ext cx="386403" cy="463253"/>
                  </a:xfrm>
                  <a:prstGeom prst="rect">
                    <a:avLst/>
                  </a:prstGeom>
                  <a:noFill/>
                  <a:ln w="1270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70" name="Freeform 169">
                    <a:extLst>
                      <a:ext uri="{FF2B5EF4-FFF2-40B4-BE49-F238E27FC236}">
                        <a16:creationId xmlns:a16="http://schemas.microsoft.com/office/drawing/2014/main" id="{D1F3056B-6BA7-C5F5-8AA3-117910B8CDFD}"/>
                      </a:ext>
                    </a:extLst>
                  </p:cNvPr>
                  <p:cNvSpPr/>
                  <p:nvPr/>
                </p:nvSpPr>
                <p:spPr>
                  <a:xfrm>
                    <a:off x="7132066" y="3861415"/>
                    <a:ext cx="386530" cy="12664"/>
                  </a:xfrm>
                  <a:custGeom>
                    <a:avLst/>
                    <a:gdLst>
                      <a:gd name="csX0" fmla="*/ 0 w 386530"/>
                      <a:gd name="csY0" fmla="*/ 0 h 12664"/>
                      <a:gd name="csX1" fmla="*/ 386530 w 386530"/>
                      <a:gd name="csY1" fmla="*/ 0 h 12664"/>
                    </a:gdLst>
                    <a:ahLst/>
                    <a:cxnLst>
                      <a:cxn ang="0">
                        <a:pos x="csX0" y="csY0"/>
                      </a:cxn>
                      <a:cxn ang="0">
                        <a:pos x="csX1" y="csY1"/>
                      </a:cxn>
                    </a:cxnLst>
                    <a:rect l="l" t="t" r="r" b="b"/>
                    <a:pathLst>
                      <a:path w="386530" h="12664">
                        <a:moveTo>
                          <a:pt x="0" y="0"/>
                        </a:moveTo>
                        <a:lnTo>
                          <a:pt x="386530" y="0"/>
                        </a:lnTo>
                      </a:path>
                    </a:pathLst>
                  </a:custGeom>
                  <a:ln w="1905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39" name="Graphic 4">
                  <a:extLst>
                    <a:ext uri="{FF2B5EF4-FFF2-40B4-BE49-F238E27FC236}">
                      <a16:creationId xmlns:a16="http://schemas.microsoft.com/office/drawing/2014/main" id="{AE6A2390-CDFF-817F-DAFE-4657B229443E}"/>
                    </a:ext>
                  </a:extLst>
                </p:cNvPr>
                <p:cNvGrpSpPr/>
                <p:nvPr/>
              </p:nvGrpSpPr>
              <p:grpSpPr>
                <a:xfrm>
                  <a:off x="6621434" y="2887290"/>
                  <a:ext cx="386403" cy="1534258"/>
                  <a:chOff x="6621434" y="2887290"/>
                  <a:chExt cx="386403" cy="1534258"/>
                </a:xfrm>
                <a:noFill/>
              </p:grpSpPr>
              <p:sp>
                <p:nvSpPr>
                  <p:cNvPr id="163" name="Freeform 162">
                    <a:extLst>
                      <a:ext uri="{FF2B5EF4-FFF2-40B4-BE49-F238E27FC236}">
                        <a16:creationId xmlns:a16="http://schemas.microsoft.com/office/drawing/2014/main" id="{8F2A2F04-D7EB-FDC9-9689-C40E5F63BF83}"/>
                      </a:ext>
                    </a:extLst>
                  </p:cNvPr>
                  <p:cNvSpPr/>
                  <p:nvPr/>
                </p:nvSpPr>
                <p:spPr>
                  <a:xfrm>
                    <a:off x="6814636" y="4243618"/>
                    <a:ext cx="12702" cy="177930"/>
                  </a:xfrm>
                  <a:custGeom>
                    <a:avLst/>
                    <a:gdLst>
                      <a:gd name="csX0" fmla="*/ 0 w 12702"/>
                      <a:gd name="csY0" fmla="*/ 0 h 177930"/>
                      <a:gd name="csX1" fmla="*/ 0 w 12702"/>
                      <a:gd name="csY1" fmla="*/ 177931 h 177930"/>
                    </a:gdLst>
                    <a:ahLst/>
                    <a:cxnLst>
                      <a:cxn ang="0">
                        <a:pos x="csX0" y="csY0"/>
                      </a:cxn>
                      <a:cxn ang="0">
                        <a:pos x="csX1" y="csY1"/>
                      </a:cxn>
                    </a:cxnLst>
                    <a:rect l="l" t="t" r="r" b="b"/>
                    <a:pathLst>
                      <a:path w="12702" h="177930">
                        <a:moveTo>
                          <a:pt x="0" y="0"/>
                        </a:moveTo>
                        <a:lnTo>
                          <a:pt x="0" y="177931"/>
                        </a:lnTo>
                      </a:path>
                    </a:pathLst>
                  </a:custGeom>
                  <a:ln w="1270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64" name="Freeform 163">
                    <a:extLst>
                      <a:ext uri="{FF2B5EF4-FFF2-40B4-BE49-F238E27FC236}">
                        <a16:creationId xmlns:a16="http://schemas.microsoft.com/office/drawing/2014/main" id="{90212321-1C92-8C1B-4266-952E72201810}"/>
                      </a:ext>
                    </a:extLst>
                  </p:cNvPr>
                  <p:cNvSpPr/>
                  <p:nvPr/>
                </p:nvSpPr>
                <p:spPr>
                  <a:xfrm>
                    <a:off x="6814636" y="2887290"/>
                    <a:ext cx="12702" cy="763646"/>
                  </a:xfrm>
                  <a:custGeom>
                    <a:avLst/>
                    <a:gdLst>
                      <a:gd name="csX0" fmla="*/ 0 w 12702"/>
                      <a:gd name="csY0" fmla="*/ 0 h 763646"/>
                      <a:gd name="csX1" fmla="*/ 0 w 12702"/>
                      <a:gd name="csY1" fmla="*/ 763647 h 763646"/>
                    </a:gdLst>
                    <a:ahLst/>
                    <a:cxnLst>
                      <a:cxn ang="0">
                        <a:pos x="csX0" y="csY0"/>
                      </a:cxn>
                      <a:cxn ang="0">
                        <a:pos x="csX1" y="csY1"/>
                      </a:cxn>
                    </a:cxnLst>
                    <a:rect l="l" t="t" r="r" b="b"/>
                    <a:pathLst>
                      <a:path w="12702" h="763646">
                        <a:moveTo>
                          <a:pt x="0" y="0"/>
                        </a:moveTo>
                        <a:lnTo>
                          <a:pt x="0" y="763647"/>
                        </a:lnTo>
                      </a:path>
                    </a:pathLst>
                  </a:custGeom>
                  <a:ln w="1270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65" name="Rectangle 164">
                    <a:extLst>
                      <a:ext uri="{FF2B5EF4-FFF2-40B4-BE49-F238E27FC236}">
                        <a16:creationId xmlns:a16="http://schemas.microsoft.com/office/drawing/2014/main" id="{F6BF6282-0389-B867-097E-4248EBD509FD}"/>
                      </a:ext>
                    </a:extLst>
                  </p:cNvPr>
                  <p:cNvSpPr/>
                  <p:nvPr/>
                </p:nvSpPr>
                <p:spPr>
                  <a:xfrm>
                    <a:off x="6621434" y="3650937"/>
                    <a:ext cx="386403" cy="592681"/>
                  </a:xfrm>
                  <a:prstGeom prst="rect">
                    <a:avLst/>
                  </a:prstGeom>
                  <a:noFill/>
                  <a:ln w="1270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66" name="Freeform 165">
                    <a:extLst>
                      <a:ext uri="{FF2B5EF4-FFF2-40B4-BE49-F238E27FC236}">
                        <a16:creationId xmlns:a16="http://schemas.microsoft.com/office/drawing/2014/main" id="{8D97FB65-4EDF-6BD4-D126-3F04CA8B87B3}"/>
                      </a:ext>
                    </a:extLst>
                  </p:cNvPr>
                  <p:cNvSpPr/>
                  <p:nvPr/>
                </p:nvSpPr>
                <p:spPr>
                  <a:xfrm>
                    <a:off x="6621434" y="4020096"/>
                    <a:ext cx="386403" cy="12664"/>
                  </a:xfrm>
                  <a:custGeom>
                    <a:avLst/>
                    <a:gdLst>
                      <a:gd name="csX0" fmla="*/ 0 w 386403"/>
                      <a:gd name="csY0" fmla="*/ 0 h 12664"/>
                      <a:gd name="csX1" fmla="*/ 386403 w 386403"/>
                      <a:gd name="csY1" fmla="*/ 0 h 12664"/>
                    </a:gdLst>
                    <a:ahLst/>
                    <a:cxnLst>
                      <a:cxn ang="0">
                        <a:pos x="csX0" y="csY0"/>
                      </a:cxn>
                      <a:cxn ang="0">
                        <a:pos x="csX1" y="csY1"/>
                      </a:cxn>
                    </a:cxnLst>
                    <a:rect l="l" t="t" r="r" b="b"/>
                    <a:pathLst>
                      <a:path w="386403" h="12664">
                        <a:moveTo>
                          <a:pt x="0" y="0"/>
                        </a:moveTo>
                        <a:lnTo>
                          <a:pt x="386403" y="0"/>
                        </a:lnTo>
                      </a:path>
                    </a:pathLst>
                  </a:custGeom>
                  <a:ln w="1905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40" name="Graphic 4">
                  <a:extLst>
                    <a:ext uri="{FF2B5EF4-FFF2-40B4-BE49-F238E27FC236}">
                      <a16:creationId xmlns:a16="http://schemas.microsoft.com/office/drawing/2014/main" id="{A4E071F7-07E5-3952-C131-2F612AA39389}"/>
                    </a:ext>
                  </a:extLst>
                </p:cNvPr>
                <p:cNvGrpSpPr/>
                <p:nvPr/>
              </p:nvGrpSpPr>
              <p:grpSpPr>
                <a:xfrm>
                  <a:off x="6110803" y="3587743"/>
                  <a:ext cx="386403" cy="932712"/>
                  <a:chOff x="6110803" y="3587743"/>
                  <a:chExt cx="386403" cy="932712"/>
                </a:xfrm>
                <a:noFill/>
              </p:grpSpPr>
              <p:sp>
                <p:nvSpPr>
                  <p:cNvPr id="159" name="Freeform 158">
                    <a:extLst>
                      <a:ext uri="{FF2B5EF4-FFF2-40B4-BE49-F238E27FC236}">
                        <a16:creationId xmlns:a16="http://schemas.microsoft.com/office/drawing/2014/main" id="{1FCBF8E9-7407-1E48-66B3-1170BC9429A0}"/>
                      </a:ext>
                    </a:extLst>
                  </p:cNvPr>
                  <p:cNvSpPr/>
                  <p:nvPr/>
                </p:nvSpPr>
                <p:spPr>
                  <a:xfrm>
                    <a:off x="6304005" y="4427248"/>
                    <a:ext cx="12702" cy="93207"/>
                  </a:xfrm>
                  <a:custGeom>
                    <a:avLst/>
                    <a:gdLst>
                      <a:gd name="csX0" fmla="*/ 0 w 12702"/>
                      <a:gd name="csY0" fmla="*/ 0 h 93207"/>
                      <a:gd name="csX1" fmla="*/ 0 w 12702"/>
                      <a:gd name="csY1" fmla="*/ 93208 h 93207"/>
                    </a:gdLst>
                    <a:ahLst/>
                    <a:cxnLst>
                      <a:cxn ang="0">
                        <a:pos x="csX0" y="csY0"/>
                      </a:cxn>
                      <a:cxn ang="0">
                        <a:pos x="csX1" y="csY1"/>
                      </a:cxn>
                    </a:cxnLst>
                    <a:rect l="l" t="t" r="r" b="b"/>
                    <a:pathLst>
                      <a:path w="12702" h="93207">
                        <a:moveTo>
                          <a:pt x="0" y="0"/>
                        </a:moveTo>
                        <a:lnTo>
                          <a:pt x="0" y="93208"/>
                        </a:lnTo>
                      </a:path>
                    </a:pathLst>
                  </a:custGeom>
                  <a:ln w="1270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60" name="Freeform 159">
                    <a:extLst>
                      <a:ext uri="{FF2B5EF4-FFF2-40B4-BE49-F238E27FC236}">
                        <a16:creationId xmlns:a16="http://schemas.microsoft.com/office/drawing/2014/main" id="{0061A787-7B12-3FE9-33BE-169104FCFADD}"/>
                      </a:ext>
                    </a:extLst>
                  </p:cNvPr>
                  <p:cNvSpPr/>
                  <p:nvPr/>
                </p:nvSpPr>
                <p:spPr>
                  <a:xfrm>
                    <a:off x="6304005" y="3587743"/>
                    <a:ext cx="12702" cy="305965"/>
                  </a:xfrm>
                  <a:custGeom>
                    <a:avLst/>
                    <a:gdLst>
                      <a:gd name="csX0" fmla="*/ 0 w 12702"/>
                      <a:gd name="csY0" fmla="*/ 0 h 305965"/>
                      <a:gd name="csX1" fmla="*/ 0 w 12702"/>
                      <a:gd name="csY1" fmla="*/ 305965 h 305965"/>
                    </a:gdLst>
                    <a:ahLst/>
                    <a:cxnLst>
                      <a:cxn ang="0">
                        <a:pos x="csX0" y="csY0"/>
                      </a:cxn>
                      <a:cxn ang="0">
                        <a:pos x="csX1" y="csY1"/>
                      </a:cxn>
                    </a:cxnLst>
                    <a:rect l="l" t="t" r="r" b="b"/>
                    <a:pathLst>
                      <a:path w="12702" h="305965">
                        <a:moveTo>
                          <a:pt x="0" y="0"/>
                        </a:moveTo>
                        <a:lnTo>
                          <a:pt x="0" y="305965"/>
                        </a:lnTo>
                      </a:path>
                    </a:pathLst>
                  </a:custGeom>
                  <a:ln w="1270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61" name="Rectangle 160">
                    <a:extLst>
                      <a:ext uri="{FF2B5EF4-FFF2-40B4-BE49-F238E27FC236}">
                        <a16:creationId xmlns:a16="http://schemas.microsoft.com/office/drawing/2014/main" id="{B1577370-45C9-F975-416E-B3E18F6F9990}"/>
                      </a:ext>
                    </a:extLst>
                  </p:cNvPr>
                  <p:cNvSpPr/>
                  <p:nvPr/>
                </p:nvSpPr>
                <p:spPr>
                  <a:xfrm>
                    <a:off x="6110803" y="3893708"/>
                    <a:ext cx="386403" cy="533412"/>
                  </a:xfrm>
                  <a:prstGeom prst="rect">
                    <a:avLst/>
                  </a:prstGeom>
                  <a:noFill/>
                  <a:ln w="1270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62" name="Freeform 161">
                    <a:extLst>
                      <a:ext uri="{FF2B5EF4-FFF2-40B4-BE49-F238E27FC236}">
                        <a16:creationId xmlns:a16="http://schemas.microsoft.com/office/drawing/2014/main" id="{A5C09656-50F4-A658-C9F1-CD3C64326C36}"/>
                      </a:ext>
                    </a:extLst>
                  </p:cNvPr>
                  <p:cNvSpPr/>
                  <p:nvPr/>
                </p:nvSpPr>
                <p:spPr>
                  <a:xfrm>
                    <a:off x="6110803" y="4272745"/>
                    <a:ext cx="386403" cy="12664"/>
                  </a:xfrm>
                  <a:custGeom>
                    <a:avLst/>
                    <a:gdLst>
                      <a:gd name="csX0" fmla="*/ 0 w 386403"/>
                      <a:gd name="csY0" fmla="*/ 0 h 12664"/>
                      <a:gd name="csX1" fmla="*/ 386403 w 386403"/>
                      <a:gd name="csY1" fmla="*/ 0 h 12664"/>
                    </a:gdLst>
                    <a:ahLst/>
                    <a:cxnLst>
                      <a:cxn ang="0">
                        <a:pos x="csX0" y="csY0"/>
                      </a:cxn>
                      <a:cxn ang="0">
                        <a:pos x="csX1" y="csY1"/>
                      </a:cxn>
                    </a:cxnLst>
                    <a:rect l="l" t="t" r="r" b="b"/>
                    <a:pathLst>
                      <a:path w="386403" h="12664">
                        <a:moveTo>
                          <a:pt x="0" y="0"/>
                        </a:moveTo>
                        <a:lnTo>
                          <a:pt x="386403" y="0"/>
                        </a:lnTo>
                      </a:path>
                    </a:pathLst>
                  </a:custGeom>
                  <a:ln w="1905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41" name="Graphic 4">
                  <a:extLst>
                    <a:ext uri="{FF2B5EF4-FFF2-40B4-BE49-F238E27FC236}">
                      <a16:creationId xmlns:a16="http://schemas.microsoft.com/office/drawing/2014/main" id="{7851ADDE-D7A4-4F72-1FAE-94A07FFB3470}"/>
                    </a:ext>
                  </a:extLst>
                </p:cNvPr>
                <p:cNvGrpSpPr/>
                <p:nvPr/>
              </p:nvGrpSpPr>
              <p:grpSpPr>
                <a:xfrm>
                  <a:off x="5600045" y="4199167"/>
                  <a:ext cx="386530" cy="325594"/>
                  <a:chOff x="5600045" y="4199167"/>
                  <a:chExt cx="386530" cy="325594"/>
                </a:xfrm>
                <a:noFill/>
              </p:grpSpPr>
              <p:sp>
                <p:nvSpPr>
                  <p:cNvPr id="156" name="Freeform 155">
                    <a:extLst>
                      <a:ext uri="{FF2B5EF4-FFF2-40B4-BE49-F238E27FC236}">
                        <a16:creationId xmlns:a16="http://schemas.microsoft.com/office/drawing/2014/main" id="{E5CB9E26-1DF5-F9DD-FC6C-C5110B19A3A0}"/>
                      </a:ext>
                    </a:extLst>
                  </p:cNvPr>
                  <p:cNvSpPr/>
                  <p:nvPr/>
                </p:nvSpPr>
                <p:spPr>
                  <a:xfrm>
                    <a:off x="5793246" y="4199167"/>
                    <a:ext cx="12702" cy="187302"/>
                  </a:xfrm>
                  <a:custGeom>
                    <a:avLst/>
                    <a:gdLst>
                      <a:gd name="csX0" fmla="*/ 0 w 12702"/>
                      <a:gd name="csY0" fmla="*/ 0 h 187302"/>
                      <a:gd name="csX1" fmla="*/ 0 w 12702"/>
                      <a:gd name="csY1" fmla="*/ 187302 h 187302"/>
                    </a:gdLst>
                    <a:ahLst/>
                    <a:cxnLst>
                      <a:cxn ang="0">
                        <a:pos x="csX0" y="csY0"/>
                      </a:cxn>
                      <a:cxn ang="0">
                        <a:pos x="csX1" y="csY1"/>
                      </a:cxn>
                    </a:cxnLst>
                    <a:rect l="l" t="t" r="r" b="b"/>
                    <a:pathLst>
                      <a:path w="12702" h="187302">
                        <a:moveTo>
                          <a:pt x="0" y="0"/>
                        </a:moveTo>
                        <a:lnTo>
                          <a:pt x="0" y="187302"/>
                        </a:lnTo>
                      </a:path>
                    </a:pathLst>
                  </a:custGeom>
                  <a:ln w="1270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57" name="Rectangle 156">
                    <a:extLst>
                      <a:ext uri="{FF2B5EF4-FFF2-40B4-BE49-F238E27FC236}">
                        <a16:creationId xmlns:a16="http://schemas.microsoft.com/office/drawing/2014/main" id="{DD888088-6EDC-9D47-E3D4-A824FB1134E1}"/>
                      </a:ext>
                    </a:extLst>
                  </p:cNvPr>
                  <p:cNvSpPr/>
                  <p:nvPr/>
                </p:nvSpPr>
                <p:spPr>
                  <a:xfrm>
                    <a:off x="5600045" y="4386469"/>
                    <a:ext cx="386403" cy="138292"/>
                  </a:xfrm>
                  <a:prstGeom prst="rect">
                    <a:avLst/>
                  </a:prstGeom>
                  <a:noFill/>
                  <a:ln w="1270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58" name="Freeform 157">
                    <a:extLst>
                      <a:ext uri="{FF2B5EF4-FFF2-40B4-BE49-F238E27FC236}">
                        <a16:creationId xmlns:a16="http://schemas.microsoft.com/office/drawing/2014/main" id="{1001D6F1-BD87-F580-EABB-5C911A95631D}"/>
                      </a:ext>
                    </a:extLst>
                  </p:cNvPr>
                  <p:cNvSpPr/>
                  <p:nvPr/>
                </p:nvSpPr>
                <p:spPr>
                  <a:xfrm>
                    <a:off x="5600045" y="4518556"/>
                    <a:ext cx="386530" cy="12664"/>
                  </a:xfrm>
                  <a:custGeom>
                    <a:avLst/>
                    <a:gdLst>
                      <a:gd name="csX0" fmla="*/ 0 w 386530"/>
                      <a:gd name="csY0" fmla="*/ 0 h 12664"/>
                      <a:gd name="csX1" fmla="*/ 386530 w 386530"/>
                      <a:gd name="csY1" fmla="*/ 0 h 12664"/>
                    </a:gdLst>
                    <a:ahLst/>
                    <a:cxnLst>
                      <a:cxn ang="0">
                        <a:pos x="csX0" y="csY0"/>
                      </a:cxn>
                      <a:cxn ang="0">
                        <a:pos x="csX1" y="csY1"/>
                      </a:cxn>
                    </a:cxnLst>
                    <a:rect l="l" t="t" r="r" b="b"/>
                    <a:pathLst>
                      <a:path w="386530" h="12664">
                        <a:moveTo>
                          <a:pt x="0" y="0"/>
                        </a:moveTo>
                        <a:lnTo>
                          <a:pt x="386530" y="0"/>
                        </a:lnTo>
                      </a:path>
                    </a:pathLst>
                  </a:custGeom>
                  <a:ln w="1905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42" name="Graphic 4">
                  <a:extLst>
                    <a:ext uri="{FF2B5EF4-FFF2-40B4-BE49-F238E27FC236}">
                      <a16:creationId xmlns:a16="http://schemas.microsoft.com/office/drawing/2014/main" id="{04DACF57-EBFE-AC9F-4554-8370E3F84204}"/>
                    </a:ext>
                  </a:extLst>
                </p:cNvPr>
                <p:cNvGrpSpPr/>
                <p:nvPr/>
              </p:nvGrpSpPr>
              <p:grpSpPr>
                <a:xfrm>
                  <a:off x="4578782" y="4518556"/>
                  <a:ext cx="386403" cy="9371"/>
                  <a:chOff x="4578782" y="4518556"/>
                  <a:chExt cx="386403" cy="9371"/>
                </a:xfrm>
                <a:noFill/>
              </p:grpSpPr>
              <p:sp>
                <p:nvSpPr>
                  <p:cNvPr id="154" name="Rectangle 153">
                    <a:extLst>
                      <a:ext uri="{FF2B5EF4-FFF2-40B4-BE49-F238E27FC236}">
                        <a16:creationId xmlns:a16="http://schemas.microsoft.com/office/drawing/2014/main" id="{DEE5A9AB-ABF7-DD3F-3C1D-834B5A6CE2B9}"/>
                      </a:ext>
                    </a:extLst>
                  </p:cNvPr>
                  <p:cNvSpPr/>
                  <p:nvPr/>
                </p:nvSpPr>
                <p:spPr>
                  <a:xfrm>
                    <a:off x="4578782" y="4518556"/>
                    <a:ext cx="386403" cy="9371"/>
                  </a:xfrm>
                  <a:prstGeom prst="rect">
                    <a:avLst/>
                  </a:prstGeom>
                  <a:noFill/>
                  <a:ln w="1270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55" name="Freeform 154">
                    <a:extLst>
                      <a:ext uri="{FF2B5EF4-FFF2-40B4-BE49-F238E27FC236}">
                        <a16:creationId xmlns:a16="http://schemas.microsoft.com/office/drawing/2014/main" id="{E3CB7BD6-8EA0-9143-1A7E-FA1048D66778}"/>
                      </a:ext>
                    </a:extLst>
                  </p:cNvPr>
                  <p:cNvSpPr/>
                  <p:nvPr/>
                </p:nvSpPr>
                <p:spPr>
                  <a:xfrm>
                    <a:off x="4578782" y="4522862"/>
                    <a:ext cx="386403" cy="12664"/>
                  </a:xfrm>
                  <a:custGeom>
                    <a:avLst/>
                    <a:gdLst>
                      <a:gd name="csX0" fmla="*/ 0 w 386403"/>
                      <a:gd name="csY0" fmla="*/ 0 h 12664"/>
                      <a:gd name="csX1" fmla="*/ 386403 w 386403"/>
                      <a:gd name="csY1" fmla="*/ 0 h 12664"/>
                    </a:gdLst>
                    <a:ahLst/>
                    <a:cxnLst>
                      <a:cxn ang="0">
                        <a:pos x="csX0" y="csY0"/>
                      </a:cxn>
                      <a:cxn ang="0">
                        <a:pos x="csX1" y="csY1"/>
                      </a:cxn>
                    </a:cxnLst>
                    <a:rect l="l" t="t" r="r" b="b"/>
                    <a:pathLst>
                      <a:path w="386403" h="12664">
                        <a:moveTo>
                          <a:pt x="0" y="0"/>
                        </a:moveTo>
                        <a:lnTo>
                          <a:pt x="386403" y="0"/>
                        </a:lnTo>
                      </a:path>
                    </a:pathLst>
                  </a:custGeom>
                  <a:ln w="1905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43" name="Graphic 4">
                  <a:extLst>
                    <a:ext uri="{FF2B5EF4-FFF2-40B4-BE49-F238E27FC236}">
                      <a16:creationId xmlns:a16="http://schemas.microsoft.com/office/drawing/2014/main" id="{6AC4BF8B-91CC-409C-6768-7B87B90017EC}"/>
                    </a:ext>
                  </a:extLst>
                </p:cNvPr>
                <p:cNvGrpSpPr/>
                <p:nvPr/>
              </p:nvGrpSpPr>
              <p:grpSpPr>
                <a:xfrm>
                  <a:off x="5089413" y="4518556"/>
                  <a:ext cx="386403" cy="9371"/>
                  <a:chOff x="5089413" y="4518556"/>
                  <a:chExt cx="386403" cy="9371"/>
                </a:xfrm>
                <a:noFill/>
              </p:grpSpPr>
              <p:sp>
                <p:nvSpPr>
                  <p:cNvPr id="152" name="Rectangle 151">
                    <a:extLst>
                      <a:ext uri="{FF2B5EF4-FFF2-40B4-BE49-F238E27FC236}">
                        <a16:creationId xmlns:a16="http://schemas.microsoft.com/office/drawing/2014/main" id="{7E6ED490-BDEE-988B-74BB-FD47DCB696F0}"/>
                      </a:ext>
                    </a:extLst>
                  </p:cNvPr>
                  <p:cNvSpPr/>
                  <p:nvPr/>
                </p:nvSpPr>
                <p:spPr>
                  <a:xfrm>
                    <a:off x="5089413" y="4518556"/>
                    <a:ext cx="386403" cy="9371"/>
                  </a:xfrm>
                  <a:prstGeom prst="rect">
                    <a:avLst/>
                  </a:prstGeom>
                  <a:noFill/>
                  <a:ln w="1270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53" name="Freeform 152">
                    <a:extLst>
                      <a:ext uri="{FF2B5EF4-FFF2-40B4-BE49-F238E27FC236}">
                        <a16:creationId xmlns:a16="http://schemas.microsoft.com/office/drawing/2014/main" id="{91AAE2B3-89B3-99DF-E8C1-4BF6A0DF2516}"/>
                      </a:ext>
                    </a:extLst>
                  </p:cNvPr>
                  <p:cNvSpPr/>
                  <p:nvPr/>
                </p:nvSpPr>
                <p:spPr>
                  <a:xfrm>
                    <a:off x="5089413" y="4522862"/>
                    <a:ext cx="386403" cy="12664"/>
                  </a:xfrm>
                  <a:custGeom>
                    <a:avLst/>
                    <a:gdLst>
                      <a:gd name="csX0" fmla="*/ 0 w 386403"/>
                      <a:gd name="csY0" fmla="*/ 0 h 12664"/>
                      <a:gd name="csX1" fmla="*/ 386403 w 386403"/>
                      <a:gd name="csY1" fmla="*/ 0 h 12664"/>
                    </a:gdLst>
                    <a:ahLst/>
                    <a:cxnLst>
                      <a:cxn ang="0">
                        <a:pos x="csX0" y="csY0"/>
                      </a:cxn>
                      <a:cxn ang="0">
                        <a:pos x="csX1" y="csY1"/>
                      </a:cxn>
                    </a:cxnLst>
                    <a:rect l="l" t="t" r="r" b="b"/>
                    <a:pathLst>
                      <a:path w="386403" h="12664">
                        <a:moveTo>
                          <a:pt x="0" y="0"/>
                        </a:moveTo>
                        <a:lnTo>
                          <a:pt x="386403" y="0"/>
                        </a:lnTo>
                      </a:path>
                    </a:pathLst>
                  </a:custGeom>
                  <a:ln w="1905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44" name="Graphic 4">
                  <a:extLst>
                    <a:ext uri="{FF2B5EF4-FFF2-40B4-BE49-F238E27FC236}">
                      <a16:creationId xmlns:a16="http://schemas.microsoft.com/office/drawing/2014/main" id="{73443E11-6B1E-00AF-FD67-FC438AE7D558}"/>
                    </a:ext>
                  </a:extLst>
                </p:cNvPr>
                <p:cNvGrpSpPr/>
                <p:nvPr/>
              </p:nvGrpSpPr>
              <p:grpSpPr>
                <a:xfrm>
                  <a:off x="8664214" y="3187683"/>
                  <a:ext cx="386403" cy="9371"/>
                  <a:chOff x="8664214" y="3187683"/>
                  <a:chExt cx="386403" cy="9371"/>
                </a:xfrm>
                <a:noFill/>
              </p:grpSpPr>
              <p:sp>
                <p:nvSpPr>
                  <p:cNvPr id="150" name="Rectangle 149">
                    <a:extLst>
                      <a:ext uri="{FF2B5EF4-FFF2-40B4-BE49-F238E27FC236}">
                        <a16:creationId xmlns:a16="http://schemas.microsoft.com/office/drawing/2014/main" id="{49827EC2-0F12-23BA-2C47-138C9563B372}"/>
                      </a:ext>
                    </a:extLst>
                  </p:cNvPr>
                  <p:cNvSpPr/>
                  <p:nvPr/>
                </p:nvSpPr>
                <p:spPr>
                  <a:xfrm>
                    <a:off x="8664214" y="3187683"/>
                    <a:ext cx="386403" cy="9371"/>
                  </a:xfrm>
                  <a:prstGeom prst="rect">
                    <a:avLst/>
                  </a:prstGeom>
                  <a:noFill/>
                  <a:ln w="1270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51" name="Freeform 150">
                    <a:extLst>
                      <a:ext uri="{FF2B5EF4-FFF2-40B4-BE49-F238E27FC236}">
                        <a16:creationId xmlns:a16="http://schemas.microsoft.com/office/drawing/2014/main" id="{0BB017BF-14A4-0F4A-2014-8CF83F9CCBCF}"/>
                      </a:ext>
                    </a:extLst>
                  </p:cNvPr>
                  <p:cNvSpPr/>
                  <p:nvPr/>
                </p:nvSpPr>
                <p:spPr>
                  <a:xfrm>
                    <a:off x="8664214" y="3192116"/>
                    <a:ext cx="386403" cy="12664"/>
                  </a:xfrm>
                  <a:custGeom>
                    <a:avLst/>
                    <a:gdLst>
                      <a:gd name="csX0" fmla="*/ 0 w 386403"/>
                      <a:gd name="csY0" fmla="*/ 0 h 12664"/>
                      <a:gd name="csX1" fmla="*/ 386403 w 386403"/>
                      <a:gd name="csY1" fmla="*/ 0 h 12664"/>
                    </a:gdLst>
                    <a:ahLst/>
                    <a:cxnLst>
                      <a:cxn ang="0">
                        <a:pos x="csX0" y="csY0"/>
                      </a:cxn>
                      <a:cxn ang="0">
                        <a:pos x="csX1" y="csY1"/>
                      </a:cxn>
                    </a:cxnLst>
                    <a:rect l="l" t="t" r="r" b="b"/>
                    <a:pathLst>
                      <a:path w="386403" h="12664">
                        <a:moveTo>
                          <a:pt x="0" y="0"/>
                        </a:moveTo>
                        <a:lnTo>
                          <a:pt x="386403" y="0"/>
                        </a:lnTo>
                      </a:path>
                    </a:pathLst>
                  </a:custGeom>
                  <a:ln w="1905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grpSp>
            <p:grpSp>
              <p:nvGrpSpPr>
                <p:cNvPr id="145" name="Graphic 4">
                  <a:extLst>
                    <a:ext uri="{FF2B5EF4-FFF2-40B4-BE49-F238E27FC236}">
                      <a16:creationId xmlns:a16="http://schemas.microsoft.com/office/drawing/2014/main" id="{437DC357-A72D-1BDE-30D4-7FE82677644F}"/>
                    </a:ext>
                  </a:extLst>
                </p:cNvPr>
                <p:cNvGrpSpPr/>
                <p:nvPr/>
              </p:nvGrpSpPr>
              <p:grpSpPr>
                <a:xfrm>
                  <a:off x="4068024" y="3131074"/>
                  <a:ext cx="386403" cy="1391787"/>
                  <a:chOff x="4068024" y="3131074"/>
                  <a:chExt cx="386403" cy="1391787"/>
                </a:xfrm>
                <a:noFill/>
              </p:grpSpPr>
              <p:sp>
                <p:nvSpPr>
                  <p:cNvPr id="146" name="Freeform 145">
                    <a:extLst>
                      <a:ext uri="{FF2B5EF4-FFF2-40B4-BE49-F238E27FC236}">
                        <a16:creationId xmlns:a16="http://schemas.microsoft.com/office/drawing/2014/main" id="{B0643683-0CDA-59DF-2A13-729C2D86718E}"/>
                      </a:ext>
                    </a:extLst>
                  </p:cNvPr>
                  <p:cNvSpPr/>
                  <p:nvPr/>
                </p:nvSpPr>
                <p:spPr>
                  <a:xfrm>
                    <a:off x="4261225" y="4514124"/>
                    <a:ext cx="12702" cy="8738"/>
                  </a:xfrm>
                  <a:custGeom>
                    <a:avLst/>
                    <a:gdLst>
                      <a:gd name="csX0" fmla="*/ 0 w 12702"/>
                      <a:gd name="csY0" fmla="*/ 0 h 8738"/>
                      <a:gd name="csX1" fmla="*/ 0 w 12702"/>
                      <a:gd name="csY1" fmla="*/ 8738 h 8738"/>
                    </a:gdLst>
                    <a:ahLst/>
                    <a:cxnLst>
                      <a:cxn ang="0">
                        <a:pos x="csX0" y="csY0"/>
                      </a:cxn>
                      <a:cxn ang="0">
                        <a:pos x="csX1" y="csY1"/>
                      </a:cxn>
                    </a:cxnLst>
                    <a:rect l="l" t="t" r="r" b="b"/>
                    <a:pathLst>
                      <a:path w="12702" h="8738">
                        <a:moveTo>
                          <a:pt x="0" y="0"/>
                        </a:moveTo>
                        <a:lnTo>
                          <a:pt x="0" y="8738"/>
                        </a:lnTo>
                      </a:path>
                    </a:pathLst>
                  </a:custGeom>
                  <a:ln w="1270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47" name="Freeform 146">
                    <a:extLst>
                      <a:ext uri="{FF2B5EF4-FFF2-40B4-BE49-F238E27FC236}">
                        <a16:creationId xmlns:a16="http://schemas.microsoft.com/office/drawing/2014/main" id="{1CF19B7B-3576-0234-8C89-2EBD18D414FF}"/>
                      </a:ext>
                    </a:extLst>
                  </p:cNvPr>
                  <p:cNvSpPr/>
                  <p:nvPr/>
                </p:nvSpPr>
                <p:spPr>
                  <a:xfrm>
                    <a:off x="4261225" y="3131074"/>
                    <a:ext cx="12702" cy="593314"/>
                  </a:xfrm>
                  <a:custGeom>
                    <a:avLst/>
                    <a:gdLst>
                      <a:gd name="csX0" fmla="*/ 0 w 12702"/>
                      <a:gd name="csY0" fmla="*/ 0 h 593314"/>
                      <a:gd name="csX1" fmla="*/ 0 w 12702"/>
                      <a:gd name="csY1" fmla="*/ 593314 h 593314"/>
                    </a:gdLst>
                    <a:ahLst/>
                    <a:cxnLst>
                      <a:cxn ang="0">
                        <a:pos x="csX0" y="csY0"/>
                      </a:cxn>
                      <a:cxn ang="0">
                        <a:pos x="csX1" y="csY1"/>
                      </a:cxn>
                    </a:cxnLst>
                    <a:rect l="l" t="t" r="r" b="b"/>
                    <a:pathLst>
                      <a:path w="12702" h="593314">
                        <a:moveTo>
                          <a:pt x="0" y="0"/>
                        </a:moveTo>
                        <a:lnTo>
                          <a:pt x="0" y="593314"/>
                        </a:lnTo>
                      </a:path>
                    </a:pathLst>
                  </a:custGeom>
                  <a:ln w="1270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48" name="Rectangle 147">
                    <a:extLst>
                      <a:ext uri="{FF2B5EF4-FFF2-40B4-BE49-F238E27FC236}">
                        <a16:creationId xmlns:a16="http://schemas.microsoft.com/office/drawing/2014/main" id="{34CACA59-A1F2-E1CB-D87E-ADE021A29812}"/>
                      </a:ext>
                    </a:extLst>
                  </p:cNvPr>
                  <p:cNvSpPr/>
                  <p:nvPr/>
                </p:nvSpPr>
                <p:spPr>
                  <a:xfrm>
                    <a:off x="4068024" y="3724389"/>
                    <a:ext cx="386403" cy="789734"/>
                  </a:xfrm>
                  <a:prstGeom prst="rect">
                    <a:avLst/>
                  </a:prstGeom>
                  <a:noFill/>
                  <a:ln w="1270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sp>
                <p:nvSpPr>
                  <p:cNvPr id="149" name="Freeform 148">
                    <a:extLst>
                      <a:ext uri="{FF2B5EF4-FFF2-40B4-BE49-F238E27FC236}">
                        <a16:creationId xmlns:a16="http://schemas.microsoft.com/office/drawing/2014/main" id="{3855BAF0-D770-C3F2-4F2C-81DF5EB0B079}"/>
                      </a:ext>
                    </a:extLst>
                  </p:cNvPr>
                  <p:cNvSpPr/>
                  <p:nvPr/>
                </p:nvSpPr>
                <p:spPr>
                  <a:xfrm>
                    <a:off x="4068024" y="4286169"/>
                    <a:ext cx="386403" cy="12664"/>
                  </a:xfrm>
                  <a:custGeom>
                    <a:avLst/>
                    <a:gdLst>
                      <a:gd name="csX0" fmla="*/ 0 w 386403"/>
                      <a:gd name="csY0" fmla="*/ 0 h 12664"/>
                      <a:gd name="csX1" fmla="*/ 386403 w 386403"/>
                      <a:gd name="csY1" fmla="*/ 0 h 12664"/>
                    </a:gdLst>
                    <a:ahLst/>
                    <a:cxnLst>
                      <a:cxn ang="0">
                        <a:pos x="csX0" y="csY0"/>
                      </a:cxn>
                      <a:cxn ang="0">
                        <a:pos x="csX1" y="csY1"/>
                      </a:cxn>
                    </a:cxnLst>
                    <a:rect l="l" t="t" r="r" b="b"/>
                    <a:pathLst>
                      <a:path w="386403" h="12664">
                        <a:moveTo>
                          <a:pt x="0" y="0"/>
                        </a:moveTo>
                        <a:lnTo>
                          <a:pt x="386403" y="0"/>
                        </a:lnTo>
                      </a:path>
                    </a:pathLst>
                  </a:custGeom>
                  <a:ln w="19050"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grpSp>
          </p:grpSp>
          <p:sp>
            <p:nvSpPr>
              <p:cNvPr id="124" name="TextBox 123">
                <a:extLst>
                  <a:ext uri="{FF2B5EF4-FFF2-40B4-BE49-F238E27FC236}">
                    <a16:creationId xmlns:a16="http://schemas.microsoft.com/office/drawing/2014/main" id="{1FEAB3F3-5DD7-20D5-2E44-1775A191E7E2}"/>
                  </a:ext>
                </a:extLst>
              </p:cNvPr>
              <p:cNvSpPr txBox="1"/>
              <p:nvPr/>
            </p:nvSpPr>
            <p:spPr>
              <a:xfrm>
                <a:off x="2557920" y="3608501"/>
                <a:ext cx="723017" cy="346356"/>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5mg</a:t>
                </a:r>
                <a:br>
                  <a:rPr kumimoji="0" lang="en-US" sz="1200"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br>
                <a:r>
                  <a:rPr kumimoji="0" lang="en-US" sz="1200" b="1" i="0" u="none" strike="noStrike" kern="1200" cap="none" spc="0" normalizeH="0" baseline="0" noProof="0" dirty="0" err="1">
                    <a:ln/>
                    <a:solidFill>
                      <a:srgbClr val="000000"/>
                    </a:solidFill>
                    <a:effectLst/>
                    <a:uLnTx/>
                    <a:uFillTx/>
                    <a:latin typeface="Arial"/>
                    <a:ea typeface="MS PGothic" panose="020B0600070205080204" pitchFamily="34" charset="-128"/>
                    <a:cs typeface="Arial"/>
                    <a:sym typeface="Arial"/>
                    <a:rtl val="0"/>
                  </a:rPr>
                  <a:t>glofitamab</a:t>
                </a:r>
                <a:endParaRPr kumimoji="0" lang="en-US" sz="1200" b="1"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endParaRPr>
              </a:p>
            </p:txBody>
          </p:sp>
          <p:grpSp>
            <p:nvGrpSpPr>
              <p:cNvPr id="125" name="Group 124">
                <a:extLst>
                  <a:ext uri="{FF2B5EF4-FFF2-40B4-BE49-F238E27FC236}">
                    <a16:creationId xmlns:a16="http://schemas.microsoft.com/office/drawing/2014/main" id="{C2CBF030-C986-BCE8-D049-5917949AFD9D}"/>
                  </a:ext>
                </a:extLst>
              </p:cNvPr>
              <p:cNvGrpSpPr/>
              <p:nvPr/>
            </p:nvGrpSpPr>
            <p:grpSpPr>
              <a:xfrm>
                <a:off x="2224142" y="3397793"/>
                <a:ext cx="5022244" cy="290001"/>
                <a:chOff x="4077524" y="5367900"/>
                <a:chExt cx="5022244" cy="290001"/>
              </a:xfrm>
            </p:grpSpPr>
            <p:sp>
              <p:nvSpPr>
                <p:cNvPr id="126" name="TextBox 125">
                  <a:extLst>
                    <a:ext uri="{FF2B5EF4-FFF2-40B4-BE49-F238E27FC236}">
                      <a16:creationId xmlns:a16="http://schemas.microsoft.com/office/drawing/2014/main" id="{1A418041-1EDE-1701-9C84-63B3A243CD8A}"/>
                    </a:ext>
                  </a:extLst>
                </p:cNvPr>
                <p:cNvSpPr txBox="1"/>
                <p:nvPr/>
              </p:nvSpPr>
              <p:spPr>
                <a:xfrm>
                  <a:off x="4077524" y="5373216"/>
                  <a:ext cx="369446" cy="284685"/>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C1D1</a:t>
                  </a:r>
                </a:p>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n=29</a:t>
                  </a:r>
                </a:p>
              </p:txBody>
            </p:sp>
            <p:sp>
              <p:nvSpPr>
                <p:cNvPr id="127" name="TextBox 126">
                  <a:extLst>
                    <a:ext uri="{FF2B5EF4-FFF2-40B4-BE49-F238E27FC236}">
                      <a16:creationId xmlns:a16="http://schemas.microsoft.com/office/drawing/2014/main" id="{EC4824E4-0FF1-A21F-4A7C-2899F0D09890}"/>
                    </a:ext>
                  </a:extLst>
                </p:cNvPr>
                <p:cNvSpPr txBox="1"/>
                <p:nvPr/>
              </p:nvSpPr>
              <p:spPr>
                <a:xfrm>
                  <a:off x="4588282" y="5373216"/>
                  <a:ext cx="369446" cy="284685"/>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C1D8</a:t>
                  </a:r>
                </a:p>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n=30</a:t>
                  </a:r>
                </a:p>
              </p:txBody>
            </p:sp>
            <p:sp>
              <p:nvSpPr>
                <p:cNvPr id="128" name="TextBox 127">
                  <a:extLst>
                    <a:ext uri="{FF2B5EF4-FFF2-40B4-BE49-F238E27FC236}">
                      <a16:creationId xmlns:a16="http://schemas.microsoft.com/office/drawing/2014/main" id="{A6252A9A-1FBC-86FF-2A03-BAAF71DA9E34}"/>
                    </a:ext>
                  </a:extLst>
                </p:cNvPr>
                <p:cNvSpPr txBox="1"/>
                <p:nvPr/>
              </p:nvSpPr>
              <p:spPr>
                <a:xfrm>
                  <a:off x="5077078" y="5373216"/>
                  <a:ext cx="415146" cy="284685"/>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0–6mo</a:t>
                  </a:r>
                </a:p>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n=18</a:t>
                  </a:r>
                </a:p>
              </p:txBody>
            </p:sp>
            <p:sp>
              <p:nvSpPr>
                <p:cNvPr id="129" name="TextBox 128">
                  <a:extLst>
                    <a:ext uri="{FF2B5EF4-FFF2-40B4-BE49-F238E27FC236}">
                      <a16:creationId xmlns:a16="http://schemas.microsoft.com/office/drawing/2014/main" id="{9F8AC643-2F0E-E407-D540-2160E323426A}"/>
                    </a:ext>
                  </a:extLst>
                </p:cNvPr>
                <p:cNvSpPr txBox="1"/>
                <p:nvPr/>
              </p:nvSpPr>
              <p:spPr>
                <a:xfrm>
                  <a:off x="5562659" y="5373216"/>
                  <a:ext cx="465656" cy="284685"/>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6–12mo</a:t>
                  </a:r>
                </a:p>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n=19</a:t>
                  </a:r>
                </a:p>
              </p:txBody>
            </p:sp>
            <p:sp>
              <p:nvSpPr>
                <p:cNvPr id="130" name="TextBox 129">
                  <a:extLst>
                    <a:ext uri="{FF2B5EF4-FFF2-40B4-BE49-F238E27FC236}">
                      <a16:creationId xmlns:a16="http://schemas.microsoft.com/office/drawing/2014/main" id="{CE5A8993-B34C-39C5-D3BD-F1B920396677}"/>
                    </a:ext>
                  </a:extLst>
                </p:cNvPr>
                <p:cNvSpPr txBox="1"/>
                <p:nvPr/>
              </p:nvSpPr>
              <p:spPr>
                <a:xfrm>
                  <a:off x="6048110" y="5373216"/>
                  <a:ext cx="516166" cy="284685"/>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2–18mo</a:t>
                  </a:r>
                </a:p>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n=18</a:t>
                  </a:r>
                </a:p>
              </p:txBody>
            </p:sp>
            <p:sp>
              <p:nvSpPr>
                <p:cNvPr id="131" name="TextBox 130">
                  <a:extLst>
                    <a:ext uri="{FF2B5EF4-FFF2-40B4-BE49-F238E27FC236}">
                      <a16:creationId xmlns:a16="http://schemas.microsoft.com/office/drawing/2014/main" id="{B8065732-1181-3A65-96FA-DE80B09B151E}"/>
                    </a:ext>
                  </a:extLst>
                </p:cNvPr>
                <p:cNvSpPr txBox="1"/>
                <p:nvPr/>
              </p:nvSpPr>
              <p:spPr>
                <a:xfrm>
                  <a:off x="6558870" y="5373216"/>
                  <a:ext cx="516166" cy="284685"/>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18–24mo</a:t>
                  </a:r>
                </a:p>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n=16</a:t>
                  </a:r>
                </a:p>
              </p:txBody>
            </p:sp>
            <p:sp>
              <p:nvSpPr>
                <p:cNvPr id="132" name="TextBox 131">
                  <a:extLst>
                    <a:ext uri="{FF2B5EF4-FFF2-40B4-BE49-F238E27FC236}">
                      <a16:creationId xmlns:a16="http://schemas.microsoft.com/office/drawing/2014/main" id="{E8C4D8B2-66CF-8F7E-2BD2-E226D5ADB3D7}"/>
                    </a:ext>
                  </a:extLst>
                </p:cNvPr>
                <p:cNvSpPr txBox="1"/>
                <p:nvPr/>
              </p:nvSpPr>
              <p:spPr>
                <a:xfrm>
                  <a:off x="7069501" y="5373216"/>
                  <a:ext cx="516166" cy="284685"/>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24–30mo</a:t>
                  </a:r>
                </a:p>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n=14</a:t>
                  </a:r>
                </a:p>
              </p:txBody>
            </p:sp>
            <p:sp>
              <p:nvSpPr>
                <p:cNvPr id="133" name="TextBox 132">
                  <a:extLst>
                    <a:ext uri="{FF2B5EF4-FFF2-40B4-BE49-F238E27FC236}">
                      <a16:creationId xmlns:a16="http://schemas.microsoft.com/office/drawing/2014/main" id="{CB28D326-4991-2209-818C-42FA1DF42CCA}"/>
                    </a:ext>
                  </a:extLst>
                </p:cNvPr>
                <p:cNvSpPr txBox="1"/>
                <p:nvPr/>
              </p:nvSpPr>
              <p:spPr>
                <a:xfrm>
                  <a:off x="7580133" y="5373216"/>
                  <a:ext cx="516166" cy="284685"/>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0–36mo</a:t>
                  </a:r>
                </a:p>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n=10</a:t>
                  </a:r>
                </a:p>
              </p:txBody>
            </p:sp>
            <p:sp>
              <p:nvSpPr>
                <p:cNvPr id="134" name="TextBox 133">
                  <a:extLst>
                    <a:ext uri="{FF2B5EF4-FFF2-40B4-BE49-F238E27FC236}">
                      <a16:creationId xmlns:a16="http://schemas.microsoft.com/office/drawing/2014/main" id="{BB218CF4-8D68-7CCC-AAFB-2C7CB651A802}"/>
                    </a:ext>
                  </a:extLst>
                </p:cNvPr>
                <p:cNvSpPr txBox="1"/>
                <p:nvPr/>
              </p:nvSpPr>
              <p:spPr>
                <a:xfrm>
                  <a:off x="8090891" y="5373216"/>
                  <a:ext cx="516166" cy="284685"/>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36–42mo</a:t>
                  </a:r>
                </a:p>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n=4</a:t>
                  </a:r>
                </a:p>
              </p:txBody>
            </p:sp>
            <p:sp>
              <p:nvSpPr>
                <p:cNvPr id="135" name="TextBox 134">
                  <a:extLst>
                    <a:ext uri="{FF2B5EF4-FFF2-40B4-BE49-F238E27FC236}">
                      <a16:creationId xmlns:a16="http://schemas.microsoft.com/office/drawing/2014/main" id="{D7F1E213-0F3A-C433-78C3-A45E26876F84}"/>
                    </a:ext>
                  </a:extLst>
                </p:cNvPr>
                <p:cNvSpPr txBox="1"/>
                <p:nvPr/>
              </p:nvSpPr>
              <p:spPr>
                <a:xfrm>
                  <a:off x="8583602" y="5367900"/>
                  <a:ext cx="516166" cy="284685"/>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42–48mo</a:t>
                  </a:r>
                  <a:b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br>
                  <a:r>
                    <a:rPr kumimoji="0" lang="en-US" sz="933" b="0" i="0" u="none" strike="noStrike" kern="1200" cap="none" spc="0" normalizeH="0" baseline="0" noProof="0" dirty="0">
                      <a:ln/>
                      <a:solidFill>
                        <a:srgbClr val="000000"/>
                      </a:solidFill>
                      <a:effectLst/>
                      <a:uLnTx/>
                      <a:uFillTx/>
                      <a:latin typeface="Arial"/>
                      <a:ea typeface="MS PGothic" panose="020B0600070205080204" pitchFamily="34" charset="-128"/>
                      <a:cs typeface="Arial"/>
                      <a:sym typeface="Arial"/>
                      <a:rtl val="0"/>
                    </a:rPr>
                    <a:t>n=1</a:t>
                  </a:r>
                </a:p>
              </p:txBody>
            </p:sp>
          </p:grpSp>
        </p:grpSp>
        <p:sp>
          <p:nvSpPr>
            <p:cNvPr id="3" name="Freeform 201">
              <a:extLst>
                <a:ext uri="{FF2B5EF4-FFF2-40B4-BE49-F238E27FC236}">
                  <a16:creationId xmlns:a16="http://schemas.microsoft.com/office/drawing/2014/main" id="{142ED140-D6E6-56E8-9902-80336FD2473F}"/>
                </a:ext>
              </a:extLst>
            </p:cNvPr>
            <p:cNvSpPr/>
            <p:nvPr/>
          </p:nvSpPr>
          <p:spPr>
            <a:xfrm>
              <a:off x="6721085" y="3769740"/>
              <a:ext cx="65798" cy="75857"/>
            </a:xfrm>
            <a:custGeom>
              <a:avLst/>
              <a:gdLst>
                <a:gd name="csX0" fmla="*/ 0 w 65798"/>
                <a:gd name="csY0" fmla="*/ 75858 h 75857"/>
                <a:gd name="csX1" fmla="*/ 65798 w 65798"/>
                <a:gd name="csY1" fmla="*/ 37866 h 75857"/>
                <a:gd name="csX2" fmla="*/ 0 w 65798"/>
                <a:gd name="csY2" fmla="*/ 0 h 75857"/>
                <a:gd name="csX3" fmla="*/ 0 w 65798"/>
                <a:gd name="csY3" fmla="*/ 75858 h 75857"/>
              </a:gdLst>
              <a:ahLst/>
              <a:cxnLst>
                <a:cxn ang="0">
                  <a:pos x="csX0" y="csY0"/>
                </a:cxn>
                <a:cxn ang="0">
                  <a:pos x="csX1" y="csY1"/>
                </a:cxn>
                <a:cxn ang="0">
                  <a:pos x="csX2" y="csY2"/>
                </a:cxn>
                <a:cxn ang="0">
                  <a:pos x="csX3" y="csY3"/>
                </a:cxn>
              </a:cxnLst>
              <a:rect l="l" t="t" r="r" b="b"/>
              <a:pathLst>
                <a:path w="65798" h="75857">
                  <a:moveTo>
                    <a:pt x="0" y="75858"/>
                  </a:moveTo>
                  <a:lnTo>
                    <a:pt x="65798" y="37866"/>
                  </a:lnTo>
                  <a:lnTo>
                    <a:pt x="0" y="0"/>
                  </a:lnTo>
                  <a:lnTo>
                    <a:pt x="0" y="75858"/>
                  </a:lnTo>
                  <a:close/>
                </a:path>
              </a:pathLst>
            </a:custGeom>
            <a:solidFill>
              <a:srgbClr val="0B41CD"/>
            </a:solidFill>
            <a:ln w="12700" cap="flat">
              <a:no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S PGothic" panose="020B0600070205080204" pitchFamily="34" charset="-128"/>
                <a:cs typeface="+mn-cs"/>
              </a:endParaRPr>
            </a:p>
          </p:txBody>
        </p:sp>
      </p:grpSp>
      <p:sp>
        <p:nvSpPr>
          <p:cNvPr id="5" name="TextBox 4">
            <a:extLst>
              <a:ext uri="{FF2B5EF4-FFF2-40B4-BE49-F238E27FC236}">
                <a16:creationId xmlns:a16="http://schemas.microsoft.com/office/drawing/2014/main" id="{19542D31-5CBB-748E-9012-6B681318F1D5}"/>
              </a:ext>
            </a:extLst>
          </p:cNvPr>
          <p:cNvSpPr txBox="1"/>
          <p:nvPr/>
        </p:nvSpPr>
        <p:spPr>
          <a:xfrm>
            <a:off x="9514400" y="6442700"/>
            <a:ext cx="2407903" cy="338554"/>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544F4F">
                    <a:lumMod val="50000"/>
                  </a:srgbClr>
                </a:solidFill>
                <a:effectLst/>
                <a:uLnTx/>
                <a:uFillTx/>
                <a:latin typeface="Arial" panose="020B0604020202020204"/>
                <a:ea typeface="MS PGothic" panose="020B0600070205080204" pitchFamily="34" charset="-128"/>
                <a:cs typeface="+mn-cs"/>
              </a:rPr>
              <a:t>Karimi et al. ASCO 2026</a:t>
            </a:r>
          </a:p>
        </p:txBody>
      </p:sp>
    </p:spTree>
    <p:extLst>
      <p:ext uri="{BB962C8B-B14F-4D97-AF65-F5344CB8AC3E}">
        <p14:creationId xmlns:p14="http://schemas.microsoft.com/office/powerpoint/2010/main" val="31871084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A58828-907F-3E4C-8027-B3C297847B1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B9E5529-AA3C-18F1-64FB-49DCC227D35E}"/>
              </a:ext>
            </a:extLst>
          </p:cNvPr>
          <p:cNvSpPr>
            <a:spLocks noGrp="1"/>
          </p:cNvSpPr>
          <p:nvPr>
            <p:ph type="title"/>
          </p:nvPr>
        </p:nvSpPr>
        <p:spPr/>
        <p:txBody>
          <a:bodyPr/>
          <a:lstStyle/>
          <a:p>
            <a:r>
              <a:rPr lang="en-US" dirty="0" err="1"/>
              <a:t>Surovatamig</a:t>
            </a:r>
            <a:r>
              <a:rPr lang="en-US" dirty="0"/>
              <a:t> Phase I Study: FL Cohort</a:t>
            </a:r>
          </a:p>
        </p:txBody>
      </p:sp>
      <p:pic>
        <p:nvPicPr>
          <p:cNvPr id="5" name="Picture 4">
            <a:extLst>
              <a:ext uri="{FF2B5EF4-FFF2-40B4-BE49-F238E27FC236}">
                <a16:creationId xmlns:a16="http://schemas.microsoft.com/office/drawing/2014/main" id="{D8952468-5FE5-E1BE-2D0D-FC1436595D26}"/>
              </a:ext>
            </a:extLst>
          </p:cNvPr>
          <p:cNvPicPr>
            <a:picLocks noChangeAspect="1"/>
          </p:cNvPicPr>
          <p:nvPr/>
        </p:nvPicPr>
        <p:blipFill>
          <a:blip r:embed="rId2"/>
          <a:stretch>
            <a:fillRect/>
          </a:stretch>
        </p:blipFill>
        <p:spPr>
          <a:xfrm>
            <a:off x="1266824" y="1409095"/>
            <a:ext cx="9658351" cy="5011227"/>
          </a:xfrm>
          <a:prstGeom prst="rect">
            <a:avLst/>
          </a:prstGeom>
        </p:spPr>
      </p:pic>
      <p:sp>
        <p:nvSpPr>
          <p:cNvPr id="7" name="TextBox 6">
            <a:extLst>
              <a:ext uri="{FF2B5EF4-FFF2-40B4-BE49-F238E27FC236}">
                <a16:creationId xmlns:a16="http://schemas.microsoft.com/office/drawing/2014/main" id="{33B2CCB8-71F2-A450-F579-5997C8185CD6}"/>
              </a:ext>
            </a:extLst>
          </p:cNvPr>
          <p:cNvSpPr txBox="1"/>
          <p:nvPr/>
        </p:nvSpPr>
        <p:spPr>
          <a:xfrm>
            <a:off x="6782950" y="6488668"/>
            <a:ext cx="3470565" cy="338554"/>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rPr>
              <a:t>Hou et al. ASH 2025; Abstract 1005.</a:t>
            </a:r>
          </a:p>
        </p:txBody>
      </p:sp>
    </p:spTree>
    <p:extLst>
      <p:ext uri="{BB962C8B-B14F-4D97-AF65-F5344CB8AC3E}">
        <p14:creationId xmlns:p14="http://schemas.microsoft.com/office/powerpoint/2010/main" val="14996506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45D941-3DFA-3E34-192C-96B99038863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2ED747A-7C62-5BD7-831D-3D94BE2321EC}"/>
              </a:ext>
            </a:extLst>
          </p:cNvPr>
          <p:cNvSpPr>
            <a:spLocks noGrp="1"/>
          </p:cNvSpPr>
          <p:nvPr>
            <p:ph type="title"/>
          </p:nvPr>
        </p:nvSpPr>
        <p:spPr/>
        <p:txBody>
          <a:bodyPr/>
          <a:lstStyle/>
          <a:p>
            <a:r>
              <a:rPr lang="en-US" dirty="0" err="1"/>
              <a:t>Surovatamig</a:t>
            </a:r>
            <a:r>
              <a:rPr lang="en-US" dirty="0"/>
              <a:t> Phase I Study: Response Rates in FL Cohort</a:t>
            </a:r>
          </a:p>
        </p:txBody>
      </p:sp>
      <p:sp>
        <p:nvSpPr>
          <p:cNvPr id="7" name="TextBox 6">
            <a:extLst>
              <a:ext uri="{FF2B5EF4-FFF2-40B4-BE49-F238E27FC236}">
                <a16:creationId xmlns:a16="http://schemas.microsoft.com/office/drawing/2014/main" id="{DA83E7CC-A193-F4AB-C5B3-A4B2D11AC998}"/>
              </a:ext>
            </a:extLst>
          </p:cNvPr>
          <p:cNvSpPr txBox="1"/>
          <p:nvPr/>
        </p:nvSpPr>
        <p:spPr>
          <a:xfrm>
            <a:off x="6782950" y="6488668"/>
            <a:ext cx="3470565" cy="338554"/>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rPr>
              <a:t>Hou et al. ASH 2025; Abstract 1005.</a:t>
            </a:r>
          </a:p>
        </p:txBody>
      </p:sp>
      <p:pic>
        <p:nvPicPr>
          <p:cNvPr id="4" name="Picture 3" descr="A graph of a number of different types of drugs&#10;&#10;AI-generated content may be incorrect.">
            <a:extLst>
              <a:ext uri="{FF2B5EF4-FFF2-40B4-BE49-F238E27FC236}">
                <a16:creationId xmlns:a16="http://schemas.microsoft.com/office/drawing/2014/main" id="{F6F58A17-D948-BA4D-8664-AA0F793F752C}"/>
              </a:ext>
            </a:extLst>
          </p:cNvPr>
          <p:cNvPicPr>
            <a:picLocks noChangeAspect="1"/>
          </p:cNvPicPr>
          <p:nvPr/>
        </p:nvPicPr>
        <p:blipFill>
          <a:blip r:embed="rId2"/>
          <a:stretch>
            <a:fillRect/>
          </a:stretch>
        </p:blipFill>
        <p:spPr>
          <a:xfrm>
            <a:off x="2052765" y="1450258"/>
            <a:ext cx="8086470" cy="3567808"/>
          </a:xfrm>
          <a:prstGeom prst="rect">
            <a:avLst/>
          </a:prstGeom>
        </p:spPr>
      </p:pic>
      <p:sp>
        <p:nvSpPr>
          <p:cNvPr id="10" name="TextBox 9">
            <a:extLst>
              <a:ext uri="{FF2B5EF4-FFF2-40B4-BE49-F238E27FC236}">
                <a16:creationId xmlns:a16="http://schemas.microsoft.com/office/drawing/2014/main" id="{275CF8B8-D36A-5A8A-4565-281C71E005DA}"/>
              </a:ext>
            </a:extLst>
          </p:cNvPr>
          <p:cNvSpPr txBox="1"/>
          <p:nvPr/>
        </p:nvSpPr>
        <p:spPr>
          <a:xfrm>
            <a:off x="788276" y="5018066"/>
            <a:ext cx="10615448" cy="113877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rPr>
              <a:t>Responses were noted in various patient subgroups examined, including those with prior exposure to CD19 CAR T and CD20 T-cell engager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rPr>
              <a:t>95% of MRD-evaluable patients with CR achieved undetectable MRD</a:t>
            </a:r>
          </a:p>
        </p:txBody>
      </p:sp>
    </p:spTree>
    <p:extLst>
      <p:ext uri="{BB962C8B-B14F-4D97-AF65-F5344CB8AC3E}">
        <p14:creationId xmlns:p14="http://schemas.microsoft.com/office/powerpoint/2010/main" val="21170044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E7D0B-FADA-8268-1842-461B5E38305F}"/>
              </a:ext>
            </a:extLst>
          </p:cNvPr>
          <p:cNvSpPr>
            <a:spLocks noGrp="1"/>
          </p:cNvSpPr>
          <p:nvPr>
            <p:ph type="title"/>
          </p:nvPr>
        </p:nvSpPr>
        <p:spPr>
          <a:xfrm>
            <a:off x="208548" y="513347"/>
            <a:ext cx="11773656" cy="1812758"/>
          </a:xfrm>
        </p:spPr>
        <p:txBody>
          <a:bodyPr>
            <a:normAutofit fontScale="90000"/>
          </a:bodyPr>
          <a:lstStyle/>
          <a:p>
            <a:r>
              <a:rPr lang="en-US" dirty="0"/>
              <a:t>                       </a:t>
            </a:r>
            <a:r>
              <a:rPr lang="en-US" sz="3600" dirty="0">
                <a:latin typeface="Arial" panose="020B0604020202020204" pitchFamily="34" charset="0"/>
                <a:cs typeface="Arial" panose="020B0604020202020204" pitchFamily="34" charset="0"/>
              </a:rPr>
              <a:t>Phase III SOUNDTRACK-F1 study</a:t>
            </a:r>
            <a:br>
              <a:rPr lang="en-US" sz="3600" dirty="0">
                <a:latin typeface="Arial" panose="020B0604020202020204" pitchFamily="34" charset="0"/>
                <a:cs typeface="Arial" panose="020B0604020202020204" pitchFamily="34" charset="0"/>
              </a:rPr>
            </a:br>
            <a:r>
              <a:rPr lang="en-US" sz="3100" dirty="0">
                <a:latin typeface="Arial" panose="020B0604020202020204" pitchFamily="34" charset="0"/>
                <a:cs typeface="Arial" panose="020B0604020202020204" pitchFamily="34" charset="0"/>
              </a:rPr>
              <a:t>Global, Randomized, Phase 3, Multicenter, Open-label Study of</a:t>
            </a:r>
            <a:br>
              <a:rPr lang="en-US" sz="3100" dirty="0">
                <a:latin typeface="Arial" panose="020B0604020202020204" pitchFamily="34" charset="0"/>
                <a:cs typeface="Arial" panose="020B0604020202020204" pitchFamily="34" charset="0"/>
              </a:rPr>
            </a:br>
            <a:r>
              <a:rPr lang="en-US" sz="3100" dirty="0">
                <a:latin typeface="Arial" panose="020B0604020202020204" pitchFamily="34" charset="0"/>
                <a:cs typeface="Arial" panose="020B0604020202020204" pitchFamily="34" charset="0"/>
              </a:rPr>
              <a:t>Surovatamig Plus Rituximab in Patients With Previously Untreated High Tumor Burden FL </a:t>
            </a:r>
            <a:br>
              <a:rPr lang="en-US" dirty="0"/>
            </a:br>
            <a:br>
              <a:rPr lang="en-US" dirty="0"/>
            </a:br>
            <a:endParaRPr lang="en-US" dirty="0"/>
          </a:p>
        </p:txBody>
      </p:sp>
      <p:pic>
        <p:nvPicPr>
          <p:cNvPr id="10" name="Picture 9" descr="A screenshot of a medical report&#10;&#10;AI-generated content may be incorrect.">
            <a:extLst>
              <a:ext uri="{FF2B5EF4-FFF2-40B4-BE49-F238E27FC236}">
                <a16:creationId xmlns:a16="http://schemas.microsoft.com/office/drawing/2014/main" id="{5FAFA694-D275-1758-DC3D-73BCFFE7C0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768642"/>
            <a:ext cx="5715000" cy="5089358"/>
          </a:xfrm>
          <a:prstGeom prst="rect">
            <a:avLst/>
          </a:prstGeom>
        </p:spPr>
      </p:pic>
      <p:pic>
        <p:nvPicPr>
          <p:cNvPr id="12" name="Picture 11" descr="A diagram of a diagram&#10;&#10;AI-generated content may be incorrect.">
            <a:extLst>
              <a:ext uri="{FF2B5EF4-FFF2-40B4-BE49-F238E27FC236}">
                <a16:creationId xmlns:a16="http://schemas.microsoft.com/office/drawing/2014/main" id="{24A591C5-8A0A-B685-11C6-3E4CA9D043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15001" y="1507958"/>
            <a:ext cx="6267204" cy="4796449"/>
          </a:xfrm>
          <a:prstGeom prst="rect">
            <a:avLst/>
          </a:prstGeom>
        </p:spPr>
      </p:pic>
      <p:sp>
        <p:nvSpPr>
          <p:cNvPr id="13" name="TextBox 12">
            <a:extLst>
              <a:ext uri="{FF2B5EF4-FFF2-40B4-BE49-F238E27FC236}">
                <a16:creationId xmlns:a16="http://schemas.microsoft.com/office/drawing/2014/main" id="{8EA4356C-4346-F59E-1B83-643C2015A778}"/>
              </a:ext>
            </a:extLst>
          </p:cNvPr>
          <p:cNvSpPr txBox="1"/>
          <p:nvPr/>
        </p:nvSpPr>
        <p:spPr>
          <a:xfrm>
            <a:off x="9943884" y="6488668"/>
            <a:ext cx="224811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rPr>
              <a:t>Cheah et al ASH 2025 </a:t>
            </a:r>
          </a:p>
        </p:txBody>
      </p:sp>
    </p:spTree>
    <p:extLst>
      <p:ext uri="{BB962C8B-B14F-4D97-AF65-F5344CB8AC3E}">
        <p14:creationId xmlns:p14="http://schemas.microsoft.com/office/powerpoint/2010/main" val="1469137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0AE107-23C1-8797-BEB8-A361151A7E9F}"/>
              </a:ext>
            </a:extLst>
          </p:cNvPr>
          <p:cNvSpPr>
            <a:spLocks noGrp="1"/>
          </p:cNvSpPr>
          <p:nvPr>
            <p:ph type="title"/>
          </p:nvPr>
        </p:nvSpPr>
        <p:spPr/>
        <p:txBody>
          <a:bodyPr/>
          <a:lstStyle/>
          <a:p>
            <a:r>
              <a:rPr lang="en-US" dirty="0"/>
              <a:t>Conclusion</a:t>
            </a:r>
          </a:p>
        </p:txBody>
      </p:sp>
      <p:sp>
        <p:nvSpPr>
          <p:cNvPr id="3" name="Content Placeholder 2">
            <a:extLst>
              <a:ext uri="{FF2B5EF4-FFF2-40B4-BE49-F238E27FC236}">
                <a16:creationId xmlns:a16="http://schemas.microsoft.com/office/drawing/2014/main" id="{7788B244-D299-2258-5F7C-5FB251B36E0E}"/>
              </a:ext>
            </a:extLst>
          </p:cNvPr>
          <p:cNvSpPr>
            <a:spLocks noGrp="1"/>
          </p:cNvSpPr>
          <p:nvPr>
            <p:ph idx="1"/>
          </p:nvPr>
        </p:nvSpPr>
        <p:spPr>
          <a:xfrm>
            <a:off x="332317" y="1451347"/>
            <a:ext cx="11332633" cy="4525963"/>
          </a:xfrm>
        </p:spPr>
        <p:txBody>
          <a:bodyPr/>
          <a:lstStyle/>
          <a:p>
            <a:pPr>
              <a:buFont typeface="Arial" panose="020B0604020202020204" pitchFamily="34" charset="0"/>
              <a:buChar char="•"/>
            </a:pPr>
            <a:r>
              <a:rPr lang="en-US" sz="2400" dirty="0"/>
              <a:t>Bispecific antibodies w/ excellent response rate and safety as single agents in FL. </a:t>
            </a:r>
          </a:p>
          <a:p>
            <a:pPr>
              <a:buFont typeface="Arial" panose="020B0604020202020204" pitchFamily="34" charset="0"/>
              <a:buChar char="•"/>
            </a:pPr>
            <a:r>
              <a:rPr lang="en-US" sz="2400" dirty="0"/>
              <a:t>Combination w/ lenalidomide has helped to improve DOR, ORR, PFS, and TTNT.</a:t>
            </a:r>
          </a:p>
          <a:p>
            <a:pPr lvl="1">
              <a:buFont typeface="Arial" panose="020B0604020202020204" pitchFamily="34" charset="0"/>
              <a:buChar char="•"/>
            </a:pPr>
            <a:r>
              <a:rPr lang="en-US" dirty="0"/>
              <a:t>Impressive data in 2L FL and pending studies in 1L setting vs. rituximab (asymptomatic patients) and CIT (symptomatic by GELF).</a:t>
            </a:r>
          </a:p>
          <a:p>
            <a:pPr>
              <a:buFont typeface="Arial" panose="020B0604020202020204" pitchFamily="34" charset="0"/>
              <a:buChar char="•"/>
            </a:pPr>
            <a:r>
              <a:rPr lang="en-US" sz="2400" dirty="0"/>
              <a:t>Additional options need in R/R MCL.</a:t>
            </a:r>
          </a:p>
          <a:p>
            <a:pPr lvl="1">
              <a:buFont typeface="Arial" panose="020B0604020202020204" pitchFamily="34" charset="0"/>
              <a:buChar char="•"/>
            </a:pPr>
            <a:r>
              <a:rPr lang="en-US" dirty="0"/>
              <a:t>Time limited </a:t>
            </a:r>
            <a:r>
              <a:rPr lang="en-US" dirty="0" err="1"/>
              <a:t>glofitamab</a:t>
            </a:r>
            <a:r>
              <a:rPr lang="en-US" dirty="0"/>
              <a:t> w/ durable responses in patients who obtain a complete response</a:t>
            </a:r>
          </a:p>
          <a:p>
            <a:pPr lvl="2">
              <a:buFont typeface="Arial" panose="020B0604020202020204" pitchFamily="34" charset="0"/>
              <a:buChar char="•"/>
            </a:pPr>
            <a:r>
              <a:rPr lang="en-US" sz="2400" dirty="0"/>
              <a:t>Especially notable in those who maintain a CR at EOT.</a:t>
            </a:r>
          </a:p>
          <a:p>
            <a:pPr lvl="2">
              <a:buFont typeface="Arial" panose="020B0604020202020204" pitchFamily="34" charset="0"/>
              <a:buChar char="•"/>
            </a:pPr>
            <a:r>
              <a:rPr lang="en-US" sz="2400" dirty="0"/>
              <a:t>Improvement in rates/severity of CRS is needed.</a:t>
            </a:r>
          </a:p>
          <a:p>
            <a:pPr lvl="1">
              <a:buFont typeface="Arial" panose="020B0604020202020204" pitchFamily="34" charset="0"/>
              <a:buChar char="•"/>
            </a:pPr>
            <a:endParaRPr lang="en-US" dirty="0"/>
          </a:p>
        </p:txBody>
      </p:sp>
    </p:spTree>
    <p:extLst>
      <p:ext uri="{BB962C8B-B14F-4D97-AF65-F5344CB8AC3E}">
        <p14:creationId xmlns:p14="http://schemas.microsoft.com/office/powerpoint/2010/main" val="32242076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3"/>
          <p:cNvSpPr>
            <a:spLocks noChangeArrowheads="1"/>
          </p:cNvSpPr>
          <p:nvPr/>
        </p:nvSpPr>
        <p:spPr bwMode="auto">
          <a:xfrm>
            <a:off x="1920479" y="168653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A link to the program slides will be posted in the chat room at the start of the program.</a:t>
            </a:r>
          </a:p>
        </p:txBody>
      </p:sp>
      <p:sp>
        <p:nvSpPr>
          <p:cNvPr id="23" name="Rectangle 13"/>
          <p:cNvSpPr>
            <a:spLocks noChangeArrowheads="1"/>
          </p:cNvSpPr>
          <p:nvPr/>
        </p:nvSpPr>
        <p:spPr bwMode="auto">
          <a:xfrm>
            <a:off x="1920479" y="282421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pre- and </a:t>
            </a:r>
            <a:r>
              <a:rPr kumimoji="0" lang="en-US" sz="21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ostmeeting</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urveys.</a:t>
            </a:r>
          </a:p>
        </p:txBody>
      </p:sp>
      <p:sp>
        <p:nvSpPr>
          <p:cNvPr id="25" name="Rectangle 13"/>
          <p:cNvSpPr>
            <a:spLocks noChangeArrowheads="1"/>
          </p:cNvSpPr>
          <p:nvPr/>
        </p:nvSpPr>
        <p:spPr bwMode="auto">
          <a:xfrm>
            <a:off x="1920479" y="401339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Submit a challenging case or question for discussion using the Zoom chat room.</a:t>
            </a:r>
          </a:p>
        </p:txBody>
      </p:sp>
      <p:sp>
        <p:nvSpPr>
          <p:cNvPr id="26" name="Rectangle 13"/>
          <p:cNvSpPr>
            <a:spLocks noChangeArrowheads="1"/>
          </p:cNvSpPr>
          <p:nvPr/>
        </p:nvSpPr>
        <p:spPr bwMode="auto">
          <a:xfrm>
            <a:off x="1920479" y="5219346"/>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9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Get CME Credit: A credit link will be provided in the chat room at the conclusion of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64030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398396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2809741"/>
            <a:ext cx="1005840" cy="774684"/>
          </a:xfrm>
          <a:prstGeom prst="rect">
            <a:avLst/>
          </a:prstGeom>
        </p:spPr>
      </p:pic>
      <p:pic>
        <p:nvPicPr>
          <p:cNvPr id="30" name="Picture 29" descr="ASCO-GI-16_iPad-icons_v1fr-cm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4639" y="5159605"/>
            <a:ext cx="1005840" cy="765179"/>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Attending via Zoom</a:t>
            </a:r>
          </a:p>
        </p:txBody>
      </p:sp>
    </p:spTree>
    <p:extLst>
      <p:ext uri="{BB962C8B-B14F-4D97-AF65-F5344CB8AC3E}">
        <p14:creationId xmlns:p14="http://schemas.microsoft.com/office/powerpoint/2010/main" val="27485660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A202C5-C303-A22A-CB53-A1DEFE1AED7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BE3934B-D672-2A1E-EAA1-E321B71D1D55}"/>
              </a:ext>
            </a:extLst>
          </p:cNvPr>
          <p:cNvSpPr>
            <a:spLocks noGrp="1"/>
          </p:cNvSpPr>
          <p:nvPr>
            <p:ph type="title"/>
          </p:nvPr>
        </p:nvSpPr>
        <p:spPr>
          <a:xfrm>
            <a:off x="912286" y="83793"/>
            <a:ext cx="10358967" cy="1143000"/>
          </a:xfrm>
        </p:spPr>
        <p:txBody>
          <a:bodyPr/>
          <a:lstStyle/>
          <a:p>
            <a:r>
              <a:rPr lang="en-US" sz="3600" dirty="0"/>
              <a:t>Discussion Questions</a:t>
            </a:r>
          </a:p>
        </p:txBody>
      </p:sp>
      <p:sp>
        <p:nvSpPr>
          <p:cNvPr id="3" name="Content Placeholder 2">
            <a:extLst>
              <a:ext uri="{FF2B5EF4-FFF2-40B4-BE49-F238E27FC236}">
                <a16:creationId xmlns:a16="http://schemas.microsoft.com/office/drawing/2014/main" id="{DDAE0FC4-9756-8A85-35D7-EAC5995B0E4E}"/>
              </a:ext>
            </a:extLst>
          </p:cNvPr>
          <p:cNvSpPr>
            <a:spLocks noGrp="1"/>
          </p:cNvSpPr>
          <p:nvPr>
            <p:ph idx="1"/>
          </p:nvPr>
        </p:nvSpPr>
        <p:spPr>
          <a:xfrm>
            <a:off x="912287" y="1272833"/>
            <a:ext cx="10358966" cy="4799013"/>
          </a:xfrm>
        </p:spPr>
        <p:txBody>
          <a:bodyPr/>
          <a:lstStyle/>
          <a:p>
            <a:pPr marL="98425" indent="0">
              <a:spcBef>
                <a:spcPts val="936"/>
              </a:spcBef>
              <a:buNone/>
            </a:pPr>
            <a:r>
              <a:rPr lang="en-US" sz="2600" dirty="0">
                <a:solidFill>
                  <a:srgbClr val="171AA2"/>
                </a:solidFill>
              </a:rPr>
              <a:t>60 y/o man with FL</a:t>
            </a:r>
            <a:br>
              <a:rPr lang="en-US" sz="2600" dirty="0">
                <a:solidFill>
                  <a:srgbClr val="171AA2"/>
                </a:solidFill>
              </a:rPr>
            </a:br>
            <a:r>
              <a:rPr lang="en-US" sz="2600" dirty="0">
                <a:solidFill>
                  <a:srgbClr val="171AA2"/>
                </a:solidFill>
              </a:rPr>
              <a:t>BR as initial therapy; progression 6 month into R maintenance </a:t>
            </a:r>
            <a:br>
              <a:rPr lang="en-US" sz="2600" dirty="0">
                <a:solidFill>
                  <a:srgbClr val="171AA2"/>
                </a:solidFill>
              </a:rPr>
            </a:br>
            <a:r>
              <a:rPr lang="en-US" sz="2600" dirty="0">
                <a:solidFill>
                  <a:srgbClr val="171AA2"/>
                </a:solidFill>
              </a:rPr>
              <a:t>Switched to temporizing R</a:t>
            </a:r>
            <a:r>
              <a:rPr lang="en-US" sz="2600" baseline="30000" dirty="0">
                <a:solidFill>
                  <a:srgbClr val="171AA2"/>
                </a:solidFill>
              </a:rPr>
              <a:t>2</a:t>
            </a:r>
            <a:r>
              <a:rPr lang="en-US" sz="2600" dirty="0">
                <a:solidFill>
                  <a:srgbClr val="171AA2"/>
                </a:solidFill>
              </a:rPr>
              <a:t> </a:t>
            </a:r>
            <a:br>
              <a:rPr lang="en-US" sz="2600" dirty="0">
                <a:solidFill>
                  <a:srgbClr val="171AA2"/>
                </a:solidFill>
              </a:rPr>
            </a:br>
            <a:r>
              <a:rPr lang="en-US" sz="2600" dirty="0" err="1">
                <a:solidFill>
                  <a:srgbClr val="171AA2"/>
                </a:solidFill>
              </a:rPr>
              <a:t>Rebiopsy</a:t>
            </a:r>
            <a:r>
              <a:rPr lang="en-US" sz="2600" dirty="0">
                <a:solidFill>
                  <a:srgbClr val="171AA2"/>
                </a:solidFill>
              </a:rPr>
              <a:t> shows no transformation to DLBCL</a:t>
            </a:r>
          </a:p>
          <a:p>
            <a:pPr marL="98425" indent="0">
              <a:spcBef>
                <a:spcPts val="936"/>
              </a:spcBef>
              <a:buNone/>
            </a:pPr>
            <a:r>
              <a:rPr lang="en-US" sz="2600" dirty="0">
                <a:solidFill>
                  <a:schemeClr val="tx1"/>
                </a:solidFill>
              </a:rPr>
              <a:t>Would you add </a:t>
            </a:r>
            <a:r>
              <a:rPr lang="en-US" sz="2600" dirty="0" err="1">
                <a:solidFill>
                  <a:schemeClr val="tx1"/>
                </a:solidFill>
              </a:rPr>
              <a:t>epcoritamab</a:t>
            </a:r>
            <a:r>
              <a:rPr lang="en-US" sz="2600" dirty="0">
                <a:solidFill>
                  <a:schemeClr val="tx1"/>
                </a:solidFill>
              </a:rPr>
              <a:t> to R</a:t>
            </a:r>
            <a:r>
              <a:rPr lang="en-US" sz="2600" baseline="30000" dirty="0">
                <a:solidFill>
                  <a:schemeClr val="tx1"/>
                </a:solidFill>
              </a:rPr>
              <a:t>2</a:t>
            </a:r>
            <a:r>
              <a:rPr lang="en-US" sz="2600" dirty="0">
                <a:solidFill>
                  <a:schemeClr val="tx1"/>
                </a:solidFill>
              </a:rPr>
              <a:t> at the current time? In general, how are you using that regimen in your practice? Are you prioritizing it over R</a:t>
            </a:r>
            <a:r>
              <a:rPr lang="en-US" sz="2600" baseline="30000" dirty="0">
                <a:solidFill>
                  <a:schemeClr val="tx1"/>
                </a:solidFill>
              </a:rPr>
              <a:t>2</a:t>
            </a:r>
            <a:r>
              <a:rPr lang="en-US" sz="2600" dirty="0">
                <a:solidFill>
                  <a:schemeClr val="tx1"/>
                </a:solidFill>
              </a:rPr>
              <a:t> alone and </a:t>
            </a:r>
            <a:r>
              <a:rPr lang="en-US" sz="2600" dirty="0" err="1">
                <a:solidFill>
                  <a:schemeClr val="tx1"/>
                </a:solidFill>
              </a:rPr>
              <a:t>tafasitamab</a:t>
            </a:r>
            <a:r>
              <a:rPr lang="en-US" sz="2600" dirty="0">
                <a:solidFill>
                  <a:schemeClr val="tx1"/>
                </a:solidFill>
              </a:rPr>
              <a:t>/R</a:t>
            </a:r>
            <a:r>
              <a:rPr lang="en-US" sz="2600" baseline="30000" dirty="0">
                <a:solidFill>
                  <a:schemeClr val="tx1"/>
                </a:solidFill>
              </a:rPr>
              <a:t>2</a:t>
            </a:r>
            <a:r>
              <a:rPr lang="en-US" sz="2600" dirty="0">
                <a:solidFill>
                  <a:schemeClr val="tx1"/>
                </a:solidFill>
              </a:rPr>
              <a:t> for most patients with FL? </a:t>
            </a:r>
            <a:r>
              <a:rPr lang="en-US" sz="2600" dirty="0"/>
              <a:t>  </a:t>
            </a:r>
          </a:p>
        </p:txBody>
      </p:sp>
    </p:spTree>
    <p:extLst>
      <p:ext uri="{BB962C8B-B14F-4D97-AF65-F5344CB8AC3E}">
        <p14:creationId xmlns:p14="http://schemas.microsoft.com/office/powerpoint/2010/main" val="31362459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6C7360-4D9B-7BC6-DC8C-CDE32FF1BEF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ADEBB9D-824C-FC49-1544-4616B2C3CF66}"/>
              </a:ext>
            </a:extLst>
          </p:cNvPr>
          <p:cNvSpPr>
            <a:spLocks noGrp="1"/>
          </p:cNvSpPr>
          <p:nvPr>
            <p:ph type="title"/>
          </p:nvPr>
        </p:nvSpPr>
        <p:spPr>
          <a:xfrm>
            <a:off x="912286" y="83793"/>
            <a:ext cx="10358967" cy="1143000"/>
          </a:xfrm>
        </p:spPr>
        <p:txBody>
          <a:bodyPr/>
          <a:lstStyle/>
          <a:p>
            <a:r>
              <a:rPr lang="en-US" sz="3600" dirty="0"/>
              <a:t>Discussion Questions</a:t>
            </a:r>
          </a:p>
        </p:txBody>
      </p:sp>
      <p:sp>
        <p:nvSpPr>
          <p:cNvPr id="3" name="Content Placeholder 2">
            <a:extLst>
              <a:ext uri="{FF2B5EF4-FFF2-40B4-BE49-F238E27FC236}">
                <a16:creationId xmlns:a16="http://schemas.microsoft.com/office/drawing/2014/main" id="{24A000C7-50B1-B8E9-566A-67366C076101}"/>
              </a:ext>
            </a:extLst>
          </p:cNvPr>
          <p:cNvSpPr>
            <a:spLocks noGrp="1"/>
          </p:cNvSpPr>
          <p:nvPr>
            <p:ph idx="1"/>
          </p:nvPr>
        </p:nvSpPr>
        <p:spPr>
          <a:xfrm>
            <a:off x="912287" y="1272833"/>
            <a:ext cx="10633390" cy="4799013"/>
          </a:xfrm>
        </p:spPr>
        <p:txBody>
          <a:bodyPr/>
          <a:lstStyle/>
          <a:p>
            <a:pPr marL="98425" indent="0">
              <a:spcBef>
                <a:spcPts val="936"/>
              </a:spcBef>
              <a:buNone/>
            </a:pPr>
            <a:r>
              <a:rPr lang="en-US" sz="2600" dirty="0">
                <a:solidFill>
                  <a:srgbClr val="171AA2"/>
                </a:solidFill>
              </a:rPr>
              <a:t>80 y/o woman with FL </a:t>
            </a:r>
            <a:br>
              <a:rPr lang="en-US" sz="2600" dirty="0">
                <a:solidFill>
                  <a:srgbClr val="171AA2"/>
                </a:solidFill>
              </a:rPr>
            </a:br>
            <a:r>
              <a:rPr lang="en-US" sz="2600" dirty="0">
                <a:solidFill>
                  <a:srgbClr val="171AA2"/>
                </a:solidFill>
              </a:rPr>
              <a:t>BR as initial therapy; progression </a:t>
            </a:r>
            <a:br>
              <a:rPr lang="en-US" sz="2600" dirty="0">
                <a:solidFill>
                  <a:srgbClr val="171AA2"/>
                </a:solidFill>
              </a:rPr>
            </a:br>
            <a:r>
              <a:rPr lang="en-US" sz="2600" dirty="0" err="1">
                <a:solidFill>
                  <a:srgbClr val="171AA2"/>
                </a:solidFill>
              </a:rPr>
              <a:t>Tafasitamab</a:t>
            </a:r>
            <a:r>
              <a:rPr lang="en-US" sz="2600" dirty="0">
                <a:solidFill>
                  <a:srgbClr val="171AA2"/>
                </a:solidFill>
              </a:rPr>
              <a:t>/R</a:t>
            </a:r>
            <a:r>
              <a:rPr lang="en-US" sz="2600" baseline="30000" dirty="0">
                <a:solidFill>
                  <a:srgbClr val="171AA2"/>
                </a:solidFill>
              </a:rPr>
              <a:t>2</a:t>
            </a:r>
            <a:r>
              <a:rPr lang="en-US" sz="2600" dirty="0">
                <a:solidFill>
                  <a:srgbClr val="171AA2"/>
                </a:solidFill>
              </a:rPr>
              <a:t> as second-line therapy; ECOG 2 and frail</a:t>
            </a:r>
          </a:p>
          <a:p>
            <a:pPr marL="98425" indent="0">
              <a:spcBef>
                <a:spcPts val="936"/>
              </a:spcBef>
              <a:buNone/>
            </a:pPr>
            <a:r>
              <a:rPr lang="en-US" sz="2600" dirty="0"/>
              <a:t>What is the optimal third-line therapy for R/R FL in elderly, frail patients, given the withdrawal of </a:t>
            </a:r>
            <a:r>
              <a:rPr lang="en-US" sz="2600" dirty="0" err="1"/>
              <a:t>tazemetostat</a:t>
            </a:r>
            <a:r>
              <a:rPr lang="en-US" sz="2600" dirty="0"/>
              <a:t>? Is a bispecific a reasonable consideration? If so, would you have a preference for </a:t>
            </a:r>
            <a:r>
              <a:rPr lang="en-US" sz="2600" dirty="0" err="1"/>
              <a:t>mosunetuzumab</a:t>
            </a:r>
            <a:r>
              <a:rPr lang="en-US" sz="2600" dirty="0"/>
              <a:t> or </a:t>
            </a:r>
            <a:r>
              <a:rPr lang="en-US" sz="2600" dirty="0" err="1"/>
              <a:t>epcoritamab</a:t>
            </a:r>
            <a:r>
              <a:rPr lang="en-US" sz="2600" dirty="0"/>
              <a:t>?</a:t>
            </a:r>
          </a:p>
        </p:txBody>
      </p:sp>
    </p:spTree>
    <p:extLst>
      <p:ext uri="{BB962C8B-B14F-4D97-AF65-F5344CB8AC3E}">
        <p14:creationId xmlns:p14="http://schemas.microsoft.com/office/powerpoint/2010/main" val="42272348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531F0E-5353-2D41-CFEA-F50E8CC4EB0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B807253-0876-171F-CDD4-991ACE8816D9}"/>
              </a:ext>
            </a:extLst>
          </p:cNvPr>
          <p:cNvSpPr>
            <a:spLocks noGrp="1"/>
          </p:cNvSpPr>
          <p:nvPr>
            <p:ph type="title"/>
          </p:nvPr>
        </p:nvSpPr>
        <p:spPr>
          <a:xfrm>
            <a:off x="912286" y="83793"/>
            <a:ext cx="10358967" cy="1143000"/>
          </a:xfrm>
        </p:spPr>
        <p:txBody>
          <a:bodyPr/>
          <a:lstStyle/>
          <a:p>
            <a:r>
              <a:rPr lang="en-US" sz="3600" dirty="0"/>
              <a:t>Discussion Questions</a:t>
            </a:r>
          </a:p>
        </p:txBody>
      </p:sp>
      <p:sp>
        <p:nvSpPr>
          <p:cNvPr id="3" name="Content Placeholder 2">
            <a:extLst>
              <a:ext uri="{FF2B5EF4-FFF2-40B4-BE49-F238E27FC236}">
                <a16:creationId xmlns:a16="http://schemas.microsoft.com/office/drawing/2014/main" id="{C088F166-89B6-1F42-EE5B-40212B1A206A}"/>
              </a:ext>
            </a:extLst>
          </p:cNvPr>
          <p:cNvSpPr>
            <a:spLocks noGrp="1"/>
          </p:cNvSpPr>
          <p:nvPr>
            <p:ph idx="1"/>
          </p:nvPr>
        </p:nvSpPr>
        <p:spPr>
          <a:xfrm>
            <a:off x="912287" y="1272833"/>
            <a:ext cx="10633390" cy="4799013"/>
          </a:xfrm>
        </p:spPr>
        <p:txBody>
          <a:bodyPr/>
          <a:lstStyle/>
          <a:p>
            <a:pPr marL="98425" indent="0">
              <a:spcBef>
                <a:spcPts val="936"/>
              </a:spcBef>
              <a:buNone/>
            </a:pPr>
            <a:r>
              <a:rPr lang="en-US" sz="2600" dirty="0">
                <a:solidFill>
                  <a:srgbClr val="171AA2"/>
                </a:solidFill>
              </a:rPr>
              <a:t>78 y/o woman with FL and excellent performance status</a:t>
            </a:r>
            <a:br>
              <a:rPr lang="en-US" sz="2600" dirty="0">
                <a:solidFill>
                  <a:srgbClr val="171AA2"/>
                </a:solidFill>
              </a:rPr>
            </a:br>
            <a:r>
              <a:rPr lang="en-US" sz="2600" dirty="0">
                <a:solidFill>
                  <a:srgbClr val="171AA2"/>
                </a:solidFill>
              </a:rPr>
              <a:t>Past treatments include weekly rituximab, BR and R</a:t>
            </a:r>
            <a:r>
              <a:rPr lang="en-US" sz="2600" baseline="30000" dirty="0">
                <a:solidFill>
                  <a:srgbClr val="171AA2"/>
                </a:solidFill>
              </a:rPr>
              <a:t>2</a:t>
            </a:r>
          </a:p>
          <a:p>
            <a:pPr marL="98425" indent="0">
              <a:spcBef>
                <a:spcPts val="936"/>
              </a:spcBef>
              <a:buNone/>
            </a:pPr>
            <a:r>
              <a:rPr lang="en-US" sz="2600" dirty="0"/>
              <a:t>Would you offer either </a:t>
            </a:r>
            <a:r>
              <a:rPr lang="en-US" sz="2600" dirty="0" err="1"/>
              <a:t>tafasitamab</a:t>
            </a:r>
            <a:r>
              <a:rPr lang="en-US" sz="2600" dirty="0"/>
              <a:t>/R</a:t>
            </a:r>
            <a:r>
              <a:rPr lang="en-US" sz="2600" baseline="30000" dirty="0"/>
              <a:t>2</a:t>
            </a:r>
            <a:r>
              <a:rPr lang="en-US" sz="2600" dirty="0"/>
              <a:t> or </a:t>
            </a:r>
            <a:r>
              <a:rPr lang="en-US" sz="2600" dirty="0" err="1"/>
              <a:t>epcoritamab</a:t>
            </a:r>
            <a:r>
              <a:rPr lang="en-US" sz="2600" dirty="0"/>
              <a:t>/R</a:t>
            </a:r>
            <a:r>
              <a:rPr lang="en-US" sz="2600" baseline="30000" dirty="0"/>
              <a:t>2</a:t>
            </a:r>
            <a:r>
              <a:rPr lang="en-US" sz="2600" dirty="0"/>
              <a:t> to this patient? </a:t>
            </a:r>
            <a:br>
              <a:rPr lang="en-US" sz="2600" dirty="0"/>
            </a:br>
            <a:r>
              <a:rPr lang="en-US" sz="2600" dirty="0"/>
              <a:t>If so, what is the minimum interval for these treatments after prior exposure to R</a:t>
            </a:r>
            <a:r>
              <a:rPr lang="en-US" sz="2600" baseline="30000" dirty="0"/>
              <a:t>2</a:t>
            </a:r>
            <a:r>
              <a:rPr lang="en-US" sz="2600" dirty="0"/>
              <a:t>?</a:t>
            </a:r>
          </a:p>
          <a:p>
            <a:pPr marL="98425" indent="0">
              <a:spcBef>
                <a:spcPts val="936"/>
              </a:spcBef>
              <a:buNone/>
            </a:pPr>
            <a:endParaRPr lang="en-US" sz="2600" dirty="0"/>
          </a:p>
        </p:txBody>
      </p:sp>
    </p:spTree>
    <p:extLst>
      <p:ext uri="{BB962C8B-B14F-4D97-AF65-F5344CB8AC3E}">
        <p14:creationId xmlns:p14="http://schemas.microsoft.com/office/powerpoint/2010/main" val="35557116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4AB5F-8666-36F4-574D-28140C090B58}"/>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A2D67AFA-FA32-6DC6-C490-5626EE851026}"/>
              </a:ext>
            </a:extLst>
          </p:cNvPr>
          <p:cNvSpPr/>
          <p:nvPr/>
        </p:nvSpPr>
        <p:spPr bwMode="auto">
          <a:xfrm>
            <a:off x="740128" y="4797152"/>
            <a:ext cx="10828480" cy="93610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3BEAF288-B72B-8DC0-C790-54927C88BEB8}"/>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C0EE8CC4-62AD-4760-4453-BB637351B351}"/>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Chimeric Antigen Receptor (CAR) T-Cell Therapy for Diffuse Large B-Cell Lymphoma (DLBCL) — Dr Kamdar</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Bispecific Antibody Therapy for DLBCL — Dr Westin</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CAR T-Cell Therapy for Other Lymphoma Subtypes — </a:t>
            </a:r>
            <a:br>
              <a:rPr lang="en-US" sz="2500" dirty="0">
                <a:solidFill>
                  <a:schemeClr val="tx1"/>
                </a:solidFill>
              </a:rPr>
            </a:br>
            <a:r>
              <a:rPr lang="en-US" sz="2500" dirty="0">
                <a:solidFill>
                  <a:schemeClr val="tx1"/>
                </a:solidFill>
              </a:rPr>
              <a:t>Dr Abramson</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Bispecific Antibody Therapy for Follicular Lymphoma and Other Lymphoma Subtypes — Dr Phillips</a:t>
            </a:r>
          </a:p>
          <a:p>
            <a:pPr marL="98425" indent="0">
              <a:lnSpc>
                <a:spcPct val="100000"/>
              </a:lnSpc>
              <a:spcBef>
                <a:spcPts val="1600"/>
              </a:spcBef>
              <a:spcAft>
                <a:spcPts val="0"/>
              </a:spcAft>
              <a:buNone/>
            </a:pPr>
            <a:r>
              <a:rPr lang="en-US" sz="2500" dirty="0">
                <a:solidFill>
                  <a:schemeClr val="bg1"/>
                </a:solidFill>
              </a:rPr>
              <a:t>Module 5: Tolerability Considerations with CAR T-Cell Therapy and Bispecific Antibodies — Dr Brody</a:t>
            </a:r>
          </a:p>
        </p:txBody>
      </p:sp>
    </p:spTree>
    <p:extLst>
      <p:ext uri="{BB962C8B-B14F-4D97-AF65-F5344CB8AC3E}">
        <p14:creationId xmlns:p14="http://schemas.microsoft.com/office/powerpoint/2010/main" val="41272185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8E28FFF-0FAB-844D-8830-B29057EB267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988" b="1342"/>
          <a:stretch/>
        </p:blipFill>
        <p:spPr bwMode="auto">
          <a:xfrm>
            <a:off x="0" y="-2"/>
            <a:ext cx="12252960" cy="6858001"/>
          </a:xfrm>
          <a:prstGeom prst="rect">
            <a:avLst/>
          </a:prstGeom>
          <a:noFill/>
          <a:ln>
            <a:noFill/>
          </a:ln>
          <a:effectLst>
            <a:outerShdw dist="35921" dir="2700000" algn="ctr" rotWithShape="0">
              <a:schemeClr val="bg2"/>
            </a:outerShdw>
            <a:softEdge rad="3175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ounded Rectangle 1">
            <a:extLst>
              <a:ext uri="{FF2B5EF4-FFF2-40B4-BE49-F238E27FC236}">
                <a16:creationId xmlns:a16="http://schemas.microsoft.com/office/drawing/2014/main" id="{19C7C77E-AC5C-2934-97D5-7F3C3E678279}"/>
              </a:ext>
            </a:extLst>
          </p:cNvPr>
          <p:cNvSpPr/>
          <p:nvPr/>
        </p:nvSpPr>
        <p:spPr>
          <a:xfrm>
            <a:off x="10263437" y="4610626"/>
            <a:ext cx="1981200" cy="1981199"/>
          </a:xfrm>
          <a:prstGeom prst="roundRect">
            <a:avLst>
              <a:gd name="adj" fmla="val 36684"/>
            </a:avLst>
          </a:prstGeom>
          <a:solidFill>
            <a:schemeClr val="bg1"/>
          </a:solidFill>
          <a:ln>
            <a:solidFill>
              <a:schemeClr val="bg1"/>
            </a:solid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6" name="Picture 2" descr="C:\Users\JB\Desktop\Dropbox\mssm logo.png">
            <a:extLst>
              <a:ext uri="{FF2B5EF4-FFF2-40B4-BE49-F238E27FC236}">
                <a16:creationId xmlns:a16="http://schemas.microsoft.com/office/drawing/2014/main" id="{F3E7B5C2-9A6C-0E02-4A76-B9C0E41F4F19}"/>
              </a:ext>
            </a:extLst>
          </p:cNvPr>
          <p:cNvPicPr>
            <a:picLocks noChangeAspect="1" noChangeArrowheads="1"/>
          </p:cNvPicPr>
          <p:nvPr/>
        </p:nvPicPr>
        <p:blipFill>
          <a:blip r:embed="rId4" cstate="print"/>
          <a:srcRect r="47145"/>
          <a:stretch>
            <a:fillRect/>
          </a:stretch>
        </p:blipFill>
        <p:spPr bwMode="auto">
          <a:xfrm>
            <a:off x="10644437" y="5176060"/>
            <a:ext cx="1280160" cy="808521"/>
          </a:xfrm>
          <a:prstGeom prst="rect">
            <a:avLst/>
          </a:prstGeom>
          <a:noFill/>
        </p:spPr>
      </p:pic>
      <p:sp>
        <p:nvSpPr>
          <p:cNvPr id="3" name="Subtitle 2"/>
          <p:cNvSpPr>
            <a:spLocks noGrp="1"/>
          </p:cNvSpPr>
          <p:nvPr>
            <p:ph type="subTitle" idx="1"/>
          </p:nvPr>
        </p:nvSpPr>
        <p:spPr>
          <a:xfrm>
            <a:off x="2894765" y="4506510"/>
            <a:ext cx="6463430" cy="1478071"/>
          </a:xfrm>
          <a:solidFill>
            <a:srgbClr val="EDF3F7">
              <a:alpha val="60000"/>
            </a:srgbClr>
          </a:solidFill>
          <a:effectLst>
            <a:softEdge rad="63500"/>
          </a:effectLst>
        </p:spPr>
        <p:txBody>
          <a:bodyPr>
            <a:normAutofit/>
          </a:bodyPr>
          <a:lstStyle/>
          <a:p>
            <a:pPr>
              <a:spcBef>
                <a:spcPts val="0"/>
              </a:spcBef>
            </a:pPr>
            <a:r>
              <a:rPr lang="en-US" dirty="0"/>
              <a:t>Joshua Brody MD</a:t>
            </a:r>
          </a:p>
          <a:p>
            <a:pPr>
              <a:spcBef>
                <a:spcPts val="0"/>
              </a:spcBef>
            </a:pPr>
            <a:r>
              <a:rPr lang="en-US" dirty="0"/>
              <a:t>Professor of Hematology and Medical Oncology</a:t>
            </a:r>
          </a:p>
          <a:p>
            <a:pPr>
              <a:spcBef>
                <a:spcPts val="0"/>
              </a:spcBef>
            </a:pPr>
            <a:r>
              <a:rPr lang="en-US" dirty="0"/>
              <a:t>Director, Lymphoma Immunotherapy Program</a:t>
            </a:r>
          </a:p>
          <a:p>
            <a:pPr>
              <a:spcBef>
                <a:spcPts val="0"/>
              </a:spcBef>
            </a:pPr>
            <a:r>
              <a:rPr lang="en-US" dirty="0"/>
              <a:t>Mount Sinai School of Medicine, New York, NY</a:t>
            </a:r>
          </a:p>
        </p:txBody>
      </p:sp>
      <p:sp>
        <p:nvSpPr>
          <p:cNvPr id="7" name="Title 1">
            <a:extLst>
              <a:ext uri="{FF2B5EF4-FFF2-40B4-BE49-F238E27FC236}">
                <a16:creationId xmlns:a16="http://schemas.microsoft.com/office/drawing/2014/main" id="{B3399022-EFCE-57EE-3028-0B8E97103827}"/>
              </a:ext>
            </a:extLst>
          </p:cNvPr>
          <p:cNvSpPr txBox="1">
            <a:spLocks/>
          </p:cNvSpPr>
          <p:nvPr/>
        </p:nvSpPr>
        <p:spPr>
          <a:xfrm>
            <a:off x="238215" y="1685132"/>
            <a:ext cx="11502189" cy="1708376"/>
          </a:xfrm>
          <a:prstGeom prst="rect">
            <a:avLst/>
          </a:prstGeom>
          <a:noFill/>
          <a:effectLst>
            <a:softEdge rad="127000"/>
          </a:effectLst>
        </p:spPr>
        <p:txBody>
          <a:bodyPr vert="horz" lIns="91440" tIns="45720" rIns="91440" bIns="45720" rtlCol="0" anchor="b">
            <a:normAutofit fontScale="9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00FFFF"/>
                </a:solidFill>
                <a:effectLst/>
                <a:uLnTx/>
                <a:uFillTx/>
                <a:latin typeface="Calibri" panose="020F0502020204030204"/>
                <a:ea typeface="+mj-ea"/>
                <a:cs typeface="+mj-cs"/>
              </a:rPr>
              <a:t>Tolerability Considerations with CAR T-Cell Therapy and Bispecific Antibodies</a:t>
            </a:r>
          </a:p>
        </p:txBody>
      </p:sp>
      <p:sp>
        <p:nvSpPr>
          <p:cNvPr id="2" name="Title 1"/>
          <p:cNvSpPr>
            <a:spLocks noGrp="1"/>
          </p:cNvSpPr>
          <p:nvPr>
            <p:ph type="ctrTitle"/>
          </p:nvPr>
        </p:nvSpPr>
        <p:spPr>
          <a:xfrm>
            <a:off x="248653" y="1720622"/>
            <a:ext cx="11502189" cy="1708376"/>
          </a:xfrm>
          <a:solidFill>
            <a:srgbClr val="EDF3F7">
              <a:alpha val="60000"/>
            </a:srgbClr>
          </a:solidFill>
          <a:effectLst>
            <a:softEdge rad="127000"/>
          </a:effectLst>
        </p:spPr>
        <p:txBody>
          <a:bodyPr>
            <a:normAutofit fontScale="90000"/>
          </a:bodyPr>
          <a:lstStyle/>
          <a:p>
            <a:r>
              <a:rPr lang="en-US" b="1" dirty="0">
                <a:latin typeface="+mn-lt"/>
              </a:rPr>
              <a:t>Tolerability Considerations with CAR T-Cell Therapy and Bispecific Antibodies</a:t>
            </a:r>
          </a:p>
        </p:txBody>
      </p:sp>
    </p:spTree>
    <p:extLst>
      <p:ext uri="{BB962C8B-B14F-4D97-AF65-F5344CB8AC3E}">
        <p14:creationId xmlns:p14="http://schemas.microsoft.com/office/powerpoint/2010/main" val="24422999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bg1"/>
            </a:gs>
            <a:gs pos="100000">
              <a:schemeClr val="bg1">
                <a:lumMod val="85000"/>
              </a:schemeClr>
            </a:gs>
          </a:gsLst>
          <a:lin ang="2700000" scaled="1"/>
          <a:tileRect/>
        </a:gradFill>
        <a:effectLst/>
      </p:bgPr>
    </p:bg>
    <p:spTree>
      <p:nvGrpSpPr>
        <p:cNvPr id="1" name=""/>
        <p:cNvGrpSpPr/>
        <p:nvPr/>
      </p:nvGrpSpPr>
      <p:grpSpPr>
        <a:xfrm>
          <a:off x="0" y="0"/>
          <a:ext cx="0" cy="0"/>
          <a:chOff x="0" y="0"/>
          <a:chExt cx="0" cy="0"/>
        </a:xfrm>
      </p:grpSpPr>
      <p:sp>
        <p:nvSpPr>
          <p:cNvPr id="6" name="Subtitle 2"/>
          <p:cNvSpPr txBox="1">
            <a:spLocks/>
          </p:cNvSpPr>
          <p:nvPr/>
        </p:nvSpPr>
        <p:spPr>
          <a:xfrm>
            <a:off x="120315" y="292101"/>
            <a:ext cx="11774905" cy="74595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1" i="0" u="sng" strike="noStrike" kern="1200" cap="none" spc="0" normalizeH="0" baseline="0" noProof="0" dirty="0">
                <a:ln>
                  <a:noFill/>
                </a:ln>
                <a:solidFill>
                  <a:prstClr val="black"/>
                </a:solidFill>
                <a:effectLst/>
                <a:uLnTx/>
                <a:uFillTx/>
                <a:latin typeface="Calibri" panose="020F0502020204030204"/>
                <a:ea typeface="+mn-ea"/>
                <a:cs typeface="+mn-cs"/>
              </a:rPr>
              <a:t>Comparative CRS and ICANS with </a:t>
            </a:r>
            <a:r>
              <a:rPr kumimoji="0" lang="el-GR" sz="3200" b="1" i="0" u="sng" strike="noStrike" kern="1200" cap="none" spc="0" normalizeH="0" baseline="0" noProof="0" dirty="0">
                <a:ln>
                  <a:noFill/>
                </a:ln>
                <a:solidFill>
                  <a:prstClr val="black"/>
                </a:solidFill>
                <a:effectLst/>
                <a:uLnTx/>
                <a:uFillTx/>
                <a:latin typeface="Calibri" panose="020F0502020204030204"/>
                <a:ea typeface="+mn-ea"/>
                <a:cs typeface="+mn-cs"/>
              </a:rPr>
              <a:t>α</a:t>
            </a:r>
            <a:r>
              <a:rPr kumimoji="0" lang="en-US" sz="3200" b="1" i="0" u="sng" strike="noStrike" kern="1200" cap="none" spc="0" normalizeH="0" baseline="0" noProof="0" dirty="0">
                <a:ln>
                  <a:noFill/>
                </a:ln>
                <a:solidFill>
                  <a:prstClr val="black"/>
                </a:solidFill>
                <a:effectLst/>
                <a:uLnTx/>
                <a:uFillTx/>
                <a:latin typeface="Calibri" panose="020F0502020204030204"/>
                <a:ea typeface="+mn-ea"/>
                <a:cs typeface="+mn-cs"/>
              </a:rPr>
              <a:t>CD19 CAR-T in NHL</a:t>
            </a:r>
            <a:endParaRPr kumimoji="0" lang="en-US" sz="4000" b="1" i="0" u="sng"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8" name="Table 7"/>
          <p:cNvGraphicFramePr>
            <a:graphicFrameLocks noGrp="1"/>
          </p:cNvGraphicFramePr>
          <p:nvPr/>
        </p:nvGraphicFramePr>
        <p:xfrm>
          <a:off x="312825" y="1294737"/>
          <a:ext cx="11582397" cy="4798085"/>
        </p:xfrm>
        <a:graphic>
          <a:graphicData uri="http://schemas.openxmlformats.org/drawingml/2006/table">
            <a:tbl>
              <a:tblPr/>
              <a:tblGrid>
                <a:gridCol w="1286933">
                  <a:extLst>
                    <a:ext uri="{9D8B030D-6E8A-4147-A177-3AD203B41FA5}">
                      <a16:colId xmlns:a16="http://schemas.microsoft.com/office/drawing/2014/main" val="2012192249"/>
                    </a:ext>
                  </a:extLst>
                </a:gridCol>
                <a:gridCol w="1286933">
                  <a:extLst>
                    <a:ext uri="{9D8B030D-6E8A-4147-A177-3AD203B41FA5}">
                      <a16:colId xmlns:a16="http://schemas.microsoft.com/office/drawing/2014/main" val="555911567"/>
                    </a:ext>
                  </a:extLst>
                </a:gridCol>
                <a:gridCol w="1547523">
                  <a:extLst>
                    <a:ext uri="{9D8B030D-6E8A-4147-A177-3AD203B41FA5}">
                      <a16:colId xmlns:a16="http://schemas.microsoft.com/office/drawing/2014/main" val="17082996"/>
                    </a:ext>
                  </a:extLst>
                </a:gridCol>
                <a:gridCol w="1026343">
                  <a:extLst>
                    <a:ext uri="{9D8B030D-6E8A-4147-A177-3AD203B41FA5}">
                      <a16:colId xmlns:a16="http://schemas.microsoft.com/office/drawing/2014/main" val="3580871350"/>
                    </a:ext>
                  </a:extLst>
                </a:gridCol>
                <a:gridCol w="1286933">
                  <a:extLst>
                    <a:ext uri="{9D8B030D-6E8A-4147-A177-3AD203B41FA5}">
                      <a16:colId xmlns:a16="http://schemas.microsoft.com/office/drawing/2014/main" val="1277893796"/>
                    </a:ext>
                  </a:extLst>
                </a:gridCol>
                <a:gridCol w="1286933">
                  <a:extLst>
                    <a:ext uri="{9D8B030D-6E8A-4147-A177-3AD203B41FA5}">
                      <a16:colId xmlns:a16="http://schemas.microsoft.com/office/drawing/2014/main" val="1631508693"/>
                    </a:ext>
                  </a:extLst>
                </a:gridCol>
                <a:gridCol w="1286933">
                  <a:extLst>
                    <a:ext uri="{9D8B030D-6E8A-4147-A177-3AD203B41FA5}">
                      <a16:colId xmlns:a16="http://schemas.microsoft.com/office/drawing/2014/main" val="2227997767"/>
                    </a:ext>
                  </a:extLst>
                </a:gridCol>
                <a:gridCol w="1286933">
                  <a:extLst>
                    <a:ext uri="{9D8B030D-6E8A-4147-A177-3AD203B41FA5}">
                      <a16:colId xmlns:a16="http://schemas.microsoft.com/office/drawing/2014/main" val="2576738382"/>
                    </a:ext>
                  </a:extLst>
                </a:gridCol>
                <a:gridCol w="1286933">
                  <a:extLst>
                    <a:ext uri="{9D8B030D-6E8A-4147-A177-3AD203B41FA5}">
                      <a16:colId xmlns:a16="http://schemas.microsoft.com/office/drawing/2014/main" val="414603500"/>
                    </a:ext>
                  </a:extLst>
                </a:gridCol>
              </a:tblGrid>
              <a:tr h="510912">
                <a:tc>
                  <a:txBody>
                    <a:bodyPr/>
                    <a:lstStyle/>
                    <a:p>
                      <a:pPr algn="ctr"/>
                      <a:r>
                        <a:rPr lang="en-US" sz="2000" b="1" u="sng" dirty="0"/>
                        <a:t>subtype</a:t>
                      </a:r>
                    </a:p>
                  </a:txBody>
                  <a:tcPr marL="62162" marR="62162" marT="31081" marB="31081" anchor="ctr">
                    <a:lnL>
                      <a:noFill/>
                    </a:lnL>
                    <a:lnR>
                      <a:noFill/>
                    </a:lnR>
                    <a:lnT>
                      <a:noFill/>
                    </a:lnT>
                    <a:lnB>
                      <a:noFill/>
                    </a:lnB>
                  </a:tcPr>
                </a:tc>
                <a:tc>
                  <a:txBody>
                    <a:bodyPr/>
                    <a:lstStyle/>
                    <a:p>
                      <a:pPr algn="ctr"/>
                      <a:r>
                        <a:rPr lang="en-US" sz="2000" b="1" u="sng" dirty="0"/>
                        <a:t>construct</a:t>
                      </a:r>
                    </a:p>
                  </a:txBody>
                  <a:tcPr marL="62162" marR="62162" marT="31081" marB="31081" anchor="ctr">
                    <a:lnL>
                      <a:noFill/>
                    </a:lnL>
                    <a:lnR>
                      <a:noFill/>
                    </a:lnR>
                    <a:lnT>
                      <a:noFill/>
                    </a:lnT>
                    <a:lnB>
                      <a:noFill/>
                    </a:lnB>
                  </a:tcPr>
                </a:tc>
                <a:tc>
                  <a:txBody>
                    <a:bodyPr/>
                    <a:lstStyle/>
                    <a:p>
                      <a:pPr algn="ctr"/>
                      <a:r>
                        <a:rPr lang="en-US" sz="2000" b="1" u="sng" dirty="0"/>
                        <a:t>trial</a:t>
                      </a:r>
                    </a:p>
                  </a:txBody>
                  <a:tcPr marL="62162" marR="62162" marT="31081" marB="31081" anchor="ctr">
                    <a:lnL>
                      <a:noFill/>
                    </a:lnL>
                    <a:lnR>
                      <a:noFill/>
                    </a:lnR>
                    <a:lnT>
                      <a:noFill/>
                    </a:lnT>
                    <a:lnB>
                      <a:noFill/>
                    </a:lnB>
                  </a:tcPr>
                </a:tc>
                <a:tc>
                  <a:txBody>
                    <a:bodyPr/>
                    <a:lstStyle/>
                    <a:p>
                      <a:pPr algn="ctr"/>
                      <a:r>
                        <a:rPr lang="en-US" sz="2000" b="1" u="none" dirty="0"/>
                        <a:t>pub</a:t>
                      </a:r>
                      <a:r>
                        <a:rPr lang="en-US" sz="2000" b="1" u="sng" dirty="0"/>
                        <a:t> year</a:t>
                      </a:r>
                    </a:p>
                  </a:txBody>
                  <a:tcPr marL="62162" marR="62162" marT="31081" marB="31081" anchor="ctr">
                    <a:lnL>
                      <a:noFill/>
                    </a:lnL>
                    <a:lnR>
                      <a:noFill/>
                    </a:lnR>
                    <a:lnT>
                      <a:noFill/>
                    </a:lnT>
                    <a:lnB>
                      <a:noFill/>
                    </a:lnB>
                  </a:tcPr>
                </a:tc>
                <a:tc>
                  <a:txBody>
                    <a:bodyPr/>
                    <a:lstStyle/>
                    <a:p>
                      <a:pPr algn="ctr"/>
                      <a:r>
                        <a:rPr lang="en-US" sz="2000" b="1" u="sng" dirty="0"/>
                        <a:t>N</a:t>
                      </a:r>
                    </a:p>
                  </a:txBody>
                  <a:tcPr marL="62162" marR="62162" marT="31081" marB="31081" anchor="ctr">
                    <a:lnL>
                      <a:noFill/>
                    </a:lnL>
                    <a:lnR>
                      <a:noFill/>
                    </a:lnR>
                    <a:lnT>
                      <a:noFill/>
                    </a:lnT>
                    <a:lnB>
                      <a:noFill/>
                    </a:lnB>
                  </a:tcPr>
                </a:tc>
                <a:tc>
                  <a:txBody>
                    <a:bodyPr/>
                    <a:lstStyle/>
                    <a:p>
                      <a:pPr algn="ctr"/>
                      <a:r>
                        <a:rPr lang="en-US" sz="2000" b="1" u="sng" dirty="0"/>
                        <a:t>CRS any</a:t>
                      </a:r>
                    </a:p>
                  </a:txBody>
                  <a:tcPr marL="62162" marR="62162" marT="31081" marB="31081" anchor="ctr">
                    <a:lnL>
                      <a:noFill/>
                    </a:lnL>
                    <a:lnR>
                      <a:noFill/>
                    </a:lnR>
                    <a:lnT>
                      <a:noFill/>
                    </a:lnT>
                    <a:lnB>
                      <a:noFill/>
                    </a:lnB>
                  </a:tcPr>
                </a:tc>
                <a:tc>
                  <a:txBody>
                    <a:bodyPr/>
                    <a:lstStyle/>
                    <a:p>
                      <a:pPr algn="ctr"/>
                      <a:r>
                        <a:rPr lang="en-US" sz="2000" b="1" u="sng" dirty="0"/>
                        <a:t>CRS ≥3</a:t>
                      </a:r>
                    </a:p>
                  </a:txBody>
                  <a:tcPr marL="62162" marR="62162" marT="31081" marB="31081" anchor="ctr">
                    <a:lnL>
                      <a:noFill/>
                    </a:lnL>
                    <a:lnR>
                      <a:noFill/>
                    </a:lnR>
                    <a:lnT>
                      <a:noFill/>
                    </a:lnT>
                    <a:lnB>
                      <a:noFill/>
                    </a:lnB>
                  </a:tcPr>
                </a:tc>
                <a:tc>
                  <a:txBody>
                    <a:bodyPr/>
                    <a:lstStyle/>
                    <a:p>
                      <a:pPr algn="ctr"/>
                      <a:r>
                        <a:rPr lang="en-US" sz="2000" b="1" u="sng" dirty="0"/>
                        <a:t>ICANS any</a:t>
                      </a:r>
                    </a:p>
                  </a:txBody>
                  <a:tcPr marL="62162" marR="62162" marT="31081" marB="31081" anchor="ctr">
                    <a:lnL>
                      <a:noFill/>
                    </a:lnL>
                    <a:lnR>
                      <a:noFill/>
                    </a:lnR>
                    <a:lnT>
                      <a:noFill/>
                    </a:lnT>
                    <a:lnB>
                      <a:noFill/>
                    </a:lnB>
                  </a:tcPr>
                </a:tc>
                <a:tc>
                  <a:txBody>
                    <a:bodyPr/>
                    <a:lstStyle/>
                    <a:p>
                      <a:pPr algn="ctr"/>
                      <a:r>
                        <a:rPr lang="en-US" sz="2000" b="1" u="sng" dirty="0"/>
                        <a:t>ICANS ≥3</a:t>
                      </a:r>
                    </a:p>
                  </a:txBody>
                  <a:tcPr marL="62162" marR="62162" marT="31081" marB="31081" anchor="ctr">
                    <a:lnL>
                      <a:noFill/>
                    </a:lnL>
                    <a:lnR>
                      <a:noFill/>
                    </a:lnR>
                    <a:lnT>
                      <a:noFill/>
                    </a:lnT>
                    <a:lnB>
                      <a:noFill/>
                    </a:lnB>
                  </a:tcPr>
                </a:tc>
                <a:extLst>
                  <a:ext uri="{0D108BD9-81ED-4DB2-BD59-A6C34878D82A}">
                    <a16:rowId xmlns:a16="http://schemas.microsoft.com/office/drawing/2014/main" val="1660268717"/>
                  </a:ext>
                </a:extLst>
              </a:tr>
              <a:tr h="453346">
                <a:tc>
                  <a:txBody>
                    <a:bodyPr/>
                    <a:lstStyle/>
                    <a:p>
                      <a:pPr algn="ctr"/>
                      <a:r>
                        <a:rPr lang="en-US" sz="2000" dirty="0"/>
                        <a:t>LBCL</a:t>
                      </a:r>
                    </a:p>
                  </a:txBody>
                  <a:tcPr marL="62162" marR="62162" marT="31081" marB="31081" anchor="ctr">
                    <a:lnL>
                      <a:noFill/>
                    </a:lnL>
                    <a:lnR>
                      <a:noFill/>
                    </a:lnR>
                    <a:lnT>
                      <a:noFill/>
                    </a:lnT>
                    <a:lnB>
                      <a:noFill/>
                    </a:lnB>
                    <a:solidFill>
                      <a:srgbClr val="00FFFF"/>
                    </a:solidFill>
                  </a:tcPr>
                </a:tc>
                <a:tc>
                  <a:txBody>
                    <a:bodyPr/>
                    <a:lstStyle/>
                    <a:p>
                      <a:pPr algn="ctr"/>
                      <a:r>
                        <a:rPr lang="en-US" sz="2000" dirty="0" err="1"/>
                        <a:t>axi-cel</a:t>
                      </a:r>
                      <a:endParaRPr lang="en-US" sz="2000" dirty="0"/>
                    </a:p>
                  </a:txBody>
                  <a:tcPr marL="62162" marR="62162" marT="31081" marB="31081" anchor="ctr">
                    <a:lnL>
                      <a:noFill/>
                    </a:lnL>
                    <a:lnR>
                      <a:noFill/>
                    </a:lnR>
                    <a:lnT>
                      <a:noFill/>
                    </a:lnT>
                    <a:lnB>
                      <a:noFill/>
                    </a:lnB>
                    <a:solidFill>
                      <a:srgbClr val="00FFFF"/>
                    </a:solidFill>
                  </a:tcPr>
                </a:tc>
                <a:tc>
                  <a:txBody>
                    <a:bodyPr/>
                    <a:lstStyle/>
                    <a:p>
                      <a:pPr algn="ctr"/>
                      <a:r>
                        <a:rPr lang="en-US" sz="2000" dirty="0"/>
                        <a:t>ZUMA-1</a:t>
                      </a:r>
                    </a:p>
                  </a:txBody>
                  <a:tcPr marL="62162" marR="62162" marT="31081" marB="31081" anchor="ctr">
                    <a:lnL>
                      <a:noFill/>
                    </a:lnL>
                    <a:lnR>
                      <a:noFill/>
                    </a:lnR>
                    <a:lnT>
                      <a:noFill/>
                    </a:lnT>
                    <a:lnB>
                      <a:noFill/>
                    </a:lnB>
                    <a:solidFill>
                      <a:srgbClr val="00FFFF"/>
                    </a:solidFill>
                  </a:tcPr>
                </a:tc>
                <a:tc>
                  <a:txBody>
                    <a:bodyPr/>
                    <a:lstStyle/>
                    <a:p>
                      <a:pPr algn="ctr"/>
                      <a:r>
                        <a:rPr lang="en-US" sz="2000" dirty="0"/>
                        <a:t>2017</a:t>
                      </a:r>
                    </a:p>
                  </a:txBody>
                  <a:tcPr marL="62162" marR="62162" marT="31081" marB="31081" anchor="ctr">
                    <a:lnL>
                      <a:noFill/>
                    </a:lnL>
                    <a:lnR>
                      <a:noFill/>
                    </a:lnR>
                    <a:lnT>
                      <a:noFill/>
                    </a:lnT>
                    <a:lnB>
                      <a:noFill/>
                    </a:lnB>
                    <a:solidFill>
                      <a:srgbClr val="00FFFF"/>
                    </a:solidFill>
                  </a:tcPr>
                </a:tc>
                <a:tc>
                  <a:txBody>
                    <a:bodyPr/>
                    <a:lstStyle/>
                    <a:p>
                      <a:pPr algn="ctr"/>
                      <a:r>
                        <a:rPr lang="en-US" sz="2000" dirty="0"/>
                        <a:t>111</a:t>
                      </a:r>
                    </a:p>
                  </a:txBody>
                  <a:tcPr marL="62162" marR="62162" marT="31081" marB="31081" anchor="ctr">
                    <a:lnL>
                      <a:noFill/>
                    </a:lnL>
                    <a:lnR>
                      <a:noFill/>
                    </a:lnR>
                    <a:lnT>
                      <a:noFill/>
                    </a:lnT>
                    <a:lnB>
                      <a:noFill/>
                    </a:lnB>
                    <a:solidFill>
                      <a:srgbClr val="00FFFF"/>
                    </a:solidFill>
                  </a:tcPr>
                </a:tc>
                <a:tc>
                  <a:txBody>
                    <a:bodyPr/>
                    <a:lstStyle/>
                    <a:p>
                      <a:pPr algn="ctr"/>
                      <a:r>
                        <a:rPr lang="en-US" sz="2000" dirty="0"/>
                        <a:t>93%</a:t>
                      </a:r>
                    </a:p>
                  </a:txBody>
                  <a:tcPr marL="62162" marR="62162" marT="31081" marB="31081" anchor="ctr">
                    <a:lnL>
                      <a:noFill/>
                    </a:lnL>
                    <a:lnR>
                      <a:noFill/>
                    </a:lnR>
                    <a:lnT>
                      <a:noFill/>
                    </a:lnT>
                    <a:lnB>
                      <a:noFill/>
                    </a:lnB>
                    <a:solidFill>
                      <a:srgbClr val="00FFFF"/>
                    </a:solidFill>
                  </a:tcPr>
                </a:tc>
                <a:tc>
                  <a:txBody>
                    <a:bodyPr/>
                    <a:lstStyle/>
                    <a:p>
                      <a:pPr algn="ctr"/>
                      <a:r>
                        <a:rPr lang="en-US" sz="2000" b="1" dirty="0"/>
                        <a:t>13%</a:t>
                      </a:r>
                    </a:p>
                  </a:txBody>
                  <a:tcPr marL="62162" marR="62162" marT="31081" marB="31081" anchor="ctr">
                    <a:lnL>
                      <a:noFill/>
                    </a:lnL>
                    <a:lnR>
                      <a:noFill/>
                    </a:lnR>
                    <a:lnT>
                      <a:noFill/>
                    </a:lnT>
                    <a:lnB>
                      <a:noFill/>
                    </a:lnB>
                    <a:solidFill>
                      <a:srgbClr val="00FFFF"/>
                    </a:solidFill>
                  </a:tcPr>
                </a:tc>
                <a:tc>
                  <a:txBody>
                    <a:bodyPr/>
                    <a:lstStyle/>
                    <a:p>
                      <a:pPr algn="ctr"/>
                      <a:r>
                        <a:rPr lang="en-US" sz="2000" dirty="0"/>
                        <a:t>64%</a:t>
                      </a:r>
                    </a:p>
                  </a:txBody>
                  <a:tcPr marL="62162" marR="62162" marT="31081" marB="31081" anchor="ctr">
                    <a:lnL>
                      <a:noFill/>
                    </a:lnL>
                    <a:lnR>
                      <a:noFill/>
                    </a:lnR>
                    <a:lnT>
                      <a:noFill/>
                    </a:lnT>
                    <a:lnB>
                      <a:noFill/>
                    </a:lnB>
                    <a:solidFill>
                      <a:srgbClr val="00FFFF"/>
                    </a:solidFill>
                  </a:tcPr>
                </a:tc>
                <a:tc>
                  <a:txBody>
                    <a:bodyPr/>
                    <a:lstStyle/>
                    <a:p>
                      <a:pPr algn="ctr"/>
                      <a:r>
                        <a:rPr lang="en-US" sz="2000" b="1" dirty="0"/>
                        <a:t>28%</a:t>
                      </a:r>
                    </a:p>
                  </a:txBody>
                  <a:tcPr marL="62162" marR="62162" marT="31081" marB="31081" anchor="ctr">
                    <a:lnL>
                      <a:noFill/>
                    </a:lnL>
                    <a:lnR>
                      <a:noFill/>
                    </a:lnR>
                    <a:lnT>
                      <a:noFill/>
                    </a:lnT>
                    <a:lnB>
                      <a:noFill/>
                    </a:lnB>
                    <a:solidFill>
                      <a:srgbClr val="00FFFF"/>
                    </a:solidFill>
                  </a:tcPr>
                </a:tc>
                <a:extLst>
                  <a:ext uri="{0D108BD9-81ED-4DB2-BD59-A6C34878D82A}">
                    <a16:rowId xmlns:a16="http://schemas.microsoft.com/office/drawing/2014/main" val="4060915532"/>
                  </a:ext>
                </a:extLst>
              </a:tr>
              <a:tr h="453346">
                <a:tc>
                  <a:txBody>
                    <a:bodyPr/>
                    <a:lstStyle/>
                    <a:p>
                      <a:pPr algn="ctr"/>
                      <a:r>
                        <a:rPr lang="en-US" sz="2000" dirty="0"/>
                        <a:t>LBCL</a:t>
                      </a:r>
                    </a:p>
                  </a:txBody>
                  <a:tcPr marL="62162" marR="62162" marT="31081" marB="31081" anchor="ctr">
                    <a:lnL>
                      <a:noFill/>
                    </a:lnL>
                    <a:lnR>
                      <a:noFill/>
                    </a:lnR>
                    <a:lnT>
                      <a:noFill/>
                    </a:lnT>
                    <a:lnB>
                      <a:noFill/>
                    </a:lnB>
                    <a:solidFill>
                      <a:schemeClr val="accent2">
                        <a:lumMod val="20000"/>
                        <a:lumOff val="80000"/>
                      </a:schemeClr>
                    </a:solidFill>
                  </a:tcPr>
                </a:tc>
                <a:tc>
                  <a:txBody>
                    <a:bodyPr/>
                    <a:lstStyle/>
                    <a:p>
                      <a:pPr algn="ctr"/>
                      <a:r>
                        <a:rPr lang="en-US" sz="2000" dirty="0" err="1"/>
                        <a:t>tisa-cel</a:t>
                      </a:r>
                      <a:endParaRPr lang="en-US" sz="2000" dirty="0"/>
                    </a:p>
                  </a:txBody>
                  <a:tcPr marL="62162" marR="62162" marT="31081" marB="31081" anchor="ctr">
                    <a:lnL>
                      <a:noFill/>
                    </a:lnL>
                    <a:lnR>
                      <a:noFill/>
                    </a:lnR>
                    <a:lnT>
                      <a:noFill/>
                    </a:lnT>
                    <a:lnB>
                      <a:noFill/>
                    </a:lnB>
                    <a:solidFill>
                      <a:schemeClr val="accent2">
                        <a:lumMod val="20000"/>
                        <a:lumOff val="80000"/>
                      </a:schemeClr>
                    </a:solidFill>
                  </a:tcPr>
                </a:tc>
                <a:tc>
                  <a:txBody>
                    <a:bodyPr/>
                    <a:lstStyle/>
                    <a:p>
                      <a:pPr algn="ctr"/>
                      <a:r>
                        <a:rPr lang="en-US" sz="2000" dirty="0"/>
                        <a:t>JULIET</a:t>
                      </a:r>
                    </a:p>
                  </a:txBody>
                  <a:tcPr marL="62162" marR="62162" marT="31081" marB="31081" anchor="ctr">
                    <a:lnL>
                      <a:noFill/>
                    </a:lnL>
                    <a:lnR>
                      <a:noFill/>
                    </a:lnR>
                    <a:lnT>
                      <a:noFill/>
                    </a:lnT>
                    <a:lnB>
                      <a:noFill/>
                    </a:lnB>
                    <a:solidFill>
                      <a:schemeClr val="accent2">
                        <a:lumMod val="20000"/>
                        <a:lumOff val="80000"/>
                      </a:schemeClr>
                    </a:solidFill>
                  </a:tcPr>
                </a:tc>
                <a:tc>
                  <a:txBody>
                    <a:bodyPr/>
                    <a:lstStyle/>
                    <a:p>
                      <a:pPr algn="ctr"/>
                      <a:r>
                        <a:rPr lang="en-US" sz="2000" dirty="0"/>
                        <a:t>2019</a:t>
                      </a:r>
                    </a:p>
                  </a:txBody>
                  <a:tcPr marL="62162" marR="62162" marT="31081" marB="31081" anchor="ctr">
                    <a:lnL>
                      <a:noFill/>
                    </a:lnL>
                    <a:lnR>
                      <a:noFill/>
                    </a:lnR>
                    <a:lnT>
                      <a:noFill/>
                    </a:lnT>
                    <a:lnB>
                      <a:noFill/>
                    </a:lnB>
                    <a:solidFill>
                      <a:schemeClr val="accent2">
                        <a:lumMod val="20000"/>
                        <a:lumOff val="80000"/>
                      </a:schemeClr>
                    </a:solidFill>
                  </a:tcPr>
                </a:tc>
                <a:tc>
                  <a:txBody>
                    <a:bodyPr/>
                    <a:lstStyle/>
                    <a:p>
                      <a:pPr algn="ctr"/>
                      <a:r>
                        <a:rPr lang="en-US" sz="2000" dirty="0"/>
                        <a:t>93</a:t>
                      </a:r>
                    </a:p>
                  </a:txBody>
                  <a:tcPr marL="62162" marR="62162" marT="31081" marB="31081" anchor="ctr">
                    <a:lnL>
                      <a:noFill/>
                    </a:lnL>
                    <a:lnR>
                      <a:noFill/>
                    </a:lnR>
                    <a:lnT>
                      <a:noFill/>
                    </a:lnT>
                    <a:lnB>
                      <a:noFill/>
                    </a:lnB>
                    <a:solidFill>
                      <a:schemeClr val="accent2">
                        <a:lumMod val="20000"/>
                        <a:lumOff val="80000"/>
                      </a:schemeClr>
                    </a:solidFill>
                  </a:tcPr>
                </a:tc>
                <a:tc>
                  <a:txBody>
                    <a:bodyPr/>
                    <a:lstStyle/>
                    <a:p>
                      <a:pPr algn="ctr"/>
                      <a:r>
                        <a:rPr lang="en-US" sz="2000" dirty="0"/>
                        <a:t>58%</a:t>
                      </a:r>
                    </a:p>
                  </a:txBody>
                  <a:tcPr marL="62162" marR="62162" marT="31081" marB="31081" anchor="ctr">
                    <a:lnL>
                      <a:noFill/>
                    </a:lnL>
                    <a:lnR>
                      <a:noFill/>
                    </a:lnR>
                    <a:lnT>
                      <a:noFill/>
                    </a:lnT>
                    <a:lnB>
                      <a:noFill/>
                    </a:lnB>
                    <a:solidFill>
                      <a:schemeClr val="accent2">
                        <a:lumMod val="20000"/>
                        <a:lumOff val="80000"/>
                      </a:schemeClr>
                    </a:solidFill>
                  </a:tcPr>
                </a:tc>
                <a:tc>
                  <a:txBody>
                    <a:bodyPr/>
                    <a:lstStyle/>
                    <a:p>
                      <a:pPr algn="ctr"/>
                      <a:r>
                        <a:rPr lang="en-US" sz="2000" b="1" dirty="0"/>
                        <a:t>22%</a:t>
                      </a:r>
                    </a:p>
                  </a:txBody>
                  <a:tcPr marL="62162" marR="62162" marT="31081" marB="31081" anchor="ctr">
                    <a:lnL>
                      <a:noFill/>
                    </a:lnL>
                    <a:lnR>
                      <a:noFill/>
                    </a:lnR>
                    <a:lnT>
                      <a:noFill/>
                    </a:lnT>
                    <a:lnB>
                      <a:noFill/>
                    </a:lnB>
                    <a:solidFill>
                      <a:schemeClr val="accent2">
                        <a:lumMod val="20000"/>
                        <a:lumOff val="80000"/>
                      </a:schemeClr>
                    </a:solidFill>
                  </a:tcPr>
                </a:tc>
                <a:tc>
                  <a:txBody>
                    <a:bodyPr/>
                    <a:lstStyle/>
                    <a:p>
                      <a:pPr algn="ctr"/>
                      <a:r>
                        <a:rPr lang="en-US" sz="2000" dirty="0"/>
                        <a:t>21%</a:t>
                      </a:r>
                    </a:p>
                  </a:txBody>
                  <a:tcPr marL="62162" marR="62162" marT="31081" marB="31081" anchor="ctr">
                    <a:lnL>
                      <a:noFill/>
                    </a:lnL>
                    <a:lnR>
                      <a:noFill/>
                    </a:lnR>
                    <a:lnT>
                      <a:noFill/>
                    </a:lnT>
                    <a:lnB>
                      <a:noFill/>
                    </a:lnB>
                    <a:solidFill>
                      <a:schemeClr val="accent2">
                        <a:lumMod val="20000"/>
                        <a:lumOff val="80000"/>
                      </a:schemeClr>
                    </a:solidFill>
                  </a:tcPr>
                </a:tc>
                <a:tc>
                  <a:txBody>
                    <a:bodyPr/>
                    <a:lstStyle/>
                    <a:p>
                      <a:pPr algn="ctr"/>
                      <a:r>
                        <a:rPr lang="en-US" sz="2000" b="1" dirty="0"/>
                        <a:t>12%</a:t>
                      </a:r>
                    </a:p>
                  </a:txBody>
                  <a:tcPr marL="62162" marR="62162" marT="31081" marB="31081" anchor="ctr">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244979975"/>
                  </a:ext>
                </a:extLst>
              </a:tr>
              <a:tr h="499555">
                <a:tc>
                  <a:txBody>
                    <a:bodyPr/>
                    <a:lstStyle/>
                    <a:p>
                      <a:pPr algn="ctr"/>
                      <a:r>
                        <a:rPr lang="en-US" sz="2000" dirty="0"/>
                        <a:t>LBCL</a:t>
                      </a:r>
                    </a:p>
                  </a:txBody>
                  <a:tcPr marL="62162" marR="62162" marT="31081" marB="31081" anchor="ctr">
                    <a:lnL>
                      <a:noFill/>
                    </a:lnL>
                    <a:lnR>
                      <a:noFill/>
                    </a:lnR>
                    <a:lnT>
                      <a:noFill/>
                    </a:lnT>
                    <a:lnB>
                      <a:noFill/>
                    </a:lnB>
                    <a:solidFill>
                      <a:srgbClr val="FFFF00"/>
                    </a:solidFill>
                  </a:tcPr>
                </a:tc>
                <a:tc>
                  <a:txBody>
                    <a:bodyPr/>
                    <a:lstStyle/>
                    <a:p>
                      <a:pPr algn="ctr"/>
                      <a:r>
                        <a:rPr lang="en-US" sz="2000" dirty="0" err="1"/>
                        <a:t>liso-cel</a:t>
                      </a:r>
                      <a:endParaRPr lang="en-US" sz="2000" dirty="0"/>
                    </a:p>
                  </a:txBody>
                  <a:tcPr marL="62162" marR="62162" marT="31081" marB="31081" anchor="ctr">
                    <a:lnL>
                      <a:noFill/>
                    </a:lnL>
                    <a:lnR>
                      <a:noFill/>
                    </a:lnR>
                    <a:lnT>
                      <a:noFill/>
                    </a:lnT>
                    <a:lnB>
                      <a:noFill/>
                    </a:lnB>
                    <a:solidFill>
                      <a:srgbClr val="FFFF00"/>
                    </a:solidFill>
                  </a:tcPr>
                </a:tc>
                <a:tc>
                  <a:txBody>
                    <a:bodyPr/>
                    <a:lstStyle/>
                    <a:p>
                      <a:pPr algn="ctr"/>
                      <a:r>
                        <a:rPr lang="en-US" sz="2000" dirty="0"/>
                        <a:t>TRANSCEND</a:t>
                      </a:r>
                      <a:endParaRPr lang="en-US" sz="2000" baseline="30000" dirty="0"/>
                    </a:p>
                  </a:txBody>
                  <a:tcPr marL="62162" marR="62162" marT="31081" marB="31081" anchor="ctr">
                    <a:lnL>
                      <a:noFill/>
                    </a:lnL>
                    <a:lnR>
                      <a:noFill/>
                    </a:lnR>
                    <a:lnT>
                      <a:noFill/>
                    </a:lnT>
                    <a:lnB>
                      <a:noFill/>
                    </a:lnB>
                    <a:solidFill>
                      <a:srgbClr val="FFFF00"/>
                    </a:solidFill>
                  </a:tcPr>
                </a:tc>
                <a:tc>
                  <a:txBody>
                    <a:bodyPr/>
                    <a:lstStyle/>
                    <a:p>
                      <a:pPr algn="ctr"/>
                      <a:r>
                        <a:rPr lang="en-US" sz="2000" dirty="0"/>
                        <a:t>2020</a:t>
                      </a:r>
                    </a:p>
                  </a:txBody>
                  <a:tcPr marL="62162" marR="62162" marT="31081" marB="31081" anchor="ctr">
                    <a:lnL>
                      <a:noFill/>
                    </a:lnL>
                    <a:lnR>
                      <a:noFill/>
                    </a:lnR>
                    <a:lnT>
                      <a:noFill/>
                    </a:lnT>
                    <a:lnB>
                      <a:noFill/>
                    </a:lnB>
                    <a:solidFill>
                      <a:srgbClr val="FFFF00"/>
                    </a:solidFill>
                  </a:tcPr>
                </a:tc>
                <a:tc>
                  <a:txBody>
                    <a:bodyPr/>
                    <a:lstStyle/>
                    <a:p>
                      <a:pPr algn="ctr"/>
                      <a:r>
                        <a:rPr lang="en-US" sz="2000" dirty="0"/>
                        <a:t>256</a:t>
                      </a:r>
                    </a:p>
                  </a:txBody>
                  <a:tcPr marL="62162" marR="62162" marT="31081" marB="31081" anchor="ctr">
                    <a:lnL>
                      <a:noFill/>
                    </a:lnL>
                    <a:lnR>
                      <a:noFill/>
                    </a:lnR>
                    <a:lnT>
                      <a:noFill/>
                    </a:lnT>
                    <a:lnB>
                      <a:noFill/>
                    </a:lnB>
                    <a:solidFill>
                      <a:srgbClr val="FFFF00"/>
                    </a:solidFill>
                  </a:tcPr>
                </a:tc>
                <a:tc>
                  <a:txBody>
                    <a:bodyPr/>
                    <a:lstStyle/>
                    <a:p>
                      <a:pPr algn="ctr"/>
                      <a:r>
                        <a:rPr lang="en-US" sz="2000" dirty="0"/>
                        <a:t>42%</a:t>
                      </a:r>
                    </a:p>
                  </a:txBody>
                  <a:tcPr marL="62162" marR="62162" marT="31081" marB="31081" anchor="ctr">
                    <a:lnL>
                      <a:noFill/>
                    </a:lnL>
                    <a:lnR>
                      <a:noFill/>
                    </a:lnR>
                    <a:lnT>
                      <a:noFill/>
                    </a:lnT>
                    <a:lnB>
                      <a:noFill/>
                    </a:lnB>
                    <a:solidFill>
                      <a:srgbClr val="FFFF00"/>
                    </a:solidFill>
                  </a:tcPr>
                </a:tc>
                <a:tc>
                  <a:txBody>
                    <a:bodyPr/>
                    <a:lstStyle/>
                    <a:p>
                      <a:pPr algn="ctr"/>
                      <a:r>
                        <a:rPr lang="en-US" sz="2000" b="1" dirty="0"/>
                        <a:t>2%</a:t>
                      </a:r>
                    </a:p>
                  </a:txBody>
                  <a:tcPr marL="62162" marR="62162" marT="31081" marB="31081" anchor="ctr">
                    <a:lnL>
                      <a:noFill/>
                    </a:lnL>
                    <a:lnR>
                      <a:noFill/>
                    </a:lnR>
                    <a:lnT>
                      <a:noFill/>
                    </a:lnT>
                    <a:lnB>
                      <a:noFill/>
                    </a:lnB>
                    <a:solidFill>
                      <a:srgbClr val="FFFF00"/>
                    </a:solidFill>
                  </a:tcPr>
                </a:tc>
                <a:tc>
                  <a:txBody>
                    <a:bodyPr/>
                    <a:lstStyle/>
                    <a:p>
                      <a:pPr algn="ctr"/>
                      <a:r>
                        <a:rPr lang="en-US" sz="2000" dirty="0"/>
                        <a:t>30%</a:t>
                      </a:r>
                    </a:p>
                  </a:txBody>
                  <a:tcPr marL="62162" marR="62162" marT="31081" marB="31081" anchor="ctr">
                    <a:lnL>
                      <a:noFill/>
                    </a:lnL>
                    <a:lnR>
                      <a:noFill/>
                    </a:lnR>
                    <a:lnT>
                      <a:noFill/>
                    </a:lnT>
                    <a:lnB>
                      <a:noFill/>
                    </a:lnB>
                    <a:solidFill>
                      <a:srgbClr val="FFFF00"/>
                    </a:solidFill>
                  </a:tcPr>
                </a:tc>
                <a:tc>
                  <a:txBody>
                    <a:bodyPr/>
                    <a:lstStyle/>
                    <a:p>
                      <a:pPr algn="ctr"/>
                      <a:r>
                        <a:rPr lang="en-US" sz="2000" b="1" dirty="0"/>
                        <a:t>10%</a:t>
                      </a:r>
                    </a:p>
                  </a:txBody>
                  <a:tcPr marL="62162" marR="62162" marT="31081" marB="31081" anchor="ctr">
                    <a:lnL>
                      <a:noFill/>
                    </a:lnL>
                    <a:lnR>
                      <a:noFill/>
                    </a:lnR>
                    <a:lnT>
                      <a:noFill/>
                    </a:lnT>
                    <a:lnB>
                      <a:noFill/>
                    </a:lnB>
                    <a:solidFill>
                      <a:srgbClr val="FFFF00"/>
                    </a:solidFill>
                  </a:tcPr>
                </a:tc>
                <a:extLst>
                  <a:ext uri="{0D108BD9-81ED-4DB2-BD59-A6C34878D82A}">
                    <a16:rowId xmlns:a16="http://schemas.microsoft.com/office/drawing/2014/main" val="599260900"/>
                  </a:ext>
                </a:extLst>
              </a:tr>
              <a:tr h="453346">
                <a:tc>
                  <a:txBody>
                    <a:bodyPr/>
                    <a:lstStyle/>
                    <a:p>
                      <a:pPr algn="ctr"/>
                      <a:r>
                        <a:rPr lang="en-US" sz="2000" dirty="0"/>
                        <a:t>MCL</a:t>
                      </a:r>
                    </a:p>
                  </a:txBody>
                  <a:tcPr marL="62162" marR="62162" marT="31081" marB="31081" anchor="ctr">
                    <a:lnL>
                      <a:noFill/>
                    </a:lnL>
                    <a:lnR>
                      <a:noFill/>
                    </a:lnR>
                    <a:lnT>
                      <a:noFill/>
                    </a:lnT>
                    <a:lnB>
                      <a:noFill/>
                    </a:lnB>
                  </a:tcPr>
                </a:tc>
                <a:tc>
                  <a:txBody>
                    <a:bodyPr/>
                    <a:lstStyle/>
                    <a:p>
                      <a:pPr algn="ctr"/>
                      <a:r>
                        <a:rPr lang="en-US" sz="2000" dirty="0" err="1"/>
                        <a:t>brexu-cel</a:t>
                      </a:r>
                      <a:endParaRPr lang="en-US" sz="2000" dirty="0"/>
                    </a:p>
                  </a:txBody>
                  <a:tcPr marL="62162" marR="62162" marT="31081" marB="31081" anchor="ctr">
                    <a:lnL>
                      <a:noFill/>
                    </a:lnL>
                    <a:lnR>
                      <a:noFill/>
                    </a:lnR>
                    <a:lnT>
                      <a:noFill/>
                    </a:lnT>
                    <a:lnB>
                      <a:noFill/>
                    </a:lnB>
                  </a:tcPr>
                </a:tc>
                <a:tc>
                  <a:txBody>
                    <a:bodyPr/>
                    <a:lstStyle/>
                    <a:p>
                      <a:pPr algn="ctr"/>
                      <a:r>
                        <a:rPr lang="en-US" sz="2000" dirty="0"/>
                        <a:t>ZUMA-2</a:t>
                      </a:r>
                    </a:p>
                  </a:txBody>
                  <a:tcPr marL="62162" marR="62162" marT="31081" marB="31081" anchor="ctr">
                    <a:lnL>
                      <a:noFill/>
                    </a:lnL>
                    <a:lnR>
                      <a:noFill/>
                    </a:lnR>
                    <a:lnT>
                      <a:noFill/>
                    </a:lnT>
                    <a:lnB>
                      <a:noFill/>
                    </a:lnB>
                  </a:tcPr>
                </a:tc>
                <a:tc>
                  <a:txBody>
                    <a:bodyPr/>
                    <a:lstStyle/>
                    <a:p>
                      <a:pPr algn="ctr"/>
                      <a:r>
                        <a:rPr lang="en-US" sz="2000" dirty="0"/>
                        <a:t>2020</a:t>
                      </a:r>
                    </a:p>
                  </a:txBody>
                  <a:tcPr marL="62162" marR="62162" marT="31081" marB="31081" anchor="ctr">
                    <a:lnL>
                      <a:noFill/>
                    </a:lnL>
                    <a:lnR>
                      <a:noFill/>
                    </a:lnR>
                    <a:lnT>
                      <a:noFill/>
                    </a:lnT>
                    <a:lnB>
                      <a:noFill/>
                    </a:lnB>
                  </a:tcPr>
                </a:tc>
                <a:tc>
                  <a:txBody>
                    <a:bodyPr/>
                    <a:lstStyle/>
                    <a:p>
                      <a:pPr algn="ctr"/>
                      <a:r>
                        <a:rPr lang="en-US" sz="2000" dirty="0"/>
                        <a:t>60</a:t>
                      </a:r>
                    </a:p>
                  </a:txBody>
                  <a:tcPr marL="62162" marR="62162" marT="31081" marB="31081" anchor="ctr">
                    <a:lnL>
                      <a:noFill/>
                    </a:lnL>
                    <a:lnR>
                      <a:noFill/>
                    </a:lnR>
                    <a:lnT>
                      <a:noFill/>
                    </a:lnT>
                    <a:lnB>
                      <a:noFill/>
                    </a:lnB>
                  </a:tcPr>
                </a:tc>
                <a:tc>
                  <a:txBody>
                    <a:bodyPr/>
                    <a:lstStyle/>
                    <a:p>
                      <a:pPr algn="ctr"/>
                      <a:r>
                        <a:rPr lang="en-US" sz="2000" dirty="0"/>
                        <a:t>91%</a:t>
                      </a:r>
                    </a:p>
                  </a:txBody>
                  <a:tcPr marL="62162" marR="62162" marT="31081" marB="31081" anchor="ctr">
                    <a:lnL>
                      <a:noFill/>
                    </a:lnL>
                    <a:lnR>
                      <a:noFill/>
                    </a:lnR>
                    <a:lnT>
                      <a:noFill/>
                    </a:lnT>
                    <a:lnB>
                      <a:noFill/>
                    </a:lnB>
                  </a:tcPr>
                </a:tc>
                <a:tc>
                  <a:txBody>
                    <a:bodyPr/>
                    <a:lstStyle/>
                    <a:p>
                      <a:pPr algn="ctr"/>
                      <a:r>
                        <a:rPr lang="en-US" sz="2000" b="1" dirty="0"/>
                        <a:t>15%</a:t>
                      </a:r>
                    </a:p>
                  </a:txBody>
                  <a:tcPr marL="62162" marR="62162" marT="31081" marB="31081" anchor="ctr">
                    <a:lnL>
                      <a:noFill/>
                    </a:lnL>
                    <a:lnR>
                      <a:noFill/>
                    </a:lnR>
                    <a:lnT>
                      <a:noFill/>
                    </a:lnT>
                    <a:lnB>
                      <a:noFill/>
                    </a:lnB>
                  </a:tcPr>
                </a:tc>
                <a:tc>
                  <a:txBody>
                    <a:bodyPr/>
                    <a:lstStyle/>
                    <a:p>
                      <a:pPr algn="ctr"/>
                      <a:r>
                        <a:rPr lang="en-US" sz="2000" dirty="0"/>
                        <a:t>63%</a:t>
                      </a:r>
                    </a:p>
                  </a:txBody>
                  <a:tcPr marL="62162" marR="62162" marT="31081" marB="31081" anchor="ctr">
                    <a:lnL>
                      <a:noFill/>
                    </a:lnL>
                    <a:lnR>
                      <a:noFill/>
                    </a:lnR>
                    <a:lnT>
                      <a:noFill/>
                    </a:lnT>
                    <a:lnB>
                      <a:noFill/>
                    </a:lnB>
                  </a:tcPr>
                </a:tc>
                <a:tc>
                  <a:txBody>
                    <a:bodyPr/>
                    <a:lstStyle/>
                    <a:p>
                      <a:pPr algn="ctr"/>
                      <a:r>
                        <a:rPr lang="en-US" sz="2000" b="1" dirty="0"/>
                        <a:t>31%</a:t>
                      </a:r>
                    </a:p>
                  </a:txBody>
                  <a:tcPr marL="62162" marR="62162" marT="31081" marB="31081" anchor="ctr">
                    <a:lnL>
                      <a:noFill/>
                    </a:lnL>
                    <a:lnR>
                      <a:noFill/>
                    </a:lnR>
                    <a:lnT>
                      <a:noFill/>
                    </a:lnT>
                    <a:lnB>
                      <a:noFill/>
                    </a:lnB>
                  </a:tcPr>
                </a:tc>
                <a:extLst>
                  <a:ext uri="{0D108BD9-81ED-4DB2-BD59-A6C34878D82A}">
                    <a16:rowId xmlns:a16="http://schemas.microsoft.com/office/drawing/2014/main" val="3292760790"/>
                  </a:ext>
                </a:extLst>
              </a:tr>
              <a:tr h="453346">
                <a:tc>
                  <a:txBody>
                    <a:bodyPr/>
                    <a:lstStyle/>
                    <a:p>
                      <a:pPr algn="ctr"/>
                      <a:r>
                        <a:rPr lang="en-US" sz="2000" dirty="0"/>
                        <a:t>FL</a:t>
                      </a:r>
                    </a:p>
                  </a:txBody>
                  <a:tcPr marL="62162" marR="62162" marT="31081" marB="31081" anchor="ctr">
                    <a:lnL>
                      <a:noFill/>
                    </a:lnL>
                    <a:lnR>
                      <a:noFill/>
                    </a:lnR>
                    <a:lnT>
                      <a:noFill/>
                    </a:lnT>
                    <a:lnB>
                      <a:noFill/>
                    </a:lnB>
                  </a:tcPr>
                </a:tc>
                <a:tc>
                  <a:txBody>
                    <a:bodyPr/>
                    <a:lstStyle/>
                    <a:p>
                      <a:pPr algn="ctr"/>
                      <a:r>
                        <a:rPr lang="en-US" sz="2000" dirty="0" err="1"/>
                        <a:t>axi-cel</a:t>
                      </a:r>
                      <a:endParaRPr lang="en-US" sz="2000" dirty="0"/>
                    </a:p>
                  </a:txBody>
                  <a:tcPr marL="62162" marR="62162" marT="31081" marB="31081" anchor="ctr">
                    <a:lnL>
                      <a:noFill/>
                    </a:lnL>
                    <a:lnR>
                      <a:noFill/>
                    </a:lnR>
                    <a:lnT>
                      <a:noFill/>
                    </a:lnT>
                    <a:lnB>
                      <a:noFill/>
                    </a:lnB>
                  </a:tcPr>
                </a:tc>
                <a:tc>
                  <a:txBody>
                    <a:bodyPr/>
                    <a:lstStyle/>
                    <a:p>
                      <a:pPr algn="ctr"/>
                      <a:r>
                        <a:rPr lang="en-US" sz="2000" dirty="0"/>
                        <a:t>ZUMA-5</a:t>
                      </a:r>
                    </a:p>
                  </a:txBody>
                  <a:tcPr marL="62162" marR="62162" marT="31081" marB="31081" anchor="ctr">
                    <a:lnL>
                      <a:noFill/>
                    </a:lnL>
                    <a:lnR>
                      <a:noFill/>
                    </a:lnR>
                    <a:lnT>
                      <a:noFill/>
                    </a:lnT>
                    <a:lnB>
                      <a:noFill/>
                    </a:lnB>
                  </a:tcPr>
                </a:tc>
                <a:tc>
                  <a:txBody>
                    <a:bodyPr/>
                    <a:lstStyle/>
                    <a:p>
                      <a:pPr algn="ctr"/>
                      <a:r>
                        <a:rPr lang="en-US" sz="2000" dirty="0"/>
                        <a:t>2021</a:t>
                      </a:r>
                    </a:p>
                  </a:txBody>
                  <a:tcPr marL="62162" marR="62162" marT="31081" marB="31081" anchor="ctr">
                    <a:lnL>
                      <a:noFill/>
                    </a:lnL>
                    <a:lnR>
                      <a:noFill/>
                    </a:lnR>
                    <a:lnT>
                      <a:noFill/>
                    </a:lnT>
                    <a:lnB>
                      <a:noFill/>
                    </a:lnB>
                  </a:tcPr>
                </a:tc>
                <a:tc>
                  <a:txBody>
                    <a:bodyPr/>
                    <a:lstStyle/>
                    <a:p>
                      <a:pPr algn="ctr"/>
                      <a:r>
                        <a:rPr lang="en-US" sz="2000" dirty="0"/>
                        <a:t>104</a:t>
                      </a:r>
                    </a:p>
                  </a:txBody>
                  <a:tcPr marL="62162" marR="62162" marT="31081" marB="31081" anchor="ctr">
                    <a:lnL>
                      <a:noFill/>
                    </a:lnL>
                    <a:lnR>
                      <a:noFill/>
                    </a:lnR>
                    <a:lnT>
                      <a:noFill/>
                    </a:lnT>
                    <a:lnB>
                      <a:noFill/>
                    </a:lnB>
                  </a:tcPr>
                </a:tc>
                <a:tc>
                  <a:txBody>
                    <a:bodyPr/>
                    <a:lstStyle/>
                    <a:p>
                      <a:pPr algn="ctr"/>
                      <a:r>
                        <a:rPr lang="en-US" sz="2000" dirty="0"/>
                        <a:t>82%</a:t>
                      </a:r>
                    </a:p>
                  </a:txBody>
                  <a:tcPr marL="62162" marR="62162" marT="31081" marB="31081" anchor="ctr">
                    <a:lnL>
                      <a:noFill/>
                    </a:lnL>
                    <a:lnR>
                      <a:noFill/>
                    </a:lnR>
                    <a:lnT>
                      <a:noFill/>
                    </a:lnT>
                    <a:lnB>
                      <a:noFill/>
                    </a:lnB>
                  </a:tcPr>
                </a:tc>
                <a:tc>
                  <a:txBody>
                    <a:bodyPr/>
                    <a:lstStyle/>
                    <a:p>
                      <a:pPr algn="ctr"/>
                      <a:r>
                        <a:rPr lang="en-US" sz="2000" b="1" dirty="0"/>
                        <a:t>7%</a:t>
                      </a:r>
                    </a:p>
                  </a:txBody>
                  <a:tcPr marL="62162" marR="62162" marT="31081" marB="31081" anchor="ctr">
                    <a:lnL>
                      <a:noFill/>
                    </a:lnL>
                    <a:lnR>
                      <a:noFill/>
                    </a:lnR>
                    <a:lnT>
                      <a:noFill/>
                    </a:lnT>
                    <a:lnB>
                      <a:noFill/>
                    </a:lnB>
                  </a:tcPr>
                </a:tc>
                <a:tc>
                  <a:txBody>
                    <a:bodyPr/>
                    <a:lstStyle/>
                    <a:p>
                      <a:pPr algn="ctr"/>
                      <a:r>
                        <a:rPr lang="en-US" sz="2000" dirty="0"/>
                        <a:t>59%</a:t>
                      </a:r>
                    </a:p>
                  </a:txBody>
                  <a:tcPr marL="62162" marR="62162" marT="31081" marB="31081" anchor="ctr">
                    <a:lnL>
                      <a:noFill/>
                    </a:lnL>
                    <a:lnR>
                      <a:noFill/>
                    </a:lnR>
                    <a:lnT>
                      <a:noFill/>
                    </a:lnT>
                    <a:lnB>
                      <a:noFill/>
                    </a:lnB>
                  </a:tcPr>
                </a:tc>
                <a:tc>
                  <a:txBody>
                    <a:bodyPr/>
                    <a:lstStyle/>
                    <a:p>
                      <a:pPr algn="ctr"/>
                      <a:r>
                        <a:rPr lang="en-US" sz="2000" b="1" dirty="0"/>
                        <a:t>19%</a:t>
                      </a:r>
                    </a:p>
                  </a:txBody>
                  <a:tcPr marL="62162" marR="62162" marT="31081" marB="31081" anchor="ctr">
                    <a:lnL>
                      <a:noFill/>
                    </a:lnL>
                    <a:lnR>
                      <a:noFill/>
                    </a:lnR>
                    <a:lnT>
                      <a:noFill/>
                    </a:lnT>
                    <a:lnB>
                      <a:noFill/>
                    </a:lnB>
                  </a:tcPr>
                </a:tc>
                <a:extLst>
                  <a:ext uri="{0D108BD9-81ED-4DB2-BD59-A6C34878D82A}">
                    <a16:rowId xmlns:a16="http://schemas.microsoft.com/office/drawing/2014/main" val="3342623856"/>
                  </a:ext>
                </a:extLst>
              </a:tr>
              <a:tr h="453346">
                <a:tc>
                  <a:txBody>
                    <a:bodyPr/>
                    <a:lstStyle/>
                    <a:p>
                      <a:pPr algn="ctr"/>
                      <a:r>
                        <a:rPr lang="en-US" sz="2000" dirty="0"/>
                        <a:t>LBCL (2L)</a:t>
                      </a:r>
                    </a:p>
                  </a:txBody>
                  <a:tcPr marL="62162" marR="62162" marT="31081" marB="31081" anchor="ctr">
                    <a:lnL>
                      <a:noFill/>
                    </a:lnL>
                    <a:lnR>
                      <a:noFill/>
                    </a:lnR>
                    <a:lnT>
                      <a:noFill/>
                    </a:lnT>
                    <a:lnB>
                      <a:noFill/>
                    </a:lnB>
                    <a:solidFill>
                      <a:srgbClr val="00FFFF"/>
                    </a:solidFill>
                  </a:tcPr>
                </a:tc>
                <a:tc>
                  <a:txBody>
                    <a:bodyPr/>
                    <a:lstStyle/>
                    <a:p>
                      <a:pPr algn="ctr"/>
                      <a:r>
                        <a:rPr lang="en-US" sz="2000" dirty="0" err="1"/>
                        <a:t>axi-cel</a:t>
                      </a:r>
                      <a:endParaRPr lang="en-US" sz="2000" dirty="0"/>
                    </a:p>
                  </a:txBody>
                  <a:tcPr marL="62162" marR="62162" marT="31081" marB="31081" anchor="ctr">
                    <a:lnL>
                      <a:noFill/>
                    </a:lnL>
                    <a:lnR>
                      <a:noFill/>
                    </a:lnR>
                    <a:lnT>
                      <a:noFill/>
                    </a:lnT>
                    <a:lnB>
                      <a:noFill/>
                    </a:lnB>
                    <a:solidFill>
                      <a:srgbClr val="00FFFF"/>
                    </a:solidFill>
                  </a:tcPr>
                </a:tc>
                <a:tc>
                  <a:txBody>
                    <a:bodyPr/>
                    <a:lstStyle/>
                    <a:p>
                      <a:pPr algn="ctr"/>
                      <a:r>
                        <a:rPr lang="en-US" sz="2000" dirty="0"/>
                        <a:t>ZUMA-7</a:t>
                      </a:r>
                    </a:p>
                  </a:txBody>
                  <a:tcPr marL="62162" marR="62162" marT="31081" marB="31081" anchor="ctr">
                    <a:lnL>
                      <a:noFill/>
                    </a:lnL>
                    <a:lnR>
                      <a:noFill/>
                    </a:lnR>
                    <a:lnT>
                      <a:noFill/>
                    </a:lnT>
                    <a:lnB>
                      <a:noFill/>
                    </a:lnB>
                    <a:solidFill>
                      <a:srgbClr val="00FFFF"/>
                    </a:solidFill>
                  </a:tcPr>
                </a:tc>
                <a:tc>
                  <a:txBody>
                    <a:bodyPr/>
                    <a:lstStyle/>
                    <a:p>
                      <a:pPr algn="ctr"/>
                      <a:r>
                        <a:rPr lang="en-US" sz="2000" dirty="0"/>
                        <a:t>2022</a:t>
                      </a:r>
                    </a:p>
                  </a:txBody>
                  <a:tcPr marL="62162" marR="62162" marT="31081" marB="31081" anchor="ctr">
                    <a:lnL>
                      <a:noFill/>
                    </a:lnL>
                    <a:lnR>
                      <a:noFill/>
                    </a:lnR>
                    <a:lnT>
                      <a:noFill/>
                    </a:lnT>
                    <a:lnB>
                      <a:noFill/>
                    </a:lnB>
                    <a:solidFill>
                      <a:srgbClr val="00FFFF"/>
                    </a:solidFill>
                  </a:tcPr>
                </a:tc>
                <a:tc>
                  <a:txBody>
                    <a:bodyPr/>
                    <a:lstStyle/>
                    <a:p>
                      <a:pPr algn="ctr"/>
                      <a:r>
                        <a:rPr lang="en-US" sz="2000" dirty="0"/>
                        <a:t>180</a:t>
                      </a:r>
                    </a:p>
                  </a:txBody>
                  <a:tcPr marL="62162" marR="62162" marT="31081" marB="31081" anchor="ctr">
                    <a:lnL>
                      <a:noFill/>
                    </a:lnL>
                    <a:lnR>
                      <a:noFill/>
                    </a:lnR>
                    <a:lnT>
                      <a:noFill/>
                    </a:lnT>
                    <a:lnB>
                      <a:noFill/>
                    </a:lnB>
                    <a:solidFill>
                      <a:srgbClr val="00FFFF"/>
                    </a:solidFill>
                  </a:tcPr>
                </a:tc>
                <a:tc>
                  <a:txBody>
                    <a:bodyPr/>
                    <a:lstStyle/>
                    <a:p>
                      <a:pPr algn="ctr"/>
                      <a:r>
                        <a:rPr lang="en-US" sz="2000" dirty="0"/>
                        <a:t>92%</a:t>
                      </a:r>
                    </a:p>
                  </a:txBody>
                  <a:tcPr marL="62162" marR="62162" marT="31081" marB="31081" anchor="ctr">
                    <a:lnL>
                      <a:noFill/>
                    </a:lnL>
                    <a:lnR>
                      <a:noFill/>
                    </a:lnR>
                    <a:lnT>
                      <a:noFill/>
                    </a:lnT>
                    <a:lnB>
                      <a:noFill/>
                    </a:lnB>
                    <a:solidFill>
                      <a:srgbClr val="00FFFF"/>
                    </a:solidFill>
                  </a:tcPr>
                </a:tc>
                <a:tc>
                  <a:txBody>
                    <a:bodyPr/>
                    <a:lstStyle/>
                    <a:p>
                      <a:pPr algn="ctr"/>
                      <a:r>
                        <a:rPr lang="en-US" sz="2000" b="1" dirty="0"/>
                        <a:t>6%</a:t>
                      </a:r>
                    </a:p>
                  </a:txBody>
                  <a:tcPr marL="62162" marR="62162" marT="31081" marB="31081" anchor="ctr">
                    <a:lnL>
                      <a:noFill/>
                    </a:lnL>
                    <a:lnR>
                      <a:noFill/>
                    </a:lnR>
                    <a:lnT>
                      <a:noFill/>
                    </a:lnT>
                    <a:lnB>
                      <a:noFill/>
                    </a:lnB>
                    <a:solidFill>
                      <a:srgbClr val="00FFFF"/>
                    </a:solidFill>
                  </a:tcPr>
                </a:tc>
                <a:tc>
                  <a:txBody>
                    <a:bodyPr/>
                    <a:lstStyle/>
                    <a:p>
                      <a:pPr algn="ctr"/>
                      <a:r>
                        <a:rPr lang="en-US" sz="2000" dirty="0"/>
                        <a:t>60%</a:t>
                      </a:r>
                    </a:p>
                  </a:txBody>
                  <a:tcPr marL="62162" marR="62162" marT="31081" marB="31081" anchor="ctr">
                    <a:lnL>
                      <a:noFill/>
                    </a:lnL>
                    <a:lnR>
                      <a:noFill/>
                    </a:lnR>
                    <a:lnT>
                      <a:noFill/>
                    </a:lnT>
                    <a:lnB>
                      <a:noFill/>
                    </a:lnB>
                    <a:solidFill>
                      <a:srgbClr val="00FFFF"/>
                    </a:solidFill>
                  </a:tcPr>
                </a:tc>
                <a:tc>
                  <a:txBody>
                    <a:bodyPr/>
                    <a:lstStyle/>
                    <a:p>
                      <a:pPr algn="ctr"/>
                      <a:r>
                        <a:rPr lang="en-US" sz="2000" b="1" dirty="0"/>
                        <a:t>21%</a:t>
                      </a:r>
                    </a:p>
                  </a:txBody>
                  <a:tcPr marL="62162" marR="62162" marT="31081" marB="31081" anchor="ctr">
                    <a:lnL>
                      <a:noFill/>
                    </a:lnL>
                    <a:lnR>
                      <a:noFill/>
                    </a:lnR>
                    <a:lnT>
                      <a:noFill/>
                    </a:lnT>
                    <a:lnB>
                      <a:noFill/>
                    </a:lnB>
                    <a:solidFill>
                      <a:srgbClr val="00FFFF"/>
                    </a:solidFill>
                  </a:tcPr>
                </a:tc>
                <a:extLst>
                  <a:ext uri="{0D108BD9-81ED-4DB2-BD59-A6C34878D82A}">
                    <a16:rowId xmlns:a16="http://schemas.microsoft.com/office/drawing/2014/main" val="2828450981"/>
                  </a:ext>
                </a:extLst>
              </a:tr>
              <a:tr h="453346">
                <a:tc>
                  <a:txBody>
                    <a:bodyPr/>
                    <a:lstStyle/>
                    <a:p>
                      <a:pPr algn="ctr"/>
                      <a:r>
                        <a:rPr lang="en-US" sz="2000" dirty="0"/>
                        <a:t>LBCL (2L)</a:t>
                      </a:r>
                    </a:p>
                  </a:txBody>
                  <a:tcPr marL="62162" marR="62162" marT="31081" marB="31081" anchor="ctr">
                    <a:lnL>
                      <a:noFill/>
                    </a:lnL>
                    <a:lnR>
                      <a:noFill/>
                    </a:lnR>
                    <a:lnT>
                      <a:noFill/>
                    </a:lnT>
                    <a:lnB>
                      <a:noFill/>
                    </a:lnB>
                    <a:solidFill>
                      <a:schemeClr val="accent2">
                        <a:lumMod val="20000"/>
                        <a:lumOff val="80000"/>
                      </a:schemeClr>
                    </a:solidFill>
                  </a:tcPr>
                </a:tc>
                <a:tc>
                  <a:txBody>
                    <a:bodyPr/>
                    <a:lstStyle/>
                    <a:p>
                      <a:pPr algn="ctr"/>
                      <a:r>
                        <a:rPr lang="en-US" sz="2000" dirty="0" err="1"/>
                        <a:t>tisa-cel</a:t>
                      </a:r>
                      <a:endParaRPr lang="en-US" sz="2000" dirty="0"/>
                    </a:p>
                  </a:txBody>
                  <a:tcPr marL="62162" marR="62162" marT="31081" marB="31081" anchor="ctr">
                    <a:lnL>
                      <a:noFill/>
                    </a:lnL>
                    <a:lnR>
                      <a:noFill/>
                    </a:lnR>
                    <a:lnT>
                      <a:noFill/>
                    </a:lnT>
                    <a:lnB>
                      <a:noFill/>
                    </a:lnB>
                    <a:solidFill>
                      <a:schemeClr val="accent2">
                        <a:lumMod val="20000"/>
                        <a:lumOff val="80000"/>
                      </a:schemeClr>
                    </a:solidFill>
                  </a:tcPr>
                </a:tc>
                <a:tc>
                  <a:txBody>
                    <a:bodyPr/>
                    <a:lstStyle/>
                    <a:p>
                      <a:pPr algn="ctr"/>
                      <a:r>
                        <a:rPr lang="en-US" sz="2000" dirty="0"/>
                        <a:t>BELINDA</a:t>
                      </a:r>
                    </a:p>
                  </a:txBody>
                  <a:tcPr marL="62162" marR="62162" marT="31081" marB="31081" anchor="ctr">
                    <a:lnL>
                      <a:noFill/>
                    </a:lnL>
                    <a:lnR>
                      <a:noFill/>
                    </a:lnR>
                    <a:lnT>
                      <a:noFill/>
                    </a:lnT>
                    <a:lnB>
                      <a:noFill/>
                    </a:lnB>
                    <a:solidFill>
                      <a:schemeClr val="accent2">
                        <a:lumMod val="20000"/>
                        <a:lumOff val="80000"/>
                      </a:schemeClr>
                    </a:solidFill>
                  </a:tcPr>
                </a:tc>
                <a:tc>
                  <a:txBody>
                    <a:bodyPr/>
                    <a:lstStyle/>
                    <a:p>
                      <a:pPr algn="ctr"/>
                      <a:r>
                        <a:rPr lang="en-US" sz="2000" dirty="0"/>
                        <a:t>2022</a:t>
                      </a:r>
                    </a:p>
                  </a:txBody>
                  <a:tcPr marL="62162" marR="62162" marT="31081" marB="31081" anchor="ctr">
                    <a:lnL>
                      <a:noFill/>
                    </a:lnL>
                    <a:lnR>
                      <a:noFill/>
                    </a:lnR>
                    <a:lnT>
                      <a:noFill/>
                    </a:lnT>
                    <a:lnB>
                      <a:noFill/>
                    </a:lnB>
                    <a:solidFill>
                      <a:schemeClr val="accent2">
                        <a:lumMod val="20000"/>
                        <a:lumOff val="80000"/>
                      </a:schemeClr>
                    </a:solidFill>
                  </a:tcPr>
                </a:tc>
                <a:tc>
                  <a:txBody>
                    <a:bodyPr/>
                    <a:lstStyle/>
                    <a:p>
                      <a:pPr algn="ctr"/>
                      <a:r>
                        <a:rPr lang="en-US" sz="2000" dirty="0"/>
                        <a:t>162</a:t>
                      </a:r>
                    </a:p>
                  </a:txBody>
                  <a:tcPr marL="62162" marR="62162" marT="31081" marB="31081" anchor="ctr">
                    <a:lnL>
                      <a:noFill/>
                    </a:lnL>
                    <a:lnR>
                      <a:noFill/>
                    </a:lnR>
                    <a:lnT>
                      <a:noFill/>
                    </a:lnT>
                    <a:lnB>
                      <a:noFill/>
                    </a:lnB>
                    <a:solidFill>
                      <a:schemeClr val="accent2">
                        <a:lumMod val="20000"/>
                        <a:lumOff val="80000"/>
                      </a:schemeClr>
                    </a:solidFill>
                  </a:tcPr>
                </a:tc>
                <a:tc>
                  <a:txBody>
                    <a:bodyPr/>
                    <a:lstStyle/>
                    <a:p>
                      <a:pPr algn="ctr"/>
                      <a:r>
                        <a:rPr lang="en-US" sz="2000" dirty="0"/>
                        <a:t>61%</a:t>
                      </a:r>
                    </a:p>
                  </a:txBody>
                  <a:tcPr marL="62162" marR="62162" marT="31081" marB="31081" anchor="ctr">
                    <a:lnL>
                      <a:noFill/>
                    </a:lnL>
                    <a:lnR>
                      <a:noFill/>
                    </a:lnR>
                    <a:lnT>
                      <a:noFill/>
                    </a:lnT>
                    <a:lnB>
                      <a:noFill/>
                    </a:lnB>
                    <a:solidFill>
                      <a:schemeClr val="accent2">
                        <a:lumMod val="20000"/>
                        <a:lumOff val="80000"/>
                      </a:schemeClr>
                    </a:solidFill>
                  </a:tcPr>
                </a:tc>
                <a:tc>
                  <a:txBody>
                    <a:bodyPr/>
                    <a:lstStyle/>
                    <a:p>
                      <a:pPr algn="ctr"/>
                      <a:r>
                        <a:rPr lang="en-US" sz="2000" b="1" dirty="0"/>
                        <a:t>5%</a:t>
                      </a:r>
                    </a:p>
                  </a:txBody>
                  <a:tcPr marL="62162" marR="62162" marT="31081" marB="31081" anchor="ctr">
                    <a:lnL>
                      <a:noFill/>
                    </a:lnL>
                    <a:lnR>
                      <a:noFill/>
                    </a:lnR>
                    <a:lnT>
                      <a:noFill/>
                    </a:lnT>
                    <a:lnB>
                      <a:noFill/>
                    </a:lnB>
                    <a:solidFill>
                      <a:schemeClr val="accent2">
                        <a:lumMod val="20000"/>
                        <a:lumOff val="80000"/>
                      </a:schemeClr>
                    </a:solidFill>
                  </a:tcPr>
                </a:tc>
                <a:tc>
                  <a:txBody>
                    <a:bodyPr/>
                    <a:lstStyle/>
                    <a:p>
                      <a:pPr algn="ctr"/>
                      <a:r>
                        <a:rPr lang="en-US" sz="2000" dirty="0"/>
                        <a:t>10%</a:t>
                      </a:r>
                    </a:p>
                  </a:txBody>
                  <a:tcPr marL="62162" marR="62162" marT="31081" marB="31081" anchor="ctr">
                    <a:lnL>
                      <a:noFill/>
                    </a:lnL>
                    <a:lnR>
                      <a:noFill/>
                    </a:lnR>
                    <a:lnT>
                      <a:noFill/>
                    </a:lnT>
                    <a:lnB>
                      <a:noFill/>
                    </a:lnB>
                    <a:solidFill>
                      <a:schemeClr val="accent2">
                        <a:lumMod val="20000"/>
                        <a:lumOff val="80000"/>
                      </a:schemeClr>
                    </a:solidFill>
                  </a:tcPr>
                </a:tc>
                <a:tc>
                  <a:txBody>
                    <a:bodyPr/>
                    <a:lstStyle/>
                    <a:p>
                      <a:pPr algn="ctr"/>
                      <a:r>
                        <a:rPr lang="en-US" sz="2000" b="1" dirty="0"/>
                        <a:t>2%</a:t>
                      </a:r>
                    </a:p>
                  </a:txBody>
                  <a:tcPr marL="62162" marR="62162" marT="31081" marB="31081" anchor="ctr">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4187330007"/>
                  </a:ext>
                </a:extLst>
              </a:tr>
              <a:tr h="453346">
                <a:tc>
                  <a:txBody>
                    <a:bodyPr/>
                    <a:lstStyle/>
                    <a:p>
                      <a:pPr algn="ctr"/>
                      <a:r>
                        <a:rPr lang="en-US" sz="2000" dirty="0"/>
                        <a:t>LBCL (2L)</a:t>
                      </a:r>
                    </a:p>
                  </a:txBody>
                  <a:tcPr marL="62162" marR="62162" marT="31081" marB="31081" anchor="ctr">
                    <a:lnL>
                      <a:noFill/>
                    </a:lnL>
                    <a:lnR>
                      <a:noFill/>
                    </a:lnR>
                    <a:lnT>
                      <a:noFill/>
                    </a:lnT>
                    <a:lnB>
                      <a:noFill/>
                    </a:lnB>
                    <a:solidFill>
                      <a:srgbClr val="FFFF00"/>
                    </a:solidFill>
                  </a:tcPr>
                </a:tc>
                <a:tc>
                  <a:txBody>
                    <a:bodyPr/>
                    <a:lstStyle/>
                    <a:p>
                      <a:pPr algn="ctr"/>
                      <a:r>
                        <a:rPr lang="en-US" sz="2000" dirty="0" err="1"/>
                        <a:t>liso-cel</a:t>
                      </a:r>
                      <a:endParaRPr lang="en-US" sz="2000" dirty="0"/>
                    </a:p>
                  </a:txBody>
                  <a:tcPr marL="62162" marR="62162" marT="31081" marB="31081" anchor="ctr">
                    <a:lnL>
                      <a:noFill/>
                    </a:lnL>
                    <a:lnR>
                      <a:noFill/>
                    </a:lnR>
                    <a:lnT>
                      <a:noFill/>
                    </a:lnT>
                    <a:lnB>
                      <a:noFill/>
                    </a:lnB>
                    <a:solidFill>
                      <a:srgbClr val="FFFF00"/>
                    </a:solidFill>
                  </a:tcPr>
                </a:tc>
                <a:tc>
                  <a:txBody>
                    <a:bodyPr/>
                    <a:lstStyle/>
                    <a:p>
                      <a:pPr algn="ctr"/>
                      <a:r>
                        <a:rPr lang="en-US" sz="2000" dirty="0"/>
                        <a:t>TRANSFORM</a:t>
                      </a:r>
                      <a:endParaRPr lang="en-US" sz="2000" baseline="30000" dirty="0"/>
                    </a:p>
                  </a:txBody>
                  <a:tcPr marL="62162" marR="62162" marT="31081" marB="31081" anchor="ctr">
                    <a:lnL>
                      <a:noFill/>
                    </a:lnL>
                    <a:lnR>
                      <a:noFill/>
                    </a:lnR>
                    <a:lnT>
                      <a:noFill/>
                    </a:lnT>
                    <a:lnB>
                      <a:noFill/>
                    </a:lnB>
                    <a:solidFill>
                      <a:srgbClr val="FFFF00"/>
                    </a:solidFill>
                  </a:tcPr>
                </a:tc>
                <a:tc>
                  <a:txBody>
                    <a:bodyPr/>
                    <a:lstStyle/>
                    <a:p>
                      <a:pPr algn="ctr"/>
                      <a:r>
                        <a:rPr lang="en-US" sz="2000" dirty="0"/>
                        <a:t>2022</a:t>
                      </a:r>
                    </a:p>
                  </a:txBody>
                  <a:tcPr marL="62162" marR="62162" marT="31081" marB="31081" anchor="ctr">
                    <a:lnL>
                      <a:noFill/>
                    </a:lnL>
                    <a:lnR>
                      <a:noFill/>
                    </a:lnR>
                    <a:lnT>
                      <a:noFill/>
                    </a:lnT>
                    <a:lnB>
                      <a:noFill/>
                    </a:lnB>
                    <a:solidFill>
                      <a:srgbClr val="FFFF00"/>
                    </a:solidFill>
                  </a:tcPr>
                </a:tc>
                <a:tc>
                  <a:txBody>
                    <a:bodyPr/>
                    <a:lstStyle/>
                    <a:p>
                      <a:pPr algn="ctr"/>
                      <a:r>
                        <a:rPr lang="en-US" sz="2000" dirty="0"/>
                        <a:t>92</a:t>
                      </a:r>
                    </a:p>
                  </a:txBody>
                  <a:tcPr marL="62162" marR="62162" marT="31081" marB="31081" anchor="ctr">
                    <a:lnL>
                      <a:noFill/>
                    </a:lnL>
                    <a:lnR>
                      <a:noFill/>
                    </a:lnR>
                    <a:lnT>
                      <a:noFill/>
                    </a:lnT>
                    <a:lnB>
                      <a:noFill/>
                    </a:lnB>
                    <a:solidFill>
                      <a:srgbClr val="FFFF00"/>
                    </a:solidFill>
                  </a:tcPr>
                </a:tc>
                <a:tc>
                  <a:txBody>
                    <a:bodyPr/>
                    <a:lstStyle/>
                    <a:p>
                      <a:pPr algn="ctr"/>
                      <a:r>
                        <a:rPr lang="en-US" sz="2000" dirty="0"/>
                        <a:t>49%</a:t>
                      </a:r>
                    </a:p>
                  </a:txBody>
                  <a:tcPr marL="62162" marR="62162" marT="31081" marB="31081" anchor="ctr">
                    <a:lnL>
                      <a:noFill/>
                    </a:lnL>
                    <a:lnR>
                      <a:noFill/>
                    </a:lnR>
                    <a:lnT>
                      <a:noFill/>
                    </a:lnT>
                    <a:lnB>
                      <a:noFill/>
                    </a:lnB>
                    <a:solidFill>
                      <a:srgbClr val="FFFF00"/>
                    </a:solidFill>
                  </a:tcPr>
                </a:tc>
                <a:tc>
                  <a:txBody>
                    <a:bodyPr/>
                    <a:lstStyle/>
                    <a:p>
                      <a:pPr algn="ctr"/>
                      <a:r>
                        <a:rPr lang="en-US" sz="2000" b="1" dirty="0"/>
                        <a:t>1%</a:t>
                      </a:r>
                    </a:p>
                  </a:txBody>
                  <a:tcPr marL="62162" marR="62162" marT="31081" marB="31081" anchor="ctr">
                    <a:lnL>
                      <a:noFill/>
                    </a:lnL>
                    <a:lnR>
                      <a:noFill/>
                    </a:lnR>
                    <a:lnT>
                      <a:noFill/>
                    </a:lnT>
                    <a:lnB>
                      <a:noFill/>
                    </a:lnB>
                    <a:solidFill>
                      <a:srgbClr val="FFFF00"/>
                    </a:solidFill>
                  </a:tcPr>
                </a:tc>
                <a:tc>
                  <a:txBody>
                    <a:bodyPr/>
                    <a:lstStyle/>
                    <a:p>
                      <a:pPr algn="ctr"/>
                      <a:r>
                        <a:rPr lang="en-US" sz="2000" dirty="0"/>
                        <a:t>11%</a:t>
                      </a:r>
                    </a:p>
                  </a:txBody>
                  <a:tcPr marL="62162" marR="62162" marT="31081" marB="31081" anchor="ctr">
                    <a:lnL>
                      <a:noFill/>
                    </a:lnL>
                    <a:lnR>
                      <a:noFill/>
                    </a:lnR>
                    <a:lnT>
                      <a:noFill/>
                    </a:lnT>
                    <a:lnB>
                      <a:noFill/>
                    </a:lnB>
                    <a:solidFill>
                      <a:srgbClr val="FFFF00"/>
                    </a:solidFill>
                  </a:tcPr>
                </a:tc>
                <a:tc>
                  <a:txBody>
                    <a:bodyPr/>
                    <a:lstStyle/>
                    <a:p>
                      <a:pPr algn="ctr"/>
                      <a:r>
                        <a:rPr lang="en-US" sz="2000" b="1" dirty="0"/>
                        <a:t>4%</a:t>
                      </a:r>
                    </a:p>
                  </a:txBody>
                  <a:tcPr marL="62162" marR="62162" marT="31081" marB="31081" anchor="ctr">
                    <a:lnL>
                      <a:noFill/>
                    </a:lnL>
                    <a:lnR>
                      <a:noFill/>
                    </a:lnR>
                    <a:lnT>
                      <a:noFill/>
                    </a:lnT>
                    <a:lnB>
                      <a:noFill/>
                    </a:lnB>
                    <a:solidFill>
                      <a:srgbClr val="FFFF00"/>
                    </a:solidFill>
                  </a:tcPr>
                </a:tc>
                <a:extLst>
                  <a:ext uri="{0D108BD9-81ED-4DB2-BD59-A6C34878D82A}">
                    <a16:rowId xmlns:a16="http://schemas.microsoft.com/office/drawing/2014/main" val="4027900647"/>
                  </a:ext>
                </a:extLst>
              </a:tr>
              <a:tr h="453346">
                <a:tc>
                  <a:txBody>
                    <a:bodyPr/>
                    <a:lstStyle/>
                    <a:p>
                      <a:pPr algn="ctr"/>
                      <a:r>
                        <a:rPr lang="en-US" sz="2000" dirty="0"/>
                        <a:t>FL</a:t>
                      </a:r>
                    </a:p>
                  </a:txBody>
                  <a:tcPr marL="62162" marR="62162" marT="31081" marB="31081" anchor="ctr">
                    <a:lnL>
                      <a:noFill/>
                    </a:lnL>
                    <a:lnR>
                      <a:noFill/>
                    </a:lnR>
                    <a:lnT>
                      <a:noFill/>
                    </a:lnT>
                    <a:lnB>
                      <a:noFill/>
                    </a:lnB>
                  </a:tcPr>
                </a:tc>
                <a:tc>
                  <a:txBody>
                    <a:bodyPr/>
                    <a:lstStyle/>
                    <a:p>
                      <a:pPr algn="ctr"/>
                      <a:r>
                        <a:rPr lang="en-US" sz="2000" dirty="0" err="1"/>
                        <a:t>tisa-cel</a:t>
                      </a:r>
                      <a:endParaRPr lang="en-US" sz="2000" dirty="0"/>
                    </a:p>
                  </a:txBody>
                  <a:tcPr marL="62162" marR="62162" marT="31081" marB="31081" anchor="ctr">
                    <a:lnL>
                      <a:noFill/>
                    </a:lnL>
                    <a:lnR>
                      <a:noFill/>
                    </a:lnR>
                    <a:lnT>
                      <a:noFill/>
                    </a:lnT>
                    <a:lnB>
                      <a:noFill/>
                    </a:lnB>
                  </a:tcPr>
                </a:tc>
                <a:tc>
                  <a:txBody>
                    <a:bodyPr/>
                    <a:lstStyle/>
                    <a:p>
                      <a:pPr algn="ctr"/>
                      <a:r>
                        <a:rPr lang="en-US" sz="2000" dirty="0"/>
                        <a:t>ELARA</a:t>
                      </a:r>
                    </a:p>
                  </a:txBody>
                  <a:tcPr marL="62162" marR="62162" marT="31081" marB="31081" anchor="ctr">
                    <a:lnL>
                      <a:noFill/>
                    </a:lnL>
                    <a:lnR>
                      <a:noFill/>
                    </a:lnR>
                    <a:lnT>
                      <a:noFill/>
                    </a:lnT>
                    <a:lnB>
                      <a:noFill/>
                    </a:lnB>
                  </a:tcPr>
                </a:tc>
                <a:tc>
                  <a:txBody>
                    <a:bodyPr/>
                    <a:lstStyle/>
                    <a:p>
                      <a:pPr algn="ctr"/>
                      <a:r>
                        <a:rPr lang="en-US" sz="2000" dirty="0"/>
                        <a:t>2022</a:t>
                      </a:r>
                    </a:p>
                  </a:txBody>
                  <a:tcPr marL="62162" marR="62162" marT="31081" marB="31081" anchor="ctr">
                    <a:lnL>
                      <a:noFill/>
                    </a:lnL>
                    <a:lnR>
                      <a:noFill/>
                    </a:lnR>
                    <a:lnT>
                      <a:noFill/>
                    </a:lnT>
                    <a:lnB>
                      <a:noFill/>
                    </a:lnB>
                  </a:tcPr>
                </a:tc>
                <a:tc>
                  <a:txBody>
                    <a:bodyPr/>
                    <a:lstStyle/>
                    <a:p>
                      <a:pPr algn="ctr"/>
                      <a:r>
                        <a:rPr lang="en-US" sz="2000" dirty="0"/>
                        <a:t>97</a:t>
                      </a:r>
                    </a:p>
                  </a:txBody>
                  <a:tcPr marL="62162" marR="62162" marT="31081" marB="31081" anchor="ctr">
                    <a:lnL>
                      <a:noFill/>
                    </a:lnL>
                    <a:lnR>
                      <a:noFill/>
                    </a:lnR>
                    <a:lnT>
                      <a:noFill/>
                    </a:lnT>
                    <a:lnB>
                      <a:noFill/>
                    </a:lnB>
                  </a:tcPr>
                </a:tc>
                <a:tc>
                  <a:txBody>
                    <a:bodyPr/>
                    <a:lstStyle/>
                    <a:p>
                      <a:pPr algn="ctr"/>
                      <a:r>
                        <a:rPr lang="en-US" sz="2000" dirty="0"/>
                        <a:t>49%</a:t>
                      </a:r>
                    </a:p>
                  </a:txBody>
                  <a:tcPr marL="62162" marR="62162" marT="31081" marB="31081" anchor="ctr">
                    <a:lnL>
                      <a:noFill/>
                    </a:lnL>
                    <a:lnR>
                      <a:noFill/>
                    </a:lnR>
                    <a:lnT>
                      <a:noFill/>
                    </a:lnT>
                    <a:lnB>
                      <a:noFill/>
                    </a:lnB>
                  </a:tcPr>
                </a:tc>
                <a:tc>
                  <a:txBody>
                    <a:bodyPr/>
                    <a:lstStyle/>
                    <a:p>
                      <a:pPr algn="ctr"/>
                      <a:r>
                        <a:rPr lang="en-US" sz="2000" b="1" dirty="0"/>
                        <a:t>0%</a:t>
                      </a:r>
                    </a:p>
                  </a:txBody>
                  <a:tcPr marL="62162" marR="62162" marT="31081" marB="31081" anchor="ctr">
                    <a:lnL>
                      <a:noFill/>
                    </a:lnL>
                    <a:lnR>
                      <a:noFill/>
                    </a:lnR>
                    <a:lnT>
                      <a:noFill/>
                    </a:lnT>
                    <a:lnB>
                      <a:noFill/>
                    </a:lnB>
                  </a:tcPr>
                </a:tc>
                <a:tc>
                  <a:txBody>
                    <a:bodyPr/>
                    <a:lstStyle/>
                    <a:p>
                      <a:pPr algn="ctr"/>
                      <a:r>
                        <a:rPr lang="en-US" sz="2000" dirty="0"/>
                        <a:t>37%</a:t>
                      </a:r>
                    </a:p>
                  </a:txBody>
                  <a:tcPr marL="62162" marR="62162" marT="31081" marB="31081" anchor="ctr">
                    <a:lnL>
                      <a:noFill/>
                    </a:lnL>
                    <a:lnR>
                      <a:noFill/>
                    </a:lnR>
                    <a:lnT>
                      <a:noFill/>
                    </a:lnT>
                    <a:lnB>
                      <a:noFill/>
                    </a:lnB>
                  </a:tcPr>
                </a:tc>
                <a:tc>
                  <a:txBody>
                    <a:bodyPr/>
                    <a:lstStyle/>
                    <a:p>
                      <a:pPr algn="ctr"/>
                      <a:r>
                        <a:rPr lang="en-US" sz="2000" b="1" dirty="0"/>
                        <a:t>3%</a:t>
                      </a:r>
                    </a:p>
                  </a:txBody>
                  <a:tcPr marL="62162" marR="62162" marT="31081" marB="31081" anchor="ctr">
                    <a:lnL>
                      <a:noFill/>
                    </a:lnL>
                    <a:lnR>
                      <a:noFill/>
                    </a:lnR>
                    <a:lnT>
                      <a:noFill/>
                    </a:lnT>
                    <a:lnB>
                      <a:noFill/>
                    </a:lnB>
                  </a:tcPr>
                </a:tc>
                <a:extLst>
                  <a:ext uri="{0D108BD9-81ED-4DB2-BD59-A6C34878D82A}">
                    <a16:rowId xmlns:a16="http://schemas.microsoft.com/office/drawing/2014/main" val="1355892780"/>
                  </a:ext>
                </a:extLst>
              </a:tr>
            </a:tbl>
          </a:graphicData>
        </a:graphic>
      </p:graphicFrame>
      <p:sp>
        <p:nvSpPr>
          <p:cNvPr id="2" name="TextBox 1">
            <a:extLst>
              <a:ext uri="{FF2B5EF4-FFF2-40B4-BE49-F238E27FC236}">
                <a16:creationId xmlns:a16="http://schemas.microsoft.com/office/drawing/2014/main" id="{CFED0585-EB94-9D1F-907B-8842CBD3B7B7}"/>
              </a:ext>
            </a:extLst>
          </p:cNvPr>
          <p:cNvSpPr txBox="1"/>
          <p:nvPr/>
        </p:nvSpPr>
        <p:spPr>
          <a:xfrm>
            <a:off x="0" y="6334780"/>
            <a:ext cx="1219200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Locke FL et al. Lancet Oncol, 2019;  Schuster SJ et al. New Engl J Med, 2019; Abramson JS et al. Lancet, 2020; Wang M et al. New Engl J Med, 2020;  Jacobson CA et al. Lancet Oncol, 2022;  Locke FL et al. New Engl J Med, 2022;  Bishop MR et al. Lancet Oncol, 2023; Kamdar M et al. Lancet, 2022; Fowler NH et al. Nat Med, 2022  </a:t>
            </a:r>
          </a:p>
        </p:txBody>
      </p:sp>
    </p:spTree>
    <p:extLst>
      <p:ext uri="{BB962C8B-B14F-4D97-AF65-F5344CB8AC3E}">
        <p14:creationId xmlns:p14="http://schemas.microsoft.com/office/powerpoint/2010/main" val="5814093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5" name="Picture 4"/>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rcRect t="17528" r="25786" b="25702"/>
          <a:stretch>
            <a:fillRect/>
          </a:stretch>
        </p:blipFill>
        <p:spPr>
          <a:xfrm>
            <a:off x="445447" y="1016753"/>
            <a:ext cx="11338560" cy="5782376"/>
          </a:xfrm>
          <a:prstGeom prst="rect">
            <a:avLst/>
          </a:prstGeom>
        </p:spPr>
      </p:pic>
      <p:pic>
        <p:nvPicPr>
          <p:cNvPr id="4" name="Picture 3">
            <a:extLst>
              <a:ext uri="{FF2B5EF4-FFF2-40B4-BE49-F238E27FC236}">
                <a16:creationId xmlns:a16="http://schemas.microsoft.com/office/drawing/2014/main" id="{8046074C-551D-AE6D-45D9-709AEC140223}"/>
              </a:ext>
            </a:extLst>
          </p:cNvPr>
          <p:cNvPicPr>
            <a:picLocks noChangeAspect="1"/>
          </p:cNvPicPr>
          <p:nvPr/>
        </p:nvPicPr>
        <p:blipFill>
          <a:blip r:embed="rId4"/>
          <a:srcRect t="7420" r="25786" b="84930"/>
          <a:stretch>
            <a:fillRect/>
          </a:stretch>
        </p:blipFill>
        <p:spPr>
          <a:xfrm>
            <a:off x="445446" y="409230"/>
            <a:ext cx="11338560" cy="779182"/>
          </a:xfrm>
          <a:prstGeom prst="rect">
            <a:avLst/>
          </a:prstGeom>
        </p:spPr>
      </p:pic>
      <p:sp>
        <p:nvSpPr>
          <p:cNvPr id="6" name="Subtitle 2">
            <a:extLst>
              <a:ext uri="{FF2B5EF4-FFF2-40B4-BE49-F238E27FC236}">
                <a16:creationId xmlns:a16="http://schemas.microsoft.com/office/drawing/2014/main" id="{BBE238CE-72DA-B354-D0BA-B1D04813201B}"/>
              </a:ext>
            </a:extLst>
          </p:cNvPr>
          <p:cNvSpPr txBox="1">
            <a:spLocks/>
          </p:cNvSpPr>
          <p:nvPr/>
        </p:nvSpPr>
        <p:spPr>
          <a:xfrm>
            <a:off x="12527" y="-3257"/>
            <a:ext cx="12148268" cy="118235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1" i="0" u="sng" strike="noStrike" kern="1200" cap="none" spc="0" normalizeH="0" baseline="0" noProof="0" dirty="0">
                <a:ln>
                  <a:noFill/>
                </a:ln>
                <a:solidFill>
                  <a:prstClr val="black"/>
                </a:solidFill>
                <a:effectLst/>
                <a:uLnTx/>
                <a:uFillTx/>
                <a:latin typeface="Calibri" panose="020F0502020204030204"/>
                <a:ea typeface="+mn-ea"/>
                <a:cs typeface="+mn-cs"/>
              </a:rPr>
              <a:t>Guidelines for mitigation, monitoring, management of CRS and ICANS</a:t>
            </a:r>
          </a:p>
        </p:txBody>
      </p:sp>
      <p:sp>
        <p:nvSpPr>
          <p:cNvPr id="7" name="Rectangle 6">
            <a:extLst>
              <a:ext uri="{FF2B5EF4-FFF2-40B4-BE49-F238E27FC236}">
                <a16:creationId xmlns:a16="http://schemas.microsoft.com/office/drawing/2014/main" id="{6ABB3FBE-8EC1-AA29-A7D4-47F8CDA8B909}"/>
              </a:ext>
            </a:extLst>
          </p:cNvPr>
          <p:cNvSpPr/>
          <p:nvPr/>
        </p:nvSpPr>
        <p:spPr>
          <a:xfrm>
            <a:off x="6157644" y="493160"/>
            <a:ext cx="5780926" cy="630596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D7B06395-AC00-767E-25FA-9EE34039C60A}"/>
              </a:ext>
            </a:extLst>
          </p:cNvPr>
          <p:cNvSpPr txBox="1"/>
          <p:nvPr/>
        </p:nvSpPr>
        <p:spPr>
          <a:xfrm>
            <a:off x="678095" y="6561371"/>
            <a:ext cx="610284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Crombie  JL et al.,  Consensus recommendations on… </a:t>
            </a:r>
            <a:r>
              <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rPr>
              <a:t>Blood</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 2024 </a:t>
            </a:r>
          </a:p>
        </p:txBody>
      </p:sp>
    </p:spTree>
    <p:extLst>
      <p:ext uri="{BB962C8B-B14F-4D97-AF65-F5344CB8AC3E}">
        <p14:creationId xmlns:p14="http://schemas.microsoft.com/office/powerpoint/2010/main" val="16843877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8" fill="hold" grpId="0" nodeType="clickEffect">
                                  <p:stCondLst>
                                    <p:cond delay="0"/>
                                  </p:stCondLst>
                                  <p:childTnLst>
                                    <p:animEffect transition="out" filter="wipe(left)">
                                      <p:cBhvr>
                                        <p:cTn id="6" dur="500"/>
                                        <p:tgtEl>
                                          <p:spTgt spid="7"/>
                                        </p:tgtEl>
                                      </p:cBhvr>
                                    </p:animEffect>
                                    <p:set>
                                      <p:cBhvr>
                                        <p:cTn id="7"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2"/>
          <p:cNvSpPr txBox="1">
            <a:spLocks/>
          </p:cNvSpPr>
          <p:nvPr/>
        </p:nvSpPr>
        <p:spPr>
          <a:xfrm>
            <a:off x="160418" y="114300"/>
            <a:ext cx="11774905" cy="111292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1" i="0" u="sng" strike="noStrike" kern="1200" cap="none" spc="0" normalizeH="0" baseline="0" noProof="0" dirty="0">
                <a:ln>
                  <a:noFill/>
                </a:ln>
                <a:solidFill>
                  <a:prstClr val="black"/>
                </a:solidFill>
                <a:effectLst/>
                <a:uLnTx/>
                <a:uFillTx/>
                <a:latin typeface="Calibri" panose="020F0502020204030204"/>
                <a:ea typeface="+mn-ea"/>
                <a:cs typeface="+mn-cs"/>
              </a:rPr>
              <a:t>Rationale for and implications: 7/2025 elimination of CAR-T REMS</a:t>
            </a:r>
          </a:p>
        </p:txBody>
      </p:sp>
      <p:sp>
        <p:nvSpPr>
          <p:cNvPr id="2" name="Rectangle 1"/>
          <p:cNvSpPr/>
          <p:nvPr/>
        </p:nvSpPr>
        <p:spPr>
          <a:xfrm>
            <a:off x="444500" y="351950"/>
            <a:ext cx="11648726" cy="6730048"/>
          </a:xfrm>
          <a:prstGeom prst="rect">
            <a:avLst/>
          </a:prstGeom>
        </p:spPr>
        <p:txBody>
          <a:bodyPr wrap="square">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endParaRPr kumimoji="0" lang="en-US" sz="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DA: “</a:t>
            </a: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accumulated physician experience, improved toxicity-recognition algorithms, standardized management pathways for CRS and ICANS, and extensive safety data now make formal REMS programs unnecessary</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600" b="1" i="0" u="sng" strike="noStrike" kern="1200" cap="none" spc="0" normalizeH="0" baseline="0" noProof="0" dirty="0">
                <a:ln>
                  <a:noFill/>
                </a:ln>
                <a:solidFill>
                  <a:prstClr val="black"/>
                </a:solidFill>
                <a:effectLst/>
                <a:uLnTx/>
                <a:uFillTx/>
                <a:latin typeface="Calibri" panose="020F0502020204030204"/>
                <a:ea typeface="+mn-ea"/>
                <a:cs typeface="+mn-cs"/>
              </a:rPr>
              <a:t>Rationale:</a:t>
            </a:r>
          </a:p>
          <a:p>
            <a:pPr marL="0" marR="0" lvl="0" indent="0" algn="l" defTabSz="914400" rtl="0" eaLnBrk="1" fontAlgn="auto" latinLnBrk="0" hangingPunct="1">
              <a:lnSpc>
                <a:spcPct val="100000"/>
              </a:lnSpc>
              <a:spcBef>
                <a:spcPts val="400"/>
              </a:spcBef>
              <a:spcAft>
                <a:spcPts val="0"/>
              </a:spcAft>
              <a:buClrTx/>
              <a:buSzTx/>
              <a:buFont typeface="+mj-lt"/>
              <a:buAutoNum type="arabicPeriod"/>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Clinical familiarity and standardization</a:t>
            </a:r>
            <a:b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extensive experience managing CRS and ICANS</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consensus grading systems, standardized steroid/</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toci</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lgorithms, and earlier intervention reduced high-grade AEs</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2. Real-world evidence demonstrating manageable risk</a:t>
            </a:r>
            <a:b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100s of centers and 10,000s of patients =&gt; large post-marketing datasets showing that toxicities are predictable and treatable. - boxed warnings and product labeling alone are now sufficient to communicate these risks.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700" b="1" i="0" u="sng" strike="noStrike" kern="1200" cap="none" spc="0" normalizeH="0" baseline="0" noProof="0" dirty="0">
                <a:ln>
                  <a:noFill/>
                </a:ln>
                <a:solidFill>
                  <a:prstClr val="black"/>
                </a:solidFill>
                <a:effectLst/>
                <a:uLnTx/>
                <a:uFillTx/>
                <a:latin typeface="Calibri" panose="020F0502020204030204"/>
                <a:ea typeface="+mn-ea"/>
                <a:cs typeface="+mn-cs"/>
              </a:rPr>
              <a:t>Implications:</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700" b="1" i="0" u="none" strike="noStrike" kern="1200" cap="none" spc="0" normalizeH="0" baseline="0" noProof="0" dirty="0">
                <a:ln>
                  <a:noFill/>
                </a:ln>
                <a:solidFill>
                  <a:prstClr val="black"/>
                </a:solidFill>
                <a:effectLst/>
                <a:uLnTx/>
                <a:uFillTx/>
                <a:latin typeface="Calibri" panose="020F0502020204030204"/>
                <a:ea typeface="+mn-ea"/>
                <a:cs typeface="+mn-cs"/>
              </a:rPr>
              <a:t>1. Access barriers created by REMS</a:t>
            </a:r>
            <a:b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REMS significantly constrained geographic availability of CAR-T</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for small hospitals: certification, staffing requirements, reporting obligations, and pharmacy prep were resource-intensive</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700" b="1" i="0" u="none" strike="noStrike" kern="1200" cap="none" spc="0" normalizeH="0" baseline="0" noProof="0" dirty="0">
                <a:ln>
                  <a:noFill/>
                </a:ln>
                <a:solidFill>
                  <a:prstClr val="black"/>
                </a:solidFill>
                <a:effectLst/>
                <a:uLnTx/>
                <a:uFillTx/>
                <a:latin typeface="Calibri" panose="020F0502020204030204"/>
                <a:ea typeface="+mn-ea"/>
                <a:cs typeface="+mn-cs"/>
              </a:rPr>
              <a:t>2. Operational inefficiency and delays</a:t>
            </a:r>
            <a:b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CAR-T patients may have rapidly progressive dx =&gt;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administrative delays with REMS certification and transfer to specialized centers prevents timely treatment.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eliminating REMS is expected to shorten referral-to-infusion timelines, box warnings remain in place</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700" b="1" i="0" u="none" strike="noStrike" kern="1200" cap="none" spc="0" normalizeH="0" baseline="0" noProof="0" dirty="0">
                <a:ln>
                  <a:noFill/>
                </a:ln>
                <a:solidFill>
                  <a:prstClr val="black"/>
                </a:solidFill>
                <a:effectLst/>
                <a:uLnTx/>
                <a:uFillTx/>
                <a:latin typeface="Calibri" panose="020F0502020204030204"/>
                <a:ea typeface="+mn-ea"/>
                <a:cs typeface="+mn-cs"/>
              </a:rPr>
              <a:t>3. Updated label requirements</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Duration to stay near site </a:t>
            </a:r>
            <a:r>
              <a:rPr kumimoji="0" lang="en-US" sz="1700" b="1" i="0" u="none" strike="noStrike" kern="1200" cap="none" spc="0" normalizeH="0" baseline="0" noProof="0" dirty="0">
                <a:ln>
                  <a:noFill/>
                </a:ln>
                <a:solidFill>
                  <a:prstClr val="black"/>
                </a:solidFill>
                <a:effectLst/>
                <a:uLnTx/>
                <a:uFillTx/>
                <a:latin typeface="Calibri" panose="020F0502020204030204"/>
                <a:ea typeface="+mn-ea"/>
                <a:cs typeface="+mn-cs"/>
              </a:rPr>
              <a:t>reduced</a:t>
            </a: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 to 2 weeks</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Driving restrictions </a:t>
            </a:r>
            <a:r>
              <a:rPr kumimoji="0" lang="en-US" sz="1700" b="1" i="0" u="none" strike="noStrike" kern="1200" cap="none" spc="0" normalizeH="0" baseline="0" noProof="0" dirty="0">
                <a:ln>
                  <a:noFill/>
                </a:ln>
                <a:solidFill>
                  <a:prstClr val="black"/>
                </a:solidFill>
                <a:effectLst/>
                <a:uLnTx/>
                <a:uFillTx/>
                <a:latin typeface="Calibri" panose="020F0502020204030204"/>
                <a:ea typeface="+mn-ea"/>
                <a:cs typeface="+mn-cs"/>
              </a:rPr>
              <a:t>reduced</a:t>
            </a: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 to 2 weeks</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Boxed warnings remain</a:t>
            </a:r>
          </a:p>
        </p:txBody>
      </p:sp>
    </p:spTree>
    <p:extLst>
      <p:ext uri="{BB962C8B-B14F-4D97-AF65-F5344CB8AC3E}">
        <p14:creationId xmlns:p14="http://schemas.microsoft.com/office/powerpoint/2010/main" val="32157568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10" end="1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11" end="1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12" end="1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13" end="13"/>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14" end="14"/>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368529" y="6491518"/>
            <a:ext cx="3159472" cy="27692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rPr>
              <a:t>Rejeski K et al., Blood. 2021</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8" name="Picture 17"/>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368529" y="2375658"/>
            <a:ext cx="3853117" cy="2564075"/>
          </a:xfrm>
          <a:prstGeom prst="rect">
            <a:avLst/>
          </a:prstGeom>
        </p:spPr>
      </p:pic>
      <p:sp>
        <p:nvSpPr>
          <p:cNvPr id="19" name="Rectangle 18"/>
          <p:cNvSpPr/>
          <p:nvPr/>
        </p:nvSpPr>
        <p:spPr>
          <a:xfrm>
            <a:off x="2443608" y="6476132"/>
            <a:ext cx="3858877" cy="307777"/>
          </a:xfrm>
          <a:prstGeom prst="rect">
            <a:avLst/>
          </a:prstGeom>
          <a:solidFill>
            <a:srgbClr val="FFFF00"/>
          </a:solidFill>
          <a:effectLst>
            <a:softEdge rad="127000"/>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5B9BD5"/>
                </a:solidFill>
                <a:effectLst/>
                <a:uLnTx/>
                <a:uFillTx/>
                <a:latin typeface="Calibri" panose="020F0502020204030204"/>
                <a:ea typeface="+mn-ea"/>
                <a:cs typeface="+mn-cs"/>
              </a:rPr>
              <a:t>www.german-lymphoma-alliance.de/Scores.html</a:t>
            </a:r>
          </a:p>
        </p:txBody>
      </p:sp>
      <p:sp>
        <p:nvSpPr>
          <p:cNvPr id="2" name="Rectangle 2">
            <a:extLst>
              <a:ext uri="{FF2B5EF4-FFF2-40B4-BE49-F238E27FC236}">
                <a16:creationId xmlns:a16="http://schemas.microsoft.com/office/drawing/2014/main" id="{2DF0F9EE-B0BF-C4FB-A0AA-0C408A1B7B95}"/>
              </a:ext>
            </a:extLst>
          </p:cNvPr>
          <p:cNvSpPr txBox="1">
            <a:spLocks noChangeArrowheads="1"/>
          </p:cNvSpPr>
          <p:nvPr/>
        </p:nvSpPr>
        <p:spPr bwMode="auto">
          <a:xfrm>
            <a:off x="386759" y="89555"/>
            <a:ext cx="11356149" cy="1023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600" b="1" i="0" u="sng" strike="noStrike" kern="0" cap="none" spc="0" normalizeH="0" baseline="0" noProof="0" dirty="0">
              <a:ln>
                <a:noFill/>
              </a:ln>
              <a:solidFill>
                <a:srgbClr val="455560"/>
              </a:solidFill>
              <a:effectLst/>
              <a:uLnTx/>
              <a:uFillTx/>
              <a:latin typeface="Calibri" panose="020F0502020204030204" pitchFamily="34" charset="0"/>
              <a:ea typeface="+mj-ea"/>
              <a:cs typeface="+mj-cs"/>
            </a:endParaRPr>
          </a:p>
        </p:txBody>
      </p:sp>
      <p:pic>
        <p:nvPicPr>
          <p:cNvPr id="3" name="Picture 2" descr="Mount Sinai Hospital |">
            <a:extLst>
              <a:ext uri="{FF2B5EF4-FFF2-40B4-BE49-F238E27FC236}">
                <a16:creationId xmlns:a16="http://schemas.microsoft.com/office/drawing/2014/main" id="{5E607104-92B2-E55F-30FA-8F5898D0F803}"/>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7213" t="11602" r="3726" b="29277"/>
          <a:stretch>
            <a:fillRect/>
          </a:stretch>
        </p:blipFill>
        <p:spPr bwMode="auto">
          <a:xfrm>
            <a:off x="10629134" y="6121108"/>
            <a:ext cx="1300197" cy="647337"/>
          </a:xfrm>
          <a:prstGeom prst="rect">
            <a:avLst/>
          </a:prstGeom>
          <a:solidFill>
            <a:schemeClr val="bg1"/>
          </a:solidFill>
        </p:spPr>
      </p:pic>
      <p:pic>
        <p:nvPicPr>
          <p:cNvPr id="6" name="Picture 5"/>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rcRect l="1182"/>
          <a:stretch>
            <a:fillRect/>
          </a:stretch>
        </p:blipFill>
        <p:spPr>
          <a:xfrm>
            <a:off x="4273825" y="1112841"/>
            <a:ext cx="7469083" cy="4893886"/>
          </a:xfrm>
          <a:prstGeom prst="snipRoundRect">
            <a:avLst>
              <a:gd name="adj1" fmla="val 27913"/>
              <a:gd name="adj2" fmla="val 16667"/>
            </a:avLst>
          </a:prstGeom>
        </p:spPr>
      </p:pic>
      <p:sp>
        <p:nvSpPr>
          <p:cNvPr id="4" name="Subtitle 2">
            <a:extLst>
              <a:ext uri="{FF2B5EF4-FFF2-40B4-BE49-F238E27FC236}">
                <a16:creationId xmlns:a16="http://schemas.microsoft.com/office/drawing/2014/main" id="{FC3235F0-0172-D19C-1C9C-7BDFEB4A8579}"/>
              </a:ext>
            </a:extLst>
          </p:cNvPr>
          <p:cNvSpPr txBox="1">
            <a:spLocks/>
          </p:cNvSpPr>
          <p:nvPr/>
        </p:nvSpPr>
        <p:spPr>
          <a:xfrm>
            <a:off x="160418" y="-3257"/>
            <a:ext cx="11774905" cy="123047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1" i="0" u="sng" strike="noStrike" kern="1200" cap="none" spc="0" normalizeH="0" baseline="0" noProof="0" dirty="0">
                <a:ln>
                  <a:noFill/>
                </a:ln>
                <a:solidFill>
                  <a:prstClr val="black"/>
                </a:solidFill>
                <a:effectLst/>
                <a:uLnTx/>
                <a:uFillTx/>
                <a:latin typeface="Calibri" panose="020F0502020204030204"/>
                <a:ea typeface="+mn-ea"/>
                <a:cs typeface="+mn-cs"/>
              </a:rPr>
              <a:t>CAR T-Cells: Late toxicities - cytopenias</a:t>
            </a:r>
          </a:p>
        </p:txBody>
      </p:sp>
      <p:cxnSp>
        <p:nvCxnSpPr>
          <p:cNvPr id="8" name="Straight Connector 7">
            <a:extLst>
              <a:ext uri="{FF2B5EF4-FFF2-40B4-BE49-F238E27FC236}">
                <a16:creationId xmlns:a16="http://schemas.microsoft.com/office/drawing/2014/main" id="{AAB901FF-116D-3EE9-80C9-660AB45CFFCD}"/>
              </a:ext>
            </a:extLst>
          </p:cNvPr>
          <p:cNvCxnSpPr/>
          <p:nvPr/>
        </p:nvCxnSpPr>
        <p:spPr>
          <a:xfrm>
            <a:off x="5227982" y="4454320"/>
            <a:ext cx="6195935"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47403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p:cNvSpPr txBox="1">
            <a:spLocks/>
          </p:cNvSpPr>
          <p:nvPr/>
        </p:nvSpPr>
        <p:spPr>
          <a:xfrm rot="16200000">
            <a:off x="-463456" y="3693610"/>
            <a:ext cx="2328090" cy="358974"/>
          </a:xfrm>
          <a:prstGeom prst="rect">
            <a:avLst/>
          </a:prstGeom>
        </p:spPr>
        <p:txBody>
          <a:bodyPr vert="horz" lIns="91416" tIns="45708" rIns="91416" bIns="45708"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Light" panose="020F0302020204030204"/>
                <a:ea typeface="+mj-ea"/>
                <a:cs typeface="+mj-cs"/>
              </a:rPr>
              <a:t>%</a:t>
            </a:r>
            <a:r>
              <a:rPr kumimoji="0" lang="en-US" sz="1600" b="1" i="0" u="sng" strike="noStrike" kern="1200" cap="none" spc="0" normalizeH="0" baseline="0" noProof="0" dirty="0">
                <a:ln>
                  <a:noFill/>
                </a:ln>
                <a:solidFill>
                  <a:prstClr val="black"/>
                </a:solidFill>
                <a:effectLst/>
                <a:uLnTx/>
                <a:uFillTx/>
                <a:latin typeface="Calibri Light" panose="020F0302020204030204"/>
                <a:ea typeface="+mj-ea"/>
                <a:cs typeface="+mj-cs"/>
              </a:rPr>
              <a:t>&gt;</a:t>
            </a:r>
            <a:r>
              <a:rPr kumimoji="0" lang="en-US" sz="1600" b="1" i="0" u="none" strike="noStrike" kern="1200" cap="none" spc="0" normalizeH="0" baseline="0" noProof="0" dirty="0">
                <a:ln>
                  <a:noFill/>
                </a:ln>
                <a:solidFill>
                  <a:prstClr val="black"/>
                </a:solidFill>
                <a:effectLst/>
                <a:uLnTx/>
                <a:uFillTx/>
                <a:latin typeface="Calibri Light" panose="020F0302020204030204"/>
                <a:ea typeface="+mj-ea"/>
                <a:cs typeface="+mj-cs"/>
              </a:rPr>
              <a:t>G3 infection</a:t>
            </a:r>
            <a:endParaRPr kumimoji="0" lang="en-US" sz="1000" b="1"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grpSp>
        <p:nvGrpSpPr>
          <p:cNvPr id="9" name="Group 8"/>
          <p:cNvGrpSpPr/>
          <p:nvPr/>
        </p:nvGrpSpPr>
        <p:grpSpPr>
          <a:xfrm>
            <a:off x="691562" y="5013039"/>
            <a:ext cx="4353471" cy="1790291"/>
            <a:chOff x="7055404" y="1201825"/>
            <a:chExt cx="4354605" cy="1790757"/>
          </a:xfrm>
        </p:grpSpPr>
        <p:pic>
          <p:nvPicPr>
            <p:cNvPr id="6" name="Picture 5"/>
            <p:cNvPicPr>
              <a:picLocks noChangeAspect="1"/>
            </p:cNvPicPr>
            <p:nvPr/>
          </p:nvPicPr>
          <p:blipFill rotWithShape="1">
            <a:blip r:embed="rId2"/>
            <a:srcRect l="2308" t="57376" r="1"/>
            <a:stretch/>
          </p:blipFill>
          <p:spPr>
            <a:xfrm>
              <a:off x="7055404" y="1484026"/>
              <a:ext cx="4354605" cy="1508556"/>
            </a:xfrm>
            <a:prstGeom prst="rect">
              <a:avLst/>
            </a:prstGeom>
          </p:spPr>
        </p:pic>
        <p:pic>
          <p:nvPicPr>
            <p:cNvPr id="28" name="Picture 27"/>
            <p:cNvPicPr>
              <a:picLocks noChangeAspect="1"/>
            </p:cNvPicPr>
            <p:nvPr/>
          </p:nvPicPr>
          <p:blipFill rotWithShape="1">
            <a:blip r:embed="rId2"/>
            <a:srcRect l="11420" t="11987" r="58963" b="72342"/>
            <a:stretch/>
          </p:blipFill>
          <p:spPr>
            <a:xfrm>
              <a:off x="7353492" y="1201825"/>
              <a:ext cx="1320124" cy="554636"/>
            </a:xfrm>
            <a:prstGeom prst="round2DiagRect">
              <a:avLst>
                <a:gd name="adj1" fmla="val 50000"/>
                <a:gd name="adj2" fmla="val 0"/>
              </a:avLst>
            </a:prstGeom>
          </p:spPr>
        </p:pic>
      </p:grpSp>
      <p:grpSp>
        <p:nvGrpSpPr>
          <p:cNvPr id="12" name="Group 11"/>
          <p:cNvGrpSpPr/>
          <p:nvPr/>
        </p:nvGrpSpPr>
        <p:grpSpPr>
          <a:xfrm>
            <a:off x="457602" y="712372"/>
            <a:ext cx="4395185" cy="2489532"/>
            <a:chOff x="7796456" y="3926889"/>
            <a:chExt cx="4396330" cy="2490181"/>
          </a:xfrm>
        </p:grpSpPr>
        <p:grpSp>
          <p:nvGrpSpPr>
            <p:cNvPr id="10" name="Group 9"/>
            <p:cNvGrpSpPr/>
            <p:nvPr/>
          </p:nvGrpSpPr>
          <p:grpSpPr>
            <a:xfrm>
              <a:off x="7796456" y="3926889"/>
              <a:ext cx="4396330" cy="2490181"/>
              <a:chOff x="13666221" y="4064846"/>
              <a:chExt cx="4396330" cy="2490181"/>
            </a:xfrm>
          </p:grpSpPr>
          <p:pic>
            <p:nvPicPr>
              <p:cNvPr id="5" name="Picture 4"/>
              <p:cNvPicPr>
                <a:picLocks noChangeAspect="1"/>
              </p:cNvPicPr>
              <p:nvPr/>
            </p:nvPicPr>
            <p:blipFill rotWithShape="1">
              <a:blip r:embed="rId3"/>
              <a:srcRect l="8285" t="40128" r="5760"/>
              <a:stretch/>
            </p:blipFill>
            <p:spPr>
              <a:xfrm>
                <a:off x="14025289" y="4139148"/>
                <a:ext cx="4037262" cy="2415879"/>
              </a:xfrm>
              <a:prstGeom prst="rect">
                <a:avLst/>
              </a:prstGeom>
            </p:spPr>
          </p:pic>
          <p:sp>
            <p:nvSpPr>
              <p:cNvPr id="19" name="Title 1"/>
              <p:cNvSpPr txBox="1">
                <a:spLocks/>
              </p:cNvSpPr>
              <p:nvPr/>
            </p:nvSpPr>
            <p:spPr>
              <a:xfrm rot="16200000">
                <a:off x="12681407" y="5049660"/>
                <a:ext cx="2328696" cy="359068"/>
              </a:xfrm>
              <a:prstGeom prst="rect">
                <a:avLst/>
              </a:prstGeom>
            </p:spPr>
            <p:txBody>
              <a:bodyPr vert="horz" lIns="91416" tIns="45708" rIns="91416" bIns="45708"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Light" panose="020F0302020204030204"/>
                    <a:ea typeface="+mj-ea"/>
                    <a:cs typeface="+mj-cs"/>
                  </a:rPr>
                  <a:t>%infection</a:t>
                </a:r>
                <a:endParaRPr kumimoji="0" lang="en-US" sz="1000" b="1"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grpSp>
        <p:pic>
          <p:nvPicPr>
            <p:cNvPr id="18" name="Picture 17"/>
            <p:cNvPicPr>
              <a:picLocks noChangeAspect="1"/>
            </p:cNvPicPr>
            <p:nvPr/>
          </p:nvPicPr>
          <p:blipFill rotWithShape="1">
            <a:blip r:embed="rId3"/>
            <a:srcRect l="13960" t="12069" r="43433" b="72912"/>
            <a:stretch/>
          </p:blipFill>
          <p:spPr>
            <a:xfrm>
              <a:off x="9479606" y="4384201"/>
              <a:ext cx="2297372" cy="695683"/>
            </a:xfrm>
            <a:prstGeom prst="rect">
              <a:avLst/>
            </a:prstGeom>
          </p:spPr>
        </p:pic>
      </p:grpSp>
      <p:sp>
        <p:nvSpPr>
          <p:cNvPr id="30" name="Title 1"/>
          <p:cNvSpPr txBox="1">
            <a:spLocks/>
          </p:cNvSpPr>
          <p:nvPr/>
        </p:nvSpPr>
        <p:spPr>
          <a:xfrm rot="16200000">
            <a:off x="43871" y="5635663"/>
            <a:ext cx="1197326" cy="369865"/>
          </a:xfrm>
          <a:prstGeom prst="rect">
            <a:avLst/>
          </a:prstGeom>
        </p:spPr>
        <p:txBody>
          <a:bodyPr vert="horz" lIns="91416" tIns="45708" rIns="91416" bIns="45708"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Light" panose="020F0302020204030204"/>
                <a:ea typeface="+mj-ea"/>
                <a:cs typeface="+mj-cs"/>
              </a:rPr>
              <a:t>%NRM</a:t>
            </a:r>
            <a:endParaRPr kumimoji="0" lang="en-US" sz="1000" b="1"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
        <p:nvSpPr>
          <p:cNvPr id="14" name="Rectangle 2">
            <a:extLst>
              <a:ext uri="{FF2B5EF4-FFF2-40B4-BE49-F238E27FC236}">
                <a16:creationId xmlns:a16="http://schemas.microsoft.com/office/drawing/2014/main" id="{BDED5FAC-3477-6E87-7D9B-3262DB5ED825}"/>
              </a:ext>
            </a:extLst>
          </p:cNvPr>
          <p:cNvSpPr txBox="1">
            <a:spLocks noChangeArrowheads="1"/>
          </p:cNvSpPr>
          <p:nvPr/>
        </p:nvSpPr>
        <p:spPr bwMode="auto">
          <a:xfrm>
            <a:off x="386759" y="-3173"/>
            <a:ext cx="11983294" cy="1103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600" b="1" i="0" u="sng" strike="noStrike" kern="0" cap="none" spc="0" normalizeH="0" baseline="0" noProof="0" dirty="0">
              <a:ln>
                <a:noFill/>
              </a:ln>
              <a:solidFill>
                <a:srgbClr val="455560"/>
              </a:solidFill>
              <a:effectLst/>
              <a:uLnTx/>
              <a:uFillTx/>
              <a:latin typeface="Calibri" panose="020F0502020204030204" pitchFamily="34" charset="0"/>
              <a:ea typeface="+mj-ea"/>
              <a:cs typeface="+mj-cs"/>
            </a:endParaRPr>
          </a:p>
        </p:txBody>
      </p:sp>
      <p:grpSp>
        <p:nvGrpSpPr>
          <p:cNvPr id="16" name="Group 15">
            <a:extLst>
              <a:ext uri="{FF2B5EF4-FFF2-40B4-BE49-F238E27FC236}">
                <a16:creationId xmlns:a16="http://schemas.microsoft.com/office/drawing/2014/main" id="{0C39DA99-6E15-BF6A-6C7A-D42ACA174E71}"/>
              </a:ext>
            </a:extLst>
          </p:cNvPr>
          <p:cNvGrpSpPr/>
          <p:nvPr/>
        </p:nvGrpSpPr>
        <p:grpSpPr>
          <a:xfrm>
            <a:off x="5136622" y="3177159"/>
            <a:ext cx="5132390" cy="3045673"/>
            <a:chOff x="4673209" y="1279449"/>
            <a:chExt cx="4337734" cy="2419197"/>
          </a:xfrm>
        </p:grpSpPr>
        <p:pic>
          <p:nvPicPr>
            <p:cNvPr id="29" name="Picture 28"/>
            <p:cNvPicPr>
              <a:picLocks noChangeAspect="1"/>
            </p:cNvPicPr>
            <p:nvPr/>
          </p:nvPicPr>
          <p:blipFill rotWithShape="1">
            <a:blip r:embed="rId4"/>
            <a:srcRect l="52656" b="1987"/>
            <a:stretch/>
          </p:blipFill>
          <p:spPr>
            <a:xfrm>
              <a:off x="4778658" y="1279449"/>
              <a:ext cx="4232285" cy="2419197"/>
            </a:xfrm>
            <a:prstGeom prst="snipRoundRect">
              <a:avLst/>
            </a:prstGeom>
          </p:spPr>
        </p:pic>
        <p:sp>
          <p:nvSpPr>
            <p:cNvPr id="15" name="Title 1">
              <a:extLst>
                <a:ext uri="{FF2B5EF4-FFF2-40B4-BE49-F238E27FC236}">
                  <a16:creationId xmlns:a16="http://schemas.microsoft.com/office/drawing/2014/main" id="{6C319880-D7F8-B7B8-9B31-EE112C4EE1E7}"/>
                </a:ext>
              </a:extLst>
            </p:cNvPr>
            <p:cNvSpPr txBox="1">
              <a:spLocks/>
            </p:cNvSpPr>
            <p:nvPr/>
          </p:nvSpPr>
          <p:spPr>
            <a:xfrm rot="16200000">
              <a:off x="3933653" y="2480083"/>
              <a:ext cx="1785878" cy="306765"/>
            </a:xfrm>
            <a:prstGeom prst="rect">
              <a:avLst/>
            </a:prstGeom>
            <a:solidFill>
              <a:schemeClr val="bg1"/>
            </a:solidFill>
          </p:spPr>
          <p:txBody>
            <a:bodyPr vert="horz" lIns="91416" tIns="45708" rIns="91416" bIns="45708"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Light" panose="020F0302020204030204"/>
                  <a:ea typeface="+mj-ea"/>
                  <a:cs typeface="+mj-cs"/>
                </a:rPr>
                <a:t>survival</a:t>
              </a:r>
              <a:endParaRPr kumimoji="0" lang="en-US" sz="1000" b="1"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grpSp>
      <p:sp>
        <p:nvSpPr>
          <p:cNvPr id="4" name="Title 1"/>
          <p:cNvSpPr>
            <a:spLocks noGrp="1"/>
          </p:cNvSpPr>
          <p:nvPr>
            <p:ph type="title"/>
          </p:nvPr>
        </p:nvSpPr>
        <p:spPr>
          <a:xfrm>
            <a:off x="7200416" y="3541598"/>
            <a:ext cx="1815522" cy="503079"/>
          </a:xfrm>
          <a:solidFill>
            <a:schemeClr val="bg1"/>
          </a:solidFill>
        </p:spPr>
        <p:txBody>
          <a:bodyPr>
            <a:normAutofit fontScale="90000"/>
          </a:bodyPr>
          <a:lstStyle/>
          <a:p>
            <a:pPr lvl="0" algn="ctr">
              <a:lnSpc>
                <a:spcPct val="100000"/>
              </a:lnSpc>
            </a:pPr>
            <a:r>
              <a:rPr lang="en-US" sz="1400" dirty="0"/>
              <a:t>HR 2.6</a:t>
            </a:r>
            <a:br>
              <a:rPr lang="en-US" sz="1400" dirty="0"/>
            </a:br>
            <a:r>
              <a:rPr lang="en-US" sz="1400" dirty="0"/>
              <a:t>p&lt;0.001</a:t>
            </a:r>
          </a:p>
        </p:txBody>
      </p:sp>
      <p:grpSp>
        <p:nvGrpSpPr>
          <p:cNvPr id="17" name="Group 16">
            <a:extLst>
              <a:ext uri="{FF2B5EF4-FFF2-40B4-BE49-F238E27FC236}">
                <a16:creationId xmlns:a16="http://schemas.microsoft.com/office/drawing/2014/main" id="{1ED69FE0-E31F-ED7A-C66C-35FDEF8BAB49}"/>
              </a:ext>
            </a:extLst>
          </p:cNvPr>
          <p:cNvGrpSpPr/>
          <p:nvPr/>
        </p:nvGrpSpPr>
        <p:grpSpPr>
          <a:xfrm>
            <a:off x="1001824" y="3166892"/>
            <a:ext cx="3858841" cy="1730683"/>
            <a:chOff x="301735" y="2785891"/>
            <a:chExt cx="3858841" cy="1730683"/>
          </a:xfrm>
        </p:grpSpPr>
        <p:pic>
          <p:nvPicPr>
            <p:cNvPr id="27" name="Picture 26"/>
            <p:cNvPicPr>
              <a:picLocks noChangeAspect="1"/>
            </p:cNvPicPr>
            <p:nvPr/>
          </p:nvPicPr>
          <p:blipFill rotWithShape="1">
            <a:blip r:embed="rId5"/>
            <a:srcRect l="6181" t="52020"/>
            <a:stretch/>
          </p:blipFill>
          <p:spPr>
            <a:xfrm>
              <a:off x="301735" y="2785891"/>
              <a:ext cx="3858841" cy="1730683"/>
            </a:xfrm>
            <a:prstGeom prst="rect">
              <a:avLst/>
            </a:prstGeom>
          </p:spPr>
        </p:pic>
        <p:pic>
          <p:nvPicPr>
            <p:cNvPr id="32" name="Picture 31"/>
            <p:cNvPicPr>
              <a:picLocks noChangeAspect="1"/>
            </p:cNvPicPr>
            <p:nvPr/>
          </p:nvPicPr>
          <p:blipFill rotWithShape="1">
            <a:blip r:embed="rId5"/>
            <a:srcRect l="15349" t="13528" r="57745" b="71355"/>
            <a:stretch/>
          </p:blipFill>
          <p:spPr>
            <a:xfrm>
              <a:off x="969430" y="3351911"/>
              <a:ext cx="1106617" cy="545289"/>
            </a:xfrm>
            <a:prstGeom prst="rect">
              <a:avLst/>
            </a:prstGeom>
            <a:effectLst>
              <a:softEdge rad="63500"/>
            </a:effectLst>
          </p:spPr>
        </p:pic>
      </p:grpSp>
      <p:grpSp>
        <p:nvGrpSpPr>
          <p:cNvPr id="25" name="Group 24">
            <a:extLst>
              <a:ext uri="{FF2B5EF4-FFF2-40B4-BE49-F238E27FC236}">
                <a16:creationId xmlns:a16="http://schemas.microsoft.com/office/drawing/2014/main" id="{BA85DBF3-D3C0-6795-A8EE-84D478BAEBFA}"/>
              </a:ext>
            </a:extLst>
          </p:cNvPr>
          <p:cNvGrpSpPr/>
          <p:nvPr/>
        </p:nvGrpSpPr>
        <p:grpSpPr>
          <a:xfrm>
            <a:off x="8761938" y="215657"/>
            <a:ext cx="3333388" cy="3988045"/>
            <a:chOff x="8760350" y="56632"/>
            <a:chExt cx="3333388" cy="3988045"/>
          </a:xfrm>
        </p:grpSpPr>
        <p:grpSp>
          <p:nvGrpSpPr>
            <p:cNvPr id="11" name="Group 10"/>
            <p:cNvGrpSpPr/>
            <p:nvPr/>
          </p:nvGrpSpPr>
          <p:grpSpPr>
            <a:xfrm>
              <a:off x="8760350" y="62155"/>
              <a:ext cx="3205792" cy="3982522"/>
              <a:chOff x="8985373" y="2688895"/>
              <a:chExt cx="3206627" cy="3983559"/>
            </a:xfrm>
          </p:grpSpPr>
          <p:pic>
            <p:nvPicPr>
              <p:cNvPr id="9219" name="Picture 3" descr="https://onlinelibrary.wiley.com/cms/asset/ee6f3b1b-1e76-47b4-bf6b-ecba1dd222d4/tid14157-fig-0002-m.jpg"/>
              <p:cNvPicPr>
                <a:picLocks noChangeAspect="1" noChangeArrowheads="1"/>
              </p:cNvPicPr>
              <p:nvPr/>
            </p:nvPicPr>
            <p:blipFill rotWithShape="1">
              <a:blip r:embed="rId6">
                <a:extLst>
                  <a:ext uri="{BEBA8EAE-BF5A-486C-A8C5-ECC9F3942E4B}">
                    <a14:imgProps xmlns:a14="http://schemas.microsoft.com/office/drawing/2010/main">
                      <a14:imgLayer r:embed="rId7">
                        <a14:imgEffect>
                          <a14:sharpenSoften amount="50000"/>
                        </a14:imgEffect>
                      </a14:imgLayer>
                    </a14:imgProps>
                  </a:ext>
                  <a:ext uri="{28A0092B-C50C-407E-A947-70E740481C1C}">
                    <a14:useLocalDpi xmlns:a14="http://schemas.microsoft.com/office/drawing/2010/main" val="0"/>
                  </a:ext>
                </a:extLst>
              </a:blip>
              <a:srcRect l="51213" t="-390" r="11428"/>
              <a:stretch/>
            </p:blipFill>
            <p:spPr bwMode="auto">
              <a:xfrm>
                <a:off x="8985373" y="2688895"/>
                <a:ext cx="3206627" cy="3983559"/>
              </a:xfrm>
              <a:prstGeom prst="snipRoundRect">
                <a:avLst>
                  <a:gd name="adj1" fmla="val 18487"/>
                  <a:gd name="adj2" fmla="val 4684"/>
                </a:avLst>
              </a:prstGeom>
              <a:noFill/>
              <a:extLst>
                <a:ext uri="{909E8E84-426E-40DD-AFC4-6F175D3DCCD1}">
                  <a14:hiddenFill xmlns:a14="http://schemas.microsoft.com/office/drawing/2010/main">
                    <a:solidFill>
                      <a:srgbClr val="FFFFFF"/>
                    </a:solidFill>
                  </a14:hiddenFill>
                </a:ext>
              </a:extLst>
            </p:spPr>
          </p:pic>
          <p:pic>
            <p:nvPicPr>
              <p:cNvPr id="33" name="Picture 3" descr="https://onlinelibrary.wiley.com/cms/asset/ee6f3b1b-1e76-47b4-bf6b-ecba1dd222d4/tid14157-fig-0002-m.jpg"/>
              <p:cNvPicPr>
                <a:picLocks noChangeAspect="1" noChangeArrowheads="1"/>
              </p:cNvPicPr>
              <p:nvPr/>
            </p:nvPicPr>
            <p:blipFill rotWithShape="1">
              <a:blip r:embed="rId8">
                <a:extLst>
                  <a:ext uri="{28A0092B-C50C-407E-A947-70E740481C1C}">
                    <a14:useLocalDpi xmlns:a14="http://schemas.microsoft.com/office/drawing/2010/main" val="0"/>
                  </a:ext>
                </a:extLst>
              </a:blip>
              <a:srcRect l="88909" t="11630" r="2551" b="76784"/>
              <a:stretch/>
            </p:blipFill>
            <p:spPr bwMode="auto">
              <a:xfrm>
                <a:off x="11308691" y="3045941"/>
                <a:ext cx="733044" cy="459719"/>
              </a:xfrm>
              <a:prstGeom prst="snipRoundRect">
                <a:avLst/>
              </a:prstGeom>
              <a:noFill/>
              <a:effectLst>
                <a:softEdge rad="12700"/>
              </a:effectLst>
              <a:extLst>
                <a:ext uri="{909E8E84-426E-40DD-AFC4-6F175D3DCCD1}">
                  <a14:hiddenFill xmlns:a14="http://schemas.microsoft.com/office/drawing/2010/main">
                    <a:solidFill>
                      <a:srgbClr val="FFFFFF"/>
                    </a:solidFill>
                  </a14:hiddenFill>
                </a:ext>
              </a:extLst>
            </p:spPr>
          </p:pic>
          <p:pic>
            <p:nvPicPr>
              <p:cNvPr id="34" name="Picture 3" descr="https://onlinelibrary.wiley.com/cms/asset/ee6f3b1b-1e76-47b4-bf6b-ecba1dd222d4/tid14157-fig-0002-m.jpg"/>
              <p:cNvPicPr>
                <a:picLocks noChangeAspect="1" noChangeArrowheads="1"/>
              </p:cNvPicPr>
              <p:nvPr/>
            </p:nvPicPr>
            <p:blipFill rotWithShape="1">
              <a:blip r:embed="rId8">
                <a:extLst>
                  <a:ext uri="{28A0092B-C50C-407E-A947-70E740481C1C}">
                    <a14:useLocalDpi xmlns:a14="http://schemas.microsoft.com/office/drawing/2010/main" val="0"/>
                  </a:ext>
                </a:extLst>
              </a:blip>
              <a:srcRect l="88909" t="26433" b="54294"/>
              <a:stretch/>
            </p:blipFill>
            <p:spPr bwMode="auto">
              <a:xfrm>
                <a:off x="9889464" y="2990754"/>
                <a:ext cx="951982" cy="764748"/>
              </a:xfrm>
              <a:prstGeom prst="snipRoundRect">
                <a:avLst>
                  <a:gd name="adj1" fmla="val 16667"/>
                  <a:gd name="adj2" fmla="val 0"/>
                </a:avLst>
              </a:prstGeom>
              <a:noFill/>
              <a:effectLst>
                <a:softEdge rad="31750"/>
              </a:effectLst>
              <a:extLst>
                <a:ext uri="{909E8E84-426E-40DD-AFC4-6F175D3DCCD1}">
                  <a14:hiddenFill xmlns:a14="http://schemas.microsoft.com/office/drawing/2010/main">
                    <a:solidFill>
                      <a:srgbClr val="FFFFFF"/>
                    </a:solidFill>
                  </a14:hiddenFill>
                </a:ext>
              </a:extLst>
            </p:spPr>
          </p:pic>
        </p:grpSp>
        <p:sp>
          <p:nvSpPr>
            <p:cNvPr id="21" name="Title 1">
              <a:extLst>
                <a:ext uri="{FF2B5EF4-FFF2-40B4-BE49-F238E27FC236}">
                  <a16:creationId xmlns:a16="http://schemas.microsoft.com/office/drawing/2014/main" id="{82F09493-A687-3A30-1D95-116C59DF428C}"/>
                </a:ext>
              </a:extLst>
            </p:cNvPr>
            <p:cNvSpPr txBox="1">
              <a:spLocks/>
            </p:cNvSpPr>
            <p:nvPr/>
          </p:nvSpPr>
          <p:spPr>
            <a:xfrm>
              <a:off x="9295342" y="56632"/>
              <a:ext cx="2798396" cy="269778"/>
            </a:xfrm>
            <a:prstGeom prst="rect">
              <a:avLst/>
            </a:prstGeom>
            <a:solidFill>
              <a:schemeClr val="bg1"/>
            </a:solidFill>
          </p:spPr>
          <p:txBody>
            <a:bodyPr vert="horz" lIns="68589" tIns="34295" rIns="68589" bIns="34295" rtlCol="0" anchor="t" anchorCtr="0">
              <a:normAutofit lnSpcReduction="10000"/>
            </a:bodyPr>
            <a:lstStyle>
              <a:lvl1pPr algn="l" defTabSz="342946" rtl="0" eaLnBrk="1" latinLnBrk="0" hangingPunct="1">
                <a:lnSpc>
                  <a:spcPct val="80000"/>
                </a:lnSpc>
                <a:spcBef>
                  <a:spcPct val="0"/>
                </a:spcBef>
                <a:buNone/>
                <a:defRPr sz="2400" b="1" i="0" kern="1200" cap="all" baseline="0">
                  <a:solidFill>
                    <a:srgbClr val="000000"/>
                  </a:solidFill>
                  <a:latin typeface="Arial"/>
                  <a:ea typeface="+mj-ea"/>
                  <a:cs typeface="+mj-cs"/>
                </a:defRPr>
              </a:lvl1pPr>
            </a:lstStyle>
            <a:p>
              <a:pPr marL="0" marR="0" lvl="0" indent="0" algn="ctr" defTabSz="342946" rtl="0" eaLnBrk="1" fontAlgn="auto" latinLnBrk="0" hangingPunct="1">
                <a:lnSpc>
                  <a:spcPct val="100000"/>
                </a:lnSpc>
                <a:spcBef>
                  <a:spcPct val="0"/>
                </a:spcBef>
                <a:spcAft>
                  <a:spcPts val="0"/>
                </a:spcAft>
                <a:buClrTx/>
                <a:buSzTx/>
                <a:buFontTx/>
                <a:buNone/>
                <a:tabLst/>
                <a:defRPr/>
              </a:pPr>
              <a:r>
                <a:rPr kumimoji="0" lang="en-US" sz="1400" b="1" i="0" u="sng" strike="noStrike" kern="1200" cap="all" spc="0" normalizeH="0" baseline="0" noProof="0" dirty="0">
                  <a:ln>
                    <a:noFill/>
                  </a:ln>
                  <a:solidFill>
                    <a:srgbClr val="000000"/>
                  </a:solidFill>
                  <a:effectLst/>
                  <a:uLnTx/>
                  <a:uFillTx/>
                  <a:latin typeface="Arial"/>
                  <a:ea typeface="+mj-ea"/>
                  <a:cs typeface="+mj-cs"/>
                </a:rPr>
                <a:t>CD19 CART </a:t>
              </a:r>
              <a:r>
                <a:rPr kumimoji="0" lang="en-US" sz="1400" b="1" i="0" u="none" strike="noStrike" kern="1200" cap="all" spc="0" normalizeH="0" baseline="0" noProof="0" dirty="0">
                  <a:ln>
                    <a:noFill/>
                  </a:ln>
                  <a:solidFill>
                    <a:srgbClr val="000000"/>
                  </a:solidFill>
                  <a:effectLst/>
                  <a:uLnTx/>
                  <a:uFillTx/>
                  <a:latin typeface="Arial"/>
                  <a:ea typeface="+mj-ea"/>
                  <a:cs typeface="+mj-cs"/>
                </a:rPr>
                <a:t>       </a:t>
              </a:r>
              <a:r>
                <a:rPr kumimoji="0" lang="en-US" sz="1400" b="1" i="0" u="sng" strike="noStrike" kern="1200" cap="all" spc="0" normalizeH="0" baseline="0" noProof="0" dirty="0">
                  <a:ln>
                    <a:noFill/>
                  </a:ln>
                  <a:solidFill>
                    <a:srgbClr val="000000"/>
                  </a:solidFill>
                  <a:effectLst/>
                  <a:uLnTx/>
                  <a:uFillTx/>
                  <a:latin typeface="Arial"/>
                  <a:ea typeface="+mj-ea"/>
                  <a:cs typeface="+mj-cs"/>
                </a:rPr>
                <a:t>BCMA CART</a:t>
              </a:r>
            </a:p>
          </p:txBody>
        </p:sp>
      </p:grpSp>
      <p:sp>
        <p:nvSpPr>
          <p:cNvPr id="36" name="Rectangle 35"/>
          <p:cNvSpPr/>
          <p:nvPr/>
        </p:nvSpPr>
        <p:spPr>
          <a:xfrm>
            <a:off x="2769" y="0"/>
            <a:ext cx="365760" cy="68580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 name="Picture 1" descr="Mount Sinai Hospital |">
            <a:extLst>
              <a:ext uri="{FF2B5EF4-FFF2-40B4-BE49-F238E27FC236}">
                <a16:creationId xmlns:a16="http://schemas.microsoft.com/office/drawing/2014/main" id="{03DCBFE1-3961-802B-62B5-BD1FED2BAA6C}"/>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7213" t="11602" r="3726" b="29277"/>
          <a:stretch>
            <a:fillRect/>
          </a:stretch>
        </p:blipFill>
        <p:spPr bwMode="auto">
          <a:xfrm>
            <a:off x="10629134" y="6121108"/>
            <a:ext cx="1300197" cy="647337"/>
          </a:xfrm>
          <a:prstGeom prst="rect">
            <a:avLst/>
          </a:prstGeom>
          <a:solidFill>
            <a:schemeClr val="bg1"/>
          </a:solidFill>
        </p:spPr>
      </p:pic>
      <p:sp>
        <p:nvSpPr>
          <p:cNvPr id="13" name="Subtitle 2">
            <a:extLst>
              <a:ext uri="{FF2B5EF4-FFF2-40B4-BE49-F238E27FC236}">
                <a16:creationId xmlns:a16="http://schemas.microsoft.com/office/drawing/2014/main" id="{8D13A30E-B9F1-4774-3804-5C773E4A2FE1}"/>
              </a:ext>
            </a:extLst>
          </p:cNvPr>
          <p:cNvSpPr txBox="1">
            <a:spLocks/>
          </p:cNvSpPr>
          <p:nvPr/>
        </p:nvSpPr>
        <p:spPr>
          <a:xfrm>
            <a:off x="160419" y="-3257"/>
            <a:ext cx="11215006" cy="123047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1" i="0" u="sng" strike="noStrike" kern="1200" cap="none" spc="0" normalizeH="0" baseline="0" noProof="0" dirty="0">
                <a:ln>
                  <a:noFill/>
                </a:ln>
                <a:solidFill>
                  <a:prstClr val="black"/>
                </a:solidFill>
                <a:effectLst/>
                <a:uLnTx/>
                <a:uFillTx/>
                <a:latin typeface="Calibri" panose="020F0502020204030204"/>
                <a:ea typeface="+mn-ea"/>
                <a:cs typeface="+mn-cs"/>
              </a:rPr>
              <a:t>CAR T-Cells: Late toxicities - infections</a:t>
            </a:r>
          </a:p>
        </p:txBody>
      </p:sp>
      <p:sp>
        <p:nvSpPr>
          <p:cNvPr id="3" name="Rectangle 2"/>
          <p:cNvSpPr/>
          <p:nvPr/>
        </p:nvSpPr>
        <p:spPr>
          <a:xfrm>
            <a:off x="3996062" y="6570750"/>
            <a:ext cx="2969467"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prstClr val="black"/>
                </a:solidFill>
                <a:effectLst/>
                <a:uLnTx/>
                <a:uFillTx/>
                <a:latin typeface="Calibri" panose="020F0502020204030204"/>
                <a:ea typeface="+mn-ea"/>
                <a:cs typeface="+mn-cs"/>
              </a:rPr>
              <a:t>Rejeski</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 K et al., </a:t>
            </a:r>
            <a:r>
              <a:rPr kumimoji="0" lang="en-US" sz="1200" b="1" i="1" u="none" strike="noStrike" kern="1200" cap="none" spc="0" normalizeH="0" baseline="0" noProof="0" dirty="0">
                <a:ln>
                  <a:noFill/>
                </a:ln>
                <a:solidFill>
                  <a:prstClr val="black"/>
                </a:solidFill>
                <a:effectLst/>
                <a:uLnTx/>
                <a:uFillTx/>
                <a:latin typeface="Calibri" panose="020F0502020204030204"/>
                <a:ea typeface="+mn-ea"/>
                <a:cs typeface="+mn-cs"/>
              </a:rPr>
              <a:t>J </a:t>
            </a:r>
            <a:r>
              <a:rPr kumimoji="0" lang="en-US" sz="1200" b="1" i="1" u="none" strike="noStrike" kern="1200" cap="none" spc="0" normalizeH="0" baseline="0" noProof="0" dirty="0" err="1">
                <a:ln>
                  <a:noFill/>
                </a:ln>
                <a:solidFill>
                  <a:prstClr val="black"/>
                </a:solidFill>
                <a:effectLst/>
                <a:uLnTx/>
                <a:uFillTx/>
                <a:latin typeface="Calibri" panose="020F0502020204030204"/>
                <a:ea typeface="+mn-ea"/>
                <a:cs typeface="+mn-cs"/>
              </a:rPr>
              <a:t>Immunother</a:t>
            </a:r>
            <a:r>
              <a:rPr kumimoji="0" lang="en-US" sz="1200" b="1" i="1" u="none" strike="noStrike" kern="1200" cap="none" spc="0" normalizeH="0" baseline="0" noProof="0" dirty="0">
                <a:ln>
                  <a:noFill/>
                </a:ln>
                <a:solidFill>
                  <a:prstClr val="black"/>
                </a:solidFill>
                <a:effectLst/>
                <a:uLnTx/>
                <a:uFillTx/>
                <a:latin typeface="Calibri" panose="020F0502020204030204"/>
                <a:ea typeface="+mn-ea"/>
                <a:cs typeface="+mn-cs"/>
              </a:rPr>
              <a:t> Cancer</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 2022 </a:t>
            </a:r>
          </a:p>
        </p:txBody>
      </p:sp>
      <p:sp>
        <p:nvSpPr>
          <p:cNvPr id="24" name="Rectangle 23"/>
          <p:cNvSpPr/>
          <p:nvPr/>
        </p:nvSpPr>
        <p:spPr>
          <a:xfrm>
            <a:off x="7720090" y="6571336"/>
            <a:ext cx="337630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Kampouri E et al.,  </a:t>
            </a:r>
            <a:r>
              <a:rPr kumimoji="0" lang="en-US" sz="1200" b="1" i="1" u="none" strike="noStrike" kern="1200" cap="none" spc="0" normalizeH="0" baseline="0" noProof="0" dirty="0" err="1">
                <a:ln>
                  <a:noFill/>
                </a:ln>
                <a:solidFill>
                  <a:prstClr val="black"/>
                </a:solidFill>
                <a:effectLst/>
                <a:uLnTx/>
                <a:uFillTx/>
                <a:latin typeface="Calibri" panose="020F0502020204030204"/>
                <a:ea typeface="+mn-ea"/>
                <a:cs typeface="+mn-cs"/>
              </a:rPr>
              <a:t>Transpl</a:t>
            </a:r>
            <a:r>
              <a:rPr kumimoji="0" lang="en-US" sz="1200" b="1" i="1" u="none" strike="noStrike" kern="1200" cap="none" spc="0" normalizeH="0" baseline="0" noProof="0" dirty="0">
                <a:ln>
                  <a:noFill/>
                </a:ln>
                <a:solidFill>
                  <a:prstClr val="black"/>
                </a:solidFill>
                <a:effectLst/>
                <a:uLnTx/>
                <a:uFillTx/>
                <a:latin typeface="Calibri" panose="020F0502020204030204"/>
                <a:ea typeface="+mn-ea"/>
                <a:cs typeface="+mn-cs"/>
              </a:rPr>
              <a:t> Infect Dis.</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 2023</a:t>
            </a:r>
          </a:p>
        </p:txBody>
      </p:sp>
      <p:sp>
        <p:nvSpPr>
          <p:cNvPr id="7" name="TextBox 6">
            <a:extLst>
              <a:ext uri="{FF2B5EF4-FFF2-40B4-BE49-F238E27FC236}">
                <a16:creationId xmlns:a16="http://schemas.microsoft.com/office/drawing/2014/main" id="{0B446455-4348-6364-F518-8F3D045A181F}"/>
              </a:ext>
            </a:extLst>
          </p:cNvPr>
          <p:cNvSpPr txBox="1"/>
          <p:nvPr/>
        </p:nvSpPr>
        <p:spPr>
          <a:xfrm>
            <a:off x="0" y="1731"/>
            <a:ext cx="198067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HT</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CAR-HEMATOTOX score</a:t>
            </a:r>
          </a:p>
        </p:txBody>
      </p:sp>
    </p:spTree>
    <p:extLst>
      <p:ext uri="{BB962C8B-B14F-4D97-AF65-F5344CB8AC3E}">
        <p14:creationId xmlns:p14="http://schemas.microsoft.com/office/powerpoint/2010/main" val="35060285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itle 1"/>
          <p:cNvSpPr>
            <a:spLocks noGrp="1"/>
          </p:cNvSpPr>
          <p:nvPr>
            <p:ph type="title"/>
          </p:nvPr>
        </p:nvSpPr>
        <p:spPr/>
        <p:txBody>
          <a:bodyPr/>
          <a:lstStyle/>
          <a:p>
            <a:pPr eaLnBrk="1" hangingPunct="1"/>
            <a:r>
              <a:rPr lang="en-US" dirty="0">
                <a:latin typeface="Calibri" panose="020F0502020204030204" pitchFamily="34" charset="0"/>
                <a:ea typeface="ヒラギノ角ゴ Pro W3" charset="0"/>
                <a:cs typeface="Calibri" panose="020F0502020204030204" pitchFamily="34" charset="0"/>
              </a:rPr>
              <a:t>About the Enduring Program</a:t>
            </a:r>
            <a:endParaRPr lang="en-US" dirty="0">
              <a:latin typeface="Calibri" panose="020F0502020204030204" pitchFamily="34" charset="0"/>
              <a:ea typeface="ＭＳ Ｐゴシック" charset="0"/>
              <a:cs typeface="Calibri" panose="020F0502020204030204" pitchFamily="34" charset="0"/>
            </a:endParaRPr>
          </a:p>
        </p:txBody>
      </p:sp>
      <p:sp>
        <p:nvSpPr>
          <p:cNvPr id="15362" name="Content Placeholder 2"/>
          <p:cNvSpPr>
            <a:spLocks noGrp="1"/>
          </p:cNvSpPr>
          <p:nvPr>
            <p:ph idx="1"/>
          </p:nvPr>
        </p:nvSpPr>
        <p:spPr>
          <a:xfrm>
            <a:off x="912287" y="1416053"/>
            <a:ext cx="10008250" cy="4799013"/>
          </a:xfrm>
        </p:spPr>
        <p:txBody>
          <a:bodyPr/>
          <a:lstStyle/>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live meeting is being vide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d audio recorded.</a:t>
            </a: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proceedings from today will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be edited and developed int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 enduring web-based program.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ＭＳ Ｐゴシック" charset="0"/>
                <a:cs typeface="Calibri" panose="020F0502020204030204" pitchFamily="34" charset="0"/>
              </a:rPr>
              <a:t>An email will be sent to all attendees </a:t>
            </a:r>
            <a:br>
              <a:rPr lang="en-US" b="0" dirty="0">
                <a:solidFill>
                  <a:schemeClr val="tx1"/>
                </a:solidFill>
                <a:latin typeface="Calibri" panose="020F0502020204030204" pitchFamily="34" charset="0"/>
                <a:ea typeface="ＭＳ Ｐゴシック" charset="0"/>
                <a:cs typeface="Calibri" panose="020F0502020204030204" pitchFamily="34" charset="0"/>
              </a:rPr>
            </a:br>
            <a:r>
              <a:rPr lang="en-US" b="0" dirty="0">
                <a:solidFill>
                  <a:schemeClr val="tx1"/>
                </a:solidFill>
                <a:latin typeface="Calibri" panose="020F0502020204030204" pitchFamily="34" charset="0"/>
                <a:ea typeface="ＭＳ Ｐゴシック" charset="0"/>
                <a:cs typeface="Calibri" panose="020F0502020204030204" pitchFamily="34" charset="0"/>
              </a:rPr>
              <a:t>when the activity is available. </a:t>
            </a:r>
            <a:endParaRPr lang="en-US" b="0" dirty="0">
              <a:solidFill>
                <a:schemeClr val="tx1"/>
              </a:solidFill>
              <a:latin typeface="Calibri" panose="020F0502020204030204" pitchFamily="34" charset="0"/>
              <a:ea typeface="ヒラギノ角ゴ Pro W3" charset="0"/>
              <a:cs typeface="Calibri" panose="020F0502020204030204" pitchFamily="34" charset="0"/>
            </a:endParaRP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o learn more about our education programs, visit our website, </a:t>
            </a:r>
            <a:r>
              <a:rPr lang="en-US" u="sng" dirty="0" err="1">
                <a:solidFill>
                  <a:srgbClr val="3233FF"/>
                </a:solidFill>
                <a:latin typeface="Calibri" panose="020F0502020204030204" pitchFamily="34" charset="0"/>
                <a:ea typeface="ヒラギノ角ゴ Pro W3" charset="0"/>
                <a:cs typeface="Calibri" panose="020F0502020204030204" pitchFamily="34" charset="0"/>
              </a:rPr>
              <a:t>www.ResearchToPractice.com</a:t>
            </a:r>
            <a:endParaRPr lang="en-US" u="sng" dirty="0">
              <a:solidFill>
                <a:srgbClr val="3233FF"/>
              </a:solidFill>
              <a:latin typeface="Calibri" panose="020F0502020204030204" pitchFamily="34" charset="0"/>
              <a:ea typeface="ヒラギノ角ゴ Pro W3" charset="0"/>
              <a:cs typeface="Calibri" panose="020F0502020204030204" pitchFamily="34" charset="0"/>
            </a:endParaRPr>
          </a:p>
        </p:txBody>
      </p:sp>
      <p:pic>
        <p:nvPicPr>
          <p:cNvPr id="3" name="Picture 2">
            <a:extLst>
              <a:ext uri="{FF2B5EF4-FFF2-40B4-BE49-F238E27FC236}">
                <a16:creationId xmlns:a16="http://schemas.microsoft.com/office/drawing/2014/main" id="{DB0842FB-B899-BC74-EC69-3C731EC2FBA3}"/>
              </a:ext>
            </a:extLst>
          </p:cNvPr>
          <p:cNvPicPr>
            <a:picLocks noChangeAspect="1"/>
          </p:cNvPicPr>
          <p:nvPr/>
        </p:nvPicPr>
        <p:blipFill>
          <a:blip r:embed="rId3">
            <a:extLst>
              <a:ext uri="{28A0092B-C50C-407E-A947-70E740481C1C}">
                <a14:useLocalDpi xmlns:a14="http://schemas.microsoft.com/office/drawing/2010/main" val="0"/>
              </a:ext>
            </a:extLst>
          </a:blip>
          <a:srcRect t="75" b="75"/>
          <a:stretch/>
        </p:blipFill>
        <p:spPr>
          <a:xfrm>
            <a:off x="7536160" y="1268760"/>
            <a:ext cx="4114800" cy="273634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1599946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381392" y="929370"/>
            <a:ext cx="5368044" cy="3808468"/>
          </a:xfrm>
          <a:prstGeom prst="rect">
            <a:avLst/>
          </a:prstGeom>
        </p:spPr>
      </p:pic>
      <p:grpSp>
        <p:nvGrpSpPr>
          <p:cNvPr id="17" name="Group 16"/>
          <p:cNvGrpSpPr/>
          <p:nvPr/>
        </p:nvGrpSpPr>
        <p:grpSpPr>
          <a:xfrm>
            <a:off x="5115611" y="1176021"/>
            <a:ext cx="5915165" cy="5625803"/>
            <a:chOff x="6360459" y="665957"/>
            <a:chExt cx="5916706" cy="5627268"/>
          </a:xfrm>
        </p:grpSpPr>
        <p:pic>
          <p:nvPicPr>
            <p:cNvPr id="12" name="Picture 11"/>
            <p:cNvPicPr>
              <a:picLocks noChangeAspect="1"/>
            </p:cNvPicPr>
            <p:nvPr/>
          </p:nvPicPr>
          <p:blipFill rotWithShape="1">
            <a:blip r:embed="rId4">
              <a:extLst>
                <a:ext uri="{BEBA8EAE-BF5A-486C-A8C5-ECC9F3942E4B}">
                  <a14:imgProps xmlns:a14="http://schemas.microsoft.com/office/drawing/2010/main">
                    <a14:imgLayer r:embed="rId5">
                      <a14:imgEffect>
                        <a14:sharpenSoften amount="50000"/>
                      </a14:imgEffect>
                    </a14:imgLayer>
                  </a14:imgProps>
                </a:ext>
              </a:extLst>
            </a:blip>
            <a:srcRect l="15842" t="13537" r="19460" b="26125"/>
            <a:stretch/>
          </p:blipFill>
          <p:spPr>
            <a:xfrm>
              <a:off x="6360459" y="665957"/>
              <a:ext cx="5916706" cy="5627268"/>
            </a:xfrm>
            <a:prstGeom prst="roundRect">
              <a:avLst>
                <a:gd name="adj" fmla="val 47254"/>
              </a:avLst>
            </a:prstGeom>
          </p:spPr>
        </p:pic>
        <p:pic>
          <p:nvPicPr>
            <p:cNvPr id="10" name="Picture 9"/>
            <p:cNvPicPr>
              <a:picLocks noChangeAspect="1"/>
            </p:cNvPicPr>
            <p:nvPr/>
          </p:nvPicPr>
          <p:blipFill rotWithShape="1">
            <a:blip r:embed="rId6"/>
            <a:srcRect l="28653" t="1794" r="52628" b="86806"/>
            <a:stretch/>
          </p:blipFill>
          <p:spPr>
            <a:xfrm>
              <a:off x="8725805" y="2101879"/>
              <a:ext cx="1711843" cy="1063256"/>
            </a:xfrm>
            <a:prstGeom prst="snipRoundRect">
              <a:avLst>
                <a:gd name="adj1" fmla="val 16667"/>
                <a:gd name="adj2" fmla="val 48667"/>
              </a:avLst>
            </a:prstGeom>
          </p:spPr>
        </p:pic>
        <p:pic>
          <p:nvPicPr>
            <p:cNvPr id="13" name="Picture 12"/>
            <p:cNvPicPr>
              <a:picLocks noChangeAspect="1"/>
            </p:cNvPicPr>
            <p:nvPr/>
          </p:nvPicPr>
          <p:blipFill rotWithShape="1">
            <a:blip r:embed="rId6"/>
            <a:srcRect l="52406" t="1684" r="30655" b="86083"/>
            <a:stretch/>
          </p:blipFill>
          <p:spPr>
            <a:xfrm>
              <a:off x="8654527" y="3625698"/>
              <a:ext cx="1549102" cy="1140891"/>
            </a:xfrm>
            <a:prstGeom prst="roundRect">
              <a:avLst>
                <a:gd name="adj" fmla="val 22259"/>
              </a:avLst>
            </a:prstGeom>
          </p:spPr>
        </p:pic>
        <p:sp>
          <p:nvSpPr>
            <p:cNvPr id="14" name="Rounded Rectangle 13"/>
            <p:cNvSpPr/>
            <p:nvPr/>
          </p:nvSpPr>
          <p:spPr>
            <a:xfrm>
              <a:off x="8186569" y="3195020"/>
              <a:ext cx="2495775" cy="457200"/>
            </a:xfrm>
            <a:prstGeom prst="roundRect">
              <a:avLst/>
            </a:prstGeom>
            <a:noFill/>
            <a:ln>
              <a:solidFill>
                <a:srgbClr val="FF0000"/>
              </a:solidFill>
            </a:ln>
            <a:effectLst>
              <a:glow rad="63500">
                <a:schemeClr val="accent4">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0" name="Group 19"/>
          <p:cNvGrpSpPr/>
          <p:nvPr/>
        </p:nvGrpSpPr>
        <p:grpSpPr>
          <a:xfrm>
            <a:off x="10284773" y="1023898"/>
            <a:ext cx="1959414" cy="3596424"/>
            <a:chOff x="10285864" y="1023270"/>
            <a:chExt cx="1959924" cy="3597361"/>
          </a:xfrm>
        </p:grpSpPr>
        <p:pic>
          <p:nvPicPr>
            <p:cNvPr id="16" name="Picture 15"/>
            <p:cNvPicPr>
              <a:picLocks noChangeAspect="1"/>
            </p:cNvPicPr>
            <p:nvPr/>
          </p:nvPicPr>
          <p:blipFill rotWithShape="1">
            <a:blip r:embed="rId6"/>
            <a:srcRect l="72281" t="57620" r="6288" b="18387"/>
            <a:stretch/>
          </p:blipFill>
          <p:spPr>
            <a:xfrm>
              <a:off x="10285864" y="1023270"/>
              <a:ext cx="1959924" cy="2237750"/>
            </a:xfrm>
            <a:prstGeom prst="roundRect">
              <a:avLst>
                <a:gd name="adj" fmla="val 34506"/>
              </a:avLst>
            </a:prstGeom>
            <a:effectLst>
              <a:softEdge rad="63500"/>
            </a:effectLst>
          </p:spPr>
        </p:pic>
        <p:pic>
          <p:nvPicPr>
            <p:cNvPr id="18" name="Picture 17"/>
            <p:cNvPicPr>
              <a:picLocks noChangeAspect="1"/>
            </p:cNvPicPr>
            <p:nvPr/>
          </p:nvPicPr>
          <p:blipFill rotWithShape="1">
            <a:blip r:embed="rId6"/>
            <a:srcRect l="84694" t="44558" b="42285"/>
            <a:stretch/>
          </p:blipFill>
          <p:spPr>
            <a:xfrm>
              <a:off x="10838812" y="3393522"/>
              <a:ext cx="1399818" cy="1227108"/>
            </a:xfrm>
            <a:prstGeom prst="roundRect">
              <a:avLst/>
            </a:prstGeom>
          </p:spPr>
        </p:pic>
      </p:grpSp>
      <p:grpSp>
        <p:nvGrpSpPr>
          <p:cNvPr id="21" name="Group 20"/>
          <p:cNvGrpSpPr/>
          <p:nvPr/>
        </p:nvGrpSpPr>
        <p:grpSpPr>
          <a:xfrm>
            <a:off x="7777837" y="4660652"/>
            <a:ext cx="2884498" cy="2280655"/>
            <a:chOff x="7778275" y="4660971"/>
            <a:chExt cx="2885249" cy="2281249"/>
          </a:xfrm>
        </p:grpSpPr>
        <p:pic>
          <p:nvPicPr>
            <p:cNvPr id="15" name="Picture 14"/>
            <p:cNvPicPr>
              <a:picLocks noChangeAspect="1"/>
            </p:cNvPicPr>
            <p:nvPr/>
          </p:nvPicPr>
          <p:blipFill rotWithShape="1">
            <a:blip r:embed="rId6"/>
            <a:srcRect l="32409" t="72384" r="45272" b="3392"/>
            <a:stretch/>
          </p:blipFill>
          <p:spPr>
            <a:xfrm>
              <a:off x="8622354" y="4660971"/>
              <a:ext cx="2041170" cy="2259105"/>
            </a:xfrm>
            <a:prstGeom prst="roundRect">
              <a:avLst>
                <a:gd name="adj" fmla="val 50000"/>
              </a:avLst>
            </a:prstGeom>
            <a:effectLst>
              <a:softEdge rad="63500"/>
            </a:effectLst>
          </p:spPr>
        </p:pic>
        <p:pic>
          <p:nvPicPr>
            <p:cNvPr id="19" name="Picture 18"/>
            <p:cNvPicPr>
              <a:picLocks noChangeAspect="1"/>
            </p:cNvPicPr>
            <p:nvPr/>
          </p:nvPicPr>
          <p:blipFill rotWithShape="1">
            <a:blip r:embed="rId6"/>
            <a:srcRect l="55856" t="79305" r="27156" b="8337"/>
            <a:stretch/>
          </p:blipFill>
          <p:spPr>
            <a:xfrm>
              <a:off x="7778275" y="5789791"/>
              <a:ext cx="1553678" cy="1152429"/>
            </a:xfrm>
            <a:prstGeom prst="snipRoundRect">
              <a:avLst>
                <a:gd name="adj1" fmla="val 1282"/>
                <a:gd name="adj2" fmla="val 50000"/>
              </a:avLst>
            </a:prstGeom>
            <a:effectLst>
              <a:softEdge rad="63500"/>
            </a:effectLst>
          </p:spPr>
        </p:pic>
      </p:grpSp>
      <p:sp>
        <p:nvSpPr>
          <p:cNvPr id="9" name="Rectangle 8"/>
          <p:cNvSpPr/>
          <p:nvPr/>
        </p:nvSpPr>
        <p:spPr>
          <a:xfrm>
            <a:off x="116078" y="6573256"/>
            <a:ext cx="4100978" cy="276999"/>
          </a:xfrm>
          <a:prstGeom prst="rect">
            <a:avLst/>
          </a:prstGeom>
          <a:solidFill>
            <a:schemeClr val="bg1"/>
          </a:solidFill>
          <a:effectLst>
            <a:softEdge rad="63500"/>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prstClr val="black"/>
                </a:solidFill>
                <a:effectLst/>
                <a:uLnTx/>
                <a:uFillTx/>
                <a:latin typeface="Calibri" panose="020F0502020204030204"/>
                <a:ea typeface="+mn-ea"/>
                <a:cs typeface="+mn-cs"/>
              </a:rPr>
              <a:t>Cordas</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 Dos Santos, DM et al., </a:t>
            </a:r>
            <a:r>
              <a:rPr kumimoji="0" lang="en-US" sz="1200" b="1" i="1" u="none" strike="noStrike" kern="1200" cap="none" spc="0" normalizeH="0" baseline="0" noProof="0" dirty="0">
                <a:ln>
                  <a:noFill/>
                </a:ln>
                <a:solidFill>
                  <a:prstClr val="black"/>
                </a:solidFill>
                <a:effectLst/>
                <a:uLnTx/>
                <a:uFillTx/>
                <a:latin typeface="Calibri" panose="020F0502020204030204"/>
                <a:ea typeface="+mn-ea"/>
                <a:cs typeface="+mn-cs"/>
              </a:rPr>
              <a:t>Nat Med</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 2024  </a:t>
            </a:r>
          </a:p>
        </p:txBody>
      </p:sp>
      <p:sp>
        <p:nvSpPr>
          <p:cNvPr id="4" name="Title 1"/>
          <p:cNvSpPr>
            <a:spLocks noGrp="1"/>
          </p:cNvSpPr>
          <p:nvPr>
            <p:ph type="title"/>
          </p:nvPr>
        </p:nvSpPr>
        <p:spPr>
          <a:xfrm>
            <a:off x="3531597" y="3182740"/>
            <a:ext cx="1658572" cy="246261"/>
          </a:xfrm>
          <a:solidFill>
            <a:schemeClr val="bg1"/>
          </a:solidFill>
        </p:spPr>
        <p:txBody>
          <a:bodyPr>
            <a:noAutofit/>
          </a:bodyPr>
          <a:lstStyle/>
          <a:p>
            <a:pPr lvl="0" algn="ctr"/>
            <a:r>
              <a:rPr lang="en-US" sz="3600" b="0" dirty="0"/>
              <a:t>P = 0.02</a:t>
            </a:r>
            <a:endParaRPr lang="en-US" sz="2000" dirty="0"/>
          </a:p>
        </p:txBody>
      </p:sp>
      <p:sp>
        <p:nvSpPr>
          <p:cNvPr id="2" name="Rectangle 2">
            <a:extLst>
              <a:ext uri="{FF2B5EF4-FFF2-40B4-BE49-F238E27FC236}">
                <a16:creationId xmlns:a16="http://schemas.microsoft.com/office/drawing/2014/main" id="{8D54C064-6AF4-CAD3-5511-32E261C97070}"/>
              </a:ext>
            </a:extLst>
          </p:cNvPr>
          <p:cNvSpPr txBox="1">
            <a:spLocks noChangeArrowheads="1"/>
          </p:cNvSpPr>
          <p:nvPr/>
        </p:nvSpPr>
        <p:spPr bwMode="auto">
          <a:xfrm>
            <a:off x="386759" y="-3173"/>
            <a:ext cx="11983294" cy="1103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600" b="1" i="0" u="sng" strike="noStrike" kern="0" cap="none" spc="0" normalizeH="0" baseline="0" noProof="0" dirty="0">
              <a:ln>
                <a:noFill/>
              </a:ln>
              <a:solidFill>
                <a:srgbClr val="455560"/>
              </a:solidFill>
              <a:effectLst/>
              <a:uLnTx/>
              <a:uFillTx/>
              <a:latin typeface="Calibri" panose="020F0502020204030204" pitchFamily="34" charset="0"/>
              <a:ea typeface="+mj-ea"/>
              <a:cs typeface="+mj-cs"/>
            </a:endParaRPr>
          </a:p>
        </p:txBody>
      </p:sp>
      <p:pic>
        <p:nvPicPr>
          <p:cNvPr id="3" name="Picture 2" descr="Mount Sinai Hospital |">
            <a:extLst>
              <a:ext uri="{FF2B5EF4-FFF2-40B4-BE49-F238E27FC236}">
                <a16:creationId xmlns:a16="http://schemas.microsoft.com/office/drawing/2014/main" id="{EB9165A1-59F5-6BB9-049E-DA152A125132}"/>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7213" t="11602" r="3726" b="29277"/>
          <a:stretch>
            <a:fillRect/>
          </a:stretch>
        </p:blipFill>
        <p:spPr bwMode="auto">
          <a:xfrm>
            <a:off x="10629134" y="6121108"/>
            <a:ext cx="1300197" cy="647337"/>
          </a:xfrm>
          <a:prstGeom prst="rect">
            <a:avLst/>
          </a:prstGeom>
          <a:solidFill>
            <a:schemeClr val="bg1"/>
          </a:solidFill>
        </p:spPr>
      </p:pic>
      <p:sp>
        <p:nvSpPr>
          <p:cNvPr id="5" name="Subtitle 2">
            <a:extLst>
              <a:ext uri="{FF2B5EF4-FFF2-40B4-BE49-F238E27FC236}">
                <a16:creationId xmlns:a16="http://schemas.microsoft.com/office/drawing/2014/main" id="{EDAA0D98-E7E8-5AAB-06C6-020CEDD38D3D}"/>
              </a:ext>
            </a:extLst>
          </p:cNvPr>
          <p:cNvSpPr txBox="1">
            <a:spLocks/>
          </p:cNvSpPr>
          <p:nvPr/>
        </p:nvSpPr>
        <p:spPr>
          <a:xfrm>
            <a:off x="160418" y="164243"/>
            <a:ext cx="11774905" cy="106297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1" i="0" u="sng" strike="noStrike" kern="1200" cap="none" spc="0" normalizeH="0" baseline="0" noProof="0" dirty="0">
                <a:ln>
                  <a:noFill/>
                </a:ln>
                <a:solidFill>
                  <a:prstClr val="black"/>
                </a:solidFill>
                <a:effectLst/>
                <a:uLnTx/>
                <a:uFillTx/>
                <a:latin typeface="Calibri" panose="020F0502020204030204"/>
                <a:ea typeface="+mn-ea"/>
                <a:cs typeface="+mn-cs"/>
              </a:rPr>
              <a:t>CAR T-Cells: Late toxicities - infections</a:t>
            </a:r>
          </a:p>
        </p:txBody>
      </p:sp>
    </p:spTree>
    <p:extLst>
      <p:ext uri="{BB962C8B-B14F-4D97-AF65-F5344CB8AC3E}">
        <p14:creationId xmlns:p14="http://schemas.microsoft.com/office/powerpoint/2010/main" val="5740260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2"/>
          <p:cNvSpPr txBox="1">
            <a:spLocks/>
          </p:cNvSpPr>
          <p:nvPr/>
        </p:nvSpPr>
        <p:spPr>
          <a:xfrm>
            <a:off x="248652" y="-3257"/>
            <a:ext cx="11774905" cy="134277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1" i="0" u="sng" strike="noStrike" kern="1200" cap="none" spc="0" normalizeH="0" baseline="0" noProof="0" dirty="0">
                <a:ln>
                  <a:noFill/>
                </a:ln>
                <a:solidFill>
                  <a:prstClr val="black"/>
                </a:solidFill>
                <a:effectLst/>
                <a:uLnTx/>
                <a:uFillTx/>
                <a:latin typeface="Calibri" panose="020F0502020204030204"/>
                <a:ea typeface="+mn-ea"/>
                <a:cs typeface="+mn-cs"/>
              </a:rPr>
              <a:t>Long-term tolerability/toxicity: secondary malignancy</a:t>
            </a:r>
          </a:p>
        </p:txBody>
      </p:sp>
      <p:pic>
        <p:nvPicPr>
          <p:cNvPr id="8" name="Picture 7">
            <a:extLst>
              <a:ext uri="{FF2B5EF4-FFF2-40B4-BE49-F238E27FC236}">
                <a16:creationId xmlns:a16="http://schemas.microsoft.com/office/drawing/2014/main" id="{E4C2877F-D523-80E5-5D53-7B34774298BE}"/>
              </a:ext>
            </a:extLst>
          </p:cNvPr>
          <p:cNvPicPr>
            <a:picLocks noChangeAspect="1"/>
          </p:cNvPicPr>
          <p:nvPr/>
        </p:nvPicPr>
        <p:blipFill>
          <a:blip r:embed="rId2"/>
          <a:stretch>
            <a:fillRect/>
          </a:stretch>
        </p:blipFill>
        <p:spPr>
          <a:xfrm>
            <a:off x="2261193" y="465418"/>
            <a:ext cx="7106195" cy="1100787"/>
          </a:xfrm>
          <a:prstGeom prst="rect">
            <a:avLst/>
          </a:prstGeom>
        </p:spPr>
      </p:pic>
      <p:pic>
        <p:nvPicPr>
          <p:cNvPr id="10" name="Picture 9">
            <a:extLst>
              <a:ext uri="{FF2B5EF4-FFF2-40B4-BE49-F238E27FC236}">
                <a16:creationId xmlns:a16="http://schemas.microsoft.com/office/drawing/2014/main" id="{99F0B8C7-C0A2-E7E5-EFE9-76022431CDBD}"/>
              </a:ext>
            </a:extLst>
          </p:cNvPr>
          <p:cNvPicPr>
            <a:picLocks noChangeAspect="1"/>
          </p:cNvPicPr>
          <p:nvPr/>
        </p:nvPicPr>
        <p:blipFill>
          <a:blip r:embed="rId3"/>
          <a:srcRect l="1437" t="2096" b="69245"/>
          <a:stretch>
            <a:fillRect/>
          </a:stretch>
        </p:blipFill>
        <p:spPr>
          <a:xfrm>
            <a:off x="56328" y="1602517"/>
            <a:ext cx="6165361" cy="2174593"/>
          </a:xfrm>
          <a:prstGeom prst="roundRect">
            <a:avLst>
              <a:gd name="adj" fmla="val 11544"/>
            </a:avLst>
          </a:prstGeom>
          <a:effectLst>
            <a:softEdge rad="63500"/>
          </a:effectLst>
        </p:spPr>
      </p:pic>
      <p:pic>
        <p:nvPicPr>
          <p:cNvPr id="11" name="Picture 10">
            <a:extLst>
              <a:ext uri="{FF2B5EF4-FFF2-40B4-BE49-F238E27FC236}">
                <a16:creationId xmlns:a16="http://schemas.microsoft.com/office/drawing/2014/main" id="{65FCD607-8ECA-E5A8-1ACF-C503C3ED36E9}"/>
              </a:ext>
            </a:extLst>
          </p:cNvPr>
          <p:cNvPicPr>
            <a:picLocks noChangeAspect="1"/>
          </p:cNvPicPr>
          <p:nvPr/>
        </p:nvPicPr>
        <p:blipFill>
          <a:blip r:embed="rId3"/>
          <a:srcRect t="62730" b="2095"/>
          <a:stretch>
            <a:fillRect/>
          </a:stretch>
        </p:blipFill>
        <p:spPr>
          <a:xfrm>
            <a:off x="6122775" y="1623066"/>
            <a:ext cx="6165362" cy="2630584"/>
          </a:xfrm>
          <a:prstGeom prst="roundRect">
            <a:avLst>
              <a:gd name="adj" fmla="val 14862"/>
            </a:avLst>
          </a:prstGeom>
          <a:effectLst>
            <a:softEdge rad="63500"/>
          </a:effectLst>
        </p:spPr>
      </p:pic>
      <p:pic>
        <p:nvPicPr>
          <p:cNvPr id="12" name="Picture 11">
            <a:extLst>
              <a:ext uri="{FF2B5EF4-FFF2-40B4-BE49-F238E27FC236}">
                <a16:creationId xmlns:a16="http://schemas.microsoft.com/office/drawing/2014/main" id="{69D9E9BE-15D0-D3C6-61F9-B21E8BC19729}"/>
              </a:ext>
            </a:extLst>
          </p:cNvPr>
          <p:cNvPicPr>
            <a:picLocks noChangeAspect="1"/>
          </p:cNvPicPr>
          <p:nvPr/>
        </p:nvPicPr>
        <p:blipFill>
          <a:blip r:embed="rId3"/>
          <a:srcRect l="2190" t="31937" r="2696" b="39148"/>
          <a:stretch>
            <a:fillRect/>
          </a:stretch>
        </p:blipFill>
        <p:spPr>
          <a:xfrm>
            <a:off x="2184410" y="3854091"/>
            <a:ext cx="7406640" cy="2731224"/>
          </a:xfrm>
          <a:prstGeom prst="roundRect">
            <a:avLst>
              <a:gd name="adj" fmla="val 5781"/>
            </a:avLst>
          </a:prstGeom>
          <a:effectLst>
            <a:softEdge rad="12700"/>
          </a:effectLst>
        </p:spPr>
      </p:pic>
      <p:sp>
        <p:nvSpPr>
          <p:cNvPr id="13" name="Rectangle 12">
            <a:extLst>
              <a:ext uri="{FF2B5EF4-FFF2-40B4-BE49-F238E27FC236}">
                <a16:creationId xmlns:a16="http://schemas.microsoft.com/office/drawing/2014/main" id="{D81F925B-F8B4-BE43-D62F-4CBB367458C0}"/>
              </a:ext>
            </a:extLst>
          </p:cNvPr>
          <p:cNvSpPr/>
          <p:nvPr/>
        </p:nvSpPr>
        <p:spPr>
          <a:xfrm>
            <a:off x="5895114" y="4039450"/>
            <a:ext cx="263047" cy="13171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ctangle 1"/>
          <p:cNvSpPr/>
          <p:nvPr/>
        </p:nvSpPr>
        <p:spPr>
          <a:xfrm>
            <a:off x="56328" y="6542786"/>
            <a:ext cx="1036247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12121"/>
                </a:solidFill>
                <a:effectLst/>
                <a:uLnTx/>
                <a:uFillTx/>
                <a:latin typeface="BlinkMacSystemFont"/>
                <a:ea typeface="+mn-ea"/>
                <a:cs typeface="+mn-cs"/>
              </a:rPr>
              <a:t>Aleman A, Van </a:t>
            </a:r>
            <a:r>
              <a:rPr kumimoji="0" lang="en-US" sz="1200" b="0" i="0" u="none" strike="noStrike" kern="1200" cap="none" spc="0" normalizeH="0" baseline="0" noProof="0" dirty="0" err="1">
                <a:ln>
                  <a:noFill/>
                </a:ln>
                <a:solidFill>
                  <a:srgbClr val="212121"/>
                </a:solidFill>
                <a:effectLst/>
                <a:uLnTx/>
                <a:uFillTx/>
                <a:latin typeface="BlinkMacSystemFont"/>
                <a:ea typeface="+mn-ea"/>
                <a:cs typeface="+mn-cs"/>
              </a:rPr>
              <a:t>Oekelen</a:t>
            </a:r>
            <a:r>
              <a:rPr kumimoji="0" lang="en-US" sz="1200" b="0" i="0" u="none" strike="noStrike" kern="1200" cap="none" spc="0" normalizeH="0" baseline="0" noProof="0" dirty="0">
                <a:ln>
                  <a:noFill/>
                </a:ln>
                <a:solidFill>
                  <a:srgbClr val="212121"/>
                </a:solidFill>
                <a:effectLst/>
                <a:uLnTx/>
                <a:uFillTx/>
                <a:latin typeface="BlinkMacSystemFont"/>
                <a:ea typeface="+mn-ea"/>
                <a:cs typeface="+mn-cs"/>
              </a:rPr>
              <a:t> O, …, Brody JD, Parekh S.</a:t>
            </a:r>
            <a:r>
              <a:rPr kumimoji="0" lang="en-US" sz="1200" b="0" i="0" u="none" strike="noStrike" kern="1200" cap="none" spc="0" normalizeH="0" baseline="0" noProof="0" dirty="0">
                <a:ln>
                  <a:noFill/>
                </a:ln>
                <a:solidFill>
                  <a:srgbClr val="4D8055"/>
                </a:solidFill>
                <a:effectLst/>
                <a:uLnTx/>
                <a:uFillTx/>
                <a:latin typeface="BlinkMacSystemFont"/>
                <a:ea typeface="+mn-ea"/>
                <a:cs typeface="+mn-cs"/>
              </a:rPr>
              <a:t>N </a:t>
            </a:r>
            <a:r>
              <a:rPr kumimoji="0" lang="en-US" sz="1200" b="0" i="0" u="none" strike="noStrike" kern="1200" cap="none" spc="0" normalizeH="0" baseline="0" noProof="0" dirty="0" err="1">
                <a:ln>
                  <a:noFill/>
                </a:ln>
                <a:solidFill>
                  <a:srgbClr val="4D8055"/>
                </a:solidFill>
                <a:effectLst/>
                <a:uLnTx/>
                <a:uFillTx/>
                <a:latin typeface="BlinkMacSystemFont"/>
                <a:ea typeface="+mn-ea"/>
                <a:cs typeface="+mn-cs"/>
              </a:rPr>
              <a:t>Engl</a:t>
            </a:r>
            <a:r>
              <a:rPr kumimoji="0" lang="en-US" sz="1200" b="0" i="0" u="none" strike="noStrike" kern="1200" cap="none" spc="0" normalizeH="0" baseline="0" noProof="0" dirty="0">
                <a:ln>
                  <a:noFill/>
                </a:ln>
                <a:solidFill>
                  <a:srgbClr val="4D8055"/>
                </a:solidFill>
                <a:effectLst/>
                <a:uLnTx/>
                <a:uFillTx/>
                <a:latin typeface="BlinkMacSystemFont"/>
                <a:ea typeface="+mn-ea"/>
                <a:cs typeface="+mn-cs"/>
              </a:rPr>
              <a:t> J Med. 2025 Aug 21;393(8):823-82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02774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87F5296-494B-1ECC-05CE-0EF937E76A58}"/>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t="7671" b="6119"/>
          <a:stretch>
            <a:fillRect/>
          </a:stretch>
        </p:blipFill>
        <p:spPr>
          <a:xfrm>
            <a:off x="407641" y="413359"/>
            <a:ext cx="10984422" cy="6313117"/>
          </a:xfrm>
          <a:prstGeom prst="rect">
            <a:avLst/>
          </a:prstGeom>
        </p:spPr>
      </p:pic>
      <p:sp>
        <p:nvSpPr>
          <p:cNvPr id="5" name="TextBox 4">
            <a:extLst>
              <a:ext uri="{FF2B5EF4-FFF2-40B4-BE49-F238E27FC236}">
                <a16:creationId xmlns:a16="http://schemas.microsoft.com/office/drawing/2014/main" id="{A08B2D84-0CAB-BEAE-4B79-62E8E12ED7E1}"/>
              </a:ext>
            </a:extLst>
          </p:cNvPr>
          <p:cNvSpPr txBox="1"/>
          <p:nvPr/>
        </p:nvSpPr>
        <p:spPr>
          <a:xfrm>
            <a:off x="0" y="6576533"/>
            <a:ext cx="12075090" cy="276999"/>
          </a:xfrm>
          <a:prstGeom prst="rect">
            <a:avLst/>
          </a:prstGeom>
          <a:solidFill>
            <a:schemeClr val="bg1"/>
          </a:solidFill>
          <a:effectLst>
            <a:softEdge rad="63500"/>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Hutchings et al., JCO 2021,   Thieblemont et al., JCO 2023,  Budde et al., JCO 2022,  Min Kim et al., (Suppl) Blood 2025</a:t>
            </a:r>
          </a:p>
        </p:txBody>
      </p:sp>
      <p:sp>
        <p:nvSpPr>
          <p:cNvPr id="6" name="Subtitle 2"/>
          <p:cNvSpPr txBox="1">
            <a:spLocks/>
          </p:cNvSpPr>
          <p:nvPr/>
        </p:nvSpPr>
        <p:spPr>
          <a:xfrm>
            <a:off x="-4" y="0"/>
            <a:ext cx="12322498" cy="11342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Incidence, severity, timing of CRS and ICANS with </a:t>
            </a:r>
            <a:r>
              <a:rPr kumimoji="0" lang="en-US" sz="3200" b="1" i="0" u="none" strike="noStrike" kern="1200" cap="none" spc="0" normalizeH="0" baseline="0" noProof="0" dirty="0" err="1">
                <a:ln>
                  <a:noFill/>
                </a:ln>
                <a:solidFill>
                  <a:prstClr val="black"/>
                </a:solidFill>
                <a:effectLst/>
                <a:uLnTx/>
                <a:uFillTx/>
                <a:latin typeface="Calibri" panose="020F0502020204030204"/>
                <a:ea typeface="+mn-ea"/>
                <a:cs typeface="+mn-cs"/>
              </a:rPr>
              <a:t>bispecifics</a:t>
            </a: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 in B-NHL</a:t>
            </a:r>
          </a:p>
        </p:txBody>
      </p:sp>
    </p:spTree>
    <p:extLst>
      <p:ext uri="{BB962C8B-B14F-4D97-AF65-F5344CB8AC3E}">
        <p14:creationId xmlns:p14="http://schemas.microsoft.com/office/powerpoint/2010/main" val="18566464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A4F13B41-D260-7FE9-574A-5F08985A65CF}"/>
              </a:ext>
            </a:extLst>
          </p:cNvPr>
          <p:cNvSpPr txBox="1">
            <a:spLocks/>
          </p:cNvSpPr>
          <p:nvPr/>
        </p:nvSpPr>
        <p:spPr>
          <a:xfrm>
            <a:off x="0" y="350603"/>
            <a:ext cx="12192000" cy="68105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j-ea"/>
                <a:cs typeface="+mj-cs"/>
              </a:rPr>
              <a:t>Fewer Infections with </a:t>
            </a:r>
            <a:r>
              <a:rPr kumimoji="0" lang="en-US" sz="2800" b="1" i="1" u="none" strike="noStrike" kern="1200" cap="none" spc="0" normalizeH="0" baseline="0" noProof="0" dirty="0">
                <a:ln>
                  <a:noFill/>
                </a:ln>
                <a:solidFill>
                  <a:prstClr val="black"/>
                </a:solidFill>
                <a:effectLst/>
                <a:uLnTx/>
                <a:uFillTx/>
                <a:latin typeface="Calibri" panose="020F0502020204030204"/>
                <a:ea typeface="+mj-ea"/>
                <a:cs typeface="+mj-cs"/>
              </a:rPr>
              <a:t>Lymphoma</a:t>
            </a:r>
            <a:r>
              <a:rPr kumimoji="0" lang="en-US" sz="2800" b="1" i="0" u="none" strike="noStrike" kern="1200" cap="none" spc="0" normalizeH="0" baseline="0" noProof="0" dirty="0">
                <a:ln>
                  <a:noFill/>
                </a:ln>
                <a:solidFill>
                  <a:prstClr val="black"/>
                </a:solidFill>
                <a:effectLst/>
                <a:uLnTx/>
                <a:uFillTx/>
                <a:latin typeface="Calibri" panose="020F0502020204030204"/>
                <a:ea typeface="+mj-ea"/>
                <a:cs typeface="+mj-cs"/>
              </a:rPr>
              <a:t> vs Myeloma Bispecifics</a:t>
            </a:r>
          </a:p>
        </p:txBody>
      </p:sp>
      <p:sp>
        <p:nvSpPr>
          <p:cNvPr id="2" name="TextBox 1">
            <a:extLst>
              <a:ext uri="{FF2B5EF4-FFF2-40B4-BE49-F238E27FC236}">
                <a16:creationId xmlns:a16="http://schemas.microsoft.com/office/drawing/2014/main" id="{DEC840C1-6C08-93EC-0407-93B1B0B86879}"/>
              </a:ext>
            </a:extLst>
          </p:cNvPr>
          <p:cNvSpPr txBox="1"/>
          <p:nvPr/>
        </p:nvSpPr>
        <p:spPr>
          <a:xfrm>
            <a:off x="0" y="6581001"/>
            <a:ext cx="1219200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1. Gemma Reynolds, et al. Blood Adv. 2023;7:5898-5903; 2. Budde LE, et al. Lancet Oncol. 2022;23:1055-1065; 3.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Thieblemont</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et al. J Clin Oncol. 2023 20;41:2238-2247.</a:t>
            </a:r>
          </a:p>
        </p:txBody>
      </p:sp>
      <p:graphicFrame>
        <p:nvGraphicFramePr>
          <p:cNvPr id="4" name="Content Placeholder 6">
            <a:extLst>
              <a:ext uri="{FF2B5EF4-FFF2-40B4-BE49-F238E27FC236}">
                <a16:creationId xmlns:a16="http://schemas.microsoft.com/office/drawing/2014/main" id="{5870B662-9D6F-5DCF-6730-C9F296520392}"/>
              </a:ext>
            </a:extLst>
          </p:cNvPr>
          <p:cNvGraphicFramePr>
            <a:graphicFrameLocks/>
          </p:cNvGraphicFramePr>
          <p:nvPr/>
        </p:nvGraphicFramePr>
        <p:xfrm>
          <a:off x="124690" y="1294958"/>
          <a:ext cx="11951370" cy="4571978"/>
        </p:xfrm>
        <a:graphic>
          <a:graphicData uri="http://schemas.openxmlformats.org/drawingml/2006/table">
            <a:tbl>
              <a:tblPr firstRow="1" bandRow="1">
                <a:tableStyleId>{2D5ABB26-0587-4C30-8999-92F81FD0307C}</a:tableStyleId>
              </a:tblPr>
              <a:tblGrid>
                <a:gridCol w="1724892">
                  <a:extLst>
                    <a:ext uri="{9D8B030D-6E8A-4147-A177-3AD203B41FA5}">
                      <a16:colId xmlns:a16="http://schemas.microsoft.com/office/drawing/2014/main" val="3743195887"/>
                    </a:ext>
                  </a:extLst>
                </a:gridCol>
                <a:gridCol w="2718430">
                  <a:extLst>
                    <a:ext uri="{9D8B030D-6E8A-4147-A177-3AD203B41FA5}">
                      <a16:colId xmlns:a16="http://schemas.microsoft.com/office/drawing/2014/main" val="217590553"/>
                    </a:ext>
                  </a:extLst>
                </a:gridCol>
                <a:gridCol w="1898221">
                  <a:extLst>
                    <a:ext uri="{9D8B030D-6E8A-4147-A177-3AD203B41FA5}">
                      <a16:colId xmlns:a16="http://schemas.microsoft.com/office/drawing/2014/main" val="3294788338"/>
                    </a:ext>
                  </a:extLst>
                </a:gridCol>
                <a:gridCol w="1972453">
                  <a:extLst>
                    <a:ext uri="{9D8B030D-6E8A-4147-A177-3AD203B41FA5}">
                      <a16:colId xmlns:a16="http://schemas.microsoft.com/office/drawing/2014/main" val="914361155"/>
                    </a:ext>
                  </a:extLst>
                </a:gridCol>
                <a:gridCol w="1770966">
                  <a:extLst>
                    <a:ext uri="{9D8B030D-6E8A-4147-A177-3AD203B41FA5}">
                      <a16:colId xmlns:a16="http://schemas.microsoft.com/office/drawing/2014/main" val="3514634285"/>
                    </a:ext>
                  </a:extLst>
                </a:gridCol>
                <a:gridCol w="1866408">
                  <a:extLst>
                    <a:ext uri="{9D8B030D-6E8A-4147-A177-3AD203B41FA5}">
                      <a16:colId xmlns:a16="http://schemas.microsoft.com/office/drawing/2014/main" val="234880003"/>
                    </a:ext>
                  </a:extLst>
                </a:gridCol>
              </a:tblGrid>
              <a:tr h="733937">
                <a:tc gridSpan="2">
                  <a:txBody>
                    <a:bodyPr/>
                    <a:lstStyle/>
                    <a:p>
                      <a:r>
                        <a:rPr lang="en-US" sz="2400" b="1" dirty="0">
                          <a:solidFill>
                            <a:schemeClr val="bg1"/>
                          </a:solidFill>
                        </a:rPr>
                        <a:t>Agent</a:t>
                      </a:r>
                    </a:p>
                  </a:txBody>
                  <a:tcPr>
                    <a:solidFill>
                      <a:schemeClr val="tx2"/>
                    </a:solidFill>
                  </a:tcPr>
                </a:tc>
                <a:tc hMerge="1">
                  <a:txBody>
                    <a:bodyPr/>
                    <a:lstStyle/>
                    <a:p>
                      <a:endParaRPr lang="en-US"/>
                    </a:p>
                  </a:txBody>
                  <a:tcPr/>
                </a:tc>
                <a:tc>
                  <a:txBody>
                    <a:bodyPr/>
                    <a:lstStyle/>
                    <a:p>
                      <a:pPr algn="ctr"/>
                      <a:r>
                        <a:rPr lang="en-US" sz="2400" b="1" dirty="0">
                          <a:solidFill>
                            <a:schemeClr val="bg1"/>
                          </a:solidFill>
                        </a:rPr>
                        <a:t>Grade ≥ 3 Infections</a:t>
                      </a:r>
                    </a:p>
                  </a:txBody>
                  <a:tcPr>
                    <a:solidFill>
                      <a:schemeClr val="tx2"/>
                    </a:solidFill>
                  </a:tcPr>
                </a:tc>
                <a:tc>
                  <a:txBody>
                    <a:bodyPr/>
                    <a:lstStyle/>
                    <a:p>
                      <a:pPr algn="ctr"/>
                      <a:r>
                        <a:rPr lang="en-US" sz="2400" b="1" dirty="0">
                          <a:solidFill>
                            <a:schemeClr val="bg1"/>
                          </a:solidFill>
                        </a:rPr>
                        <a:t>Grade 5 Infections</a:t>
                      </a:r>
                    </a:p>
                  </a:txBody>
                  <a:tcPr>
                    <a:solidFill>
                      <a:schemeClr val="tx2"/>
                    </a:solidFill>
                  </a:tcPr>
                </a:tc>
                <a:tc>
                  <a:txBody>
                    <a:bodyPr/>
                    <a:lstStyle/>
                    <a:p>
                      <a:pPr algn="ctr"/>
                      <a:r>
                        <a:rPr lang="en-US" sz="2400" b="1" dirty="0">
                          <a:solidFill>
                            <a:schemeClr val="bg1"/>
                          </a:solidFill>
                        </a:rPr>
                        <a:t>Grade ≥ 3 </a:t>
                      </a:r>
                      <a:br>
                        <a:rPr lang="en-US" sz="2400" b="1" dirty="0">
                          <a:solidFill>
                            <a:schemeClr val="bg1"/>
                          </a:solidFill>
                        </a:rPr>
                      </a:br>
                      <a:r>
                        <a:rPr lang="en-US" sz="2400" b="1" dirty="0">
                          <a:solidFill>
                            <a:schemeClr val="bg1"/>
                          </a:solidFill>
                        </a:rPr>
                        <a:t>CRS</a:t>
                      </a:r>
                    </a:p>
                  </a:txBody>
                  <a:tcPr>
                    <a:solidFill>
                      <a:schemeClr val="tx2"/>
                    </a:solidFill>
                  </a:tcPr>
                </a:tc>
                <a:tc>
                  <a:txBody>
                    <a:bodyPr/>
                    <a:lstStyle/>
                    <a:p>
                      <a:pPr algn="ctr"/>
                      <a:r>
                        <a:rPr lang="en-US" sz="2400" b="1" dirty="0">
                          <a:solidFill>
                            <a:schemeClr val="bg1"/>
                          </a:solidFill>
                        </a:rPr>
                        <a:t>Grade ≥ 3 Neutropenia</a:t>
                      </a:r>
                    </a:p>
                  </a:txBody>
                  <a:tcPr>
                    <a:solidFill>
                      <a:schemeClr val="tx2"/>
                    </a:solidFill>
                  </a:tcPr>
                </a:tc>
                <a:extLst>
                  <a:ext uri="{0D108BD9-81ED-4DB2-BD59-A6C34878D82A}">
                    <a16:rowId xmlns:a16="http://schemas.microsoft.com/office/drawing/2014/main" val="3582714524"/>
                  </a:ext>
                </a:extLst>
              </a:tr>
              <a:tr h="1351989">
                <a:tc>
                  <a:txBody>
                    <a:bodyPr/>
                    <a:lstStyle/>
                    <a:p>
                      <a:r>
                        <a:rPr lang="en-US" sz="2400" dirty="0">
                          <a:solidFill>
                            <a:schemeClr val="tx2">
                              <a:lumMod val="50000"/>
                            </a:schemeClr>
                          </a:solidFill>
                        </a:rPr>
                        <a:t>Multiple Myeloma</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2400" dirty="0">
                          <a:solidFill>
                            <a:schemeClr val="tx2">
                              <a:lumMod val="50000"/>
                            </a:schemeClr>
                          </a:solidFill>
                        </a:rPr>
                        <a:t>BCMA target</a:t>
                      </a:r>
                      <a:r>
                        <a:rPr lang="en-US" sz="2400" baseline="30000" dirty="0">
                          <a:solidFill>
                            <a:schemeClr val="tx2">
                              <a:lumMod val="50000"/>
                            </a:schemeClr>
                          </a:solidFill>
                        </a:rPr>
                        <a:t>[1]</a:t>
                      </a:r>
                    </a:p>
                    <a:p>
                      <a:pPr marL="174625" indent="0"/>
                      <a:r>
                        <a:rPr lang="en-US" sz="2400" dirty="0">
                          <a:solidFill>
                            <a:schemeClr val="tx2">
                              <a:lumMod val="50000"/>
                            </a:schemeClr>
                          </a:solidFill>
                        </a:rPr>
                        <a:t>Linvoseltamab</a:t>
                      </a:r>
                    </a:p>
                    <a:p>
                      <a:pPr marL="174625" indent="0"/>
                      <a:r>
                        <a:rPr lang="en-US" sz="2400" dirty="0">
                          <a:solidFill>
                            <a:schemeClr val="tx2">
                              <a:lumMod val="50000"/>
                            </a:schemeClr>
                          </a:solidFill>
                        </a:rPr>
                        <a:t>Elranatamab</a:t>
                      </a:r>
                    </a:p>
                    <a:p>
                      <a:pPr marL="174625" indent="0"/>
                      <a:r>
                        <a:rPr lang="en-US" sz="2400" dirty="0">
                          <a:solidFill>
                            <a:schemeClr val="tx2">
                              <a:lumMod val="50000"/>
                            </a:schemeClr>
                          </a:solidFill>
                        </a:rPr>
                        <a:t>Teclistamab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endParaRPr lang="en-US" sz="2400" dirty="0">
                        <a:solidFill>
                          <a:schemeClr val="tx2">
                            <a:lumMod val="50000"/>
                          </a:schemeClr>
                        </a:solidFill>
                      </a:endParaRPr>
                    </a:p>
                    <a:p>
                      <a:pPr algn="ctr"/>
                      <a:r>
                        <a:rPr lang="en-US" sz="2400" dirty="0">
                          <a:solidFill>
                            <a:schemeClr val="tx2">
                              <a:lumMod val="50000"/>
                            </a:schemeClr>
                          </a:solidFill>
                        </a:rPr>
                        <a:t>29%</a:t>
                      </a:r>
                    </a:p>
                    <a:p>
                      <a:pPr algn="ctr"/>
                      <a:r>
                        <a:rPr lang="en-US" sz="2400" dirty="0">
                          <a:solidFill>
                            <a:schemeClr val="tx2">
                              <a:lumMod val="50000"/>
                            </a:schemeClr>
                          </a:solidFill>
                        </a:rPr>
                        <a:t>32%</a:t>
                      </a:r>
                    </a:p>
                    <a:p>
                      <a:pPr algn="ctr"/>
                      <a:r>
                        <a:rPr lang="en-US" sz="2400" dirty="0">
                          <a:solidFill>
                            <a:schemeClr val="tx2">
                              <a:lumMod val="50000"/>
                            </a:schemeClr>
                          </a:solidFill>
                        </a:rPr>
                        <a:t>4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endParaRPr lang="en-US" sz="2400" dirty="0">
                        <a:solidFill>
                          <a:schemeClr val="tx2">
                            <a:lumMod val="50000"/>
                          </a:schemeClr>
                        </a:solidFill>
                      </a:endParaRPr>
                    </a:p>
                    <a:p>
                      <a:pPr algn="ctr"/>
                      <a:r>
                        <a:rPr lang="en-US" sz="2400" dirty="0">
                          <a:solidFill>
                            <a:schemeClr val="tx2">
                              <a:lumMod val="50000"/>
                            </a:schemeClr>
                          </a:solidFill>
                        </a:rPr>
                        <a:t>4%</a:t>
                      </a:r>
                    </a:p>
                    <a:p>
                      <a:pPr algn="ctr"/>
                      <a:r>
                        <a:rPr lang="en-US" sz="2400" dirty="0">
                          <a:solidFill>
                            <a:schemeClr val="tx2">
                              <a:lumMod val="50000"/>
                            </a:schemeClr>
                          </a:solidFill>
                        </a:rPr>
                        <a:t>5%</a:t>
                      </a:r>
                    </a:p>
                    <a:p>
                      <a:pPr algn="ctr"/>
                      <a:r>
                        <a:rPr lang="en-US" sz="2400" dirty="0">
                          <a:solidFill>
                            <a:schemeClr val="tx2">
                              <a:lumMod val="50000"/>
                            </a:schemeClr>
                          </a:solidFill>
                        </a:rPr>
                        <a:t>1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endParaRPr lang="en-US" sz="2400" dirty="0">
                        <a:solidFill>
                          <a:schemeClr val="tx2">
                            <a:lumMod val="50000"/>
                          </a:schemeClr>
                        </a:solidFill>
                      </a:endParaRPr>
                    </a:p>
                    <a:p>
                      <a:pPr algn="ctr"/>
                      <a:r>
                        <a:rPr lang="en-US" sz="2400" dirty="0">
                          <a:solidFill>
                            <a:schemeClr val="tx2">
                              <a:lumMod val="50000"/>
                            </a:schemeClr>
                          </a:solidFill>
                        </a:rPr>
                        <a:t>1%</a:t>
                      </a:r>
                    </a:p>
                    <a:p>
                      <a:pPr algn="ctr"/>
                      <a:r>
                        <a:rPr lang="en-US" sz="2400" dirty="0">
                          <a:solidFill>
                            <a:schemeClr val="tx2">
                              <a:lumMod val="50000"/>
                            </a:schemeClr>
                          </a:solidFill>
                        </a:rPr>
                        <a:t>0</a:t>
                      </a:r>
                    </a:p>
                    <a:p>
                      <a:pPr algn="ctr"/>
                      <a:r>
                        <a:rPr lang="en-US" sz="2400" dirty="0">
                          <a:solidFill>
                            <a:schemeClr val="tx2">
                              <a:lumMod val="50000"/>
                            </a:schemeClr>
                          </a:solidFill>
                        </a:rPr>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endParaRPr lang="en-US" sz="2400" dirty="0">
                        <a:solidFill>
                          <a:schemeClr val="tx2">
                            <a:lumMod val="50000"/>
                          </a:schemeClr>
                        </a:solidFill>
                      </a:endParaRPr>
                    </a:p>
                    <a:p>
                      <a:pPr algn="ctr"/>
                      <a:r>
                        <a:rPr lang="en-US" sz="2400" dirty="0">
                          <a:solidFill>
                            <a:schemeClr val="tx2">
                              <a:lumMod val="50000"/>
                            </a:schemeClr>
                          </a:solidFill>
                        </a:rPr>
                        <a:t>23%</a:t>
                      </a:r>
                    </a:p>
                    <a:p>
                      <a:pPr algn="ctr"/>
                      <a:r>
                        <a:rPr lang="en-US" sz="2400" dirty="0">
                          <a:solidFill>
                            <a:schemeClr val="tx2">
                              <a:lumMod val="50000"/>
                            </a:schemeClr>
                          </a:solidFill>
                        </a:rPr>
                        <a:t>48%</a:t>
                      </a:r>
                    </a:p>
                    <a:p>
                      <a:pPr algn="ctr"/>
                      <a:r>
                        <a:rPr lang="en-US" sz="2400" dirty="0">
                          <a:solidFill>
                            <a:schemeClr val="tx2">
                              <a:lumMod val="50000"/>
                            </a:schemeClr>
                          </a:solidFill>
                        </a:rPr>
                        <a:t>64%</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21813337"/>
                  </a:ext>
                </a:extLst>
              </a:tr>
              <a:tr h="733937">
                <a:tc>
                  <a:txBody>
                    <a:bodyPr/>
                    <a:lstStyle/>
                    <a:p>
                      <a:r>
                        <a:rPr lang="en-US" sz="2400" dirty="0">
                          <a:solidFill>
                            <a:schemeClr val="tx2">
                              <a:lumMod val="50000"/>
                            </a:schemeClr>
                          </a:solidFill>
                        </a:rPr>
                        <a:t>Multiple Myeloma</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2400" dirty="0">
                          <a:solidFill>
                            <a:schemeClr val="tx2">
                              <a:lumMod val="50000"/>
                            </a:schemeClr>
                          </a:solidFill>
                        </a:rPr>
                        <a:t>Non-BCMA target</a:t>
                      </a:r>
                      <a:r>
                        <a:rPr lang="en-US" sz="2400" baseline="30000" dirty="0">
                          <a:solidFill>
                            <a:schemeClr val="tx2">
                              <a:lumMod val="50000"/>
                            </a:schemeClr>
                          </a:solidFill>
                        </a:rPr>
                        <a:t>[1]</a:t>
                      </a:r>
                    </a:p>
                    <a:p>
                      <a:r>
                        <a:rPr lang="en-US" sz="2400" dirty="0">
                          <a:solidFill>
                            <a:schemeClr val="tx2">
                              <a:lumMod val="50000"/>
                            </a:schemeClr>
                          </a:solidFill>
                        </a:rPr>
                        <a:t>(talquetama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2400" dirty="0">
                          <a:solidFill>
                            <a:schemeClr val="tx2">
                              <a:lumMod val="50000"/>
                            </a:schemeClr>
                          </a:solidFill>
                        </a:rPr>
                        <a:t>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2400" dirty="0">
                          <a:solidFill>
                            <a:schemeClr val="tx2">
                              <a:lumMod val="50000"/>
                            </a:schemeClr>
                          </a:solidFill>
                        </a:rPr>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2400" dirty="0">
                          <a:solidFill>
                            <a:schemeClr val="tx2">
                              <a:lumMod val="50000"/>
                            </a:schemeClr>
                          </a:solidFill>
                        </a:rPr>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2400" dirty="0">
                          <a:solidFill>
                            <a:schemeClr val="tx2">
                              <a:lumMod val="50000"/>
                            </a:schemeClr>
                          </a:solidFill>
                        </a:rPr>
                        <a:t>37%</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97030591"/>
                  </a:ext>
                </a:extLst>
              </a:tr>
              <a:tr h="685789">
                <a:tc>
                  <a:txBody>
                    <a:bodyPr/>
                    <a:lstStyle/>
                    <a:p>
                      <a:r>
                        <a:rPr lang="en-US" sz="2400" b="1" dirty="0">
                          <a:solidFill>
                            <a:schemeClr val="tx2">
                              <a:lumMod val="50000"/>
                            </a:schemeClr>
                          </a:solidFill>
                        </a:rPr>
                        <a:t>Lymphoma</a:t>
                      </a:r>
                      <a:endParaRPr lang="en-US" sz="2400" b="1" baseline="30000" dirty="0">
                        <a:solidFill>
                          <a:schemeClr val="tx2">
                            <a:lumMod val="50000"/>
                          </a:schemeClr>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noProof="0" dirty="0" err="1">
                          <a:ln>
                            <a:noFill/>
                          </a:ln>
                          <a:solidFill>
                            <a:schemeClr val="tx2">
                              <a:lumMod val="50000"/>
                            </a:schemeClr>
                          </a:solidFill>
                          <a:effectLst/>
                          <a:uLnTx/>
                          <a:uFillTx/>
                        </a:rPr>
                        <a:t>Mosunetuzumab</a:t>
                      </a:r>
                      <a:r>
                        <a:rPr kumimoji="0" lang="en-US" sz="2400" b="1" u="none" strike="noStrike" kern="1200" cap="none" spc="0" normalizeH="0" baseline="30000" noProof="0" dirty="0">
                          <a:ln>
                            <a:noFill/>
                          </a:ln>
                          <a:solidFill>
                            <a:schemeClr val="tx2">
                              <a:lumMod val="50000"/>
                            </a:schemeClr>
                          </a:solidFill>
                          <a:effectLst/>
                          <a:uLnTx/>
                          <a:uFillTx/>
                        </a:rPr>
                        <a:t>[2]</a:t>
                      </a:r>
                      <a:endParaRPr kumimoji="0" lang="en-US" sz="2400" b="1" i="0" u="none" strike="noStrike" kern="1200" cap="none" spc="0" normalizeH="0" baseline="30000" noProof="0" dirty="0">
                        <a:ln>
                          <a:noFill/>
                        </a:ln>
                        <a:solidFill>
                          <a:schemeClr val="tx2">
                            <a:lumMod val="50000"/>
                          </a:schemeClr>
                        </a:solidFill>
                        <a:effectLst/>
                        <a:uLnTx/>
                        <a:uFillTx/>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400" b="1" dirty="0">
                          <a:solidFill>
                            <a:schemeClr val="tx2">
                              <a:lumMod val="50000"/>
                            </a:schemeClr>
                          </a:solidFill>
                        </a:rPr>
                        <a:t>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400" b="0" u="none" strike="noStrike" kern="1200" cap="small" dirty="0">
                          <a:solidFill>
                            <a:schemeClr val="tx1"/>
                          </a:solidFill>
                          <a:effectLst/>
                          <a:latin typeface="+mn-lt"/>
                          <a:ea typeface="+mn-ea"/>
                          <a:cs typeface="+mn-cs"/>
                        </a:rPr>
                        <a:t>–</a:t>
                      </a:r>
                      <a:endParaRPr lang="en-US" sz="2400" b="1" dirty="0">
                        <a:solidFill>
                          <a:schemeClr val="tx2">
                            <a:lumMod val="50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400" b="1" dirty="0">
                          <a:solidFill>
                            <a:schemeClr val="tx2">
                              <a:lumMod val="50000"/>
                            </a:schemeClr>
                          </a:solidFill>
                        </a:rPr>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400" b="1" dirty="0">
                          <a:solidFill>
                            <a:schemeClr val="tx2">
                              <a:lumMod val="50000"/>
                            </a:schemeClr>
                          </a:solidFill>
                        </a:rPr>
                        <a:t>27%</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2897210601"/>
                  </a:ext>
                </a:extLst>
              </a:tr>
              <a:tr h="685789">
                <a:tc>
                  <a:txBody>
                    <a:bodyPr/>
                    <a:lstStyle/>
                    <a:p>
                      <a:r>
                        <a:rPr lang="en-US" sz="2400" b="1" baseline="0" dirty="0">
                          <a:solidFill>
                            <a:schemeClr val="tx2">
                              <a:lumMod val="50000"/>
                            </a:schemeClr>
                          </a:solidFill>
                        </a:rPr>
                        <a:t>Lymphoma</a:t>
                      </a:r>
                      <a:endParaRPr lang="en-US" sz="2400" b="1" baseline="30000" dirty="0">
                        <a:solidFill>
                          <a:schemeClr val="tx2">
                            <a:lumMod val="50000"/>
                          </a:schemeClr>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noProof="0" dirty="0" err="1">
                          <a:ln>
                            <a:noFill/>
                          </a:ln>
                          <a:solidFill>
                            <a:schemeClr val="tx2">
                              <a:lumMod val="50000"/>
                            </a:schemeClr>
                          </a:solidFill>
                          <a:effectLst/>
                          <a:uLnTx/>
                          <a:uFillTx/>
                        </a:rPr>
                        <a:t>Epcoritamab</a:t>
                      </a:r>
                      <a:r>
                        <a:rPr kumimoji="0" lang="en-US" sz="2400" b="1" u="none" strike="noStrike" kern="1200" cap="none" spc="0" normalizeH="0" baseline="30000" noProof="0" dirty="0">
                          <a:ln>
                            <a:noFill/>
                          </a:ln>
                          <a:solidFill>
                            <a:schemeClr val="tx2">
                              <a:lumMod val="50000"/>
                            </a:schemeClr>
                          </a:solidFill>
                          <a:effectLst/>
                          <a:uLnTx/>
                          <a:uFillTx/>
                        </a:rPr>
                        <a:t>[3]</a:t>
                      </a:r>
                      <a:endParaRPr kumimoji="0" lang="en-US" sz="2400" b="1" i="0" u="none" strike="noStrike" kern="1200" cap="none" spc="0" normalizeH="0" baseline="30000" noProof="0" dirty="0">
                        <a:ln>
                          <a:noFill/>
                        </a:ln>
                        <a:solidFill>
                          <a:schemeClr val="tx2">
                            <a:lumMod val="50000"/>
                          </a:schemeClr>
                        </a:solidFill>
                        <a:effectLst/>
                        <a:uLnTx/>
                        <a:uFillTx/>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FF00"/>
                    </a:solidFill>
                  </a:tcPr>
                </a:tc>
                <a:tc>
                  <a:txBody>
                    <a:bodyPr/>
                    <a:lstStyle/>
                    <a:p>
                      <a:pPr algn="ctr"/>
                      <a:r>
                        <a:rPr lang="en-US" sz="2400" b="1" baseline="0" dirty="0">
                          <a:solidFill>
                            <a:schemeClr val="tx2">
                              <a:lumMod val="50000"/>
                            </a:schemeClr>
                          </a:solidFill>
                        </a:rPr>
                        <a:t>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FF00"/>
                    </a:solidFill>
                  </a:tcPr>
                </a:tc>
                <a:tc>
                  <a:txBody>
                    <a:bodyPr/>
                    <a:lstStyle/>
                    <a:p>
                      <a:pPr algn="ctr"/>
                      <a:r>
                        <a:rPr lang="en-US" sz="2400" b="0" u="none" strike="noStrike" kern="1200" cap="small" dirty="0">
                          <a:solidFill>
                            <a:schemeClr val="tx1"/>
                          </a:solidFill>
                          <a:effectLst/>
                          <a:latin typeface="+mn-lt"/>
                          <a:ea typeface="+mn-ea"/>
                          <a:cs typeface="+mn-cs"/>
                        </a:rPr>
                        <a:t>–</a:t>
                      </a:r>
                      <a:endParaRPr lang="en-US" sz="2400" b="1" baseline="0" dirty="0">
                        <a:solidFill>
                          <a:schemeClr val="tx2">
                            <a:lumMod val="50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FF00"/>
                    </a:solidFill>
                  </a:tcPr>
                </a:tc>
                <a:tc>
                  <a:txBody>
                    <a:bodyPr/>
                    <a:lstStyle/>
                    <a:p>
                      <a:pPr algn="ctr"/>
                      <a:r>
                        <a:rPr lang="en-US" sz="2400" b="1" baseline="0" dirty="0">
                          <a:solidFill>
                            <a:schemeClr val="tx2">
                              <a:lumMod val="50000"/>
                            </a:schemeClr>
                          </a:solidFill>
                        </a:rPr>
                        <a:t>2.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FF00"/>
                    </a:solidFill>
                  </a:tcPr>
                </a:tc>
                <a:tc>
                  <a:txBody>
                    <a:bodyPr/>
                    <a:lstStyle/>
                    <a:p>
                      <a:pPr algn="ctr"/>
                      <a:r>
                        <a:rPr lang="en-US" sz="2400" b="1" baseline="0" dirty="0">
                          <a:solidFill>
                            <a:schemeClr val="tx2">
                              <a:lumMod val="50000"/>
                            </a:schemeClr>
                          </a:solidFill>
                        </a:rPr>
                        <a:t>14.6%</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FFF00"/>
                    </a:solidFill>
                  </a:tcPr>
                </a:tc>
                <a:extLst>
                  <a:ext uri="{0D108BD9-81ED-4DB2-BD59-A6C34878D82A}">
                    <a16:rowId xmlns:a16="http://schemas.microsoft.com/office/drawing/2014/main" val="2032754318"/>
                  </a:ext>
                </a:extLst>
              </a:tr>
            </a:tbl>
          </a:graphicData>
        </a:graphic>
      </p:graphicFrame>
    </p:spTree>
    <p:extLst>
      <p:ext uri="{BB962C8B-B14F-4D97-AF65-F5344CB8AC3E}">
        <p14:creationId xmlns:p14="http://schemas.microsoft.com/office/powerpoint/2010/main" val="390289750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F47F99B-032E-B07A-6F60-4B6381EDB38B}"/>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t="18503" r="31241" b="11964"/>
          <a:stretch>
            <a:fillRect/>
          </a:stretch>
        </p:blipFill>
        <p:spPr>
          <a:xfrm>
            <a:off x="1974115" y="599951"/>
            <a:ext cx="8046706" cy="6134100"/>
          </a:xfrm>
          <a:prstGeom prst="rect">
            <a:avLst/>
          </a:prstGeom>
          <a:effectLst>
            <a:softEdge rad="63500"/>
          </a:effectLst>
        </p:spPr>
      </p:pic>
      <p:sp>
        <p:nvSpPr>
          <p:cNvPr id="4" name="Rectangle: Rounded Corners 3">
            <a:extLst>
              <a:ext uri="{FF2B5EF4-FFF2-40B4-BE49-F238E27FC236}">
                <a16:creationId xmlns:a16="http://schemas.microsoft.com/office/drawing/2014/main" id="{1EEB9201-30B1-0E70-7A40-DFB48AC3DE64}"/>
              </a:ext>
            </a:extLst>
          </p:cNvPr>
          <p:cNvSpPr/>
          <p:nvPr/>
        </p:nvSpPr>
        <p:spPr>
          <a:xfrm>
            <a:off x="6927241" y="5784415"/>
            <a:ext cx="2642992" cy="883085"/>
          </a:xfrm>
          <a:prstGeom prst="roundRect">
            <a:avLst/>
          </a:prstGeom>
          <a:solidFill>
            <a:srgbClr val="EDF3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Subtitle 2"/>
          <p:cNvSpPr txBox="1">
            <a:spLocks/>
          </p:cNvSpPr>
          <p:nvPr/>
        </p:nvSpPr>
        <p:spPr>
          <a:xfrm>
            <a:off x="224589" y="123949"/>
            <a:ext cx="11774905" cy="10792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rPr>
              <a:t>Lymphoma Immunotherapy 2026: miraculous advances since 2000</a:t>
            </a:r>
          </a:p>
        </p:txBody>
      </p:sp>
    </p:spTree>
    <p:extLst>
      <p:ext uri="{BB962C8B-B14F-4D97-AF65-F5344CB8AC3E}">
        <p14:creationId xmlns:p14="http://schemas.microsoft.com/office/powerpoint/2010/main" val="6024160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3E6238-E216-F381-D1B0-E9479F79A51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4C85CE0-0F55-F0B0-BFA3-FBDF40183B81}"/>
              </a:ext>
            </a:extLst>
          </p:cNvPr>
          <p:cNvSpPr>
            <a:spLocks noGrp="1"/>
          </p:cNvSpPr>
          <p:nvPr>
            <p:ph type="title"/>
          </p:nvPr>
        </p:nvSpPr>
        <p:spPr>
          <a:xfrm>
            <a:off x="912286" y="83793"/>
            <a:ext cx="10358967" cy="1143000"/>
          </a:xfrm>
        </p:spPr>
        <p:txBody>
          <a:bodyPr/>
          <a:lstStyle/>
          <a:p>
            <a:r>
              <a:rPr lang="en-US" sz="3600" dirty="0"/>
              <a:t>Discussion Questions</a:t>
            </a:r>
          </a:p>
        </p:txBody>
      </p:sp>
      <p:sp>
        <p:nvSpPr>
          <p:cNvPr id="3" name="Content Placeholder 2">
            <a:extLst>
              <a:ext uri="{FF2B5EF4-FFF2-40B4-BE49-F238E27FC236}">
                <a16:creationId xmlns:a16="http://schemas.microsoft.com/office/drawing/2014/main" id="{C9EB88C1-0404-90E1-DDDF-0EBC8B18BDDD}"/>
              </a:ext>
            </a:extLst>
          </p:cNvPr>
          <p:cNvSpPr>
            <a:spLocks noGrp="1"/>
          </p:cNvSpPr>
          <p:nvPr>
            <p:ph idx="1"/>
          </p:nvPr>
        </p:nvSpPr>
        <p:spPr>
          <a:xfrm>
            <a:off x="912287" y="1272833"/>
            <a:ext cx="10358966" cy="4799013"/>
          </a:xfrm>
        </p:spPr>
        <p:txBody>
          <a:bodyPr/>
          <a:lstStyle/>
          <a:p>
            <a:pPr marL="98425" indent="0">
              <a:lnSpc>
                <a:spcPct val="100000"/>
              </a:lnSpc>
              <a:buNone/>
            </a:pPr>
            <a:r>
              <a:rPr lang="en-US" sz="2600" dirty="0">
                <a:solidFill>
                  <a:srgbClr val="171AA2"/>
                </a:solidFill>
              </a:rPr>
              <a:t>71 y/o woman with FL with bulky symptomatic nodal disease</a:t>
            </a:r>
            <a:br>
              <a:rPr lang="en-US" sz="2600" dirty="0">
                <a:solidFill>
                  <a:srgbClr val="171AA2"/>
                </a:solidFill>
              </a:rPr>
            </a:br>
            <a:r>
              <a:rPr lang="en-US" sz="2600" dirty="0">
                <a:solidFill>
                  <a:srgbClr val="171AA2"/>
                </a:solidFill>
              </a:rPr>
              <a:t>PMH: COPD, recurrent respiratory infections  </a:t>
            </a:r>
            <a:br>
              <a:rPr lang="en-US" sz="2600" dirty="0">
                <a:solidFill>
                  <a:srgbClr val="171AA2"/>
                </a:solidFill>
              </a:rPr>
            </a:br>
            <a:r>
              <a:rPr lang="en-US" sz="2600" dirty="0">
                <a:solidFill>
                  <a:srgbClr val="171AA2"/>
                </a:solidFill>
              </a:rPr>
              <a:t>Past treatments include weekly BR and R</a:t>
            </a:r>
            <a:r>
              <a:rPr lang="en-US" sz="2600" baseline="30000" dirty="0">
                <a:solidFill>
                  <a:srgbClr val="171AA2"/>
                </a:solidFill>
              </a:rPr>
              <a:t>2</a:t>
            </a:r>
            <a:br>
              <a:rPr lang="en-US" sz="2600" dirty="0">
                <a:solidFill>
                  <a:srgbClr val="171AA2"/>
                </a:solidFill>
              </a:rPr>
            </a:br>
            <a:r>
              <a:rPr lang="en-US" sz="2600" dirty="0">
                <a:solidFill>
                  <a:srgbClr val="171AA2"/>
                </a:solidFill>
              </a:rPr>
              <a:t>Currently receiving a bispecific antibody with good clinical response </a:t>
            </a:r>
          </a:p>
          <a:p>
            <a:pPr marL="98425" indent="0">
              <a:lnSpc>
                <a:spcPct val="100000"/>
              </a:lnSpc>
              <a:buNone/>
            </a:pPr>
            <a:r>
              <a:rPr lang="en-US" sz="2600" dirty="0"/>
              <a:t>What are the current best practices regarding infection prophylaxis, IVIG replacement and long-term monitoring for patients receiving </a:t>
            </a:r>
            <a:r>
              <a:rPr lang="en-US" sz="2600" dirty="0" err="1"/>
              <a:t>bispecifics</a:t>
            </a:r>
            <a:r>
              <a:rPr lang="en-US" sz="2600" dirty="0"/>
              <a:t> for FL?</a:t>
            </a:r>
          </a:p>
          <a:p>
            <a:pPr marL="98425" indent="0">
              <a:lnSpc>
                <a:spcPct val="100000"/>
              </a:lnSpc>
              <a:buNone/>
            </a:pPr>
            <a:r>
              <a:rPr lang="en-US" sz="2600" dirty="0"/>
              <a:t>For patients with NHL receiving bispecific antibodies, are you recommending prophylactic tocilizumab as is commonly done in multiple myeloma? </a:t>
            </a:r>
          </a:p>
        </p:txBody>
      </p:sp>
    </p:spTree>
    <p:extLst>
      <p:ext uri="{BB962C8B-B14F-4D97-AF65-F5344CB8AC3E}">
        <p14:creationId xmlns:p14="http://schemas.microsoft.com/office/powerpoint/2010/main" val="41361140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5CE133-1FB4-D7F0-ADFC-EE15D0A29EC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0BEE0AE-58BE-FD9D-8684-4634ACD13D63}"/>
              </a:ext>
            </a:extLst>
          </p:cNvPr>
          <p:cNvSpPr>
            <a:spLocks noGrp="1"/>
          </p:cNvSpPr>
          <p:nvPr>
            <p:ph type="title"/>
          </p:nvPr>
        </p:nvSpPr>
        <p:spPr>
          <a:xfrm>
            <a:off x="912286" y="83793"/>
            <a:ext cx="10358967" cy="1143000"/>
          </a:xfrm>
        </p:spPr>
        <p:txBody>
          <a:bodyPr/>
          <a:lstStyle/>
          <a:p>
            <a:r>
              <a:rPr lang="en-US" sz="3600" dirty="0"/>
              <a:t>Discussion Questions</a:t>
            </a:r>
          </a:p>
        </p:txBody>
      </p:sp>
      <p:sp>
        <p:nvSpPr>
          <p:cNvPr id="3" name="Content Placeholder 2">
            <a:extLst>
              <a:ext uri="{FF2B5EF4-FFF2-40B4-BE49-F238E27FC236}">
                <a16:creationId xmlns:a16="http://schemas.microsoft.com/office/drawing/2014/main" id="{5CAA0C4D-A4B2-D9DB-C344-E5B50D4E5B0D}"/>
              </a:ext>
            </a:extLst>
          </p:cNvPr>
          <p:cNvSpPr>
            <a:spLocks noGrp="1"/>
          </p:cNvSpPr>
          <p:nvPr>
            <p:ph idx="1"/>
          </p:nvPr>
        </p:nvSpPr>
        <p:spPr>
          <a:xfrm>
            <a:off x="912287" y="1272833"/>
            <a:ext cx="10358966" cy="4799013"/>
          </a:xfrm>
        </p:spPr>
        <p:txBody>
          <a:bodyPr/>
          <a:lstStyle/>
          <a:p>
            <a:pPr marL="98425" indent="0">
              <a:lnSpc>
                <a:spcPct val="100000"/>
              </a:lnSpc>
              <a:buNone/>
            </a:pPr>
            <a:r>
              <a:rPr lang="en-US" sz="2600" dirty="0">
                <a:solidFill>
                  <a:srgbClr val="171AA2"/>
                </a:solidFill>
              </a:rPr>
              <a:t>72 y/o man with blastoid variant MCL with TP53 mutation</a:t>
            </a:r>
            <a:br>
              <a:rPr lang="en-US" sz="2600" dirty="0">
                <a:solidFill>
                  <a:srgbClr val="171AA2"/>
                </a:solidFill>
              </a:rPr>
            </a:br>
            <a:r>
              <a:rPr lang="en-US" sz="2600" dirty="0">
                <a:solidFill>
                  <a:srgbClr val="171AA2"/>
                </a:solidFill>
              </a:rPr>
              <a:t>R-CHOP/acalabrutinib as initial therapy with almost no response </a:t>
            </a:r>
            <a:br>
              <a:rPr lang="en-US" sz="2600" dirty="0">
                <a:solidFill>
                  <a:srgbClr val="171AA2"/>
                </a:solidFill>
              </a:rPr>
            </a:br>
            <a:r>
              <a:rPr lang="en-US" sz="2600" dirty="0">
                <a:solidFill>
                  <a:srgbClr val="171AA2"/>
                </a:solidFill>
              </a:rPr>
              <a:t>Treated with emergent fractionated cyclophosphamide/rituximab/</a:t>
            </a:r>
            <a:br>
              <a:rPr lang="en-US" sz="2600" dirty="0">
                <a:solidFill>
                  <a:srgbClr val="171AA2"/>
                </a:solidFill>
              </a:rPr>
            </a:br>
            <a:r>
              <a:rPr lang="en-US" sz="2600" dirty="0">
                <a:solidFill>
                  <a:srgbClr val="171AA2"/>
                </a:solidFill>
              </a:rPr>
              <a:t>radiotherapy followed by CAR-T; dramatic CR on PET</a:t>
            </a:r>
            <a:br>
              <a:rPr lang="en-US" sz="2600" dirty="0">
                <a:solidFill>
                  <a:srgbClr val="171AA2"/>
                </a:solidFill>
              </a:rPr>
            </a:br>
            <a:r>
              <a:rPr lang="en-US" sz="2600" dirty="0">
                <a:solidFill>
                  <a:srgbClr val="171AA2"/>
                </a:solidFill>
              </a:rPr>
              <a:t>Patient had grade 2 CRS and grade 1 ICANS </a:t>
            </a:r>
          </a:p>
          <a:p>
            <a:pPr marL="98425" indent="0">
              <a:lnSpc>
                <a:spcPct val="100000"/>
              </a:lnSpc>
              <a:buNone/>
            </a:pPr>
            <a:r>
              <a:rPr lang="en-US" sz="2600" dirty="0"/>
              <a:t>Is there more CRS and/or ICANS with CAR-T in MCL versus DLBCL or FL? </a:t>
            </a:r>
            <a:br>
              <a:rPr lang="en-US" sz="2600" dirty="0"/>
            </a:br>
            <a:r>
              <a:rPr lang="en-US" sz="2600" dirty="0"/>
              <a:t>If so, why? </a:t>
            </a:r>
          </a:p>
          <a:p>
            <a:pPr marL="98425" indent="0">
              <a:lnSpc>
                <a:spcPct val="100000"/>
              </a:lnSpc>
              <a:buNone/>
            </a:pPr>
            <a:r>
              <a:rPr lang="en-US" sz="2600" dirty="0"/>
              <a:t>How should we be monitoring patients with ongoing responses to CAR-T? Is there a time point after which toxicities are highly unlikely to occur?  </a:t>
            </a:r>
          </a:p>
          <a:p>
            <a:pPr marL="98425" indent="0">
              <a:lnSpc>
                <a:spcPct val="100000"/>
              </a:lnSpc>
              <a:buNone/>
            </a:pPr>
            <a:r>
              <a:rPr lang="en-US" sz="2600" dirty="0"/>
              <a:t>Would the experts recommend any type of maintenance therapy post CAR-T, and if so what?</a:t>
            </a:r>
          </a:p>
        </p:txBody>
      </p:sp>
    </p:spTree>
    <p:extLst>
      <p:ext uri="{BB962C8B-B14F-4D97-AF65-F5344CB8AC3E}">
        <p14:creationId xmlns:p14="http://schemas.microsoft.com/office/powerpoint/2010/main" val="35330936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3E6238-E216-F381-D1B0-E9479F79A51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4C85CE0-0F55-F0B0-BFA3-FBDF40183B81}"/>
              </a:ext>
            </a:extLst>
          </p:cNvPr>
          <p:cNvSpPr>
            <a:spLocks noGrp="1"/>
          </p:cNvSpPr>
          <p:nvPr>
            <p:ph type="title"/>
          </p:nvPr>
        </p:nvSpPr>
        <p:spPr>
          <a:xfrm>
            <a:off x="912286" y="83793"/>
            <a:ext cx="10358967" cy="1143000"/>
          </a:xfrm>
        </p:spPr>
        <p:txBody>
          <a:bodyPr/>
          <a:lstStyle/>
          <a:p>
            <a:r>
              <a:rPr lang="en-US" sz="3600" dirty="0"/>
              <a:t>Discussion Questions</a:t>
            </a:r>
          </a:p>
        </p:txBody>
      </p:sp>
      <p:sp>
        <p:nvSpPr>
          <p:cNvPr id="3" name="Content Placeholder 2">
            <a:extLst>
              <a:ext uri="{FF2B5EF4-FFF2-40B4-BE49-F238E27FC236}">
                <a16:creationId xmlns:a16="http://schemas.microsoft.com/office/drawing/2014/main" id="{C9EB88C1-0404-90E1-DDDF-0EBC8B18BDDD}"/>
              </a:ext>
            </a:extLst>
          </p:cNvPr>
          <p:cNvSpPr>
            <a:spLocks noGrp="1"/>
          </p:cNvSpPr>
          <p:nvPr>
            <p:ph idx="1"/>
          </p:nvPr>
        </p:nvSpPr>
        <p:spPr>
          <a:xfrm>
            <a:off x="912287" y="1272833"/>
            <a:ext cx="10038480" cy="4799013"/>
          </a:xfrm>
        </p:spPr>
        <p:txBody>
          <a:bodyPr/>
          <a:lstStyle/>
          <a:p>
            <a:pPr marL="98425" indent="0">
              <a:lnSpc>
                <a:spcPct val="100000"/>
              </a:lnSpc>
              <a:buNone/>
            </a:pPr>
            <a:r>
              <a:rPr lang="en-US" sz="2600" dirty="0">
                <a:solidFill>
                  <a:srgbClr val="171AA2"/>
                </a:solidFill>
              </a:rPr>
              <a:t>50 y/o woman with stage 4, grade 2 FL diagnosed in 2012</a:t>
            </a:r>
            <a:br>
              <a:rPr lang="en-US" sz="2600" dirty="0">
                <a:solidFill>
                  <a:srgbClr val="171AA2"/>
                </a:solidFill>
              </a:rPr>
            </a:br>
            <a:r>
              <a:rPr lang="en-US" sz="2600" dirty="0">
                <a:solidFill>
                  <a:srgbClr val="171AA2"/>
                </a:solidFill>
              </a:rPr>
              <a:t>BR as initial treatment; disease progression at 2 years </a:t>
            </a:r>
            <a:br>
              <a:rPr lang="en-US" sz="2600" dirty="0">
                <a:solidFill>
                  <a:srgbClr val="171AA2"/>
                </a:solidFill>
              </a:rPr>
            </a:br>
            <a:r>
              <a:rPr lang="en-US" sz="2600" dirty="0">
                <a:solidFill>
                  <a:srgbClr val="171AA2"/>
                </a:solidFill>
              </a:rPr>
              <a:t>R-CHOP followed by 2 years of R maintenance as second-line therapy; long-term remission with symptomatic progression in 2023 </a:t>
            </a:r>
            <a:br>
              <a:rPr lang="en-US" sz="2600" dirty="0">
                <a:solidFill>
                  <a:srgbClr val="171AA2"/>
                </a:solidFill>
              </a:rPr>
            </a:br>
            <a:r>
              <a:rPr lang="en-US" sz="2600" dirty="0" err="1">
                <a:solidFill>
                  <a:srgbClr val="171AA2"/>
                </a:solidFill>
              </a:rPr>
              <a:t>Mosunetuzumab</a:t>
            </a:r>
            <a:r>
              <a:rPr lang="en-US" sz="2600" dirty="0">
                <a:solidFill>
                  <a:srgbClr val="171AA2"/>
                </a:solidFill>
              </a:rPr>
              <a:t> as third-line therapy</a:t>
            </a:r>
            <a:br>
              <a:rPr lang="en-US" sz="2600" dirty="0">
                <a:solidFill>
                  <a:srgbClr val="171AA2"/>
                </a:solidFill>
              </a:rPr>
            </a:br>
            <a:r>
              <a:rPr lang="en-US" sz="2600" dirty="0">
                <a:solidFill>
                  <a:srgbClr val="171AA2"/>
                </a:solidFill>
              </a:rPr>
              <a:t>Recurrent admissions for hematuria; cystoscopy shows hemorrhagic cystitis </a:t>
            </a:r>
          </a:p>
          <a:p>
            <a:pPr marL="98425" indent="0">
              <a:lnSpc>
                <a:spcPct val="100000"/>
              </a:lnSpc>
              <a:buNone/>
            </a:pPr>
            <a:r>
              <a:rPr lang="en-US" sz="2600" dirty="0"/>
              <a:t>Is hemorrhagic cystitis associated with </a:t>
            </a:r>
            <a:r>
              <a:rPr lang="en-US" sz="2600" dirty="0" err="1"/>
              <a:t>mosunetuzumab</a:t>
            </a:r>
            <a:r>
              <a:rPr lang="en-US" sz="2600" dirty="0"/>
              <a:t>? </a:t>
            </a:r>
          </a:p>
          <a:p>
            <a:pPr marL="98425" indent="0">
              <a:lnSpc>
                <a:spcPct val="100000"/>
              </a:lnSpc>
              <a:buNone/>
            </a:pPr>
            <a:r>
              <a:rPr lang="en-US" sz="2600" dirty="0"/>
              <a:t>Are there any uncommon toxicities with bispecific antibodies that community-based clinicians should know about? </a:t>
            </a:r>
          </a:p>
        </p:txBody>
      </p:sp>
    </p:spTree>
    <p:extLst>
      <p:ext uri="{BB962C8B-B14F-4D97-AF65-F5344CB8AC3E}">
        <p14:creationId xmlns:p14="http://schemas.microsoft.com/office/powerpoint/2010/main" val="35627856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D46269-097F-E5A0-C66F-308278C45552}"/>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C302A6FD-453E-7C76-0927-FC1A8A794D71}"/>
              </a:ext>
            </a:extLst>
          </p:cNvPr>
          <p:cNvSpPr>
            <a:spLocks noGrp="1" noChangeArrowheads="1"/>
          </p:cNvSpPr>
          <p:nvPr>
            <p:ph type="title"/>
          </p:nvPr>
        </p:nvSpPr>
        <p:spPr>
          <a:xfrm>
            <a:off x="-26623" y="322888"/>
            <a:ext cx="12192000" cy="1143000"/>
          </a:xfrm>
        </p:spPr>
        <p:txBody>
          <a:bodyPr wrap="square" anchor="ctr">
            <a:noAutofit/>
          </a:bodyPr>
          <a:lstStyle/>
          <a:p>
            <a:r>
              <a:rPr lang="en-US" dirty="0"/>
              <a:t>What Clinicians Want to Know: Addressing Community </a:t>
            </a:r>
            <a:br>
              <a:rPr lang="en-US" dirty="0"/>
            </a:br>
            <a:r>
              <a:rPr lang="en-US" dirty="0"/>
              <a:t>Oncologists’ Questions About the Current and Future Role of </a:t>
            </a:r>
            <a:br>
              <a:rPr lang="en-US" dirty="0"/>
            </a:br>
            <a:r>
              <a:rPr lang="en-US" dirty="0"/>
              <a:t>Antibody-Drug Conjugates in the Management of Breast Cancer</a:t>
            </a:r>
          </a:p>
        </p:txBody>
      </p:sp>
      <p:sp>
        <p:nvSpPr>
          <p:cNvPr id="6" name="Text Box 6">
            <a:extLst>
              <a:ext uri="{FF2B5EF4-FFF2-40B4-BE49-F238E27FC236}">
                <a16:creationId xmlns:a16="http://schemas.microsoft.com/office/drawing/2014/main" id="{8F455D45-2CC7-6B98-13EB-3D352F7118D9}"/>
              </a:ext>
            </a:extLst>
          </p:cNvPr>
          <p:cNvSpPr txBox="1">
            <a:spLocks noChangeArrowheads="1"/>
          </p:cNvSpPr>
          <p:nvPr/>
        </p:nvSpPr>
        <p:spPr bwMode="auto">
          <a:xfrm>
            <a:off x="0" y="2198695"/>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onday, June 1,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2" name="Text Box 3">
            <a:extLst>
              <a:ext uri="{FF2B5EF4-FFF2-40B4-BE49-F238E27FC236}">
                <a16:creationId xmlns:a16="http://schemas.microsoft.com/office/drawing/2014/main" id="{2D741AE6-9BD5-DE58-3A1A-A32AC8207E7E}"/>
              </a:ext>
            </a:extLst>
          </p:cNvPr>
          <p:cNvSpPr txBox="1">
            <a:spLocks noChangeArrowheads="1"/>
          </p:cNvSpPr>
          <p:nvPr/>
        </p:nvSpPr>
        <p:spPr bwMode="auto">
          <a:xfrm>
            <a:off x="0" y="5805264"/>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Hope S Rugo, MD</a:t>
            </a:r>
          </a:p>
        </p:txBody>
      </p:sp>
      <p:sp>
        <p:nvSpPr>
          <p:cNvPr id="3" name="Text Box 7">
            <a:extLst>
              <a:ext uri="{FF2B5EF4-FFF2-40B4-BE49-F238E27FC236}">
                <a16:creationId xmlns:a16="http://schemas.microsoft.com/office/drawing/2014/main" id="{82E8C679-5A95-CEE2-6356-70768CAAE8A9}"/>
              </a:ext>
            </a:extLst>
          </p:cNvPr>
          <p:cNvSpPr txBox="1">
            <a:spLocks noChangeArrowheads="1"/>
          </p:cNvSpPr>
          <p:nvPr/>
        </p:nvSpPr>
        <p:spPr bwMode="auto">
          <a:xfrm>
            <a:off x="4647392" y="3213321"/>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C19F8E3F-03FA-A321-0FF8-DA60B569DB02}"/>
              </a:ext>
            </a:extLst>
          </p:cNvPr>
          <p:cNvSpPr txBox="1">
            <a:spLocks noChangeArrowheads="1"/>
          </p:cNvSpPr>
          <p:nvPr/>
        </p:nvSpPr>
        <p:spPr bwMode="auto">
          <a:xfrm>
            <a:off x="152400" y="3767834"/>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ofessor Giuseppe </a:t>
            </a: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Curigliano</a:t>
            </a: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Ph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ebecca A Dent, MD, MSc</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Erika Hamilton, MD </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adia Harbeck, MD, PhD</a:t>
            </a:r>
            <a:endParaRPr kumimoji="0" lang="en-US" altLang="x-none" sz="3200" b="1" i="1" u="none" strike="noStrike" kern="1200" cap="none" spc="0" normalizeH="0" baseline="0" noProof="0" dirty="0">
              <a:ln>
                <a:noFill/>
              </a:ln>
              <a:solidFill>
                <a:srgbClr val="FF40FF"/>
              </a:solidFill>
              <a:effectLst/>
              <a:uLnTx/>
              <a:uFillTx/>
              <a:latin typeface="Calibri" panose="020F0502020204030204" pitchFamily="34" charset="0"/>
              <a:ea typeface="ＭＳ Ｐゴシック" charset="-128"/>
              <a:cs typeface="Calibri" panose="020F0502020204030204" pitchFamily="34" charset="0"/>
            </a:endParaRPr>
          </a:p>
        </p:txBody>
      </p:sp>
      <p:sp>
        <p:nvSpPr>
          <p:cNvPr id="5" name="Rectangle 4">
            <a:extLst>
              <a:ext uri="{FF2B5EF4-FFF2-40B4-BE49-F238E27FC236}">
                <a16:creationId xmlns:a16="http://schemas.microsoft.com/office/drawing/2014/main" id="{402D1646-0F1D-9920-6FBF-752DDC887C08}"/>
              </a:ext>
            </a:extLst>
          </p:cNvPr>
          <p:cNvSpPr txBox="1">
            <a:spLocks noChangeArrowheads="1"/>
          </p:cNvSpPr>
          <p:nvPr/>
        </p:nvSpPr>
        <p:spPr bwMode="auto">
          <a:xfrm>
            <a:off x="0" y="143036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 Symposium Held Adjunct with the 2026 ASCO® Annual Meeting</a:t>
            </a:r>
          </a:p>
        </p:txBody>
      </p:sp>
    </p:spTree>
    <p:custDataLst>
      <p:tags r:id="rId1"/>
    </p:custDataLst>
    <p:extLst>
      <p:ext uri="{BB962C8B-B14F-4D97-AF65-F5344CB8AC3E}">
        <p14:creationId xmlns:p14="http://schemas.microsoft.com/office/powerpoint/2010/main" val="12490321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1F8DBE-637E-AB05-653F-F3B40D0B559E}"/>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8B634D69-85D8-6D79-E886-A40551354C52}"/>
              </a:ext>
            </a:extLst>
          </p:cNvPr>
          <p:cNvSpPr>
            <a:spLocks noGrp="1" noChangeArrowheads="1"/>
          </p:cNvSpPr>
          <p:nvPr>
            <p:ph type="title"/>
          </p:nvPr>
        </p:nvSpPr>
        <p:spPr>
          <a:xfrm>
            <a:off x="-26623" y="322888"/>
            <a:ext cx="12192000" cy="1143000"/>
          </a:xfrm>
        </p:spPr>
        <p:txBody>
          <a:bodyPr wrap="square" anchor="ctr">
            <a:noAutofit/>
          </a:bodyPr>
          <a:lstStyle/>
          <a:p>
            <a:r>
              <a:rPr lang="en-US" dirty="0"/>
              <a:t>Second Opinion: Investigators Provide Perspectives on the Current </a:t>
            </a:r>
            <a:br>
              <a:rPr lang="en-US" dirty="0"/>
            </a:br>
            <a:r>
              <a:rPr lang="en-US" dirty="0"/>
              <a:t>and Future Use of Novel Therapies for Non-Hodgkin Lymphoma</a:t>
            </a:r>
          </a:p>
        </p:txBody>
      </p:sp>
      <p:sp>
        <p:nvSpPr>
          <p:cNvPr id="6" name="Text Box 6">
            <a:extLst>
              <a:ext uri="{FF2B5EF4-FFF2-40B4-BE49-F238E27FC236}">
                <a16:creationId xmlns:a16="http://schemas.microsoft.com/office/drawing/2014/main" id="{CD0EFAB7-27FE-F718-6E8E-12DCA26D53DB}"/>
              </a:ext>
            </a:extLst>
          </p:cNvPr>
          <p:cNvSpPr txBox="1">
            <a:spLocks noChangeArrowheads="1"/>
          </p:cNvSpPr>
          <p:nvPr/>
        </p:nvSpPr>
        <p:spPr bwMode="auto">
          <a:xfrm>
            <a:off x="0" y="2024420"/>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onday, June 1,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2" name="Text Box 3">
            <a:extLst>
              <a:ext uri="{FF2B5EF4-FFF2-40B4-BE49-F238E27FC236}">
                <a16:creationId xmlns:a16="http://schemas.microsoft.com/office/drawing/2014/main" id="{D5AD5BE6-8F3F-EAB2-19FB-C777346F7F12}"/>
              </a:ext>
            </a:extLst>
          </p:cNvPr>
          <p:cNvSpPr txBox="1">
            <a:spLocks noChangeArrowheads="1"/>
          </p:cNvSpPr>
          <p:nvPr/>
        </p:nvSpPr>
        <p:spPr bwMode="auto">
          <a:xfrm>
            <a:off x="0" y="5805264"/>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Brad S Kahl, MD</a:t>
            </a:r>
          </a:p>
        </p:txBody>
      </p:sp>
      <p:sp>
        <p:nvSpPr>
          <p:cNvPr id="3" name="Text Box 7">
            <a:extLst>
              <a:ext uri="{FF2B5EF4-FFF2-40B4-BE49-F238E27FC236}">
                <a16:creationId xmlns:a16="http://schemas.microsoft.com/office/drawing/2014/main" id="{D9F9DFC5-A227-73C8-AAC8-12E550F6B7C6}"/>
              </a:ext>
            </a:extLst>
          </p:cNvPr>
          <p:cNvSpPr txBox="1">
            <a:spLocks noChangeArrowheads="1"/>
          </p:cNvSpPr>
          <p:nvPr/>
        </p:nvSpPr>
        <p:spPr bwMode="auto">
          <a:xfrm>
            <a:off x="4647392" y="3339754"/>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4703C58F-1032-EE7A-EF10-C2864C87EB7C}"/>
              </a:ext>
            </a:extLst>
          </p:cNvPr>
          <p:cNvSpPr txBox="1">
            <a:spLocks noChangeArrowheads="1"/>
          </p:cNvSpPr>
          <p:nvPr/>
        </p:nvSpPr>
        <p:spPr bwMode="auto">
          <a:xfrm>
            <a:off x="152400" y="3894267"/>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Christopher Flowers, MD, MS, FASCO </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atthew Lunning, DO </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onali M Smith, MD</a:t>
            </a:r>
            <a:endParaRPr kumimoji="0" lang="en-US" altLang="x-none" sz="3200" b="1" i="1" u="none" strike="noStrike" kern="1200" cap="none" spc="0" normalizeH="0" baseline="0" noProof="0" dirty="0">
              <a:ln>
                <a:noFill/>
              </a:ln>
              <a:solidFill>
                <a:srgbClr val="FF40FF"/>
              </a:solidFill>
              <a:effectLst/>
              <a:uLnTx/>
              <a:uFillTx/>
              <a:latin typeface="Calibri" panose="020F0502020204030204" pitchFamily="34" charset="0"/>
              <a:ea typeface="ＭＳ Ｐゴシック" charset="-128"/>
              <a:cs typeface="Calibri" panose="020F0502020204030204" pitchFamily="34" charset="0"/>
            </a:endParaRPr>
          </a:p>
        </p:txBody>
      </p:sp>
      <p:sp>
        <p:nvSpPr>
          <p:cNvPr id="5" name="Rectangle 4">
            <a:extLst>
              <a:ext uri="{FF2B5EF4-FFF2-40B4-BE49-F238E27FC236}">
                <a16:creationId xmlns:a16="http://schemas.microsoft.com/office/drawing/2014/main" id="{9DA425B4-603A-E4B9-5FDB-7F4454454E60}"/>
              </a:ext>
            </a:extLst>
          </p:cNvPr>
          <p:cNvSpPr txBox="1">
            <a:spLocks noChangeArrowheads="1"/>
          </p:cNvSpPr>
          <p:nvPr/>
        </p:nvSpPr>
        <p:spPr bwMode="auto">
          <a:xfrm>
            <a:off x="0" y="1244049"/>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 Symposium Held Adjunct with the 2026 ASCO® Annual Meeting</a:t>
            </a:r>
          </a:p>
        </p:txBody>
      </p:sp>
    </p:spTree>
    <p:custDataLst>
      <p:tags r:id="rId1"/>
    </p:custDataLst>
    <p:extLst>
      <p:ext uri="{BB962C8B-B14F-4D97-AF65-F5344CB8AC3E}">
        <p14:creationId xmlns:p14="http://schemas.microsoft.com/office/powerpoint/2010/main" val="29316273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A02DCEC-9501-6044-836E-5954A9F44F5C}"/>
              </a:ext>
            </a:extLst>
          </p:cNvPr>
          <p:cNvPicPr>
            <a:picLocks noChangeAspect="1"/>
          </p:cNvPicPr>
          <p:nvPr/>
        </p:nvPicPr>
        <p:blipFill>
          <a:blip r:embed="rId3">
            <a:extLst>
              <a:ext uri="{28A0092B-C50C-407E-A947-70E740481C1C}">
                <a14:useLocalDpi xmlns:a14="http://schemas.microsoft.com/office/drawing/2010/main" val="0"/>
              </a:ext>
            </a:extLst>
          </a:blip>
          <a:srcRect t="1411" b="1411"/>
          <a:stretch/>
        </p:blipFill>
        <p:spPr>
          <a:xfrm>
            <a:off x="3166791" y="177578"/>
            <a:ext cx="5858418" cy="6502844"/>
          </a:xfrm>
          <a:prstGeom prst="rect">
            <a:avLst/>
          </a:prstGeom>
          <a:effectLst>
            <a:glow rad="190500">
              <a:schemeClr val="bg2">
                <a:alpha val="20000"/>
              </a:schemeClr>
            </a:glow>
          </a:effectLst>
        </p:spPr>
      </p:pic>
    </p:spTree>
    <p:extLst>
      <p:ext uri="{BB962C8B-B14F-4D97-AF65-F5344CB8AC3E}">
        <p14:creationId xmlns:p14="http://schemas.microsoft.com/office/powerpoint/2010/main" val="7191603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94BFD7-DF3E-42E5-80EE-76503C00CAF7}"/>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9E83BDF-3A84-4E42-96A9-69530DE4C087}"/>
              </a:ext>
            </a:extLst>
          </p:cNvPr>
          <p:cNvSpPr>
            <a:spLocks noGrp="1" noChangeArrowheads="1"/>
          </p:cNvSpPr>
          <p:nvPr>
            <p:ph type="title"/>
          </p:nvPr>
        </p:nvSpPr>
        <p:spPr>
          <a:xfrm>
            <a:off x="-26623" y="543297"/>
            <a:ext cx="12192000" cy="1143000"/>
          </a:xfrm>
        </p:spPr>
        <p:txBody>
          <a:bodyPr wrap="square" anchor="ctr">
            <a:noAutofit/>
          </a:bodyPr>
          <a:lstStyle/>
          <a:p>
            <a:r>
              <a:rPr lang="en-US" dirty="0"/>
              <a:t>Consensus or Controversy? Documenting </a:t>
            </a:r>
            <a:br>
              <a:rPr lang="en-US" dirty="0"/>
            </a:br>
            <a:r>
              <a:rPr lang="en-US" dirty="0"/>
              <a:t>and Discussing Investigators’ Approaches to the</a:t>
            </a:r>
            <a:br>
              <a:rPr lang="en-US" dirty="0"/>
            </a:br>
            <a:r>
              <a:rPr lang="en-US" dirty="0"/>
              <a:t> Management of Relapsed/Refractory Multiple Myeloma</a:t>
            </a:r>
          </a:p>
        </p:txBody>
      </p:sp>
      <p:sp>
        <p:nvSpPr>
          <p:cNvPr id="6" name="Text Box 6">
            <a:extLst>
              <a:ext uri="{FF2B5EF4-FFF2-40B4-BE49-F238E27FC236}">
                <a16:creationId xmlns:a16="http://schemas.microsoft.com/office/drawing/2014/main" id="{C7787B40-72EA-CB1F-883B-332FEB9A5E66}"/>
              </a:ext>
            </a:extLst>
          </p:cNvPr>
          <p:cNvSpPr txBox="1">
            <a:spLocks noChangeArrowheads="1"/>
          </p:cNvSpPr>
          <p:nvPr/>
        </p:nvSpPr>
        <p:spPr bwMode="auto">
          <a:xfrm>
            <a:off x="0" y="2342711"/>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onday, June 1,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2" name="Text Box 3">
            <a:extLst>
              <a:ext uri="{FF2B5EF4-FFF2-40B4-BE49-F238E27FC236}">
                <a16:creationId xmlns:a16="http://schemas.microsoft.com/office/drawing/2014/main" id="{DEA80F78-6CE0-BF25-0AC0-84092E688678}"/>
              </a:ext>
            </a:extLst>
          </p:cNvPr>
          <p:cNvSpPr txBox="1">
            <a:spLocks noChangeArrowheads="1"/>
          </p:cNvSpPr>
          <p:nvPr/>
        </p:nvSpPr>
        <p:spPr bwMode="auto">
          <a:xfrm>
            <a:off x="0" y="5517232"/>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gar </a:t>
            </a: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onial</a:t>
            </a: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FACP, FASCO</a:t>
            </a:r>
          </a:p>
        </p:txBody>
      </p:sp>
      <p:sp>
        <p:nvSpPr>
          <p:cNvPr id="3" name="Text Box 7">
            <a:extLst>
              <a:ext uri="{FF2B5EF4-FFF2-40B4-BE49-F238E27FC236}">
                <a16:creationId xmlns:a16="http://schemas.microsoft.com/office/drawing/2014/main" id="{D6570312-A60C-9FC7-B1F7-CA2C60CC030A}"/>
              </a:ext>
            </a:extLst>
          </p:cNvPr>
          <p:cNvSpPr txBox="1">
            <a:spLocks noChangeArrowheads="1"/>
          </p:cNvSpPr>
          <p:nvPr/>
        </p:nvSpPr>
        <p:spPr bwMode="auto">
          <a:xfrm>
            <a:off x="4647392" y="3339754"/>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D1280D17-C3E0-CADA-AFFF-F378EC26282E}"/>
              </a:ext>
            </a:extLst>
          </p:cNvPr>
          <p:cNvSpPr txBox="1">
            <a:spLocks noChangeArrowheads="1"/>
          </p:cNvSpPr>
          <p:nvPr/>
        </p:nvSpPr>
        <p:spPr bwMode="auto">
          <a:xfrm>
            <a:off x="152400" y="3894267"/>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elissa Alsina,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Hans Lee,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aul G Richardson, MD</a:t>
            </a:r>
            <a:endParaRPr kumimoji="0" lang="en-US" altLang="x-none" sz="3200" b="1" i="1" u="none" strike="noStrike" kern="1200" cap="none" spc="0" normalizeH="0" baseline="0" noProof="0" dirty="0">
              <a:ln>
                <a:noFill/>
              </a:ln>
              <a:solidFill>
                <a:srgbClr val="FF40FF"/>
              </a:solidFill>
              <a:effectLst/>
              <a:uLnTx/>
              <a:uFillTx/>
              <a:latin typeface="Calibri" panose="020F0502020204030204" pitchFamily="34" charset="0"/>
              <a:ea typeface="ＭＳ Ｐゴシック" charset="-128"/>
              <a:cs typeface="Calibri" panose="020F0502020204030204" pitchFamily="34" charset="0"/>
            </a:endParaRPr>
          </a:p>
        </p:txBody>
      </p:sp>
      <p:sp>
        <p:nvSpPr>
          <p:cNvPr id="5" name="Rectangle 4">
            <a:extLst>
              <a:ext uri="{FF2B5EF4-FFF2-40B4-BE49-F238E27FC236}">
                <a16:creationId xmlns:a16="http://schemas.microsoft.com/office/drawing/2014/main" id="{14E66FD8-4425-A208-E3B1-46B0557DD7AF}"/>
              </a:ext>
            </a:extLst>
          </p:cNvPr>
          <p:cNvSpPr txBox="1">
            <a:spLocks noChangeArrowheads="1"/>
          </p:cNvSpPr>
          <p:nvPr/>
        </p:nvSpPr>
        <p:spPr bwMode="auto">
          <a:xfrm>
            <a:off x="0" y="1645716"/>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 Symposium Held Adjunct with the 2026 ASCO® Annual Meeting</a:t>
            </a:r>
          </a:p>
        </p:txBody>
      </p:sp>
    </p:spTree>
    <p:custDataLst>
      <p:tags r:id="rId1"/>
    </p:custDataLst>
    <p:extLst>
      <p:ext uri="{BB962C8B-B14F-4D97-AF65-F5344CB8AC3E}">
        <p14:creationId xmlns:p14="http://schemas.microsoft.com/office/powerpoint/2010/main" val="5126622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916517" y="2857500"/>
            <a:ext cx="10358967" cy="1143000"/>
          </a:xfrm>
        </p:spPr>
        <p:txBody>
          <a:bodyPr/>
          <a:lstStyle/>
          <a:p>
            <a:pPr>
              <a:lnSpc>
                <a:spcPct val="100000"/>
              </a:lnSpc>
            </a:pPr>
            <a:r>
              <a:rPr lang="en-US" sz="2900" dirty="0"/>
              <a:t>Thank you for joining us!</a:t>
            </a:r>
            <a:br>
              <a:rPr lang="en-US" sz="2900" dirty="0"/>
            </a:br>
            <a:r>
              <a:rPr lang="en-US" sz="2900" dirty="0"/>
              <a:t>Your feedback is very important to us. </a:t>
            </a:r>
            <a:br>
              <a:rPr lang="en-US" sz="2900" dirty="0"/>
            </a:br>
            <a:br>
              <a:rPr lang="en-US" sz="2900" dirty="0"/>
            </a:br>
            <a:r>
              <a:rPr lang="en-US" sz="2900" dirty="0"/>
              <a:t>Please complete the survey currently up on the iPads</a:t>
            </a:r>
            <a:br>
              <a:rPr lang="en-US" sz="2900" dirty="0"/>
            </a:br>
            <a:r>
              <a:rPr lang="en-US" sz="2900" dirty="0"/>
              <a:t>for attendees in the room and on Zoom for</a:t>
            </a:r>
            <a:br>
              <a:rPr lang="en-US" sz="2900" dirty="0"/>
            </a:br>
            <a:r>
              <a:rPr lang="en-US" sz="2900" dirty="0"/>
              <a:t>those attending virtually. The survey will remain open</a:t>
            </a:r>
            <a:br>
              <a:rPr lang="en-US" sz="2900" dirty="0"/>
            </a:br>
            <a:r>
              <a:rPr lang="en-US" sz="2900" dirty="0"/>
              <a:t>up to 5 minutes after the meeting ends.</a:t>
            </a:r>
            <a:r>
              <a:rPr lang="en-US" sz="2900" i="1" dirty="0"/>
              <a:t> </a:t>
            </a:r>
            <a:br>
              <a:rPr lang="en-US" sz="2900" i="1" dirty="0"/>
            </a:br>
            <a:br>
              <a:rPr lang="en-US" sz="2900" i="1" dirty="0"/>
            </a:br>
            <a:r>
              <a:rPr lang="en-US" sz="2900" i="1" u="sng" dirty="0"/>
              <a:t>How to Obtain CME Credit</a:t>
            </a:r>
            <a:br>
              <a:rPr lang="en-US" sz="2900" i="1" dirty="0"/>
            </a:br>
            <a:r>
              <a:rPr lang="en-US" sz="2900" i="1" dirty="0"/>
              <a:t>In-person attendees: Please refer to the program syllabus for the CME credit link or QR code. Online/Zoom attendees: </a:t>
            </a:r>
            <a:br>
              <a:rPr lang="en-US" sz="2900" i="1" dirty="0"/>
            </a:br>
            <a:r>
              <a:rPr lang="en-US" sz="2900" i="1" dirty="0"/>
              <a:t>The CME credit link is posted in the chat room.</a:t>
            </a:r>
          </a:p>
        </p:txBody>
      </p:sp>
    </p:spTree>
    <p:extLst>
      <p:ext uri="{BB962C8B-B14F-4D97-AF65-F5344CB8AC3E}">
        <p14:creationId xmlns:p14="http://schemas.microsoft.com/office/powerpoint/2010/main" val="5469110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507C45-B0A4-9246-946B-2FBC0CB41358}"/>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CDEAC1AD-E1B8-623B-656F-C7F52CB6E3E3}"/>
              </a:ext>
            </a:extLst>
          </p:cNvPr>
          <p:cNvSpPr>
            <a:spLocks noGrp="1" noChangeArrowheads="1"/>
          </p:cNvSpPr>
          <p:nvPr>
            <p:ph type="title"/>
          </p:nvPr>
        </p:nvSpPr>
        <p:spPr>
          <a:xfrm>
            <a:off x="-26623" y="322888"/>
            <a:ext cx="12192000" cy="1143000"/>
          </a:xfrm>
        </p:spPr>
        <p:txBody>
          <a:bodyPr wrap="square" anchor="ctr">
            <a:noAutofit/>
          </a:bodyPr>
          <a:lstStyle/>
          <a:p>
            <a:r>
              <a:rPr lang="en-US" dirty="0"/>
              <a:t>What Clinicians Want to Know: Addressing Community </a:t>
            </a:r>
            <a:br>
              <a:rPr lang="en-US" dirty="0"/>
            </a:br>
            <a:r>
              <a:rPr lang="en-US" dirty="0"/>
              <a:t>Oncologists’ Questions About the Roles of CAR T-Cell Therapy and </a:t>
            </a:r>
            <a:br>
              <a:rPr lang="en-US" dirty="0"/>
            </a:br>
            <a:r>
              <a:rPr lang="en-US" dirty="0"/>
              <a:t>Bispecific Antibodies in the Management of Non-Hodgkin Lymphoma</a:t>
            </a:r>
          </a:p>
        </p:txBody>
      </p:sp>
      <p:sp>
        <p:nvSpPr>
          <p:cNvPr id="6" name="Text Box 6">
            <a:extLst>
              <a:ext uri="{FF2B5EF4-FFF2-40B4-BE49-F238E27FC236}">
                <a16:creationId xmlns:a16="http://schemas.microsoft.com/office/drawing/2014/main" id="{8DFE2BC8-F535-5E0B-7C5D-78132E95405E}"/>
              </a:ext>
            </a:extLst>
          </p:cNvPr>
          <p:cNvSpPr txBox="1">
            <a:spLocks noChangeArrowheads="1"/>
          </p:cNvSpPr>
          <p:nvPr/>
        </p:nvSpPr>
        <p:spPr bwMode="auto">
          <a:xfrm>
            <a:off x="0" y="1781503"/>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unday, May 31,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2" name="Text Box 3">
            <a:extLst>
              <a:ext uri="{FF2B5EF4-FFF2-40B4-BE49-F238E27FC236}">
                <a16:creationId xmlns:a16="http://schemas.microsoft.com/office/drawing/2014/main" id="{3E43012B-3A3E-B983-252F-DE174B0E750B}"/>
              </a:ext>
            </a:extLst>
          </p:cNvPr>
          <p:cNvSpPr txBox="1">
            <a:spLocks noChangeArrowheads="1"/>
          </p:cNvSpPr>
          <p:nvPr/>
        </p:nvSpPr>
        <p:spPr bwMode="auto">
          <a:xfrm>
            <a:off x="0" y="5805264"/>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eremy S Abramson, MD, </a:t>
            </a: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MSc</a:t>
            </a:r>
            <a:endPar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3" name="Text Box 7">
            <a:extLst>
              <a:ext uri="{FF2B5EF4-FFF2-40B4-BE49-F238E27FC236}">
                <a16:creationId xmlns:a16="http://schemas.microsoft.com/office/drawing/2014/main" id="{98ADD23F-8CAA-49DA-EEBC-422B4D36CB37}"/>
              </a:ext>
            </a:extLst>
          </p:cNvPr>
          <p:cNvSpPr txBox="1">
            <a:spLocks noChangeArrowheads="1"/>
          </p:cNvSpPr>
          <p:nvPr/>
        </p:nvSpPr>
        <p:spPr bwMode="auto">
          <a:xfrm>
            <a:off x="4647392" y="3066633"/>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EA207909-E6B6-443F-B8F8-8541BC4D1600}"/>
              </a:ext>
            </a:extLst>
          </p:cNvPr>
          <p:cNvSpPr txBox="1">
            <a:spLocks noChangeArrowheads="1"/>
          </p:cNvSpPr>
          <p:nvPr/>
        </p:nvSpPr>
        <p:spPr bwMode="auto">
          <a:xfrm>
            <a:off x="152400" y="3621146"/>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oshua Brody,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anali Kamdar, MD, MBBS</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ycel</a:t>
            </a: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Phillips, MD, FASCO</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ason Westin, MD, MS, FACP, FASCO</a:t>
            </a:r>
            <a:endParaRPr kumimoji="0" lang="en-US" altLang="x-none" sz="3200" b="1" i="1" u="none" strike="noStrike" kern="1200" cap="none" spc="0" normalizeH="0" baseline="0" noProof="0" dirty="0">
              <a:ln>
                <a:noFill/>
              </a:ln>
              <a:solidFill>
                <a:srgbClr val="FF40FF"/>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6942400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A6F321-8A05-2D36-16A5-82D9EEFBA17B}"/>
              </a:ext>
            </a:extLst>
          </p:cNvPr>
          <p:cNvSpPr>
            <a:spLocks noGrp="1"/>
          </p:cNvSpPr>
          <p:nvPr>
            <p:ph type="title"/>
          </p:nvPr>
        </p:nvSpPr>
        <p:spPr>
          <a:xfrm>
            <a:off x="916516" y="2857500"/>
            <a:ext cx="10358967" cy="1143000"/>
          </a:xfrm>
        </p:spPr>
        <p:txBody>
          <a:bodyPr/>
          <a:lstStyle/>
          <a:p>
            <a:pPr>
              <a:lnSpc>
                <a:spcPct val="100000"/>
              </a:lnSpc>
            </a:pPr>
            <a:r>
              <a:rPr lang="en-US" sz="3600" dirty="0">
                <a:solidFill>
                  <a:schemeClr val="accent2"/>
                </a:solidFill>
              </a:rPr>
              <a:t>What Clinicians Want to Know: Addressing Community Oncologists’ Questions About the Roles of CAR T-Cell Therapy and Bispecific Antibodies in the Management of Non-Hodgkin Lymphoma</a:t>
            </a:r>
            <a:br>
              <a:rPr lang="en-US" sz="3600" dirty="0">
                <a:solidFill>
                  <a:schemeClr val="accent2"/>
                </a:solidFill>
              </a:rPr>
            </a:br>
            <a:br>
              <a:rPr lang="en-US" sz="3600" dirty="0">
                <a:solidFill>
                  <a:schemeClr val="accent2"/>
                </a:solidFill>
              </a:rPr>
            </a:br>
            <a:r>
              <a:rPr lang="en-US" sz="3600" dirty="0">
                <a:solidFill>
                  <a:schemeClr val="accent2"/>
                </a:solidFill>
              </a:rPr>
              <a:t>Survey of US-Based General Medical Oncologists</a:t>
            </a:r>
            <a:br>
              <a:rPr lang="en-US" sz="3600" dirty="0">
                <a:solidFill>
                  <a:schemeClr val="accent2"/>
                </a:solidFill>
              </a:rPr>
            </a:br>
            <a:r>
              <a:rPr lang="en-US" sz="3600" dirty="0">
                <a:solidFill>
                  <a:schemeClr val="accent2"/>
                </a:solidFill>
              </a:rPr>
              <a:t>May 13-26, 2026</a:t>
            </a:r>
            <a:br>
              <a:rPr lang="en-US" sz="3600" dirty="0"/>
            </a:br>
            <a:endParaRPr lang="en-US" sz="3600" dirty="0"/>
          </a:p>
        </p:txBody>
      </p:sp>
    </p:spTree>
    <p:extLst>
      <p:ext uri="{BB962C8B-B14F-4D97-AF65-F5344CB8AC3E}">
        <p14:creationId xmlns:p14="http://schemas.microsoft.com/office/powerpoint/2010/main" val="28727987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1D5616-704B-A139-A791-08E7B581F94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4EFC1AB-5F92-5346-EE9B-27A647A110DD}"/>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DFA44683-7CBE-DAD2-6FBD-75BA452AB39B}"/>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Chimeric Antigen Receptor (CAR) T-Cell Therapy for Diffuse Large B-Cell Lymphoma (DLBCL) — Dr Kamdar</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Bispecific Antibody Therapy for DLBCL — Dr Westin</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CAR T-Cell Therapy for Other Lymphoma Subtypes — </a:t>
            </a:r>
            <a:br>
              <a:rPr lang="en-US" sz="2500" dirty="0">
                <a:solidFill>
                  <a:schemeClr val="tx1"/>
                </a:solidFill>
              </a:rPr>
            </a:br>
            <a:r>
              <a:rPr lang="en-US" sz="2500" dirty="0">
                <a:solidFill>
                  <a:schemeClr val="tx1"/>
                </a:solidFill>
              </a:rPr>
              <a:t>Dr Abramson</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Bispecific Antibody Therapy for Follicular Lymphoma and Other Lymphoma Subtypes — Dr Phillips</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Tolerability Considerations with CAR T-Cell Therapy and Bispecific Antibodies — Dr Brody</a:t>
            </a:r>
          </a:p>
        </p:txBody>
      </p:sp>
    </p:spTree>
    <p:extLst>
      <p:ext uri="{BB962C8B-B14F-4D97-AF65-F5344CB8AC3E}">
        <p14:creationId xmlns:p14="http://schemas.microsoft.com/office/powerpoint/2010/main" val="41749988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0C9569-365F-AFDD-4AF5-3700BD4CB7F7}"/>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55BE4416-565F-072D-D7A8-675CDD153239}"/>
              </a:ext>
            </a:extLst>
          </p:cNvPr>
          <p:cNvSpPr/>
          <p:nvPr/>
        </p:nvSpPr>
        <p:spPr bwMode="auto">
          <a:xfrm>
            <a:off x="740128" y="1370013"/>
            <a:ext cx="10828480" cy="906859"/>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14341CF2-9E1C-FDD5-A698-8D8B3002CCFF}"/>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785F8EE5-A2E3-57E8-F393-1F10D0FE474F}"/>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chemeClr val="bg1"/>
                </a:solidFill>
              </a:rPr>
              <a:t>Module 1: Chimeric Antigen Receptor (CAR) T-Cell Therapy for Diffuse Large B-Cell Lymphoma (DLBCL) — Dr Kamdar</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Bispecific Antibody Therapy for DLBCL — Dr Westin</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CAR T-Cell Therapy for Other Lymphoma Subtypes — </a:t>
            </a:r>
            <a:br>
              <a:rPr lang="en-US" sz="2500" dirty="0">
                <a:solidFill>
                  <a:schemeClr val="tx1"/>
                </a:solidFill>
              </a:rPr>
            </a:br>
            <a:r>
              <a:rPr lang="en-US" sz="2500" dirty="0">
                <a:solidFill>
                  <a:schemeClr val="tx1"/>
                </a:solidFill>
              </a:rPr>
              <a:t>Dr Abramson</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Bispecific Antibody Therapy for Follicular Lymphoma and Other Lymphoma Subtypes — Dr Phillips</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Tolerability Considerations with CAR T-Cell Therapy and Bispecific Antibodies — Dr Brody</a:t>
            </a:r>
          </a:p>
        </p:txBody>
      </p:sp>
    </p:spTree>
    <p:extLst>
      <p:ext uri="{BB962C8B-B14F-4D97-AF65-F5344CB8AC3E}">
        <p14:creationId xmlns:p14="http://schemas.microsoft.com/office/powerpoint/2010/main" val="23332124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7F5193-BAF9-44BD-B3F2-26663D8EE4BB}"/>
              </a:ext>
            </a:extLst>
          </p:cNvPr>
          <p:cNvSpPr>
            <a:spLocks noGrp="1"/>
          </p:cNvSpPr>
          <p:nvPr>
            <p:ph type="ctrTitle"/>
          </p:nvPr>
        </p:nvSpPr>
        <p:spPr>
          <a:xfrm>
            <a:off x="1829790" y="2031497"/>
            <a:ext cx="8532421" cy="2142382"/>
          </a:xfrm>
        </p:spPr>
        <p:txBody>
          <a:bodyPr>
            <a:noAutofit/>
          </a:bodyPr>
          <a:lstStyle/>
          <a:p>
            <a:r>
              <a:rPr lang="en-US" sz="2700" dirty="0">
                <a:latin typeface="Arial" panose="020B0604020202020204" pitchFamily="34" charset="0"/>
                <a:cs typeface="Arial" panose="020B0604020202020204" pitchFamily="34" charset="0"/>
              </a:rPr>
              <a:t> </a:t>
            </a:r>
            <a:br>
              <a:rPr lang="en-US" sz="2700" dirty="0">
                <a:latin typeface="Arial" panose="020B0604020202020204" pitchFamily="34" charset="0"/>
                <a:cs typeface="Arial" panose="020B0604020202020204" pitchFamily="34" charset="0"/>
              </a:rPr>
            </a:br>
            <a:r>
              <a:rPr lang="en-US" sz="3200" dirty="0">
                <a:latin typeface="Arial" panose="020B0604020202020204" pitchFamily="34" charset="0"/>
                <a:cs typeface="Arial" panose="020B0604020202020204" pitchFamily="34" charset="0"/>
              </a:rPr>
              <a:t>Chimeric Antigen Receptor (CAR) T-Cell Therapy for Diffuse Large B-Cell Lymphoma (DLBCL)</a:t>
            </a:r>
            <a:br>
              <a:rPr lang="en-US" sz="3200" dirty="0">
                <a:latin typeface="Arial" panose="020B0604020202020204" pitchFamily="34" charset="0"/>
                <a:cs typeface="Arial" panose="020B0604020202020204" pitchFamily="34" charset="0"/>
              </a:rPr>
            </a:br>
            <a:br>
              <a:rPr lang="en-GB" sz="2800" dirty="0">
                <a:latin typeface="Arial" panose="020B0604020202020204" pitchFamily="34" charset="0"/>
                <a:cs typeface="Arial" panose="020B0604020202020204" pitchFamily="34" charset="0"/>
              </a:rPr>
            </a:br>
            <a:endParaRPr lang="en-US" sz="2800" dirty="0">
              <a:latin typeface="Arial" panose="020B0604020202020204" pitchFamily="34" charset="0"/>
              <a:cs typeface="Arial" panose="020B0604020202020204" pitchFamily="34" charset="0"/>
            </a:endParaRPr>
          </a:p>
        </p:txBody>
      </p:sp>
      <p:sp>
        <p:nvSpPr>
          <p:cNvPr id="3" name="Subtitle 2">
            <a:extLst>
              <a:ext uri="{FF2B5EF4-FFF2-40B4-BE49-F238E27FC236}">
                <a16:creationId xmlns:a16="http://schemas.microsoft.com/office/drawing/2014/main" id="{41A1750B-AD0F-457A-A8AA-B9A505856612}"/>
              </a:ext>
            </a:extLst>
          </p:cNvPr>
          <p:cNvSpPr>
            <a:spLocks noGrp="1"/>
          </p:cNvSpPr>
          <p:nvPr>
            <p:ph type="subTitle" idx="1"/>
          </p:nvPr>
        </p:nvSpPr>
        <p:spPr>
          <a:xfrm>
            <a:off x="2232660" y="4041028"/>
            <a:ext cx="7486650" cy="798091"/>
          </a:xfrm>
        </p:spPr>
        <p:txBody>
          <a:bodyPr>
            <a:noAutofit/>
          </a:bodyPr>
          <a:lstStyle/>
          <a:p>
            <a:pPr>
              <a:lnSpc>
                <a:spcPct val="100000"/>
              </a:lnSpc>
            </a:pPr>
            <a:r>
              <a:rPr lang="en-US" sz="1800" b="1" dirty="0">
                <a:solidFill>
                  <a:srgbClr val="000000"/>
                </a:solidFill>
                <a:latin typeface="Arial" panose="020B0604020202020204" pitchFamily="34" charset="0"/>
                <a:cs typeface="Arial" panose="020B0604020202020204" pitchFamily="34" charset="0"/>
              </a:rPr>
              <a:t>Manali Kamdar, MD, MBBS</a:t>
            </a:r>
          </a:p>
          <a:p>
            <a:pPr>
              <a:lnSpc>
                <a:spcPct val="100000"/>
              </a:lnSpc>
            </a:pPr>
            <a:r>
              <a:rPr lang="en-US" sz="1800" dirty="0">
                <a:latin typeface="Arial" panose="020B0604020202020204" pitchFamily="34" charset="0"/>
                <a:cs typeface="Arial" panose="020B0604020202020204" pitchFamily="34" charset="0"/>
              </a:rPr>
              <a:t>Associate Professor of Medicine, Clinical director of lymphoma services, </a:t>
            </a:r>
          </a:p>
          <a:p>
            <a:pPr>
              <a:lnSpc>
                <a:spcPct val="100000"/>
              </a:lnSpc>
            </a:pPr>
            <a:r>
              <a:rPr lang="en-US" sz="1800" dirty="0">
                <a:latin typeface="Arial" panose="020B0604020202020204" pitchFamily="34" charset="0"/>
                <a:cs typeface="Arial" panose="020B0604020202020204" pitchFamily="34" charset="0"/>
              </a:rPr>
              <a:t>Morton and Sandra Saffer Endowed Chair in Hematology Research, Division of Hematology,</a:t>
            </a:r>
          </a:p>
          <a:p>
            <a:pPr>
              <a:lnSpc>
                <a:spcPct val="100000"/>
              </a:lnSpc>
            </a:pPr>
            <a:r>
              <a:rPr lang="en-US" sz="1800" dirty="0">
                <a:latin typeface="Arial" panose="020B0604020202020204" pitchFamily="34" charset="0"/>
                <a:cs typeface="Arial" panose="020B0604020202020204" pitchFamily="34" charset="0"/>
              </a:rPr>
              <a:t>University of Colorado</a:t>
            </a:r>
          </a:p>
        </p:txBody>
      </p:sp>
      <p:pic>
        <p:nvPicPr>
          <p:cNvPr id="5" name="Picture 4">
            <a:extLst>
              <a:ext uri="{FF2B5EF4-FFF2-40B4-BE49-F238E27FC236}">
                <a16:creationId xmlns:a16="http://schemas.microsoft.com/office/drawing/2014/main" id="{CBB83940-1319-48FB-A99A-3EE6CB43D307}"/>
              </a:ext>
            </a:extLst>
          </p:cNvPr>
          <p:cNvPicPr>
            <a:picLocks noChangeAspect="1"/>
          </p:cNvPicPr>
          <p:nvPr/>
        </p:nvPicPr>
        <p:blipFill rotWithShape="1">
          <a:blip r:embed="rId3">
            <a:extLst>
              <a:ext uri="{28A0092B-C50C-407E-A947-70E740481C1C}">
                <a14:useLocalDpi xmlns:a14="http://schemas.microsoft.com/office/drawing/2010/main" val="0"/>
              </a:ext>
            </a:extLst>
          </a:blip>
          <a:srcRect l="28058" r="399" b="1"/>
          <a:stretch/>
        </p:blipFill>
        <p:spPr>
          <a:xfrm>
            <a:off x="1524001" y="283430"/>
            <a:ext cx="3330337" cy="1514104"/>
          </a:xfrm>
          <a:custGeom>
            <a:avLst/>
            <a:gdLst>
              <a:gd name="connsiteX0" fmla="*/ 0 w 5920618"/>
              <a:gd name="connsiteY0" fmla="*/ 0 h 2130951"/>
              <a:gd name="connsiteX1" fmla="*/ 5920618 w 5920618"/>
              <a:gd name="connsiteY1" fmla="*/ 0 h 2130951"/>
              <a:gd name="connsiteX2" fmla="*/ 4933709 w 5920618"/>
              <a:gd name="connsiteY2" fmla="*/ 2130951 h 2130951"/>
              <a:gd name="connsiteX3" fmla="*/ 0 w 5920618"/>
              <a:gd name="connsiteY3" fmla="*/ 2130951 h 2130951"/>
            </a:gdLst>
            <a:ahLst/>
            <a:cxnLst>
              <a:cxn ang="0">
                <a:pos x="connsiteX0" y="connsiteY0"/>
              </a:cxn>
              <a:cxn ang="0">
                <a:pos x="connsiteX1" y="connsiteY1"/>
              </a:cxn>
              <a:cxn ang="0">
                <a:pos x="connsiteX2" y="connsiteY2"/>
              </a:cxn>
              <a:cxn ang="0">
                <a:pos x="connsiteX3" y="connsiteY3"/>
              </a:cxn>
            </a:cxnLst>
            <a:rect l="l" t="t" r="r" b="b"/>
            <a:pathLst>
              <a:path w="5920618" h="2130951">
                <a:moveTo>
                  <a:pt x="0" y="0"/>
                </a:moveTo>
                <a:lnTo>
                  <a:pt x="5920618" y="0"/>
                </a:lnTo>
                <a:lnTo>
                  <a:pt x="4933709" y="2130951"/>
                </a:lnTo>
                <a:lnTo>
                  <a:pt x="0" y="2130951"/>
                </a:lnTo>
                <a:close/>
              </a:path>
            </a:pathLst>
          </a:custGeom>
        </p:spPr>
      </p:pic>
      <p:sp>
        <p:nvSpPr>
          <p:cNvPr id="8" name="Freeform: Shape 7">
            <a:extLst>
              <a:ext uri="{FF2B5EF4-FFF2-40B4-BE49-F238E27FC236}">
                <a16:creationId xmlns:a16="http://schemas.microsoft.com/office/drawing/2014/main" id="{B9031F62-1CB3-324D-205D-333F9A47A74C}"/>
              </a:ext>
            </a:extLst>
          </p:cNvPr>
          <p:cNvSpPr/>
          <p:nvPr/>
        </p:nvSpPr>
        <p:spPr>
          <a:xfrm>
            <a:off x="4485528" y="283431"/>
            <a:ext cx="6182472" cy="1514103"/>
          </a:xfrm>
          <a:custGeom>
            <a:avLst/>
            <a:gdLst>
              <a:gd name="connsiteX0" fmla="*/ 765317 w 8243296"/>
              <a:gd name="connsiteY0" fmla="*/ 0 h 1598206"/>
              <a:gd name="connsiteX1" fmla="*/ 8243296 w 8243296"/>
              <a:gd name="connsiteY1" fmla="*/ 0 h 1598206"/>
              <a:gd name="connsiteX2" fmla="*/ 8243296 w 8243296"/>
              <a:gd name="connsiteY2" fmla="*/ 1598206 h 1598206"/>
              <a:gd name="connsiteX3" fmla="*/ 0 w 8243296"/>
              <a:gd name="connsiteY3" fmla="*/ 1598206 h 1598206"/>
            </a:gdLst>
            <a:ahLst/>
            <a:cxnLst>
              <a:cxn ang="0">
                <a:pos x="connsiteX0" y="connsiteY0"/>
              </a:cxn>
              <a:cxn ang="0">
                <a:pos x="connsiteX1" y="connsiteY1"/>
              </a:cxn>
              <a:cxn ang="0">
                <a:pos x="connsiteX2" y="connsiteY2"/>
              </a:cxn>
              <a:cxn ang="0">
                <a:pos x="connsiteX3" y="connsiteY3"/>
              </a:cxn>
            </a:cxnLst>
            <a:rect l="l" t="t" r="r" b="b"/>
            <a:pathLst>
              <a:path w="8243296" h="1598206">
                <a:moveTo>
                  <a:pt x="765317" y="0"/>
                </a:moveTo>
                <a:lnTo>
                  <a:pt x="8243296" y="0"/>
                </a:lnTo>
                <a:lnTo>
                  <a:pt x="8243296" y="1598206"/>
                </a:lnTo>
                <a:lnTo>
                  <a:pt x="0" y="1598206"/>
                </a:lnTo>
                <a:close/>
              </a:path>
            </a:pathLst>
          </a:cu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C064260B-0D62-E707-4862-EB2E8EA0B058}"/>
              </a:ext>
            </a:extLst>
          </p:cNvPr>
          <p:cNvSpPr txBox="1"/>
          <p:nvPr/>
        </p:nvSpPr>
        <p:spPr>
          <a:xfrm>
            <a:off x="9550006" y="6550224"/>
            <a:ext cx="2235988" cy="307777"/>
          </a:xfrm>
          <a:prstGeom prst="rect">
            <a:avLst/>
          </a:prstGeom>
          <a:noFill/>
        </p:spPr>
        <p:txBody>
          <a:bodyPr wrap="square" rtlCol="0">
            <a:spAutoFit/>
          </a:bodyPr>
          <a:lstStyle/>
          <a:p>
            <a:pPr marL="0" marR="0" lvl="0" indent="0" algn="r" defTabSz="3429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TP, ASCO, 2026</a:t>
            </a:r>
          </a:p>
        </p:txBody>
      </p:sp>
    </p:spTree>
    <p:extLst>
      <p:ext uri="{BB962C8B-B14F-4D97-AF65-F5344CB8AC3E}">
        <p14:creationId xmlns:p14="http://schemas.microsoft.com/office/powerpoint/2010/main" val="646178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903354"/>
          </a:xfrm>
        </p:spPr>
        <p:txBody>
          <a:bodyPr/>
          <a:lstStyle/>
          <a:p>
            <a:r>
              <a:rPr lang="en-US" dirty="0"/>
              <a:t>Faculty</a:t>
            </a:r>
          </a:p>
        </p:txBody>
      </p:sp>
      <p:sp>
        <p:nvSpPr>
          <p:cNvPr id="9" name="Text Box 7">
            <a:extLst>
              <a:ext uri="{FF2B5EF4-FFF2-40B4-BE49-F238E27FC236}">
                <a16:creationId xmlns:a16="http://schemas.microsoft.com/office/drawing/2014/main" id="{6340B717-F2C6-71FD-82BC-DFC6033E8465}"/>
              </a:ext>
            </a:extLst>
          </p:cNvPr>
          <p:cNvSpPr txBox="1">
            <a:spLocks noChangeArrowheads="1"/>
          </p:cNvSpPr>
          <p:nvPr/>
        </p:nvSpPr>
        <p:spPr bwMode="auto">
          <a:xfrm>
            <a:off x="7490469" y="3139868"/>
            <a:ext cx="3718921" cy="1531803"/>
          </a:xfrm>
          <a:prstGeom prst="rect">
            <a:avLst/>
          </a:prstGeom>
          <a:noFill/>
          <a:ln w="9525">
            <a:noFill/>
            <a:miter lim="800000"/>
            <a:headEnd/>
            <a:tailEnd/>
          </a:ln>
        </p:spPr>
        <p:txBody>
          <a:bodyPr lIns="91440" tIns="0" rIns="0" bIns="0">
            <a:prstTxWarp prst="textNoShape">
              <a:avLst/>
            </a:prstTxWarp>
          </a:bodyPr>
          <a:lstStyle/>
          <a:p>
            <a:pPr lvl="0">
              <a:defRPr/>
            </a:pPr>
            <a:r>
              <a:rPr kumimoji="0" lang="en-US" sz="1600" b="1" i="0" u="none" strike="noStrike" kern="1200" cap="none" spc="0" normalizeH="0" baseline="0" noProof="0" dirty="0">
                <a:ln>
                  <a:noFill/>
                </a:ln>
                <a:solidFill>
                  <a:srgbClr val="0432FF"/>
                </a:solidFill>
                <a:effectLst/>
                <a:uLnTx/>
                <a:uFillTx/>
                <a:latin typeface="Calibri" pitchFamily="-72" charset="0"/>
                <a:ea typeface="MS PGothic" charset="0"/>
              </a:rPr>
              <a:t>Moderator </a:t>
            </a:r>
            <a:br>
              <a:rPr kumimoji="0" lang="en-US" sz="1600" b="1" i="0" u="none" strike="noStrike" kern="1200" cap="none" spc="0" normalizeH="0" baseline="0" noProof="0" dirty="0">
                <a:ln>
                  <a:noFill/>
                </a:ln>
                <a:solidFill>
                  <a:srgbClr val="0432FF"/>
                </a:solidFill>
                <a:effectLst/>
                <a:uLnTx/>
                <a:uFillTx/>
                <a:latin typeface="Calibri" pitchFamily="-72" charset="0"/>
                <a:ea typeface="MS PGothic" charset="0"/>
              </a:rPr>
            </a:br>
            <a:r>
              <a:rPr lang="en-US" sz="1600" dirty="0">
                <a:solidFill>
                  <a:srgbClr val="000000"/>
                </a:solidFill>
                <a:latin typeface="Calibri" panose="020F0502020204030204" pitchFamily="34" charset="0"/>
                <a:ea typeface="ＭＳ Ｐゴシック" charset="0"/>
                <a:cs typeface="Calibri" panose="020F0502020204030204" pitchFamily="34" charset="0"/>
              </a:rPr>
              <a:t>Jeremy S Abramson, MD, </a:t>
            </a:r>
            <a:r>
              <a:rPr lang="en-US" sz="1600" dirty="0" err="1">
                <a:solidFill>
                  <a:srgbClr val="000000"/>
                </a:solidFill>
                <a:latin typeface="Calibri" panose="020F0502020204030204" pitchFamily="34" charset="0"/>
                <a:ea typeface="ＭＳ Ｐゴシック" charset="0"/>
                <a:cs typeface="Calibri" panose="020F0502020204030204" pitchFamily="34" charset="0"/>
              </a:rPr>
              <a:t>MMSc</a:t>
            </a:r>
            <a:endParaRPr lang="en-US" sz="1600" dirty="0">
              <a:solidFill>
                <a:srgbClr val="000000"/>
              </a:solidFill>
              <a:latin typeface="Calibri" panose="020F0502020204030204" pitchFamily="34" charset="0"/>
              <a:ea typeface="ＭＳ Ｐゴシック" charset="0"/>
              <a:cs typeface="Calibri" panose="020F0502020204030204" pitchFamily="34" charset="0"/>
            </a:endParaRP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Center for Lymphoma </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Massachusetts General Hospital </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of Medicine </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Harvard Medical School</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Boston, Massachusetts</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2" name="Picture 11">
            <a:extLst>
              <a:ext uri="{FF2B5EF4-FFF2-40B4-BE49-F238E27FC236}">
                <a16:creationId xmlns:a16="http://schemas.microsoft.com/office/drawing/2014/main" id="{3E85B479-7CC2-B8D4-AEAB-4F020D82316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168831" y="3139868"/>
            <a:ext cx="1261872" cy="1261872"/>
          </a:xfrm>
          <a:prstGeom prst="rect">
            <a:avLst/>
          </a:prstGeom>
        </p:spPr>
      </p:pic>
      <p:sp>
        <p:nvSpPr>
          <p:cNvPr id="15" name="Text Box 7">
            <a:extLst>
              <a:ext uri="{FF2B5EF4-FFF2-40B4-BE49-F238E27FC236}">
                <a16:creationId xmlns:a16="http://schemas.microsoft.com/office/drawing/2014/main" id="{41B3E2D5-0299-2503-7FFA-79CA3D616046}"/>
              </a:ext>
            </a:extLst>
          </p:cNvPr>
          <p:cNvSpPr txBox="1">
            <a:spLocks noChangeArrowheads="1"/>
          </p:cNvSpPr>
          <p:nvPr/>
        </p:nvSpPr>
        <p:spPr bwMode="auto">
          <a:xfrm>
            <a:off x="1637422" y="855103"/>
            <a:ext cx="4783855" cy="1261872"/>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Joshua Brody,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Lymphoma Immunotherapy Program</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The Tisch Cancer Institute at Mount Sinai </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Faculty Member, Icahn Genomics Institut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Icahn School of Medicine at Mount Sinai</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New York, New York</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6" name="Picture 15">
            <a:extLst>
              <a:ext uri="{FF2B5EF4-FFF2-40B4-BE49-F238E27FC236}">
                <a16:creationId xmlns:a16="http://schemas.microsoft.com/office/drawing/2014/main" id="{0479E3F4-F609-4335-E0B8-E8D3376AC12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315783" y="855103"/>
            <a:ext cx="1261872" cy="1261872"/>
          </a:xfrm>
          <a:prstGeom prst="rect">
            <a:avLst/>
          </a:prstGeom>
        </p:spPr>
      </p:pic>
      <p:sp>
        <p:nvSpPr>
          <p:cNvPr id="18" name="Text Box 7">
            <a:extLst>
              <a:ext uri="{FF2B5EF4-FFF2-40B4-BE49-F238E27FC236}">
                <a16:creationId xmlns:a16="http://schemas.microsoft.com/office/drawing/2014/main" id="{027F8254-7C8B-9824-BE15-6C32B4F441CD}"/>
              </a:ext>
            </a:extLst>
          </p:cNvPr>
          <p:cNvSpPr txBox="1">
            <a:spLocks noChangeArrowheads="1"/>
          </p:cNvSpPr>
          <p:nvPr/>
        </p:nvSpPr>
        <p:spPr bwMode="auto">
          <a:xfrm>
            <a:off x="1602989" y="2636912"/>
            <a:ext cx="4420181"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Manali Kamdar, MD, MBBS</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ssociate Professo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Clinical Director of Lymphoma Services</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Morton and Sandra Saffer Endowed Chair in Hematology Research</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vision of Hematology, Hematologic Malignancies</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University of Colorado Cancer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urora, Colorado</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9" name="Picture 18">
            <a:extLst>
              <a:ext uri="{FF2B5EF4-FFF2-40B4-BE49-F238E27FC236}">
                <a16:creationId xmlns:a16="http://schemas.microsoft.com/office/drawing/2014/main" id="{FFC2443C-1709-4E13-FE10-FEBFA1B7F6F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281350" y="2636912"/>
            <a:ext cx="1261872" cy="1261872"/>
          </a:xfrm>
          <a:prstGeom prst="rect">
            <a:avLst/>
          </a:prstGeom>
        </p:spPr>
      </p:pic>
      <p:sp>
        <p:nvSpPr>
          <p:cNvPr id="5" name="Text Box 7">
            <a:extLst>
              <a:ext uri="{FF2B5EF4-FFF2-40B4-BE49-F238E27FC236}">
                <a16:creationId xmlns:a16="http://schemas.microsoft.com/office/drawing/2014/main" id="{030E3E04-F640-215B-DD63-5773E158539F}"/>
              </a:ext>
            </a:extLst>
          </p:cNvPr>
          <p:cNvSpPr txBox="1">
            <a:spLocks noChangeArrowheads="1"/>
          </p:cNvSpPr>
          <p:nvPr/>
        </p:nvSpPr>
        <p:spPr bwMode="auto">
          <a:xfrm>
            <a:off x="7490470" y="855103"/>
            <a:ext cx="4392487" cy="1261872"/>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chemeClr val="tx1"/>
                </a:solidFill>
                <a:latin typeface="Calibri" panose="020F0502020204030204" pitchFamily="34" charset="0"/>
                <a:ea typeface="ＭＳ Ｐゴシック" charset="0"/>
                <a:cs typeface="Calibri" panose="020F0502020204030204" pitchFamily="34" charset="0"/>
              </a:rPr>
              <a:t>Jason Westin, MD, MS, FACP, FASCO</a:t>
            </a:r>
          </a:p>
          <a:p>
            <a:pPr lvl="0">
              <a:defRPr/>
            </a:pPr>
            <a:r>
              <a:rPr lang="en-US" sz="1600" b="0" dirty="0">
                <a:solidFill>
                  <a:schemeClr val="tx1"/>
                </a:solidFill>
                <a:latin typeface="Calibri" panose="020F0502020204030204" pitchFamily="34" charset="0"/>
                <a:ea typeface="ＭＳ Ｐゴシック" charset="0"/>
                <a:cs typeface="Calibri" panose="020F0502020204030204" pitchFamily="34" charset="0"/>
              </a:rPr>
              <a:t>Director, Lymphoma Clinical Research</a:t>
            </a:r>
          </a:p>
          <a:p>
            <a:pPr lvl="0">
              <a:defRPr/>
            </a:pPr>
            <a:r>
              <a:rPr lang="en-US" sz="1600" b="0" dirty="0">
                <a:solidFill>
                  <a:schemeClr val="tx1"/>
                </a:solidFill>
                <a:latin typeface="Calibri" panose="020F0502020204030204" pitchFamily="34" charset="0"/>
                <a:ea typeface="ＭＳ Ｐゴシック" charset="0"/>
                <a:cs typeface="Calibri" panose="020F0502020204030204" pitchFamily="34" charset="0"/>
              </a:rPr>
              <a:t>Lead, Lymphoma and Myeloma Service Line</a:t>
            </a:r>
          </a:p>
          <a:p>
            <a:pPr lvl="0">
              <a:defRPr/>
            </a:pPr>
            <a:r>
              <a:rPr lang="en-US" sz="1600" b="0" dirty="0">
                <a:solidFill>
                  <a:schemeClr val="tx1"/>
                </a:solidFill>
                <a:latin typeface="Calibri" panose="020F0502020204030204" pitchFamily="34" charset="0"/>
                <a:ea typeface="ＭＳ Ｐゴシック" charset="0"/>
                <a:cs typeface="Calibri" panose="020F0502020204030204" pitchFamily="34" charset="0"/>
              </a:rPr>
              <a:t>Professor, Department of Lymphoma and Myeloma</a:t>
            </a:r>
          </a:p>
          <a:p>
            <a:pPr lvl="0">
              <a:defRPr/>
            </a:pPr>
            <a:r>
              <a:rPr lang="en-US" sz="1600" b="0" dirty="0">
                <a:solidFill>
                  <a:schemeClr val="tx1"/>
                </a:solidFill>
                <a:latin typeface="Calibri" panose="020F0502020204030204" pitchFamily="34" charset="0"/>
                <a:ea typeface="ＭＳ Ｐゴシック" charset="0"/>
                <a:cs typeface="Calibri" panose="020F0502020204030204" pitchFamily="34" charset="0"/>
              </a:rPr>
              <a:t>The University of Texas MD Anderson Cancer Center</a:t>
            </a:r>
          </a:p>
          <a:p>
            <a:pPr lvl="0">
              <a:defRPr/>
            </a:pPr>
            <a:r>
              <a:rPr lang="en-US" sz="1600" b="0" dirty="0">
                <a:solidFill>
                  <a:schemeClr val="tx1"/>
                </a:solidFill>
                <a:latin typeface="Calibri" panose="020F0502020204030204" pitchFamily="34" charset="0"/>
                <a:ea typeface="ＭＳ Ｐゴシック" charset="0"/>
                <a:cs typeface="Calibri" panose="020F0502020204030204" pitchFamily="34" charset="0"/>
              </a:rPr>
              <a:t>Houston, Texas</a:t>
            </a:r>
            <a:endPar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endParaRPr>
          </a:p>
        </p:txBody>
      </p:sp>
      <p:pic>
        <p:nvPicPr>
          <p:cNvPr id="6" name="Picture 5">
            <a:extLst>
              <a:ext uri="{FF2B5EF4-FFF2-40B4-BE49-F238E27FC236}">
                <a16:creationId xmlns:a16="http://schemas.microsoft.com/office/drawing/2014/main" id="{51CA55AF-28D9-73A1-0B0C-4B1C2EE47F87}"/>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168831" y="855103"/>
            <a:ext cx="1261872" cy="1261872"/>
          </a:xfrm>
          <a:prstGeom prst="rect">
            <a:avLst/>
          </a:prstGeom>
        </p:spPr>
      </p:pic>
      <p:sp>
        <p:nvSpPr>
          <p:cNvPr id="3" name="Text Box 7">
            <a:extLst>
              <a:ext uri="{FF2B5EF4-FFF2-40B4-BE49-F238E27FC236}">
                <a16:creationId xmlns:a16="http://schemas.microsoft.com/office/drawing/2014/main" id="{BD7F4201-2917-8549-AE6D-97254E69AC3C}"/>
              </a:ext>
            </a:extLst>
          </p:cNvPr>
          <p:cNvSpPr txBox="1">
            <a:spLocks noChangeArrowheads="1"/>
          </p:cNvSpPr>
          <p:nvPr/>
        </p:nvSpPr>
        <p:spPr bwMode="auto">
          <a:xfrm>
            <a:off x="1602989" y="4979059"/>
            <a:ext cx="4783854"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err="1">
                <a:solidFill>
                  <a:srgbClr val="000000"/>
                </a:solidFill>
                <a:latin typeface="Calibri" panose="020F0502020204030204" pitchFamily="34" charset="0"/>
                <a:ea typeface="ＭＳ Ｐゴシック" charset="0"/>
                <a:cs typeface="Calibri" panose="020F0502020204030204" pitchFamily="34" charset="0"/>
              </a:rPr>
              <a:t>Tycel</a:t>
            </a:r>
            <a:r>
              <a:rPr lang="en-US" sz="1600" dirty="0">
                <a:solidFill>
                  <a:srgbClr val="000000"/>
                </a:solidFill>
                <a:latin typeface="Calibri" panose="020F0502020204030204" pitchFamily="34" charset="0"/>
                <a:ea typeface="ＭＳ Ｐゴシック" charset="0"/>
                <a:cs typeface="Calibri" panose="020F0502020204030204" pitchFamily="34" charset="0"/>
              </a:rPr>
              <a:t> Phillips, MD, FASCO</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ssociate Professor, Division of Lymphoma</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epartment of Hematology and Hematopoietic Cell Transplantation</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City of Hope Comprehensive Cancer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uarte, California</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4" name="Picture 3">
            <a:extLst>
              <a:ext uri="{FF2B5EF4-FFF2-40B4-BE49-F238E27FC236}">
                <a16:creationId xmlns:a16="http://schemas.microsoft.com/office/drawing/2014/main" id="{26264B51-9013-BB18-CF2D-866C41F0C5EB}"/>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281350" y="4979059"/>
            <a:ext cx="1261872" cy="1261872"/>
          </a:xfrm>
          <a:prstGeom prst="rect">
            <a:avLst/>
          </a:prstGeom>
        </p:spPr>
      </p:pic>
    </p:spTree>
    <p:custDataLst>
      <p:tags r:id="rId1"/>
    </p:custDataLst>
    <p:extLst>
      <p:ext uri="{BB962C8B-B14F-4D97-AF65-F5344CB8AC3E}">
        <p14:creationId xmlns:p14="http://schemas.microsoft.com/office/powerpoint/2010/main" val="2948769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73609E-CAF0-3F1D-EE17-5C8131BFB32A}"/>
              </a:ext>
            </a:extLst>
          </p:cNvPr>
          <p:cNvSpPr>
            <a:spLocks noGrp="1"/>
          </p:cNvSpPr>
          <p:nvPr>
            <p:ph type="title"/>
          </p:nvPr>
        </p:nvSpPr>
        <p:spPr>
          <a:xfrm>
            <a:off x="1821872" y="944785"/>
            <a:ext cx="8548255" cy="535154"/>
          </a:xfrm>
        </p:spPr>
        <p:txBody>
          <a:bodyPr>
            <a:noAutofit/>
          </a:bodyPr>
          <a:lstStyle/>
          <a:p>
            <a:r>
              <a:rPr lang="en-US" sz="2800" dirty="0">
                <a:solidFill>
                  <a:schemeClr val="tx1"/>
                </a:solidFill>
                <a:latin typeface="Arial" panose="020B0604020202020204" pitchFamily="34" charset="0"/>
                <a:cs typeface="Arial" panose="020B0604020202020204" pitchFamily="34" charset="0"/>
              </a:rPr>
              <a:t>                         </a:t>
            </a:r>
            <a:r>
              <a:rPr lang="en-US" sz="2800" b="1" dirty="0">
                <a:solidFill>
                  <a:schemeClr val="tx1"/>
                </a:solidFill>
                <a:latin typeface="Arial" panose="020B0604020202020204" pitchFamily="34" charset="0"/>
                <a:cs typeface="Arial" panose="020B0604020202020204" pitchFamily="34" charset="0"/>
              </a:rPr>
              <a:t>Pre-CAR-T ERA</a:t>
            </a:r>
            <a:br>
              <a:rPr lang="en-US" sz="2800" dirty="0">
                <a:solidFill>
                  <a:schemeClr val="tx1"/>
                </a:solidFill>
                <a:latin typeface="Arial" panose="020B0604020202020204" pitchFamily="34" charset="0"/>
                <a:cs typeface="Arial" panose="020B0604020202020204" pitchFamily="34" charset="0"/>
              </a:rPr>
            </a:br>
            <a:br>
              <a:rPr lang="en-US" sz="2800" dirty="0">
                <a:solidFill>
                  <a:schemeClr val="tx1"/>
                </a:solidFill>
                <a:latin typeface="Arial" panose="020B0604020202020204" pitchFamily="34" charset="0"/>
                <a:cs typeface="Arial" panose="020B0604020202020204" pitchFamily="34" charset="0"/>
              </a:rPr>
            </a:br>
            <a:r>
              <a:rPr lang="en-US" sz="2400" dirty="0">
                <a:solidFill>
                  <a:schemeClr val="tx1"/>
                </a:solidFill>
                <a:latin typeface="Arial" panose="020B0604020202020204" pitchFamily="34" charset="0"/>
                <a:cs typeface="Arial" panose="020B0604020202020204" pitchFamily="34" charset="0"/>
              </a:rPr>
              <a:t>Relapsed/Refractory Chemotherapy-resistant Large B Cell Lymphoma (R/R LBCL) </a:t>
            </a:r>
            <a:r>
              <a:rPr lang="en-US" sz="2400" dirty="0">
                <a:solidFill>
                  <a:schemeClr val="tx1"/>
                </a:solidFill>
                <a:latin typeface="Arial" panose="020B0604020202020204" pitchFamily="34" charset="0"/>
                <a:cs typeface="Arial" panose="020B0604020202020204" pitchFamily="34" charset="0"/>
                <a:sym typeface="Wingdings" pitchFamily="2" charset="2"/>
              </a:rPr>
              <a:t></a:t>
            </a:r>
            <a:r>
              <a:rPr lang="en-US" sz="2400" dirty="0">
                <a:solidFill>
                  <a:schemeClr val="tx1"/>
                </a:solidFill>
                <a:latin typeface="Arial" panose="020B0604020202020204" pitchFamily="34" charset="0"/>
                <a:cs typeface="Arial" panose="020B0604020202020204" pitchFamily="34" charset="0"/>
              </a:rPr>
              <a:t> dismal prognosis </a:t>
            </a:r>
          </a:p>
        </p:txBody>
      </p:sp>
      <p:pic>
        <p:nvPicPr>
          <p:cNvPr id="7" name="Content Placeholder 6" descr="A graph of events and events&#10;&#10;Description automatically generated">
            <a:extLst>
              <a:ext uri="{FF2B5EF4-FFF2-40B4-BE49-F238E27FC236}">
                <a16:creationId xmlns:a16="http://schemas.microsoft.com/office/drawing/2014/main" id="{10EB6A69-96AF-39E1-95B1-571DB3A21C3A}"/>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2404118" y="2244982"/>
            <a:ext cx="6726357" cy="3808901"/>
          </a:xfrm>
        </p:spPr>
      </p:pic>
      <p:sp>
        <p:nvSpPr>
          <p:cNvPr id="4" name="TextBox 3">
            <a:extLst>
              <a:ext uri="{FF2B5EF4-FFF2-40B4-BE49-F238E27FC236}">
                <a16:creationId xmlns:a16="http://schemas.microsoft.com/office/drawing/2014/main" id="{AC3A117F-4F93-0C50-6BB6-93E3F5B393A2}"/>
              </a:ext>
            </a:extLst>
          </p:cNvPr>
          <p:cNvSpPr txBox="1"/>
          <p:nvPr/>
        </p:nvSpPr>
        <p:spPr>
          <a:xfrm>
            <a:off x="8916904" y="6457645"/>
            <a:ext cx="3172663" cy="323165"/>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Garamond" pitchFamily="18" charset="0"/>
                <a:ea typeface="+mn-ea"/>
                <a:cs typeface="+mn-cs"/>
              </a:rPr>
              <a:t>Crump et al Scholar-1 study Blood 2017</a:t>
            </a:r>
          </a:p>
        </p:txBody>
      </p:sp>
    </p:spTree>
    <p:extLst>
      <p:ext uri="{BB962C8B-B14F-4D97-AF65-F5344CB8AC3E}">
        <p14:creationId xmlns:p14="http://schemas.microsoft.com/office/powerpoint/2010/main" val="37422081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D6301D-3F5B-5530-8D69-49FBD75D088B}"/>
              </a:ext>
            </a:extLst>
          </p:cNvPr>
          <p:cNvSpPr>
            <a:spLocks noGrp="1"/>
          </p:cNvSpPr>
          <p:nvPr>
            <p:ph type="title"/>
          </p:nvPr>
        </p:nvSpPr>
        <p:spPr>
          <a:xfrm>
            <a:off x="1669264" y="170055"/>
            <a:ext cx="9009888" cy="1325563"/>
          </a:xfrm>
        </p:spPr>
        <p:txBody>
          <a:bodyPr>
            <a:normAutofit/>
          </a:bodyPr>
          <a:lstStyle/>
          <a:p>
            <a:r>
              <a:rPr lang="en-US" sz="2800" dirty="0">
                <a:latin typeface="Arial" panose="020B0604020202020204" pitchFamily="34" charset="0"/>
                <a:cs typeface="Arial" panose="020B0604020202020204" pitchFamily="34" charset="0"/>
              </a:rPr>
              <a:t>Anti-CD19 CAR-T cell therapies approved in R/R LBCL after failure of ≥2 lines of treatment </a:t>
            </a:r>
            <a:endParaRPr lang="en-US" sz="2800" dirty="0"/>
          </a:p>
        </p:txBody>
      </p:sp>
      <p:pic>
        <p:nvPicPr>
          <p:cNvPr id="5" name="Picture 4">
            <a:extLst>
              <a:ext uri="{FF2B5EF4-FFF2-40B4-BE49-F238E27FC236}">
                <a16:creationId xmlns:a16="http://schemas.microsoft.com/office/drawing/2014/main" id="{91FF2E4E-5588-155A-8DE9-9EF16FFE7E86}"/>
              </a:ext>
            </a:extLst>
          </p:cNvPr>
          <p:cNvPicPr>
            <a:picLocks noChangeAspect="1"/>
          </p:cNvPicPr>
          <p:nvPr/>
        </p:nvPicPr>
        <p:blipFill>
          <a:blip r:embed="rId2"/>
          <a:stretch>
            <a:fillRect/>
          </a:stretch>
        </p:blipFill>
        <p:spPr>
          <a:xfrm>
            <a:off x="1524000" y="6022664"/>
            <a:ext cx="8515350" cy="481847"/>
          </a:xfrm>
          <a:prstGeom prst="rect">
            <a:avLst/>
          </a:prstGeom>
        </p:spPr>
      </p:pic>
      <p:sp>
        <p:nvSpPr>
          <p:cNvPr id="7" name="TextBox 6">
            <a:extLst>
              <a:ext uri="{FF2B5EF4-FFF2-40B4-BE49-F238E27FC236}">
                <a16:creationId xmlns:a16="http://schemas.microsoft.com/office/drawing/2014/main" id="{F149CDE1-4B82-2C54-1FD5-D7357687E510}"/>
              </a:ext>
            </a:extLst>
          </p:cNvPr>
          <p:cNvSpPr txBox="1"/>
          <p:nvPr/>
        </p:nvSpPr>
        <p:spPr>
          <a:xfrm>
            <a:off x="9080213" y="6572529"/>
            <a:ext cx="2941574" cy="2308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1" normalizeH="0" baseline="0" noProof="0" dirty="0">
                <a:ln>
                  <a:noFill/>
                </a:ln>
                <a:solidFill>
                  <a:srgbClr val="000000"/>
                </a:solidFill>
                <a:effectLst/>
                <a:uLnTx/>
                <a:uFillTx/>
                <a:latin typeface="Arial"/>
                <a:ea typeface="+mn-ea"/>
                <a:cs typeface="+mn-cs"/>
              </a:rPr>
              <a:t>Caron A. Jacobson; </a:t>
            </a:r>
            <a:r>
              <a:rPr kumimoji="0" lang="en-US" sz="900" b="0" i="1" u="none" strike="noStrike" kern="1200" cap="none" spc="-1" normalizeH="0" baseline="0" noProof="0" dirty="0">
                <a:ln>
                  <a:noFill/>
                </a:ln>
                <a:solidFill>
                  <a:srgbClr val="000000"/>
                </a:solidFill>
                <a:effectLst/>
                <a:uLnTx/>
                <a:uFillTx/>
                <a:latin typeface="Arial"/>
                <a:ea typeface="+mn-ea"/>
                <a:cs typeface="+mn-cs"/>
              </a:rPr>
              <a:t>Journal of Clinical Oncology</a:t>
            </a:r>
            <a:r>
              <a:rPr kumimoji="0" lang="en-US" sz="900" b="0" i="0" u="none" strike="noStrike" kern="1200" cap="none" spc="-1" normalizeH="0" baseline="0" noProof="0" dirty="0">
                <a:ln>
                  <a:noFill/>
                </a:ln>
                <a:solidFill>
                  <a:srgbClr val="000000"/>
                </a:solidFill>
                <a:effectLst/>
                <a:uLnTx/>
                <a:uFillTx/>
                <a:latin typeface="Arial"/>
                <a:ea typeface="+mn-ea"/>
                <a:cs typeface="+mn-cs"/>
              </a:rPr>
              <a:t> 2019</a:t>
            </a:r>
            <a:endParaRPr kumimoji="0" lang="en-US" sz="9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grpSp>
        <p:nvGrpSpPr>
          <p:cNvPr id="12" name="Group 11">
            <a:extLst>
              <a:ext uri="{FF2B5EF4-FFF2-40B4-BE49-F238E27FC236}">
                <a16:creationId xmlns:a16="http://schemas.microsoft.com/office/drawing/2014/main" id="{8F5F1822-A7A7-4571-5D82-8A83011FA3DE}"/>
              </a:ext>
            </a:extLst>
          </p:cNvPr>
          <p:cNvGrpSpPr/>
          <p:nvPr/>
        </p:nvGrpSpPr>
        <p:grpSpPr>
          <a:xfrm>
            <a:off x="2152650" y="1495618"/>
            <a:ext cx="7886700" cy="4497918"/>
            <a:chOff x="2152650" y="1495618"/>
            <a:chExt cx="7886700" cy="4497918"/>
          </a:xfrm>
        </p:grpSpPr>
        <p:pic>
          <p:nvPicPr>
            <p:cNvPr id="4" name="Main graphic">
              <a:extLst>
                <a:ext uri="{FF2B5EF4-FFF2-40B4-BE49-F238E27FC236}">
                  <a16:creationId xmlns:a16="http://schemas.microsoft.com/office/drawing/2014/main" id="{A401EDAE-EBC3-8D0C-4E9A-F10B37F3F098}"/>
                </a:ext>
              </a:extLst>
            </p:cNvPr>
            <p:cNvPicPr>
              <a:picLocks/>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p:blipFill>
          <p:spPr>
            <a:xfrm>
              <a:off x="2152650" y="1495618"/>
              <a:ext cx="7886700" cy="4497918"/>
            </a:xfrm>
            <a:prstGeom prst="rect">
              <a:avLst/>
            </a:prstGeom>
            <a:ln>
              <a:noFill/>
            </a:ln>
          </p:spPr>
        </p:pic>
        <p:sp>
          <p:nvSpPr>
            <p:cNvPr id="3" name="TextBox 2">
              <a:extLst>
                <a:ext uri="{FF2B5EF4-FFF2-40B4-BE49-F238E27FC236}">
                  <a16:creationId xmlns:a16="http://schemas.microsoft.com/office/drawing/2014/main" id="{F47155E5-B5C7-3DF9-C3A4-77F515ECAF0C}"/>
                </a:ext>
              </a:extLst>
            </p:cNvPr>
            <p:cNvSpPr txBox="1"/>
            <p:nvPr/>
          </p:nvSpPr>
          <p:spPr>
            <a:xfrm>
              <a:off x="5239073" y="1678074"/>
              <a:ext cx="1318758" cy="276999"/>
            </a:xfrm>
            <a:prstGeom prst="rect">
              <a:avLst/>
            </a:prstGeom>
            <a:solidFill>
              <a:schemeClr val="bg1"/>
            </a:solidFill>
          </p:spPr>
          <p:txBody>
            <a:bodyPr wrap="non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pitchFamily="2" charset="0"/>
                  <a:ea typeface="+mn-ea"/>
                  <a:cs typeface="+mn-cs"/>
                </a:rPr>
                <a:t>Tisagenlecleucel</a:t>
              </a:r>
            </a:p>
          </p:txBody>
        </p:sp>
        <p:sp>
          <p:nvSpPr>
            <p:cNvPr id="6" name="TextBox 5">
              <a:extLst>
                <a:ext uri="{FF2B5EF4-FFF2-40B4-BE49-F238E27FC236}">
                  <a16:creationId xmlns:a16="http://schemas.microsoft.com/office/drawing/2014/main" id="{43034931-7BB9-3E44-2F29-1EB3F9EF8167}"/>
                </a:ext>
              </a:extLst>
            </p:cNvPr>
            <p:cNvSpPr txBox="1"/>
            <p:nvPr/>
          </p:nvSpPr>
          <p:spPr>
            <a:xfrm>
              <a:off x="2574850" y="1566318"/>
              <a:ext cx="1227718" cy="461665"/>
            </a:xfrm>
            <a:prstGeom prst="rect">
              <a:avLst/>
            </a:prstGeom>
            <a:solidFill>
              <a:schemeClr val="bg1"/>
            </a:solid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pitchFamily="2" charset="0"/>
                  <a:ea typeface="+mn-ea"/>
                  <a:cs typeface="+mn-cs"/>
                </a:rPr>
                <a:t>Axicabtagene ciloleucel</a:t>
              </a:r>
            </a:p>
          </p:txBody>
        </p:sp>
        <p:sp>
          <p:nvSpPr>
            <p:cNvPr id="8" name="TextBox 7">
              <a:extLst>
                <a:ext uri="{FF2B5EF4-FFF2-40B4-BE49-F238E27FC236}">
                  <a16:creationId xmlns:a16="http://schemas.microsoft.com/office/drawing/2014/main" id="{21F57F94-0E2E-C138-14BC-E0C721FC54FC}"/>
                </a:ext>
              </a:extLst>
            </p:cNvPr>
            <p:cNvSpPr txBox="1"/>
            <p:nvPr/>
          </p:nvSpPr>
          <p:spPr>
            <a:xfrm>
              <a:off x="8429235" y="1566318"/>
              <a:ext cx="1250024" cy="461665"/>
            </a:xfrm>
            <a:prstGeom prst="rect">
              <a:avLst/>
            </a:prstGeom>
            <a:solidFill>
              <a:schemeClr val="bg1"/>
            </a:solid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pitchFamily="2" charset="0"/>
                  <a:ea typeface="+mn-ea"/>
                  <a:cs typeface="+mn-cs"/>
                </a:rPr>
                <a:t>Lisocabtagene maraleucel</a:t>
              </a:r>
            </a:p>
          </p:txBody>
        </p:sp>
      </p:grpSp>
    </p:spTree>
    <p:extLst>
      <p:ext uri="{BB962C8B-B14F-4D97-AF65-F5344CB8AC3E}">
        <p14:creationId xmlns:p14="http://schemas.microsoft.com/office/powerpoint/2010/main" val="34938239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F3DEC-43FA-F5C5-73D4-66296E169CCF}"/>
              </a:ext>
            </a:extLst>
          </p:cNvPr>
          <p:cNvSpPr>
            <a:spLocks noGrp="1"/>
          </p:cNvSpPr>
          <p:nvPr>
            <p:ph type="title"/>
          </p:nvPr>
        </p:nvSpPr>
        <p:spPr>
          <a:xfrm>
            <a:off x="2152650" y="198873"/>
            <a:ext cx="7886700" cy="622426"/>
          </a:xfrm>
        </p:spPr>
        <p:txBody>
          <a:bodyPr>
            <a:normAutofit/>
          </a:bodyPr>
          <a:lstStyle/>
          <a:p>
            <a:r>
              <a:rPr lang="en-US" sz="2800" dirty="0">
                <a:latin typeface="Arial" panose="020B0604020202020204" pitchFamily="34" charset="0"/>
                <a:cs typeface="Arial" panose="020B0604020202020204" pitchFamily="34" charset="0"/>
              </a:rPr>
              <a:t>                    Baseline Characteristics</a:t>
            </a:r>
          </a:p>
        </p:txBody>
      </p:sp>
      <p:graphicFrame>
        <p:nvGraphicFramePr>
          <p:cNvPr id="5" name="Content Placeholder 2">
            <a:extLst>
              <a:ext uri="{FF2B5EF4-FFF2-40B4-BE49-F238E27FC236}">
                <a16:creationId xmlns:a16="http://schemas.microsoft.com/office/drawing/2014/main" id="{9F478B84-EB14-B0F0-1E77-5BC71433DA49}"/>
              </a:ext>
            </a:extLst>
          </p:cNvPr>
          <p:cNvGraphicFramePr>
            <a:graphicFrameLocks/>
          </p:cNvGraphicFramePr>
          <p:nvPr/>
        </p:nvGraphicFramePr>
        <p:xfrm>
          <a:off x="1961420" y="955410"/>
          <a:ext cx="8269160" cy="5222138"/>
        </p:xfrm>
        <a:graphic>
          <a:graphicData uri="http://schemas.openxmlformats.org/drawingml/2006/table">
            <a:tbl>
              <a:tblPr firstRow="1" bandRow="1">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effectLst>
                  <a:outerShdw blurRad="40000" dist="20000" dir="5400000" rotWithShape="0">
                    <a:srgbClr val="000000">
                      <a:alpha val="38000"/>
                    </a:srgbClr>
                  </a:outerShdw>
                </a:effectLst>
              </a:tblPr>
              <a:tblGrid>
                <a:gridCol w="2067290">
                  <a:extLst>
                    <a:ext uri="{9D8B030D-6E8A-4147-A177-3AD203B41FA5}">
                      <a16:colId xmlns:a16="http://schemas.microsoft.com/office/drawing/2014/main" val="46333049"/>
                    </a:ext>
                  </a:extLst>
                </a:gridCol>
                <a:gridCol w="2067290">
                  <a:extLst>
                    <a:ext uri="{9D8B030D-6E8A-4147-A177-3AD203B41FA5}">
                      <a16:colId xmlns:a16="http://schemas.microsoft.com/office/drawing/2014/main" val="2677299999"/>
                    </a:ext>
                  </a:extLst>
                </a:gridCol>
                <a:gridCol w="2067290">
                  <a:extLst>
                    <a:ext uri="{9D8B030D-6E8A-4147-A177-3AD203B41FA5}">
                      <a16:colId xmlns:a16="http://schemas.microsoft.com/office/drawing/2014/main" val="1797481677"/>
                    </a:ext>
                  </a:extLst>
                </a:gridCol>
                <a:gridCol w="2067290">
                  <a:extLst>
                    <a:ext uri="{9D8B030D-6E8A-4147-A177-3AD203B41FA5}">
                      <a16:colId xmlns:a16="http://schemas.microsoft.com/office/drawing/2014/main" val="3983535285"/>
                    </a:ext>
                  </a:extLst>
                </a:gridCol>
              </a:tblGrid>
              <a:tr h="547123">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endParaRPr lang="en-US" sz="1200" dirty="0">
                        <a:latin typeface="Arial" panose="020B0604020202020204" pitchFamily="34" charset="0"/>
                        <a:cs typeface="Arial" panose="020B0604020202020204" pitchFamily="34" charset="0"/>
                      </a:endParaRPr>
                    </a:p>
                  </a:txBody>
                  <a:tcPr marL="68580" marR="68580" marT="34290" marB="34290">
                    <a:lnL w="9525" cap="flat" cmpd="sng" algn="ctr">
                      <a:solidFill>
                        <a:srgbClr val="4F81BD">
                          <a:shade val="95000"/>
                          <a:satMod val="105000"/>
                        </a:srgbClr>
                      </a:solidFill>
                      <a:prstDash val="solid"/>
                    </a:lnL>
                    <a:lnR>
                      <a:noFill/>
                    </a:lnR>
                    <a:lnT w="9525" cap="flat" cmpd="sng" algn="ctr">
                      <a:solidFill>
                        <a:srgbClr val="4F81BD">
                          <a:shade val="95000"/>
                          <a:satMod val="105000"/>
                        </a:srgbClr>
                      </a:solidFill>
                      <a:prstDash val="solid"/>
                    </a:lnT>
                    <a:lnB w="25400" cap="flat" cmpd="sng" algn="ctr">
                      <a:solidFill>
                        <a:sysClr val="window" lastClr="FFFFFF"/>
                      </a:solidFill>
                      <a:prstDash val="solid"/>
                    </a:lnB>
                    <a:lnTlToBr w="12700" cmpd="sng">
                      <a:noFill/>
                      <a:prstDash val="solid"/>
                    </a:lnTlToBr>
                    <a:lnBlToTr w="12700" cmpd="sng">
                      <a:noFill/>
                      <a:prstDash val="solid"/>
                    </a:lnBlToTr>
                    <a:solidFill>
                      <a:srgbClr val="4F81BD"/>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r>
                        <a:rPr lang="en-US" sz="1200" b="1" dirty="0">
                          <a:latin typeface="Arial" panose="020B0604020202020204" pitchFamily="34" charset="0"/>
                          <a:cs typeface="Arial" panose="020B0604020202020204" pitchFamily="34" charset="0"/>
                        </a:rPr>
                        <a:t>             ZUMA-1 </a:t>
                      </a:r>
                      <a:r>
                        <a:rPr lang="en-US" sz="1200" b="1" dirty="0" err="1">
                          <a:latin typeface="Arial" panose="020B0604020202020204" pitchFamily="34" charset="0"/>
                          <a:cs typeface="Arial" panose="020B0604020202020204" pitchFamily="34" charset="0"/>
                        </a:rPr>
                        <a:t>Axicabtagene</a:t>
                      </a:r>
                      <a:r>
                        <a:rPr lang="en-US" sz="1200" b="1" dirty="0">
                          <a:latin typeface="Arial" panose="020B0604020202020204" pitchFamily="34" charset="0"/>
                          <a:cs typeface="Arial" panose="020B0604020202020204" pitchFamily="34" charset="0"/>
                        </a:rPr>
                        <a:t> </a:t>
                      </a:r>
                      <a:r>
                        <a:rPr lang="en-US" sz="1200" b="1" dirty="0" err="1">
                          <a:latin typeface="Arial" panose="020B0604020202020204" pitchFamily="34" charset="0"/>
                          <a:cs typeface="Arial" panose="020B0604020202020204" pitchFamily="34" charset="0"/>
                        </a:rPr>
                        <a:t>Ciloleucel</a:t>
                      </a:r>
                      <a:endParaRPr lang="en-US" sz="1200" b="1" dirty="0">
                        <a:latin typeface="Arial" panose="020B0604020202020204" pitchFamily="34" charset="0"/>
                        <a:cs typeface="Arial" panose="020B0604020202020204" pitchFamily="34" charset="0"/>
                      </a:endParaRPr>
                    </a:p>
                  </a:txBody>
                  <a:tcPr marL="68580" marR="68580" marT="34290" marB="34290">
                    <a:lnL>
                      <a:noFill/>
                    </a:lnL>
                    <a:lnR>
                      <a:noFill/>
                    </a:lnR>
                    <a:lnT w="9525" cap="flat" cmpd="sng" algn="ctr">
                      <a:solidFill>
                        <a:srgbClr val="4F81BD">
                          <a:shade val="95000"/>
                          <a:satMod val="105000"/>
                        </a:srgbClr>
                      </a:solidFill>
                      <a:prstDash val="solid"/>
                    </a:lnT>
                    <a:lnB w="25400" cap="flat" cmpd="sng" algn="ctr">
                      <a:solidFill>
                        <a:sysClr val="window" lastClr="FFFFFF"/>
                      </a:solidFill>
                      <a:prstDash val="solid"/>
                    </a:lnB>
                    <a:lnTlToBr w="12700" cmpd="sng">
                      <a:noFill/>
                      <a:prstDash val="solid"/>
                    </a:lnTlToBr>
                    <a:lnBlToTr w="12700" cmpd="sng">
                      <a:noFill/>
                      <a:prstDash val="solid"/>
                    </a:lnBlToTr>
                    <a:solidFill>
                      <a:srgbClr val="4F81BD"/>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r>
                        <a:rPr lang="en-US" sz="1200" b="1" dirty="0">
                          <a:latin typeface="Arial" panose="020B0604020202020204" pitchFamily="34" charset="0"/>
                          <a:cs typeface="Arial" panose="020B0604020202020204" pitchFamily="34" charset="0"/>
                        </a:rPr>
                        <a:t>         TRANSCEND</a:t>
                      </a:r>
                    </a:p>
                    <a:p>
                      <a:r>
                        <a:rPr lang="en-US" sz="1200" b="1" dirty="0" err="1">
                          <a:latin typeface="Arial" panose="020B0604020202020204" pitchFamily="34" charset="0"/>
                          <a:cs typeface="Arial" panose="020B0604020202020204" pitchFamily="34" charset="0"/>
                        </a:rPr>
                        <a:t>Lisocabtagene</a:t>
                      </a:r>
                      <a:r>
                        <a:rPr lang="en-US" sz="1200" b="1" dirty="0">
                          <a:latin typeface="Arial" panose="020B0604020202020204" pitchFamily="34" charset="0"/>
                          <a:cs typeface="Arial" panose="020B0604020202020204" pitchFamily="34" charset="0"/>
                        </a:rPr>
                        <a:t> </a:t>
                      </a:r>
                      <a:r>
                        <a:rPr lang="en-US" sz="1200" b="1" dirty="0" err="1">
                          <a:latin typeface="Arial" panose="020B0604020202020204" pitchFamily="34" charset="0"/>
                          <a:cs typeface="Arial" panose="020B0604020202020204" pitchFamily="34" charset="0"/>
                        </a:rPr>
                        <a:t>Maraleucel</a:t>
                      </a:r>
                      <a:endParaRPr lang="en-US" sz="1200" b="1" dirty="0">
                        <a:latin typeface="Arial" panose="020B0604020202020204" pitchFamily="34" charset="0"/>
                        <a:cs typeface="Arial" panose="020B0604020202020204" pitchFamily="34" charset="0"/>
                      </a:endParaRPr>
                    </a:p>
                  </a:txBody>
                  <a:tcPr marL="68580" marR="68580" marT="34290" marB="34290">
                    <a:lnL>
                      <a:noFill/>
                    </a:lnL>
                    <a:lnR>
                      <a:noFill/>
                    </a:lnR>
                    <a:lnT w="9525" cap="flat" cmpd="sng" algn="ctr">
                      <a:solidFill>
                        <a:srgbClr val="4F81BD">
                          <a:shade val="95000"/>
                          <a:satMod val="105000"/>
                        </a:srgbClr>
                      </a:solidFill>
                      <a:prstDash val="solid"/>
                    </a:lnT>
                    <a:lnB w="25400" cap="flat" cmpd="sng" algn="ctr">
                      <a:solidFill>
                        <a:sysClr val="window" lastClr="FFFFFF"/>
                      </a:solidFill>
                      <a:prstDash val="solid"/>
                    </a:lnB>
                    <a:lnTlToBr w="12700" cmpd="sng">
                      <a:noFill/>
                      <a:prstDash val="solid"/>
                    </a:lnTlToBr>
                    <a:lnBlToTr w="12700" cmpd="sng">
                      <a:noFill/>
                      <a:prstDash val="solid"/>
                    </a:lnBlToTr>
                    <a:solidFill>
                      <a:srgbClr val="4F81BD"/>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r>
                        <a:rPr lang="en-US" sz="1200" b="1" dirty="0">
                          <a:latin typeface="Arial" panose="020B0604020202020204" pitchFamily="34" charset="0"/>
                          <a:cs typeface="Arial" panose="020B0604020202020204" pitchFamily="34" charset="0"/>
                        </a:rPr>
                        <a:t>               JULIET</a:t>
                      </a:r>
                    </a:p>
                    <a:p>
                      <a:r>
                        <a:rPr lang="en-US" sz="1200" b="1" dirty="0">
                          <a:latin typeface="Arial" panose="020B0604020202020204" pitchFamily="34" charset="0"/>
                          <a:cs typeface="Arial" panose="020B0604020202020204" pitchFamily="34" charset="0"/>
                        </a:rPr>
                        <a:t>       </a:t>
                      </a:r>
                      <a:r>
                        <a:rPr lang="en-US" sz="1200" b="1" dirty="0" err="1">
                          <a:latin typeface="Arial" panose="020B0604020202020204" pitchFamily="34" charset="0"/>
                          <a:cs typeface="Arial" panose="020B0604020202020204" pitchFamily="34" charset="0"/>
                        </a:rPr>
                        <a:t>Tisagenlecleucel</a:t>
                      </a:r>
                      <a:endParaRPr lang="en-US" sz="1200" b="1" dirty="0">
                        <a:latin typeface="Arial" panose="020B0604020202020204" pitchFamily="34" charset="0"/>
                        <a:cs typeface="Arial" panose="020B0604020202020204" pitchFamily="34" charset="0"/>
                      </a:endParaRPr>
                    </a:p>
                  </a:txBody>
                  <a:tcPr marL="68580" marR="68580" marT="34290" marB="34290">
                    <a:lnL>
                      <a:noFill/>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25400" cap="flat" cmpd="sng" algn="ctr">
                      <a:solidFill>
                        <a:sysClr val="window" lastClr="FFFFFF"/>
                      </a:solidFill>
                      <a:prstDash val="solid"/>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2506505387"/>
                  </a:ext>
                </a:extLst>
              </a:tr>
              <a:tr h="467135">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Dose</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25400" cap="flat" cmpd="sng" algn="ctr">
                      <a:solidFill>
                        <a:sysClr val="window" lastClr="FFFFFF"/>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0" dirty="0">
                          <a:latin typeface="Arial" panose="020B0604020202020204" pitchFamily="34" charset="0"/>
                          <a:cs typeface="Arial" panose="020B0604020202020204" pitchFamily="34" charset="0"/>
                        </a:rPr>
                        <a:t>           2 x 10</a:t>
                      </a:r>
                      <a:r>
                        <a:rPr lang="en-US" sz="1400" b="0" baseline="30000" dirty="0">
                          <a:latin typeface="Arial" panose="020B0604020202020204" pitchFamily="34" charset="0"/>
                          <a:cs typeface="Arial" panose="020B0604020202020204" pitchFamily="34" charset="0"/>
                        </a:rPr>
                        <a:t>6</a:t>
                      </a:r>
                      <a:r>
                        <a:rPr lang="en-US" sz="1400" b="0" dirty="0">
                          <a:latin typeface="Arial" panose="020B0604020202020204" pitchFamily="34" charset="0"/>
                          <a:cs typeface="Arial" panose="020B0604020202020204" pitchFamily="34" charset="0"/>
                        </a:rPr>
                        <a:t>/kg</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25400" cap="flat" cmpd="sng" algn="ctr">
                      <a:solidFill>
                        <a:sysClr val="window" lastClr="FFFFFF"/>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0" dirty="0">
                          <a:latin typeface="Arial" panose="020B0604020202020204" pitchFamily="34" charset="0"/>
                          <a:cs typeface="Arial" panose="020B0604020202020204" pitchFamily="34" charset="0"/>
                        </a:rPr>
                        <a:t>               100 x 10</a:t>
                      </a:r>
                      <a:r>
                        <a:rPr lang="en-US" sz="1400" b="0" baseline="30000" dirty="0">
                          <a:latin typeface="Arial" panose="020B0604020202020204" pitchFamily="34" charset="0"/>
                          <a:cs typeface="Arial" panose="020B0604020202020204" pitchFamily="34" charset="0"/>
                        </a:rPr>
                        <a:t>6</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25400" cap="flat" cmpd="sng" algn="ctr">
                      <a:solidFill>
                        <a:sysClr val="window" lastClr="FFFFFF"/>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0" dirty="0">
                          <a:latin typeface="Arial" panose="020B0604020202020204" pitchFamily="34" charset="0"/>
                          <a:cs typeface="Arial" panose="020B0604020202020204" pitchFamily="34" charset="0"/>
                        </a:rPr>
                        <a:t>           </a:t>
                      </a:r>
                      <a:r>
                        <a:rPr lang="en-US" sz="1400" dirty="0">
                          <a:latin typeface="Arial" panose="020B0604020202020204" pitchFamily="34" charset="0"/>
                          <a:cs typeface="Arial" panose="020B0604020202020204" pitchFamily="34" charset="0"/>
                        </a:rPr>
                        <a:t>0.6 to 6.0 x 10</a:t>
                      </a:r>
                      <a:r>
                        <a:rPr lang="en-US" sz="1400" baseline="30000" dirty="0">
                          <a:latin typeface="Arial" panose="020B0604020202020204" pitchFamily="34" charset="0"/>
                          <a:cs typeface="Arial" panose="020B0604020202020204" pitchFamily="34" charset="0"/>
                        </a:rPr>
                        <a:t>8</a:t>
                      </a:r>
                      <a:r>
                        <a:rPr lang="en-US" sz="1400" dirty="0">
                          <a:latin typeface="Arial" panose="020B0604020202020204" pitchFamily="34" charset="0"/>
                          <a:cs typeface="Arial" panose="020B0604020202020204" pitchFamily="34" charset="0"/>
                        </a:rPr>
                        <a:t> </a:t>
                      </a:r>
                      <a:endParaRPr lang="en-US" sz="1400" b="0" dirty="0">
                        <a:latin typeface="Arial" panose="020B0604020202020204" pitchFamily="34" charset="0"/>
                        <a:cs typeface="Arial" panose="020B0604020202020204" pitchFamily="34" charset="0"/>
                      </a:endParaRP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25400" cap="flat" cmpd="sng" algn="ctr">
                      <a:solidFill>
                        <a:sysClr val="window" lastClr="FFFFFF"/>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1745854458"/>
                  </a:ext>
                </a:extLst>
              </a:tr>
              <a:tr h="467135">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Lymphodepletion x3 days</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0" dirty="0">
                          <a:latin typeface="Arial" panose="020B0604020202020204" pitchFamily="34" charset="0"/>
                          <a:cs typeface="Arial" panose="020B0604020202020204" pitchFamily="34" charset="0"/>
                        </a:rPr>
                        <a:t>           Flu/Cy 500/30</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0" baseline="0" dirty="0">
                          <a:latin typeface="Arial" panose="020B0604020202020204" pitchFamily="34" charset="0"/>
                          <a:cs typeface="Arial" panose="020B0604020202020204" pitchFamily="34" charset="0"/>
                        </a:rPr>
                        <a:t>           Flu/Cy 300/30</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0" dirty="0">
                          <a:latin typeface="Arial" panose="020B0604020202020204" pitchFamily="34" charset="0"/>
                          <a:cs typeface="Arial" panose="020B0604020202020204" pitchFamily="34" charset="0"/>
                        </a:rPr>
                        <a:t>Flu/Cy 250/25, OR Bendax2</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2948129229"/>
                  </a:ext>
                </a:extLst>
              </a:tr>
              <a:tr h="467135">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 Treated / Enrolled</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101/111</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269/344</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111/165</a:t>
                      </a:r>
                    </a:p>
                  </a:txBody>
                  <a:tcPr marL="68580" marR="68580" marT="34290" marB="34290">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1874647314"/>
                  </a:ext>
                </a:extLst>
              </a:tr>
              <a:tr h="467135">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Bridging Rx (%)</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0          </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59</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92</a:t>
                      </a:r>
                    </a:p>
                  </a:txBody>
                  <a:tcPr marL="68580" marR="68580" marT="34290" marB="34290">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2510359467"/>
                  </a:ext>
                </a:extLst>
              </a:tr>
              <a:tr h="1238227">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Lymphoma Subtypes</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DLBCL, PMBCL, HGBCL, Transformed FL</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DLBCL, PMBCL, HGBCL, Transformed FL, Transformed Non-FL, </a:t>
                      </a:r>
                    </a:p>
                    <a:p>
                      <a:pPr algn="ctr"/>
                      <a:r>
                        <a:rPr lang="en-US" sz="1400" dirty="0">
                          <a:latin typeface="Arial" panose="020B0604020202020204" pitchFamily="34" charset="0"/>
                          <a:cs typeface="Arial" panose="020B0604020202020204" pitchFamily="34" charset="0"/>
                        </a:rPr>
                        <a:t>Sec CNS involvement, </a:t>
                      </a:r>
                    </a:p>
                    <a:p>
                      <a:pPr algn="ctr"/>
                      <a:r>
                        <a:rPr lang="en-US" sz="1400" dirty="0">
                          <a:latin typeface="Arial" panose="020B0604020202020204" pitchFamily="34" charset="0"/>
                          <a:cs typeface="Arial" panose="020B0604020202020204" pitchFamily="34" charset="0"/>
                        </a:rPr>
                        <a:t>Prior </a:t>
                      </a:r>
                      <a:r>
                        <a:rPr lang="en-US" sz="1400" dirty="0" err="1">
                          <a:latin typeface="Arial" panose="020B0604020202020204" pitchFamily="34" charset="0"/>
                          <a:cs typeface="Arial" panose="020B0604020202020204" pitchFamily="34" charset="0"/>
                        </a:rPr>
                        <a:t>Allo</a:t>
                      </a:r>
                      <a:endParaRPr lang="en-US" sz="1400" dirty="0">
                        <a:latin typeface="Arial" panose="020B0604020202020204" pitchFamily="34" charset="0"/>
                        <a:cs typeface="Arial" panose="020B0604020202020204" pitchFamily="34" charset="0"/>
                      </a:endParaRP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                                                      </a:t>
                      </a:r>
                    </a:p>
                    <a:p>
                      <a:pPr algn="ctr"/>
                      <a:endParaRPr lang="en-US" sz="1400" dirty="0">
                        <a:latin typeface="Arial" panose="020B0604020202020204" pitchFamily="34" charset="0"/>
                        <a:cs typeface="Arial" panose="020B0604020202020204" pitchFamily="34" charset="0"/>
                      </a:endParaRPr>
                    </a:p>
                    <a:p>
                      <a:pPr algn="ctr"/>
                      <a:r>
                        <a:rPr lang="en-US" sz="1400" dirty="0">
                          <a:latin typeface="Arial" panose="020B0604020202020204" pitchFamily="34" charset="0"/>
                          <a:cs typeface="Arial" panose="020B0604020202020204" pitchFamily="34" charset="0"/>
                        </a:rPr>
                        <a:t>DLBCL, Transformed FL</a:t>
                      </a:r>
                    </a:p>
                  </a:txBody>
                  <a:tcPr marL="68580" marR="68580" marT="34290" marB="34290">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3865184801"/>
                  </a:ext>
                </a:extLst>
              </a:tr>
              <a:tr h="467135">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Median Age </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58 (23-76)</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63 (18-86)</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56 (22-76)</a:t>
                      </a:r>
                    </a:p>
                  </a:txBody>
                  <a:tcPr marL="68580" marR="68580" marT="34290" marB="34290">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1448314246"/>
                  </a:ext>
                </a:extLst>
              </a:tr>
              <a:tr h="467135">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Median prior LOT </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3</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3</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2 (44%), 3 (31%)</a:t>
                      </a:r>
                    </a:p>
                  </a:txBody>
                  <a:tcPr marL="68580" marR="68580" marT="34290" marB="34290">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4193131100"/>
                  </a:ext>
                </a:extLst>
              </a:tr>
              <a:tr h="467135">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Refractory/Prior ASCT (%) </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100/23</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67/35</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 55/49</a:t>
                      </a:r>
                    </a:p>
                  </a:txBody>
                  <a:tcPr marL="68580" marR="68580" marT="34290" marB="34290">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4050436685"/>
                  </a:ext>
                </a:extLst>
              </a:tr>
            </a:tbl>
          </a:graphicData>
        </a:graphic>
      </p:graphicFrame>
      <p:sp>
        <p:nvSpPr>
          <p:cNvPr id="6" name="TextBox 5">
            <a:extLst>
              <a:ext uri="{FF2B5EF4-FFF2-40B4-BE49-F238E27FC236}">
                <a16:creationId xmlns:a16="http://schemas.microsoft.com/office/drawing/2014/main" id="{FFCFD1E5-526B-64DD-B9AF-88947AE0521C}"/>
              </a:ext>
            </a:extLst>
          </p:cNvPr>
          <p:cNvSpPr txBox="1"/>
          <p:nvPr/>
        </p:nvSpPr>
        <p:spPr>
          <a:xfrm>
            <a:off x="1961421" y="3416004"/>
            <a:ext cx="8269161" cy="1320776"/>
          </a:xfrm>
          <a:prstGeom prst="rect">
            <a:avLst/>
          </a:prstGeom>
          <a:noFill/>
          <a:ln w="38100">
            <a:solidFill>
              <a:srgbClr val="CD113B"/>
            </a:solidFill>
          </a:ln>
        </p:spPr>
        <p:txBody>
          <a:bodyPr wrap="square" rtlCol="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
        <p:nvSpPr>
          <p:cNvPr id="7" name="TextBox 6">
            <a:extLst>
              <a:ext uri="{FF2B5EF4-FFF2-40B4-BE49-F238E27FC236}">
                <a16:creationId xmlns:a16="http://schemas.microsoft.com/office/drawing/2014/main" id="{65AE625C-54DD-E4D1-9173-BF6E2013BC15}"/>
              </a:ext>
            </a:extLst>
          </p:cNvPr>
          <p:cNvSpPr txBox="1"/>
          <p:nvPr/>
        </p:nvSpPr>
        <p:spPr>
          <a:xfrm>
            <a:off x="9682914" y="6311659"/>
            <a:ext cx="2255746" cy="461665"/>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ocke FL, et al. Lancet Oncol. 2019;20:31-42</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chuster, et al. Lancet </a:t>
            </a:r>
            <a:r>
              <a:rPr kumimoji="0" lang="en-US" sz="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nc</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21</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bramson JS, et al. Lancet 2020 </a:t>
            </a:r>
          </a:p>
        </p:txBody>
      </p:sp>
      <p:sp>
        <p:nvSpPr>
          <p:cNvPr id="3" name="Oval 2">
            <a:extLst>
              <a:ext uri="{FF2B5EF4-FFF2-40B4-BE49-F238E27FC236}">
                <a16:creationId xmlns:a16="http://schemas.microsoft.com/office/drawing/2014/main" id="{B711558A-BA91-4A4D-7ECB-793066968BA1}"/>
              </a:ext>
            </a:extLst>
          </p:cNvPr>
          <p:cNvSpPr/>
          <p:nvPr/>
        </p:nvSpPr>
        <p:spPr>
          <a:xfrm>
            <a:off x="6606209" y="4736780"/>
            <a:ext cx="1106557" cy="570115"/>
          </a:xfrm>
          <a:prstGeom prst="ellipse">
            <a:avLst/>
          </a:prstGeom>
          <a:noFill/>
          <a:ln w="762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54067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1DA2C-6B42-6883-1276-1683DADDAB93}"/>
              </a:ext>
            </a:extLst>
          </p:cNvPr>
          <p:cNvSpPr>
            <a:spLocks noGrp="1"/>
          </p:cNvSpPr>
          <p:nvPr>
            <p:ph type="title"/>
          </p:nvPr>
        </p:nvSpPr>
        <p:spPr>
          <a:xfrm>
            <a:off x="1921002" y="267591"/>
            <a:ext cx="7886700" cy="598042"/>
          </a:xfrm>
        </p:spPr>
        <p:txBody>
          <a:bodyPr>
            <a:normAutofit/>
          </a:bodyPr>
          <a:lstStyle/>
          <a:p>
            <a:r>
              <a:rPr lang="en-US" sz="2800" dirty="0">
                <a:latin typeface="Arial" panose="020B0604020202020204" pitchFamily="34" charset="0"/>
                <a:cs typeface="Arial" panose="020B0604020202020204" pitchFamily="34" charset="0"/>
              </a:rPr>
              <a:t>                          Efficacy and Safety</a:t>
            </a:r>
          </a:p>
        </p:txBody>
      </p:sp>
      <p:graphicFrame>
        <p:nvGraphicFramePr>
          <p:cNvPr id="5" name="Content Placeholder 2">
            <a:extLst>
              <a:ext uri="{FF2B5EF4-FFF2-40B4-BE49-F238E27FC236}">
                <a16:creationId xmlns:a16="http://schemas.microsoft.com/office/drawing/2014/main" id="{181727DB-A965-F20C-B66A-1B89DCB8E366}"/>
              </a:ext>
            </a:extLst>
          </p:cNvPr>
          <p:cNvGraphicFramePr>
            <a:graphicFrameLocks/>
          </p:cNvGraphicFramePr>
          <p:nvPr/>
        </p:nvGraphicFramePr>
        <p:xfrm>
          <a:off x="1921762" y="1036321"/>
          <a:ext cx="8348476" cy="4939622"/>
        </p:xfrm>
        <a:graphic>
          <a:graphicData uri="http://schemas.openxmlformats.org/drawingml/2006/table">
            <a:tbl>
              <a:tblPr firstRow="1" bandRow="1">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effectLst>
                  <a:outerShdw blurRad="40000" dist="20000" dir="5400000" rotWithShape="0">
                    <a:srgbClr val="000000">
                      <a:alpha val="38000"/>
                    </a:srgbClr>
                  </a:outerShdw>
                </a:effectLst>
              </a:tblPr>
              <a:tblGrid>
                <a:gridCol w="2087119">
                  <a:extLst>
                    <a:ext uri="{9D8B030D-6E8A-4147-A177-3AD203B41FA5}">
                      <a16:colId xmlns:a16="http://schemas.microsoft.com/office/drawing/2014/main" val="46333049"/>
                    </a:ext>
                  </a:extLst>
                </a:gridCol>
                <a:gridCol w="2087119">
                  <a:extLst>
                    <a:ext uri="{9D8B030D-6E8A-4147-A177-3AD203B41FA5}">
                      <a16:colId xmlns:a16="http://schemas.microsoft.com/office/drawing/2014/main" val="2677299999"/>
                    </a:ext>
                  </a:extLst>
                </a:gridCol>
                <a:gridCol w="2087119">
                  <a:extLst>
                    <a:ext uri="{9D8B030D-6E8A-4147-A177-3AD203B41FA5}">
                      <a16:colId xmlns:a16="http://schemas.microsoft.com/office/drawing/2014/main" val="1797481677"/>
                    </a:ext>
                  </a:extLst>
                </a:gridCol>
                <a:gridCol w="2087119">
                  <a:extLst>
                    <a:ext uri="{9D8B030D-6E8A-4147-A177-3AD203B41FA5}">
                      <a16:colId xmlns:a16="http://schemas.microsoft.com/office/drawing/2014/main" val="4065930168"/>
                    </a:ext>
                  </a:extLst>
                </a:gridCol>
              </a:tblGrid>
              <a:tr h="577931">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endParaRPr lang="en-US" sz="1400" dirty="0">
                        <a:solidFill>
                          <a:schemeClr val="tx2">
                            <a:lumMod val="75000"/>
                          </a:schemeClr>
                        </a:solidFill>
                        <a:latin typeface="Arial" panose="020B0604020202020204" pitchFamily="34" charset="0"/>
                        <a:cs typeface="Arial" panose="020B0604020202020204" pitchFamily="34" charset="0"/>
                      </a:endParaRPr>
                    </a:p>
                  </a:txBody>
                  <a:tcPr marL="68580" marR="68580" marT="34290" marB="34290">
                    <a:lnL w="9525" cap="flat" cmpd="sng" algn="ctr">
                      <a:solidFill>
                        <a:srgbClr val="4F81BD">
                          <a:shade val="95000"/>
                          <a:satMod val="105000"/>
                        </a:srgbClr>
                      </a:solidFill>
                      <a:prstDash val="solid"/>
                    </a:lnL>
                    <a:lnR>
                      <a:noFill/>
                    </a:lnR>
                    <a:lnT w="9525" cap="flat" cmpd="sng" algn="ctr">
                      <a:solidFill>
                        <a:srgbClr val="4F81BD">
                          <a:shade val="95000"/>
                          <a:satMod val="105000"/>
                        </a:srgbClr>
                      </a:solidFill>
                      <a:prstDash val="solid"/>
                    </a:lnT>
                    <a:lnB w="25400" cap="flat" cmpd="sng" algn="ctr">
                      <a:solidFill>
                        <a:sysClr val="window" lastClr="FFFFFF"/>
                      </a:solidFill>
                      <a:prstDash val="solid"/>
                    </a:lnB>
                    <a:lnTlToBr w="12700" cmpd="sng">
                      <a:noFill/>
                      <a:prstDash val="solid"/>
                    </a:lnTlToBr>
                    <a:lnBlToTr w="12700" cmpd="sng">
                      <a:noFill/>
                      <a:prstDash val="solid"/>
                    </a:lnBlToTr>
                    <a:solidFill>
                      <a:srgbClr val="4F81BD"/>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r>
                        <a:rPr lang="en-US" sz="1400" b="1" dirty="0">
                          <a:latin typeface="Arial" panose="020B0604020202020204" pitchFamily="34" charset="0"/>
                          <a:cs typeface="Arial" panose="020B0604020202020204" pitchFamily="34" charset="0"/>
                        </a:rPr>
                        <a:t>          ZUMA-1 </a:t>
                      </a:r>
                      <a:r>
                        <a:rPr lang="en-US" sz="1200" b="1" dirty="0" err="1">
                          <a:latin typeface="Arial" panose="020B0604020202020204" pitchFamily="34" charset="0"/>
                          <a:cs typeface="Arial" panose="020B0604020202020204" pitchFamily="34" charset="0"/>
                        </a:rPr>
                        <a:t>Axicabtagene</a:t>
                      </a:r>
                      <a:r>
                        <a:rPr lang="en-US" sz="1200" b="1" dirty="0">
                          <a:latin typeface="Arial" panose="020B0604020202020204" pitchFamily="34" charset="0"/>
                          <a:cs typeface="Arial" panose="020B0604020202020204" pitchFamily="34" charset="0"/>
                        </a:rPr>
                        <a:t> </a:t>
                      </a:r>
                      <a:r>
                        <a:rPr lang="en-US" sz="1200" b="1" dirty="0" err="1">
                          <a:latin typeface="Arial" panose="020B0604020202020204" pitchFamily="34" charset="0"/>
                          <a:cs typeface="Arial" panose="020B0604020202020204" pitchFamily="34" charset="0"/>
                        </a:rPr>
                        <a:t>Ciloleucel</a:t>
                      </a:r>
                      <a:endParaRPr lang="en-US" sz="1200" b="1" dirty="0">
                        <a:latin typeface="Arial" panose="020B0604020202020204" pitchFamily="34" charset="0"/>
                        <a:cs typeface="Arial" panose="020B0604020202020204" pitchFamily="34" charset="0"/>
                      </a:endParaRPr>
                    </a:p>
                  </a:txBody>
                  <a:tcPr marL="68580" marR="68580" marT="34290" marB="34290">
                    <a:lnL>
                      <a:noFill/>
                    </a:lnL>
                    <a:lnR>
                      <a:noFill/>
                    </a:lnR>
                    <a:lnT w="9525" cap="flat" cmpd="sng" algn="ctr">
                      <a:solidFill>
                        <a:srgbClr val="4F81BD">
                          <a:shade val="95000"/>
                          <a:satMod val="105000"/>
                        </a:srgbClr>
                      </a:solidFill>
                      <a:prstDash val="solid"/>
                    </a:lnT>
                    <a:lnB w="25400" cap="flat" cmpd="sng" algn="ctr">
                      <a:solidFill>
                        <a:sysClr val="window" lastClr="FFFFFF"/>
                      </a:solidFill>
                      <a:prstDash val="solid"/>
                    </a:lnB>
                    <a:lnTlToBr w="12700" cmpd="sng">
                      <a:noFill/>
                      <a:prstDash val="solid"/>
                    </a:lnTlToBr>
                    <a:lnBlToTr w="12700" cmpd="sng">
                      <a:noFill/>
                      <a:prstDash val="solid"/>
                    </a:lnBlToTr>
                    <a:solidFill>
                      <a:srgbClr val="4F81BD"/>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r>
                        <a:rPr lang="en-US" sz="1400" b="1" dirty="0">
                          <a:latin typeface="Arial" panose="020B0604020202020204" pitchFamily="34" charset="0"/>
                          <a:cs typeface="Arial" panose="020B0604020202020204" pitchFamily="34" charset="0"/>
                        </a:rPr>
                        <a:t>      TRANSCEND</a:t>
                      </a:r>
                    </a:p>
                    <a:p>
                      <a:r>
                        <a:rPr lang="en-US" sz="1200" b="1" dirty="0">
                          <a:latin typeface="Arial" panose="020B0604020202020204" pitchFamily="34" charset="0"/>
                          <a:cs typeface="Arial" panose="020B0604020202020204" pitchFamily="34" charset="0"/>
                        </a:rPr>
                        <a:t>Lisocabtagene Maraleucel</a:t>
                      </a:r>
                    </a:p>
                  </a:txBody>
                  <a:tcPr marL="68580" marR="68580" marT="34290" marB="34290">
                    <a:lnL>
                      <a:noFill/>
                    </a:lnL>
                    <a:lnR>
                      <a:noFill/>
                    </a:lnR>
                    <a:lnT w="9525" cap="flat" cmpd="sng" algn="ctr">
                      <a:solidFill>
                        <a:srgbClr val="4F81BD">
                          <a:shade val="95000"/>
                          <a:satMod val="105000"/>
                        </a:srgbClr>
                      </a:solidFill>
                      <a:prstDash val="solid"/>
                    </a:lnT>
                    <a:lnB w="25400" cap="flat" cmpd="sng" algn="ctr">
                      <a:solidFill>
                        <a:sysClr val="window" lastClr="FFFFFF"/>
                      </a:solidFill>
                      <a:prstDash val="solid"/>
                    </a:lnB>
                    <a:lnTlToBr w="12700" cmpd="sng">
                      <a:noFill/>
                      <a:prstDash val="solid"/>
                    </a:lnTlToBr>
                    <a:lnBlToTr w="12700" cmpd="sng">
                      <a:noFill/>
                      <a:prstDash val="solid"/>
                    </a:lnBlToTr>
                    <a:solidFill>
                      <a:srgbClr val="4F81BD"/>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r>
                        <a:rPr lang="en-US" sz="1400" b="1" dirty="0">
                          <a:latin typeface="Arial" panose="020B0604020202020204" pitchFamily="34" charset="0"/>
                          <a:cs typeface="Arial" panose="020B0604020202020204" pitchFamily="34" charset="0"/>
                        </a:rPr>
                        <a:t>             JULIET</a:t>
                      </a:r>
                    </a:p>
                    <a:p>
                      <a:r>
                        <a:rPr lang="en-US" sz="1400" b="1" dirty="0">
                          <a:latin typeface="Arial" panose="020B0604020202020204" pitchFamily="34" charset="0"/>
                          <a:cs typeface="Arial" panose="020B0604020202020204" pitchFamily="34" charset="0"/>
                        </a:rPr>
                        <a:t>       </a:t>
                      </a:r>
                      <a:r>
                        <a:rPr lang="en-US" sz="1200" b="1" dirty="0" err="1">
                          <a:latin typeface="Arial" panose="020B0604020202020204" pitchFamily="34" charset="0"/>
                          <a:cs typeface="Arial" panose="020B0604020202020204" pitchFamily="34" charset="0"/>
                        </a:rPr>
                        <a:t>Tisagenlecleucel</a:t>
                      </a:r>
                      <a:endParaRPr lang="en-US" sz="1200" b="1" dirty="0">
                        <a:latin typeface="Arial" panose="020B0604020202020204" pitchFamily="34" charset="0"/>
                        <a:cs typeface="Arial" panose="020B0604020202020204" pitchFamily="34" charset="0"/>
                      </a:endParaRPr>
                    </a:p>
                  </a:txBody>
                  <a:tcPr marL="68580" marR="68580" marT="34290" marB="34290">
                    <a:lnL>
                      <a:noFill/>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25400" cap="flat" cmpd="sng" algn="ctr">
                      <a:solidFill>
                        <a:sysClr val="window" lastClr="FFFFFF"/>
                      </a:solidFill>
                      <a:prstDash val="solid"/>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2506505387"/>
                  </a:ext>
                </a:extLst>
              </a:tr>
              <a:tr h="493438">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 Treated / Enrolled</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25400" cap="flat" cmpd="sng" algn="ctr">
                      <a:solidFill>
                        <a:sysClr val="window" lastClr="FFFFFF"/>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101/111</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25400" cap="flat" cmpd="sng" algn="ctr">
                      <a:solidFill>
                        <a:sysClr val="window" lastClr="FFFFFF"/>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269/344</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25400" cap="flat" cmpd="sng" algn="ctr">
                      <a:solidFill>
                        <a:sysClr val="window" lastClr="FFFFFF"/>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111/165</a:t>
                      </a:r>
                    </a:p>
                  </a:txBody>
                  <a:tcPr marL="68580" marR="68580" marT="34290" marB="34290">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25400" cap="flat" cmpd="sng" algn="ctr">
                      <a:solidFill>
                        <a:sysClr val="window" lastClr="FFFFFF"/>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1745854458"/>
                  </a:ext>
                </a:extLst>
              </a:tr>
              <a:tr h="493438">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ORR/CR (%) by IRC</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74/54</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73/53</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52/40</a:t>
                      </a:r>
                    </a:p>
                  </a:txBody>
                  <a:tcPr marL="68580" marR="68580" marT="34290" marB="34290">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2948129229"/>
                  </a:ext>
                </a:extLst>
              </a:tr>
              <a:tr h="493438">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Construct </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antiCD19-CD28-CD3z</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antiCD19-41BB-CD3z</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antiCD19-41BB-CD3z</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1874647314"/>
                  </a:ext>
                </a:extLst>
              </a:tr>
              <a:tr h="493438">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Toxicity grading scale</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Lee Criteria</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Lee Criteria </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Penn Criteria</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2510359467"/>
                  </a:ext>
                </a:extLst>
              </a:tr>
              <a:tr h="493438">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Median time to CRS onset</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2 days</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5 days </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3 days</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3865184801"/>
                  </a:ext>
                </a:extLst>
              </a:tr>
              <a:tr h="821270">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Any Grade/Gr ≥3</a:t>
                      </a:r>
                    </a:p>
                    <a:p>
                      <a:r>
                        <a:rPr lang="en-US" sz="1400" b="1" dirty="0">
                          <a:latin typeface="Arial" panose="020B0604020202020204" pitchFamily="34" charset="0"/>
                          <a:cs typeface="Arial" panose="020B0604020202020204" pitchFamily="34" charset="0"/>
                        </a:rPr>
                        <a:t>Cytokine release syndrome (CRS) </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93% / 11%</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42% / 2%</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58% / 23%</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1448314246"/>
                  </a:ext>
                </a:extLst>
              </a:tr>
              <a:tr h="577931">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dirty="0">
                          <a:latin typeface="Arial" panose="020B0604020202020204" pitchFamily="34" charset="0"/>
                          <a:cs typeface="Arial" panose="020B0604020202020204" pitchFamily="34" charset="0"/>
                        </a:rPr>
                        <a:t>Any Gr/Gr ≥3</a:t>
                      </a:r>
                    </a:p>
                    <a:p>
                      <a:r>
                        <a:rPr lang="en-US" sz="1400" b="1" dirty="0">
                          <a:latin typeface="Arial" panose="020B0604020202020204" pitchFamily="34" charset="0"/>
                          <a:cs typeface="Arial" panose="020B0604020202020204" pitchFamily="34" charset="0"/>
                        </a:rPr>
                        <a:t>Neurotoxicity</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64% / 32%</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30% / 10%</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21% / 12%</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4193131100"/>
                  </a:ext>
                </a:extLst>
              </a:tr>
              <a:tr h="493438">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r>
                        <a:rPr lang="en-US" sz="1400" b="1" dirty="0">
                          <a:latin typeface="Arial" panose="020B0604020202020204" pitchFamily="34" charset="0"/>
                          <a:cs typeface="Arial" panose="020B0604020202020204" pitchFamily="34" charset="0"/>
                        </a:rPr>
                        <a:t>2yr PFS/OS</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42% / 51%</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41% / 51%</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sz="1400" dirty="0">
                          <a:latin typeface="Arial" panose="020B0604020202020204" pitchFamily="34" charset="0"/>
                          <a:cs typeface="Arial" panose="020B0604020202020204" pitchFamily="34" charset="0"/>
                        </a:rPr>
                        <a:t>30%/median 11m</a:t>
                      </a:r>
                    </a:p>
                  </a:txBody>
                  <a:tcPr marL="68580" marR="68580" marT="34290" marB="34290"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9BBB59">
                        <a:lumMod val="20000"/>
                        <a:lumOff val="80000"/>
                      </a:srgbClr>
                    </a:solidFill>
                  </a:tcPr>
                </a:tc>
                <a:extLst>
                  <a:ext uri="{0D108BD9-81ED-4DB2-BD59-A6C34878D82A}">
                    <a16:rowId xmlns:a16="http://schemas.microsoft.com/office/drawing/2014/main" val="4050436685"/>
                  </a:ext>
                </a:extLst>
              </a:tr>
            </a:tbl>
          </a:graphicData>
        </a:graphic>
      </p:graphicFrame>
      <p:sp>
        <p:nvSpPr>
          <p:cNvPr id="6" name="TextBox 5">
            <a:extLst>
              <a:ext uri="{FF2B5EF4-FFF2-40B4-BE49-F238E27FC236}">
                <a16:creationId xmlns:a16="http://schemas.microsoft.com/office/drawing/2014/main" id="{0E89324F-1FBD-7C46-D66B-4361650A3BDA}"/>
              </a:ext>
            </a:extLst>
          </p:cNvPr>
          <p:cNvSpPr txBox="1"/>
          <p:nvPr/>
        </p:nvSpPr>
        <p:spPr>
          <a:xfrm>
            <a:off x="1921762" y="2126610"/>
            <a:ext cx="8348476" cy="442854"/>
          </a:xfrm>
          <a:prstGeom prst="rect">
            <a:avLst/>
          </a:prstGeom>
          <a:noFill/>
          <a:ln w="38100">
            <a:solidFill>
              <a:srgbClr val="CD113B"/>
            </a:solidFill>
          </a:ln>
        </p:spPr>
        <p:txBody>
          <a:bodyPr wrap="square" rtlCol="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
        <p:nvSpPr>
          <p:cNvPr id="7" name="TextBox 6">
            <a:extLst>
              <a:ext uri="{FF2B5EF4-FFF2-40B4-BE49-F238E27FC236}">
                <a16:creationId xmlns:a16="http://schemas.microsoft.com/office/drawing/2014/main" id="{24F28E62-E73C-3551-CBEE-B150DB28A952}"/>
              </a:ext>
            </a:extLst>
          </p:cNvPr>
          <p:cNvSpPr txBox="1"/>
          <p:nvPr/>
        </p:nvSpPr>
        <p:spPr>
          <a:xfrm>
            <a:off x="1921002" y="4086496"/>
            <a:ext cx="8349236" cy="808892"/>
          </a:xfrm>
          <a:prstGeom prst="rect">
            <a:avLst/>
          </a:prstGeom>
          <a:noFill/>
          <a:ln w="38100">
            <a:solidFill>
              <a:srgbClr val="CD113B"/>
            </a:solidFill>
          </a:ln>
        </p:spPr>
        <p:txBody>
          <a:bodyPr wrap="square" rtlCol="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
        <p:nvSpPr>
          <p:cNvPr id="8" name="TextBox 7">
            <a:extLst>
              <a:ext uri="{FF2B5EF4-FFF2-40B4-BE49-F238E27FC236}">
                <a16:creationId xmlns:a16="http://schemas.microsoft.com/office/drawing/2014/main" id="{7CA5357E-9AF6-4623-A6F5-17F203DEE897}"/>
              </a:ext>
            </a:extLst>
          </p:cNvPr>
          <p:cNvSpPr txBox="1"/>
          <p:nvPr/>
        </p:nvSpPr>
        <p:spPr>
          <a:xfrm>
            <a:off x="9807702" y="6336011"/>
            <a:ext cx="2255746" cy="461665"/>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ocke FL, et al. Lancet Oncol. 2019;20:31-42</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chuster, et al. Lancet </a:t>
            </a:r>
            <a:r>
              <a:rPr kumimoji="0" lang="en-US" sz="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nc</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21</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bramson JS, et al. Lancet 2020 </a:t>
            </a:r>
          </a:p>
        </p:txBody>
      </p:sp>
    </p:spTree>
    <p:extLst>
      <p:ext uri="{BB962C8B-B14F-4D97-AF65-F5344CB8AC3E}">
        <p14:creationId xmlns:p14="http://schemas.microsoft.com/office/powerpoint/2010/main" val="2133783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6D8269-85F3-7BB2-F867-D0F023A2D6CE}"/>
              </a:ext>
            </a:extLst>
          </p:cNvPr>
          <p:cNvSpPr>
            <a:spLocks noGrp="1"/>
          </p:cNvSpPr>
          <p:nvPr>
            <p:ph type="title"/>
          </p:nvPr>
        </p:nvSpPr>
        <p:spPr>
          <a:xfrm>
            <a:off x="847659" y="298842"/>
            <a:ext cx="8604330" cy="891107"/>
          </a:xfrm>
        </p:spPr>
        <p:txBody>
          <a:bodyPr>
            <a:noAutofit/>
          </a:bodyPr>
          <a:lstStyle/>
          <a:p>
            <a:r>
              <a:rPr lang="en-US" sz="2800" dirty="0">
                <a:latin typeface="Arial" panose="020B0604020202020204" pitchFamily="34" charset="0"/>
                <a:cs typeface="Arial" panose="020B0604020202020204" pitchFamily="34" charset="0"/>
              </a:rPr>
              <a:t>Long-term follow-up supports the curative potential  of CD19 CAR T in R/R 3L+ LBCL </a:t>
            </a:r>
          </a:p>
        </p:txBody>
      </p:sp>
      <p:sp>
        <p:nvSpPr>
          <p:cNvPr id="5" name="Content Placeholder 4">
            <a:extLst>
              <a:ext uri="{FF2B5EF4-FFF2-40B4-BE49-F238E27FC236}">
                <a16:creationId xmlns:a16="http://schemas.microsoft.com/office/drawing/2014/main" id="{9565AD8B-69A1-EA5F-B335-096B31A30520}"/>
              </a:ext>
            </a:extLst>
          </p:cNvPr>
          <p:cNvSpPr>
            <a:spLocks noGrp="1"/>
          </p:cNvSpPr>
          <p:nvPr>
            <p:ph sz="quarter" idx="14"/>
          </p:nvPr>
        </p:nvSpPr>
        <p:spPr>
          <a:xfrm>
            <a:off x="2081274" y="6296288"/>
            <a:ext cx="8154590" cy="373949"/>
          </a:xfrm>
        </p:spPr>
        <p:txBody>
          <a:bodyPr/>
          <a:lstStyle/>
          <a:p>
            <a:r>
              <a:rPr lang="en-US" sz="675" b="1" kern="0" dirty="0">
                <a:solidFill>
                  <a:srgbClr val="000000"/>
                </a:solidFill>
                <a:latin typeface="Arial" panose="020B0604020202020204" pitchFamily="34" charset="0"/>
                <a:cs typeface="Arial" panose="020B0604020202020204" pitchFamily="34" charset="0"/>
              </a:rPr>
              <a:t>Inter-trial comparisons should not be made due to differences in study design, patient populations, treatment interventions, and durations of follow-up, among others. We cannot make direct comparisons or draw conclusions from one trial to another. For descriptive purposes, efficacy and safety results for each of the studies mentioned are listed.</a:t>
            </a:r>
            <a:br>
              <a:rPr lang="en-US" sz="675" b="1" kern="0" dirty="0">
                <a:solidFill>
                  <a:srgbClr val="2D2E2D"/>
                </a:solidFill>
                <a:latin typeface="Arial" panose="020B0604020202020204" pitchFamily="34" charset="0"/>
                <a:cs typeface="Arial" panose="020B0604020202020204" pitchFamily="34" charset="0"/>
              </a:rPr>
            </a:br>
            <a:r>
              <a:rPr lang="en-US" sz="675" kern="0" dirty="0">
                <a:solidFill>
                  <a:srgbClr val="2D2E2D"/>
                </a:solidFill>
                <a:latin typeface="Arial" panose="020B0604020202020204" pitchFamily="34" charset="0"/>
                <a:cs typeface="Arial" panose="020B0604020202020204" pitchFamily="34" charset="0"/>
              </a:rPr>
              <a:t>3L, third line; a</a:t>
            </a:r>
            <a:r>
              <a:rPr lang="en-US" sz="675" dirty="0">
                <a:latin typeface="Arial" panose="020B0604020202020204" pitchFamily="34" charset="0"/>
                <a:cs typeface="Arial" panose="020B0604020202020204" pitchFamily="34" charset="0"/>
              </a:rPr>
              <a:t>xi-cel; axicabtagene ciloleucel; CAR, chimeric antigen receptor; </a:t>
            </a:r>
            <a:r>
              <a:rPr lang="en-US" sz="675" kern="0" dirty="0">
                <a:solidFill>
                  <a:srgbClr val="000000"/>
                </a:solidFill>
                <a:latin typeface="Arial" panose="020B0604020202020204" pitchFamily="34" charset="0"/>
                <a:cs typeface="Arial" panose="020B0604020202020204" pitchFamily="34" charset="0"/>
                <a:sym typeface="Arial"/>
              </a:rPr>
              <a:t>LBCL, large B-cell lymphoma; liso-cel, lisocabtagene maraleucel; NE, not estimable; OS, overall survival, R/R, relapsed or refractory</a:t>
            </a:r>
            <a:r>
              <a:rPr lang="en-US" sz="675" dirty="0">
                <a:latin typeface="Arial" panose="020B0604020202020204" pitchFamily="34" charset="0"/>
                <a:cs typeface="Arial" panose="020B0604020202020204" pitchFamily="34" charset="0"/>
              </a:rPr>
              <a:t> ; </a:t>
            </a:r>
            <a:r>
              <a:rPr lang="en-US" sz="675" dirty="0" err="1">
                <a:latin typeface="Arial" panose="020B0604020202020204" pitchFamily="34" charset="0"/>
                <a:cs typeface="Arial" panose="020B0604020202020204" pitchFamily="34" charset="0"/>
              </a:rPr>
              <a:t>tisa</a:t>
            </a:r>
            <a:r>
              <a:rPr lang="en-US" sz="675" dirty="0">
                <a:latin typeface="Arial" panose="020B0604020202020204" pitchFamily="34" charset="0"/>
                <a:cs typeface="Arial" panose="020B0604020202020204" pitchFamily="34" charset="0"/>
              </a:rPr>
              <a:t>-cel, tisagenlecleucel</a:t>
            </a:r>
            <a:r>
              <a:rPr lang="en-US" sz="675" kern="0" dirty="0">
                <a:solidFill>
                  <a:srgbClr val="000000"/>
                </a:solidFill>
                <a:latin typeface="Arial" panose="020B0604020202020204" pitchFamily="34" charset="0"/>
                <a:cs typeface="Arial" panose="020B0604020202020204" pitchFamily="34" charset="0"/>
                <a:sym typeface="Arial"/>
              </a:rPr>
              <a:t>. 1. </a:t>
            </a:r>
            <a:r>
              <a:rPr lang="en-US" sz="675" kern="0" dirty="0" err="1">
                <a:solidFill>
                  <a:srgbClr val="000000"/>
                </a:solidFill>
                <a:latin typeface="Arial" panose="020B0604020202020204" pitchFamily="34" charset="0"/>
                <a:cs typeface="Arial" panose="020B0604020202020204" pitchFamily="34" charset="0"/>
                <a:sym typeface="Arial"/>
              </a:rPr>
              <a:t>Neelapu</a:t>
            </a:r>
            <a:r>
              <a:rPr lang="en-US" sz="675" kern="0" dirty="0">
                <a:solidFill>
                  <a:srgbClr val="000000"/>
                </a:solidFill>
                <a:latin typeface="Arial" panose="020B0604020202020204" pitchFamily="34" charset="0"/>
                <a:cs typeface="Arial" panose="020B0604020202020204" pitchFamily="34" charset="0"/>
                <a:sym typeface="Arial"/>
              </a:rPr>
              <a:t> SS, et al. Blood 2023;141:2307—2315. 2. Abramson JS, et al. ASH 2024. Abstract 3125. 3. Maziarz RT et al. J Clin Oncol. 2026 Jan 10;44(2):86-91.</a:t>
            </a:r>
          </a:p>
        </p:txBody>
      </p:sp>
      <p:grpSp>
        <p:nvGrpSpPr>
          <p:cNvPr id="2" name="Group 1">
            <a:extLst>
              <a:ext uri="{FF2B5EF4-FFF2-40B4-BE49-F238E27FC236}">
                <a16:creationId xmlns:a16="http://schemas.microsoft.com/office/drawing/2014/main" id="{8C7D9CD8-D388-D3EE-7145-CC09013F12E8}"/>
              </a:ext>
            </a:extLst>
          </p:cNvPr>
          <p:cNvGrpSpPr/>
          <p:nvPr/>
        </p:nvGrpSpPr>
        <p:grpSpPr>
          <a:xfrm>
            <a:off x="684738" y="1472540"/>
            <a:ext cx="10897118" cy="4263242"/>
            <a:chOff x="1866900" y="1943406"/>
            <a:chExt cx="8511393" cy="3329883"/>
          </a:xfrm>
        </p:grpSpPr>
        <p:pic>
          <p:nvPicPr>
            <p:cNvPr id="15" name="Picture 14">
              <a:extLst>
                <a:ext uri="{FF2B5EF4-FFF2-40B4-BE49-F238E27FC236}">
                  <a16:creationId xmlns:a16="http://schemas.microsoft.com/office/drawing/2014/main" id="{4A00F01F-FE6B-011A-8E69-627AE0D50C53}"/>
                </a:ext>
              </a:extLst>
            </p:cNvPr>
            <p:cNvPicPr>
              <a:picLocks noChangeAspect="1"/>
            </p:cNvPicPr>
            <p:nvPr/>
          </p:nvPicPr>
          <p:blipFill>
            <a:blip r:embed="rId3"/>
            <a:stretch>
              <a:fillRect/>
            </a:stretch>
          </p:blipFill>
          <p:spPr>
            <a:xfrm>
              <a:off x="1866900" y="2659999"/>
              <a:ext cx="2758622" cy="1731668"/>
            </a:xfrm>
            <a:prstGeom prst="rect">
              <a:avLst/>
            </a:prstGeom>
          </p:spPr>
        </p:pic>
        <p:sp>
          <p:nvSpPr>
            <p:cNvPr id="6" name="Rectangle 5">
              <a:extLst>
                <a:ext uri="{FF2B5EF4-FFF2-40B4-BE49-F238E27FC236}">
                  <a16:creationId xmlns:a16="http://schemas.microsoft.com/office/drawing/2014/main" id="{72DC51AF-80D1-5B43-7CC9-A6037FD843F9}"/>
                </a:ext>
              </a:extLst>
            </p:cNvPr>
            <p:cNvSpPr/>
            <p:nvPr/>
          </p:nvSpPr>
          <p:spPr>
            <a:xfrm>
              <a:off x="1866901" y="1950237"/>
              <a:ext cx="2779742" cy="358973"/>
            </a:xfrm>
            <a:prstGeom prst="rect">
              <a:avLst/>
            </a:prstGeom>
            <a:solidFill>
              <a:srgbClr val="458A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Rectangle 6">
              <a:extLst>
                <a:ext uri="{FF2B5EF4-FFF2-40B4-BE49-F238E27FC236}">
                  <a16:creationId xmlns:a16="http://schemas.microsoft.com/office/drawing/2014/main" id="{FA762C33-6EFD-7E2D-F2B7-E97A5CE369E4}"/>
                </a:ext>
              </a:extLst>
            </p:cNvPr>
            <p:cNvSpPr>
              <a:spLocks/>
            </p:cNvSpPr>
            <p:nvPr/>
          </p:nvSpPr>
          <p:spPr>
            <a:xfrm>
              <a:off x="1866901" y="1945507"/>
              <a:ext cx="2779742" cy="2603288"/>
            </a:xfrm>
            <a:prstGeom prst="rect">
              <a:avLst/>
            </a:prstGeom>
            <a:noFill/>
            <a:ln w="19050">
              <a:solidFill>
                <a:srgbClr val="E2E2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Rectangle: Top Corners Rounded 747">
              <a:extLst>
                <a:ext uri="{FF2B5EF4-FFF2-40B4-BE49-F238E27FC236}">
                  <a16:creationId xmlns:a16="http://schemas.microsoft.com/office/drawing/2014/main" id="{446FDE03-BEA4-8C13-1594-20EBC7D5E8C2}"/>
                </a:ext>
              </a:extLst>
            </p:cNvPr>
            <p:cNvSpPr/>
            <p:nvPr/>
          </p:nvSpPr>
          <p:spPr>
            <a:xfrm>
              <a:off x="4729645" y="1950237"/>
              <a:ext cx="2779742" cy="3598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Rectangle: Rounded Corners 748">
              <a:extLst>
                <a:ext uri="{FF2B5EF4-FFF2-40B4-BE49-F238E27FC236}">
                  <a16:creationId xmlns:a16="http://schemas.microsoft.com/office/drawing/2014/main" id="{8D6A9837-F3AF-6C18-4C46-CA6FBB551A9D}"/>
                </a:ext>
              </a:extLst>
            </p:cNvPr>
            <p:cNvSpPr>
              <a:spLocks/>
            </p:cNvSpPr>
            <p:nvPr/>
          </p:nvSpPr>
          <p:spPr>
            <a:xfrm>
              <a:off x="4729645" y="1945507"/>
              <a:ext cx="2779742" cy="2603288"/>
            </a:xfrm>
            <a:prstGeom prst="rect">
              <a:avLst/>
            </a:prstGeom>
            <a:noFill/>
            <a:ln w="19050">
              <a:solidFill>
                <a:srgbClr val="E2E2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Rectangle: Top Corners Rounded 747">
              <a:extLst>
                <a:ext uri="{FF2B5EF4-FFF2-40B4-BE49-F238E27FC236}">
                  <a16:creationId xmlns:a16="http://schemas.microsoft.com/office/drawing/2014/main" id="{639BF748-1EC7-3D0E-FDCF-018E8A084EA0}"/>
                </a:ext>
              </a:extLst>
            </p:cNvPr>
            <p:cNvSpPr/>
            <p:nvPr/>
          </p:nvSpPr>
          <p:spPr>
            <a:xfrm>
              <a:off x="7598551" y="1943406"/>
              <a:ext cx="2779742" cy="361103"/>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 name="Rectangle: Rounded Corners 748">
              <a:extLst>
                <a:ext uri="{FF2B5EF4-FFF2-40B4-BE49-F238E27FC236}">
                  <a16:creationId xmlns:a16="http://schemas.microsoft.com/office/drawing/2014/main" id="{427C3DE6-7E13-E10D-5D84-52C37642FA85}"/>
                </a:ext>
              </a:extLst>
            </p:cNvPr>
            <p:cNvSpPr>
              <a:spLocks/>
            </p:cNvSpPr>
            <p:nvPr/>
          </p:nvSpPr>
          <p:spPr>
            <a:xfrm>
              <a:off x="7592388" y="1945507"/>
              <a:ext cx="2779742" cy="2603288"/>
            </a:xfrm>
            <a:prstGeom prst="rect">
              <a:avLst/>
            </a:prstGeom>
            <a:noFill/>
            <a:ln w="19050">
              <a:solidFill>
                <a:srgbClr val="E2E2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5D23CDD8-2133-5DCB-6DDB-0241C60CF1C4}"/>
                </a:ext>
              </a:extLst>
            </p:cNvPr>
            <p:cNvSpPr txBox="1"/>
            <p:nvPr/>
          </p:nvSpPr>
          <p:spPr>
            <a:xfrm>
              <a:off x="8102355" y="1996487"/>
              <a:ext cx="1759809" cy="300082"/>
            </a:xfrm>
            <a:prstGeom prst="rect">
              <a:avLst/>
            </a:prstGeom>
            <a:noFill/>
          </p:spPr>
          <p:txBody>
            <a:bodyPr wrap="square" rtlCol="0">
              <a:sp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ULIET (</a:t>
              </a:r>
              <a:r>
                <a:rPr kumimoji="0" lang="en-US" sz="13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isa</a:t>
              </a:r>
              <a:r>
                <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el)</a:t>
              </a:r>
              <a:r>
                <a:rPr kumimoji="0" lang="en-US" sz="135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3</a:t>
              </a:r>
              <a:endPar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157DB3D5-8835-A62A-3B28-073974610F8A}"/>
                </a:ext>
              </a:extLst>
            </p:cNvPr>
            <p:cNvSpPr txBox="1"/>
            <p:nvPr/>
          </p:nvSpPr>
          <p:spPr>
            <a:xfrm>
              <a:off x="5150446" y="1981455"/>
              <a:ext cx="2060702" cy="507831"/>
            </a:xfrm>
            <a:prstGeom prst="rect">
              <a:avLst/>
            </a:prstGeom>
            <a:noFill/>
          </p:spPr>
          <p:txBody>
            <a:bodyPr wrap="square" rtlCol="0">
              <a:sp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RANSCEND (liso-cel)</a:t>
              </a:r>
              <a:r>
                <a:rPr kumimoji="0" lang="en-US" sz="135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2</a:t>
              </a:r>
              <a:endPar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DE2527F8-B65F-0264-47BB-67906FB13F89}"/>
                </a:ext>
              </a:extLst>
            </p:cNvPr>
            <p:cNvSpPr txBox="1"/>
            <p:nvPr/>
          </p:nvSpPr>
          <p:spPr>
            <a:xfrm>
              <a:off x="2370707" y="1981454"/>
              <a:ext cx="1888535" cy="300082"/>
            </a:xfrm>
            <a:prstGeom prst="rect">
              <a:avLst/>
            </a:prstGeom>
            <a:noFill/>
          </p:spPr>
          <p:txBody>
            <a:bodyPr wrap="square" rtlCol="0">
              <a:sp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ZUMA-1 (axi-cel)</a:t>
              </a:r>
              <a:r>
                <a:rPr kumimoji="0" lang="en-US" sz="135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1</a:t>
              </a:r>
              <a:endPar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44" name="Group 143">
              <a:extLst>
                <a:ext uri="{FF2B5EF4-FFF2-40B4-BE49-F238E27FC236}">
                  <a16:creationId xmlns:a16="http://schemas.microsoft.com/office/drawing/2014/main" id="{5AC823C8-3B65-86F1-2C02-FDC4EFB335FA}"/>
                </a:ext>
              </a:extLst>
            </p:cNvPr>
            <p:cNvGrpSpPr/>
            <p:nvPr/>
          </p:nvGrpSpPr>
          <p:grpSpPr>
            <a:xfrm>
              <a:off x="4737950" y="2575644"/>
              <a:ext cx="2717808" cy="1723427"/>
              <a:chOff x="6189735" y="2223841"/>
              <a:chExt cx="5581553" cy="2973800"/>
            </a:xfrm>
          </p:grpSpPr>
          <p:grpSp>
            <p:nvGrpSpPr>
              <p:cNvPr id="145" name="Group 144">
                <a:extLst>
                  <a:ext uri="{FF2B5EF4-FFF2-40B4-BE49-F238E27FC236}">
                    <a16:creationId xmlns:a16="http://schemas.microsoft.com/office/drawing/2014/main" id="{EBF558C6-ECDA-47CD-8F35-69D153EDFDB3}"/>
                  </a:ext>
                </a:extLst>
              </p:cNvPr>
              <p:cNvGrpSpPr/>
              <p:nvPr/>
            </p:nvGrpSpPr>
            <p:grpSpPr>
              <a:xfrm>
                <a:off x="6189735" y="2223841"/>
                <a:ext cx="5581553" cy="2973800"/>
                <a:chOff x="6897792" y="2693663"/>
                <a:chExt cx="4095336" cy="2181957"/>
              </a:xfrm>
            </p:grpSpPr>
            <p:pic>
              <p:nvPicPr>
                <p:cNvPr id="148" name="Picture 147">
                  <a:extLst>
                    <a:ext uri="{FF2B5EF4-FFF2-40B4-BE49-F238E27FC236}">
                      <a16:creationId xmlns:a16="http://schemas.microsoft.com/office/drawing/2014/main" id="{49AEEE2D-8357-2078-D7C1-59C38AE3140F}"/>
                    </a:ext>
                  </a:extLst>
                </p:cNvPr>
                <p:cNvPicPr>
                  <a:picLocks noChangeAspect="1"/>
                </p:cNvPicPr>
                <p:nvPr/>
              </p:nvPicPr>
              <p:blipFill>
                <a:blip r:embed="rId4"/>
                <a:stretch>
                  <a:fillRect/>
                </a:stretch>
              </p:blipFill>
              <p:spPr>
                <a:xfrm>
                  <a:off x="6897792" y="2754119"/>
                  <a:ext cx="4095335" cy="2121501"/>
                </a:xfrm>
                <a:prstGeom prst="rect">
                  <a:avLst/>
                </a:prstGeom>
              </p:spPr>
            </p:pic>
            <p:sp>
              <p:nvSpPr>
                <p:cNvPr id="149" name="Rectangle 148">
                  <a:extLst>
                    <a:ext uri="{FF2B5EF4-FFF2-40B4-BE49-F238E27FC236}">
                      <a16:creationId xmlns:a16="http://schemas.microsoft.com/office/drawing/2014/main" id="{1DFC90BD-3790-6C7E-18AA-000D0D6F1969}"/>
                    </a:ext>
                  </a:extLst>
                </p:cNvPr>
                <p:cNvSpPr/>
                <p:nvPr/>
              </p:nvSpPr>
              <p:spPr>
                <a:xfrm>
                  <a:off x="8250126" y="2693663"/>
                  <a:ext cx="2743002" cy="35470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0" name="Rectangle 149">
                  <a:extLst>
                    <a:ext uri="{FF2B5EF4-FFF2-40B4-BE49-F238E27FC236}">
                      <a16:creationId xmlns:a16="http://schemas.microsoft.com/office/drawing/2014/main" id="{2687ADD7-FEF3-5480-DC5B-98D61931EE5C}"/>
                    </a:ext>
                  </a:extLst>
                </p:cNvPr>
                <p:cNvSpPr/>
                <p:nvPr/>
              </p:nvSpPr>
              <p:spPr>
                <a:xfrm>
                  <a:off x="7421062" y="3926003"/>
                  <a:ext cx="2828988" cy="35470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46" name="object 23">
                <a:extLst>
                  <a:ext uri="{FF2B5EF4-FFF2-40B4-BE49-F238E27FC236}">
                    <a16:creationId xmlns:a16="http://schemas.microsoft.com/office/drawing/2014/main" id="{9CFEB0B9-A056-98FA-0A0B-4248AAFADCD2}"/>
                  </a:ext>
                </a:extLst>
              </p:cNvPr>
              <p:cNvSpPr txBox="1"/>
              <p:nvPr/>
            </p:nvSpPr>
            <p:spPr>
              <a:xfrm>
                <a:off x="7546025" y="4706307"/>
                <a:ext cx="3212517" cy="235664"/>
              </a:xfrm>
              <a:prstGeom prst="rect">
                <a:avLst/>
              </a:prstGeom>
              <a:solidFill>
                <a:schemeClr val="bg1"/>
              </a:solidFill>
            </p:spPr>
            <p:txBody>
              <a:bodyPr vert="horz" wrap="square" lIns="0" tIns="9525" rIns="0" bIns="0" rtlCol="0">
                <a:spAutoFit/>
              </a:bodyPr>
              <a:lstStyle/>
              <a:p>
                <a:pPr marL="9525" marR="0" lvl="0" indent="0" algn="ctr" defTabSz="685783" rtl="0" eaLnBrk="1" fontAlgn="auto" latinLnBrk="0" hangingPunct="1">
                  <a:lnSpc>
                    <a:spcPct val="100000"/>
                  </a:lnSpc>
                  <a:spcBef>
                    <a:spcPts val="75"/>
                  </a:spcBef>
                  <a:spcAft>
                    <a:spcPts val="0"/>
                  </a:spcAft>
                  <a:buClrTx/>
                  <a:buSzTx/>
                  <a:buFontTx/>
                  <a:buNone/>
                  <a:tabLst/>
                  <a:defRPr/>
                </a:pPr>
                <a: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months</a:t>
                </a:r>
              </a:p>
            </p:txBody>
          </p:sp>
          <p:sp>
            <p:nvSpPr>
              <p:cNvPr id="147" name="object 23">
                <a:extLst>
                  <a:ext uri="{FF2B5EF4-FFF2-40B4-BE49-F238E27FC236}">
                    <a16:creationId xmlns:a16="http://schemas.microsoft.com/office/drawing/2014/main" id="{F40F0129-4117-74FA-0F80-06E60FF810E6}"/>
                  </a:ext>
                </a:extLst>
              </p:cNvPr>
              <p:cNvSpPr txBox="1"/>
              <p:nvPr/>
            </p:nvSpPr>
            <p:spPr>
              <a:xfrm rot="16200000">
                <a:off x="5352752" y="3169650"/>
                <a:ext cx="2007309" cy="280486"/>
              </a:xfrm>
              <a:prstGeom prst="rect">
                <a:avLst/>
              </a:prstGeom>
              <a:solidFill>
                <a:schemeClr val="bg1"/>
              </a:solidFill>
            </p:spPr>
            <p:txBody>
              <a:bodyPr vert="horz" wrap="square" lIns="0" tIns="9525" rIns="0" bIns="0" rtlCol="0">
                <a:spAutoFit/>
              </a:bodyPr>
              <a:lstStyle/>
              <a:p>
                <a:pPr marL="9525" marR="0" lvl="0" indent="0" algn="ctr" defTabSz="685783" rtl="0" eaLnBrk="1" fontAlgn="auto" latinLnBrk="0" hangingPunct="1">
                  <a:lnSpc>
                    <a:spcPct val="100000"/>
                  </a:lnSpc>
                  <a:spcBef>
                    <a:spcPts val="75"/>
                  </a:spcBef>
                  <a:spcAft>
                    <a:spcPts val="0"/>
                  </a:spcAft>
                  <a:buClrTx/>
                  <a:buSzTx/>
                  <a:buFontTx/>
                  <a:buNone/>
                  <a:tabLst/>
                  <a:defRPr/>
                </a:pPr>
                <a: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S, %</a:t>
                </a:r>
              </a:p>
            </p:txBody>
          </p:sp>
        </p:grpSp>
        <p:sp>
          <p:nvSpPr>
            <p:cNvPr id="152" name="TextBox 151">
              <a:extLst>
                <a:ext uri="{FF2B5EF4-FFF2-40B4-BE49-F238E27FC236}">
                  <a16:creationId xmlns:a16="http://schemas.microsoft.com/office/drawing/2014/main" id="{BAA65248-EDFC-6BE7-4DD5-2F42F558F664}"/>
                </a:ext>
              </a:extLst>
            </p:cNvPr>
            <p:cNvSpPr txBox="1"/>
            <p:nvPr/>
          </p:nvSpPr>
          <p:spPr>
            <a:xfrm>
              <a:off x="2739987" y="2609210"/>
              <a:ext cx="1269051" cy="300082"/>
            </a:xfrm>
            <a:prstGeom prst="rect">
              <a:avLst/>
            </a:prstGeom>
            <a:solidFill>
              <a:schemeClr val="bg1"/>
            </a:solidFill>
            <a:ln>
              <a:noFill/>
            </a:ln>
          </p:spPr>
          <p:txBody>
            <a:bodyPr wrap="square" rtlCol="0">
              <a:spAutoFit/>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 name="object 23">
              <a:extLst>
                <a:ext uri="{FF2B5EF4-FFF2-40B4-BE49-F238E27FC236}">
                  <a16:creationId xmlns:a16="http://schemas.microsoft.com/office/drawing/2014/main" id="{7C4583D8-D7B9-E76E-DAFE-3D2D19A1CA91}"/>
                </a:ext>
              </a:extLst>
            </p:cNvPr>
            <p:cNvSpPr txBox="1"/>
            <p:nvPr/>
          </p:nvSpPr>
          <p:spPr>
            <a:xfrm>
              <a:off x="8273919" y="4020469"/>
              <a:ext cx="1564259" cy="136576"/>
            </a:xfrm>
            <a:prstGeom prst="rect">
              <a:avLst/>
            </a:prstGeom>
            <a:solidFill>
              <a:schemeClr val="bg1"/>
            </a:solidFill>
          </p:spPr>
          <p:txBody>
            <a:bodyPr vert="horz" wrap="square" lIns="0" tIns="9525" rIns="0" bIns="0" rtlCol="0">
              <a:spAutoFit/>
            </a:bodyPr>
            <a:lstStyle/>
            <a:p>
              <a:pPr marL="9525" marR="0" lvl="0" indent="0" algn="ctr" defTabSz="685783" rtl="0" eaLnBrk="1" fontAlgn="auto" latinLnBrk="0" hangingPunct="1">
                <a:lnSpc>
                  <a:spcPct val="100000"/>
                </a:lnSpc>
                <a:spcBef>
                  <a:spcPts val="75"/>
                </a:spcBef>
                <a:spcAft>
                  <a:spcPts val="0"/>
                </a:spcAft>
                <a:buClrTx/>
                <a:buSzTx/>
                <a:buFontTx/>
                <a:buNone/>
                <a:tabLst/>
                <a:defRPr/>
              </a:pPr>
              <a: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months</a:t>
              </a:r>
            </a:p>
          </p:txBody>
        </p:sp>
        <p:sp>
          <p:nvSpPr>
            <p:cNvPr id="156" name="TextBox 155">
              <a:extLst>
                <a:ext uri="{FF2B5EF4-FFF2-40B4-BE49-F238E27FC236}">
                  <a16:creationId xmlns:a16="http://schemas.microsoft.com/office/drawing/2014/main" id="{EE641021-B907-CC7B-EBC1-FBD39B5C3F81}"/>
                </a:ext>
              </a:extLst>
            </p:cNvPr>
            <p:cNvSpPr txBox="1"/>
            <p:nvPr/>
          </p:nvSpPr>
          <p:spPr>
            <a:xfrm>
              <a:off x="9056049" y="2513256"/>
              <a:ext cx="1269051" cy="300082"/>
            </a:xfrm>
            <a:prstGeom prst="rect">
              <a:avLst/>
            </a:prstGeom>
            <a:solidFill>
              <a:schemeClr val="bg1"/>
            </a:solidFill>
            <a:ln>
              <a:noFill/>
            </a:ln>
          </p:spPr>
          <p:txBody>
            <a:bodyPr wrap="square" rtlCol="0">
              <a:spAutoFit/>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7" name="TextBox 156">
              <a:extLst>
                <a:ext uri="{FF2B5EF4-FFF2-40B4-BE49-F238E27FC236}">
                  <a16:creationId xmlns:a16="http://schemas.microsoft.com/office/drawing/2014/main" id="{CCBE4D3B-5918-8759-89EE-2714FEE83667}"/>
                </a:ext>
              </a:extLst>
            </p:cNvPr>
            <p:cNvSpPr txBox="1"/>
            <p:nvPr/>
          </p:nvSpPr>
          <p:spPr>
            <a:xfrm>
              <a:off x="7611984" y="2320783"/>
              <a:ext cx="1269051" cy="300082"/>
            </a:xfrm>
            <a:prstGeom prst="rect">
              <a:avLst/>
            </a:prstGeom>
            <a:solidFill>
              <a:schemeClr val="bg1"/>
            </a:solidFill>
            <a:ln>
              <a:noFill/>
            </a:ln>
          </p:spPr>
          <p:txBody>
            <a:bodyPr wrap="square" rtlCol="0">
              <a:spAutoFit/>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8" name="TextBox 157">
              <a:extLst>
                <a:ext uri="{FF2B5EF4-FFF2-40B4-BE49-F238E27FC236}">
                  <a16:creationId xmlns:a16="http://schemas.microsoft.com/office/drawing/2014/main" id="{8F085AD3-3E14-DC99-0A08-4A655A4FA4A5}"/>
                </a:ext>
              </a:extLst>
            </p:cNvPr>
            <p:cNvSpPr txBox="1"/>
            <p:nvPr/>
          </p:nvSpPr>
          <p:spPr>
            <a:xfrm>
              <a:off x="5785812" y="2871020"/>
              <a:ext cx="1269051" cy="300082"/>
            </a:xfrm>
            <a:prstGeom prst="rect">
              <a:avLst/>
            </a:prstGeom>
            <a:solidFill>
              <a:schemeClr val="bg1"/>
            </a:solidFill>
            <a:ln>
              <a:noFill/>
            </a:ln>
          </p:spPr>
          <p:txBody>
            <a:bodyPr wrap="square" rtlCol="0">
              <a:spAutoFit/>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9" name="object 23">
              <a:extLst>
                <a:ext uri="{FF2B5EF4-FFF2-40B4-BE49-F238E27FC236}">
                  <a16:creationId xmlns:a16="http://schemas.microsoft.com/office/drawing/2014/main" id="{D6D109C7-7FEB-6E2E-4F7D-D08CAF31936C}"/>
                </a:ext>
              </a:extLst>
            </p:cNvPr>
            <p:cNvSpPr txBox="1"/>
            <p:nvPr/>
          </p:nvSpPr>
          <p:spPr>
            <a:xfrm>
              <a:off x="2474644" y="4041373"/>
              <a:ext cx="1564259" cy="136576"/>
            </a:xfrm>
            <a:prstGeom prst="rect">
              <a:avLst/>
            </a:prstGeom>
            <a:solidFill>
              <a:schemeClr val="bg1"/>
            </a:solidFill>
          </p:spPr>
          <p:txBody>
            <a:bodyPr vert="horz" wrap="square" lIns="0" tIns="9525" rIns="0" bIns="0" rtlCol="0">
              <a:spAutoFit/>
            </a:bodyPr>
            <a:lstStyle/>
            <a:p>
              <a:pPr marL="9525" marR="0" lvl="0" indent="0" algn="ctr" defTabSz="685783" rtl="0" eaLnBrk="1" fontAlgn="auto" latinLnBrk="0" hangingPunct="1">
                <a:lnSpc>
                  <a:spcPct val="100000"/>
                </a:lnSpc>
                <a:spcBef>
                  <a:spcPts val="75"/>
                </a:spcBef>
                <a:spcAft>
                  <a:spcPts val="0"/>
                </a:spcAft>
                <a:buClrTx/>
                <a:buSzTx/>
                <a:buFontTx/>
                <a:buNone/>
                <a:tabLst/>
                <a:defRPr/>
              </a:pPr>
              <a: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months</a:t>
              </a:r>
            </a:p>
          </p:txBody>
        </p:sp>
        <p:sp>
          <p:nvSpPr>
            <p:cNvPr id="160" name="Rectangle 159">
              <a:extLst>
                <a:ext uri="{FF2B5EF4-FFF2-40B4-BE49-F238E27FC236}">
                  <a16:creationId xmlns:a16="http://schemas.microsoft.com/office/drawing/2014/main" id="{D9A5BCD0-DC39-FEAC-2AB7-B0A5DF6F18CA}"/>
                </a:ext>
              </a:extLst>
            </p:cNvPr>
            <p:cNvSpPr/>
            <p:nvPr/>
          </p:nvSpPr>
          <p:spPr>
            <a:xfrm>
              <a:off x="1866902" y="4606717"/>
              <a:ext cx="2773578" cy="666572"/>
            </a:xfrm>
            <a:prstGeom prst="rect">
              <a:avLst/>
            </a:prstGeom>
            <a:solidFill>
              <a:srgbClr val="458A6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year OS rate: 43%</a:t>
              </a:r>
            </a:p>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3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edian follow-up: 63.1 months</a:t>
              </a:r>
            </a:p>
          </p:txBody>
        </p:sp>
        <p:sp>
          <p:nvSpPr>
            <p:cNvPr id="161" name="Rectangle 160">
              <a:extLst>
                <a:ext uri="{FF2B5EF4-FFF2-40B4-BE49-F238E27FC236}">
                  <a16:creationId xmlns:a16="http://schemas.microsoft.com/office/drawing/2014/main" id="{A86D1475-CEE2-6B35-3162-097AF80931DC}"/>
                </a:ext>
              </a:extLst>
            </p:cNvPr>
            <p:cNvSpPr/>
            <p:nvPr/>
          </p:nvSpPr>
          <p:spPr>
            <a:xfrm>
              <a:off x="4737948" y="4606717"/>
              <a:ext cx="2773578" cy="666572"/>
            </a:xfrm>
            <a:prstGeom prst="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year OS rate: 38%</a:t>
              </a:r>
            </a:p>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3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edian follow-up: 60.1 months</a:t>
              </a:r>
            </a:p>
          </p:txBody>
        </p:sp>
        <p:sp>
          <p:nvSpPr>
            <p:cNvPr id="162" name="Rectangle 161">
              <a:extLst>
                <a:ext uri="{FF2B5EF4-FFF2-40B4-BE49-F238E27FC236}">
                  <a16:creationId xmlns:a16="http://schemas.microsoft.com/office/drawing/2014/main" id="{A23014C9-0149-0215-CB7E-AC1C501F2DC9}"/>
                </a:ext>
              </a:extLst>
            </p:cNvPr>
            <p:cNvSpPr/>
            <p:nvPr/>
          </p:nvSpPr>
          <p:spPr>
            <a:xfrm>
              <a:off x="7595469" y="4606405"/>
              <a:ext cx="2773578" cy="666572"/>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year OS rate: 32%</a:t>
              </a:r>
            </a:p>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3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edian follow-up: 74.3 months</a:t>
              </a:r>
            </a:p>
          </p:txBody>
        </p:sp>
        <p:sp>
          <p:nvSpPr>
            <p:cNvPr id="163" name="TextBox 162">
              <a:extLst>
                <a:ext uri="{FF2B5EF4-FFF2-40B4-BE49-F238E27FC236}">
                  <a16:creationId xmlns:a16="http://schemas.microsoft.com/office/drawing/2014/main" id="{2EAA2201-F4CB-B589-3209-CAB0531ED6E1}"/>
                </a:ext>
              </a:extLst>
            </p:cNvPr>
            <p:cNvSpPr txBox="1"/>
            <p:nvPr/>
          </p:nvSpPr>
          <p:spPr>
            <a:xfrm>
              <a:off x="4970396" y="3467064"/>
              <a:ext cx="2316680" cy="346249"/>
            </a:xfrm>
            <a:prstGeom prst="rect">
              <a:avLst/>
            </a:prstGeom>
            <a:no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OS:</a:t>
              </a:r>
              <a:b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7.5 months (95% CI = 16.2, 47.3 months) </a:t>
              </a:r>
            </a:p>
          </p:txBody>
        </p:sp>
        <p:sp>
          <p:nvSpPr>
            <p:cNvPr id="165" name="TextBox 164">
              <a:extLst>
                <a:ext uri="{FF2B5EF4-FFF2-40B4-BE49-F238E27FC236}">
                  <a16:creationId xmlns:a16="http://schemas.microsoft.com/office/drawing/2014/main" id="{1D5AA495-70E8-F861-A70F-80CA69F1253E}"/>
                </a:ext>
              </a:extLst>
            </p:cNvPr>
            <p:cNvSpPr txBox="1"/>
            <p:nvPr/>
          </p:nvSpPr>
          <p:spPr>
            <a:xfrm>
              <a:off x="7925250" y="4162841"/>
              <a:ext cx="2274065" cy="346249"/>
            </a:xfrm>
            <a:prstGeom prst="rect">
              <a:avLst/>
            </a:prstGeom>
            <a:no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OS:</a:t>
              </a:r>
              <a:b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1.1 months (95% CI = 6.6, 23.9 months) </a:t>
              </a:r>
            </a:p>
          </p:txBody>
        </p:sp>
        <p:sp>
          <p:nvSpPr>
            <p:cNvPr id="169" name="TextBox 168">
              <a:extLst>
                <a:ext uri="{FF2B5EF4-FFF2-40B4-BE49-F238E27FC236}">
                  <a16:creationId xmlns:a16="http://schemas.microsoft.com/office/drawing/2014/main" id="{89BAECE5-C197-8E1B-418C-2A95A938B6A0}"/>
                </a:ext>
              </a:extLst>
            </p:cNvPr>
            <p:cNvSpPr txBox="1"/>
            <p:nvPr/>
          </p:nvSpPr>
          <p:spPr>
            <a:xfrm>
              <a:off x="2259126" y="2335045"/>
              <a:ext cx="2149328" cy="276999"/>
            </a:xfrm>
            <a:prstGeom prst="rect">
              <a:avLst/>
            </a:prstGeom>
            <a:solidFill>
              <a:schemeClr val="bg1"/>
            </a:solid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verall survival</a:t>
              </a:r>
            </a:p>
          </p:txBody>
        </p:sp>
        <p:sp>
          <p:nvSpPr>
            <p:cNvPr id="170" name="TextBox 169">
              <a:extLst>
                <a:ext uri="{FF2B5EF4-FFF2-40B4-BE49-F238E27FC236}">
                  <a16:creationId xmlns:a16="http://schemas.microsoft.com/office/drawing/2014/main" id="{8314F755-64C8-3862-2C62-618078E76F98}"/>
                </a:ext>
              </a:extLst>
            </p:cNvPr>
            <p:cNvSpPr txBox="1"/>
            <p:nvPr/>
          </p:nvSpPr>
          <p:spPr>
            <a:xfrm>
              <a:off x="5069122" y="2327709"/>
              <a:ext cx="2149328" cy="276999"/>
            </a:xfrm>
            <a:prstGeom prst="rect">
              <a:avLst/>
            </a:prstGeom>
            <a:solidFill>
              <a:schemeClr val="bg1"/>
            </a:solid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verall survival</a:t>
              </a:r>
            </a:p>
          </p:txBody>
        </p:sp>
        <p:sp>
          <p:nvSpPr>
            <p:cNvPr id="171" name="TextBox 170">
              <a:extLst>
                <a:ext uri="{FF2B5EF4-FFF2-40B4-BE49-F238E27FC236}">
                  <a16:creationId xmlns:a16="http://schemas.microsoft.com/office/drawing/2014/main" id="{B237F041-9D0B-751F-7801-687AA8E23D1D}"/>
                </a:ext>
              </a:extLst>
            </p:cNvPr>
            <p:cNvSpPr txBox="1"/>
            <p:nvPr/>
          </p:nvSpPr>
          <p:spPr>
            <a:xfrm>
              <a:off x="7913758" y="2327709"/>
              <a:ext cx="2149328" cy="276999"/>
            </a:xfrm>
            <a:prstGeom prst="rect">
              <a:avLst/>
            </a:prstGeom>
            <a:solidFill>
              <a:schemeClr val="bg1"/>
            </a:solid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verall survival</a:t>
              </a:r>
            </a:p>
          </p:txBody>
        </p:sp>
        <p:sp>
          <p:nvSpPr>
            <p:cNvPr id="3" name="object 23">
              <a:extLst>
                <a:ext uri="{FF2B5EF4-FFF2-40B4-BE49-F238E27FC236}">
                  <a16:creationId xmlns:a16="http://schemas.microsoft.com/office/drawing/2014/main" id="{1C167EBA-E452-7494-9A9A-55004256E24D}"/>
                </a:ext>
              </a:extLst>
            </p:cNvPr>
            <p:cNvSpPr txBox="1"/>
            <p:nvPr/>
          </p:nvSpPr>
          <p:spPr>
            <a:xfrm rot="16200000">
              <a:off x="7082974" y="3173366"/>
              <a:ext cx="1163311" cy="136576"/>
            </a:xfrm>
            <a:prstGeom prst="rect">
              <a:avLst/>
            </a:prstGeom>
            <a:solidFill>
              <a:schemeClr val="bg1"/>
            </a:solidFill>
          </p:spPr>
          <p:txBody>
            <a:bodyPr vert="horz" wrap="square" lIns="0" tIns="9525" rIns="0" bIns="0" rtlCol="0">
              <a:spAutoFit/>
            </a:bodyPr>
            <a:lstStyle/>
            <a:p>
              <a:pPr marL="9525" marR="0" lvl="0" indent="0" algn="ctr" defTabSz="685783" rtl="0" eaLnBrk="1" fontAlgn="auto" latinLnBrk="0" hangingPunct="1">
                <a:lnSpc>
                  <a:spcPct val="100000"/>
                </a:lnSpc>
                <a:spcBef>
                  <a:spcPts val="75"/>
                </a:spcBef>
                <a:spcAft>
                  <a:spcPts val="0"/>
                </a:spcAft>
                <a:buClrTx/>
                <a:buSzTx/>
                <a:buFontTx/>
                <a:buNone/>
                <a:tabLst/>
                <a:defRPr/>
              </a:pPr>
              <a: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S, %</a:t>
              </a:r>
            </a:p>
          </p:txBody>
        </p:sp>
        <p:sp>
          <p:nvSpPr>
            <p:cNvPr id="16" name="object 23">
              <a:extLst>
                <a:ext uri="{FF2B5EF4-FFF2-40B4-BE49-F238E27FC236}">
                  <a16:creationId xmlns:a16="http://schemas.microsoft.com/office/drawing/2014/main" id="{EAD2AFC0-6428-8721-CD2B-C8A3D9F30652}"/>
                </a:ext>
              </a:extLst>
            </p:cNvPr>
            <p:cNvSpPr txBox="1"/>
            <p:nvPr/>
          </p:nvSpPr>
          <p:spPr>
            <a:xfrm rot="16200000">
              <a:off x="1405854" y="3156877"/>
              <a:ext cx="1163311" cy="136576"/>
            </a:xfrm>
            <a:prstGeom prst="rect">
              <a:avLst/>
            </a:prstGeom>
            <a:solidFill>
              <a:schemeClr val="bg1"/>
            </a:solidFill>
          </p:spPr>
          <p:txBody>
            <a:bodyPr vert="horz" wrap="square" lIns="0" tIns="9525" rIns="0" bIns="0" rtlCol="0">
              <a:spAutoFit/>
            </a:bodyPr>
            <a:lstStyle/>
            <a:p>
              <a:pPr marL="9525" marR="0" lvl="0" indent="0" algn="ctr" defTabSz="685783" rtl="0" eaLnBrk="1" fontAlgn="auto" latinLnBrk="0" hangingPunct="1">
                <a:lnSpc>
                  <a:spcPct val="100000"/>
                </a:lnSpc>
                <a:spcBef>
                  <a:spcPts val="75"/>
                </a:spcBef>
                <a:spcAft>
                  <a:spcPts val="0"/>
                </a:spcAft>
                <a:buClrTx/>
                <a:buSzTx/>
                <a:buFontTx/>
                <a:buNone/>
                <a:tabLst/>
                <a:defRPr/>
              </a:pPr>
              <a: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S, %</a:t>
              </a:r>
            </a:p>
          </p:txBody>
        </p:sp>
        <p:sp>
          <p:nvSpPr>
            <p:cNvPr id="17" name="Rectangle 16">
              <a:extLst>
                <a:ext uri="{FF2B5EF4-FFF2-40B4-BE49-F238E27FC236}">
                  <a16:creationId xmlns:a16="http://schemas.microsoft.com/office/drawing/2014/main" id="{25F55038-D81C-B695-B997-E14E6F68C41D}"/>
                </a:ext>
              </a:extLst>
            </p:cNvPr>
            <p:cNvSpPr/>
            <p:nvPr/>
          </p:nvSpPr>
          <p:spPr>
            <a:xfrm>
              <a:off x="2201510" y="3639830"/>
              <a:ext cx="831251" cy="24441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64" name="TextBox 163">
              <a:extLst>
                <a:ext uri="{FF2B5EF4-FFF2-40B4-BE49-F238E27FC236}">
                  <a16:creationId xmlns:a16="http://schemas.microsoft.com/office/drawing/2014/main" id="{85A192A5-BC8E-0195-990B-B4F668F2FBBD}"/>
                </a:ext>
              </a:extLst>
            </p:cNvPr>
            <p:cNvSpPr txBox="1"/>
            <p:nvPr/>
          </p:nvSpPr>
          <p:spPr>
            <a:xfrm>
              <a:off x="2265313" y="3467063"/>
              <a:ext cx="2149328" cy="319644"/>
            </a:xfrm>
            <a:prstGeom prst="rect">
              <a:avLst/>
            </a:prstGeom>
            <a:solidFill>
              <a:schemeClr val="bg1"/>
            </a:solidFill>
          </p:spPr>
          <p:txBody>
            <a:bodyPr wrap="square" rtlCol="0">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OS:</a:t>
              </a:r>
              <a:b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8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5.8 months (95% CI = 12.8 months, NE) </a:t>
              </a:r>
            </a:p>
          </p:txBody>
        </p:sp>
      </p:grpSp>
      <p:pic>
        <p:nvPicPr>
          <p:cNvPr id="1026" name="Picture 2">
            <a:extLst>
              <a:ext uri="{FF2B5EF4-FFF2-40B4-BE49-F238E27FC236}">
                <a16:creationId xmlns:a16="http://schemas.microsoft.com/office/drawing/2014/main" id="{E8601CA3-8221-F049-17D7-B3D2CE767FF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722" t="36038" r="50260" b="43131"/>
          <a:stretch>
            <a:fillRect/>
          </a:stretch>
        </p:blipFill>
        <p:spPr bwMode="auto">
          <a:xfrm>
            <a:off x="8206402" y="2339889"/>
            <a:ext cx="3307351" cy="1789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03598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Freeform: Shape 20">
            <a:extLst>
              <a:ext uri="{FF2B5EF4-FFF2-40B4-BE49-F238E27FC236}">
                <a16:creationId xmlns:a16="http://schemas.microsoft.com/office/drawing/2014/main" id="{42285737-90EE-47DC-AC80-8AE156B1196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1524002" y="857250"/>
            <a:ext cx="3302781" cy="5143500"/>
          </a:xfrm>
          <a:custGeom>
            <a:avLst/>
            <a:gdLst>
              <a:gd name="connsiteX0" fmla="*/ 3223890 w 4403709"/>
              <a:gd name="connsiteY0" fmla="*/ 6858001 h 6858001"/>
              <a:gd name="connsiteX1" fmla="*/ 4101908 w 4403709"/>
              <a:gd name="connsiteY1" fmla="*/ 6858001 h 6858001"/>
              <a:gd name="connsiteX2" fmla="*/ 3254950 w 4403709"/>
              <a:gd name="connsiteY2" fmla="*/ 1599356 h 6858001"/>
              <a:gd name="connsiteX3" fmla="*/ 3254950 w 4403709"/>
              <a:gd name="connsiteY3" fmla="*/ 1594062 h 6858001"/>
              <a:gd name="connsiteX4" fmla="*/ 4403709 w 4403709"/>
              <a:gd name="connsiteY4" fmla="*/ 0 h 6858001"/>
              <a:gd name="connsiteX5" fmla="*/ 3254950 w 4403709"/>
              <a:gd name="connsiteY5" fmla="*/ 0 h 6858001"/>
              <a:gd name="connsiteX6" fmla="*/ 2903520 w 4403709"/>
              <a:gd name="connsiteY6" fmla="*/ 0 h 6858001"/>
              <a:gd name="connsiteX7" fmla="*/ 0 w 4403709"/>
              <a:gd name="connsiteY7" fmla="*/ 0 h 6858001"/>
              <a:gd name="connsiteX8" fmla="*/ 0 w 4403709"/>
              <a:gd name="connsiteY8" fmla="*/ 6858000 h 6858001"/>
              <a:gd name="connsiteX9" fmla="*/ 3223890 w 4403709"/>
              <a:gd name="connsiteY9"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03709" h="6858001">
                <a:moveTo>
                  <a:pt x="3223890" y="6858001"/>
                </a:moveTo>
                <a:lnTo>
                  <a:pt x="4101908" y="6858001"/>
                </a:lnTo>
                <a:lnTo>
                  <a:pt x="3254950" y="1599356"/>
                </a:lnTo>
                <a:lnTo>
                  <a:pt x="3254950" y="1594062"/>
                </a:lnTo>
                <a:lnTo>
                  <a:pt x="4403709" y="0"/>
                </a:lnTo>
                <a:lnTo>
                  <a:pt x="3254950" y="0"/>
                </a:lnTo>
                <a:lnTo>
                  <a:pt x="2903520" y="0"/>
                </a:lnTo>
                <a:lnTo>
                  <a:pt x="0" y="0"/>
                </a:lnTo>
                <a:lnTo>
                  <a:pt x="0" y="6858000"/>
                </a:lnTo>
                <a:lnTo>
                  <a:pt x="3223890" y="6858000"/>
                </a:lnTo>
                <a:close/>
              </a:path>
            </a:pathLst>
          </a:custGeom>
          <a:ln>
            <a:noFill/>
          </a:ln>
        </p:spPr>
        <p:style>
          <a:lnRef idx="2">
            <a:schemeClr val="accent1">
              <a:shade val="50000"/>
            </a:schemeClr>
          </a:lnRef>
          <a:fillRef idx="1002">
            <a:schemeClr val="dk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3" name="Group 22">
            <a:extLst>
              <a:ext uri="{FF2B5EF4-FFF2-40B4-BE49-F238E27FC236}">
                <a16:creationId xmlns:a16="http://schemas.microsoft.com/office/drawing/2014/main" id="{B57BDC17-F1B3-455F-BBF1-680AA1F25C0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010471" y="857250"/>
            <a:ext cx="1827609" cy="5143500"/>
            <a:chOff x="1320800" y="0"/>
            <a:chExt cx="2436813" cy="6858001"/>
          </a:xfrm>
        </p:grpSpPr>
        <p:sp>
          <p:nvSpPr>
            <p:cNvPr id="24" name="Freeform 6">
              <a:extLst>
                <a:ext uri="{FF2B5EF4-FFF2-40B4-BE49-F238E27FC236}">
                  <a16:creationId xmlns:a16="http://schemas.microsoft.com/office/drawing/2014/main" id="{64E2FA9A-FEF7-4501-B0EB-5E45EDD2177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0"/>
              <a:ext cx="1122363" cy="5329238"/>
            </a:xfrm>
            <a:custGeom>
              <a:avLst/>
              <a:gdLst/>
              <a:ahLst/>
              <a:cxnLst/>
              <a:rect l="0" t="0" r="r" b="b"/>
              <a:pathLst>
                <a:path w="707" h="3357">
                  <a:moveTo>
                    <a:pt x="0" y="3330"/>
                  </a:moveTo>
                  <a:lnTo>
                    <a:pt x="156" y="3357"/>
                  </a:lnTo>
                  <a:lnTo>
                    <a:pt x="707" y="0"/>
                  </a:lnTo>
                  <a:lnTo>
                    <a:pt x="547" y="0"/>
                  </a:lnTo>
                  <a:lnTo>
                    <a:pt x="0" y="3330"/>
                  </a:lnTo>
                  <a:close/>
                </a:path>
              </a:pathLst>
            </a:custGeom>
            <a:solidFill>
              <a:schemeClr val="accent1"/>
            </a:solidFill>
            <a:ln>
              <a:noFill/>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aramond" pitchFamily="18" charset="0"/>
                <a:ea typeface="+mn-ea"/>
                <a:cs typeface="+mn-cs"/>
              </a:endParaRPr>
            </a:p>
          </p:txBody>
        </p:sp>
        <p:sp>
          <p:nvSpPr>
            <p:cNvPr id="25" name="Freeform 7">
              <a:extLst>
                <a:ext uri="{FF2B5EF4-FFF2-40B4-BE49-F238E27FC236}">
                  <a16:creationId xmlns:a16="http://schemas.microsoft.com/office/drawing/2014/main" id="{BC38192B-B4CB-47D4-A3B1-10010247F1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0"/>
              <a:ext cx="1117600" cy="5276850"/>
            </a:xfrm>
            <a:custGeom>
              <a:avLst/>
              <a:gdLst/>
              <a:ahLst/>
              <a:cxnLst/>
              <a:rect l="0" t="0" r="r" b="b"/>
              <a:pathLst>
                <a:path w="704" h="3324">
                  <a:moveTo>
                    <a:pt x="704" y="0"/>
                  </a:moveTo>
                  <a:lnTo>
                    <a:pt x="545" y="0"/>
                  </a:lnTo>
                  <a:lnTo>
                    <a:pt x="0" y="3300"/>
                  </a:lnTo>
                  <a:lnTo>
                    <a:pt x="157" y="3324"/>
                  </a:lnTo>
                  <a:lnTo>
                    <a:pt x="704" y="0"/>
                  </a:lnTo>
                  <a:close/>
                </a:path>
              </a:pathLst>
            </a:custGeom>
            <a:solidFill>
              <a:srgbClr val="595959"/>
            </a:solidFill>
            <a:ln>
              <a:noFill/>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aramond" pitchFamily="18" charset="0"/>
                <a:ea typeface="+mn-ea"/>
                <a:cs typeface="+mn-cs"/>
              </a:endParaRPr>
            </a:p>
          </p:txBody>
        </p:sp>
        <p:sp>
          <p:nvSpPr>
            <p:cNvPr id="26" name="Freeform 8">
              <a:extLst>
                <a:ext uri="{FF2B5EF4-FFF2-40B4-BE49-F238E27FC236}">
                  <a16:creationId xmlns:a16="http://schemas.microsoft.com/office/drawing/2014/main" id="{96330E33-E171-4B0F-82B5-AF7230399B5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5238750"/>
              <a:ext cx="1228725" cy="1619250"/>
            </a:xfrm>
            <a:custGeom>
              <a:avLst/>
              <a:gdLst/>
              <a:ahLst/>
              <a:cxnLst/>
              <a:rect l="0" t="0" r="r" b="b"/>
              <a:pathLst>
                <a:path w="774" h="1020">
                  <a:moveTo>
                    <a:pt x="0" y="0"/>
                  </a:moveTo>
                  <a:lnTo>
                    <a:pt x="740" y="1020"/>
                  </a:lnTo>
                  <a:lnTo>
                    <a:pt x="774" y="1020"/>
                  </a:lnTo>
                  <a:lnTo>
                    <a:pt x="0" y="0"/>
                  </a:lnTo>
                  <a:close/>
                </a:path>
              </a:pathLst>
            </a:custGeom>
            <a:solidFill>
              <a:srgbClr val="262626"/>
            </a:solidFill>
            <a:ln>
              <a:noFill/>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aramond" pitchFamily="18" charset="0"/>
                <a:ea typeface="+mn-ea"/>
                <a:cs typeface="+mn-cs"/>
              </a:endParaRPr>
            </a:p>
          </p:txBody>
        </p:sp>
        <p:sp>
          <p:nvSpPr>
            <p:cNvPr id="27" name="Freeform 9">
              <a:extLst>
                <a:ext uri="{FF2B5EF4-FFF2-40B4-BE49-F238E27FC236}">
                  <a16:creationId xmlns:a16="http://schemas.microsoft.com/office/drawing/2014/main" id="{332B1723-69BF-42D7-B757-0FA059E1525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5291138"/>
              <a:ext cx="1495425" cy="1566863"/>
            </a:xfrm>
            <a:custGeom>
              <a:avLst/>
              <a:gdLst/>
              <a:ahLst/>
              <a:cxnLst/>
              <a:rect l="0" t="0" r="r" b="b"/>
              <a:pathLst>
                <a:path w="942" h="987">
                  <a:moveTo>
                    <a:pt x="0" y="0"/>
                  </a:moveTo>
                  <a:lnTo>
                    <a:pt x="909" y="987"/>
                  </a:lnTo>
                  <a:lnTo>
                    <a:pt x="942" y="987"/>
                  </a:lnTo>
                  <a:lnTo>
                    <a:pt x="0" y="0"/>
                  </a:lnTo>
                  <a:close/>
                </a:path>
              </a:pathLst>
            </a:custGeom>
            <a:solidFill>
              <a:schemeClr val="accent1">
                <a:lumMod val="50000"/>
              </a:schemeClr>
            </a:solidFill>
            <a:ln>
              <a:noFill/>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aramond" pitchFamily="18" charset="0"/>
                <a:ea typeface="+mn-ea"/>
                <a:cs typeface="+mn-cs"/>
              </a:endParaRPr>
            </a:p>
          </p:txBody>
        </p:sp>
        <p:sp>
          <p:nvSpPr>
            <p:cNvPr id="28" name="Freeform 10">
              <a:extLst>
                <a:ext uri="{FF2B5EF4-FFF2-40B4-BE49-F238E27FC236}">
                  <a16:creationId xmlns:a16="http://schemas.microsoft.com/office/drawing/2014/main" id="{F115D62D-1E96-48D1-A78D-D370A0BFB9B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5286375"/>
              <a:ext cx="2130425" cy="1571625"/>
            </a:xfrm>
            <a:custGeom>
              <a:avLst/>
              <a:gdLst/>
              <a:ahLst/>
              <a:cxnLst/>
              <a:rect l="0" t="0" r="r" b="b"/>
              <a:pathLst>
                <a:path w="1342" h="990">
                  <a:moveTo>
                    <a:pt x="0" y="3"/>
                  </a:moveTo>
                  <a:lnTo>
                    <a:pt x="942" y="990"/>
                  </a:lnTo>
                  <a:lnTo>
                    <a:pt x="1342" y="990"/>
                  </a:lnTo>
                  <a:lnTo>
                    <a:pt x="156" y="27"/>
                  </a:lnTo>
                  <a:lnTo>
                    <a:pt x="0" y="0"/>
                  </a:lnTo>
                  <a:lnTo>
                    <a:pt x="0" y="3"/>
                  </a:lnTo>
                  <a:close/>
                </a:path>
              </a:pathLst>
            </a:custGeom>
            <a:solidFill>
              <a:schemeClr val="accent1">
                <a:lumMod val="75000"/>
              </a:schemeClr>
            </a:solidFill>
            <a:ln>
              <a:noFill/>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aramond" pitchFamily="18" charset="0"/>
                <a:ea typeface="+mn-ea"/>
                <a:cs typeface="+mn-cs"/>
              </a:endParaRPr>
            </a:p>
          </p:txBody>
        </p:sp>
        <p:sp>
          <p:nvSpPr>
            <p:cNvPr id="29" name="Freeform 11">
              <a:extLst>
                <a:ext uri="{FF2B5EF4-FFF2-40B4-BE49-F238E27FC236}">
                  <a16:creationId xmlns:a16="http://schemas.microsoft.com/office/drawing/2014/main" id="{91C2876A-169D-4822-A766-C00578C88B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5238750"/>
              <a:ext cx="1695450" cy="1619250"/>
            </a:xfrm>
            <a:custGeom>
              <a:avLst/>
              <a:gdLst/>
              <a:ahLst/>
              <a:cxnLst/>
              <a:rect l="0" t="0" r="r" b="b"/>
              <a:pathLst>
                <a:path w="1068" h="1020">
                  <a:moveTo>
                    <a:pt x="1068" y="1020"/>
                  </a:moveTo>
                  <a:lnTo>
                    <a:pt x="184" y="60"/>
                  </a:lnTo>
                  <a:lnTo>
                    <a:pt x="154" y="27"/>
                  </a:lnTo>
                  <a:lnTo>
                    <a:pt x="157" y="27"/>
                  </a:lnTo>
                  <a:lnTo>
                    <a:pt x="157" y="24"/>
                  </a:lnTo>
                  <a:lnTo>
                    <a:pt x="154" y="24"/>
                  </a:lnTo>
                  <a:lnTo>
                    <a:pt x="0" y="0"/>
                  </a:lnTo>
                  <a:lnTo>
                    <a:pt x="0" y="0"/>
                  </a:lnTo>
                  <a:lnTo>
                    <a:pt x="774" y="1020"/>
                  </a:lnTo>
                  <a:lnTo>
                    <a:pt x="1068" y="1020"/>
                  </a:lnTo>
                  <a:close/>
                </a:path>
              </a:pathLst>
            </a:custGeom>
            <a:solidFill>
              <a:srgbClr val="404040"/>
            </a:solidFill>
            <a:ln>
              <a:noFill/>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aramond" pitchFamily="18" charset="0"/>
                <a:ea typeface="+mn-ea"/>
                <a:cs typeface="+mn-cs"/>
              </a:endParaRPr>
            </a:p>
          </p:txBody>
        </p:sp>
      </p:grpSp>
      <p:pic>
        <p:nvPicPr>
          <p:cNvPr id="7" name="Picture 6" descr="Text&#10;&#10;Description automatically generated">
            <a:extLst>
              <a:ext uri="{FF2B5EF4-FFF2-40B4-BE49-F238E27FC236}">
                <a16:creationId xmlns:a16="http://schemas.microsoft.com/office/drawing/2014/main" id="{A2A5096B-9059-B04E-A04D-27E13531D77B}"/>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5874656" y="597409"/>
            <a:ext cx="5474207" cy="1560576"/>
          </a:xfrm>
          <a:prstGeom prst="rect">
            <a:avLst/>
          </a:prstGeom>
        </p:spPr>
      </p:pic>
      <p:pic>
        <p:nvPicPr>
          <p:cNvPr id="9" name="Picture 8" descr="Text&#10;&#10;Description automatically generated">
            <a:extLst>
              <a:ext uri="{FF2B5EF4-FFF2-40B4-BE49-F238E27FC236}">
                <a16:creationId xmlns:a16="http://schemas.microsoft.com/office/drawing/2014/main" id="{D07DB9B9-D601-0541-AF1C-77045418B761}"/>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rcRect t="626" b="1617"/>
          <a:stretch>
            <a:fillRect/>
          </a:stretch>
        </p:blipFill>
        <p:spPr>
          <a:xfrm>
            <a:off x="5838080" y="2243328"/>
            <a:ext cx="5401055" cy="2193019"/>
          </a:xfrm>
          <a:prstGeom prst="rect">
            <a:avLst/>
          </a:prstGeom>
        </p:spPr>
      </p:pic>
      <p:pic>
        <p:nvPicPr>
          <p:cNvPr id="5" name="Content Placeholder 4" descr="Text&#10;&#10;Description automatically generated">
            <a:extLst>
              <a:ext uri="{FF2B5EF4-FFF2-40B4-BE49-F238E27FC236}">
                <a16:creationId xmlns:a16="http://schemas.microsoft.com/office/drawing/2014/main" id="{5A802FF2-EF5B-554F-91E7-A6850A1B9EA6}"/>
              </a:ext>
            </a:extLst>
          </p:cNvPr>
          <p:cNvPicPr>
            <a:picLocks noGrp="1" noChangeAspect="1"/>
          </p:cNvPicPr>
          <p:nvPr>
            <p:ph idx="1"/>
          </p:nvPr>
        </p:nvPicPr>
        <p:blipFill>
          <a:blip r:embed="rId7">
            <a:extLst>
              <a:ext uri="{BEBA8EAE-BF5A-486C-A8C5-ECC9F3942E4B}">
                <a14:imgProps xmlns:a14="http://schemas.microsoft.com/office/drawing/2010/main">
                  <a14:imgLayer r:embed="rId8">
                    <a14:imgEffect>
                      <a14:sharpenSoften amount="50000"/>
                    </a14:imgEffect>
                  </a14:imgLayer>
                </a14:imgProps>
              </a:ext>
            </a:extLst>
          </a:blip>
          <a:stretch>
            <a:fillRect/>
          </a:stretch>
        </p:blipFill>
        <p:spPr>
          <a:xfrm>
            <a:off x="5935616" y="4569858"/>
            <a:ext cx="5218175" cy="1440799"/>
          </a:xfrm>
        </p:spPr>
      </p:pic>
      <p:sp>
        <p:nvSpPr>
          <p:cNvPr id="2" name="Title 1">
            <a:extLst>
              <a:ext uri="{FF2B5EF4-FFF2-40B4-BE49-F238E27FC236}">
                <a16:creationId xmlns:a16="http://schemas.microsoft.com/office/drawing/2014/main" id="{CF40032B-E887-384C-8C89-CE836D95A0BA}"/>
              </a:ext>
            </a:extLst>
          </p:cNvPr>
          <p:cNvSpPr>
            <a:spLocks noGrp="1"/>
          </p:cNvSpPr>
          <p:nvPr>
            <p:ph type="title"/>
          </p:nvPr>
        </p:nvSpPr>
        <p:spPr>
          <a:xfrm>
            <a:off x="1925267" y="1371600"/>
            <a:ext cx="2085203" cy="3829050"/>
          </a:xfrm>
        </p:spPr>
        <p:txBody>
          <a:bodyPr vert="horz" lIns="91440" tIns="45720" rIns="91440" bIns="45720" rtlCol="0" anchor="ctr">
            <a:normAutofit/>
          </a:bodyPr>
          <a:lstStyle/>
          <a:p>
            <a:pPr defTabSz="914400" eaLnBrk="1" hangingPunct="1">
              <a:lnSpc>
                <a:spcPct val="90000"/>
              </a:lnSpc>
            </a:pPr>
            <a:r>
              <a:rPr lang="en-US" sz="2300" b="1" dirty="0">
                <a:solidFill>
                  <a:srgbClr val="FFFFFF"/>
                </a:solidFill>
                <a:latin typeface="+mj-lt"/>
                <a:ea typeface="+mj-ea"/>
                <a:cs typeface="+mj-cs"/>
              </a:rPr>
              <a:t>3 Randomized trials of CAR T-cell therapy vs SOC in transplant-eligible DLBCL with early relapse or primary refractory disease </a:t>
            </a:r>
          </a:p>
        </p:txBody>
      </p:sp>
      <p:sp>
        <p:nvSpPr>
          <p:cNvPr id="6" name="TextBox 5">
            <a:extLst>
              <a:ext uri="{FF2B5EF4-FFF2-40B4-BE49-F238E27FC236}">
                <a16:creationId xmlns:a16="http://schemas.microsoft.com/office/drawing/2014/main" id="{4DBBDD5A-6DF2-A933-75C8-B637D72AD126}"/>
              </a:ext>
            </a:extLst>
          </p:cNvPr>
          <p:cNvSpPr txBox="1"/>
          <p:nvPr/>
        </p:nvSpPr>
        <p:spPr>
          <a:xfrm>
            <a:off x="1524000" y="6350170"/>
            <a:ext cx="6108192" cy="507831"/>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Locke, F et al, N </a:t>
            </a:r>
            <a:r>
              <a:rPr kumimoji="0" lang="en-US" sz="900" b="0" i="0" u="none" strike="noStrike" kern="1200" cap="none" spc="0" normalizeH="0" baseline="0" noProof="0" dirty="0" err="1">
                <a:ln>
                  <a:noFill/>
                </a:ln>
                <a:solidFill>
                  <a:prstClr val="black"/>
                </a:solidFill>
                <a:effectLst/>
                <a:uLnTx/>
                <a:uFillTx/>
                <a:latin typeface="Calibri"/>
                <a:ea typeface="+mn-ea"/>
                <a:cs typeface="+mn-cs"/>
              </a:rPr>
              <a:t>Engl</a:t>
            </a:r>
            <a:r>
              <a:rPr kumimoji="0" lang="en-US" sz="900" b="0" i="0" u="none" strike="noStrike" kern="1200" cap="none" spc="0" normalizeH="0" baseline="0" noProof="0" dirty="0">
                <a:ln>
                  <a:noFill/>
                </a:ln>
                <a:solidFill>
                  <a:prstClr val="black"/>
                </a:solidFill>
                <a:effectLst/>
                <a:uLnTx/>
                <a:uFillTx/>
                <a:latin typeface="Calibri"/>
                <a:ea typeface="+mn-ea"/>
                <a:cs typeface="+mn-cs"/>
              </a:rPr>
              <a:t> J Med. 2022 Feb 17;386(7):640-654. </a:t>
            </a:r>
            <a:r>
              <a:rPr kumimoji="0" lang="en-US" sz="900" b="0" i="0" u="none" strike="noStrike" kern="1200" cap="none" spc="0" normalizeH="0" baseline="0" noProof="0" dirty="0" err="1">
                <a:ln>
                  <a:noFill/>
                </a:ln>
                <a:solidFill>
                  <a:prstClr val="black"/>
                </a:solidFill>
                <a:effectLst/>
                <a:uLnTx/>
                <a:uFillTx/>
                <a:latin typeface="Calibri"/>
                <a:ea typeface="+mn-ea"/>
                <a:cs typeface="+mn-cs"/>
              </a:rPr>
              <a:t>doi</a:t>
            </a:r>
            <a:r>
              <a:rPr kumimoji="0" lang="en-US" sz="900" b="0" i="0" u="none" strike="noStrike" kern="1200" cap="none" spc="0" normalizeH="0" baseline="0" noProof="0" dirty="0">
                <a:ln>
                  <a:noFill/>
                </a:ln>
                <a:solidFill>
                  <a:prstClr val="black"/>
                </a:solidFill>
                <a:effectLst/>
                <a:uLnTx/>
                <a:uFillTx/>
                <a:latin typeface="Calibri"/>
                <a:ea typeface="+mn-ea"/>
                <a:cs typeface="+mn-cs"/>
              </a:rPr>
              <a:t>: 10.1056/NEJMoa2116133</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err="1">
                <a:ln>
                  <a:noFill/>
                </a:ln>
                <a:solidFill>
                  <a:prstClr val="black"/>
                </a:solidFill>
                <a:effectLst/>
                <a:uLnTx/>
                <a:uFillTx/>
                <a:latin typeface="Calibri"/>
                <a:ea typeface="+mn-ea"/>
                <a:cs typeface="+mn-cs"/>
              </a:rPr>
              <a:t>Kamdar</a:t>
            </a:r>
            <a:r>
              <a:rPr kumimoji="0" lang="en-US" sz="900" b="0" i="0" u="none" strike="noStrike" kern="1200" cap="none" spc="0" normalizeH="0" baseline="0" noProof="0" dirty="0">
                <a:ln>
                  <a:noFill/>
                </a:ln>
                <a:solidFill>
                  <a:prstClr val="black"/>
                </a:solidFill>
                <a:effectLst/>
                <a:uLnTx/>
                <a:uFillTx/>
                <a:latin typeface="Calibri"/>
                <a:ea typeface="+mn-ea"/>
                <a:cs typeface="+mn-cs"/>
              </a:rPr>
              <a:t>, M et al Lancet. 2022 Jun 18;399(10343):2294-2308. </a:t>
            </a:r>
            <a:r>
              <a:rPr kumimoji="0" lang="en-US" sz="900" b="0" i="0" u="none" strike="noStrike" kern="1200" cap="none" spc="0" normalizeH="0" baseline="0" noProof="0" dirty="0" err="1">
                <a:ln>
                  <a:noFill/>
                </a:ln>
                <a:solidFill>
                  <a:prstClr val="black"/>
                </a:solidFill>
                <a:effectLst/>
                <a:uLnTx/>
                <a:uFillTx/>
                <a:latin typeface="Calibri"/>
                <a:ea typeface="+mn-ea"/>
                <a:cs typeface="+mn-cs"/>
              </a:rPr>
              <a:t>doi</a:t>
            </a:r>
            <a:r>
              <a:rPr kumimoji="0" lang="en-US" sz="900" b="0" i="0" u="none" strike="noStrike" kern="1200" cap="none" spc="0" normalizeH="0" baseline="0" noProof="0" dirty="0">
                <a:ln>
                  <a:noFill/>
                </a:ln>
                <a:solidFill>
                  <a:prstClr val="black"/>
                </a:solidFill>
                <a:effectLst/>
                <a:uLnTx/>
                <a:uFillTx/>
                <a:latin typeface="Calibri"/>
                <a:ea typeface="+mn-ea"/>
                <a:cs typeface="+mn-cs"/>
              </a:rPr>
              <a:t>: 10.1016/S0140-6736(22)00662-6.</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Bishop, M et al N Engl J Med. 2022 Feb 17;386(7):629-639. </a:t>
            </a:r>
            <a:r>
              <a:rPr kumimoji="0" lang="en-US" sz="900" b="0" i="0" u="none" strike="noStrike" kern="1200" cap="none" spc="0" normalizeH="0" baseline="0" noProof="0" dirty="0" err="1">
                <a:ln>
                  <a:noFill/>
                </a:ln>
                <a:solidFill>
                  <a:prstClr val="black"/>
                </a:solidFill>
                <a:effectLst/>
                <a:uLnTx/>
                <a:uFillTx/>
                <a:latin typeface="Calibri"/>
                <a:ea typeface="+mn-ea"/>
                <a:cs typeface="+mn-cs"/>
              </a:rPr>
              <a:t>doi</a:t>
            </a:r>
            <a:r>
              <a:rPr kumimoji="0" lang="en-US" sz="900" b="0" i="0" u="none" strike="noStrike" kern="1200" cap="none" spc="0" normalizeH="0" baseline="0" noProof="0" dirty="0">
                <a:ln>
                  <a:noFill/>
                </a:ln>
                <a:solidFill>
                  <a:prstClr val="black"/>
                </a:solidFill>
                <a:effectLst/>
                <a:uLnTx/>
                <a:uFillTx/>
                <a:latin typeface="Calibri"/>
                <a:ea typeface="+mn-ea"/>
                <a:cs typeface="+mn-cs"/>
              </a:rPr>
              <a:t>: 10.1056/NEJMoa2116596</a:t>
            </a:r>
          </a:p>
        </p:txBody>
      </p:sp>
      <p:sp>
        <p:nvSpPr>
          <p:cNvPr id="3" name="TextBox 2">
            <a:extLst>
              <a:ext uri="{FF2B5EF4-FFF2-40B4-BE49-F238E27FC236}">
                <a16:creationId xmlns:a16="http://schemas.microsoft.com/office/drawing/2014/main" id="{C9DF40D0-95FC-99FA-8D94-730D57BE1AFD}"/>
              </a:ext>
            </a:extLst>
          </p:cNvPr>
          <p:cNvSpPr txBox="1"/>
          <p:nvPr/>
        </p:nvSpPr>
        <p:spPr>
          <a:xfrm>
            <a:off x="10266733" y="1672540"/>
            <a:ext cx="842534" cy="276999"/>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ea typeface="+mn-ea"/>
                <a:cs typeface="+mn-cs"/>
              </a:rPr>
              <a:t>ASH 2021</a:t>
            </a:r>
          </a:p>
        </p:txBody>
      </p:sp>
      <p:sp>
        <p:nvSpPr>
          <p:cNvPr id="11" name="TextBox 10">
            <a:extLst>
              <a:ext uri="{FF2B5EF4-FFF2-40B4-BE49-F238E27FC236}">
                <a16:creationId xmlns:a16="http://schemas.microsoft.com/office/drawing/2014/main" id="{75C8BFB6-42B9-E7B4-A652-B9E452ADF8C8}"/>
              </a:ext>
            </a:extLst>
          </p:cNvPr>
          <p:cNvSpPr txBox="1"/>
          <p:nvPr/>
        </p:nvSpPr>
        <p:spPr>
          <a:xfrm>
            <a:off x="10233719" y="3929113"/>
            <a:ext cx="842534" cy="276999"/>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ea typeface="+mn-ea"/>
                <a:cs typeface="+mn-cs"/>
              </a:rPr>
              <a:t>ASH 2021</a:t>
            </a:r>
          </a:p>
        </p:txBody>
      </p:sp>
      <p:sp>
        <p:nvSpPr>
          <p:cNvPr id="12" name="TextBox 11">
            <a:extLst>
              <a:ext uri="{FF2B5EF4-FFF2-40B4-BE49-F238E27FC236}">
                <a16:creationId xmlns:a16="http://schemas.microsoft.com/office/drawing/2014/main" id="{570770BB-4837-1697-EF97-D81613AB7A97}"/>
              </a:ext>
            </a:extLst>
          </p:cNvPr>
          <p:cNvSpPr txBox="1"/>
          <p:nvPr/>
        </p:nvSpPr>
        <p:spPr>
          <a:xfrm>
            <a:off x="10233719" y="5614898"/>
            <a:ext cx="842534" cy="276999"/>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Garamond" pitchFamily="18" charset="0"/>
                <a:ea typeface="+mn-ea"/>
                <a:cs typeface="+mn-cs"/>
              </a:rPr>
              <a:t>ASH 2021</a:t>
            </a:r>
          </a:p>
        </p:txBody>
      </p:sp>
    </p:spTree>
    <p:extLst>
      <p:ext uri="{BB962C8B-B14F-4D97-AF65-F5344CB8AC3E}">
        <p14:creationId xmlns:p14="http://schemas.microsoft.com/office/powerpoint/2010/main" val="3204423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screenshot of a medical report&#10;&#10;Description automatically generated">
            <a:extLst>
              <a:ext uri="{FF2B5EF4-FFF2-40B4-BE49-F238E27FC236}">
                <a16:creationId xmlns:a16="http://schemas.microsoft.com/office/drawing/2014/main" id="{E3CD9C63-36C9-5F46-D3EE-F8A93CD79CA5}"/>
              </a:ext>
            </a:extLst>
          </p:cNvPr>
          <p:cNvPicPr>
            <a:picLocks noGrp="1" noChangeAspect="1"/>
          </p:cNvPicPr>
          <p:nvPr>
            <p:ph idx="1"/>
          </p:nvPr>
        </p:nvPicPr>
        <p:blipFill>
          <a:blip r:embed="rId2"/>
          <a:stretch>
            <a:fillRect/>
          </a:stretch>
        </p:blipFill>
        <p:spPr>
          <a:xfrm>
            <a:off x="1962912" y="475489"/>
            <a:ext cx="8168640" cy="5701475"/>
          </a:xfrm>
        </p:spPr>
      </p:pic>
      <p:sp>
        <p:nvSpPr>
          <p:cNvPr id="6" name="TextBox 5">
            <a:extLst>
              <a:ext uri="{FF2B5EF4-FFF2-40B4-BE49-F238E27FC236}">
                <a16:creationId xmlns:a16="http://schemas.microsoft.com/office/drawing/2014/main" id="{3B018367-AD7D-2D94-382C-7E3CC1F46B61}"/>
              </a:ext>
            </a:extLst>
          </p:cNvPr>
          <p:cNvSpPr txBox="1"/>
          <p:nvPr/>
        </p:nvSpPr>
        <p:spPr>
          <a:xfrm>
            <a:off x="8875945" y="6267241"/>
            <a:ext cx="3223959" cy="461665"/>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Garamond" pitchFamily="18" charset="0"/>
                <a:ea typeface="+mn-ea"/>
                <a:cs typeface="+mn-cs"/>
              </a:rPr>
              <a:t>1.Locke, F et al, N </a:t>
            </a:r>
            <a:r>
              <a:rPr kumimoji="0" lang="en-US" sz="600" b="0" i="0" u="none" strike="noStrike" kern="1200" cap="none" spc="0" normalizeH="0" baseline="0" noProof="0" dirty="0" err="1">
                <a:ln>
                  <a:noFill/>
                </a:ln>
                <a:solidFill>
                  <a:prstClr val="black"/>
                </a:solidFill>
                <a:effectLst/>
                <a:uLnTx/>
                <a:uFillTx/>
                <a:latin typeface="Garamond" pitchFamily="18" charset="0"/>
                <a:ea typeface="+mn-ea"/>
                <a:cs typeface="+mn-cs"/>
              </a:rPr>
              <a:t>Engl</a:t>
            </a:r>
            <a:r>
              <a:rPr kumimoji="0" lang="en-US" sz="600" b="0" i="0" u="none" strike="noStrike" kern="1200" cap="none" spc="0" normalizeH="0" baseline="0" noProof="0" dirty="0">
                <a:ln>
                  <a:noFill/>
                </a:ln>
                <a:solidFill>
                  <a:prstClr val="black"/>
                </a:solidFill>
                <a:effectLst/>
                <a:uLnTx/>
                <a:uFillTx/>
                <a:latin typeface="Garamond" pitchFamily="18" charset="0"/>
                <a:ea typeface="+mn-ea"/>
                <a:cs typeface="+mn-cs"/>
              </a:rPr>
              <a:t> J Med. 2022 Feb 17;386(7):640-654. </a:t>
            </a:r>
            <a:r>
              <a:rPr kumimoji="0" lang="en-US" sz="600" b="0" i="0" u="none" strike="noStrike" kern="1200" cap="none" spc="0" normalizeH="0" baseline="0" noProof="0" dirty="0" err="1">
                <a:ln>
                  <a:noFill/>
                </a:ln>
                <a:solidFill>
                  <a:prstClr val="black"/>
                </a:solidFill>
                <a:effectLst/>
                <a:uLnTx/>
                <a:uFillTx/>
                <a:latin typeface="Garamond" pitchFamily="18" charset="0"/>
                <a:ea typeface="+mn-ea"/>
                <a:cs typeface="+mn-cs"/>
              </a:rPr>
              <a:t>doi</a:t>
            </a:r>
            <a:r>
              <a:rPr kumimoji="0" lang="en-US" sz="600" b="0" i="0" u="none" strike="noStrike" kern="1200" cap="none" spc="0" normalizeH="0" baseline="0" noProof="0" dirty="0">
                <a:ln>
                  <a:noFill/>
                </a:ln>
                <a:solidFill>
                  <a:prstClr val="black"/>
                </a:solidFill>
                <a:effectLst/>
                <a:uLnTx/>
                <a:uFillTx/>
                <a:latin typeface="Garamond" pitchFamily="18" charset="0"/>
                <a:ea typeface="+mn-ea"/>
                <a:cs typeface="+mn-cs"/>
              </a:rPr>
              <a:t>: 10.1056/NEJMoa2116133</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Garamond" pitchFamily="18" charset="0"/>
                <a:ea typeface="+mn-ea"/>
                <a:cs typeface="+mn-cs"/>
              </a:rPr>
              <a:t>2.Kamdar, M et al Lancet. 2022 Jun 18;399(10343):2294-2308. </a:t>
            </a:r>
            <a:r>
              <a:rPr kumimoji="0" lang="en-US" sz="600" b="0" i="0" u="none" strike="noStrike" kern="1200" cap="none" spc="0" normalizeH="0" baseline="0" noProof="0" dirty="0" err="1">
                <a:ln>
                  <a:noFill/>
                </a:ln>
                <a:solidFill>
                  <a:prstClr val="black"/>
                </a:solidFill>
                <a:effectLst/>
                <a:uLnTx/>
                <a:uFillTx/>
                <a:latin typeface="Garamond" pitchFamily="18" charset="0"/>
                <a:ea typeface="+mn-ea"/>
                <a:cs typeface="+mn-cs"/>
              </a:rPr>
              <a:t>doi</a:t>
            </a:r>
            <a:r>
              <a:rPr kumimoji="0" lang="en-US" sz="600" b="0" i="0" u="none" strike="noStrike" kern="1200" cap="none" spc="0" normalizeH="0" baseline="0" noProof="0" dirty="0">
                <a:ln>
                  <a:noFill/>
                </a:ln>
                <a:solidFill>
                  <a:prstClr val="black"/>
                </a:solidFill>
                <a:effectLst/>
                <a:uLnTx/>
                <a:uFillTx/>
                <a:latin typeface="Garamond" pitchFamily="18" charset="0"/>
                <a:ea typeface="+mn-ea"/>
                <a:cs typeface="+mn-cs"/>
              </a:rPr>
              <a:t>: 10.1016/S0140-6736(22)00662-6.</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Garamond" pitchFamily="18" charset="0"/>
                <a:ea typeface="+mn-ea"/>
                <a:cs typeface="+mn-cs"/>
              </a:rPr>
              <a:t>3.Bishop,M et al N </a:t>
            </a:r>
            <a:r>
              <a:rPr kumimoji="0" lang="en-US" sz="600" b="0" i="0" u="none" strike="noStrike" kern="1200" cap="none" spc="0" normalizeH="0" baseline="0" noProof="0" dirty="0" err="1">
                <a:ln>
                  <a:noFill/>
                </a:ln>
                <a:solidFill>
                  <a:prstClr val="black"/>
                </a:solidFill>
                <a:effectLst/>
                <a:uLnTx/>
                <a:uFillTx/>
                <a:latin typeface="Garamond" pitchFamily="18" charset="0"/>
                <a:ea typeface="+mn-ea"/>
                <a:cs typeface="+mn-cs"/>
              </a:rPr>
              <a:t>Engl</a:t>
            </a:r>
            <a:r>
              <a:rPr kumimoji="0" lang="en-US" sz="600" b="0" i="0" u="none" strike="noStrike" kern="1200" cap="none" spc="0" normalizeH="0" baseline="0" noProof="0" dirty="0">
                <a:ln>
                  <a:noFill/>
                </a:ln>
                <a:solidFill>
                  <a:prstClr val="black"/>
                </a:solidFill>
                <a:effectLst/>
                <a:uLnTx/>
                <a:uFillTx/>
                <a:latin typeface="Garamond" pitchFamily="18" charset="0"/>
                <a:ea typeface="+mn-ea"/>
                <a:cs typeface="+mn-cs"/>
              </a:rPr>
              <a:t> J Med. 2022 Feb 17;386(7):629-639. </a:t>
            </a:r>
            <a:r>
              <a:rPr kumimoji="0" lang="en-US" sz="600" b="0" i="0" u="none" strike="noStrike" kern="1200" cap="none" spc="0" normalizeH="0" baseline="0" noProof="0" dirty="0" err="1">
                <a:ln>
                  <a:noFill/>
                </a:ln>
                <a:solidFill>
                  <a:prstClr val="black"/>
                </a:solidFill>
                <a:effectLst/>
                <a:uLnTx/>
                <a:uFillTx/>
                <a:latin typeface="Garamond" pitchFamily="18" charset="0"/>
                <a:ea typeface="+mn-ea"/>
                <a:cs typeface="+mn-cs"/>
              </a:rPr>
              <a:t>doi</a:t>
            </a:r>
            <a:r>
              <a:rPr kumimoji="0" lang="en-US" sz="600" b="0" i="0" u="none" strike="noStrike" kern="1200" cap="none" spc="0" normalizeH="0" baseline="0" noProof="0" dirty="0">
                <a:ln>
                  <a:noFill/>
                </a:ln>
                <a:solidFill>
                  <a:prstClr val="black"/>
                </a:solidFill>
                <a:effectLst/>
                <a:uLnTx/>
                <a:uFillTx/>
                <a:latin typeface="Garamond" pitchFamily="18" charset="0"/>
                <a:ea typeface="+mn-ea"/>
                <a:cs typeface="+mn-cs"/>
              </a:rPr>
              <a:t>: 10.1056/NEJMoa2116596c</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Garamond" pitchFamily="18" charset="0"/>
                <a:ea typeface="+mn-ea"/>
                <a:cs typeface="+mn-cs"/>
              </a:rPr>
              <a:t>4.Abramson JS et al Blood 2023 6;141(14):1675-1684</a:t>
            </a:r>
          </a:p>
        </p:txBody>
      </p:sp>
      <p:sp>
        <p:nvSpPr>
          <p:cNvPr id="3" name="TextBox 2">
            <a:extLst>
              <a:ext uri="{FF2B5EF4-FFF2-40B4-BE49-F238E27FC236}">
                <a16:creationId xmlns:a16="http://schemas.microsoft.com/office/drawing/2014/main" id="{E6C94F67-215E-CED9-ECB4-042C2513EAB8}"/>
              </a:ext>
            </a:extLst>
          </p:cNvPr>
          <p:cNvSpPr txBox="1"/>
          <p:nvPr/>
        </p:nvSpPr>
        <p:spPr>
          <a:xfrm>
            <a:off x="2060449" y="4471553"/>
            <a:ext cx="6037385" cy="381801"/>
          </a:xfrm>
          <a:prstGeom prst="rect">
            <a:avLst/>
          </a:prstGeom>
          <a:noFill/>
          <a:ln w="28575">
            <a:solidFill>
              <a:srgbClr val="C00000"/>
            </a:solidFill>
          </a:ln>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
        <p:nvSpPr>
          <p:cNvPr id="4" name="TextBox 3">
            <a:extLst>
              <a:ext uri="{FF2B5EF4-FFF2-40B4-BE49-F238E27FC236}">
                <a16:creationId xmlns:a16="http://schemas.microsoft.com/office/drawing/2014/main" id="{F31D17D1-D062-4A00-6B93-976BF5F02220}"/>
              </a:ext>
            </a:extLst>
          </p:cNvPr>
          <p:cNvSpPr txBox="1"/>
          <p:nvPr/>
        </p:nvSpPr>
        <p:spPr>
          <a:xfrm>
            <a:off x="2060448" y="5409399"/>
            <a:ext cx="6037385" cy="381801"/>
          </a:xfrm>
          <a:prstGeom prst="rect">
            <a:avLst/>
          </a:prstGeom>
          <a:noFill/>
          <a:ln w="28575">
            <a:solidFill>
              <a:srgbClr val="C00000"/>
            </a:solidFill>
          </a:ln>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
        <p:nvSpPr>
          <p:cNvPr id="7" name="Rectangle 6">
            <a:extLst>
              <a:ext uri="{FF2B5EF4-FFF2-40B4-BE49-F238E27FC236}">
                <a16:creationId xmlns:a16="http://schemas.microsoft.com/office/drawing/2014/main" id="{C19F13AB-0FE3-AEBE-9D7F-3AB2AB98DAED}"/>
              </a:ext>
            </a:extLst>
          </p:cNvPr>
          <p:cNvSpPr/>
          <p:nvPr/>
        </p:nvSpPr>
        <p:spPr>
          <a:xfrm>
            <a:off x="1650670" y="154379"/>
            <a:ext cx="2351314" cy="34438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04317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1DAE0-044B-8E66-CE3B-00B67F93C52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130DF20-017E-6FFF-5D95-20A36F81B4F8}"/>
              </a:ext>
            </a:extLst>
          </p:cNvPr>
          <p:cNvSpPr>
            <a:spLocks noGrp="1"/>
          </p:cNvSpPr>
          <p:nvPr>
            <p:ph type="title"/>
          </p:nvPr>
        </p:nvSpPr>
        <p:spPr/>
        <p:txBody>
          <a:bodyPr>
            <a:noAutofit/>
          </a:bodyPr>
          <a:lstStyle/>
          <a:p>
            <a:r>
              <a:rPr lang="en-US" err="1">
                <a:latin typeface="Arial" panose="020B0604020202020204" pitchFamily="34" charset="0"/>
                <a:cs typeface="Arial" panose="020B0604020202020204" pitchFamily="34" charset="0"/>
              </a:rPr>
              <a:t>Axi</a:t>
            </a:r>
            <a:r>
              <a:rPr lang="en-US">
                <a:latin typeface="Arial" panose="020B0604020202020204" pitchFamily="34" charset="0"/>
                <a:cs typeface="Arial" panose="020B0604020202020204" pitchFamily="34" charset="0"/>
              </a:rPr>
              <a:t>-cel continued to demonstrate higher rates of survival vs. SOC at ≈ 4 years of follow-up</a:t>
            </a:r>
            <a:endParaRPr lang="en-GB">
              <a:latin typeface="Arial" panose="020B0604020202020204" pitchFamily="34" charset="0"/>
              <a:cs typeface="Arial" panose="020B0604020202020204" pitchFamily="34" charset="0"/>
            </a:endParaRPr>
          </a:p>
        </p:txBody>
      </p:sp>
      <p:sp>
        <p:nvSpPr>
          <p:cNvPr id="5" name="Text Placeholder 4">
            <a:extLst>
              <a:ext uri="{FF2B5EF4-FFF2-40B4-BE49-F238E27FC236}">
                <a16:creationId xmlns:a16="http://schemas.microsoft.com/office/drawing/2014/main" id="{D1E74257-2191-002D-E18F-719596609737}"/>
              </a:ext>
            </a:extLst>
          </p:cNvPr>
          <p:cNvSpPr>
            <a:spLocks noGrp="1"/>
          </p:cNvSpPr>
          <p:nvPr>
            <p:ph sz="quarter" idx="14"/>
          </p:nvPr>
        </p:nvSpPr>
        <p:spPr>
          <a:xfrm>
            <a:off x="2190094" y="6060455"/>
            <a:ext cx="8154590" cy="373949"/>
          </a:xfrm>
        </p:spPr>
        <p:txBody>
          <a:bodyPr/>
          <a:lstStyle/>
          <a:p>
            <a:r>
              <a:rPr lang="en-US" sz="675" baseline="30000" dirty="0">
                <a:latin typeface="Arial" panose="020B0604020202020204" pitchFamily="34" charset="0"/>
                <a:cs typeface="Arial" panose="020B0604020202020204" pitchFamily="34" charset="0"/>
              </a:rPr>
              <a:t>a</a:t>
            </a:r>
            <a:r>
              <a:rPr lang="en-US" sz="675" dirty="0">
                <a:latin typeface="Arial" panose="020B0604020202020204" pitchFamily="34" charset="0"/>
                <a:cs typeface="Arial" panose="020B0604020202020204" pitchFamily="34" charset="0"/>
              </a:rPr>
              <a:t> ORR with SOC was 50%; </a:t>
            </a:r>
            <a:r>
              <a:rPr lang="en-US" sz="675" baseline="30000" dirty="0">
                <a:latin typeface="Arial" panose="020B0604020202020204" pitchFamily="34" charset="0"/>
                <a:cs typeface="Arial" panose="020B0604020202020204" pitchFamily="34" charset="0"/>
              </a:rPr>
              <a:t>b</a:t>
            </a:r>
            <a:r>
              <a:rPr lang="en-US" sz="675" dirty="0">
                <a:latin typeface="Arial" panose="020B0604020202020204" pitchFamily="34" charset="0"/>
                <a:cs typeface="Arial" panose="020B0604020202020204" pitchFamily="34" charset="0"/>
              </a:rPr>
              <a:t> CRR with SOC was 32%; </a:t>
            </a:r>
            <a:r>
              <a:rPr lang="en-US" sz="675" baseline="30000" dirty="0">
                <a:latin typeface="Arial" panose="020B0604020202020204" pitchFamily="34" charset="0"/>
                <a:cs typeface="Arial" panose="020B0604020202020204" pitchFamily="34" charset="0"/>
              </a:rPr>
              <a:t>c</a:t>
            </a:r>
            <a:r>
              <a:rPr lang="en-US" sz="675" dirty="0">
                <a:latin typeface="Arial" panose="020B0604020202020204" pitchFamily="34" charset="0"/>
                <a:cs typeface="Arial" panose="020B0604020202020204" pitchFamily="34" charset="0"/>
              </a:rPr>
              <a:t> 48-month EFS with SOC was 17%; </a:t>
            </a:r>
            <a:r>
              <a:rPr lang="en-US" sz="675" baseline="30000" dirty="0">
                <a:latin typeface="Arial" panose="020B0604020202020204" pitchFamily="34" charset="0"/>
                <a:cs typeface="Arial" panose="020B0604020202020204" pitchFamily="34" charset="0"/>
              </a:rPr>
              <a:t>d</a:t>
            </a:r>
            <a:r>
              <a:rPr lang="en-US" sz="675" dirty="0">
                <a:latin typeface="Arial" panose="020B0604020202020204" pitchFamily="34" charset="0"/>
                <a:cs typeface="Arial" panose="020B0604020202020204" pitchFamily="34" charset="0"/>
              </a:rPr>
              <a:t> 48-month PFS with SOC was 24%. 2L, second line; ASCT, autologous stem cell transplant; </a:t>
            </a:r>
            <a:r>
              <a:rPr lang="en-US" sz="675" dirty="0" err="1">
                <a:latin typeface="Arial" panose="020B0604020202020204" pitchFamily="34" charset="0"/>
                <a:cs typeface="Arial" panose="020B0604020202020204" pitchFamily="34" charset="0"/>
              </a:rPr>
              <a:t>axi</a:t>
            </a:r>
            <a:r>
              <a:rPr lang="en-US" sz="675" dirty="0">
                <a:latin typeface="Arial" panose="020B0604020202020204" pitchFamily="34" charset="0"/>
                <a:cs typeface="Arial" panose="020B0604020202020204" pitchFamily="34" charset="0"/>
              </a:rPr>
              <a:t>-cel, </a:t>
            </a:r>
            <a:r>
              <a:rPr lang="en-US" sz="675" dirty="0" err="1">
                <a:latin typeface="Arial" panose="020B0604020202020204" pitchFamily="34" charset="0"/>
                <a:cs typeface="Arial" panose="020B0604020202020204" pitchFamily="34" charset="0"/>
              </a:rPr>
              <a:t>axicabtagene</a:t>
            </a:r>
            <a:r>
              <a:rPr lang="en-US" sz="675" dirty="0">
                <a:latin typeface="Arial" panose="020B0604020202020204" pitchFamily="34" charset="0"/>
                <a:cs typeface="Arial" panose="020B0604020202020204" pitchFamily="34" charset="0"/>
              </a:rPr>
              <a:t> </a:t>
            </a:r>
            <a:r>
              <a:rPr lang="en-US" sz="675" dirty="0" err="1">
                <a:latin typeface="Arial" panose="020B0604020202020204" pitchFamily="34" charset="0"/>
                <a:cs typeface="Arial" panose="020B0604020202020204" pitchFamily="34" charset="0"/>
              </a:rPr>
              <a:t>ciloleucel</a:t>
            </a:r>
            <a:r>
              <a:rPr lang="en-US" sz="675" dirty="0">
                <a:latin typeface="Arial" panose="020B0604020202020204" pitchFamily="34" charset="0"/>
                <a:cs typeface="Arial" panose="020B0604020202020204" pitchFamily="34" charset="0"/>
              </a:rPr>
              <a:t>; CRR, complete response rate; DHL, double-hit lymphoma; EFS, event-free survival; HR, hazard ratio; LBCL, large B-cell lymphoma; </a:t>
            </a:r>
            <a:r>
              <a:rPr lang="en-US" sz="675" dirty="0" err="1">
                <a:latin typeface="Arial" panose="020B0604020202020204" pitchFamily="34" charset="0"/>
                <a:cs typeface="Arial" panose="020B0604020202020204" pitchFamily="34" charset="0"/>
              </a:rPr>
              <a:t>mFU</a:t>
            </a:r>
            <a:r>
              <a:rPr lang="en-US" sz="675" dirty="0">
                <a:latin typeface="Arial" panose="020B0604020202020204" pitchFamily="34" charset="0"/>
                <a:cs typeface="Arial" panose="020B0604020202020204" pitchFamily="34" charset="0"/>
              </a:rPr>
              <a:t>, median follow-up; </a:t>
            </a:r>
            <a:r>
              <a:rPr lang="en-US" sz="675" dirty="0" err="1">
                <a:latin typeface="Arial" panose="020B0604020202020204" pitchFamily="34" charset="0"/>
                <a:cs typeface="Arial" panose="020B0604020202020204" pitchFamily="34" charset="0"/>
              </a:rPr>
              <a:t>mo</a:t>
            </a:r>
            <a:r>
              <a:rPr lang="en-US" sz="675" dirty="0">
                <a:latin typeface="Arial" panose="020B0604020202020204" pitchFamily="34" charset="0"/>
                <a:cs typeface="Arial" panose="020B0604020202020204" pitchFamily="34" charset="0"/>
              </a:rPr>
              <a:t>, month; NR, not reached; ORR, overall response rate; OS, overall survival; PFS, progression-free survival; R/R, relapsed or refractory; SOC, standard of care; THL, triple-hit lymphoma. </a:t>
            </a:r>
            <a:br>
              <a:rPr lang="en-US" sz="675" dirty="0">
                <a:latin typeface="Arial" panose="020B0604020202020204" pitchFamily="34" charset="0"/>
                <a:cs typeface="Arial" panose="020B0604020202020204" pitchFamily="34" charset="0"/>
              </a:rPr>
            </a:br>
            <a:r>
              <a:rPr lang="en-US" sz="675" dirty="0">
                <a:latin typeface="Arial" panose="020B0604020202020204" pitchFamily="34" charset="0"/>
                <a:cs typeface="Arial" panose="020B0604020202020204" pitchFamily="34" charset="0"/>
              </a:rPr>
              <a:t>1. Locke FL, et al. N Engl J Med 2022;386:640—654. 2. Westin JR, et al. N Engl J Med 2023;389:148—157.</a:t>
            </a:r>
            <a:endParaRPr lang="en-GB" sz="675" baseline="30000" dirty="0">
              <a:latin typeface="Arial" panose="020B0604020202020204" pitchFamily="34" charset="0"/>
              <a:cs typeface="Arial" panose="020B0604020202020204" pitchFamily="34" charset="0"/>
            </a:endParaRPr>
          </a:p>
        </p:txBody>
      </p:sp>
      <p:sp>
        <p:nvSpPr>
          <p:cNvPr id="60" name="Flowchart: Process 59">
            <a:extLst>
              <a:ext uri="{FF2B5EF4-FFF2-40B4-BE49-F238E27FC236}">
                <a16:creationId xmlns:a16="http://schemas.microsoft.com/office/drawing/2014/main" id="{89D30A59-95FD-E3C7-66DE-04CC5AB3A656}"/>
              </a:ext>
            </a:extLst>
          </p:cNvPr>
          <p:cNvSpPr/>
          <p:nvPr/>
        </p:nvSpPr>
        <p:spPr>
          <a:xfrm>
            <a:off x="1625788" y="1938207"/>
            <a:ext cx="1706880" cy="2672129"/>
          </a:xfrm>
          <a:prstGeom prst="flowChartProcess">
            <a:avLst/>
          </a:prstGeom>
          <a:solidFill>
            <a:sysClr val="window" lastClr="FFFFFF"/>
          </a:solidFill>
          <a:ln>
            <a:noFill/>
          </a:ln>
          <a:effectLst>
            <a:outerShdw blurRad="50800" dist="38100" algn="l" rotWithShape="0">
              <a:prstClr val="black">
                <a:alpha val="40000"/>
              </a:prstClr>
            </a:out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1" name="Flowchart: Process 60">
            <a:extLst>
              <a:ext uri="{FF2B5EF4-FFF2-40B4-BE49-F238E27FC236}">
                <a16:creationId xmlns:a16="http://schemas.microsoft.com/office/drawing/2014/main" id="{AD915519-63CF-9FD2-BB24-5557968AF980}"/>
              </a:ext>
            </a:extLst>
          </p:cNvPr>
          <p:cNvSpPr/>
          <p:nvPr/>
        </p:nvSpPr>
        <p:spPr>
          <a:xfrm>
            <a:off x="1708209" y="1996656"/>
            <a:ext cx="1542040" cy="306710"/>
          </a:xfrm>
          <a:prstGeom prst="flowChartProcess">
            <a:avLst/>
          </a:prstGeom>
          <a:solidFill>
            <a:srgbClr val="458A6F"/>
          </a:solidFill>
          <a:ln>
            <a:noFill/>
          </a:ln>
          <a:effectLst/>
        </p:spPr>
        <p:txBody>
          <a:bodyPr lIns="27000" r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ZUMA-7</a:t>
            </a:r>
            <a:r>
              <a:rPr kumimoji="0" lang="en-US" sz="1050" b="1" i="0" u="none" strike="noStrike" kern="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rPr>
              <a:t>1,2</a:t>
            </a:r>
            <a:endParaRPr kumimoji="0" lang="en-GB" sz="105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2" name="TextBox 61">
            <a:extLst>
              <a:ext uri="{FF2B5EF4-FFF2-40B4-BE49-F238E27FC236}">
                <a16:creationId xmlns:a16="http://schemas.microsoft.com/office/drawing/2014/main" id="{AA64953C-0EB7-2DFA-F153-F01D071AA4A7}"/>
              </a:ext>
            </a:extLst>
          </p:cNvPr>
          <p:cNvSpPr txBox="1"/>
          <p:nvPr/>
        </p:nvSpPr>
        <p:spPr>
          <a:xfrm>
            <a:off x="1708208" y="2355795"/>
            <a:ext cx="1620000" cy="1487587"/>
          </a:xfrm>
          <a:prstGeom prst="rect">
            <a:avLst/>
          </a:prstGeom>
          <a:noFill/>
        </p:spPr>
        <p:txBody>
          <a:bodyPr wrap="square">
            <a:spAutoFit/>
          </a:bodyPr>
          <a:lstStyle/>
          <a:p>
            <a:pPr marL="0" marR="0" lvl="0" indent="0" algn="ctr" defTabSz="685800" rtl="0" eaLnBrk="1" fontAlgn="auto" latinLnBrk="0" hangingPunct="1">
              <a:lnSpc>
                <a:spcPct val="100000"/>
              </a:lnSpc>
              <a:spcBef>
                <a:spcPts val="375"/>
              </a:spcBef>
              <a:spcAft>
                <a:spcPts val="0"/>
              </a:spcAft>
              <a:buClr>
                <a:srgbClr val="C30F3B"/>
              </a:buClr>
              <a:buSzPct val="120000"/>
              <a:buFontTx/>
              <a:buNone/>
              <a:tabLst/>
              <a:defRPr/>
            </a:pPr>
            <a:r>
              <a:rPr kumimoji="0" lang="en-GB" sz="1050" b="1" i="0" u="none" strike="noStrike" kern="0" cap="none" spc="0" normalizeH="0" baseline="0" noProof="0" dirty="0" err="1">
                <a:ln>
                  <a:noFill/>
                </a:ln>
                <a:solidFill>
                  <a:srgbClr val="458A6F"/>
                </a:solidFill>
                <a:effectLst/>
                <a:uLnTx/>
                <a:uFillTx/>
                <a:latin typeface="Arial" panose="020B0604020202020204" pitchFamily="34" charset="0"/>
                <a:ea typeface="+mn-ea"/>
                <a:cs typeface="Arial" panose="020B0604020202020204" pitchFamily="34" charset="0"/>
              </a:rPr>
              <a:t>mFU</a:t>
            </a:r>
            <a:r>
              <a:rPr kumimoji="0" lang="en-GB" sz="1050" b="1" i="0" u="none" strike="noStrike" kern="0" cap="none" spc="0" normalizeH="0" baseline="0" noProof="0" dirty="0">
                <a:ln>
                  <a:noFill/>
                </a:ln>
                <a:solidFill>
                  <a:srgbClr val="458A6F"/>
                </a:solidFill>
                <a:effectLst/>
                <a:uLnTx/>
                <a:uFillTx/>
                <a:latin typeface="Arial" panose="020B0604020202020204" pitchFamily="34" charset="0"/>
                <a:ea typeface="+mn-ea"/>
                <a:cs typeface="Arial" panose="020B0604020202020204" pitchFamily="34" charset="0"/>
              </a:rPr>
              <a:t>: 47.2 months</a:t>
            </a:r>
          </a:p>
          <a:p>
            <a:pPr marL="0" marR="0" lvl="0" indent="0" algn="ctr" defTabSz="685800" rtl="0" eaLnBrk="1" fontAlgn="auto" latinLnBrk="0" hangingPunct="1">
              <a:lnSpc>
                <a:spcPct val="100000"/>
              </a:lnSpc>
              <a:spcBef>
                <a:spcPts val="375"/>
              </a:spcBef>
              <a:spcAft>
                <a:spcPts val="0"/>
              </a:spcAft>
              <a:buClr>
                <a:srgbClr val="C30F3B"/>
              </a:buClr>
              <a:buSzPct val="120000"/>
              <a:buFontTx/>
              <a:buNone/>
              <a:tabLst/>
              <a:defRPr/>
            </a:pPr>
            <a:r>
              <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hase 3, randomized trial of </a:t>
            </a:r>
            <a:r>
              <a:rPr kumimoji="0" lang="en-US" sz="1050" b="1" i="0" u="none" strike="noStrike" kern="0" cap="none" spc="0" normalizeH="0" baseline="0" noProof="0" dirty="0" err="1">
                <a:ln>
                  <a:noFill/>
                </a:ln>
                <a:solidFill>
                  <a:srgbClr val="458A6F"/>
                </a:solidFill>
                <a:effectLst/>
                <a:uLnTx/>
                <a:uFillTx/>
                <a:latin typeface="Arial" panose="020B0604020202020204" pitchFamily="34" charset="0"/>
                <a:ea typeface="+mn-ea"/>
                <a:cs typeface="Arial" panose="020B0604020202020204" pitchFamily="34" charset="0"/>
              </a:rPr>
              <a:t>axi</a:t>
            </a:r>
            <a:r>
              <a:rPr kumimoji="0" lang="en-US" sz="1050" b="1" i="0" u="none" strike="noStrike" kern="0" cap="none" spc="0" normalizeH="0" baseline="0" noProof="0" dirty="0">
                <a:ln>
                  <a:noFill/>
                </a:ln>
                <a:solidFill>
                  <a:srgbClr val="458A6F"/>
                </a:solidFill>
                <a:effectLst/>
                <a:uLnTx/>
                <a:uFillTx/>
                <a:latin typeface="Arial" panose="020B0604020202020204" pitchFamily="34" charset="0"/>
                <a:ea typeface="+mn-ea"/>
                <a:cs typeface="Arial" panose="020B0604020202020204" pitchFamily="34" charset="0"/>
              </a:rPr>
              <a:t>-cel </a:t>
            </a:r>
            <a:r>
              <a:rPr kumimoji="0" lang="en-US" sz="1050" b="0" i="0" u="none" strike="noStrike" kern="0" cap="none" spc="0" normalizeH="0" baseline="0" noProof="0" dirty="0">
                <a:ln>
                  <a:noFill/>
                </a:ln>
                <a:solidFill>
                  <a:srgbClr val="458A6F"/>
                </a:solidFill>
                <a:effectLst/>
                <a:uLnTx/>
                <a:uFillTx/>
                <a:latin typeface="Arial" panose="020B0604020202020204" pitchFamily="34" charset="0"/>
                <a:ea typeface="+mn-ea"/>
                <a:cs typeface="Arial" panose="020B0604020202020204" pitchFamily="34" charset="0"/>
              </a:rPr>
              <a:t>(n = 180) </a:t>
            </a:r>
            <a:r>
              <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s. </a:t>
            </a:r>
            <a:r>
              <a:rPr kumimoji="0" lang="en-US" sz="105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C </a:t>
            </a:r>
            <a:r>
              <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SCT, n = 179) as 2L treatment in patients with R/R LBCL (N = 359)</a:t>
            </a:r>
          </a:p>
          <a:p>
            <a:pPr marL="0" marR="0" lvl="0" indent="0" algn="l" defTabSz="685800" rtl="0" eaLnBrk="1" fontAlgn="auto" latinLnBrk="0" hangingPunct="1">
              <a:lnSpc>
                <a:spcPct val="100000"/>
              </a:lnSpc>
              <a:spcBef>
                <a:spcPts val="375"/>
              </a:spcBef>
              <a:spcAft>
                <a:spcPts val="0"/>
              </a:spcAft>
              <a:buClr>
                <a:srgbClr val="C30F3B"/>
              </a:buClr>
              <a:buSzPct val="120000"/>
              <a:buFontTx/>
              <a:buNone/>
              <a:tabLst/>
              <a:defRPr/>
            </a:pPr>
            <a:endParaRPr kumimoji="0" lang="en-GB" sz="1050" b="1" i="0" u="none" strike="noStrike" kern="0" cap="none" spc="0" normalizeH="0" baseline="0" noProof="0" dirty="0">
              <a:ln>
                <a:noFill/>
              </a:ln>
              <a:solidFill>
                <a:srgbClr val="BE2BBB"/>
              </a:solidFill>
              <a:effectLst/>
              <a:uLnTx/>
              <a:uFillTx/>
              <a:latin typeface="Arial" panose="020B0604020202020204" pitchFamily="34" charset="0"/>
              <a:ea typeface="+mn-ea"/>
              <a:cs typeface="Arial" panose="020B0604020202020204" pitchFamily="34" charset="0"/>
            </a:endParaRPr>
          </a:p>
        </p:txBody>
      </p:sp>
      <p:cxnSp>
        <p:nvCxnSpPr>
          <p:cNvPr id="63" name="Straight Connector 62">
            <a:extLst>
              <a:ext uri="{FF2B5EF4-FFF2-40B4-BE49-F238E27FC236}">
                <a16:creationId xmlns:a16="http://schemas.microsoft.com/office/drawing/2014/main" id="{0A2E63B6-D459-20CA-B938-BE684A87A7F7}"/>
              </a:ext>
            </a:extLst>
          </p:cNvPr>
          <p:cNvCxnSpPr>
            <a:cxnSpLocks/>
          </p:cNvCxnSpPr>
          <p:nvPr/>
        </p:nvCxnSpPr>
        <p:spPr>
          <a:xfrm>
            <a:off x="1987501" y="4517927"/>
            <a:ext cx="983456" cy="0"/>
          </a:xfrm>
          <a:prstGeom prst="line">
            <a:avLst/>
          </a:prstGeom>
          <a:noFill/>
          <a:ln w="28575" cap="rnd" cmpd="sng" algn="ctr">
            <a:solidFill>
              <a:srgbClr val="458A6F"/>
            </a:solidFill>
            <a:prstDash val="solid"/>
          </a:ln>
          <a:effectLst/>
        </p:spPr>
      </p:cxnSp>
      <p:sp>
        <p:nvSpPr>
          <p:cNvPr id="472" name="TextBox 471">
            <a:extLst>
              <a:ext uri="{FF2B5EF4-FFF2-40B4-BE49-F238E27FC236}">
                <a16:creationId xmlns:a16="http://schemas.microsoft.com/office/drawing/2014/main" id="{F0EAB1B8-8879-BA03-E67D-A264CA6E75D9}"/>
              </a:ext>
            </a:extLst>
          </p:cNvPr>
          <p:cNvSpPr txBox="1"/>
          <p:nvPr/>
        </p:nvSpPr>
        <p:spPr>
          <a:xfrm>
            <a:off x="4166727" y="1807847"/>
            <a:ext cx="3119899" cy="276999"/>
          </a:xfrm>
          <a:prstGeom prst="rect">
            <a:avLst/>
          </a:prstGeom>
          <a:no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S (N = 359)</a:t>
            </a:r>
            <a:r>
              <a:rPr kumimoji="0" lang="en-US" sz="1200" b="1"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2</a:t>
            </a:r>
            <a:endParaRPr kumimoji="0" lang="en-GB" sz="1200" b="1"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20" name="Flowchart: Process 1119">
            <a:extLst>
              <a:ext uri="{FF2B5EF4-FFF2-40B4-BE49-F238E27FC236}">
                <a16:creationId xmlns:a16="http://schemas.microsoft.com/office/drawing/2014/main" id="{F47BB4C0-F4E3-AD28-0DAD-8119A261B3AF}"/>
              </a:ext>
            </a:extLst>
          </p:cNvPr>
          <p:cNvSpPr/>
          <p:nvPr/>
        </p:nvSpPr>
        <p:spPr>
          <a:xfrm>
            <a:off x="1524000" y="5090966"/>
            <a:ext cx="9144000" cy="698656"/>
          </a:xfrm>
          <a:prstGeom prst="flowChartProcess">
            <a:avLst/>
          </a:prstGeom>
          <a:solidFill>
            <a:srgbClr val="458A6F"/>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xi-cel provided a 27% reduction in risk of death vs. SOC</a:t>
            </a:r>
            <a:r>
              <a:rPr kumimoji="0" lang="en-US" sz="16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2</a:t>
            </a:r>
          </a:p>
        </p:txBody>
      </p:sp>
      <p:sp>
        <p:nvSpPr>
          <p:cNvPr id="7" name="Rectangle 6">
            <a:extLst>
              <a:ext uri="{FF2B5EF4-FFF2-40B4-BE49-F238E27FC236}">
                <a16:creationId xmlns:a16="http://schemas.microsoft.com/office/drawing/2014/main" id="{F69653DE-76F9-DF4F-8A3B-E90184D6B164}"/>
              </a:ext>
            </a:extLst>
          </p:cNvPr>
          <p:cNvSpPr/>
          <p:nvPr/>
        </p:nvSpPr>
        <p:spPr>
          <a:xfrm>
            <a:off x="8133685" y="1853089"/>
            <a:ext cx="2553283" cy="296182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07DD7D5E-9C17-4002-0B47-90F41A92F643}"/>
              </a:ext>
            </a:extLst>
          </p:cNvPr>
          <p:cNvCxnSpPr>
            <a:cxnSpLocks/>
          </p:cNvCxnSpPr>
          <p:nvPr/>
        </p:nvCxnSpPr>
        <p:spPr>
          <a:xfrm>
            <a:off x="8124373" y="1853089"/>
            <a:ext cx="0" cy="2961900"/>
          </a:xfrm>
          <a:prstGeom prst="line">
            <a:avLst/>
          </a:prstGeom>
          <a:ln w="28575" cap="rnd">
            <a:solidFill>
              <a:srgbClr val="458A6F"/>
            </a:solidFill>
          </a:ln>
        </p:spPr>
        <p:style>
          <a:lnRef idx="1">
            <a:srgbClr val="BE2BBB"/>
          </a:lnRef>
          <a:fillRef idx="0">
            <a:schemeClr val="accent1"/>
          </a:fillRef>
          <a:effectRef idx="0">
            <a:srgbClr val="000000"/>
          </a:effectRef>
          <a:fontRef idx="minor">
            <a:schemeClr val="lt1"/>
          </a:fontRef>
        </p:style>
      </p:cxnSp>
      <p:sp>
        <p:nvSpPr>
          <p:cNvPr id="10" name="TextBox 9">
            <a:extLst>
              <a:ext uri="{FF2B5EF4-FFF2-40B4-BE49-F238E27FC236}">
                <a16:creationId xmlns:a16="http://schemas.microsoft.com/office/drawing/2014/main" id="{2F6851EF-E2AF-6217-F5A6-12301AE7457B}"/>
              </a:ext>
            </a:extLst>
          </p:cNvPr>
          <p:cNvSpPr txBox="1"/>
          <p:nvPr/>
        </p:nvSpPr>
        <p:spPr>
          <a:xfrm>
            <a:off x="8114719" y="1871981"/>
            <a:ext cx="2313307" cy="253916"/>
          </a:xfrm>
          <a:prstGeom prst="rect">
            <a:avLst/>
          </a:prstGeom>
          <a:noFill/>
        </p:spPr>
        <p:txBody>
          <a:bodyPr wrap="square" rtlCol="0">
            <a:spAutoFit/>
          </a:bodyPr>
          <a:lstStyle/>
          <a:p>
            <a:pPr marL="0" marR="0" lvl="0" indent="0" algn="ctr" defTabSz="914378" rtl="0" eaLnBrk="0" fontAlgn="base" latinLnBrk="0" hangingPunct="0">
              <a:lnSpc>
                <a:spcPct val="100000"/>
              </a:lnSpc>
              <a:spcBef>
                <a:spcPts val="0"/>
              </a:spcBef>
              <a:spcAft>
                <a:spcPts val="0"/>
              </a:spcAft>
              <a:buClrTx/>
              <a:buSzTx/>
              <a:buFontTx/>
              <a:buNone/>
              <a:tabLst/>
              <a:defRPr/>
            </a:pPr>
            <a:r>
              <a:rPr kumimoji="0" lang="en-GB" sz="1050" b="1" i="0" u="none" strike="noStrike" kern="1200" cap="none" spc="0" normalizeH="0" baseline="0" noProof="0" err="1">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Axi</a:t>
            </a:r>
            <a:r>
              <a:rPr kumimoji="0" lang="en-GB" sz="1050" b="1" i="0" u="none" strike="noStrike" kern="1200" cap="none" spc="0" normalizeH="0" baseline="0" noProof="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cel efficacy (n = 180)</a:t>
            </a:r>
            <a:r>
              <a:rPr kumimoji="0" lang="en-GB" sz="1050" b="1" i="0" u="none" strike="noStrike" kern="1200" cap="none" spc="0" normalizeH="0" baseline="30000" noProof="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1,2</a:t>
            </a:r>
          </a:p>
        </p:txBody>
      </p:sp>
      <p:grpSp>
        <p:nvGrpSpPr>
          <p:cNvPr id="11" name="Group 10">
            <a:extLst>
              <a:ext uri="{FF2B5EF4-FFF2-40B4-BE49-F238E27FC236}">
                <a16:creationId xmlns:a16="http://schemas.microsoft.com/office/drawing/2014/main" id="{DF449954-BA93-ECD4-D2F7-E44C63DD8EFC}"/>
              </a:ext>
            </a:extLst>
          </p:cNvPr>
          <p:cNvGrpSpPr/>
          <p:nvPr/>
        </p:nvGrpSpPr>
        <p:grpSpPr>
          <a:xfrm>
            <a:off x="8206442" y="3330911"/>
            <a:ext cx="2000087" cy="253916"/>
            <a:chOff x="8909922" y="2283022"/>
            <a:chExt cx="2666782" cy="338555"/>
          </a:xfrm>
        </p:grpSpPr>
        <p:sp>
          <p:nvSpPr>
            <p:cNvPr id="12" name="TextBox 11">
              <a:extLst>
                <a:ext uri="{FF2B5EF4-FFF2-40B4-BE49-F238E27FC236}">
                  <a16:creationId xmlns:a16="http://schemas.microsoft.com/office/drawing/2014/main" id="{0DE4EB3A-91CA-A978-2F5A-83E8A9DCBB67}"/>
                </a:ext>
              </a:extLst>
            </p:cNvPr>
            <p:cNvSpPr txBox="1"/>
            <p:nvPr/>
          </p:nvSpPr>
          <p:spPr bwMode="auto">
            <a:xfrm>
              <a:off x="8909922" y="2298057"/>
              <a:ext cx="1044000" cy="289753"/>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825" b="1" i="0" u="none" strike="noStrike" kern="0" cap="none" spc="0" normalizeH="0" baseline="0" noProof="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Median EFS</a:t>
              </a:r>
            </a:p>
          </p:txBody>
        </p:sp>
        <p:sp>
          <p:nvSpPr>
            <p:cNvPr id="14" name="TextBox 13">
              <a:extLst>
                <a:ext uri="{FF2B5EF4-FFF2-40B4-BE49-F238E27FC236}">
                  <a16:creationId xmlns:a16="http://schemas.microsoft.com/office/drawing/2014/main" id="{B9DC7014-25E2-F533-3465-0DCAA3148807}"/>
                </a:ext>
              </a:extLst>
            </p:cNvPr>
            <p:cNvSpPr txBox="1"/>
            <p:nvPr/>
          </p:nvSpPr>
          <p:spPr>
            <a:xfrm>
              <a:off x="10432802" y="2283022"/>
              <a:ext cx="1143902" cy="338555"/>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458A6F"/>
                  </a:solidFill>
                  <a:effectLst/>
                  <a:uLnTx/>
                  <a:uFillTx/>
                  <a:latin typeface="Arial" panose="020B0604020202020204" pitchFamily="34" charset="0"/>
                  <a:ea typeface="+mn-ea"/>
                  <a:cs typeface="Arial" panose="020B0604020202020204" pitchFamily="34" charset="0"/>
                </a:rPr>
                <a:t>11 months</a:t>
              </a:r>
              <a:endParaRPr kumimoji="0" lang="en-GB" sz="1050" b="1" i="0" u="none" strike="noStrike" kern="1200" cap="none" spc="0" normalizeH="0" baseline="30000" noProof="0">
                <a:ln>
                  <a:noFill/>
                </a:ln>
                <a:solidFill>
                  <a:srgbClr val="458A6F"/>
                </a:solidFill>
                <a:effectLst/>
                <a:uLnTx/>
                <a:uFillTx/>
                <a:latin typeface="Arial" panose="020B0604020202020204" pitchFamily="34" charset="0"/>
                <a:ea typeface="+mn-ea"/>
                <a:cs typeface="Arial" panose="020B0604020202020204" pitchFamily="34" charset="0"/>
              </a:endParaRPr>
            </a:p>
          </p:txBody>
        </p:sp>
      </p:grpSp>
      <p:sp>
        <p:nvSpPr>
          <p:cNvPr id="16" name="TextBox 15">
            <a:extLst>
              <a:ext uri="{FF2B5EF4-FFF2-40B4-BE49-F238E27FC236}">
                <a16:creationId xmlns:a16="http://schemas.microsoft.com/office/drawing/2014/main" id="{15328FA4-060C-1AA3-B718-4DF57AD11EEB}"/>
              </a:ext>
            </a:extLst>
          </p:cNvPr>
          <p:cNvSpPr txBox="1"/>
          <p:nvPr/>
        </p:nvSpPr>
        <p:spPr bwMode="auto">
          <a:xfrm>
            <a:off x="8206442" y="2985286"/>
            <a:ext cx="783000" cy="217315"/>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825" b="1" i="0" u="none" strike="noStrike" kern="0" cap="none" spc="0" normalizeH="0" baseline="0" noProof="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48-mo EFS, %</a:t>
            </a:r>
          </a:p>
        </p:txBody>
      </p:sp>
      <p:sp>
        <p:nvSpPr>
          <p:cNvPr id="18" name="Rectangle 17">
            <a:extLst>
              <a:ext uri="{FF2B5EF4-FFF2-40B4-BE49-F238E27FC236}">
                <a16:creationId xmlns:a16="http://schemas.microsoft.com/office/drawing/2014/main" id="{4C911206-1636-7512-8361-2CA2FA672375}"/>
              </a:ext>
            </a:extLst>
          </p:cNvPr>
          <p:cNvSpPr/>
          <p:nvPr/>
        </p:nvSpPr>
        <p:spPr>
          <a:xfrm>
            <a:off x="9093119" y="2959991"/>
            <a:ext cx="510300" cy="245700"/>
          </a:xfrm>
          <a:prstGeom prst="rect">
            <a:avLst/>
          </a:prstGeom>
          <a:solidFill>
            <a:srgbClr val="458A6F"/>
          </a:solidFill>
          <a:ln w="952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GB" sz="105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162E5985-91A0-529F-D3CF-F55A6EE05A5E}"/>
              </a:ext>
            </a:extLst>
          </p:cNvPr>
          <p:cNvSpPr txBox="1"/>
          <p:nvPr/>
        </p:nvSpPr>
        <p:spPr>
          <a:xfrm>
            <a:off x="9589439" y="2969829"/>
            <a:ext cx="385042" cy="253916"/>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rPr>
              <a:t>39</a:t>
            </a:r>
            <a:r>
              <a:rPr kumimoji="0" lang="en-US" sz="1050" b="1" i="0" u="none" strike="noStrike" kern="1200" cap="none" spc="0" normalizeH="0" baseline="30000" noProof="0">
                <a:ln>
                  <a:noFill/>
                </a:ln>
                <a:solidFill>
                  <a:srgbClr val="595454"/>
                </a:solidFill>
                <a:effectLst/>
                <a:uLnTx/>
                <a:uFillTx/>
                <a:latin typeface="Arial" panose="020B0604020202020204" pitchFamily="34" charset="0"/>
                <a:ea typeface="+mn-ea"/>
                <a:cs typeface="Arial" panose="020B0604020202020204" pitchFamily="34" charset="0"/>
              </a:rPr>
              <a:t>c</a:t>
            </a:r>
            <a:endParaRPr kumimoji="0" lang="en-GB" sz="1050" b="1" i="0" u="none" strike="noStrike" kern="120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grpSp>
        <p:nvGrpSpPr>
          <p:cNvPr id="20" name="Group 19">
            <a:extLst>
              <a:ext uri="{FF2B5EF4-FFF2-40B4-BE49-F238E27FC236}">
                <a16:creationId xmlns:a16="http://schemas.microsoft.com/office/drawing/2014/main" id="{89BCBC64-7A85-2946-AF65-3175FA0EC0CC}"/>
              </a:ext>
            </a:extLst>
          </p:cNvPr>
          <p:cNvGrpSpPr/>
          <p:nvPr/>
        </p:nvGrpSpPr>
        <p:grpSpPr>
          <a:xfrm>
            <a:off x="8206442" y="4057887"/>
            <a:ext cx="2000087" cy="253916"/>
            <a:chOff x="8909922" y="2283022"/>
            <a:chExt cx="2666782" cy="338555"/>
          </a:xfrm>
        </p:grpSpPr>
        <p:sp>
          <p:nvSpPr>
            <p:cNvPr id="21" name="TextBox 20">
              <a:extLst>
                <a:ext uri="{FF2B5EF4-FFF2-40B4-BE49-F238E27FC236}">
                  <a16:creationId xmlns:a16="http://schemas.microsoft.com/office/drawing/2014/main" id="{E1D0E6A4-390E-CB4D-C245-4E5C9FC363F2}"/>
                </a:ext>
              </a:extLst>
            </p:cNvPr>
            <p:cNvSpPr txBox="1"/>
            <p:nvPr/>
          </p:nvSpPr>
          <p:spPr bwMode="auto">
            <a:xfrm>
              <a:off x="8909922" y="2298057"/>
              <a:ext cx="1044000" cy="289753"/>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825" b="1" i="0" u="none" strike="noStrike" kern="0" cap="none" spc="0" normalizeH="0" baseline="0" noProof="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Median PFS</a:t>
              </a:r>
            </a:p>
          </p:txBody>
        </p:sp>
        <p:sp>
          <p:nvSpPr>
            <p:cNvPr id="23" name="TextBox 22">
              <a:extLst>
                <a:ext uri="{FF2B5EF4-FFF2-40B4-BE49-F238E27FC236}">
                  <a16:creationId xmlns:a16="http://schemas.microsoft.com/office/drawing/2014/main" id="{780EAF80-60F6-8F1C-76C2-D2DBE447F818}"/>
                </a:ext>
              </a:extLst>
            </p:cNvPr>
            <p:cNvSpPr txBox="1"/>
            <p:nvPr/>
          </p:nvSpPr>
          <p:spPr>
            <a:xfrm>
              <a:off x="10432802" y="2283022"/>
              <a:ext cx="1143902" cy="338555"/>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458A6F"/>
                  </a:solidFill>
                  <a:effectLst/>
                  <a:uLnTx/>
                  <a:uFillTx/>
                  <a:latin typeface="Arial" panose="020B0604020202020204" pitchFamily="34" charset="0"/>
                  <a:ea typeface="+mn-ea"/>
                  <a:cs typeface="Arial" panose="020B0604020202020204" pitchFamily="34" charset="0"/>
                </a:rPr>
                <a:t>15 months</a:t>
              </a:r>
              <a:endParaRPr kumimoji="0" lang="en-GB" sz="1050" b="1" i="0" u="none" strike="noStrike" kern="1200" cap="none" spc="0" normalizeH="0" baseline="30000" noProof="0">
                <a:ln>
                  <a:noFill/>
                </a:ln>
                <a:solidFill>
                  <a:srgbClr val="458A6F"/>
                </a:solidFill>
                <a:effectLst/>
                <a:uLnTx/>
                <a:uFillTx/>
                <a:latin typeface="Arial" panose="020B0604020202020204" pitchFamily="34" charset="0"/>
                <a:ea typeface="+mn-ea"/>
                <a:cs typeface="Arial" panose="020B0604020202020204" pitchFamily="34" charset="0"/>
              </a:endParaRPr>
            </a:p>
          </p:txBody>
        </p:sp>
      </p:grpSp>
      <p:sp>
        <p:nvSpPr>
          <p:cNvPr id="25" name="TextBox 24">
            <a:extLst>
              <a:ext uri="{FF2B5EF4-FFF2-40B4-BE49-F238E27FC236}">
                <a16:creationId xmlns:a16="http://schemas.microsoft.com/office/drawing/2014/main" id="{1A8AE60E-117D-5DD2-16A3-59DC27EBB5E1}"/>
              </a:ext>
            </a:extLst>
          </p:cNvPr>
          <p:cNvSpPr txBox="1"/>
          <p:nvPr/>
        </p:nvSpPr>
        <p:spPr bwMode="auto">
          <a:xfrm>
            <a:off x="8206442" y="3705678"/>
            <a:ext cx="783000" cy="217315"/>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825" b="1" i="0" u="none" strike="noStrike" kern="0" cap="none" spc="0" normalizeH="0" baseline="0" noProof="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48-mo PFS, %</a:t>
            </a:r>
          </a:p>
        </p:txBody>
      </p:sp>
      <p:sp>
        <p:nvSpPr>
          <p:cNvPr id="27" name="Rectangle 26">
            <a:extLst>
              <a:ext uri="{FF2B5EF4-FFF2-40B4-BE49-F238E27FC236}">
                <a16:creationId xmlns:a16="http://schemas.microsoft.com/office/drawing/2014/main" id="{4599E184-5113-DF74-67F1-1E639F77BF3A}"/>
              </a:ext>
            </a:extLst>
          </p:cNvPr>
          <p:cNvSpPr/>
          <p:nvPr/>
        </p:nvSpPr>
        <p:spPr>
          <a:xfrm>
            <a:off x="9093119" y="3686966"/>
            <a:ext cx="550800" cy="245700"/>
          </a:xfrm>
          <a:prstGeom prst="rect">
            <a:avLst/>
          </a:prstGeom>
          <a:solidFill>
            <a:srgbClr val="458A6F"/>
          </a:solidFill>
          <a:ln w="1587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GB" sz="105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8" name="TextBox 27">
            <a:extLst>
              <a:ext uri="{FF2B5EF4-FFF2-40B4-BE49-F238E27FC236}">
                <a16:creationId xmlns:a16="http://schemas.microsoft.com/office/drawing/2014/main" id="{0903BB73-B1F1-BF8E-22D9-94CE324B43D1}"/>
              </a:ext>
            </a:extLst>
          </p:cNvPr>
          <p:cNvSpPr txBox="1"/>
          <p:nvPr/>
        </p:nvSpPr>
        <p:spPr>
          <a:xfrm>
            <a:off x="9621592" y="3689269"/>
            <a:ext cx="389850" cy="253916"/>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rPr>
              <a:t>42</a:t>
            </a:r>
            <a:r>
              <a:rPr kumimoji="0" lang="en-US" sz="1050" b="1" i="0" u="none" strike="noStrike" kern="1200" cap="none" spc="0" normalizeH="0" baseline="30000" noProof="0">
                <a:ln>
                  <a:noFill/>
                </a:ln>
                <a:solidFill>
                  <a:srgbClr val="595454"/>
                </a:solidFill>
                <a:effectLst/>
                <a:uLnTx/>
                <a:uFillTx/>
                <a:latin typeface="Arial" panose="020B0604020202020204" pitchFamily="34" charset="0"/>
                <a:ea typeface="+mn-ea"/>
                <a:cs typeface="Arial" panose="020B0604020202020204" pitchFamily="34" charset="0"/>
              </a:rPr>
              <a:t>d</a:t>
            </a:r>
            <a:endParaRPr kumimoji="0" lang="en-GB" sz="1050" b="1" i="0" u="none" strike="noStrike" kern="120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30" name="TextBox 29">
            <a:extLst>
              <a:ext uri="{FF2B5EF4-FFF2-40B4-BE49-F238E27FC236}">
                <a16:creationId xmlns:a16="http://schemas.microsoft.com/office/drawing/2014/main" id="{09727A3B-99DC-3E76-8D36-AC6B279ACF7F}"/>
              </a:ext>
            </a:extLst>
          </p:cNvPr>
          <p:cNvSpPr txBox="1"/>
          <p:nvPr/>
        </p:nvSpPr>
        <p:spPr bwMode="auto">
          <a:xfrm>
            <a:off x="8206442" y="2615215"/>
            <a:ext cx="783000" cy="217315"/>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825" b="1" i="0" u="none" strike="noStrike" kern="0" cap="none" spc="0" normalizeH="0" baseline="0" noProof="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CRR, %</a:t>
            </a:r>
          </a:p>
        </p:txBody>
      </p:sp>
      <p:sp>
        <p:nvSpPr>
          <p:cNvPr id="32" name="Rectangle 31">
            <a:extLst>
              <a:ext uri="{FF2B5EF4-FFF2-40B4-BE49-F238E27FC236}">
                <a16:creationId xmlns:a16="http://schemas.microsoft.com/office/drawing/2014/main" id="{A5EC623F-61B4-F0D5-789E-93FA30F43280}"/>
              </a:ext>
            </a:extLst>
          </p:cNvPr>
          <p:cNvSpPr/>
          <p:nvPr/>
        </p:nvSpPr>
        <p:spPr>
          <a:xfrm>
            <a:off x="9093119" y="2596504"/>
            <a:ext cx="850500" cy="245700"/>
          </a:xfrm>
          <a:prstGeom prst="rect">
            <a:avLst/>
          </a:prstGeom>
          <a:solidFill>
            <a:srgbClr val="458A6F"/>
          </a:solidFill>
          <a:ln w="1587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GB" sz="105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3" name="TextBox 32">
            <a:extLst>
              <a:ext uri="{FF2B5EF4-FFF2-40B4-BE49-F238E27FC236}">
                <a16:creationId xmlns:a16="http://schemas.microsoft.com/office/drawing/2014/main" id="{B813C21D-A8B1-42FD-0087-F1D0143A01ED}"/>
              </a:ext>
            </a:extLst>
          </p:cNvPr>
          <p:cNvSpPr txBox="1"/>
          <p:nvPr/>
        </p:nvSpPr>
        <p:spPr>
          <a:xfrm>
            <a:off x="9935943" y="2598806"/>
            <a:ext cx="389850" cy="253916"/>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rPr>
              <a:t>65</a:t>
            </a:r>
            <a:r>
              <a:rPr kumimoji="0" lang="en-US" sz="1050" b="1" i="0" u="none" strike="noStrike" kern="1200" cap="none" spc="0" normalizeH="0" baseline="30000" noProof="0">
                <a:ln>
                  <a:noFill/>
                </a:ln>
                <a:solidFill>
                  <a:srgbClr val="595454"/>
                </a:solidFill>
                <a:effectLst/>
                <a:uLnTx/>
                <a:uFillTx/>
                <a:latin typeface="Arial" panose="020B0604020202020204" pitchFamily="34" charset="0"/>
                <a:ea typeface="+mn-ea"/>
                <a:cs typeface="Arial" panose="020B0604020202020204" pitchFamily="34" charset="0"/>
              </a:rPr>
              <a:t>b</a:t>
            </a:r>
            <a:endParaRPr kumimoji="0" lang="en-GB" sz="1050" b="1" i="0" u="none" strike="noStrike" kern="120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35" name="TextBox 34">
            <a:extLst>
              <a:ext uri="{FF2B5EF4-FFF2-40B4-BE49-F238E27FC236}">
                <a16:creationId xmlns:a16="http://schemas.microsoft.com/office/drawing/2014/main" id="{89F1C38B-806E-0B2C-56CB-CD18C3CFC949}"/>
              </a:ext>
            </a:extLst>
          </p:cNvPr>
          <p:cNvSpPr txBox="1"/>
          <p:nvPr/>
        </p:nvSpPr>
        <p:spPr bwMode="auto">
          <a:xfrm>
            <a:off x="8206442" y="2258311"/>
            <a:ext cx="783000" cy="217315"/>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825" b="1" i="0" u="none" strike="noStrike" kern="0" cap="none" spc="0" normalizeH="0" baseline="0" noProof="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ORR, %</a:t>
            </a:r>
          </a:p>
        </p:txBody>
      </p:sp>
      <p:sp>
        <p:nvSpPr>
          <p:cNvPr id="37" name="Rectangle 36">
            <a:extLst>
              <a:ext uri="{FF2B5EF4-FFF2-40B4-BE49-F238E27FC236}">
                <a16:creationId xmlns:a16="http://schemas.microsoft.com/office/drawing/2014/main" id="{1DB56837-C930-7DD8-658C-3705FC03AACA}"/>
              </a:ext>
            </a:extLst>
          </p:cNvPr>
          <p:cNvSpPr/>
          <p:nvPr/>
        </p:nvSpPr>
        <p:spPr>
          <a:xfrm>
            <a:off x="9093119" y="2233016"/>
            <a:ext cx="1088100" cy="245700"/>
          </a:xfrm>
          <a:prstGeom prst="rect">
            <a:avLst/>
          </a:prstGeom>
          <a:solidFill>
            <a:srgbClr val="458A6F"/>
          </a:solidFill>
          <a:ln w="952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GB" sz="105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8" name="TextBox 37">
            <a:extLst>
              <a:ext uri="{FF2B5EF4-FFF2-40B4-BE49-F238E27FC236}">
                <a16:creationId xmlns:a16="http://schemas.microsoft.com/office/drawing/2014/main" id="{40CF1EF0-6BF4-413D-E561-71D2419A55C8}"/>
              </a:ext>
            </a:extLst>
          </p:cNvPr>
          <p:cNvSpPr txBox="1"/>
          <p:nvPr/>
        </p:nvSpPr>
        <p:spPr>
          <a:xfrm>
            <a:off x="10152163" y="2242854"/>
            <a:ext cx="385042" cy="253916"/>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rPr>
              <a:t>83</a:t>
            </a:r>
            <a:r>
              <a:rPr kumimoji="0" lang="en-US" sz="1050" b="1" i="0" u="none" strike="noStrike" kern="1200" cap="none" spc="0" normalizeH="0" baseline="30000" noProof="0">
                <a:ln>
                  <a:noFill/>
                </a:ln>
                <a:solidFill>
                  <a:srgbClr val="595454"/>
                </a:solidFill>
                <a:effectLst/>
                <a:uLnTx/>
                <a:uFillTx/>
                <a:latin typeface="Arial" panose="020B0604020202020204" pitchFamily="34" charset="0"/>
                <a:ea typeface="+mn-ea"/>
                <a:cs typeface="Arial" panose="020B0604020202020204" pitchFamily="34" charset="0"/>
              </a:rPr>
              <a:t>a</a:t>
            </a:r>
            <a:endParaRPr kumimoji="0" lang="en-GB" sz="1050" b="1" i="0" u="none" strike="noStrike" kern="120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39" name="Shape 935">
            <a:extLst>
              <a:ext uri="{FF2B5EF4-FFF2-40B4-BE49-F238E27FC236}">
                <a16:creationId xmlns:a16="http://schemas.microsoft.com/office/drawing/2014/main" id="{D95112E2-50EC-6892-6283-09A8096D9BB6}"/>
              </a:ext>
            </a:extLst>
          </p:cNvPr>
          <p:cNvSpPr>
            <a:spLocks noChangeArrowheads="1"/>
          </p:cNvSpPr>
          <p:nvPr/>
        </p:nvSpPr>
        <p:spPr bwMode="auto">
          <a:xfrm>
            <a:off x="8510896" y="4534323"/>
            <a:ext cx="135000" cy="135000"/>
          </a:xfrm>
          <a:prstGeom prst="rect">
            <a:avLst/>
          </a:prstGeom>
          <a:solidFill>
            <a:srgbClr val="458A6F"/>
          </a:solidFill>
          <a:ln>
            <a:noFill/>
          </a:ln>
        </p:spPr>
        <p:txBody>
          <a:bodyPr lIns="34289" tIns="34289" rIns="34289" bIns="34289"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altLang="en-US" sz="825"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0" name="TextBox 39">
            <a:extLst>
              <a:ext uri="{FF2B5EF4-FFF2-40B4-BE49-F238E27FC236}">
                <a16:creationId xmlns:a16="http://schemas.microsoft.com/office/drawing/2014/main" id="{1CFA5E8F-2167-6CB0-57B5-04ABE827F983}"/>
              </a:ext>
            </a:extLst>
          </p:cNvPr>
          <p:cNvSpPr txBox="1"/>
          <p:nvPr/>
        </p:nvSpPr>
        <p:spPr bwMode="auto">
          <a:xfrm>
            <a:off x="8748825" y="4519066"/>
            <a:ext cx="1323000" cy="230833"/>
          </a:xfrm>
          <a:prstGeom prst="rect">
            <a:avLst/>
          </a:prstGeom>
          <a:noFill/>
        </p:spPr>
        <p:txBody>
          <a:bodyPr lIns="0" tIns="0" rIns="0" bIns="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Significant improvement with </a:t>
            </a:r>
            <a:r>
              <a:rPr kumimoji="0" lang="en-GB" sz="900" b="0" i="0" u="none" strike="noStrike" kern="0" cap="none" spc="0" normalizeH="0" baseline="0" noProof="0" err="1">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axi</a:t>
            </a:r>
            <a:r>
              <a:rPr kumimoji="0" lang="en-GB" sz="900" b="0" i="0" u="none" strike="noStrike" kern="0" cap="none" spc="0" normalizeH="0" baseline="0" noProof="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cel vs. SOC</a:t>
            </a:r>
          </a:p>
        </p:txBody>
      </p:sp>
      <p:grpSp>
        <p:nvGrpSpPr>
          <p:cNvPr id="3" name="Group 2">
            <a:extLst>
              <a:ext uri="{FF2B5EF4-FFF2-40B4-BE49-F238E27FC236}">
                <a16:creationId xmlns:a16="http://schemas.microsoft.com/office/drawing/2014/main" id="{9CA611E9-9944-4486-2636-83B4BAAC8DC1}"/>
              </a:ext>
            </a:extLst>
          </p:cNvPr>
          <p:cNvGrpSpPr/>
          <p:nvPr/>
        </p:nvGrpSpPr>
        <p:grpSpPr>
          <a:xfrm>
            <a:off x="3811852" y="2129184"/>
            <a:ext cx="4177529" cy="2669788"/>
            <a:chOff x="3050468" y="1695911"/>
            <a:chExt cx="5570038" cy="3559717"/>
          </a:xfrm>
        </p:grpSpPr>
        <p:sp>
          <p:nvSpPr>
            <p:cNvPr id="128" name="TextBox 127">
              <a:extLst>
                <a:ext uri="{FF2B5EF4-FFF2-40B4-BE49-F238E27FC236}">
                  <a16:creationId xmlns:a16="http://schemas.microsoft.com/office/drawing/2014/main" id="{49F41E06-DFE4-C82C-4B33-9B310F605687}"/>
                </a:ext>
              </a:extLst>
            </p:cNvPr>
            <p:cNvSpPr txBox="1"/>
            <p:nvPr/>
          </p:nvSpPr>
          <p:spPr>
            <a:xfrm>
              <a:off x="3050468" y="1695911"/>
              <a:ext cx="328621" cy="240743"/>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srgbClr val="595454"/>
                  </a:solidFill>
                  <a:effectLst/>
                  <a:uLnTx/>
                  <a:uFillTx/>
                  <a:latin typeface="Arial" panose="020B0604020202020204" pitchFamily="34" charset="0"/>
                  <a:ea typeface="+mn-ea"/>
                  <a:cs typeface="Arial" panose="020B0604020202020204" pitchFamily="34" charset="0"/>
                  <a:sym typeface="Arial"/>
                  <a:rtl val="0"/>
                </a:rPr>
                <a:t>100</a:t>
              </a:r>
            </a:p>
          </p:txBody>
        </p:sp>
        <p:sp>
          <p:nvSpPr>
            <p:cNvPr id="129" name="TextBox 128">
              <a:extLst>
                <a:ext uri="{FF2B5EF4-FFF2-40B4-BE49-F238E27FC236}">
                  <a16:creationId xmlns:a16="http://schemas.microsoft.com/office/drawing/2014/main" id="{1353EB1C-18E6-1AAA-6C1E-18B3B13CA60A}"/>
                </a:ext>
              </a:extLst>
            </p:cNvPr>
            <p:cNvSpPr txBox="1"/>
            <p:nvPr/>
          </p:nvSpPr>
          <p:spPr>
            <a:xfrm>
              <a:off x="3174383" y="4466735"/>
              <a:ext cx="204707" cy="240743"/>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srgbClr val="595454"/>
                  </a:solidFill>
                  <a:effectLst/>
                  <a:uLnTx/>
                  <a:uFillTx/>
                  <a:latin typeface="Arial" panose="020B0604020202020204" pitchFamily="34" charset="0"/>
                  <a:ea typeface="+mn-ea"/>
                  <a:cs typeface="Arial" panose="020B0604020202020204" pitchFamily="34" charset="0"/>
                  <a:sym typeface="Arial"/>
                  <a:rtl val="0"/>
                </a:rPr>
                <a:t>0</a:t>
              </a:r>
            </a:p>
          </p:txBody>
        </p:sp>
        <p:sp>
          <p:nvSpPr>
            <p:cNvPr id="150" name="TextBox 149">
              <a:extLst>
                <a:ext uri="{FF2B5EF4-FFF2-40B4-BE49-F238E27FC236}">
                  <a16:creationId xmlns:a16="http://schemas.microsoft.com/office/drawing/2014/main" id="{4A36C5F2-463A-E214-AE6C-33227B5BDD27}"/>
                </a:ext>
              </a:extLst>
            </p:cNvPr>
            <p:cNvSpPr txBox="1"/>
            <p:nvPr/>
          </p:nvSpPr>
          <p:spPr>
            <a:xfrm>
              <a:off x="3112426" y="3912572"/>
              <a:ext cx="266665" cy="240743"/>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srgbClr val="595454"/>
                  </a:solidFill>
                  <a:effectLst/>
                  <a:uLnTx/>
                  <a:uFillTx/>
                  <a:latin typeface="Arial" panose="020B0604020202020204" pitchFamily="34" charset="0"/>
                  <a:ea typeface="+mn-ea"/>
                  <a:cs typeface="Arial" panose="020B0604020202020204" pitchFamily="34" charset="0"/>
                  <a:sym typeface="Arial"/>
                  <a:rtl val="0"/>
                </a:rPr>
                <a:t>20</a:t>
              </a:r>
            </a:p>
          </p:txBody>
        </p:sp>
        <p:sp>
          <p:nvSpPr>
            <p:cNvPr id="151" name="TextBox 150">
              <a:extLst>
                <a:ext uri="{FF2B5EF4-FFF2-40B4-BE49-F238E27FC236}">
                  <a16:creationId xmlns:a16="http://schemas.microsoft.com/office/drawing/2014/main" id="{B2B29D4B-A83C-AFC4-92B5-8D460DE1B2EC}"/>
                </a:ext>
              </a:extLst>
            </p:cNvPr>
            <p:cNvSpPr txBox="1"/>
            <p:nvPr/>
          </p:nvSpPr>
          <p:spPr>
            <a:xfrm>
              <a:off x="3112426" y="3358407"/>
              <a:ext cx="266665" cy="240743"/>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srgbClr val="595454"/>
                  </a:solidFill>
                  <a:effectLst/>
                  <a:uLnTx/>
                  <a:uFillTx/>
                  <a:latin typeface="Arial" panose="020B0604020202020204" pitchFamily="34" charset="0"/>
                  <a:ea typeface="+mn-ea"/>
                  <a:cs typeface="Arial" panose="020B0604020202020204" pitchFamily="34" charset="0"/>
                  <a:sym typeface="Arial"/>
                  <a:rtl val="0"/>
                </a:rPr>
                <a:t>40</a:t>
              </a:r>
            </a:p>
          </p:txBody>
        </p:sp>
        <p:sp>
          <p:nvSpPr>
            <p:cNvPr id="152" name="TextBox 151">
              <a:extLst>
                <a:ext uri="{FF2B5EF4-FFF2-40B4-BE49-F238E27FC236}">
                  <a16:creationId xmlns:a16="http://schemas.microsoft.com/office/drawing/2014/main" id="{0535F978-3294-F41D-5D97-05BE9209A216}"/>
                </a:ext>
              </a:extLst>
            </p:cNvPr>
            <p:cNvSpPr txBox="1"/>
            <p:nvPr/>
          </p:nvSpPr>
          <p:spPr>
            <a:xfrm>
              <a:off x="3112426" y="2250076"/>
              <a:ext cx="266665" cy="240743"/>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srgbClr val="595454"/>
                  </a:solidFill>
                  <a:effectLst/>
                  <a:uLnTx/>
                  <a:uFillTx/>
                  <a:latin typeface="Arial" panose="020B0604020202020204" pitchFamily="34" charset="0"/>
                  <a:ea typeface="+mn-ea"/>
                  <a:cs typeface="Arial" panose="020B0604020202020204" pitchFamily="34" charset="0"/>
                  <a:sym typeface="Arial"/>
                  <a:rtl val="0"/>
                </a:rPr>
                <a:t>80</a:t>
              </a:r>
            </a:p>
          </p:txBody>
        </p:sp>
        <p:sp>
          <p:nvSpPr>
            <p:cNvPr id="153" name="TextBox 152">
              <a:extLst>
                <a:ext uri="{FF2B5EF4-FFF2-40B4-BE49-F238E27FC236}">
                  <a16:creationId xmlns:a16="http://schemas.microsoft.com/office/drawing/2014/main" id="{F7201E6A-4793-B60F-765A-F91CFEF2BF3D}"/>
                </a:ext>
              </a:extLst>
            </p:cNvPr>
            <p:cNvSpPr txBox="1"/>
            <p:nvPr/>
          </p:nvSpPr>
          <p:spPr>
            <a:xfrm>
              <a:off x="3112426" y="2804241"/>
              <a:ext cx="266665" cy="240743"/>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srgbClr val="595454"/>
                  </a:solidFill>
                  <a:effectLst/>
                  <a:uLnTx/>
                  <a:uFillTx/>
                  <a:latin typeface="Arial" panose="020B0604020202020204" pitchFamily="34" charset="0"/>
                  <a:ea typeface="+mn-ea"/>
                  <a:cs typeface="Arial" panose="020B0604020202020204" pitchFamily="34" charset="0"/>
                  <a:sym typeface="Arial"/>
                  <a:rtl val="0"/>
                </a:rPr>
                <a:t>60</a:t>
              </a:r>
            </a:p>
          </p:txBody>
        </p:sp>
        <p:sp>
          <p:nvSpPr>
            <p:cNvPr id="155" name="Freeform: Shape 30">
              <a:extLst>
                <a:ext uri="{FF2B5EF4-FFF2-40B4-BE49-F238E27FC236}">
                  <a16:creationId xmlns:a16="http://schemas.microsoft.com/office/drawing/2014/main" id="{EE2E3B67-84EC-0142-5CB8-55C0174759DA}"/>
                </a:ext>
              </a:extLst>
            </p:cNvPr>
            <p:cNvSpPr/>
            <p:nvPr/>
          </p:nvSpPr>
          <p:spPr>
            <a:xfrm>
              <a:off x="3514237" y="1818573"/>
              <a:ext cx="9398" cy="2783944"/>
            </a:xfrm>
            <a:custGeom>
              <a:avLst/>
              <a:gdLst>
                <a:gd name="connsiteX0" fmla="*/ 0 w 12157"/>
                <a:gd name="connsiteY0" fmla="*/ 0 h 3203210"/>
                <a:gd name="connsiteX1" fmla="*/ 0 w 12157"/>
                <a:gd name="connsiteY1" fmla="*/ 3203211 h 3203210"/>
              </a:gdLst>
              <a:ahLst/>
              <a:cxnLst>
                <a:cxn ang="0">
                  <a:pos x="connsiteX0" y="connsiteY0"/>
                </a:cxn>
                <a:cxn ang="0">
                  <a:pos x="connsiteX1" y="connsiteY1"/>
                </a:cxn>
              </a:cxnLst>
              <a:rect l="l" t="t" r="r" b="b"/>
              <a:pathLst>
                <a:path w="12157" h="3203210">
                  <a:moveTo>
                    <a:pt x="0" y="0"/>
                  </a:moveTo>
                  <a:lnTo>
                    <a:pt x="0" y="3203211"/>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0" name="Freeform: Shape 45">
              <a:extLst>
                <a:ext uri="{FF2B5EF4-FFF2-40B4-BE49-F238E27FC236}">
                  <a16:creationId xmlns:a16="http://schemas.microsoft.com/office/drawing/2014/main" id="{CA9C1812-B370-C0D2-C610-DF8D037A5CDE}"/>
                </a:ext>
              </a:extLst>
            </p:cNvPr>
            <p:cNvSpPr/>
            <p:nvPr/>
          </p:nvSpPr>
          <p:spPr>
            <a:xfrm>
              <a:off x="3436786" y="4591952"/>
              <a:ext cx="64800"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1" name="Freeform: Shape 47">
              <a:extLst>
                <a:ext uri="{FF2B5EF4-FFF2-40B4-BE49-F238E27FC236}">
                  <a16:creationId xmlns:a16="http://schemas.microsoft.com/office/drawing/2014/main" id="{239F603F-9068-CB31-DDE4-190C91028648}"/>
                </a:ext>
              </a:extLst>
            </p:cNvPr>
            <p:cNvSpPr/>
            <p:nvPr/>
          </p:nvSpPr>
          <p:spPr>
            <a:xfrm>
              <a:off x="3436786" y="4037276"/>
              <a:ext cx="64800"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2" name="Freeform: Shape 49">
              <a:extLst>
                <a:ext uri="{FF2B5EF4-FFF2-40B4-BE49-F238E27FC236}">
                  <a16:creationId xmlns:a16="http://schemas.microsoft.com/office/drawing/2014/main" id="{F30A9B18-7404-0C9F-ED56-EFF560D6FADA}"/>
                </a:ext>
              </a:extLst>
            </p:cNvPr>
            <p:cNvSpPr/>
            <p:nvPr/>
          </p:nvSpPr>
          <p:spPr>
            <a:xfrm>
              <a:off x="3436786" y="3482600"/>
              <a:ext cx="64800"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3" name="Freeform: Shape 51">
              <a:extLst>
                <a:ext uri="{FF2B5EF4-FFF2-40B4-BE49-F238E27FC236}">
                  <a16:creationId xmlns:a16="http://schemas.microsoft.com/office/drawing/2014/main" id="{86A63966-F148-C5EC-8059-A2EE929EBCA0}"/>
                </a:ext>
              </a:extLst>
            </p:cNvPr>
            <p:cNvSpPr/>
            <p:nvPr/>
          </p:nvSpPr>
          <p:spPr>
            <a:xfrm>
              <a:off x="3436786" y="2927925"/>
              <a:ext cx="64800"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4" name="Freeform: Shape 53">
              <a:extLst>
                <a:ext uri="{FF2B5EF4-FFF2-40B4-BE49-F238E27FC236}">
                  <a16:creationId xmlns:a16="http://schemas.microsoft.com/office/drawing/2014/main" id="{0C4F402F-00C0-6C5F-0EB3-BC5886CC8424}"/>
                </a:ext>
              </a:extLst>
            </p:cNvPr>
            <p:cNvSpPr/>
            <p:nvPr/>
          </p:nvSpPr>
          <p:spPr>
            <a:xfrm>
              <a:off x="3436786" y="2373249"/>
              <a:ext cx="64800"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5" name="Freeform: Shape 55">
              <a:extLst>
                <a:ext uri="{FF2B5EF4-FFF2-40B4-BE49-F238E27FC236}">
                  <a16:creationId xmlns:a16="http://schemas.microsoft.com/office/drawing/2014/main" id="{9101E5FC-3B8F-A2D8-6240-D8A45F809897}"/>
                </a:ext>
              </a:extLst>
            </p:cNvPr>
            <p:cNvSpPr/>
            <p:nvPr/>
          </p:nvSpPr>
          <p:spPr>
            <a:xfrm>
              <a:off x="3436786" y="1818573"/>
              <a:ext cx="64800"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cxnSp>
          <p:nvCxnSpPr>
            <p:cNvPr id="189" name="Straight Connector 188">
              <a:extLst>
                <a:ext uri="{FF2B5EF4-FFF2-40B4-BE49-F238E27FC236}">
                  <a16:creationId xmlns:a16="http://schemas.microsoft.com/office/drawing/2014/main" id="{7F613B2F-31F9-960B-2528-D64461E0339E}"/>
                </a:ext>
              </a:extLst>
            </p:cNvPr>
            <p:cNvCxnSpPr>
              <a:cxnSpLocks/>
            </p:cNvCxnSpPr>
            <p:nvPr/>
          </p:nvCxnSpPr>
          <p:spPr>
            <a:xfrm>
              <a:off x="3534817" y="3210545"/>
              <a:ext cx="5004000" cy="0"/>
            </a:xfrm>
            <a:prstGeom prst="line">
              <a:avLst/>
            </a:prstGeom>
            <a:noFill/>
            <a:ln w="12700" cap="flat" cmpd="sng" algn="ctr">
              <a:solidFill>
                <a:srgbClr val="595454">
                  <a:lumMod val="40000"/>
                  <a:lumOff val="60000"/>
                </a:srgbClr>
              </a:solidFill>
              <a:prstDash val="dash"/>
            </a:ln>
            <a:effectLst/>
          </p:spPr>
        </p:cxnSp>
        <p:sp>
          <p:nvSpPr>
            <p:cNvPr id="167" name="Freeform: Shape 44">
              <a:extLst>
                <a:ext uri="{FF2B5EF4-FFF2-40B4-BE49-F238E27FC236}">
                  <a16:creationId xmlns:a16="http://schemas.microsoft.com/office/drawing/2014/main" id="{149BE87F-C807-00E4-0860-9D9A09C1CF9A}"/>
                </a:ext>
              </a:extLst>
            </p:cNvPr>
            <p:cNvSpPr/>
            <p:nvPr/>
          </p:nvSpPr>
          <p:spPr>
            <a:xfrm>
              <a:off x="3505574" y="4602518"/>
              <a:ext cx="4949199" cy="0"/>
            </a:xfrm>
            <a:custGeom>
              <a:avLst/>
              <a:gdLst>
                <a:gd name="connsiteX0" fmla="*/ 7181115 w 7181114"/>
                <a:gd name="connsiteY0" fmla="*/ 0 h 12157"/>
                <a:gd name="connsiteX1" fmla="*/ 0 w 7181114"/>
                <a:gd name="connsiteY1" fmla="*/ 0 h 12157"/>
              </a:gdLst>
              <a:ahLst/>
              <a:cxnLst>
                <a:cxn ang="0">
                  <a:pos x="connsiteX0" y="connsiteY0"/>
                </a:cxn>
                <a:cxn ang="0">
                  <a:pos x="connsiteX1" y="connsiteY1"/>
                </a:cxn>
              </a:cxnLst>
              <a:rect l="l" t="t" r="r" b="b"/>
              <a:pathLst>
                <a:path w="7181114" h="12157">
                  <a:moveTo>
                    <a:pt x="7181115" y="0"/>
                  </a:moveTo>
                  <a:lnTo>
                    <a:pt x="0" y="0"/>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grpSp>
          <p:nvGrpSpPr>
            <p:cNvPr id="1518" name="Group 1517">
              <a:extLst>
                <a:ext uri="{FF2B5EF4-FFF2-40B4-BE49-F238E27FC236}">
                  <a16:creationId xmlns:a16="http://schemas.microsoft.com/office/drawing/2014/main" id="{4D252F69-0E92-DFDA-54D0-C99A1C1B668C}"/>
                </a:ext>
              </a:extLst>
            </p:cNvPr>
            <p:cNvGrpSpPr/>
            <p:nvPr/>
          </p:nvGrpSpPr>
          <p:grpSpPr>
            <a:xfrm>
              <a:off x="3402208" y="4602518"/>
              <a:ext cx="224074" cy="295502"/>
              <a:chOff x="3402208" y="4602518"/>
              <a:chExt cx="224074" cy="295502"/>
            </a:xfrm>
          </p:grpSpPr>
          <p:sp>
            <p:nvSpPr>
              <p:cNvPr id="176" name="TextBox 175">
                <a:extLst>
                  <a:ext uri="{FF2B5EF4-FFF2-40B4-BE49-F238E27FC236}">
                    <a16:creationId xmlns:a16="http://schemas.microsoft.com/office/drawing/2014/main" id="{8BDA865F-1CE6-297B-B25C-09C43F6560D5}"/>
                  </a:ext>
                </a:extLst>
              </p:cNvPr>
              <p:cNvSpPr txBox="1"/>
              <p:nvPr/>
            </p:nvSpPr>
            <p:spPr>
              <a:xfrm>
                <a:off x="3402208" y="4740460"/>
                <a:ext cx="22407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srgbClr val="595454"/>
                    </a:solidFill>
                    <a:effectLst/>
                    <a:uLnTx/>
                    <a:uFillTx/>
                    <a:latin typeface="Arial" panose="020B0604020202020204" pitchFamily="34" charset="0"/>
                    <a:ea typeface="+mn-ea"/>
                    <a:cs typeface="Arial" panose="020B0604020202020204" pitchFamily="34" charset="0"/>
                    <a:sym typeface="Arial"/>
                    <a:rtl val="0"/>
                  </a:rPr>
                  <a:t>0</a:t>
                </a:r>
              </a:p>
            </p:txBody>
          </p:sp>
          <p:sp>
            <p:nvSpPr>
              <p:cNvPr id="177" name="Freeform: Shape 32">
                <a:extLst>
                  <a:ext uri="{FF2B5EF4-FFF2-40B4-BE49-F238E27FC236}">
                    <a16:creationId xmlns:a16="http://schemas.microsoft.com/office/drawing/2014/main" id="{E9D5BA09-2BB3-735D-48AE-0212FECA660D}"/>
                  </a:ext>
                </a:extLst>
              </p:cNvPr>
              <p:cNvSpPr/>
              <p:nvPr/>
            </p:nvSpPr>
            <p:spPr>
              <a:xfrm>
                <a:off x="3515891" y="4602518"/>
                <a:ext cx="867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grpSp>
        <p:grpSp>
          <p:nvGrpSpPr>
            <p:cNvPr id="1519" name="Group 1518">
              <a:extLst>
                <a:ext uri="{FF2B5EF4-FFF2-40B4-BE49-F238E27FC236}">
                  <a16:creationId xmlns:a16="http://schemas.microsoft.com/office/drawing/2014/main" id="{903589EB-4E85-E6DC-0935-7C7EDA168B3B}"/>
                </a:ext>
              </a:extLst>
            </p:cNvPr>
            <p:cNvGrpSpPr/>
            <p:nvPr/>
          </p:nvGrpSpPr>
          <p:grpSpPr>
            <a:xfrm>
              <a:off x="3898201" y="4602518"/>
              <a:ext cx="224074" cy="295502"/>
              <a:chOff x="3952149" y="4602518"/>
              <a:chExt cx="224074" cy="295502"/>
            </a:xfrm>
          </p:grpSpPr>
          <p:sp>
            <p:nvSpPr>
              <p:cNvPr id="156" name="Freeform: Shape 32">
                <a:extLst>
                  <a:ext uri="{FF2B5EF4-FFF2-40B4-BE49-F238E27FC236}">
                    <a16:creationId xmlns:a16="http://schemas.microsoft.com/office/drawing/2014/main" id="{B2976D29-939E-7A70-6800-A88BB826628D}"/>
                  </a:ext>
                </a:extLst>
              </p:cNvPr>
              <p:cNvSpPr/>
              <p:nvPr/>
            </p:nvSpPr>
            <p:spPr>
              <a:xfrm>
                <a:off x="4064654" y="4602518"/>
                <a:ext cx="867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80" name="TextBox 179">
                <a:extLst>
                  <a:ext uri="{FF2B5EF4-FFF2-40B4-BE49-F238E27FC236}">
                    <a16:creationId xmlns:a16="http://schemas.microsoft.com/office/drawing/2014/main" id="{70897E90-0FDB-7772-2353-EBF996B48077}"/>
                  </a:ext>
                </a:extLst>
              </p:cNvPr>
              <p:cNvSpPr txBox="1"/>
              <p:nvPr/>
            </p:nvSpPr>
            <p:spPr>
              <a:xfrm>
                <a:off x="3952149" y="4740460"/>
                <a:ext cx="22407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srgbClr val="595454"/>
                    </a:solidFill>
                    <a:effectLst/>
                    <a:uLnTx/>
                    <a:uFillTx/>
                    <a:latin typeface="Arial" panose="020B0604020202020204" pitchFamily="34" charset="0"/>
                    <a:ea typeface="+mn-ea"/>
                    <a:cs typeface="Arial" panose="020B0604020202020204" pitchFamily="34" charset="0"/>
                    <a:sym typeface="Arial"/>
                    <a:rtl val="0"/>
                  </a:rPr>
                  <a:t>6</a:t>
                </a:r>
              </a:p>
            </p:txBody>
          </p:sp>
        </p:grpSp>
        <p:grpSp>
          <p:nvGrpSpPr>
            <p:cNvPr id="1520" name="Group 1519">
              <a:extLst>
                <a:ext uri="{FF2B5EF4-FFF2-40B4-BE49-F238E27FC236}">
                  <a16:creationId xmlns:a16="http://schemas.microsoft.com/office/drawing/2014/main" id="{F4D76F01-C787-08E0-9F74-D04614A1BDF3}"/>
                </a:ext>
              </a:extLst>
            </p:cNvPr>
            <p:cNvGrpSpPr/>
            <p:nvPr/>
          </p:nvGrpSpPr>
          <p:grpSpPr>
            <a:xfrm>
              <a:off x="4394194" y="4602518"/>
              <a:ext cx="224074" cy="295502"/>
              <a:chOff x="4502091" y="4602518"/>
              <a:chExt cx="224074" cy="295502"/>
            </a:xfrm>
          </p:grpSpPr>
          <p:sp>
            <p:nvSpPr>
              <p:cNvPr id="157" name="Freeform: Shape 34">
                <a:extLst>
                  <a:ext uri="{FF2B5EF4-FFF2-40B4-BE49-F238E27FC236}">
                    <a16:creationId xmlns:a16="http://schemas.microsoft.com/office/drawing/2014/main" id="{496CDA5D-47B3-CA76-F383-DA4982E49CE4}"/>
                  </a:ext>
                </a:extLst>
              </p:cNvPr>
              <p:cNvSpPr/>
              <p:nvPr/>
            </p:nvSpPr>
            <p:spPr>
              <a:xfrm>
                <a:off x="4613417" y="4602518"/>
                <a:ext cx="867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81" name="TextBox 180">
                <a:extLst>
                  <a:ext uri="{FF2B5EF4-FFF2-40B4-BE49-F238E27FC236}">
                    <a16:creationId xmlns:a16="http://schemas.microsoft.com/office/drawing/2014/main" id="{EBF344AB-E8F1-6629-C2EC-6F21771DEF82}"/>
                  </a:ext>
                </a:extLst>
              </p:cNvPr>
              <p:cNvSpPr txBox="1"/>
              <p:nvPr/>
            </p:nvSpPr>
            <p:spPr>
              <a:xfrm>
                <a:off x="4502091" y="4740460"/>
                <a:ext cx="22407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srgbClr val="595454"/>
                    </a:solidFill>
                    <a:effectLst/>
                    <a:uLnTx/>
                    <a:uFillTx/>
                    <a:latin typeface="Arial" panose="020B0604020202020204" pitchFamily="34" charset="0"/>
                    <a:ea typeface="+mn-ea"/>
                    <a:cs typeface="Arial" panose="020B0604020202020204" pitchFamily="34" charset="0"/>
                    <a:sym typeface="Arial"/>
                    <a:rtl val="0"/>
                  </a:rPr>
                  <a:t>12</a:t>
                </a:r>
              </a:p>
            </p:txBody>
          </p:sp>
        </p:grpSp>
        <p:grpSp>
          <p:nvGrpSpPr>
            <p:cNvPr id="1521" name="Group 1520">
              <a:extLst>
                <a:ext uri="{FF2B5EF4-FFF2-40B4-BE49-F238E27FC236}">
                  <a16:creationId xmlns:a16="http://schemas.microsoft.com/office/drawing/2014/main" id="{814E7C02-4443-84E4-0B5A-DF350EADF85A}"/>
                </a:ext>
              </a:extLst>
            </p:cNvPr>
            <p:cNvGrpSpPr/>
            <p:nvPr/>
          </p:nvGrpSpPr>
          <p:grpSpPr>
            <a:xfrm>
              <a:off x="4890187" y="4602518"/>
              <a:ext cx="224074" cy="295502"/>
              <a:chOff x="5052032" y="4602518"/>
              <a:chExt cx="224074" cy="295502"/>
            </a:xfrm>
          </p:grpSpPr>
          <p:sp>
            <p:nvSpPr>
              <p:cNvPr id="158" name="Freeform: Shape 36">
                <a:extLst>
                  <a:ext uri="{FF2B5EF4-FFF2-40B4-BE49-F238E27FC236}">
                    <a16:creationId xmlns:a16="http://schemas.microsoft.com/office/drawing/2014/main" id="{5DA8EEBE-5451-3F81-FE1B-95750F739DD0}"/>
                  </a:ext>
                </a:extLst>
              </p:cNvPr>
              <p:cNvSpPr/>
              <p:nvPr/>
            </p:nvSpPr>
            <p:spPr>
              <a:xfrm>
                <a:off x="5162181" y="4602518"/>
                <a:ext cx="867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82" name="TextBox 181">
                <a:extLst>
                  <a:ext uri="{FF2B5EF4-FFF2-40B4-BE49-F238E27FC236}">
                    <a16:creationId xmlns:a16="http://schemas.microsoft.com/office/drawing/2014/main" id="{0BBF1A04-2C52-034A-E0BF-9EFB599F6110}"/>
                  </a:ext>
                </a:extLst>
              </p:cNvPr>
              <p:cNvSpPr txBox="1"/>
              <p:nvPr/>
            </p:nvSpPr>
            <p:spPr>
              <a:xfrm>
                <a:off x="5052032" y="4740460"/>
                <a:ext cx="22407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srgbClr val="595454"/>
                    </a:solidFill>
                    <a:effectLst/>
                    <a:uLnTx/>
                    <a:uFillTx/>
                    <a:latin typeface="Arial" panose="020B0604020202020204" pitchFamily="34" charset="0"/>
                    <a:ea typeface="+mn-ea"/>
                    <a:cs typeface="Arial" panose="020B0604020202020204" pitchFamily="34" charset="0"/>
                    <a:sym typeface="Arial"/>
                    <a:rtl val="0"/>
                  </a:rPr>
                  <a:t>18</a:t>
                </a:r>
              </a:p>
            </p:txBody>
          </p:sp>
        </p:grpSp>
        <p:grpSp>
          <p:nvGrpSpPr>
            <p:cNvPr id="1522" name="Group 1521">
              <a:extLst>
                <a:ext uri="{FF2B5EF4-FFF2-40B4-BE49-F238E27FC236}">
                  <a16:creationId xmlns:a16="http://schemas.microsoft.com/office/drawing/2014/main" id="{F7E03F57-9899-6A7B-884C-0D9BA53CF6D6}"/>
                </a:ext>
              </a:extLst>
            </p:cNvPr>
            <p:cNvGrpSpPr/>
            <p:nvPr/>
          </p:nvGrpSpPr>
          <p:grpSpPr>
            <a:xfrm>
              <a:off x="5386180" y="4602518"/>
              <a:ext cx="224074" cy="295502"/>
              <a:chOff x="5601974" y="4602518"/>
              <a:chExt cx="224074" cy="295502"/>
            </a:xfrm>
          </p:grpSpPr>
          <p:sp>
            <p:nvSpPr>
              <p:cNvPr id="159" name="Freeform: Shape 38">
                <a:extLst>
                  <a:ext uri="{FF2B5EF4-FFF2-40B4-BE49-F238E27FC236}">
                    <a16:creationId xmlns:a16="http://schemas.microsoft.com/office/drawing/2014/main" id="{46957DD2-0A80-B9B5-996C-2D452C25E18F}"/>
                  </a:ext>
                </a:extLst>
              </p:cNvPr>
              <p:cNvSpPr/>
              <p:nvPr/>
            </p:nvSpPr>
            <p:spPr>
              <a:xfrm>
                <a:off x="5710944" y="4602518"/>
                <a:ext cx="867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83" name="TextBox 182">
                <a:extLst>
                  <a:ext uri="{FF2B5EF4-FFF2-40B4-BE49-F238E27FC236}">
                    <a16:creationId xmlns:a16="http://schemas.microsoft.com/office/drawing/2014/main" id="{6A195BFA-3418-4CA4-94DF-BD689FA19512}"/>
                  </a:ext>
                </a:extLst>
              </p:cNvPr>
              <p:cNvSpPr txBox="1"/>
              <p:nvPr/>
            </p:nvSpPr>
            <p:spPr>
              <a:xfrm>
                <a:off x="5601974" y="4740460"/>
                <a:ext cx="22407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srgbClr val="595454"/>
                    </a:solidFill>
                    <a:effectLst/>
                    <a:uLnTx/>
                    <a:uFillTx/>
                    <a:latin typeface="Arial" panose="020B0604020202020204" pitchFamily="34" charset="0"/>
                    <a:ea typeface="+mn-ea"/>
                    <a:cs typeface="Arial" panose="020B0604020202020204" pitchFamily="34" charset="0"/>
                    <a:sym typeface="Arial"/>
                    <a:rtl val="0"/>
                  </a:rPr>
                  <a:t>24</a:t>
                </a:r>
              </a:p>
            </p:txBody>
          </p:sp>
        </p:grpSp>
        <p:grpSp>
          <p:nvGrpSpPr>
            <p:cNvPr id="1523" name="Group 1522">
              <a:extLst>
                <a:ext uri="{FF2B5EF4-FFF2-40B4-BE49-F238E27FC236}">
                  <a16:creationId xmlns:a16="http://schemas.microsoft.com/office/drawing/2014/main" id="{359AC0D0-4061-A001-AF36-170CA648630A}"/>
                </a:ext>
              </a:extLst>
            </p:cNvPr>
            <p:cNvGrpSpPr/>
            <p:nvPr/>
          </p:nvGrpSpPr>
          <p:grpSpPr>
            <a:xfrm>
              <a:off x="5882173" y="4602518"/>
              <a:ext cx="224074" cy="295502"/>
              <a:chOff x="6151915" y="4602518"/>
              <a:chExt cx="224074" cy="295502"/>
            </a:xfrm>
          </p:grpSpPr>
          <p:sp>
            <p:nvSpPr>
              <p:cNvPr id="179" name="Freeform: Shape 38">
                <a:extLst>
                  <a:ext uri="{FF2B5EF4-FFF2-40B4-BE49-F238E27FC236}">
                    <a16:creationId xmlns:a16="http://schemas.microsoft.com/office/drawing/2014/main" id="{632739CF-A725-B832-755E-B10FEDF93AE6}"/>
                  </a:ext>
                </a:extLst>
              </p:cNvPr>
              <p:cNvSpPr/>
              <p:nvPr/>
            </p:nvSpPr>
            <p:spPr>
              <a:xfrm>
                <a:off x="6259707" y="4602518"/>
                <a:ext cx="867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84" name="TextBox 183">
                <a:extLst>
                  <a:ext uri="{FF2B5EF4-FFF2-40B4-BE49-F238E27FC236}">
                    <a16:creationId xmlns:a16="http://schemas.microsoft.com/office/drawing/2014/main" id="{2C685775-FA89-AA13-32C1-2538FDB92F74}"/>
                  </a:ext>
                </a:extLst>
              </p:cNvPr>
              <p:cNvSpPr txBox="1"/>
              <p:nvPr/>
            </p:nvSpPr>
            <p:spPr>
              <a:xfrm>
                <a:off x="6151915" y="4740460"/>
                <a:ext cx="22407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srgbClr val="595454"/>
                    </a:solidFill>
                    <a:effectLst/>
                    <a:uLnTx/>
                    <a:uFillTx/>
                    <a:latin typeface="Arial" panose="020B0604020202020204" pitchFamily="34" charset="0"/>
                    <a:ea typeface="+mn-ea"/>
                    <a:cs typeface="Arial" panose="020B0604020202020204" pitchFamily="34" charset="0"/>
                    <a:sym typeface="Arial"/>
                    <a:rtl val="0"/>
                  </a:rPr>
                  <a:t>30</a:t>
                </a:r>
              </a:p>
            </p:txBody>
          </p:sp>
        </p:grpSp>
        <p:grpSp>
          <p:nvGrpSpPr>
            <p:cNvPr id="1524" name="Group 1523">
              <a:extLst>
                <a:ext uri="{FF2B5EF4-FFF2-40B4-BE49-F238E27FC236}">
                  <a16:creationId xmlns:a16="http://schemas.microsoft.com/office/drawing/2014/main" id="{5E766B1F-92DC-8A10-F613-3BCC13DBC346}"/>
                </a:ext>
              </a:extLst>
            </p:cNvPr>
            <p:cNvGrpSpPr/>
            <p:nvPr/>
          </p:nvGrpSpPr>
          <p:grpSpPr>
            <a:xfrm>
              <a:off x="6378166" y="4602518"/>
              <a:ext cx="224074" cy="295502"/>
              <a:chOff x="6701859" y="4602518"/>
              <a:chExt cx="224074" cy="295502"/>
            </a:xfrm>
          </p:grpSpPr>
          <p:sp>
            <p:nvSpPr>
              <p:cNvPr id="178" name="Freeform: Shape 38">
                <a:extLst>
                  <a:ext uri="{FF2B5EF4-FFF2-40B4-BE49-F238E27FC236}">
                    <a16:creationId xmlns:a16="http://schemas.microsoft.com/office/drawing/2014/main" id="{36403F7D-2D45-0091-9A1B-D6E8AB48B090}"/>
                  </a:ext>
                </a:extLst>
              </p:cNvPr>
              <p:cNvSpPr/>
              <p:nvPr/>
            </p:nvSpPr>
            <p:spPr>
              <a:xfrm>
                <a:off x="6808468" y="4602518"/>
                <a:ext cx="867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85" name="TextBox 184">
                <a:extLst>
                  <a:ext uri="{FF2B5EF4-FFF2-40B4-BE49-F238E27FC236}">
                    <a16:creationId xmlns:a16="http://schemas.microsoft.com/office/drawing/2014/main" id="{796E44A4-56E5-D57F-8CC4-D775C677757F}"/>
                  </a:ext>
                </a:extLst>
              </p:cNvPr>
              <p:cNvSpPr txBox="1"/>
              <p:nvPr/>
            </p:nvSpPr>
            <p:spPr>
              <a:xfrm>
                <a:off x="6701859" y="4740460"/>
                <a:ext cx="22407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srgbClr val="595454"/>
                    </a:solidFill>
                    <a:effectLst/>
                    <a:uLnTx/>
                    <a:uFillTx/>
                    <a:latin typeface="Arial" panose="020B0604020202020204" pitchFamily="34" charset="0"/>
                    <a:ea typeface="+mn-ea"/>
                    <a:cs typeface="Arial" panose="020B0604020202020204" pitchFamily="34" charset="0"/>
                    <a:sym typeface="Arial"/>
                    <a:rtl val="0"/>
                  </a:rPr>
                  <a:t>36</a:t>
                </a:r>
              </a:p>
            </p:txBody>
          </p:sp>
        </p:grpSp>
        <p:grpSp>
          <p:nvGrpSpPr>
            <p:cNvPr id="1526" name="Group 1525">
              <a:extLst>
                <a:ext uri="{FF2B5EF4-FFF2-40B4-BE49-F238E27FC236}">
                  <a16:creationId xmlns:a16="http://schemas.microsoft.com/office/drawing/2014/main" id="{460DA815-89E7-55DA-AC0E-642A43D81B75}"/>
                </a:ext>
              </a:extLst>
            </p:cNvPr>
            <p:cNvGrpSpPr/>
            <p:nvPr/>
          </p:nvGrpSpPr>
          <p:grpSpPr>
            <a:xfrm>
              <a:off x="7370152" y="4602518"/>
              <a:ext cx="224074" cy="295502"/>
              <a:chOff x="7814248" y="4602518"/>
              <a:chExt cx="224074" cy="295502"/>
            </a:xfrm>
          </p:grpSpPr>
          <p:sp>
            <p:nvSpPr>
              <p:cNvPr id="196" name="TextBox 195">
                <a:extLst>
                  <a:ext uri="{FF2B5EF4-FFF2-40B4-BE49-F238E27FC236}">
                    <a16:creationId xmlns:a16="http://schemas.microsoft.com/office/drawing/2014/main" id="{12A7DFF6-E3B5-2606-CDB3-9D4ABF68D96A}"/>
                  </a:ext>
                </a:extLst>
              </p:cNvPr>
              <p:cNvSpPr txBox="1"/>
              <p:nvPr/>
            </p:nvSpPr>
            <p:spPr>
              <a:xfrm>
                <a:off x="7814248" y="4740460"/>
                <a:ext cx="22407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srgbClr val="595454"/>
                    </a:solidFill>
                    <a:effectLst/>
                    <a:uLnTx/>
                    <a:uFillTx/>
                    <a:latin typeface="Arial" panose="020B0604020202020204" pitchFamily="34" charset="0"/>
                    <a:ea typeface="+mn-ea"/>
                    <a:cs typeface="Arial" panose="020B0604020202020204" pitchFamily="34" charset="0"/>
                    <a:sym typeface="Arial"/>
                    <a:rtl val="0"/>
                  </a:rPr>
                  <a:t>48</a:t>
                </a:r>
              </a:p>
            </p:txBody>
          </p:sp>
          <p:sp>
            <p:nvSpPr>
              <p:cNvPr id="197" name="Freeform: Shape 38">
                <a:extLst>
                  <a:ext uri="{FF2B5EF4-FFF2-40B4-BE49-F238E27FC236}">
                    <a16:creationId xmlns:a16="http://schemas.microsoft.com/office/drawing/2014/main" id="{94D08744-F8FD-0F5D-03E3-8007D3B1C635}"/>
                  </a:ext>
                </a:extLst>
              </p:cNvPr>
              <p:cNvSpPr/>
              <p:nvPr/>
            </p:nvSpPr>
            <p:spPr>
              <a:xfrm>
                <a:off x="7904289" y="4602518"/>
                <a:ext cx="867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grpSp>
        <p:grpSp>
          <p:nvGrpSpPr>
            <p:cNvPr id="1525" name="Group 1524">
              <a:extLst>
                <a:ext uri="{FF2B5EF4-FFF2-40B4-BE49-F238E27FC236}">
                  <a16:creationId xmlns:a16="http://schemas.microsoft.com/office/drawing/2014/main" id="{D08938D8-CD43-EA2F-0672-8B81DE0158C6}"/>
                </a:ext>
              </a:extLst>
            </p:cNvPr>
            <p:cNvGrpSpPr/>
            <p:nvPr/>
          </p:nvGrpSpPr>
          <p:grpSpPr>
            <a:xfrm>
              <a:off x="6874159" y="4602518"/>
              <a:ext cx="224074" cy="295502"/>
              <a:chOff x="7259038" y="4602518"/>
              <a:chExt cx="224074" cy="295502"/>
            </a:xfrm>
          </p:grpSpPr>
          <p:sp>
            <p:nvSpPr>
              <p:cNvPr id="194" name="TextBox 193">
                <a:extLst>
                  <a:ext uri="{FF2B5EF4-FFF2-40B4-BE49-F238E27FC236}">
                    <a16:creationId xmlns:a16="http://schemas.microsoft.com/office/drawing/2014/main" id="{5144B1B9-1E0E-4D97-C71D-DA8EDD219D31}"/>
                  </a:ext>
                </a:extLst>
              </p:cNvPr>
              <p:cNvSpPr txBox="1"/>
              <p:nvPr/>
            </p:nvSpPr>
            <p:spPr>
              <a:xfrm>
                <a:off x="7259038" y="4740460"/>
                <a:ext cx="22407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srgbClr val="595454"/>
                    </a:solidFill>
                    <a:effectLst/>
                    <a:uLnTx/>
                    <a:uFillTx/>
                    <a:latin typeface="Arial" panose="020B0604020202020204" pitchFamily="34" charset="0"/>
                    <a:ea typeface="+mn-ea"/>
                    <a:cs typeface="Arial" panose="020B0604020202020204" pitchFamily="34" charset="0"/>
                    <a:sym typeface="Arial"/>
                    <a:rtl val="0"/>
                  </a:rPr>
                  <a:t>42</a:t>
                </a:r>
              </a:p>
            </p:txBody>
          </p:sp>
          <p:sp>
            <p:nvSpPr>
              <p:cNvPr id="198" name="Freeform: Shape 38">
                <a:extLst>
                  <a:ext uri="{FF2B5EF4-FFF2-40B4-BE49-F238E27FC236}">
                    <a16:creationId xmlns:a16="http://schemas.microsoft.com/office/drawing/2014/main" id="{EB4E0B65-7667-60E7-2FAF-A62F15277D59}"/>
                  </a:ext>
                </a:extLst>
              </p:cNvPr>
              <p:cNvSpPr/>
              <p:nvPr/>
            </p:nvSpPr>
            <p:spPr>
              <a:xfrm>
                <a:off x="7355527" y="4602518"/>
                <a:ext cx="867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grpSp>
        <p:grpSp>
          <p:nvGrpSpPr>
            <p:cNvPr id="1517" name="Group 1516">
              <a:extLst>
                <a:ext uri="{FF2B5EF4-FFF2-40B4-BE49-F238E27FC236}">
                  <a16:creationId xmlns:a16="http://schemas.microsoft.com/office/drawing/2014/main" id="{E64B0513-034C-EC02-29FD-2B53002052E6}"/>
                </a:ext>
              </a:extLst>
            </p:cNvPr>
            <p:cNvGrpSpPr/>
            <p:nvPr/>
          </p:nvGrpSpPr>
          <p:grpSpPr>
            <a:xfrm>
              <a:off x="8362134" y="4602518"/>
              <a:ext cx="224074" cy="295502"/>
              <a:chOff x="8362134" y="4602518"/>
              <a:chExt cx="224074" cy="295502"/>
            </a:xfrm>
          </p:grpSpPr>
          <p:sp>
            <p:nvSpPr>
              <p:cNvPr id="200" name="TextBox 199">
                <a:extLst>
                  <a:ext uri="{FF2B5EF4-FFF2-40B4-BE49-F238E27FC236}">
                    <a16:creationId xmlns:a16="http://schemas.microsoft.com/office/drawing/2014/main" id="{39229489-4965-E121-435F-76772BB952AF}"/>
                  </a:ext>
                </a:extLst>
              </p:cNvPr>
              <p:cNvSpPr txBox="1"/>
              <p:nvPr/>
            </p:nvSpPr>
            <p:spPr>
              <a:xfrm>
                <a:off x="8362134" y="4740460"/>
                <a:ext cx="22407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srgbClr val="595454"/>
                    </a:solidFill>
                    <a:effectLst/>
                    <a:uLnTx/>
                    <a:uFillTx/>
                    <a:latin typeface="Arial" panose="020B0604020202020204" pitchFamily="34" charset="0"/>
                    <a:ea typeface="+mn-ea"/>
                    <a:cs typeface="Arial" panose="020B0604020202020204" pitchFamily="34" charset="0"/>
                    <a:sym typeface="Arial"/>
                    <a:rtl val="0"/>
                  </a:rPr>
                  <a:t>60</a:t>
                </a:r>
              </a:p>
            </p:txBody>
          </p:sp>
          <p:sp>
            <p:nvSpPr>
              <p:cNvPr id="201" name="Freeform: Shape 38">
                <a:extLst>
                  <a:ext uri="{FF2B5EF4-FFF2-40B4-BE49-F238E27FC236}">
                    <a16:creationId xmlns:a16="http://schemas.microsoft.com/office/drawing/2014/main" id="{7AD5C33B-D912-3F2E-DCE2-F98B3EEEE68E}"/>
                  </a:ext>
                </a:extLst>
              </p:cNvPr>
              <p:cNvSpPr/>
              <p:nvPr/>
            </p:nvSpPr>
            <p:spPr>
              <a:xfrm>
                <a:off x="8452175" y="4602518"/>
                <a:ext cx="867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grpSp>
        <p:sp>
          <p:nvSpPr>
            <p:cNvPr id="893" name="AutoShape 3">
              <a:extLst>
                <a:ext uri="{FF2B5EF4-FFF2-40B4-BE49-F238E27FC236}">
                  <a16:creationId xmlns:a16="http://schemas.microsoft.com/office/drawing/2014/main" id="{966B86BC-8842-D72E-B518-84E71042DF7D}"/>
                </a:ext>
              </a:extLst>
            </p:cNvPr>
            <p:cNvSpPr>
              <a:spLocks noChangeAspect="1" noTextEdit="1"/>
            </p:cNvSpPr>
            <p:nvPr/>
          </p:nvSpPr>
          <p:spPr bwMode="auto">
            <a:xfrm>
              <a:off x="3583382" y="1775924"/>
              <a:ext cx="4705744" cy="1411182"/>
            </a:xfrm>
            <a:prstGeom prst="rect">
              <a:avLst/>
            </a:prstGeom>
            <a:noFill/>
            <a:ln w="9525" cap="flat" cmpd="sng" algn="ctr">
              <a:solidFill>
                <a:srgbClr val="A69F9F">
                  <a:alpha val="0"/>
                </a:srgb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595454"/>
                </a:solidFill>
                <a:effectLst/>
                <a:uLnTx/>
                <a:uFillTx/>
                <a:latin typeface="Trebuchet MS" panose="020B0603020202020204"/>
                <a:ea typeface="+mn-ea"/>
                <a:cs typeface="+mn-cs"/>
              </a:endParaRPr>
            </a:p>
          </p:txBody>
        </p:sp>
        <p:sp>
          <p:nvSpPr>
            <p:cNvPr id="990" name="Speech Bubble: Rectangle 890">
              <a:extLst>
                <a:ext uri="{FF2B5EF4-FFF2-40B4-BE49-F238E27FC236}">
                  <a16:creationId xmlns:a16="http://schemas.microsoft.com/office/drawing/2014/main" id="{5C6B46B4-E6D9-8FBD-0681-FFE5261B0482}"/>
                </a:ext>
              </a:extLst>
            </p:cNvPr>
            <p:cNvSpPr/>
            <p:nvPr/>
          </p:nvSpPr>
          <p:spPr>
            <a:xfrm>
              <a:off x="4869713" y="3468983"/>
              <a:ext cx="1252800" cy="530127"/>
            </a:xfrm>
            <a:prstGeom prst="wedgeRectCallout">
              <a:avLst>
                <a:gd name="adj1" fmla="val 35733"/>
                <a:gd name="adj2" fmla="val -71597"/>
              </a:avLst>
            </a:prstGeom>
            <a:solidFill>
              <a:schemeClr val="bg1">
                <a:lumMod val="95000"/>
              </a:schemeClr>
            </a:solidFill>
            <a:ln w="25400" cap="flat" cmpd="sng" algn="ctr">
              <a:noFill/>
              <a:prstDash val="solid"/>
            </a:ln>
            <a:effectLst/>
          </p:spPr>
          <p:txBody>
            <a:bodyPr wrap="square" lIns="81000" tIns="54000" rIns="54000" bIns="54000" rtlCol="0" anchor="ctr">
              <a:spAutoFit/>
            </a:bodyPr>
            <a:lstStyle/>
            <a:p>
              <a:pPr marL="0" marR="0" lvl="0" indent="0" algn="l" defTabSz="685800" rtl="0" eaLnBrk="1" fontAlgn="ctr"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31.1</a:t>
              </a:r>
            </a:p>
            <a:p>
              <a:pPr marL="0" marR="0" lvl="0" indent="0" algn="l" defTabSz="685800" rtl="0" eaLnBrk="1" fontAlgn="ctr" latinLnBrk="0" hangingPunct="1">
                <a:lnSpc>
                  <a:spcPct val="100000"/>
                </a:lnSpc>
                <a:spcBef>
                  <a:spcPts val="0"/>
                </a:spcBef>
                <a:spcAft>
                  <a:spcPts val="0"/>
                </a:spcAft>
                <a:buClrTx/>
                <a:buSzTx/>
                <a:buFontTx/>
                <a:buNone/>
                <a:tabLst/>
                <a:defRPr/>
              </a:pPr>
              <a:r>
                <a:rPr kumimoji="0" lang="en-GB" sz="825"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edian OS</a:t>
              </a:r>
              <a:endParaRPr kumimoji="0" lang="en-GB" sz="675"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1" name="Speech Bubble: Rectangle 890">
              <a:extLst>
                <a:ext uri="{FF2B5EF4-FFF2-40B4-BE49-F238E27FC236}">
                  <a16:creationId xmlns:a16="http://schemas.microsoft.com/office/drawing/2014/main" id="{2B7A072A-E307-81BE-03F3-9A6CA2E37D33}"/>
                </a:ext>
              </a:extLst>
            </p:cNvPr>
            <p:cNvSpPr/>
            <p:nvPr/>
          </p:nvSpPr>
          <p:spPr>
            <a:xfrm>
              <a:off x="6519304" y="3567595"/>
              <a:ext cx="1252800" cy="530127"/>
            </a:xfrm>
            <a:prstGeom prst="wedgeRectCallout">
              <a:avLst>
                <a:gd name="adj1" fmla="val -43325"/>
                <a:gd name="adj2" fmla="val -96205"/>
              </a:avLst>
            </a:prstGeom>
            <a:solidFill>
              <a:schemeClr val="bg1">
                <a:lumMod val="95000"/>
              </a:schemeClr>
            </a:solidFill>
            <a:ln w="25400" cap="flat" cmpd="sng" algn="ctr">
              <a:noFill/>
              <a:prstDash val="solid"/>
            </a:ln>
            <a:effectLst/>
          </p:spPr>
          <p:txBody>
            <a:bodyPr wrap="square" lIns="81000" tIns="54000" rIns="54000" bIns="54000" rtlCol="0" anchor="ctr">
              <a:spAutoFit/>
            </a:bodyPr>
            <a:lstStyle/>
            <a:p>
              <a:pPr marL="0" marR="0" lvl="0" indent="0" algn="l" defTabSz="685800" rtl="0" eaLnBrk="1" fontAlgn="ctr"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46.0%</a:t>
              </a:r>
            </a:p>
            <a:p>
              <a:pPr marL="0" marR="0" lvl="0" indent="0" algn="l" defTabSz="685800" rtl="0" eaLnBrk="1" fontAlgn="ctr" latinLnBrk="0" hangingPunct="1">
                <a:lnSpc>
                  <a:spcPct val="100000"/>
                </a:lnSpc>
                <a:spcBef>
                  <a:spcPts val="0"/>
                </a:spcBef>
                <a:spcAft>
                  <a:spcPts val="0"/>
                </a:spcAft>
                <a:buClrTx/>
                <a:buSzTx/>
                <a:buFontTx/>
                <a:buNone/>
                <a:tabLst/>
                <a:defRPr/>
              </a:pPr>
              <a:r>
                <a:rPr kumimoji="0" lang="en-GB" sz="825"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48-Month OS </a:t>
              </a:r>
              <a:endParaRPr kumimoji="0" lang="en-GB" sz="675"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5" name="TextBox 994">
              <a:extLst>
                <a:ext uri="{FF2B5EF4-FFF2-40B4-BE49-F238E27FC236}">
                  <a16:creationId xmlns:a16="http://schemas.microsoft.com/office/drawing/2014/main" id="{28070682-9F77-499A-D3C6-F84A5CFC42BE}"/>
                </a:ext>
              </a:extLst>
            </p:cNvPr>
            <p:cNvSpPr txBox="1"/>
            <p:nvPr/>
          </p:nvSpPr>
          <p:spPr>
            <a:xfrm>
              <a:off x="7557015" y="2770928"/>
              <a:ext cx="1010331" cy="307776"/>
            </a:xfrm>
            <a:prstGeom prst="rect">
              <a:avLst/>
            </a:prstGeom>
            <a:no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458A6F"/>
                  </a:solidFill>
                  <a:effectLst/>
                  <a:uLnTx/>
                  <a:uFillTx/>
                  <a:latin typeface="Arial" panose="020B0604020202020204" pitchFamily="34" charset="0"/>
                  <a:ea typeface="+mn-ea"/>
                  <a:cs typeface="Arial" panose="020B0604020202020204" pitchFamily="34" charset="0"/>
                </a:rPr>
                <a:t>Axi-cel</a:t>
              </a:r>
              <a:endParaRPr kumimoji="0" lang="en-GB" sz="900" b="1" i="0" u="none" strike="noStrike" kern="1200" cap="none" spc="0" normalizeH="0" baseline="0" noProof="0">
                <a:ln>
                  <a:noFill/>
                </a:ln>
                <a:solidFill>
                  <a:srgbClr val="458A6F"/>
                </a:solidFill>
                <a:effectLst/>
                <a:uLnTx/>
                <a:uFillTx/>
                <a:latin typeface="Arial" panose="020B0604020202020204" pitchFamily="34" charset="0"/>
                <a:ea typeface="+mn-ea"/>
                <a:cs typeface="Arial" panose="020B0604020202020204" pitchFamily="34" charset="0"/>
              </a:endParaRPr>
            </a:p>
          </p:txBody>
        </p:sp>
        <p:sp>
          <p:nvSpPr>
            <p:cNvPr id="996" name="TextBox 995">
              <a:extLst>
                <a:ext uri="{FF2B5EF4-FFF2-40B4-BE49-F238E27FC236}">
                  <a16:creationId xmlns:a16="http://schemas.microsoft.com/office/drawing/2014/main" id="{2C91ABAB-9D1A-08D8-E010-993BA3FD14B9}"/>
                </a:ext>
              </a:extLst>
            </p:cNvPr>
            <p:cNvSpPr txBox="1"/>
            <p:nvPr/>
          </p:nvSpPr>
          <p:spPr>
            <a:xfrm>
              <a:off x="7610175" y="3461081"/>
              <a:ext cx="1010331" cy="307776"/>
            </a:xfrm>
            <a:prstGeom prst="rect">
              <a:avLst/>
            </a:prstGeom>
            <a:no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oC</a:t>
              </a:r>
              <a:endParaRPr kumimoji="0" lang="en-GB" sz="9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6" name="TextBox 1005">
              <a:extLst>
                <a:ext uri="{FF2B5EF4-FFF2-40B4-BE49-F238E27FC236}">
                  <a16:creationId xmlns:a16="http://schemas.microsoft.com/office/drawing/2014/main" id="{7B032CD7-AA24-16AC-C06A-9DD6CE6DC61E}"/>
                </a:ext>
              </a:extLst>
            </p:cNvPr>
            <p:cNvSpPr txBox="1"/>
            <p:nvPr/>
          </p:nvSpPr>
          <p:spPr>
            <a:xfrm>
              <a:off x="3385199" y="4211936"/>
              <a:ext cx="2124000" cy="338555"/>
            </a:xfrm>
            <a:prstGeom prst="rect">
              <a:avLst/>
            </a:prstGeom>
            <a:no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R= 0.73; p = 0.03 </a:t>
              </a: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B1BCFE8C-6EAC-F451-E88E-04FFC05F0F36}"/>
                </a:ext>
              </a:extLst>
            </p:cNvPr>
            <p:cNvSpPr txBox="1"/>
            <p:nvPr/>
          </p:nvSpPr>
          <p:spPr>
            <a:xfrm>
              <a:off x="3409695" y="4917073"/>
              <a:ext cx="5183999" cy="338555"/>
            </a:xfrm>
            <a:prstGeom prst="rect">
              <a:avLst/>
            </a:prstGeom>
            <a:noFill/>
          </p:spPr>
          <p:txBody>
            <a:bodyPr wrap="square" rtlCol="0" anchor="ctr">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Time, months</a:t>
              </a:r>
            </a:p>
          </p:txBody>
        </p:sp>
        <p:sp>
          <p:nvSpPr>
            <p:cNvPr id="8" name="Speech Bubble: Rectangle 890">
              <a:extLst>
                <a:ext uri="{FF2B5EF4-FFF2-40B4-BE49-F238E27FC236}">
                  <a16:creationId xmlns:a16="http://schemas.microsoft.com/office/drawing/2014/main" id="{EB5256A5-C412-53FD-D14A-614A26BA324C}"/>
                </a:ext>
              </a:extLst>
            </p:cNvPr>
            <p:cNvSpPr/>
            <p:nvPr/>
          </p:nvSpPr>
          <p:spPr>
            <a:xfrm>
              <a:off x="5552736" y="2230072"/>
              <a:ext cx="1252800" cy="530127"/>
            </a:xfrm>
            <a:prstGeom prst="wedgeRectCallout">
              <a:avLst>
                <a:gd name="adj1" fmla="val 31194"/>
                <a:gd name="adj2" fmla="val 78264"/>
              </a:avLst>
            </a:prstGeom>
            <a:solidFill>
              <a:schemeClr val="accent6">
                <a:lumMod val="20000"/>
                <a:lumOff val="80000"/>
              </a:schemeClr>
            </a:solidFill>
            <a:ln w="25400" cap="flat" cmpd="sng" algn="ctr">
              <a:noFill/>
              <a:prstDash val="solid"/>
            </a:ln>
            <a:effectLst/>
          </p:spPr>
          <p:txBody>
            <a:bodyPr wrap="square" lIns="81000" tIns="54000" rIns="54000" bIns="54000" rtlCol="0" anchor="ctr">
              <a:spAutoFit/>
            </a:bodyPr>
            <a:lstStyle/>
            <a:p>
              <a:pPr marL="0" marR="0" lvl="0" indent="0" algn="l" defTabSz="685800" rtl="0" eaLnBrk="1" fontAlgn="ctr"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4.6%</a:t>
              </a:r>
            </a:p>
            <a:p>
              <a:pPr marL="0" marR="0" lvl="0" indent="0" algn="l" defTabSz="685800" rtl="0" eaLnBrk="1" fontAlgn="ctr" latinLnBrk="0" hangingPunct="1">
                <a:lnSpc>
                  <a:spcPct val="100000"/>
                </a:lnSpc>
                <a:spcBef>
                  <a:spcPts val="0"/>
                </a:spcBef>
                <a:spcAft>
                  <a:spcPts val="0"/>
                </a:spcAft>
                <a:buClrTx/>
                <a:buSzTx/>
                <a:buFontTx/>
                <a:buNone/>
                <a:tabLst/>
                <a:defRPr/>
              </a:pPr>
              <a:r>
                <a:rPr kumimoji="0" lang="en-GB" sz="825"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8-Month OS </a:t>
              </a:r>
              <a:endParaRPr kumimoji="0" lang="en-GB" sz="675"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4" name="Line 15">
              <a:extLst>
                <a:ext uri="{FF2B5EF4-FFF2-40B4-BE49-F238E27FC236}">
                  <a16:creationId xmlns:a16="http://schemas.microsoft.com/office/drawing/2014/main" id="{1DBF6675-8F42-70A8-5623-C615ED521724}"/>
                </a:ext>
              </a:extLst>
            </p:cNvPr>
            <p:cNvSpPr>
              <a:spLocks noChangeShapeType="1"/>
            </p:cNvSpPr>
            <p:nvPr/>
          </p:nvSpPr>
          <p:spPr bwMode="auto">
            <a:xfrm>
              <a:off x="5112872" y="2740614"/>
              <a:ext cx="0" cy="54907"/>
            </a:xfrm>
            <a:prstGeom prst="line">
              <a:avLst/>
            </a:prstGeom>
            <a:noFill/>
            <a:ln w="12700" cap="flat">
              <a:solidFill>
                <a:srgbClr val="458A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88"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905" name="Line 16">
              <a:extLst>
                <a:ext uri="{FF2B5EF4-FFF2-40B4-BE49-F238E27FC236}">
                  <a16:creationId xmlns:a16="http://schemas.microsoft.com/office/drawing/2014/main" id="{AD98A1DB-63FE-3F70-EEA9-0998DF8B33B3}"/>
                </a:ext>
              </a:extLst>
            </p:cNvPr>
            <p:cNvSpPr>
              <a:spLocks noChangeShapeType="1"/>
            </p:cNvSpPr>
            <p:nvPr/>
          </p:nvSpPr>
          <p:spPr bwMode="auto">
            <a:xfrm>
              <a:off x="5093189" y="2766968"/>
              <a:ext cx="39365" cy="0"/>
            </a:xfrm>
            <a:prstGeom prst="line">
              <a:avLst/>
            </a:prstGeom>
            <a:noFill/>
            <a:ln w="12700" cap="flat">
              <a:solidFill>
                <a:srgbClr val="458A6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88"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grpSp>
          <p:nvGrpSpPr>
            <p:cNvPr id="1163" name="Group 1162">
              <a:extLst>
                <a:ext uri="{FF2B5EF4-FFF2-40B4-BE49-F238E27FC236}">
                  <a16:creationId xmlns:a16="http://schemas.microsoft.com/office/drawing/2014/main" id="{B88D9791-6D8E-CC4B-9B01-D10ADEED7065}"/>
                </a:ext>
              </a:extLst>
            </p:cNvPr>
            <p:cNvGrpSpPr/>
            <p:nvPr/>
          </p:nvGrpSpPr>
          <p:grpSpPr>
            <a:xfrm>
              <a:off x="7545097" y="3259820"/>
              <a:ext cx="993511" cy="183052"/>
              <a:chOff x="8855074" y="2907839"/>
              <a:chExt cx="1425463" cy="178615"/>
            </a:xfrm>
          </p:grpSpPr>
          <p:sp>
            <p:nvSpPr>
              <p:cNvPr id="1374" name="Graphic 1300">
                <a:extLst>
                  <a:ext uri="{FF2B5EF4-FFF2-40B4-BE49-F238E27FC236}">
                    <a16:creationId xmlns:a16="http://schemas.microsoft.com/office/drawing/2014/main" id="{D10B0A8E-296A-8D7B-A81B-4CC18141EF32}"/>
                  </a:ext>
                </a:extLst>
              </p:cNvPr>
              <p:cNvSpPr/>
              <p:nvPr/>
            </p:nvSpPr>
            <p:spPr>
              <a:xfrm>
                <a:off x="8855074" y="2954665"/>
                <a:ext cx="1389240" cy="87711"/>
              </a:xfrm>
              <a:custGeom>
                <a:avLst/>
                <a:gdLst>
                  <a:gd name="connsiteX0" fmla="*/ 0 w 3810952"/>
                  <a:gd name="connsiteY0" fmla="*/ 0 h 608171"/>
                  <a:gd name="connsiteX1" fmla="*/ 113538 w 3810952"/>
                  <a:gd name="connsiteY1" fmla="*/ 0 h 608171"/>
                  <a:gd name="connsiteX2" fmla="*/ 113538 w 3810952"/>
                  <a:gd name="connsiteY2" fmla="*/ 5906 h 608171"/>
                  <a:gd name="connsiteX3" fmla="*/ 153543 w 3810952"/>
                  <a:gd name="connsiteY3" fmla="*/ 5906 h 608171"/>
                  <a:gd name="connsiteX4" fmla="*/ 153543 w 3810952"/>
                  <a:gd name="connsiteY4" fmla="*/ 12002 h 608171"/>
                  <a:gd name="connsiteX5" fmla="*/ 161925 w 3810952"/>
                  <a:gd name="connsiteY5" fmla="*/ 12002 h 608171"/>
                  <a:gd name="connsiteX6" fmla="*/ 161925 w 3810952"/>
                  <a:gd name="connsiteY6" fmla="*/ 18002 h 608171"/>
                  <a:gd name="connsiteX7" fmla="*/ 172498 w 3810952"/>
                  <a:gd name="connsiteY7" fmla="*/ 18002 h 608171"/>
                  <a:gd name="connsiteX8" fmla="*/ 172498 w 3810952"/>
                  <a:gd name="connsiteY8" fmla="*/ 24003 h 608171"/>
                  <a:gd name="connsiteX9" fmla="*/ 222980 w 3810952"/>
                  <a:gd name="connsiteY9" fmla="*/ 24003 h 608171"/>
                  <a:gd name="connsiteX10" fmla="*/ 222980 w 3810952"/>
                  <a:gd name="connsiteY10" fmla="*/ 30099 h 608171"/>
                  <a:gd name="connsiteX11" fmla="*/ 231362 w 3810952"/>
                  <a:gd name="connsiteY11" fmla="*/ 30099 h 608171"/>
                  <a:gd name="connsiteX12" fmla="*/ 231362 w 3810952"/>
                  <a:gd name="connsiteY12" fmla="*/ 42196 h 608171"/>
                  <a:gd name="connsiteX13" fmla="*/ 237649 w 3810952"/>
                  <a:gd name="connsiteY13" fmla="*/ 42196 h 608171"/>
                  <a:gd name="connsiteX14" fmla="*/ 237649 w 3810952"/>
                  <a:gd name="connsiteY14" fmla="*/ 48292 h 608171"/>
                  <a:gd name="connsiteX15" fmla="*/ 241840 w 3810952"/>
                  <a:gd name="connsiteY15" fmla="*/ 48292 h 608171"/>
                  <a:gd name="connsiteX16" fmla="*/ 241840 w 3810952"/>
                  <a:gd name="connsiteY16" fmla="*/ 54388 h 608171"/>
                  <a:gd name="connsiteX17" fmla="*/ 246031 w 3810952"/>
                  <a:gd name="connsiteY17" fmla="*/ 54388 h 608171"/>
                  <a:gd name="connsiteX18" fmla="*/ 246031 w 3810952"/>
                  <a:gd name="connsiteY18" fmla="*/ 60484 h 608171"/>
                  <a:gd name="connsiteX19" fmla="*/ 248126 w 3810952"/>
                  <a:gd name="connsiteY19" fmla="*/ 60484 h 608171"/>
                  <a:gd name="connsiteX20" fmla="*/ 248126 w 3810952"/>
                  <a:gd name="connsiteY20" fmla="*/ 66485 h 608171"/>
                  <a:gd name="connsiteX21" fmla="*/ 250317 w 3810952"/>
                  <a:gd name="connsiteY21" fmla="*/ 66485 h 608171"/>
                  <a:gd name="connsiteX22" fmla="*/ 250317 w 3810952"/>
                  <a:gd name="connsiteY22" fmla="*/ 72581 h 608171"/>
                  <a:gd name="connsiteX23" fmla="*/ 260794 w 3810952"/>
                  <a:gd name="connsiteY23" fmla="*/ 72581 h 608171"/>
                  <a:gd name="connsiteX24" fmla="*/ 260794 w 3810952"/>
                  <a:gd name="connsiteY24" fmla="*/ 78677 h 608171"/>
                  <a:gd name="connsiteX25" fmla="*/ 267081 w 3810952"/>
                  <a:gd name="connsiteY25" fmla="*/ 78677 h 608171"/>
                  <a:gd name="connsiteX26" fmla="*/ 267081 w 3810952"/>
                  <a:gd name="connsiteY26" fmla="*/ 84677 h 608171"/>
                  <a:gd name="connsiteX27" fmla="*/ 281845 w 3810952"/>
                  <a:gd name="connsiteY27" fmla="*/ 84677 h 608171"/>
                  <a:gd name="connsiteX28" fmla="*/ 281845 w 3810952"/>
                  <a:gd name="connsiteY28" fmla="*/ 90773 h 608171"/>
                  <a:gd name="connsiteX29" fmla="*/ 290227 w 3810952"/>
                  <a:gd name="connsiteY29" fmla="*/ 90773 h 608171"/>
                  <a:gd name="connsiteX30" fmla="*/ 290227 w 3810952"/>
                  <a:gd name="connsiteY30" fmla="*/ 96869 h 608171"/>
                  <a:gd name="connsiteX31" fmla="*/ 300800 w 3810952"/>
                  <a:gd name="connsiteY31" fmla="*/ 96869 h 608171"/>
                  <a:gd name="connsiteX32" fmla="*/ 300800 w 3810952"/>
                  <a:gd name="connsiteY32" fmla="*/ 102870 h 608171"/>
                  <a:gd name="connsiteX33" fmla="*/ 313373 w 3810952"/>
                  <a:gd name="connsiteY33" fmla="*/ 102870 h 608171"/>
                  <a:gd name="connsiteX34" fmla="*/ 313373 w 3810952"/>
                  <a:gd name="connsiteY34" fmla="*/ 108966 h 608171"/>
                  <a:gd name="connsiteX35" fmla="*/ 319659 w 3810952"/>
                  <a:gd name="connsiteY35" fmla="*/ 108966 h 608171"/>
                  <a:gd name="connsiteX36" fmla="*/ 319659 w 3810952"/>
                  <a:gd name="connsiteY36" fmla="*/ 121063 h 608171"/>
                  <a:gd name="connsiteX37" fmla="*/ 323850 w 3810952"/>
                  <a:gd name="connsiteY37" fmla="*/ 121063 h 608171"/>
                  <a:gd name="connsiteX38" fmla="*/ 323850 w 3810952"/>
                  <a:gd name="connsiteY38" fmla="*/ 127159 h 608171"/>
                  <a:gd name="connsiteX39" fmla="*/ 336518 w 3810952"/>
                  <a:gd name="connsiteY39" fmla="*/ 127159 h 608171"/>
                  <a:gd name="connsiteX40" fmla="*/ 336518 w 3810952"/>
                  <a:gd name="connsiteY40" fmla="*/ 133255 h 608171"/>
                  <a:gd name="connsiteX41" fmla="*/ 351187 w 3810952"/>
                  <a:gd name="connsiteY41" fmla="*/ 133255 h 608171"/>
                  <a:gd name="connsiteX42" fmla="*/ 351187 w 3810952"/>
                  <a:gd name="connsiteY42" fmla="*/ 139256 h 608171"/>
                  <a:gd name="connsiteX43" fmla="*/ 355473 w 3810952"/>
                  <a:gd name="connsiteY43" fmla="*/ 139256 h 608171"/>
                  <a:gd name="connsiteX44" fmla="*/ 355473 w 3810952"/>
                  <a:gd name="connsiteY44" fmla="*/ 145352 h 608171"/>
                  <a:gd name="connsiteX45" fmla="*/ 365950 w 3810952"/>
                  <a:gd name="connsiteY45" fmla="*/ 145352 h 608171"/>
                  <a:gd name="connsiteX46" fmla="*/ 365950 w 3810952"/>
                  <a:gd name="connsiteY46" fmla="*/ 151448 h 608171"/>
                  <a:gd name="connsiteX47" fmla="*/ 374333 w 3810952"/>
                  <a:gd name="connsiteY47" fmla="*/ 151448 h 608171"/>
                  <a:gd name="connsiteX48" fmla="*/ 374333 w 3810952"/>
                  <a:gd name="connsiteY48" fmla="*/ 157544 h 608171"/>
                  <a:gd name="connsiteX49" fmla="*/ 389096 w 3810952"/>
                  <a:gd name="connsiteY49" fmla="*/ 157544 h 608171"/>
                  <a:gd name="connsiteX50" fmla="*/ 389096 w 3810952"/>
                  <a:gd name="connsiteY50" fmla="*/ 163544 h 608171"/>
                  <a:gd name="connsiteX51" fmla="*/ 393287 w 3810952"/>
                  <a:gd name="connsiteY51" fmla="*/ 163544 h 608171"/>
                  <a:gd name="connsiteX52" fmla="*/ 393287 w 3810952"/>
                  <a:gd name="connsiteY52" fmla="*/ 169640 h 608171"/>
                  <a:gd name="connsiteX53" fmla="*/ 397478 w 3810952"/>
                  <a:gd name="connsiteY53" fmla="*/ 169640 h 608171"/>
                  <a:gd name="connsiteX54" fmla="*/ 397478 w 3810952"/>
                  <a:gd name="connsiteY54" fmla="*/ 175736 h 608171"/>
                  <a:gd name="connsiteX55" fmla="*/ 410147 w 3810952"/>
                  <a:gd name="connsiteY55" fmla="*/ 175736 h 608171"/>
                  <a:gd name="connsiteX56" fmla="*/ 410147 w 3810952"/>
                  <a:gd name="connsiteY56" fmla="*/ 181737 h 608171"/>
                  <a:gd name="connsiteX57" fmla="*/ 439579 w 3810952"/>
                  <a:gd name="connsiteY57" fmla="*/ 181737 h 608171"/>
                  <a:gd name="connsiteX58" fmla="*/ 439579 w 3810952"/>
                  <a:gd name="connsiteY58" fmla="*/ 187833 h 608171"/>
                  <a:gd name="connsiteX59" fmla="*/ 447961 w 3810952"/>
                  <a:gd name="connsiteY59" fmla="*/ 187833 h 608171"/>
                  <a:gd name="connsiteX60" fmla="*/ 447961 w 3810952"/>
                  <a:gd name="connsiteY60" fmla="*/ 193929 h 608171"/>
                  <a:gd name="connsiteX61" fmla="*/ 450056 w 3810952"/>
                  <a:gd name="connsiteY61" fmla="*/ 193929 h 608171"/>
                  <a:gd name="connsiteX62" fmla="*/ 450056 w 3810952"/>
                  <a:gd name="connsiteY62" fmla="*/ 199930 h 608171"/>
                  <a:gd name="connsiteX63" fmla="*/ 464820 w 3810952"/>
                  <a:gd name="connsiteY63" fmla="*/ 199930 h 608171"/>
                  <a:gd name="connsiteX64" fmla="*/ 464820 w 3810952"/>
                  <a:gd name="connsiteY64" fmla="*/ 212122 h 608171"/>
                  <a:gd name="connsiteX65" fmla="*/ 466916 w 3810952"/>
                  <a:gd name="connsiteY65" fmla="*/ 212122 h 608171"/>
                  <a:gd name="connsiteX66" fmla="*/ 466916 w 3810952"/>
                  <a:gd name="connsiteY66" fmla="*/ 218123 h 608171"/>
                  <a:gd name="connsiteX67" fmla="*/ 473202 w 3810952"/>
                  <a:gd name="connsiteY67" fmla="*/ 218123 h 608171"/>
                  <a:gd name="connsiteX68" fmla="*/ 473202 w 3810952"/>
                  <a:gd name="connsiteY68" fmla="*/ 224219 h 608171"/>
                  <a:gd name="connsiteX69" fmla="*/ 477393 w 3810952"/>
                  <a:gd name="connsiteY69" fmla="*/ 224219 h 608171"/>
                  <a:gd name="connsiteX70" fmla="*/ 477393 w 3810952"/>
                  <a:gd name="connsiteY70" fmla="*/ 230315 h 608171"/>
                  <a:gd name="connsiteX71" fmla="*/ 494252 w 3810952"/>
                  <a:gd name="connsiteY71" fmla="*/ 230315 h 608171"/>
                  <a:gd name="connsiteX72" fmla="*/ 494252 w 3810952"/>
                  <a:gd name="connsiteY72" fmla="*/ 242411 h 608171"/>
                  <a:gd name="connsiteX73" fmla="*/ 498443 w 3810952"/>
                  <a:gd name="connsiteY73" fmla="*/ 242411 h 608171"/>
                  <a:gd name="connsiteX74" fmla="*/ 498443 w 3810952"/>
                  <a:gd name="connsiteY74" fmla="*/ 248507 h 608171"/>
                  <a:gd name="connsiteX75" fmla="*/ 521589 w 3810952"/>
                  <a:gd name="connsiteY75" fmla="*/ 248507 h 608171"/>
                  <a:gd name="connsiteX76" fmla="*/ 521589 w 3810952"/>
                  <a:gd name="connsiteY76" fmla="*/ 254603 h 608171"/>
                  <a:gd name="connsiteX77" fmla="*/ 525780 w 3810952"/>
                  <a:gd name="connsiteY77" fmla="*/ 254603 h 608171"/>
                  <a:gd name="connsiteX78" fmla="*/ 525780 w 3810952"/>
                  <a:gd name="connsiteY78" fmla="*/ 260604 h 608171"/>
                  <a:gd name="connsiteX79" fmla="*/ 532067 w 3810952"/>
                  <a:gd name="connsiteY79" fmla="*/ 260604 h 608171"/>
                  <a:gd name="connsiteX80" fmla="*/ 532067 w 3810952"/>
                  <a:gd name="connsiteY80" fmla="*/ 272796 h 608171"/>
                  <a:gd name="connsiteX81" fmla="*/ 551021 w 3810952"/>
                  <a:gd name="connsiteY81" fmla="*/ 272796 h 608171"/>
                  <a:gd name="connsiteX82" fmla="*/ 551021 w 3810952"/>
                  <a:gd name="connsiteY82" fmla="*/ 278797 h 608171"/>
                  <a:gd name="connsiteX83" fmla="*/ 559403 w 3810952"/>
                  <a:gd name="connsiteY83" fmla="*/ 278797 h 608171"/>
                  <a:gd name="connsiteX84" fmla="*/ 559403 w 3810952"/>
                  <a:gd name="connsiteY84" fmla="*/ 284893 h 608171"/>
                  <a:gd name="connsiteX85" fmla="*/ 572072 w 3810952"/>
                  <a:gd name="connsiteY85" fmla="*/ 284893 h 608171"/>
                  <a:gd name="connsiteX86" fmla="*/ 572072 w 3810952"/>
                  <a:gd name="connsiteY86" fmla="*/ 290989 h 608171"/>
                  <a:gd name="connsiteX87" fmla="*/ 588931 w 3810952"/>
                  <a:gd name="connsiteY87" fmla="*/ 290989 h 608171"/>
                  <a:gd name="connsiteX88" fmla="*/ 588931 w 3810952"/>
                  <a:gd name="connsiteY88" fmla="*/ 296990 h 608171"/>
                  <a:gd name="connsiteX89" fmla="*/ 616268 w 3810952"/>
                  <a:gd name="connsiteY89" fmla="*/ 296990 h 608171"/>
                  <a:gd name="connsiteX90" fmla="*/ 616268 w 3810952"/>
                  <a:gd name="connsiteY90" fmla="*/ 303086 h 608171"/>
                  <a:gd name="connsiteX91" fmla="*/ 618363 w 3810952"/>
                  <a:gd name="connsiteY91" fmla="*/ 303086 h 608171"/>
                  <a:gd name="connsiteX92" fmla="*/ 618363 w 3810952"/>
                  <a:gd name="connsiteY92" fmla="*/ 309182 h 608171"/>
                  <a:gd name="connsiteX93" fmla="*/ 628840 w 3810952"/>
                  <a:gd name="connsiteY93" fmla="*/ 309182 h 608171"/>
                  <a:gd name="connsiteX94" fmla="*/ 628840 w 3810952"/>
                  <a:gd name="connsiteY94" fmla="*/ 315182 h 608171"/>
                  <a:gd name="connsiteX95" fmla="*/ 635127 w 3810952"/>
                  <a:gd name="connsiteY95" fmla="*/ 315182 h 608171"/>
                  <a:gd name="connsiteX96" fmla="*/ 635127 w 3810952"/>
                  <a:gd name="connsiteY96" fmla="*/ 327374 h 608171"/>
                  <a:gd name="connsiteX97" fmla="*/ 643604 w 3810952"/>
                  <a:gd name="connsiteY97" fmla="*/ 327374 h 608171"/>
                  <a:gd name="connsiteX98" fmla="*/ 643604 w 3810952"/>
                  <a:gd name="connsiteY98" fmla="*/ 333375 h 608171"/>
                  <a:gd name="connsiteX99" fmla="*/ 649891 w 3810952"/>
                  <a:gd name="connsiteY99" fmla="*/ 333375 h 608171"/>
                  <a:gd name="connsiteX100" fmla="*/ 649891 w 3810952"/>
                  <a:gd name="connsiteY100" fmla="*/ 345567 h 608171"/>
                  <a:gd name="connsiteX101" fmla="*/ 651986 w 3810952"/>
                  <a:gd name="connsiteY101" fmla="*/ 345567 h 608171"/>
                  <a:gd name="connsiteX102" fmla="*/ 651986 w 3810952"/>
                  <a:gd name="connsiteY102" fmla="*/ 351663 h 608171"/>
                  <a:gd name="connsiteX103" fmla="*/ 664559 w 3810952"/>
                  <a:gd name="connsiteY103" fmla="*/ 351663 h 608171"/>
                  <a:gd name="connsiteX104" fmla="*/ 664559 w 3810952"/>
                  <a:gd name="connsiteY104" fmla="*/ 357664 h 608171"/>
                  <a:gd name="connsiteX105" fmla="*/ 687705 w 3810952"/>
                  <a:gd name="connsiteY105" fmla="*/ 357664 h 608171"/>
                  <a:gd name="connsiteX106" fmla="*/ 687705 w 3810952"/>
                  <a:gd name="connsiteY106" fmla="*/ 363760 h 608171"/>
                  <a:gd name="connsiteX107" fmla="*/ 694087 w 3810952"/>
                  <a:gd name="connsiteY107" fmla="*/ 363760 h 608171"/>
                  <a:gd name="connsiteX108" fmla="*/ 694087 w 3810952"/>
                  <a:gd name="connsiteY108" fmla="*/ 369856 h 608171"/>
                  <a:gd name="connsiteX109" fmla="*/ 702469 w 3810952"/>
                  <a:gd name="connsiteY109" fmla="*/ 369856 h 608171"/>
                  <a:gd name="connsiteX110" fmla="*/ 702469 w 3810952"/>
                  <a:gd name="connsiteY110" fmla="*/ 375857 h 608171"/>
                  <a:gd name="connsiteX111" fmla="*/ 710851 w 3810952"/>
                  <a:gd name="connsiteY111" fmla="*/ 375857 h 608171"/>
                  <a:gd name="connsiteX112" fmla="*/ 710851 w 3810952"/>
                  <a:gd name="connsiteY112" fmla="*/ 381953 h 608171"/>
                  <a:gd name="connsiteX113" fmla="*/ 715042 w 3810952"/>
                  <a:gd name="connsiteY113" fmla="*/ 381953 h 608171"/>
                  <a:gd name="connsiteX114" fmla="*/ 715042 w 3810952"/>
                  <a:gd name="connsiteY114" fmla="*/ 388049 h 608171"/>
                  <a:gd name="connsiteX115" fmla="*/ 788670 w 3810952"/>
                  <a:gd name="connsiteY115" fmla="*/ 388049 h 608171"/>
                  <a:gd name="connsiteX116" fmla="*/ 788670 w 3810952"/>
                  <a:gd name="connsiteY116" fmla="*/ 394049 h 608171"/>
                  <a:gd name="connsiteX117" fmla="*/ 809720 w 3810952"/>
                  <a:gd name="connsiteY117" fmla="*/ 394049 h 608171"/>
                  <a:gd name="connsiteX118" fmla="*/ 809720 w 3810952"/>
                  <a:gd name="connsiteY118" fmla="*/ 400145 h 608171"/>
                  <a:gd name="connsiteX119" fmla="*/ 816007 w 3810952"/>
                  <a:gd name="connsiteY119" fmla="*/ 400145 h 608171"/>
                  <a:gd name="connsiteX120" fmla="*/ 816007 w 3810952"/>
                  <a:gd name="connsiteY120" fmla="*/ 406241 h 608171"/>
                  <a:gd name="connsiteX121" fmla="*/ 858107 w 3810952"/>
                  <a:gd name="connsiteY121" fmla="*/ 406241 h 608171"/>
                  <a:gd name="connsiteX122" fmla="*/ 858107 w 3810952"/>
                  <a:gd name="connsiteY122" fmla="*/ 412242 h 608171"/>
                  <a:gd name="connsiteX123" fmla="*/ 872776 w 3810952"/>
                  <a:gd name="connsiteY123" fmla="*/ 412242 h 608171"/>
                  <a:gd name="connsiteX124" fmla="*/ 872776 w 3810952"/>
                  <a:gd name="connsiteY124" fmla="*/ 418338 h 608171"/>
                  <a:gd name="connsiteX125" fmla="*/ 902303 w 3810952"/>
                  <a:gd name="connsiteY125" fmla="*/ 418338 h 608171"/>
                  <a:gd name="connsiteX126" fmla="*/ 902303 w 3810952"/>
                  <a:gd name="connsiteY126" fmla="*/ 424434 h 608171"/>
                  <a:gd name="connsiteX127" fmla="*/ 904399 w 3810952"/>
                  <a:gd name="connsiteY127" fmla="*/ 424434 h 608171"/>
                  <a:gd name="connsiteX128" fmla="*/ 904399 w 3810952"/>
                  <a:gd name="connsiteY128" fmla="*/ 430435 h 608171"/>
                  <a:gd name="connsiteX129" fmla="*/ 927449 w 3810952"/>
                  <a:gd name="connsiteY129" fmla="*/ 430435 h 608171"/>
                  <a:gd name="connsiteX130" fmla="*/ 927449 w 3810952"/>
                  <a:gd name="connsiteY130" fmla="*/ 436531 h 608171"/>
                  <a:gd name="connsiteX131" fmla="*/ 940118 w 3810952"/>
                  <a:gd name="connsiteY131" fmla="*/ 436531 h 608171"/>
                  <a:gd name="connsiteX132" fmla="*/ 940118 w 3810952"/>
                  <a:gd name="connsiteY132" fmla="*/ 442627 h 608171"/>
                  <a:gd name="connsiteX133" fmla="*/ 975836 w 3810952"/>
                  <a:gd name="connsiteY133" fmla="*/ 442627 h 608171"/>
                  <a:gd name="connsiteX134" fmla="*/ 975836 w 3810952"/>
                  <a:gd name="connsiteY134" fmla="*/ 448723 h 608171"/>
                  <a:gd name="connsiteX135" fmla="*/ 1091565 w 3810952"/>
                  <a:gd name="connsiteY135" fmla="*/ 448723 h 608171"/>
                  <a:gd name="connsiteX136" fmla="*/ 1091565 w 3810952"/>
                  <a:gd name="connsiteY136" fmla="*/ 454724 h 608171"/>
                  <a:gd name="connsiteX137" fmla="*/ 1129379 w 3810952"/>
                  <a:gd name="connsiteY137" fmla="*/ 454724 h 608171"/>
                  <a:gd name="connsiteX138" fmla="*/ 1129379 w 3810952"/>
                  <a:gd name="connsiteY138" fmla="*/ 460915 h 608171"/>
                  <a:gd name="connsiteX139" fmla="*/ 1181957 w 3810952"/>
                  <a:gd name="connsiteY139" fmla="*/ 460915 h 608171"/>
                  <a:gd name="connsiteX140" fmla="*/ 1181957 w 3810952"/>
                  <a:gd name="connsiteY140" fmla="*/ 467011 h 608171"/>
                  <a:gd name="connsiteX141" fmla="*/ 1200912 w 3810952"/>
                  <a:gd name="connsiteY141" fmla="*/ 467011 h 608171"/>
                  <a:gd name="connsiteX142" fmla="*/ 1200912 w 3810952"/>
                  <a:gd name="connsiteY142" fmla="*/ 473107 h 608171"/>
                  <a:gd name="connsiteX143" fmla="*/ 1211390 w 3810952"/>
                  <a:gd name="connsiteY143" fmla="*/ 473107 h 608171"/>
                  <a:gd name="connsiteX144" fmla="*/ 1211390 w 3810952"/>
                  <a:gd name="connsiteY144" fmla="*/ 479298 h 608171"/>
                  <a:gd name="connsiteX145" fmla="*/ 1245108 w 3810952"/>
                  <a:gd name="connsiteY145" fmla="*/ 479298 h 608171"/>
                  <a:gd name="connsiteX146" fmla="*/ 1245108 w 3810952"/>
                  <a:gd name="connsiteY146" fmla="*/ 485394 h 608171"/>
                  <a:gd name="connsiteX147" fmla="*/ 1251395 w 3810952"/>
                  <a:gd name="connsiteY147" fmla="*/ 485394 h 608171"/>
                  <a:gd name="connsiteX148" fmla="*/ 1251395 w 3810952"/>
                  <a:gd name="connsiteY148" fmla="*/ 491490 h 608171"/>
                  <a:gd name="connsiteX149" fmla="*/ 1266063 w 3810952"/>
                  <a:gd name="connsiteY149" fmla="*/ 491490 h 608171"/>
                  <a:gd name="connsiteX150" fmla="*/ 1266063 w 3810952"/>
                  <a:gd name="connsiteY150" fmla="*/ 497586 h 608171"/>
                  <a:gd name="connsiteX151" fmla="*/ 1278731 w 3810952"/>
                  <a:gd name="connsiteY151" fmla="*/ 497586 h 608171"/>
                  <a:gd name="connsiteX152" fmla="*/ 1278731 w 3810952"/>
                  <a:gd name="connsiteY152" fmla="*/ 503777 h 608171"/>
                  <a:gd name="connsiteX153" fmla="*/ 1303973 w 3810952"/>
                  <a:gd name="connsiteY153" fmla="*/ 503777 h 608171"/>
                  <a:gd name="connsiteX154" fmla="*/ 1303973 w 3810952"/>
                  <a:gd name="connsiteY154" fmla="*/ 509873 h 608171"/>
                  <a:gd name="connsiteX155" fmla="*/ 1533239 w 3810952"/>
                  <a:gd name="connsiteY155" fmla="*/ 509873 h 608171"/>
                  <a:gd name="connsiteX156" fmla="*/ 1533239 w 3810952"/>
                  <a:gd name="connsiteY156" fmla="*/ 516065 h 608171"/>
                  <a:gd name="connsiteX157" fmla="*/ 1646777 w 3810952"/>
                  <a:gd name="connsiteY157" fmla="*/ 516065 h 608171"/>
                  <a:gd name="connsiteX158" fmla="*/ 1646777 w 3810952"/>
                  <a:gd name="connsiteY158" fmla="*/ 522256 h 608171"/>
                  <a:gd name="connsiteX159" fmla="*/ 1915954 w 3810952"/>
                  <a:gd name="connsiteY159" fmla="*/ 522256 h 608171"/>
                  <a:gd name="connsiteX160" fmla="*/ 1915954 w 3810952"/>
                  <a:gd name="connsiteY160" fmla="*/ 528542 h 608171"/>
                  <a:gd name="connsiteX161" fmla="*/ 1989582 w 3810952"/>
                  <a:gd name="connsiteY161" fmla="*/ 528542 h 608171"/>
                  <a:gd name="connsiteX162" fmla="*/ 1989582 w 3810952"/>
                  <a:gd name="connsiteY162" fmla="*/ 534829 h 608171"/>
                  <a:gd name="connsiteX163" fmla="*/ 2069497 w 3810952"/>
                  <a:gd name="connsiteY163" fmla="*/ 534829 h 608171"/>
                  <a:gd name="connsiteX164" fmla="*/ 2069497 w 3810952"/>
                  <a:gd name="connsiteY164" fmla="*/ 541115 h 608171"/>
                  <a:gd name="connsiteX165" fmla="*/ 2231422 w 3810952"/>
                  <a:gd name="connsiteY165" fmla="*/ 541115 h 608171"/>
                  <a:gd name="connsiteX166" fmla="*/ 2231422 w 3810952"/>
                  <a:gd name="connsiteY166" fmla="*/ 547592 h 608171"/>
                  <a:gd name="connsiteX167" fmla="*/ 2248281 w 3810952"/>
                  <a:gd name="connsiteY167" fmla="*/ 547592 h 608171"/>
                  <a:gd name="connsiteX168" fmla="*/ 2248281 w 3810952"/>
                  <a:gd name="connsiteY168" fmla="*/ 553974 h 608171"/>
                  <a:gd name="connsiteX169" fmla="*/ 2366105 w 3810952"/>
                  <a:gd name="connsiteY169" fmla="*/ 553974 h 608171"/>
                  <a:gd name="connsiteX170" fmla="*/ 2366105 w 3810952"/>
                  <a:gd name="connsiteY170" fmla="*/ 560451 h 608171"/>
                  <a:gd name="connsiteX171" fmla="*/ 2458593 w 3810952"/>
                  <a:gd name="connsiteY171" fmla="*/ 560451 h 608171"/>
                  <a:gd name="connsiteX172" fmla="*/ 2458593 w 3810952"/>
                  <a:gd name="connsiteY172" fmla="*/ 566833 h 608171"/>
                  <a:gd name="connsiteX173" fmla="*/ 2477548 w 3810952"/>
                  <a:gd name="connsiteY173" fmla="*/ 566833 h 608171"/>
                  <a:gd name="connsiteX174" fmla="*/ 2477548 w 3810952"/>
                  <a:gd name="connsiteY174" fmla="*/ 573310 h 608171"/>
                  <a:gd name="connsiteX175" fmla="*/ 3331369 w 3810952"/>
                  <a:gd name="connsiteY175" fmla="*/ 573310 h 608171"/>
                  <a:gd name="connsiteX176" fmla="*/ 3331369 w 3810952"/>
                  <a:gd name="connsiteY176" fmla="*/ 608171 h 608171"/>
                  <a:gd name="connsiteX177" fmla="*/ 3810953 w 3810952"/>
                  <a:gd name="connsiteY177" fmla="*/ 608171 h 608171"/>
                  <a:gd name="connsiteX0" fmla="*/ 0 w 3697415"/>
                  <a:gd name="connsiteY0" fmla="*/ 0 h 608171"/>
                  <a:gd name="connsiteX1" fmla="*/ 0 w 3697415"/>
                  <a:gd name="connsiteY1" fmla="*/ 5906 h 608171"/>
                  <a:gd name="connsiteX2" fmla="*/ 40005 w 3697415"/>
                  <a:gd name="connsiteY2" fmla="*/ 5906 h 608171"/>
                  <a:gd name="connsiteX3" fmla="*/ 40005 w 3697415"/>
                  <a:gd name="connsiteY3" fmla="*/ 12002 h 608171"/>
                  <a:gd name="connsiteX4" fmla="*/ 48387 w 3697415"/>
                  <a:gd name="connsiteY4" fmla="*/ 12002 h 608171"/>
                  <a:gd name="connsiteX5" fmla="*/ 48387 w 3697415"/>
                  <a:gd name="connsiteY5" fmla="*/ 18002 h 608171"/>
                  <a:gd name="connsiteX6" fmla="*/ 58960 w 3697415"/>
                  <a:gd name="connsiteY6" fmla="*/ 18002 h 608171"/>
                  <a:gd name="connsiteX7" fmla="*/ 58960 w 3697415"/>
                  <a:gd name="connsiteY7" fmla="*/ 24003 h 608171"/>
                  <a:gd name="connsiteX8" fmla="*/ 109442 w 3697415"/>
                  <a:gd name="connsiteY8" fmla="*/ 24003 h 608171"/>
                  <a:gd name="connsiteX9" fmla="*/ 109442 w 3697415"/>
                  <a:gd name="connsiteY9" fmla="*/ 30099 h 608171"/>
                  <a:gd name="connsiteX10" fmla="*/ 117824 w 3697415"/>
                  <a:gd name="connsiteY10" fmla="*/ 30099 h 608171"/>
                  <a:gd name="connsiteX11" fmla="*/ 117824 w 3697415"/>
                  <a:gd name="connsiteY11" fmla="*/ 42196 h 608171"/>
                  <a:gd name="connsiteX12" fmla="*/ 124111 w 3697415"/>
                  <a:gd name="connsiteY12" fmla="*/ 42196 h 608171"/>
                  <a:gd name="connsiteX13" fmla="*/ 124111 w 3697415"/>
                  <a:gd name="connsiteY13" fmla="*/ 48292 h 608171"/>
                  <a:gd name="connsiteX14" fmla="*/ 128302 w 3697415"/>
                  <a:gd name="connsiteY14" fmla="*/ 48292 h 608171"/>
                  <a:gd name="connsiteX15" fmla="*/ 128302 w 3697415"/>
                  <a:gd name="connsiteY15" fmla="*/ 54388 h 608171"/>
                  <a:gd name="connsiteX16" fmla="*/ 132493 w 3697415"/>
                  <a:gd name="connsiteY16" fmla="*/ 54388 h 608171"/>
                  <a:gd name="connsiteX17" fmla="*/ 132493 w 3697415"/>
                  <a:gd name="connsiteY17" fmla="*/ 60484 h 608171"/>
                  <a:gd name="connsiteX18" fmla="*/ 134588 w 3697415"/>
                  <a:gd name="connsiteY18" fmla="*/ 60484 h 608171"/>
                  <a:gd name="connsiteX19" fmla="*/ 134588 w 3697415"/>
                  <a:gd name="connsiteY19" fmla="*/ 66485 h 608171"/>
                  <a:gd name="connsiteX20" fmla="*/ 136779 w 3697415"/>
                  <a:gd name="connsiteY20" fmla="*/ 66485 h 608171"/>
                  <a:gd name="connsiteX21" fmla="*/ 136779 w 3697415"/>
                  <a:gd name="connsiteY21" fmla="*/ 72581 h 608171"/>
                  <a:gd name="connsiteX22" fmla="*/ 147256 w 3697415"/>
                  <a:gd name="connsiteY22" fmla="*/ 72581 h 608171"/>
                  <a:gd name="connsiteX23" fmla="*/ 147256 w 3697415"/>
                  <a:gd name="connsiteY23" fmla="*/ 78677 h 608171"/>
                  <a:gd name="connsiteX24" fmla="*/ 153543 w 3697415"/>
                  <a:gd name="connsiteY24" fmla="*/ 78677 h 608171"/>
                  <a:gd name="connsiteX25" fmla="*/ 153543 w 3697415"/>
                  <a:gd name="connsiteY25" fmla="*/ 84677 h 608171"/>
                  <a:gd name="connsiteX26" fmla="*/ 168307 w 3697415"/>
                  <a:gd name="connsiteY26" fmla="*/ 84677 h 608171"/>
                  <a:gd name="connsiteX27" fmla="*/ 168307 w 3697415"/>
                  <a:gd name="connsiteY27" fmla="*/ 90773 h 608171"/>
                  <a:gd name="connsiteX28" fmla="*/ 176689 w 3697415"/>
                  <a:gd name="connsiteY28" fmla="*/ 90773 h 608171"/>
                  <a:gd name="connsiteX29" fmla="*/ 176689 w 3697415"/>
                  <a:gd name="connsiteY29" fmla="*/ 96869 h 608171"/>
                  <a:gd name="connsiteX30" fmla="*/ 187262 w 3697415"/>
                  <a:gd name="connsiteY30" fmla="*/ 96869 h 608171"/>
                  <a:gd name="connsiteX31" fmla="*/ 187262 w 3697415"/>
                  <a:gd name="connsiteY31" fmla="*/ 102870 h 608171"/>
                  <a:gd name="connsiteX32" fmla="*/ 199835 w 3697415"/>
                  <a:gd name="connsiteY32" fmla="*/ 102870 h 608171"/>
                  <a:gd name="connsiteX33" fmla="*/ 199835 w 3697415"/>
                  <a:gd name="connsiteY33" fmla="*/ 108966 h 608171"/>
                  <a:gd name="connsiteX34" fmla="*/ 206121 w 3697415"/>
                  <a:gd name="connsiteY34" fmla="*/ 108966 h 608171"/>
                  <a:gd name="connsiteX35" fmla="*/ 206121 w 3697415"/>
                  <a:gd name="connsiteY35" fmla="*/ 121063 h 608171"/>
                  <a:gd name="connsiteX36" fmla="*/ 210312 w 3697415"/>
                  <a:gd name="connsiteY36" fmla="*/ 121063 h 608171"/>
                  <a:gd name="connsiteX37" fmla="*/ 210312 w 3697415"/>
                  <a:gd name="connsiteY37" fmla="*/ 127159 h 608171"/>
                  <a:gd name="connsiteX38" fmla="*/ 222980 w 3697415"/>
                  <a:gd name="connsiteY38" fmla="*/ 127159 h 608171"/>
                  <a:gd name="connsiteX39" fmla="*/ 222980 w 3697415"/>
                  <a:gd name="connsiteY39" fmla="*/ 133255 h 608171"/>
                  <a:gd name="connsiteX40" fmla="*/ 237649 w 3697415"/>
                  <a:gd name="connsiteY40" fmla="*/ 133255 h 608171"/>
                  <a:gd name="connsiteX41" fmla="*/ 237649 w 3697415"/>
                  <a:gd name="connsiteY41" fmla="*/ 139256 h 608171"/>
                  <a:gd name="connsiteX42" fmla="*/ 241935 w 3697415"/>
                  <a:gd name="connsiteY42" fmla="*/ 139256 h 608171"/>
                  <a:gd name="connsiteX43" fmla="*/ 241935 w 3697415"/>
                  <a:gd name="connsiteY43" fmla="*/ 145352 h 608171"/>
                  <a:gd name="connsiteX44" fmla="*/ 252412 w 3697415"/>
                  <a:gd name="connsiteY44" fmla="*/ 145352 h 608171"/>
                  <a:gd name="connsiteX45" fmla="*/ 252412 w 3697415"/>
                  <a:gd name="connsiteY45" fmla="*/ 151448 h 608171"/>
                  <a:gd name="connsiteX46" fmla="*/ 260795 w 3697415"/>
                  <a:gd name="connsiteY46" fmla="*/ 151448 h 608171"/>
                  <a:gd name="connsiteX47" fmla="*/ 260795 w 3697415"/>
                  <a:gd name="connsiteY47" fmla="*/ 157544 h 608171"/>
                  <a:gd name="connsiteX48" fmla="*/ 275558 w 3697415"/>
                  <a:gd name="connsiteY48" fmla="*/ 157544 h 608171"/>
                  <a:gd name="connsiteX49" fmla="*/ 275558 w 3697415"/>
                  <a:gd name="connsiteY49" fmla="*/ 163544 h 608171"/>
                  <a:gd name="connsiteX50" fmla="*/ 279749 w 3697415"/>
                  <a:gd name="connsiteY50" fmla="*/ 163544 h 608171"/>
                  <a:gd name="connsiteX51" fmla="*/ 279749 w 3697415"/>
                  <a:gd name="connsiteY51" fmla="*/ 169640 h 608171"/>
                  <a:gd name="connsiteX52" fmla="*/ 283940 w 3697415"/>
                  <a:gd name="connsiteY52" fmla="*/ 169640 h 608171"/>
                  <a:gd name="connsiteX53" fmla="*/ 283940 w 3697415"/>
                  <a:gd name="connsiteY53" fmla="*/ 175736 h 608171"/>
                  <a:gd name="connsiteX54" fmla="*/ 296609 w 3697415"/>
                  <a:gd name="connsiteY54" fmla="*/ 175736 h 608171"/>
                  <a:gd name="connsiteX55" fmla="*/ 296609 w 3697415"/>
                  <a:gd name="connsiteY55" fmla="*/ 181737 h 608171"/>
                  <a:gd name="connsiteX56" fmla="*/ 326041 w 3697415"/>
                  <a:gd name="connsiteY56" fmla="*/ 181737 h 608171"/>
                  <a:gd name="connsiteX57" fmla="*/ 326041 w 3697415"/>
                  <a:gd name="connsiteY57" fmla="*/ 187833 h 608171"/>
                  <a:gd name="connsiteX58" fmla="*/ 334423 w 3697415"/>
                  <a:gd name="connsiteY58" fmla="*/ 187833 h 608171"/>
                  <a:gd name="connsiteX59" fmla="*/ 334423 w 3697415"/>
                  <a:gd name="connsiteY59" fmla="*/ 193929 h 608171"/>
                  <a:gd name="connsiteX60" fmla="*/ 336518 w 3697415"/>
                  <a:gd name="connsiteY60" fmla="*/ 193929 h 608171"/>
                  <a:gd name="connsiteX61" fmla="*/ 336518 w 3697415"/>
                  <a:gd name="connsiteY61" fmla="*/ 199930 h 608171"/>
                  <a:gd name="connsiteX62" fmla="*/ 351282 w 3697415"/>
                  <a:gd name="connsiteY62" fmla="*/ 199930 h 608171"/>
                  <a:gd name="connsiteX63" fmla="*/ 351282 w 3697415"/>
                  <a:gd name="connsiteY63" fmla="*/ 212122 h 608171"/>
                  <a:gd name="connsiteX64" fmla="*/ 353378 w 3697415"/>
                  <a:gd name="connsiteY64" fmla="*/ 212122 h 608171"/>
                  <a:gd name="connsiteX65" fmla="*/ 353378 w 3697415"/>
                  <a:gd name="connsiteY65" fmla="*/ 218123 h 608171"/>
                  <a:gd name="connsiteX66" fmla="*/ 359664 w 3697415"/>
                  <a:gd name="connsiteY66" fmla="*/ 218123 h 608171"/>
                  <a:gd name="connsiteX67" fmla="*/ 359664 w 3697415"/>
                  <a:gd name="connsiteY67" fmla="*/ 224219 h 608171"/>
                  <a:gd name="connsiteX68" fmla="*/ 363855 w 3697415"/>
                  <a:gd name="connsiteY68" fmla="*/ 224219 h 608171"/>
                  <a:gd name="connsiteX69" fmla="*/ 363855 w 3697415"/>
                  <a:gd name="connsiteY69" fmla="*/ 230315 h 608171"/>
                  <a:gd name="connsiteX70" fmla="*/ 380714 w 3697415"/>
                  <a:gd name="connsiteY70" fmla="*/ 230315 h 608171"/>
                  <a:gd name="connsiteX71" fmla="*/ 380714 w 3697415"/>
                  <a:gd name="connsiteY71" fmla="*/ 242411 h 608171"/>
                  <a:gd name="connsiteX72" fmla="*/ 384905 w 3697415"/>
                  <a:gd name="connsiteY72" fmla="*/ 242411 h 608171"/>
                  <a:gd name="connsiteX73" fmla="*/ 384905 w 3697415"/>
                  <a:gd name="connsiteY73" fmla="*/ 248507 h 608171"/>
                  <a:gd name="connsiteX74" fmla="*/ 408051 w 3697415"/>
                  <a:gd name="connsiteY74" fmla="*/ 248507 h 608171"/>
                  <a:gd name="connsiteX75" fmla="*/ 408051 w 3697415"/>
                  <a:gd name="connsiteY75" fmla="*/ 254603 h 608171"/>
                  <a:gd name="connsiteX76" fmla="*/ 412242 w 3697415"/>
                  <a:gd name="connsiteY76" fmla="*/ 254603 h 608171"/>
                  <a:gd name="connsiteX77" fmla="*/ 412242 w 3697415"/>
                  <a:gd name="connsiteY77" fmla="*/ 260604 h 608171"/>
                  <a:gd name="connsiteX78" fmla="*/ 418529 w 3697415"/>
                  <a:gd name="connsiteY78" fmla="*/ 260604 h 608171"/>
                  <a:gd name="connsiteX79" fmla="*/ 418529 w 3697415"/>
                  <a:gd name="connsiteY79" fmla="*/ 272796 h 608171"/>
                  <a:gd name="connsiteX80" fmla="*/ 437483 w 3697415"/>
                  <a:gd name="connsiteY80" fmla="*/ 272796 h 608171"/>
                  <a:gd name="connsiteX81" fmla="*/ 437483 w 3697415"/>
                  <a:gd name="connsiteY81" fmla="*/ 278797 h 608171"/>
                  <a:gd name="connsiteX82" fmla="*/ 445865 w 3697415"/>
                  <a:gd name="connsiteY82" fmla="*/ 278797 h 608171"/>
                  <a:gd name="connsiteX83" fmla="*/ 445865 w 3697415"/>
                  <a:gd name="connsiteY83" fmla="*/ 284893 h 608171"/>
                  <a:gd name="connsiteX84" fmla="*/ 458534 w 3697415"/>
                  <a:gd name="connsiteY84" fmla="*/ 284893 h 608171"/>
                  <a:gd name="connsiteX85" fmla="*/ 458534 w 3697415"/>
                  <a:gd name="connsiteY85" fmla="*/ 290989 h 608171"/>
                  <a:gd name="connsiteX86" fmla="*/ 475393 w 3697415"/>
                  <a:gd name="connsiteY86" fmla="*/ 290989 h 608171"/>
                  <a:gd name="connsiteX87" fmla="*/ 475393 w 3697415"/>
                  <a:gd name="connsiteY87" fmla="*/ 296990 h 608171"/>
                  <a:gd name="connsiteX88" fmla="*/ 502730 w 3697415"/>
                  <a:gd name="connsiteY88" fmla="*/ 296990 h 608171"/>
                  <a:gd name="connsiteX89" fmla="*/ 502730 w 3697415"/>
                  <a:gd name="connsiteY89" fmla="*/ 303086 h 608171"/>
                  <a:gd name="connsiteX90" fmla="*/ 504825 w 3697415"/>
                  <a:gd name="connsiteY90" fmla="*/ 303086 h 608171"/>
                  <a:gd name="connsiteX91" fmla="*/ 504825 w 3697415"/>
                  <a:gd name="connsiteY91" fmla="*/ 309182 h 608171"/>
                  <a:gd name="connsiteX92" fmla="*/ 515302 w 3697415"/>
                  <a:gd name="connsiteY92" fmla="*/ 309182 h 608171"/>
                  <a:gd name="connsiteX93" fmla="*/ 515302 w 3697415"/>
                  <a:gd name="connsiteY93" fmla="*/ 315182 h 608171"/>
                  <a:gd name="connsiteX94" fmla="*/ 521589 w 3697415"/>
                  <a:gd name="connsiteY94" fmla="*/ 315182 h 608171"/>
                  <a:gd name="connsiteX95" fmla="*/ 521589 w 3697415"/>
                  <a:gd name="connsiteY95" fmla="*/ 327374 h 608171"/>
                  <a:gd name="connsiteX96" fmla="*/ 530066 w 3697415"/>
                  <a:gd name="connsiteY96" fmla="*/ 327374 h 608171"/>
                  <a:gd name="connsiteX97" fmla="*/ 530066 w 3697415"/>
                  <a:gd name="connsiteY97" fmla="*/ 333375 h 608171"/>
                  <a:gd name="connsiteX98" fmla="*/ 536353 w 3697415"/>
                  <a:gd name="connsiteY98" fmla="*/ 333375 h 608171"/>
                  <a:gd name="connsiteX99" fmla="*/ 536353 w 3697415"/>
                  <a:gd name="connsiteY99" fmla="*/ 345567 h 608171"/>
                  <a:gd name="connsiteX100" fmla="*/ 538448 w 3697415"/>
                  <a:gd name="connsiteY100" fmla="*/ 345567 h 608171"/>
                  <a:gd name="connsiteX101" fmla="*/ 538448 w 3697415"/>
                  <a:gd name="connsiteY101" fmla="*/ 351663 h 608171"/>
                  <a:gd name="connsiteX102" fmla="*/ 551021 w 3697415"/>
                  <a:gd name="connsiteY102" fmla="*/ 351663 h 608171"/>
                  <a:gd name="connsiteX103" fmla="*/ 551021 w 3697415"/>
                  <a:gd name="connsiteY103" fmla="*/ 357664 h 608171"/>
                  <a:gd name="connsiteX104" fmla="*/ 574167 w 3697415"/>
                  <a:gd name="connsiteY104" fmla="*/ 357664 h 608171"/>
                  <a:gd name="connsiteX105" fmla="*/ 574167 w 3697415"/>
                  <a:gd name="connsiteY105" fmla="*/ 363760 h 608171"/>
                  <a:gd name="connsiteX106" fmla="*/ 580549 w 3697415"/>
                  <a:gd name="connsiteY106" fmla="*/ 363760 h 608171"/>
                  <a:gd name="connsiteX107" fmla="*/ 580549 w 3697415"/>
                  <a:gd name="connsiteY107" fmla="*/ 369856 h 608171"/>
                  <a:gd name="connsiteX108" fmla="*/ 588931 w 3697415"/>
                  <a:gd name="connsiteY108" fmla="*/ 369856 h 608171"/>
                  <a:gd name="connsiteX109" fmla="*/ 588931 w 3697415"/>
                  <a:gd name="connsiteY109" fmla="*/ 375857 h 608171"/>
                  <a:gd name="connsiteX110" fmla="*/ 597313 w 3697415"/>
                  <a:gd name="connsiteY110" fmla="*/ 375857 h 608171"/>
                  <a:gd name="connsiteX111" fmla="*/ 597313 w 3697415"/>
                  <a:gd name="connsiteY111" fmla="*/ 381953 h 608171"/>
                  <a:gd name="connsiteX112" fmla="*/ 601504 w 3697415"/>
                  <a:gd name="connsiteY112" fmla="*/ 381953 h 608171"/>
                  <a:gd name="connsiteX113" fmla="*/ 601504 w 3697415"/>
                  <a:gd name="connsiteY113" fmla="*/ 388049 h 608171"/>
                  <a:gd name="connsiteX114" fmla="*/ 675132 w 3697415"/>
                  <a:gd name="connsiteY114" fmla="*/ 388049 h 608171"/>
                  <a:gd name="connsiteX115" fmla="*/ 675132 w 3697415"/>
                  <a:gd name="connsiteY115" fmla="*/ 394049 h 608171"/>
                  <a:gd name="connsiteX116" fmla="*/ 696182 w 3697415"/>
                  <a:gd name="connsiteY116" fmla="*/ 394049 h 608171"/>
                  <a:gd name="connsiteX117" fmla="*/ 696182 w 3697415"/>
                  <a:gd name="connsiteY117" fmla="*/ 400145 h 608171"/>
                  <a:gd name="connsiteX118" fmla="*/ 702469 w 3697415"/>
                  <a:gd name="connsiteY118" fmla="*/ 400145 h 608171"/>
                  <a:gd name="connsiteX119" fmla="*/ 702469 w 3697415"/>
                  <a:gd name="connsiteY119" fmla="*/ 406241 h 608171"/>
                  <a:gd name="connsiteX120" fmla="*/ 744569 w 3697415"/>
                  <a:gd name="connsiteY120" fmla="*/ 406241 h 608171"/>
                  <a:gd name="connsiteX121" fmla="*/ 744569 w 3697415"/>
                  <a:gd name="connsiteY121" fmla="*/ 412242 h 608171"/>
                  <a:gd name="connsiteX122" fmla="*/ 759238 w 3697415"/>
                  <a:gd name="connsiteY122" fmla="*/ 412242 h 608171"/>
                  <a:gd name="connsiteX123" fmla="*/ 759238 w 3697415"/>
                  <a:gd name="connsiteY123" fmla="*/ 418338 h 608171"/>
                  <a:gd name="connsiteX124" fmla="*/ 788765 w 3697415"/>
                  <a:gd name="connsiteY124" fmla="*/ 418338 h 608171"/>
                  <a:gd name="connsiteX125" fmla="*/ 788765 w 3697415"/>
                  <a:gd name="connsiteY125" fmla="*/ 424434 h 608171"/>
                  <a:gd name="connsiteX126" fmla="*/ 790861 w 3697415"/>
                  <a:gd name="connsiteY126" fmla="*/ 424434 h 608171"/>
                  <a:gd name="connsiteX127" fmla="*/ 790861 w 3697415"/>
                  <a:gd name="connsiteY127" fmla="*/ 430435 h 608171"/>
                  <a:gd name="connsiteX128" fmla="*/ 813911 w 3697415"/>
                  <a:gd name="connsiteY128" fmla="*/ 430435 h 608171"/>
                  <a:gd name="connsiteX129" fmla="*/ 813911 w 3697415"/>
                  <a:gd name="connsiteY129" fmla="*/ 436531 h 608171"/>
                  <a:gd name="connsiteX130" fmla="*/ 826580 w 3697415"/>
                  <a:gd name="connsiteY130" fmla="*/ 436531 h 608171"/>
                  <a:gd name="connsiteX131" fmla="*/ 826580 w 3697415"/>
                  <a:gd name="connsiteY131" fmla="*/ 442627 h 608171"/>
                  <a:gd name="connsiteX132" fmla="*/ 862298 w 3697415"/>
                  <a:gd name="connsiteY132" fmla="*/ 442627 h 608171"/>
                  <a:gd name="connsiteX133" fmla="*/ 862298 w 3697415"/>
                  <a:gd name="connsiteY133" fmla="*/ 448723 h 608171"/>
                  <a:gd name="connsiteX134" fmla="*/ 978027 w 3697415"/>
                  <a:gd name="connsiteY134" fmla="*/ 448723 h 608171"/>
                  <a:gd name="connsiteX135" fmla="*/ 978027 w 3697415"/>
                  <a:gd name="connsiteY135" fmla="*/ 454724 h 608171"/>
                  <a:gd name="connsiteX136" fmla="*/ 1015841 w 3697415"/>
                  <a:gd name="connsiteY136" fmla="*/ 454724 h 608171"/>
                  <a:gd name="connsiteX137" fmla="*/ 1015841 w 3697415"/>
                  <a:gd name="connsiteY137" fmla="*/ 460915 h 608171"/>
                  <a:gd name="connsiteX138" fmla="*/ 1068419 w 3697415"/>
                  <a:gd name="connsiteY138" fmla="*/ 460915 h 608171"/>
                  <a:gd name="connsiteX139" fmla="*/ 1068419 w 3697415"/>
                  <a:gd name="connsiteY139" fmla="*/ 467011 h 608171"/>
                  <a:gd name="connsiteX140" fmla="*/ 1087374 w 3697415"/>
                  <a:gd name="connsiteY140" fmla="*/ 467011 h 608171"/>
                  <a:gd name="connsiteX141" fmla="*/ 1087374 w 3697415"/>
                  <a:gd name="connsiteY141" fmla="*/ 473107 h 608171"/>
                  <a:gd name="connsiteX142" fmla="*/ 1097852 w 3697415"/>
                  <a:gd name="connsiteY142" fmla="*/ 473107 h 608171"/>
                  <a:gd name="connsiteX143" fmla="*/ 1097852 w 3697415"/>
                  <a:gd name="connsiteY143" fmla="*/ 479298 h 608171"/>
                  <a:gd name="connsiteX144" fmla="*/ 1131570 w 3697415"/>
                  <a:gd name="connsiteY144" fmla="*/ 479298 h 608171"/>
                  <a:gd name="connsiteX145" fmla="*/ 1131570 w 3697415"/>
                  <a:gd name="connsiteY145" fmla="*/ 485394 h 608171"/>
                  <a:gd name="connsiteX146" fmla="*/ 1137857 w 3697415"/>
                  <a:gd name="connsiteY146" fmla="*/ 485394 h 608171"/>
                  <a:gd name="connsiteX147" fmla="*/ 1137857 w 3697415"/>
                  <a:gd name="connsiteY147" fmla="*/ 491490 h 608171"/>
                  <a:gd name="connsiteX148" fmla="*/ 1152525 w 3697415"/>
                  <a:gd name="connsiteY148" fmla="*/ 491490 h 608171"/>
                  <a:gd name="connsiteX149" fmla="*/ 1152525 w 3697415"/>
                  <a:gd name="connsiteY149" fmla="*/ 497586 h 608171"/>
                  <a:gd name="connsiteX150" fmla="*/ 1165193 w 3697415"/>
                  <a:gd name="connsiteY150" fmla="*/ 497586 h 608171"/>
                  <a:gd name="connsiteX151" fmla="*/ 1165193 w 3697415"/>
                  <a:gd name="connsiteY151" fmla="*/ 503777 h 608171"/>
                  <a:gd name="connsiteX152" fmla="*/ 1190435 w 3697415"/>
                  <a:gd name="connsiteY152" fmla="*/ 503777 h 608171"/>
                  <a:gd name="connsiteX153" fmla="*/ 1190435 w 3697415"/>
                  <a:gd name="connsiteY153" fmla="*/ 509873 h 608171"/>
                  <a:gd name="connsiteX154" fmla="*/ 1419701 w 3697415"/>
                  <a:gd name="connsiteY154" fmla="*/ 509873 h 608171"/>
                  <a:gd name="connsiteX155" fmla="*/ 1419701 w 3697415"/>
                  <a:gd name="connsiteY155" fmla="*/ 516065 h 608171"/>
                  <a:gd name="connsiteX156" fmla="*/ 1533239 w 3697415"/>
                  <a:gd name="connsiteY156" fmla="*/ 516065 h 608171"/>
                  <a:gd name="connsiteX157" fmla="*/ 1533239 w 3697415"/>
                  <a:gd name="connsiteY157" fmla="*/ 522256 h 608171"/>
                  <a:gd name="connsiteX158" fmla="*/ 1802416 w 3697415"/>
                  <a:gd name="connsiteY158" fmla="*/ 522256 h 608171"/>
                  <a:gd name="connsiteX159" fmla="*/ 1802416 w 3697415"/>
                  <a:gd name="connsiteY159" fmla="*/ 528542 h 608171"/>
                  <a:gd name="connsiteX160" fmla="*/ 1876044 w 3697415"/>
                  <a:gd name="connsiteY160" fmla="*/ 528542 h 608171"/>
                  <a:gd name="connsiteX161" fmla="*/ 1876044 w 3697415"/>
                  <a:gd name="connsiteY161" fmla="*/ 534829 h 608171"/>
                  <a:gd name="connsiteX162" fmla="*/ 1955959 w 3697415"/>
                  <a:gd name="connsiteY162" fmla="*/ 534829 h 608171"/>
                  <a:gd name="connsiteX163" fmla="*/ 1955959 w 3697415"/>
                  <a:gd name="connsiteY163" fmla="*/ 541115 h 608171"/>
                  <a:gd name="connsiteX164" fmla="*/ 2117884 w 3697415"/>
                  <a:gd name="connsiteY164" fmla="*/ 541115 h 608171"/>
                  <a:gd name="connsiteX165" fmla="*/ 2117884 w 3697415"/>
                  <a:gd name="connsiteY165" fmla="*/ 547592 h 608171"/>
                  <a:gd name="connsiteX166" fmla="*/ 2134743 w 3697415"/>
                  <a:gd name="connsiteY166" fmla="*/ 547592 h 608171"/>
                  <a:gd name="connsiteX167" fmla="*/ 2134743 w 3697415"/>
                  <a:gd name="connsiteY167" fmla="*/ 553974 h 608171"/>
                  <a:gd name="connsiteX168" fmla="*/ 2252567 w 3697415"/>
                  <a:gd name="connsiteY168" fmla="*/ 553974 h 608171"/>
                  <a:gd name="connsiteX169" fmla="*/ 2252567 w 3697415"/>
                  <a:gd name="connsiteY169" fmla="*/ 560451 h 608171"/>
                  <a:gd name="connsiteX170" fmla="*/ 2345055 w 3697415"/>
                  <a:gd name="connsiteY170" fmla="*/ 560451 h 608171"/>
                  <a:gd name="connsiteX171" fmla="*/ 2345055 w 3697415"/>
                  <a:gd name="connsiteY171" fmla="*/ 566833 h 608171"/>
                  <a:gd name="connsiteX172" fmla="*/ 2364010 w 3697415"/>
                  <a:gd name="connsiteY172" fmla="*/ 566833 h 608171"/>
                  <a:gd name="connsiteX173" fmla="*/ 2364010 w 3697415"/>
                  <a:gd name="connsiteY173" fmla="*/ 573310 h 608171"/>
                  <a:gd name="connsiteX174" fmla="*/ 3217831 w 3697415"/>
                  <a:gd name="connsiteY174" fmla="*/ 573310 h 608171"/>
                  <a:gd name="connsiteX175" fmla="*/ 3217831 w 3697415"/>
                  <a:gd name="connsiteY175" fmla="*/ 608171 h 608171"/>
                  <a:gd name="connsiteX176" fmla="*/ 3697415 w 3697415"/>
                  <a:gd name="connsiteY176" fmla="*/ 608171 h 608171"/>
                  <a:gd name="connsiteX0" fmla="*/ 0 w 3697415"/>
                  <a:gd name="connsiteY0" fmla="*/ 0 h 608171"/>
                  <a:gd name="connsiteX1" fmla="*/ 40005 w 3697415"/>
                  <a:gd name="connsiteY1" fmla="*/ 5906 h 608171"/>
                  <a:gd name="connsiteX2" fmla="*/ 40005 w 3697415"/>
                  <a:gd name="connsiteY2" fmla="*/ 12002 h 608171"/>
                  <a:gd name="connsiteX3" fmla="*/ 48387 w 3697415"/>
                  <a:gd name="connsiteY3" fmla="*/ 12002 h 608171"/>
                  <a:gd name="connsiteX4" fmla="*/ 48387 w 3697415"/>
                  <a:gd name="connsiteY4" fmla="*/ 18002 h 608171"/>
                  <a:gd name="connsiteX5" fmla="*/ 58960 w 3697415"/>
                  <a:gd name="connsiteY5" fmla="*/ 18002 h 608171"/>
                  <a:gd name="connsiteX6" fmla="*/ 58960 w 3697415"/>
                  <a:gd name="connsiteY6" fmla="*/ 24003 h 608171"/>
                  <a:gd name="connsiteX7" fmla="*/ 109442 w 3697415"/>
                  <a:gd name="connsiteY7" fmla="*/ 24003 h 608171"/>
                  <a:gd name="connsiteX8" fmla="*/ 109442 w 3697415"/>
                  <a:gd name="connsiteY8" fmla="*/ 30099 h 608171"/>
                  <a:gd name="connsiteX9" fmla="*/ 117824 w 3697415"/>
                  <a:gd name="connsiteY9" fmla="*/ 30099 h 608171"/>
                  <a:gd name="connsiteX10" fmla="*/ 117824 w 3697415"/>
                  <a:gd name="connsiteY10" fmla="*/ 42196 h 608171"/>
                  <a:gd name="connsiteX11" fmla="*/ 124111 w 3697415"/>
                  <a:gd name="connsiteY11" fmla="*/ 42196 h 608171"/>
                  <a:gd name="connsiteX12" fmla="*/ 124111 w 3697415"/>
                  <a:gd name="connsiteY12" fmla="*/ 48292 h 608171"/>
                  <a:gd name="connsiteX13" fmla="*/ 128302 w 3697415"/>
                  <a:gd name="connsiteY13" fmla="*/ 48292 h 608171"/>
                  <a:gd name="connsiteX14" fmla="*/ 128302 w 3697415"/>
                  <a:gd name="connsiteY14" fmla="*/ 54388 h 608171"/>
                  <a:gd name="connsiteX15" fmla="*/ 132493 w 3697415"/>
                  <a:gd name="connsiteY15" fmla="*/ 54388 h 608171"/>
                  <a:gd name="connsiteX16" fmla="*/ 132493 w 3697415"/>
                  <a:gd name="connsiteY16" fmla="*/ 60484 h 608171"/>
                  <a:gd name="connsiteX17" fmla="*/ 134588 w 3697415"/>
                  <a:gd name="connsiteY17" fmla="*/ 60484 h 608171"/>
                  <a:gd name="connsiteX18" fmla="*/ 134588 w 3697415"/>
                  <a:gd name="connsiteY18" fmla="*/ 66485 h 608171"/>
                  <a:gd name="connsiteX19" fmla="*/ 136779 w 3697415"/>
                  <a:gd name="connsiteY19" fmla="*/ 66485 h 608171"/>
                  <a:gd name="connsiteX20" fmla="*/ 136779 w 3697415"/>
                  <a:gd name="connsiteY20" fmla="*/ 72581 h 608171"/>
                  <a:gd name="connsiteX21" fmla="*/ 147256 w 3697415"/>
                  <a:gd name="connsiteY21" fmla="*/ 72581 h 608171"/>
                  <a:gd name="connsiteX22" fmla="*/ 147256 w 3697415"/>
                  <a:gd name="connsiteY22" fmla="*/ 78677 h 608171"/>
                  <a:gd name="connsiteX23" fmla="*/ 153543 w 3697415"/>
                  <a:gd name="connsiteY23" fmla="*/ 78677 h 608171"/>
                  <a:gd name="connsiteX24" fmla="*/ 153543 w 3697415"/>
                  <a:gd name="connsiteY24" fmla="*/ 84677 h 608171"/>
                  <a:gd name="connsiteX25" fmla="*/ 168307 w 3697415"/>
                  <a:gd name="connsiteY25" fmla="*/ 84677 h 608171"/>
                  <a:gd name="connsiteX26" fmla="*/ 168307 w 3697415"/>
                  <a:gd name="connsiteY26" fmla="*/ 90773 h 608171"/>
                  <a:gd name="connsiteX27" fmla="*/ 176689 w 3697415"/>
                  <a:gd name="connsiteY27" fmla="*/ 90773 h 608171"/>
                  <a:gd name="connsiteX28" fmla="*/ 176689 w 3697415"/>
                  <a:gd name="connsiteY28" fmla="*/ 96869 h 608171"/>
                  <a:gd name="connsiteX29" fmla="*/ 187262 w 3697415"/>
                  <a:gd name="connsiteY29" fmla="*/ 96869 h 608171"/>
                  <a:gd name="connsiteX30" fmla="*/ 187262 w 3697415"/>
                  <a:gd name="connsiteY30" fmla="*/ 102870 h 608171"/>
                  <a:gd name="connsiteX31" fmla="*/ 199835 w 3697415"/>
                  <a:gd name="connsiteY31" fmla="*/ 102870 h 608171"/>
                  <a:gd name="connsiteX32" fmla="*/ 199835 w 3697415"/>
                  <a:gd name="connsiteY32" fmla="*/ 108966 h 608171"/>
                  <a:gd name="connsiteX33" fmla="*/ 206121 w 3697415"/>
                  <a:gd name="connsiteY33" fmla="*/ 108966 h 608171"/>
                  <a:gd name="connsiteX34" fmla="*/ 206121 w 3697415"/>
                  <a:gd name="connsiteY34" fmla="*/ 121063 h 608171"/>
                  <a:gd name="connsiteX35" fmla="*/ 210312 w 3697415"/>
                  <a:gd name="connsiteY35" fmla="*/ 121063 h 608171"/>
                  <a:gd name="connsiteX36" fmla="*/ 210312 w 3697415"/>
                  <a:gd name="connsiteY36" fmla="*/ 127159 h 608171"/>
                  <a:gd name="connsiteX37" fmla="*/ 222980 w 3697415"/>
                  <a:gd name="connsiteY37" fmla="*/ 127159 h 608171"/>
                  <a:gd name="connsiteX38" fmla="*/ 222980 w 3697415"/>
                  <a:gd name="connsiteY38" fmla="*/ 133255 h 608171"/>
                  <a:gd name="connsiteX39" fmla="*/ 237649 w 3697415"/>
                  <a:gd name="connsiteY39" fmla="*/ 133255 h 608171"/>
                  <a:gd name="connsiteX40" fmla="*/ 237649 w 3697415"/>
                  <a:gd name="connsiteY40" fmla="*/ 139256 h 608171"/>
                  <a:gd name="connsiteX41" fmla="*/ 241935 w 3697415"/>
                  <a:gd name="connsiteY41" fmla="*/ 139256 h 608171"/>
                  <a:gd name="connsiteX42" fmla="*/ 241935 w 3697415"/>
                  <a:gd name="connsiteY42" fmla="*/ 145352 h 608171"/>
                  <a:gd name="connsiteX43" fmla="*/ 252412 w 3697415"/>
                  <a:gd name="connsiteY43" fmla="*/ 145352 h 608171"/>
                  <a:gd name="connsiteX44" fmla="*/ 252412 w 3697415"/>
                  <a:gd name="connsiteY44" fmla="*/ 151448 h 608171"/>
                  <a:gd name="connsiteX45" fmla="*/ 260795 w 3697415"/>
                  <a:gd name="connsiteY45" fmla="*/ 151448 h 608171"/>
                  <a:gd name="connsiteX46" fmla="*/ 260795 w 3697415"/>
                  <a:gd name="connsiteY46" fmla="*/ 157544 h 608171"/>
                  <a:gd name="connsiteX47" fmla="*/ 275558 w 3697415"/>
                  <a:gd name="connsiteY47" fmla="*/ 157544 h 608171"/>
                  <a:gd name="connsiteX48" fmla="*/ 275558 w 3697415"/>
                  <a:gd name="connsiteY48" fmla="*/ 163544 h 608171"/>
                  <a:gd name="connsiteX49" fmla="*/ 279749 w 3697415"/>
                  <a:gd name="connsiteY49" fmla="*/ 163544 h 608171"/>
                  <a:gd name="connsiteX50" fmla="*/ 279749 w 3697415"/>
                  <a:gd name="connsiteY50" fmla="*/ 169640 h 608171"/>
                  <a:gd name="connsiteX51" fmla="*/ 283940 w 3697415"/>
                  <a:gd name="connsiteY51" fmla="*/ 169640 h 608171"/>
                  <a:gd name="connsiteX52" fmla="*/ 283940 w 3697415"/>
                  <a:gd name="connsiteY52" fmla="*/ 175736 h 608171"/>
                  <a:gd name="connsiteX53" fmla="*/ 296609 w 3697415"/>
                  <a:gd name="connsiteY53" fmla="*/ 175736 h 608171"/>
                  <a:gd name="connsiteX54" fmla="*/ 296609 w 3697415"/>
                  <a:gd name="connsiteY54" fmla="*/ 181737 h 608171"/>
                  <a:gd name="connsiteX55" fmla="*/ 326041 w 3697415"/>
                  <a:gd name="connsiteY55" fmla="*/ 181737 h 608171"/>
                  <a:gd name="connsiteX56" fmla="*/ 326041 w 3697415"/>
                  <a:gd name="connsiteY56" fmla="*/ 187833 h 608171"/>
                  <a:gd name="connsiteX57" fmla="*/ 334423 w 3697415"/>
                  <a:gd name="connsiteY57" fmla="*/ 187833 h 608171"/>
                  <a:gd name="connsiteX58" fmla="*/ 334423 w 3697415"/>
                  <a:gd name="connsiteY58" fmla="*/ 193929 h 608171"/>
                  <a:gd name="connsiteX59" fmla="*/ 336518 w 3697415"/>
                  <a:gd name="connsiteY59" fmla="*/ 193929 h 608171"/>
                  <a:gd name="connsiteX60" fmla="*/ 336518 w 3697415"/>
                  <a:gd name="connsiteY60" fmla="*/ 199930 h 608171"/>
                  <a:gd name="connsiteX61" fmla="*/ 351282 w 3697415"/>
                  <a:gd name="connsiteY61" fmla="*/ 199930 h 608171"/>
                  <a:gd name="connsiteX62" fmla="*/ 351282 w 3697415"/>
                  <a:gd name="connsiteY62" fmla="*/ 212122 h 608171"/>
                  <a:gd name="connsiteX63" fmla="*/ 353378 w 3697415"/>
                  <a:gd name="connsiteY63" fmla="*/ 212122 h 608171"/>
                  <a:gd name="connsiteX64" fmla="*/ 353378 w 3697415"/>
                  <a:gd name="connsiteY64" fmla="*/ 218123 h 608171"/>
                  <a:gd name="connsiteX65" fmla="*/ 359664 w 3697415"/>
                  <a:gd name="connsiteY65" fmla="*/ 218123 h 608171"/>
                  <a:gd name="connsiteX66" fmla="*/ 359664 w 3697415"/>
                  <a:gd name="connsiteY66" fmla="*/ 224219 h 608171"/>
                  <a:gd name="connsiteX67" fmla="*/ 363855 w 3697415"/>
                  <a:gd name="connsiteY67" fmla="*/ 224219 h 608171"/>
                  <a:gd name="connsiteX68" fmla="*/ 363855 w 3697415"/>
                  <a:gd name="connsiteY68" fmla="*/ 230315 h 608171"/>
                  <a:gd name="connsiteX69" fmla="*/ 380714 w 3697415"/>
                  <a:gd name="connsiteY69" fmla="*/ 230315 h 608171"/>
                  <a:gd name="connsiteX70" fmla="*/ 380714 w 3697415"/>
                  <a:gd name="connsiteY70" fmla="*/ 242411 h 608171"/>
                  <a:gd name="connsiteX71" fmla="*/ 384905 w 3697415"/>
                  <a:gd name="connsiteY71" fmla="*/ 242411 h 608171"/>
                  <a:gd name="connsiteX72" fmla="*/ 384905 w 3697415"/>
                  <a:gd name="connsiteY72" fmla="*/ 248507 h 608171"/>
                  <a:gd name="connsiteX73" fmla="*/ 408051 w 3697415"/>
                  <a:gd name="connsiteY73" fmla="*/ 248507 h 608171"/>
                  <a:gd name="connsiteX74" fmla="*/ 408051 w 3697415"/>
                  <a:gd name="connsiteY74" fmla="*/ 254603 h 608171"/>
                  <a:gd name="connsiteX75" fmla="*/ 412242 w 3697415"/>
                  <a:gd name="connsiteY75" fmla="*/ 254603 h 608171"/>
                  <a:gd name="connsiteX76" fmla="*/ 412242 w 3697415"/>
                  <a:gd name="connsiteY76" fmla="*/ 260604 h 608171"/>
                  <a:gd name="connsiteX77" fmla="*/ 418529 w 3697415"/>
                  <a:gd name="connsiteY77" fmla="*/ 260604 h 608171"/>
                  <a:gd name="connsiteX78" fmla="*/ 418529 w 3697415"/>
                  <a:gd name="connsiteY78" fmla="*/ 272796 h 608171"/>
                  <a:gd name="connsiteX79" fmla="*/ 437483 w 3697415"/>
                  <a:gd name="connsiteY79" fmla="*/ 272796 h 608171"/>
                  <a:gd name="connsiteX80" fmla="*/ 437483 w 3697415"/>
                  <a:gd name="connsiteY80" fmla="*/ 278797 h 608171"/>
                  <a:gd name="connsiteX81" fmla="*/ 445865 w 3697415"/>
                  <a:gd name="connsiteY81" fmla="*/ 278797 h 608171"/>
                  <a:gd name="connsiteX82" fmla="*/ 445865 w 3697415"/>
                  <a:gd name="connsiteY82" fmla="*/ 284893 h 608171"/>
                  <a:gd name="connsiteX83" fmla="*/ 458534 w 3697415"/>
                  <a:gd name="connsiteY83" fmla="*/ 284893 h 608171"/>
                  <a:gd name="connsiteX84" fmla="*/ 458534 w 3697415"/>
                  <a:gd name="connsiteY84" fmla="*/ 290989 h 608171"/>
                  <a:gd name="connsiteX85" fmla="*/ 475393 w 3697415"/>
                  <a:gd name="connsiteY85" fmla="*/ 290989 h 608171"/>
                  <a:gd name="connsiteX86" fmla="*/ 475393 w 3697415"/>
                  <a:gd name="connsiteY86" fmla="*/ 296990 h 608171"/>
                  <a:gd name="connsiteX87" fmla="*/ 502730 w 3697415"/>
                  <a:gd name="connsiteY87" fmla="*/ 296990 h 608171"/>
                  <a:gd name="connsiteX88" fmla="*/ 502730 w 3697415"/>
                  <a:gd name="connsiteY88" fmla="*/ 303086 h 608171"/>
                  <a:gd name="connsiteX89" fmla="*/ 504825 w 3697415"/>
                  <a:gd name="connsiteY89" fmla="*/ 303086 h 608171"/>
                  <a:gd name="connsiteX90" fmla="*/ 504825 w 3697415"/>
                  <a:gd name="connsiteY90" fmla="*/ 309182 h 608171"/>
                  <a:gd name="connsiteX91" fmla="*/ 515302 w 3697415"/>
                  <a:gd name="connsiteY91" fmla="*/ 309182 h 608171"/>
                  <a:gd name="connsiteX92" fmla="*/ 515302 w 3697415"/>
                  <a:gd name="connsiteY92" fmla="*/ 315182 h 608171"/>
                  <a:gd name="connsiteX93" fmla="*/ 521589 w 3697415"/>
                  <a:gd name="connsiteY93" fmla="*/ 315182 h 608171"/>
                  <a:gd name="connsiteX94" fmla="*/ 521589 w 3697415"/>
                  <a:gd name="connsiteY94" fmla="*/ 327374 h 608171"/>
                  <a:gd name="connsiteX95" fmla="*/ 530066 w 3697415"/>
                  <a:gd name="connsiteY95" fmla="*/ 327374 h 608171"/>
                  <a:gd name="connsiteX96" fmla="*/ 530066 w 3697415"/>
                  <a:gd name="connsiteY96" fmla="*/ 333375 h 608171"/>
                  <a:gd name="connsiteX97" fmla="*/ 536353 w 3697415"/>
                  <a:gd name="connsiteY97" fmla="*/ 333375 h 608171"/>
                  <a:gd name="connsiteX98" fmla="*/ 536353 w 3697415"/>
                  <a:gd name="connsiteY98" fmla="*/ 345567 h 608171"/>
                  <a:gd name="connsiteX99" fmla="*/ 538448 w 3697415"/>
                  <a:gd name="connsiteY99" fmla="*/ 345567 h 608171"/>
                  <a:gd name="connsiteX100" fmla="*/ 538448 w 3697415"/>
                  <a:gd name="connsiteY100" fmla="*/ 351663 h 608171"/>
                  <a:gd name="connsiteX101" fmla="*/ 551021 w 3697415"/>
                  <a:gd name="connsiteY101" fmla="*/ 351663 h 608171"/>
                  <a:gd name="connsiteX102" fmla="*/ 551021 w 3697415"/>
                  <a:gd name="connsiteY102" fmla="*/ 357664 h 608171"/>
                  <a:gd name="connsiteX103" fmla="*/ 574167 w 3697415"/>
                  <a:gd name="connsiteY103" fmla="*/ 357664 h 608171"/>
                  <a:gd name="connsiteX104" fmla="*/ 574167 w 3697415"/>
                  <a:gd name="connsiteY104" fmla="*/ 363760 h 608171"/>
                  <a:gd name="connsiteX105" fmla="*/ 580549 w 3697415"/>
                  <a:gd name="connsiteY105" fmla="*/ 363760 h 608171"/>
                  <a:gd name="connsiteX106" fmla="*/ 580549 w 3697415"/>
                  <a:gd name="connsiteY106" fmla="*/ 369856 h 608171"/>
                  <a:gd name="connsiteX107" fmla="*/ 588931 w 3697415"/>
                  <a:gd name="connsiteY107" fmla="*/ 369856 h 608171"/>
                  <a:gd name="connsiteX108" fmla="*/ 588931 w 3697415"/>
                  <a:gd name="connsiteY108" fmla="*/ 375857 h 608171"/>
                  <a:gd name="connsiteX109" fmla="*/ 597313 w 3697415"/>
                  <a:gd name="connsiteY109" fmla="*/ 375857 h 608171"/>
                  <a:gd name="connsiteX110" fmla="*/ 597313 w 3697415"/>
                  <a:gd name="connsiteY110" fmla="*/ 381953 h 608171"/>
                  <a:gd name="connsiteX111" fmla="*/ 601504 w 3697415"/>
                  <a:gd name="connsiteY111" fmla="*/ 381953 h 608171"/>
                  <a:gd name="connsiteX112" fmla="*/ 601504 w 3697415"/>
                  <a:gd name="connsiteY112" fmla="*/ 388049 h 608171"/>
                  <a:gd name="connsiteX113" fmla="*/ 675132 w 3697415"/>
                  <a:gd name="connsiteY113" fmla="*/ 388049 h 608171"/>
                  <a:gd name="connsiteX114" fmla="*/ 675132 w 3697415"/>
                  <a:gd name="connsiteY114" fmla="*/ 394049 h 608171"/>
                  <a:gd name="connsiteX115" fmla="*/ 696182 w 3697415"/>
                  <a:gd name="connsiteY115" fmla="*/ 394049 h 608171"/>
                  <a:gd name="connsiteX116" fmla="*/ 696182 w 3697415"/>
                  <a:gd name="connsiteY116" fmla="*/ 400145 h 608171"/>
                  <a:gd name="connsiteX117" fmla="*/ 702469 w 3697415"/>
                  <a:gd name="connsiteY117" fmla="*/ 400145 h 608171"/>
                  <a:gd name="connsiteX118" fmla="*/ 702469 w 3697415"/>
                  <a:gd name="connsiteY118" fmla="*/ 406241 h 608171"/>
                  <a:gd name="connsiteX119" fmla="*/ 744569 w 3697415"/>
                  <a:gd name="connsiteY119" fmla="*/ 406241 h 608171"/>
                  <a:gd name="connsiteX120" fmla="*/ 744569 w 3697415"/>
                  <a:gd name="connsiteY120" fmla="*/ 412242 h 608171"/>
                  <a:gd name="connsiteX121" fmla="*/ 759238 w 3697415"/>
                  <a:gd name="connsiteY121" fmla="*/ 412242 h 608171"/>
                  <a:gd name="connsiteX122" fmla="*/ 759238 w 3697415"/>
                  <a:gd name="connsiteY122" fmla="*/ 418338 h 608171"/>
                  <a:gd name="connsiteX123" fmla="*/ 788765 w 3697415"/>
                  <a:gd name="connsiteY123" fmla="*/ 418338 h 608171"/>
                  <a:gd name="connsiteX124" fmla="*/ 788765 w 3697415"/>
                  <a:gd name="connsiteY124" fmla="*/ 424434 h 608171"/>
                  <a:gd name="connsiteX125" fmla="*/ 790861 w 3697415"/>
                  <a:gd name="connsiteY125" fmla="*/ 424434 h 608171"/>
                  <a:gd name="connsiteX126" fmla="*/ 790861 w 3697415"/>
                  <a:gd name="connsiteY126" fmla="*/ 430435 h 608171"/>
                  <a:gd name="connsiteX127" fmla="*/ 813911 w 3697415"/>
                  <a:gd name="connsiteY127" fmla="*/ 430435 h 608171"/>
                  <a:gd name="connsiteX128" fmla="*/ 813911 w 3697415"/>
                  <a:gd name="connsiteY128" fmla="*/ 436531 h 608171"/>
                  <a:gd name="connsiteX129" fmla="*/ 826580 w 3697415"/>
                  <a:gd name="connsiteY129" fmla="*/ 436531 h 608171"/>
                  <a:gd name="connsiteX130" fmla="*/ 826580 w 3697415"/>
                  <a:gd name="connsiteY130" fmla="*/ 442627 h 608171"/>
                  <a:gd name="connsiteX131" fmla="*/ 862298 w 3697415"/>
                  <a:gd name="connsiteY131" fmla="*/ 442627 h 608171"/>
                  <a:gd name="connsiteX132" fmla="*/ 862298 w 3697415"/>
                  <a:gd name="connsiteY132" fmla="*/ 448723 h 608171"/>
                  <a:gd name="connsiteX133" fmla="*/ 978027 w 3697415"/>
                  <a:gd name="connsiteY133" fmla="*/ 448723 h 608171"/>
                  <a:gd name="connsiteX134" fmla="*/ 978027 w 3697415"/>
                  <a:gd name="connsiteY134" fmla="*/ 454724 h 608171"/>
                  <a:gd name="connsiteX135" fmla="*/ 1015841 w 3697415"/>
                  <a:gd name="connsiteY135" fmla="*/ 454724 h 608171"/>
                  <a:gd name="connsiteX136" fmla="*/ 1015841 w 3697415"/>
                  <a:gd name="connsiteY136" fmla="*/ 460915 h 608171"/>
                  <a:gd name="connsiteX137" fmla="*/ 1068419 w 3697415"/>
                  <a:gd name="connsiteY137" fmla="*/ 460915 h 608171"/>
                  <a:gd name="connsiteX138" fmla="*/ 1068419 w 3697415"/>
                  <a:gd name="connsiteY138" fmla="*/ 467011 h 608171"/>
                  <a:gd name="connsiteX139" fmla="*/ 1087374 w 3697415"/>
                  <a:gd name="connsiteY139" fmla="*/ 467011 h 608171"/>
                  <a:gd name="connsiteX140" fmla="*/ 1087374 w 3697415"/>
                  <a:gd name="connsiteY140" fmla="*/ 473107 h 608171"/>
                  <a:gd name="connsiteX141" fmla="*/ 1097852 w 3697415"/>
                  <a:gd name="connsiteY141" fmla="*/ 473107 h 608171"/>
                  <a:gd name="connsiteX142" fmla="*/ 1097852 w 3697415"/>
                  <a:gd name="connsiteY142" fmla="*/ 479298 h 608171"/>
                  <a:gd name="connsiteX143" fmla="*/ 1131570 w 3697415"/>
                  <a:gd name="connsiteY143" fmla="*/ 479298 h 608171"/>
                  <a:gd name="connsiteX144" fmla="*/ 1131570 w 3697415"/>
                  <a:gd name="connsiteY144" fmla="*/ 485394 h 608171"/>
                  <a:gd name="connsiteX145" fmla="*/ 1137857 w 3697415"/>
                  <a:gd name="connsiteY145" fmla="*/ 485394 h 608171"/>
                  <a:gd name="connsiteX146" fmla="*/ 1137857 w 3697415"/>
                  <a:gd name="connsiteY146" fmla="*/ 491490 h 608171"/>
                  <a:gd name="connsiteX147" fmla="*/ 1152525 w 3697415"/>
                  <a:gd name="connsiteY147" fmla="*/ 491490 h 608171"/>
                  <a:gd name="connsiteX148" fmla="*/ 1152525 w 3697415"/>
                  <a:gd name="connsiteY148" fmla="*/ 497586 h 608171"/>
                  <a:gd name="connsiteX149" fmla="*/ 1165193 w 3697415"/>
                  <a:gd name="connsiteY149" fmla="*/ 497586 h 608171"/>
                  <a:gd name="connsiteX150" fmla="*/ 1165193 w 3697415"/>
                  <a:gd name="connsiteY150" fmla="*/ 503777 h 608171"/>
                  <a:gd name="connsiteX151" fmla="*/ 1190435 w 3697415"/>
                  <a:gd name="connsiteY151" fmla="*/ 503777 h 608171"/>
                  <a:gd name="connsiteX152" fmla="*/ 1190435 w 3697415"/>
                  <a:gd name="connsiteY152" fmla="*/ 509873 h 608171"/>
                  <a:gd name="connsiteX153" fmla="*/ 1419701 w 3697415"/>
                  <a:gd name="connsiteY153" fmla="*/ 509873 h 608171"/>
                  <a:gd name="connsiteX154" fmla="*/ 1419701 w 3697415"/>
                  <a:gd name="connsiteY154" fmla="*/ 516065 h 608171"/>
                  <a:gd name="connsiteX155" fmla="*/ 1533239 w 3697415"/>
                  <a:gd name="connsiteY155" fmla="*/ 516065 h 608171"/>
                  <a:gd name="connsiteX156" fmla="*/ 1533239 w 3697415"/>
                  <a:gd name="connsiteY156" fmla="*/ 522256 h 608171"/>
                  <a:gd name="connsiteX157" fmla="*/ 1802416 w 3697415"/>
                  <a:gd name="connsiteY157" fmla="*/ 522256 h 608171"/>
                  <a:gd name="connsiteX158" fmla="*/ 1802416 w 3697415"/>
                  <a:gd name="connsiteY158" fmla="*/ 528542 h 608171"/>
                  <a:gd name="connsiteX159" fmla="*/ 1876044 w 3697415"/>
                  <a:gd name="connsiteY159" fmla="*/ 528542 h 608171"/>
                  <a:gd name="connsiteX160" fmla="*/ 1876044 w 3697415"/>
                  <a:gd name="connsiteY160" fmla="*/ 534829 h 608171"/>
                  <a:gd name="connsiteX161" fmla="*/ 1955959 w 3697415"/>
                  <a:gd name="connsiteY161" fmla="*/ 534829 h 608171"/>
                  <a:gd name="connsiteX162" fmla="*/ 1955959 w 3697415"/>
                  <a:gd name="connsiteY162" fmla="*/ 541115 h 608171"/>
                  <a:gd name="connsiteX163" fmla="*/ 2117884 w 3697415"/>
                  <a:gd name="connsiteY163" fmla="*/ 541115 h 608171"/>
                  <a:gd name="connsiteX164" fmla="*/ 2117884 w 3697415"/>
                  <a:gd name="connsiteY164" fmla="*/ 547592 h 608171"/>
                  <a:gd name="connsiteX165" fmla="*/ 2134743 w 3697415"/>
                  <a:gd name="connsiteY165" fmla="*/ 547592 h 608171"/>
                  <a:gd name="connsiteX166" fmla="*/ 2134743 w 3697415"/>
                  <a:gd name="connsiteY166" fmla="*/ 553974 h 608171"/>
                  <a:gd name="connsiteX167" fmla="*/ 2252567 w 3697415"/>
                  <a:gd name="connsiteY167" fmla="*/ 553974 h 608171"/>
                  <a:gd name="connsiteX168" fmla="*/ 2252567 w 3697415"/>
                  <a:gd name="connsiteY168" fmla="*/ 560451 h 608171"/>
                  <a:gd name="connsiteX169" fmla="*/ 2345055 w 3697415"/>
                  <a:gd name="connsiteY169" fmla="*/ 560451 h 608171"/>
                  <a:gd name="connsiteX170" fmla="*/ 2345055 w 3697415"/>
                  <a:gd name="connsiteY170" fmla="*/ 566833 h 608171"/>
                  <a:gd name="connsiteX171" fmla="*/ 2364010 w 3697415"/>
                  <a:gd name="connsiteY171" fmla="*/ 566833 h 608171"/>
                  <a:gd name="connsiteX172" fmla="*/ 2364010 w 3697415"/>
                  <a:gd name="connsiteY172" fmla="*/ 573310 h 608171"/>
                  <a:gd name="connsiteX173" fmla="*/ 3217831 w 3697415"/>
                  <a:gd name="connsiteY173" fmla="*/ 573310 h 608171"/>
                  <a:gd name="connsiteX174" fmla="*/ 3217831 w 3697415"/>
                  <a:gd name="connsiteY174" fmla="*/ 608171 h 608171"/>
                  <a:gd name="connsiteX175" fmla="*/ 3697415 w 3697415"/>
                  <a:gd name="connsiteY175" fmla="*/ 608171 h 608171"/>
                  <a:gd name="connsiteX0" fmla="*/ 0 w 3657410"/>
                  <a:gd name="connsiteY0" fmla="*/ 0 h 602265"/>
                  <a:gd name="connsiteX1" fmla="*/ 0 w 3657410"/>
                  <a:gd name="connsiteY1" fmla="*/ 6096 h 602265"/>
                  <a:gd name="connsiteX2" fmla="*/ 8382 w 3657410"/>
                  <a:gd name="connsiteY2" fmla="*/ 6096 h 602265"/>
                  <a:gd name="connsiteX3" fmla="*/ 8382 w 3657410"/>
                  <a:gd name="connsiteY3" fmla="*/ 12096 h 602265"/>
                  <a:gd name="connsiteX4" fmla="*/ 18955 w 3657410"/>
                  <a:gd name="connsiteY4" fmla="*/ 12096 h 602265"/>
                  <a:gd name="connsiteX5" fmla="*/ 18955 w 3657410"/>
                  <a:gd name="connsiteY5" fmla="*/ 18097 h 602265"/>
                  <a:gd name="connsiteX6" fmla="*/ 69437 w 3657410"/>
                  <a:gd name="connsiteY6" fmla="*/ 18097 h 602265"/>
                  <a:gd name="connsiteX7" fmla="*/ 69437 w 3657410"/>
                  <a:gd name="connsiteY7" fmla="*/ 24193 h 602265"/>
                  <a:gd name="connsiteX8" fmla="*/ 77819 w 3657410"/>
                  <a:gd name="connsiteY8" fmla="*/ 24193 h 602265"/>
                  <a:gd name="connsiteX9" fmla="*/ 77819 w 3657410"/>
                  <a:gd name="connsiteY9" fmla="*/ 36290 h 602265"/>
                  <a:gd name="connsiteX10" fmla="*/ 84106 w 3657410"/>
                  <a:gd name="connsiteY10" fmla="*/ 36290 h 602265"/>
                  <a:gd name="connsiteX11" fmla="*/ 84106 w 3657410"/>
                  <a:gd name="connsiteY11" fmla="*/ 42386 h 602265"/>
                  <a:gd name="connsiteX12" fmla="*/ 88297 w 3657410"/>
                  <a:gd name="connsiteY12" fmla="*/ 42386 h 602265"/>
                  <a:gd name="connsiteX13" fmla="*/ 88297 w 3657410"/>
                  <a:gd name="connsiteY13" fmla="*/ 48482 h 602265"/>
                  <a:gd name="connsiteX14" fmla="*/ 92488 w 3657410"/>
                  <a:gd name="connsiteY14" fmla="*/ 48482 h 602265"/>
                  <a:gd name="connsiteX15" fmla="*/ 92488 w 3657410"/>
                  <a:gd name="connsiteY15" fmla="*/ 54578 h 602265"/>
                  <a:gd name="connsiteX16" fmla="*/ 94583 w 3657410"/>
                  <a:gd name="connsiteY16" fmla="*/ 54578 h 602265"/>
                  <a:gd name="connsiteX17" fmla="*/ 94583 w 3657410"/>
                  <a:gd name="connsiteY17" fmla="*/ 60579 h 602265"/>
                  <a:gd name="connsiteX18" fmla="*/ 96774 w 3657410"/>
                  <a:gd name="connsiteY18" fmla="*/ 60579 h 602265"/>
                  <a:gd name="connsiteX19" fmla="*/ 96774 w 3657410"/>
                  <a:gd name="connsiteY19" fmla="*/ 66675 h 602265"/>
                  <a:gd name="connsiteX20" fmla="*/ 107251 w 3657410"/>
                  <a:gd name="connsiteY20" fmla="*/ 66675 h 602265"/>
                  <a:gd name="connsiteX21" fmla="*/ 107251 w 3657410"/>
                  <a:gd name="connsiteY21" fmla="*/ 72771 h 602265"/>
                  <a:gd name="connsiteX22" fmla="*/ 113538 w 3657410"/>
                  <a:gd name="connsiteY22" fmla="*/ 72771 h 602265"/>
                  <a:gd name="connsiteX23" fmla="*/ 113538 w 3657410"/>
                  <a:gd name="connsiteY23" fmla="*/ 78771 h 602265"/>
                  <a:gd name="connsiteX24" fmla="*/ 128302 w 3657410"/>
                  <a:gd name="connsiteY24" fmla="*/ 78771 h 602265"/>
                  <a:gd name="connsiteX25" fmla="*/ 128302 w 3657410"/>
                  <a:gd name="connsiteY25" fmla="*/ 84867 h 602265"/>
                  <a:gd name="connsiteX26" fmla="*/ 136684 w 3657410"/>
                  <a:gd name="connsiteY26" fmla="*/ 84867 h 602265"/>
                  <a:gd name="connsiteX27" fmla="*/ 136684 w 3657410"/>
                  <a:gd name="connsiteY27" fmla="*/ 90963 h 602265"/>
                  <a:gd name="connsiteX28" fmla="*/ 147257 w 3657410"/>
                  <a:gd name="connsiteY28" fmla="*/ 90963 h 602265"/>
                  <a:gd name="connsiteX29" fmla="*/ 147257 w 3657410"/>
                  <a:gd name="connsiteY29" fmla="*/ 96964 h 602265"/>
                  <a:gd name="connsiteX30" fmla="*/ 159830 w 3657410"/>
                  <a:gd name="connsiteY30" fmla="*/ 96964 h 602265"/>
                  <a:gd name="connsiteX31" fmla="*/ 159830 w 3657410"/>
                  <a:gd name="connsiteY31" fmla="*/ 103060 h 602265"/>
                  <a:gd name="connsiteX32" fmla="*/ 166116 w 3657410"/>
                  <a:gd name="connsiteY32" fmla="*/ 103060 h 602265"/>
                  <a:gd name="connsiteX33" fmla="*/ 166116 w 3657410"/>
                  <a:gd name="connsiteY33" fmla="*/ 115157 h 602265"/>
                  <a:gd name="connsiteX34" fmla="*/ 170307 w 3657410"/>
                  <a:gd name="connsiteY34" fmla="*/ 115157 h 602265"/>
                  <a:gd name="connsiteX35" fmla="*/ 170307 w 3657410"/>
                  <a:gd name="connsiteY35" fmla="*/ 121253 h 602265"/>
                  <a:gd name="connsiteX36" fmla="*/ 182975 w 3657410"/>
                  <a:gd name="connsiteY36" fmla="*/ 121253 h 602265"/>
                  <a:gd name="connsiteX37" fmla="*/ 182975 w 3657410"/>
                  <a:gd name="connsiteY37" fmla="*/ 127349 h 602265"/>
                  <a:gd name="connsiteX38" fmla="*/ 197644 w 3657410"/>
                  <a:gd name="connsiteY38" fmla="*/ 127349 h 602265"/>
                  <a:gd name="connsiteX39" fmla="*/ 197644 w 3657410"/>
                  <a:gd name="connsiteY39" fmla="*/ 133350 h 602265"/>
                  <a:gd name="connsiteX40" fmla="*/ 201930 w 3657410"/>
                  <a:gd name="connsiteY40" fmla="*/ 133350 h 602265"/>
                  <a:gd name="connsiteX41" fmla="*/ 201930 w 3657410"/>
                  <a:gd name="connsiteY41" fmla="*/ 139446 h 602265"/>
                  <a:gd name="connsiteX42" fmla="*/ 212407 w 3657410"/>
                  <a:gd name="connsiteY42" fmla="*/ 139446 h 602265"/>
                  <a:gd name="connsiteX43" fmla="*/ 212407 w 3657410"/>
                  <a:gd name="connsiteY43" fmla="*/ 145542 h 602265"/>
                  <a:gd name="connsiteX44" fmla="*/ 220790 w 3657410"/>
                  <a:gd name="connsiteY44" fmla="*/ 145542 h 602265"/>
                  <a:gd name="connsiteX45" fmla="*/ 220790 w 3657410"/>
                  <a:gd name="connsiteY45" fmla="*/ 151638 h 602265"/>
                  <a:gd name="connsiteX46" fmla="*/ 235553 w 3657410"/>
                  <a:gd name="connsiteY46" fmla="*/ 151638 h 602265"/>
                  <a:gd name="connsiteX47" fmla="*/ 235553 w 3657410"/>
                  <a:gd name="connsiteY47" fmla="*/ 157638 h 602265"/>
                  <a:gd name="connsiteX48" fmla="*/ 239744 w 3657410"/>
                  <a:gd name="connsiteY48" fmla="*/ 157638 h 602265"/>
                  <a:gd name="connsiteX49" fmla="*/ 239744 w 3657410"/>
                  <a:gd name="connsiteY49" fmla="*/ 163734 h 602265"/>
                  <a:gd name="connsiteX50" fmla="*/ 243935 w 3657410"/>
                  <a:gd name="connsiteY50" fmla="*/ 163734 h 602265"/>
                  <a:gd name="connsiteX51" fmla="*/ 243935 w 3657410"/>
                  <a:gd name="connsiteY51" fmla="*/ 169830 h 602265"/>
                  <a:gd name="connsiteX52" fmla="*/ 256604 w 3657410"/>
                  <a:gd name="connsiteY52" fmla="*/ 169830 h 602265"/>
                  <a:gd name="connsiteX53" fmla="*/ 256604 w 3657410"/>
                  <a:gd name="connsiteY53" fmla="*/ 175831 h 602265"/>
                  <a:gd name="connsiteX54" fmla="*/ 286036 w 3657410"/>
                  <a:gd name="connsiteY54" fmla="*/ 175831 h 602265"/>
                  <a:gd name="connsiteX55" fmla="*/ 286036 w 3657410"/>
                  <a:gd name="connsiteY55" fmla="*/ 181927 h 602265"/>
                  <a:gd name="connsiteX56" fmla="*/ 294418 w 3657410"/>
                  <a:gd name="connsiteY56" fmla="*/ 181927 h 602265"/>
                  <a:gd name="connsiteX57" fmla="*/ 294418 w 3657410"/>
                  <a:gd name="connsiteY57" fmla="*/ 188023 h 602265"/>
                  <a:gd name="connsiteX58" fmla="*/ 296513 w 3657410"/>
                  <a:gd name="connsiteY58" fmla="*/ 188023 h 602265"/>
                  <a:gd name="connsiteX59" fmla="*/ 296513 w 3657410"/>
                  <a:gd name="connsiteY59" fmla="*/ 194024 h 602265"/>
                  <a:gd name="connsiteX60" fmla="*/ 311277 w 3657410"/>
                  <a:gd name="connsiteY60" fmla="*/ 194024 h 602265"/>
                  <a:gd name="connsiteX61" fmla="*/ 311277 w 3657410"/>
                  <a:gd name="connsiteY61" fmla="*/ 206216 h 602265"/>
                  <a:gd name="connsiteX62" fmla="*/ 313373 w 3657410"/>
                  <a:gd name="connsiteY62" fmla="*/ 206216 h 602265"/>
                  <a:gd name="connsiteX63" fmla="*/ 313373 w 3657410"/>
                  <a:gd name="connsiteY63" fmla="*/ 212217 h 602265"/>
                  <a:gd name="connsiteX64" fmla="*/ 319659 w 3657410"/>
                  <a:gd name="connsiteY64" fmla="*/ 212217 h 602265"/>
                  <a:gd name="connsiteX65" fmla="*/ 319659 w 3657410"/>
                  <a:gd name="connsiteY65" fmla="*/ 218313 h 602265"/>
                  <a:gd name="connsiteX66" fmla="*/ 323850 w 3657410"/>
                  <a:gd name="connsiteY66" fmla="*/ 218313 h 602265"/>
                  <a:gd name="connsiteX67" fmla="*/ 323850 w 3657410"/>
                  <a:gd name="connsiteY67" fmla="*/ 224409 h 602265"/>
                  <a:gd name="connsiteX68" fmla="*/ 340709 w 3657410"/>
                  <a:gd name="connsiteY68" fmla="*/ 224409 h 602265"/>
                  <a:gd name="connsiteX69" fmla="*/ 340709 w 3657410"/>
                  <a:gd name="connsiteY69" fmla="*/ 236505 h 602265"/>
                  <a:gd name="connsiteX70" fmla="*/ 344900 w 3657410"/>
                  <a:gd name="connsiteY70" fmla="*/ 236505 h 602265"/>
                  <a:gd name="connsiteX71" fmla="*/ 344900 w 3657410"/>
                  <a:gd name="connsiteY71" fmla="*/ 242601 h 602265"/>
                  <a:gd name="connsiteX72" fmla="*/ 368046 w 3657410"/>
                  <a:gd name="connsiteY72" fmla="*/ 242601 h 602265"/>
                  <a:gd name="connsiteX73" fmla="*/ 368046 w 3657410"/>
                  <a:gd name="connsiteY73" fmla="*/ 248697 h 602265"/>
                  <a:gd name="connsiteX74" fmla="*/ 372237 w 3657410"/>
                  <a:gd name="connsiteY74" fmla="*/ 248697 h 602265"/>
                  <a:gd name="connsiteX75" fmla="*/ 372237 w 3657410"/>
                  <a:gd name="connsiteY75" fmla="*/ 254698 h 602265"/>
                  <a:gd name="connsiteX76" fmla="*/ 378524 w 3657410"/>
                  <a:gd name="connsiteY76" fmla="*/ 254698 h 602265"/>
                  <a:gd name="connsiteX77" fmla="*/ 378524 w 3657410"/>
                  <a:gd name="connsiteY77" fmla="*/ 266890 h 602265"/>
                  <a:gd name="connsiteX78" fmla="*/ 397478 w 3657410"/>
                  <a:gd name="connsiteY78" fmla="*/ 266890 h 602265"/>
                  <a:gd name="connsiteX79" fmla="*/ 397478 w 3657410"/>
                  <a:gd name="connsiteY79" fmla="*/ 272891 h 602265"/>
                  <a:gd name="connsiteX80" fmla="*/ 405860 w 3657410"/>
                  <a:gd name="connsiteY80" fmla="*/ 272891 h 602265"/>
                  <a:gd name="connsiteX81" fmla="*/ 405860 w 3657410"/>
                  <a:gd name="connsiteY81" fmla="*/ 278987 h 602265"/>
                  <a:gd name="connsiteX82" fmla="*/ 418529 w 3657410"/>
                  <a:gd name="connsiteY82" fmla="*/ 278987 h 602265"/>
                  <a:gd name="connsiteX83" fmla="*/ 418529 w 3657410"/>
                  <a:gd name="connsiteY83" fmla="*/ 285083 h 602265"/>
                  <a:gd name="connsiteX84" fmla="*/ 435388 w 3657410"/>
                  <a:gd name="connsiteY84" fmla="*/ 285083 h 602265"/>
                  <a:gd name="connsiteX85" fmla="*/ 435388 w 3657410"/>
                  <a:gd name="connsiteY85" fmla="*/ 291084 h 602265"/>
                  <a:gd name="connsiteX86" fmla="*/ 462725 w 3657410"/>
                  <a:gd name="connsiteY86" fmla="*/ 291084 h 602265"/>
                  <a:gd name="connsiteX87" fmla="*/ 462725 w 3657410"/>
                  <a:gd name="connsiteY87" fmla="*/ 297180 h 602265"/>
                  <a:gd name="connsiteX88" fmla="*/ 464820 w 3657410"/>
                  <a:gd name="connsiteY88" fmla="*/ 297180 h 602265"/>
                  <a:gd name="connsiteX89" fmla="*/ 464820 w 3657410"/>
                  <a:gd name="connsiteY89" fmla="*/ 303276 h 602265"/>
                  <a:gd name="connsiteX90" fmla="*/ 475297 w 3657410"/>
                  <a:gd name="connsiteY90" fmla="*/ 303276 h 602265"/>
                  <a:gd name="connsiteX91" fmla="*/ 475297 w 3657410"/>
                  <a:gd name="connsiteY91" fmla="*/ 309276 h 602265"/>
                  <a:gd name="connsiteX92" fmla="*/ 481584 w 3657410"/>
                  <a:gd name="connsiteY92" fmla="*/ 309276 h 602265"/>
                  <a:gd name="connsiteX93" fmla="*/ 481584 w 3657410"/>
                  <a:gd name="connsiteY93" fmla="*/ 321468 h 602265"/>
                  <a:gd name="connsiteX94" fmla="*/ 490061 w 3657410"/>
                  <a:gd name="connsiteY94" fmla="*/ 321468 h 602265"/>
                  <a:gd name="connsiteX95" fmla="*/ 490061 w 3657410"/>
                  <a:gd name="connsiteY95" fmla="*/ 327469 h 602265"/>
                  <a:gd name="connsiteX96" fmla="*/ 496348 w 3657410"/>
                  <a:gd name="connsiteY96" fmla="*/ 327469 h 602265"/>
                  <a:gd name="connsiteX97" fmla="*/ 496348 w 3657410"/>
                  <a:gd name="connsiteY97" fmla="*/ 339661 h 602265"/>
                  <a:gd name="connsiteX98" fmla="*/ 498443 w 3657410"/>
                  <a:gd name="connsiteY98" fmla="*/ 339661 h 602265"/>
                  <a:gd name="connsiteX99" fmla="*/ 498443 w 3657410"/>
                  <a:gd name="connsiteY99" fmla="*/ 345757 h 602265"/>
                  <a:gd name="connsiteX100" fmla="*/ 511016 w 3657410"/>
                  <a:gd name="connsiteY100" fmla="*/ 345757 h 602265"/>
                  <a:gd name="connsiteX101" fmla="*/ 511016 w 3657410"/>
                  <a:gd name="connsiteY101" fmla="*/ 351758 h 602265"/>
                  <a:gd name="connsiteX102" fmla="*/ 534162 w 3657410"/>
                  <a:gd name="connsiteY102" fmla="*/ 351758 h 602265"/>
                  <a:gd name="connsiteX103" fmla="*/ 534162 w 3657410"/>
                  <a:gd name="connsiteY103" fmla="*/ 357854 h 602265"/>
                  <a:gd name="connsiteX104" fmla="*/ 540544 w 3657410"/>
                  <a:gd name="connsiteY104" fmla="*/ 357854 h 602265"/>
                  <a:gd name="connsiteX105" fmla="*/ 540544 w 3657410"/>
                  <a:gd name="connsiteY105" fmla="*/ 363950 h 602265"/>
                  <a:gd name="connsiteX106" fmla="*/ 548926 w 3657410"/>
                  <a:gd name="connsiteY106" fmla="*/ 363950 h 602265"/>
                  <a:gd name="connsiteX107" fmla="*/ 548926 w 3657410"/>
                  <a:gd name="connsiteY107" fmla="*/ 369951 h 602265"/>
                  <a:gd name="connsiteX108" fmla="*/ 557308 w 3657410"/>
                  <a:gd name="connsiteY108" fmla="*/ 369951 h 602265"/>
                  <a:gd name="connsiteX109" fmla="*/ 557308 w 3657410"/>
                  <a:gd name="connsiteY109" fmla="*/ 376047 h 602265"/>
                  <a:gd name="connsiteX110" fmla="*/ 561499 w 3657410"/>
                  <a:gd name="connsiteY110" fmla="*/ 376047 h 602265"/>
                  <a:gd name="connsiteX111" fmla="*/ 561499 w 3657410"/>
                  <a:gd name="connsiteY111" fmla="*/ 382143 h 602265"/>
                  <a:gd name="connsiteX112" fmla="*/ 635127 w 3657410"/>
                  <a:gd name="connsiteY112" fmla="*/ 382143 h 602265"/>
                  <a:gd name="connsiteX113" fmla="*/ 635127 w 3657410"/>
                  <a:gd name="connsiteY113" fmla="*/ 388143 h 602265"/>
                  <a:gd name="connsiteX114" fmla="*/ 656177 w 3657410"/>
                  <a:gd name="connsiteY114" fmla="*/ 388143 h 602265"/>
                  <a:gd name="connsiteX115" fmla="*/ 656177 w 3657410"/>
                  <a:gd name="connsiteY115" fmla="*/ 394239 h 602265"/>
                  <a:gd name="connsiteX116" fmla="*/ 662464 w 3657410"/>
                  <a:gd name="connsiteY116" fmla="*/ 394239 h 602265"/>
                  <a:gd name="connsiteX117" fmla="*/ 662464 w 3657410"/>
                  <a:gd name="connsiteY117" fmla="*/ 400335 h 602265"/>
                  <a:gd name="connsiteX118" fmla="*/ 704564 w 3657410"/>
                  <a:gd name="connsiteY118" fmla="*/ 400335 h 602265"/>
                  <a:gd name="connsiteX119" fmla="*/ 704564 w 3657410"/>
                  <a:gd name="connsiteY119" fmla="*/ 406336 h 602265"/>
                  <a:gd name="connsiteX120" fmla="*/ 719233 w 3657410"/>
                  <a:gd name="connsiteY120" fmla="*/ 406336 h 602265"/>
                  <a:gd name="connsiteX121" fmla="*/ 719233 w 3657410"/>
                  <a:gd name="connsiteY121" fmla="*/ 412432 h 602265"/>
                  <a:gd name="connsiteX122" fmla="*/ 748760 w 3657410"/>
                  <a:gd name="connsiteY122" fmla="*/ 412432 h 602265"/>
                  <a:gd name="connsiteX123" fmla="*/ 748760 w 3657410"/>
                  <a:gd name="connsiteY123" fmla="*/ 418528 h 602265"/>
                  <a:gd name="connsiteX124" fmla="*/ 750856 w 3657410"/>
                  <a:gd name="connsiteY124" fmla="*/ 418528 h 602265"/>
                  <a:gd name="connsiteX125" fmla="*/ 750856 w 3657410"/>
                  <a:gd name="connsiteY125" fmla="*/ 424529 h 602265"/>
                  <a:gd name="connsiteX126" fmla="*/ 773906 w 3657410"/>
                  <a:gd name="connsiteY126" fmla="*/ 424529 h 602265"/>
                  <a:gd name="connsiteX127" fmla="*/ 773906 w 3657410"/>
                  <a:gd name="connsiteY127" fmla="*/ 430625 h 602265"/>
                  <a:gd name="connsiteX128" fmla="*/ 786575 w 3657410"/>
                  <a:gd name="connsiteY128" fmla="*/ 430625 h 602265"/>
                  <a:gd name="connsiteX129" fmla="*/ 786575 w 3657410"/>
                  <a:gd name="connsiteY129" fmla="*/ 436721 h 602265"/>
                  <a:gd name="connsiteX130" fmla="*/ 822293 w 3657410"/>
                  <a:gd name="connsiteY130" fmla="*/ 436721 h 602265"/>
                  <a:gd name="connsiteX131" fmla="*/ 822293 w 3657410"/>
                  <a:gd name="connsiteY131" fmla="*/ 442817 h 602265"/>
                  <a:gd name="connsiteX132" fmla="*/ 938022 w 3657410"/>
                  <a:gd name="connsiteY132" fmla="*/ 442817 h 602265"/>
                  <a:gd name="connsiteX133" fmla="*/ 938022 w 3657410"/>
                  <a:gd name="connsiteY133" fmla="*/ 448818 h 602265"/>
                  <a:gd name="connsiteX134" fmla="*/ 975836 w 3657410"/>
                  <a:gd name="connsiteY134" fmla="*/ 448818 h 602265"/>
                  <a:gd name="connsiteX135" fmla="*/ 975836 w 3657410"/>
                  <a:gd name="connsiteY135" fmla="*/ 455009 h 602265"/>
                  <a:gd name="connsiteX136" fmla="*/ 1028414 w 3657410"/>
                  <a:gd name="connsiteY136" fmla="*/ 455009 h 602265"/>
                  <a:gd name="connsiteX137" fmla="*/ 1028414 w 3657410"/>
                  <a:gd name="connsiteY137" fmla="*/ 461105 h 602265"/>
                  <a:gd name="connsiteX138" fmla="*/ 1047369 w 3657410"/>
                  <a:gd name="connsiteY138" fmla="*/ 461105 h 602265"/>
                  <a:gd name="connsiteX139" fmla="*/ 1047369 w 3657410"/>
                  <a:gd name="connsiteY139" fmla="*/ 467201 h 602265"/>
                  <a:gd name="connsiteX140" fmla="*/ 1057847 w 3657410"/>
                  <a:gd name="connsiteY140" fmla="*/ 467201 h 602265"/>
                  <a:gd name="connsiteX141" fmla="*/ 1057847 w 3657410"/>
                  <a:gd name="connsiteY141" fmla="*/ 473392 h 602265"/>
                  <a:gd name="connsiteX142" fmla="*/ 1091565 w 3657410"/>
                  <a:gd name="connsiteY142" fmla="*/ 473392 h 602265"/>
                  <a:gd name="connsiteX143" fmla="*/ 1091565 w 3657410"/>
                  <a:gd name="connsiteY143" fmla="*/ 479488 h 602265"/>
                  <a:gd name="connsiteX144" fmla="*/ 1097852 w 3657410"/>
                  <a:gd name="connsiteY144" fmla="*/ 479488 h 602265"/>
                  <a:gd name="connsiteX145" fmla="*/ 1097852 w 3657410"/>
                  <a:gd name="connsiteY145" fmla="*/ 485584 h 602265"/>
                  <a:gd name="connsiteX146" fmla="*/ 1112520 w 3657410"/>
                  <a:gd name="connsiteY146" fmla="*/ 485584 h 602265"/>
                  <a:gd name="connsiteX147" fmla="*/ 1112520 w 3657410"/>
                  <a:gd name="connsiteY147" fmla="*/ 491680 h 602265"/>
                  <a:gd name="connsiteX148" fmla="*/ 1125188 w 3657410"/>
                  <a:gd name="connsiteY148" fmla="*/ 491680 h 602265"/>
                  <a:gd name="connsiteX149" fmla="*/ 1125188 w 3657410"/>
                  <a:gd name="connsiteY149" fmla="*/ 497871 h 602265"/>
                  <a:gd name="connsiteX150" fmla="*/ 1150430 w 3657410"/>
                  <a:gd name="connsiteY150" fmla="*/ 497871 h 602265"/>
                  <a:gd name="connsiteX151" fmla="*/ 1150430 w 3657410"/>
                  <a:gd name="connsiteY151" fmla="*/ 503967 h 602265"/>
                  <a:gd name="connsiteX152" fmla="*/ 1379696 w 3657410"/>
                  <a:gd name="connsiteY152" fmla="*/ 503967 h 602265"/>
                  <a:gd name="connsiteX153" fmla="*/ 1379696 w 3657410"/>
                  <a:gd name="connsiteY153" fmla="*/ 510159 h 602265"/>
                  <a:gd name="connsiteX154" fmla="*/ 1493234 w 3657410"/>
                  <a:gd name="connsiteY154" fmla="*/ 510159 h 602265"/>
                  <a:gd name="connsiteX155" fmla="*/ 1493234 w 3657410"/>
                  <a:gd name="connsiteY155" fmla="*/ 516350 h 602265"/>
                  <a:gd name="connsiteX156" fmla="*/ 1762411 w 3657410"/>
                  <a:gd name="connsiteY156" fmla="*/ 516350 h 602265"/>
                  <a:gd name="connsiteX157" fmla="*/ 1762411 w 3657410"/>
                  <a:gd name="connsiteY157" fmla="*/ 522636 h 602265"/>
                  <a:gd name="connsiteX158" fmla="*/ 1836039 w 3657410"/>
                  <a:gd name="connsiteY158" fmla="*/ 522636 h 602265"/>
                  <a:gd name="connsiteX159" fmla="*/ 1836039 w 3657410"/>
                  <a:gd name="connsiteY159" fmla="*/ 528923 h 602265"/>
                  <a:gd name="connsiteX160" fmla="*/ 1915954 w 3657410"/>
                  <a:gd name="connsiteY160" fmla="*/ 528923 h 602265"/>
                  <a:gd name="connsiteX161" fmla="*/ 1915954 w 3657410"/>
                  <a:gd name="connsiteY161" fmla="*/ 535209 h 602265"/>
                  <a:gd name="connsiteX162" fmla="*/ 2077879 w 3657410"/>
                  <a:gd name="connsiteY162" fmla="*/ 535209 h 602265"/>
                  <a:gd name="connsiteX163" fmla="*/ 2077879 w 3657410"/>
                  <a:gd name="connsiteY163" fmla="*/ 541686 h 602265"/>
                  <a:gd name="connsiteX164" fmla="*/ 2094738 w 3657410"/>
                  <a:gd name="connsiteY164" fmla="*/ 541686 h 602265"/>
                  <a:gd name="connsiteX165" fmla="*/ 2094738 w 3657410"/>
                  <a:gd name="connsiteY165" fmla="*/ 548068 h 602265"/>
                  <a:gd name="connsiteX166" fmla="*/ 2212562 w 3657410"/>
                  <a:gd name="connsiteY166" fmla="*/ 548068 h 602265"/>
                  <a:gd name="connsiteX167" fmla="*/ 2212562 w 3657410"/>
                  <a:gd name="connsiteY167" fmla="*/ 554545 h 602265"/>
                  <a:gd name="connsiteX168" fmla="*/ 2305050 w 3657410"/>
                  <a:gd name="connsiteY168" fmla="*/ 554545 h 602265"/>
                  <a:gd name="connsiteX169" fmla="*/ 2305050 w 3657410"/>
                  <a:gd name="connsiteY169" fmla="*/ 560927 h 602265"/>
                  <a:gd name="connsiteX170" fmla="*/ 2324005 w 3657410"/>
                  <a:gd name="connsiteY170" fmla="*/ 560927 h 602265"/>
                  <a:gd name="connsiteX171" fmla="*/ 2324005 w 3657410"/>
                  <a:gd name="connsiteY171" fmla="*/ 567404 h 602265"/>
                  <a:gd name="connsiteX172" fmla="*/ 3177826 w 3657410"/>
                  <a:gd name="connsiteY172" fmla="*/ 567404 h 602265"/>
                  <a:gd name="connsiteX173" fmla="*/ 3177826 w 3657410"/>
                  <a:gd name="connsiteY173" fmla="*/ 602265 h 602265"/>
                  <a:gd name="connsiteX174" fmla="*/ 3657410 w 3657410"/>
                  <a:gd name="connsiteY174" fmla="*/ 602265 h 602265"/>
                  <a:gd name="connsiteX0" fmla="*/ 0 w 3657410"/>
                  <a:gd name="connsiteY0" fmla="*/ 0 h 602265"/>
                  <a:gd name="connsiteX1" fmla="*/ 8382 w 3657410"/>
                  <a:gd name="connsiteY1" fmla="*/ 6096 h 602265"/>
                  <a:gd name="connsiteX2" fmla="*/ 8382 w 3657410"/>
                  <a:gd name="connsiteY2" fmla="*/ 12096 h 602265"/>
                  <a:gd name="connsiteX3" fmla="*/ 18955 w 3657410"/>
                  <a:gd name="connsiteY3" fmla="*/ 12096 h 602265"/>
                  <a:gd name="connsiteX4" fmla="*/ 18955 w 3657410"/>
                  <a:gd name="connsiteY4" fmla="*/ 18097 h 602265"/>
                  <a:gd name="connsiteX5" fmla="*/ 69437 w 3657410"/>
                  <a:gd name="connsiteY5" fmla="*/ 18097 h 602265"/>
                  <a:gd name="connsiteX6" fmla="*/ 69437 w 3657410"/>
                  <a:gd name="connsiteY6" fmla="*/ 24193 h 602265"/>
                  <a:gd name="connsiteX7" fmla="*/ 77819 w 3657410"/>
                  <a:gd name="connsiteY7" fmla="*/ 24193 h 602265"/>
                  <a:gd name="connsiteX8" fmla="*/ 77819 w 3657410"/>
                  <a:gd name="connsiteY8" fmla="*/ 36290 h 602265"/>
                  <a:gd name="connsiteX9" fmla="*/ 84106 w 3657410"/>
                  <a:gd name="connsiteY9" fmla="*/ 36290 h 602265"/>
                  <a:gd name="connsiteX10" fmla="*/ 84106 w 3657410"/>
                  <a:gd name="connsiteY10" fmla="*/ 42386 h 602265"/>
                  <a:gd name="connsiteX11" fmla="*/ 88297 w 3657410"/>
                  <a:gd name="connsiteY11" fmla="*/ 42386 h 602265"/>
                  <a:gd name="connsiteX12" fmla="*/ 88297 w 3657410"/>
                  <a:gd name="connsiteY12" fmla="*/ 48482 h 602265"/>
                  <a:gd name="connsiteX13" fmla="*/ 92488 w 3657410"/>
                  <a:gd name="connsiteY13" fmla="*/ 48482 h 602265"/>
                  <a:gd name="connsiteX14" fmla="*/ 92488 w 3657410"/>
                  <a:gd name="connsiteY14" fmla="*/ 54578 h 602265"/>
                  <a:gd name="connsiteX15" fmla="*/ 94583 w 3657410"/>
                  <a:gd name="connsiteY15" fmla="*/ 54578 h 602265"/>
                  <a:gd name="connsiteX16" fmla="*/ 94583 w 3657410"/>
                  <a:gd name="connsiteY16" fmla="*/ 60579 h 602265"/>
                  <a:gd name="connsiteX17" fmla="*/ 96774 w 3657410"/>
                  <a:gd name="connsiteY17" fmla="*/ 60579 h 602265"/>
                  <a:gd name="connsiteX18" fmla="*/ 96774 w 3657410"/>
                  <a:gd name="connsiteY18" fmla="*/ 66675 h 602265"/>
                  <a:gd name="connsiteX19" fmla="*/ 107251 w 3657410"/>
                  <a:gd name="connsiteY19" fmla="*/ 66675 h 602265"/>
                  <a:gd name="connsiteX20" fmla="*/ 107251 w 3657410"/>
                  <a:gd name="connsiteY20" fmla="*/ 72771 h 602265"/>
                  <a:gd name="connsiteX21" fmla="*/ 113538 w 3657410"/>
                  <a:gd name="connsiteY21" fmla="*/ 72771 h 602265"/>
                  <a:gd name="connsiteX22" fmla="*/ 113538 w 3657410"/>
                  <a:gd name="connsiteY22" fmla="*/ 78771 h 602265"/>
                  <a:gd name="connsiteX23" fmla="*/ 128302 w 3657410"/>
                  <a:gd name="connsiteY23" fmla="*/ 78771 h 602265"/>
                  <a:gd name="connsiteX24" fmla="*/ 128302 w 3657410"/>
                  <a:gd name="connsiteY24" fmla="*/ 84867 h 602265"/>
                  <a:gd name="connsiteX25" fmla="*/ 136684 w 3657410"/>
                  <a:gd name="connsiteY25" fmla="*/ 84867 h 602265"/>
                  <a:gd name="connsiteX26" fmla="*/ 136684 w 3657410"/>
                  <a:gd name="connsiteY26" fmla="*/ 90963 h 602265"/>
                  <a:gd name="connsiteX27" fmla="*/ 147257 w 3657410"/>
                  <a:gd name="connsiteY27" fmla="*/ 90963 h 602265"/>
                  <a:gd name="connsiteX28" fmla="*/ 147257 w 3657410"/>
                  <a:gd name="connsiteY28" fmla="*/ 96964 h 602265"/>
                  <a:gd name="connsiteX29" fmla="*/ 159830 w 3657410"/>
                  <a:gd name="connsiteY29" fmla="*/ 96964 h 602265"/>
                  <a:gd name="connsiteX30" fmla="*/ 159830 w 3657410"/>
                  <a:gd name="connsiteY30" fmla="*/ 103060 h 602265"/>
                  <a:gd name="connsiteX31" fmla="*/ 166116 w 3657410"/>
                  <a:gd name="connsiteY31" fmla="*/ 103060 h 602265"/>
                  <a:gd name="connsiteX32" fmla="*/ 166116 w 3657410"/>
                  <a:gd name="connsiteY32" fmla="*/ 115157 h 602265"/>
                  <a:gd name="connsiteX33" fmla="*/ 170307 w 3657410"/>
                  <a:gd name="connsiteY33" fmla="*/ 115157 h 602265"/>
                  <a:gd name="connsiteX34" fmla="*/ 170307 w 3657410"/>
                  <a:gd name="connsiteY34" fmla="*/ 121253 h 602265"/>
                  <a:gd name="connsiteX35" fmla="*/ 182975 w 3657410"/>
                  <a:gd name="connsiteY35" fmla="*/ 121253 h 602265"/>
                  <a:gd name="connsiteX36" fmla="*/ 182975 w 3657410"/>
                  <a:gd name="connsiteY36" fmla="*/ 127349 h 602265"/>
                  <a:gd name="connsiteX37" fmla="*/ 197644 w 3657410"/>
                  <a:gd name="connsiteY37" fmla="*/ 127349 h 602265"/>
                  <a:gd name="connsiteX38" fmla="*/ 197644 w 3657410"/>
                  <a:gd name="connsiteY38" fmla="*/ 133350 h 602265"/>
                  <a:gd name="connsiteX39" fmla="*/ 201930 w 3657410"/>
                  <a:gd name="connsiteY39" fmla="*/ 133350 h 602265"/>
                  <a:gd name="connsiteX40" fmla="*/ 201930 w 3657410"/>
                  <a:gd name="connsiteY40" fmla="*/ 139446 h 602265"/>
                  <a:gd name="connsiteX41" fmla="*/ 212407 w 3657410"/>
                  <a:gd name="connsiteY41" fmla="*/ 139446 h 602265"/>
                  <a:gd name="connsiteX42" fmla="*/ 212407 w 3657410"/>
                  <a:gd name="connsiteY42" fmla="*/ 145542 h 602265"/>
                  <a:gd name="connsiteX43" fmla="*/ 220790 w 3657410"/>
                  <a:gd name="connsiteY43" fmla="*/ 145542 h 602265"/>
                  <a:gd name="connsiteX44" fmla="*/ 220790 w 3657410"/>
                  <a:gd name="connsiteY44" fmla="*/ 151638 h 602265"/>
                  <a:gd name="connsiteX45" fmla="*/ 235553 w 3657410"/>
                  <a:gd name="connsiteY45" fmla="*/ 151638 h 602265"/>
                  <a:gd name="connsiteX46" fmla="*/ 235553 w 3657410"/>
                  <a:gd name="connsiteY46" fmla="*/ 157638 h 602265"/>
                  <a:gd name="connsiteX47" fmla="*/ 239744 w 3657410"/>
                  <a:gd name="connsiteY47" fmla="*/ 157638 h 602265"/>
                  <a:gd name="connsiteX48" fmla="*/ 239744 w 3657410"/>
                  <a:gd name="connsiteY48" fmla="*/ 163734 h 602265"/>
                  <a:gd name="connsiteX49" fmla="*/ 243935 w 3657410"/>
                  <a:gd name="connsiteY49" fmla="*/ 163734 h 602265"/>
                  <a:gd name="connsiteX50" fmla="*/ 243935 w 3657410"/>
                  <a:gd name="connsiteY50" fmla="*/ 169830 h 602265"/>
                  <a:gd name="connsiteX51" fmla="*/ 256604 w 3657410"/>
                  <a:gd name="connsiteY51" fmla="*/ 169830 h 602265"/>
                  <a:gd name="connsiteX52" fmla="*/ 256604 w 3657410"/>
                  <a:gd name="connsiteY52" fmla="*/ 175831 h 602265"/>
                  <a:gd name="connsiteX53" fmla="*/ 286036 w 3657410"/>
                  <a:gd name="connsiteY53" fmla="*/ 175831 h 602265"/>
                  <a:gd name="connsiteX54" fmla="*/ 286036 w 3657410"/>
                  <a:gd name="connsiteY54" fmla="*/ 181927 h 602265"/>
                  <a:gd name="connsiteX55" fmla="*/ 294418 w 3657410"/>
                  <a:gd name="connsiteY55" fmla="*/ 181927 h 602265"/>
                  <a:gd name="connsiteX56" fmla="*/ 294418 w 3657410"/>
                  <a:gd name="connsiteY56" fmla="*/ 188023 h 602265"/>
                  <a:gd name="connsiteX57" fmla="*/ 296513 w 3657410"/>
                  <a:gd name="connsiteY57" fmla="*/ 188023 h 602265"/>
                  <a:gd name="connsiteX58" fmla="*/ 296513 w 3657410"/>
                  <a:gd name="connsiteY58" fmla="*/ 194024 h 602265"/>
                  <a:gd name="connsiteX59" fmla="*/ 311277 w 3657410"/>
                  <a:gd name="connsiteY59" fmla="*/ 194024 h 602265"/>
                  <a:gd name="connsiteX60" fmla="*/ 311277 w 3657410"/>
                  <a:gd name="connsiteY60" fmla="*/ 206216 h 602265"/>
                  <a:gd name="connsiteX61" fmla="*/ 313373 w 3657410"/>
                  <a:gd name="connsiteY61" fmla="*/ 206216 h 602265"/>
                  <a:gd name="connsiteX62" fmla="*/ 313373 w 3657410"/>
                  <a:gd name="connsiteY62" fmla="*/ 212217 h 602265"/>
                  <a:gd name="connsiteX63" fmla="*/ 319659 w 3657410"/>
                  <a:gd name="connsiteY63" fmla="*/ 212217 h 602265"/>
                  <a:gd name="connsiteX64" fmla="*/ 319659 w 3657410"/>
                  <a:gd name="connsiteY64" fmla="*/ 218313 h 602265"/>
                  <a:gd name="connsiteX65" fmla="*/ 323850 w 3657410"/>
                  <a:gd name="connsiteY65" fmla="*/ 218313 h 602265"/>
                  <a:gd name="connsiteX66" fmla="*/ 323850 w 3657410"/>
                  <a:gd name="connsiteY66" fmla="*/ 224409 h 602265"/>
                  <a:gd name="connsiteX67" fmla="*/ 340709 w 3657410"/>
                  <a:gd name="connsiteY67" fmla="*/ 224409 h 602265"/>
                  <a:gd name="connsiteX68" fmla="*/ 340709 w 3657410"/>
                  <a:gd name="connsiteY68" fmla="*/ 236505 h 602265"/>
                  <a:gd name="connsiteX69" fmla="*/ 344900 w 3657410"/>
                  <a:gd name="connsiteY69" fmla="*/ 236505 h 602265"/>
                  <a:gd name="connsiteX70" fmla="*/ 344900 w 3657410"/>
                  <a:gd name="connsiteY70" fmla="*/ 242601 h 602265"/>
                  <a:gd name="connsiteX71" fmla="*/ 368046 w 3657410"/>
                  <a:gd name="connsiteY71" fmla="*/ 242601 h 602265"/>
                  <a:gd name="connsiteX72" fmla="*/ 368046 w 3657410"/>
                  <a:gd name="connsiteY72" fmla="*/ 248697 h 602265"/>
                  <a:gd name="connsiteX73" fmla="*/ 372237 w 3657410"/>
                  <a:gd name="connsiteY73" fmla="*/ 248697 h 602265"/>
                  <a:gd name="connsiteX74" fmla="*/ 372237 w 3657410"/>
                  <a:gd name="connsiteY74" fmla="*/ 254698 h 602265"/>
                  <a:gd name="connsiteX75" fmla="*/ 378524 w 3657410"/>
                  <a:gd name="connsiteY75" fmla="*/ 254698 h 602265"/>
                  <a:gd name="connsiteX76" fmla="*/ 378524 w 3657410"/>
                  <a:gd name="connsiteY76" fmla="*/ 266890 h 602265"/>
                  <a:gd name="connsiteX77" fmla="*/ 397478 w 3657410"/>
                  <a:gd name="connsiteY77" fmla="*/ 266890 h 602265"/>
                  <a:gd name="connsiteX78" fmla="*/ 397478 w 3657410"/>
                  <a:gd name="connsiteY78" fmla="*/ 272891 h 602265"/>
                  <a:gd name="connsiteX79" fmla="*/ 405860 w 3657410"/>
                  <a:gd name="connsiteY79" fmla="*/ 272891 h 602265"/>
                  <a:gd name="connsiteX80" fmla="*/ 405860 w 3657410"/>
                  <a:gd name="connsiteY80" fmla="*/ 278987 h 602265"/>
                  <a:gd name="connsiteX81" fmla="*/ 418529 w 3657410"/>
                  <a:gd name="connsiteY81" fmla="*/ 278987 h 602265"/>
                  <a:gd name="connsiteX82" fmla="*/ 418529 w 3657410"/>
                  <a:gd name="connsiteY82" fmla="*/ 285083 h 602265"/>
                  <a:gd name="connsiteX83" fmla="*/ 435388 w 3657410"/>
                  <a:gd name="connsiteY83" fmla="*/ 285083 h 602265"/>
                  <a:gd name="connsiteX84" fmla="*/ 435388 w 3657410"/>
                  <a:gd name="connsiteY84" fmla="*/ 291084 h 602265"/>
                  <a:gd name="connsiteX85" fmla="*/ 462725 w 3657410"/>
                  <a:gd name="connsiteY85" fmla="*/ 291084 h 602265"/>
                  <a:gd name="connsiteX86" fmla="*/ 462725 w 3657410"/>
                  <a:gd name="connsiteY86" fmla="*/ 297180 h 602265"/>
                  <a:gd name="connsiteX87" fmla="*/ 464820 w 3657410"/>
                  <a:gd name="connsiteY87" fmla="*/ 297180 h 602265"/>
                  <a:gd name="connsiteX88" fmla="*/ 464820 w 3657410"/>
                  <a:gd name="connsiteY88" fmla="*/ 303276 h 602265"/>
                  <a:gd name="connsiteX89" fmla="*/ 475297 w 3657410"/>
                  <a:gd name="connsiteY89" fmla="*/ 303276 h 602265"/>
                  <a:gd name="connsiteX90" fmla="*/ 475297 w 3657410"/>
                  <a:gd name="connsiteY90" fmla="*/ 309276 h 602265"/>
                  <a:gd name="connsiteX91" fmla="*/ 481584 w 3657410"/>
                  <a:gd name="connsiteY91" fmla="*/ 309276 h 602265"/>
                  <a:gd name="connsiteX92" fmla="*/ 481584 w 3657410"/>
                  <a:gd name="connsiteY92" fmla="*/ 321468 h 602265"/>
                  <a:gd name="connsiteX93" fmla="*/ 490061 w 3657410"/>
                  <a:gd name="connsiteY93" fmla="*/ 321468 h 602265"/>
                  <a:gd name="connsiteX94" fmla="*/ 490061 w 3657410"/>
                  <a:gd name="connsiteY94" fmla="*/ 327469 h 602265"/>
                  <a:gd name="connsiteX95" fmla="*/ 496348 w 3657410"/>
                  <a:gd name="connsiteY95" fmla="*/ 327469 h 602265"/>
                  <a:gd name="connsiteX96" fmla="*/ 496348 w 3657410"/>
                  <a:gd name="connsiteY96" fmla="*/ 339661 h 602265"/>
                  <a:gd name="connsiteX97" fmla="*/ 498443 w 3657410"/>
                  <a:gd name="connsiteY97" fmla="*/ 339661 h 602265"/>
                  <a:gd name="connsiteX98" fmla="*/ 498443 w 3657410"/>
                  <a:gd name="connsiteY98" fmla="*/ 345757 h 602265"/>
                  <a:gd name="connsiteX99" fmla="*/ 511016 w 3657410"/>
                  <a:gd name="connsiteY99" fmla="*/ 345757 h 602265"/>
                  <a:gd name="connsiteX100" fmla="*/ 511016 w 3657410"/>
                  <a:gd name="connsiteY100" fmla="*/ 351758 h 602265"/>
                  <a:gd name="connsiteX101" fmla="*/ 534162 w 3657410"/>
                  <a:gd name="connsiteY101" fmla="*/ 351758 h 602265"/>
                  <a:gd name="connsiteX102" fmla="*/ 534162 w 3657410"/>
                  <a:gd name="connsiteY102" fmla="*/ 357854 h 602265"/>
                  <a:gd name="connsiteX103" fmla="*/ 540544 w 3657410"/>
                  <a:gd name="connsiteY103" fmla="*/ 357854 h 602265"/>
                  <a:gd name="connsiteX104" fmla="*/ 540544 w 3657410"/>
                  <a:gd name="connsiteY104" fmla="*/ 363950 h 602265"/>
                  <a:gd name="connsiteX105" fmla="*/ 548926 w 3657410"/>
                  <a:gd name="connsiteY105" fmla="*/ 363950 h 602265"/>
                  <a:gd name="connsiteX106" fmla="*/ 548926 w 3657410"/>
                  <a:gd name="connsiteY106" fmla="*/ 369951 h 602265"/>
                  <a:gd name="connsiteX107" fmla="*/ 557308 w 3657410"/>
                  <a:gd name="connsiteY107" fmla="*/ 369951 h 602265"/>
                  <a:gd name="connsiteX108" fmla="*/ 557308 w 3657410"/>
                  <a:gd name="connsiteY108" fmla="*/ 376047 h 602265"/>
                  <a:gd name="connsiteX109" fmla="*/ 561499 w 3657410"/>
                  <a:gd name="connsiteY109" fmla="*/ 376047 h 602265"/>
                  <a:gd name="connsiteX110" fmla="*/ 561499 w 3657410"/>
                  <a:gd name="connsiteY110" fmla="*/ 382143 h 602265"/>
                  <a:gd name="connsiteX111" fmla="*/ 635127 w 3657410"/>
                  <a:gd name="connsiteY111" fmla="*/ 382143 h 602265"/>
                  <a:gd name="connsiteX112" fmla="*/ 635127 w 3657410"/>
                  <a:gd name="connsiteY112" fmla="*/ 388143 h 602265"/>
                  <a:gd name="connsiteX113" fmla="*/ 656177 w 3657410"/>
                  <a:gd name="connsiteY113" fmla="*/ 388143 h 602265"/>
                  <a:gd name="connsiteX114" fmla="*/ 656177 w 3657410"/>
                  <a:gd name="connsiteY114" fmla="*/ 394239 h 602265"/>
                  <a:gd name="connsiteX115" fmla="*/ 662464 w 3657410"/>
                  <a:gd name="connsiteY115" fmla="*/ 394239 h 602265"/>
                  <a:gd name="connsiteX116" fmla="*/ 662464 w 3657410"/>
                  <a:gd name="connsiteY116" fmla="*/ 400335 h 602265"/>
                  <a:gd name="connsiteX117" fmla="*/ 704564 w 3657410"/>
                  <a:gd name="connsiteY117" fmla="*/ 400335 h 602265"/>
                  <a:gd name="connsiteX118" fmla="*/ 704564 w 3657410"/>
                  <a:gd name="connsiteY118" fmla="*/ 406336 h 602265"/>
                  <a:gd name="connsiteX119" fmla="*/ 719233 w 3657410"/>
                  <a:gd name="connsiteY119" fmla="*/ 406336 h 602265"/>
                  <a:gd name="connsiteX120" fmla="*/ 719233 w 3657410"/>
                  <a:gd name="connsiteY120" fmla="*/ 412432 h 602265"/>
                  <a:gd name="connsiteX121" fmla="*/ 748760 w 3657410"/>
                  <a:gd name="connsiteY121" fmla="*/ 412432 h 602265"/>
                  <a:gd name="connsiteX122" fmla="*/ 748760 w 3657410"/>
                  <a:gd name="connsiteY122" fmla="*/ 418528 h 602265"/>
                  <a:gd name="connsiteX123" fmla="*/ 750856 w 3657410"/>
                  <a:gd name="connsiteY123" fmla="*/ 418528 h 602265"/>
                  <a:gd name="connsiteX124" fmla="*/ 750856 w 3657410"/>
                  <a:gd name="connsiteY124" fmla="*/ 424529 h 602265"/>
                  <a:gd name="connsiteX125" fmla="*/ 773906 w 3657410"/>
                  <a:gd name="connsiteY125" fmla="*/ 424529 h 602265"/>
                  <a:gd name="connsiteX126" fmla="*/ 773906 w 3657410"/>
                  <a:gd name="connsiteY126" fmla="*/ 430625 h 602265"/>
                  <a:gd name="connsiteX127" fmla="*/ 786575 w 3657410"/>
                  <a:gd name="connsiteY127" fmla="*/ 430625 h 602265"/>
                  <a:gd name="connsiteX128" fmla="*/ 786575 w 3657410"/>
                  <a:gd name="connsiteY128" fmla="*/ 436721 h 602265"/>
                  <a:gd name="connsiteX129" fmla="*/ 822293 w 3657410"/>
                  <a:gd name="connsiteY129" fmla="*/ 436721 h 602265"/>
                  <a:gd name="connsiteX130" fmla="*/ 822293 w 3657410"/>
                  <a:gd name="connsiteY130" fmla="*/ 442817 h 602265"/>
                  <a:gd name="connsiteX131" fmla="*/ 938022 w 3657410"/>
                  <a:gd name="connsiteY131" fmla="*/ 442817 h 602265"/>
                  <a:gd name="connsiteX132" fmla="*/ 938022 w 3657410"/>
                  <a:gd name="connsiteY132" fmla="*/ 448818 h 602265"/>
                  <a:gd name="connsiteX133" fmla="*/ 975836 w 3657410"/>
                  <a:gd name="connsiteY133" fmla="*/ 448818 h 602265"/>
                  <a:gd name="connsiteX134" fmla="*/ 975836 w 3657410"/>
                  <a:gd name="connsiteY134" fmla="*/ 455009 h 602265"/>
                  <a:gd name="connsiteX135" fmla="*/ 1028414 w 3657410"/>
                  <a:gd name="connsiteY135" fmla="*/ 455009 h 602265"/>
                  <a:gd name="connsiteX136" fmla="*/ 1028414 w 3657410"/>
                  <a:gd name="connsiteY136" fmla="*/ 461105 h 602265"/>
                  <a:gd name="connsiteX137" fmla="*/ 1047369 w 3657410"/>
                  <a:gd name="connsiteY137" fmla="*/ 461105 h 602265"/>
                  <a:gd name="connsiteX138" fmla="*/ 1047369 w 3657410"/>
                  <a:gd name="connsiteY138" fmla="*/ 467201 h 602265"/>
                  <a:gd name="connsiteX139" fmla="*/ 1057847 w 3657410"/>
                  <a:gd name="connsiteY139" fmla="*/ 467201 h 602265"/>
                  <a:gd name="connsiteX140" fmla="*/ 1057847 w 3657410"/>
                  <a:gd name="connsiteY140" fmla="*/ 473392 h 602265"/>
                  <a:gd name="connsiteX141" fmla="*/ 1091565 w 3657410"/>
                  <a:gd name="connsiteY141" fmla="*/ 473392 h 602265"/>
                  <a:gd name="connsiteX142" fmla="*/ 1091565 w 3657410"/>
                  <a:gd name="connsiteY142" fmla="*/ 479488 h 602265"/>
                  <a:gd name="connsiteX143" fmla="*/ 1097852 w 3657410"/>
                  <a:gd name="connsiteY143" fmla="*/ 479488 h 602265"/>
                  <a:gd name="connsiteX144" fmla="*/ 1097852 w 3657410"/>
                  <a:gd name="connsiteY144" fmla="*/ 485584 h 602265"/>
                  <a:gd name="connsiteX145" fmla="*/ 1112520 w 3657410"/>
                  <a:gd name="connsiteY145" fmla="*/ 485584 h 602265"/>
                  <a:gd name="connsiteX146" fmla="*/ 1112520 w 3657410"/>
                  <a:gd name="connsiteY146" fmla="*/ 491680 h 602265"/>
                  <a:gd name="connsiteX147" fmla="*/ 1125188 w 3657410"/>
                  <a:gd name="connsiteY147" fmla="*/ 491680 h 602265"/>
                  <a:gd name="connsiteX148" fmla="*/ 1125188 w 3657410"/>
                  <a:gd name="connsiteY148" fmla="*/ 497871 h 602265"/>
                  <a:gd name="connsiteX149" fmla="*/ 1150430 w 3657410"/>
                  <a:gd name="connsiteY149" fmla="*/ 497871 h 602265"/>
                  <a:gd name="connsiteX150" fmla="*/ 1150430 w 3657410"/>
                  <a:gd name="connsiteY150" fmla="*/ 503967 h 602265"/>
                  <a:gd name="connsiteX151" fmla="*/ 1379696 w 3657410"/>
                  <a:gd name="connsiteY151" fmla="*/ 503967 h 602265"/>
                  <a:gd name="connsiteX152" fmla="*/ 1379696 w 3657410"/>
                  <a:gd name="connsiteY152" fmla="*/ 510159 h 602265"/>
                  <a:gd name="connsiteX153" fmla="*/ 1493234 w 3657410"/>
                  <a:gd name="connsiteY153" fmla="*/ 510159 h 602265"/>
                  <a:gd name="connsiteX154" fmla="*/ 1493234 w 3657410"/>
                  <a:gd name="connsiteY154" fmla="*/ 516350 h 602265"/>
                  <a:gd name="connsiteX155" fmla="*/ 1762411 w 3657410"/>
                  <a:gd name="connsiteY155" fmla="*/ 516350 h 602265"/>
                  <a:gd name="connsiteX156" fmla="*/ 1762411 w 3657410"/>
                  <a:gd name="connsiteY156" fmla="*/ 522636 h 602265"/>
                  <a:gd name="connsiteX157" fmla="*/ 1836039 w 3657410"/>
                  <a:gd name="connsiteY157" fmla="*/ 522636 h 602265"/>
                  <a:gd name="connsiteX158" fmla="*/ 1836039 w 3657410"/>
                  <a:gd name="connsiteY158" fmla="*/ 528923 h 602265"/>
                  <a:gd name="connsiteX159" fmla="*/ 1915954 w 3657410"/>
                  <a:gd name="connsiteY159" fmla="*/ 528923 h 602265"/>
                  <a:gd name="connsiteX160" fmla="*/ 1915954 w 3657410"/>
                  <a:gd name="connsiteY160" fmla="*/ 535209 h 602265"/>
                  <a:gd name="connsiteX161" fmla="*/ 2077879 w 3657410"/>
                  <a:gd name="connsiteY161" fmla="*/ 535209 h 602265"/>
                  <a:gd name="connsiteX162" fmla="*/ 2077879 w 3657410"/>
                  <a:gd name="connsiteY162" fmla="*/ 541686 h 602265"/>
                  <a:gd name="connsiteX163" fmla="*/ 2094738 w 3657410"/>
                  <a:gd name="connsiteY163" fmla="*/ 541686 h 602265"/>
                  <a:gd name="connsiteX164" fmla="*/ 2094738 w 3657410"/>
                  <a:gd name="connsiteY164" fmla="*/ 548068 h 602265"/>
                  <a:gd name="connsiteX165" fmla="*/ 2212562 w 3657410"/>
                  <a:gd name="connsiteY165" fmla="*/ 548068 h 602265"/>
                  <a:gd name="connsiteX166" fmla="*/ 2212562 w 3657410"/>
                  <a:gd name="connsiteY166" fmla="*/ 554545 h 602265"/>
                  <a:gd name="connsiteX167" fmla="*/ 2305050 w 3657410"/>
                  <a:gd name="connsiteY167" fmla="*/ 554545 h 602265"/>
                  <a:gd name="connsiteX168" fmla="*/ 2305050 w 3657410"/>
                  <a:gd name="connsiteY168" fmla="*/ 560927 h 602265"/>
                  <a:gd name="connsiteX169" fmla="*/ 2324005 w 3657410"/>
                  <a:gd name="connsiteY169" fmla="*/ 560927 h 602265"/>
                  <a:gd name="connsiteX170" fmla="*/ 2324005 w 3657410"/>
                  <a:gd name="connsiteY170" fmla="*/ 567404 h 602265"/>
                  <a:gd name="connsiteX171" fmla="*/ 3177826 w 3657410"/>
                  <a:gd name="connsiteY171" fmla="*/ 567404 h 602265"/>
                  <a:gd name="connsiteX172" fmla="*/ 3177826 w 3657410"/>
                  <a:gd name="connsiteY172" fmla="*/ 602265 h 602265"/>
                  <a:gd name="connsiteX173" fmla="*/ 3657410 w 3657410"/>
                  <a:gd name="connsiteY173" fmla="*/ 602265 h 602265"/>
                  <a:gd name="connsiteX0" fmla="*/ 0 w 3649028"/>
                  <a:gd name="connsiteY0" fmla="*/ 0 h 596169"/>
                  <a:gd name="connsiteX1" fmla="*/ 0 w 3649028"/>
                  <a:gd name="connsiteY1" fmla="*/ 6000 h 596169"/>
                  <a:gd name="connsiteX2" fmla="*/ 10573 w 3649028"/>
                  <a:gd name="connsiteY2" fmla="*/ 6000 h 596169"/>
                  <a:gd name="connsiteX3" fmla="*/ 10573 w 3649028"/>
                  <a:gd name="connsiteY3" fmla="*/ 12001 h 596169"/>
                  <a:gd name="connsiteX4" fmla="*/ 61055 w 3649028"/>
                  <a:gd name="connsiteY4" fmla="*/ 12001 h 596169"/>
                  <a:gd name="connsiteX5" fmla="*/ 61055 w 3649028"/>
                  <a:gd name="connsiteY5" fmla="*/ 18097 h 596169"/>
                  <a:gd name="connsiteX6" fmla="*/ 69437 w 3649028"/>
                  <a:gd name="connsiteY6" fmla="*/ 18097 h 596169"/>
                  <a:gd name="connsiteX7" fmla="*/ 69437 w 3649028"/>
                  <a:gd name="connsiteY7" fmla="*/ 30194 h 596169"/>
                  <a:gd name="connsiteX8" fmla="*/ 75724 w 3649028"/>
                  <a:gd name="connsiteY8" fmla="*/ 30194 h 596169"/>
                  <a:gd name="connsiteX9" fmla="*/ 75724 w 3649028"/>
                  <a:gd name="connsiteY9" fmla="*/ 36290 h 596169"/>
                  <a:gd name="connsiteX10" fmla="*/ 79915 w 3649028"/>
                  <a:gd name="connsiteY10" fmla="*/ 36290 h 596169"/>
                  <a:gd name="connsiteX11" fmla="*/ 79915 w 3649028"/>
                  <a:gd name="connsiteY11" fmla="*/ 42386 h 596169"/>
                  <a:gd name="connsiteX12" fmla="*/ 84106 w 3649028"/>
                  <a:gd name="connsiteY12" fmla="*/ 42386 h 596169"/>
                  <a:gd name="connsiteX13" fmla="*/ 84106 w 3649028"/>
                  <a:gd name="connsiteY13" fmla="*/ 48482 h 596169"/>
                  <a:gd name="connsiteX14" fmla="*/ 86201 w 3649028"/>
                  <a:gd name="connsiteY14" fmla="*/ 48482 h 596169"/>
                  <a:gd name="connsiteX15" fmla="*/ 86201 w 3649028"/>
                  <a:gd name="connsiteY15" fmla="*/ 54483 h 596169"/>
                  <a:gd name="connsiteX16" fmla="*/ 88392 w 3649028"/>
                  <a:gd name="connsiteY16" fmla="*/ 54483 h 596169"/>
                  <a:gd name="connsiteX17" fmla="*/ 88392 w 3649028"/>
                  <a:gd name="connsiteY17" fmla="*/ 60579 h 596169"/>
                  <a:gd name="connsiteX18" fmla="*/ 98869 w 3649028"/>
                  <a:gd name="connsiteY18" fmla="*/ 60579 h 596169"/>
                  <a:gd name="connsiteX19" fmla="*/ 98869 w 3649028"/>
                  <a:gd name="connsiteY19" fmla="*/ 66675 h 596169"/>
                  <a:gd name="connsiteX20" fmla="*/ 105156 w 3649028"/>
                  <a:gd name="connsiteY20" fmla="*/ 66675 h 596169"/>
                  <a:gd name="connsiteX21" fmla="*/ 105156 w 3649028"/>
                  <a:gd name="connsiteY21" fmla="*/ 72675 h 596169"/>
                  <a:gd name="connsiteX22" fmla="*/ 119920 w 3649028"/>
                  <a:gd name="connsiteY22" fmla="*/ 72675 h 596169"/>
                  <a:gd name="connsiteX23" fmla="*/ 119920 w 3649028"/>
                  <a:gd name="connsiteY23" fmla="*/ 78771 h 596169"/>
                  <a:gd name="connsiteX24" fmla="*/ 128302 w 3649028"/>
                  <a:gd name="connsiteY24" fmla="*/ 78771 h 596169"/>
                  <a:gd name="connsiteX25" fmla="*/ 128302 w 3649028"/>
                  <a:gd name="connsiteY25" fmla="*/ 84867 h 596169"/>
                  <a:gd name="connsiteX26" fmla="*/ 138875 w 3649028"/>
                  <a:gd name="connsiteY26" fmla="*/ 84867 h 596169"/>
                  <a:gd name="connsiteX27" fmla="*/ 138875 w 3649028"/>
                  <a:gd name="connsiteY27" fmla="*/ 90868 h 596169"/>
                  <a:gd name="connsiteX28" fmla="*/ 151448 w 3649028"/>
                  <a:gd name="connsiteY28" fmla="*/ 90868 h 596169"/>
                  <a:gd name="connsiteX29" fmla="*/ 151448 w 3649028"/>
                  <a:gd name="connsiteY29" fmla="*/ 96964 h 596169"/>
                  <a:gd name="connsiteX30" fmla="*/ 157734 w 3649028"/>
                  <a:gd name="connsiteY30" fmla="*/ 96964 h 596169"/>
                  <a:gd name="connsiteX31" fmla="*/ 157734 w 3649028"/>
                  <a:gd name="connsiteY31" fmla="*/ 109061 h 596169"/>
                  <a:gd name="connsiteX32" fmla="*/ 161925 w 3649028"/>
                  <a:gd name="connsiteY32" fmla="*/ 109061 h 596169"/>
                  <a:gd name="connsiteX33" fmla="*/ 161925 w 3649028"/>
                  <a:gd name="connsiteY33" fmla="*/ 115157 h 596169"/>
                  <a:gd name="connsiteX34" fmla="*/ 174593 w 3649028"/>
                  <a:gd name="connsiteY34" fmla="*/ 115157 h 596169"/>
                  <a:gd name="connsiteX35" fmla="*/ 174593 w 3649028"/>
                  <a:gd name="connsiteY35" fmla="*/ 121253 h 596169"/>
                  <a:gd name="connsiteX36" fmla="*/ 189262 w 3649028"/>
                  <a:gd name="connsiteY36" fmla="*/ 121253 h 596169"/>
                  <a:gd name="connsiteX37" fmla="*/ 189262 w 3649028"/>
                  <a:gd name="connsiteY37" fmla="*/ 127254 h 596169"/>
                  <a:gd name="connsiteX38" fmla="*/ 193548 w 3649028"/>
                  <a:gd name="connsiteY38" fmla="*/ 127254 h 596169"/>
                  <a:gd name="connsiteX39" fmla="*/ 193548 w 3649028"/>
                  <a:gd name="connsiteY39" fmla="*/ 133350 h 596169"/>
                  <a:gd name="connsiteX40" fmla="*/ 204025 w 3649028"/>
                  <a:gd name="connsiteY40" fmla="*/ 133350 h 596169"/>
                  <a:gd name="connsiteX41" fmla="*/ 204025 w 3649028"/>
                  <a:gd name="connsiteY41" fmla="*/ 139446 h 596169"/>
                  <a:gd name="connsiteX42" fmla="*/ 212408 w 3649028"/>
                  <a:gd name="connsiteY42" fmla="*/ 139446 h 596169"/>
                  <a:gd name="connsiteX43" fmla="*/ 212408 w 3649028"/>
                  <a:gd name="connsiteY43" fmla="*/ 145542 h 596169"/>
                  <a:gd name="connsiteX44" fmla="*/ 227171 w 3649028"/>
                  <a:gd name="connsiteY44" fmla="*/ 145542 h 596169"/>
                  <a:gd name="connsiteX45" fmla="*/ 227171 w 3649028"/>
                  <a:gd name="connsiteY45" fmla="*/ 151542 h 596169"/>
                  <a:gd name="connsiteX46" fmla="*/ 231362 w 3649028"/>
                  <a:gd name="connsiteY46" fmla="*/ 151542 h 596169"/>
                  <a:gd name="connsiteX47" fmla="*/ 231362 w 3649028"/>
                  <a:gd name="connsiteY47" fmla="*/ 157638 h 596169"/>
                  <a:gd name="connsiteX48" fmla="*/ 235553 w 3649028"/>
                  <a:gd name="connsiteY48" fmla="*/ 157638 h 596169"/>
                  <a:gd name="connsiteX49" fmla="*/ 235553 w 3649028"/>
                  <a:gd name="connsiteY49" fmla="*/ 163734 h 596169"/>
                  <a:gd name="connsiteX50" fmla="*/ 248222 w 3649028"/>
                  <a:gd name="connsiteY50" fmla="*/ 163734 h 596169"/>
                  <a:gd name="connsiteX51" fmla="*/ 248222 w 3649028"/>
                  <a:gd name="connsiteY51" fmla="*/ 169735 h 596169"/>
                  <a:gd name="connsiteX52" fmla="*/ 277654 w 3649028"/>
                  <a:gd name="connsiteY52" fmla="*/ 169735 h 596169"/>
                  <a:gd name="connsiteX53" fmla="*/ 277654 w 3649028"/>
                  <a:gd name="connsiteY53" fmla="*/ 175831 h 596169"/>
                  <a:gd name="connsiteX54" fmla="*/ 286036 w 3649028"/>
                  <a:gd name="connsiteY54" fmla="*/ 175831 h 596169"/>
                  <a:gd name="connsiteX55" fmla="*/ 286036 w 3649028"/>
                  <a:gd name="connsiteY55" fmla="*/ 181927 h 596169"/>
                  <a:gd name="connsiteX56" fmla="*/ 288131 w 3649028"/>
                  <a:gd name="connsiteY56" fmla="*/ 181927 h 596169"/>
                  <a:gd name="connsiteX57" fmla="*/ 288131 w 3649028"/>
                  <a:gd name="connsiteY57" fmla="*/ 187928 h 596169"/>
                  <a:gd name="connsiteX58" fmla="*/ 302895 w 3649028"/>
                  <a:gd name="connsiteY58" fmla="*/ 187928 h 596169"/>
                  <a:gd name="connsiteX59" fmla="*/ 302895 w 3649028"/>
                  <a:gd name="connsiteY59" fmla="*/ 200120 h 596169"/>
                  <a:gd name="connsiteX60" fmla="*/ 304991 w 3649028"/>
                  <a:gd name="connsiteY60" fmla="*/ 200120 h 596169"/>
                  <a:gd name="connsiteX61" fmla="*/ 304991 w 3649028"/>
                  <a:gd name="connsiteY61" fmla="*/ 206121 h 596169"/>
                  <a:gd name="connsiteX62" fmla="*/ 311277 w 3649028"/>
                  <a:gd name="connsiteY62" fmla="*/ 206121 h 596169"/>
                  <a:gd name="connsiteX63" fmla="*/ 311277 w 3649028"/>
                  <a:gd name="connsiteY63" fmla="*/ 212217 h 596169"/>
                  <a:gd name="connsiteX64" fmla="*/ 315468 w 3649028"/>
                  <a:gd name="connsiteY64" fmla="*/ 212217 h 596169"/>
                  <a:gd name="connsiteX65" fmla="*/ 315468 w 3649028"/>
                  <a:gd name="connsiteY65" fmla="*/ 218313 h 596169"/>
                  <a:gd name="connsiteX66" fmla="*/ 332327 w 3649028"/>
                  <a:gd name="connsiteY66" fmla="*/ 218313 h 596169"/>
                  <a:gd name="connsiteX67" fmla="*/ 332327 w 3649028"/>
                  <a:gd name="connsiteY67" fmla="*/ 230409 h 596169"/>
                  <a:gd name="connsiteX68" fmla="*/ 336518 w 3649028"/>
                  <a:gd name="connsiteY68" fmla="*/ 230409 h 596169"/>
                  <a:gd name="connsiteX69" fmla="*/ 336518 w 3649028"/>
                  <a:gd name="connsiteY69" fmla="*/ 236505 h 596169"/>
                  <a:gd name="connsiteX70" fmla="*/ 359664 w 3649028"/>
                  <a:gd name="connsiteY70" fmla="*/ 236505 h 596169"/>
                  <a:gd name="connsiteX71" fmla="*/ 359664 w 3649028"/>
                  <a:gd name="connsiteY71" fmla="*/ 242601 h 596169"/>
                  <a:gd name="connsiteX72" fmla="*/ 363855 w 3649028"/>
                  <a:gd name="connsiteY72" fmla="*/ 242601 h 596169"/>
                  <a:gd name="connsiteX73" fmla="*/ 363855 w 3649028"/>
                  <a:gd name="connsiteY73" fmla="*/ 248602 h 596169"/>
                  <a:gd name="connsiteX74" fmla="*/ 370142 w 3649028"/>
                  <a:gd name="connsiteY74" fmla="*/ 248602 h 596169"/>
                  <a:gd name="connsiteX75" fmla="*/ 370142 w 3649028"/>
                  <a:gd name="connsiteY75" fmla="*/ 260794 h 596169"/>
                  <a:gd name="connsiteX76" fmla="*/ 389096 w 3649028"/>
                  <a:gd name="connsiteY76" fmla="*/ 260794 h 596169"/>
                  <a:gd name="connsiteX77" fmla="*/ 389096 w 3649028"/>
                  <a:gd name="connsiteY77" fmla="*/ 266795 h 596169"/>
                  <a:gd name="connsiteX78" fmla="*/ 397478 w 3649028"/>
                  <a:gd name="connsiteY78" fmla="*/ 266795 h 596169"/>
                  <a:gd name="connsiteX79" fmla="*/ 397478 w 3649028"/>
                  <a:gd name="connsiteY79" fmla="*/ 272891 h 596169"/>
                  <a:gd name="connsiteX80" fmla="*/ 410147 w 3649028"/>
                  <a:gd name="connsiteY80" fmla="*/ 272891 h 596169"/>
                  <a:gd name="connsiteX81" fmla="*/ 410147 w 3649028"/>
                  <a:gd name="connsiteY81" fmla="*/ 278987 h 596169"/>
                  <a:gd name="connsiteX82" fmla="*/ 427006 w 3649028"/>
                  <a:gd name="connsiteY82" fmla="*/ 278987 h 596169"/>
                  <a:gd name="connsiteX83" fmla="*/ 427006 w 3649028"/>
                  <a:gd name="connsiteY83" fmla="*/ 284988 h 596169"/>
                  <a:gd name="connsiteX84" fmla="*/ 454343 w 3649028"/>
                  <a:gd name="connsiteY84" fmla="*/ 284988 h 596169"/>
                  <a:gd name="connsiteX85" fmla="*/ 454343 w 3649028"/>
                  <a:gd name="connsiteY85" fmla="*/ 291084 h 596169"/>
                  <a:gd name="connsiteX86" fmla="*/ 456438 w 3649028"/>
                  <a:gd name="connsiteY86" fmla="*/ 291084 h 596169"/>
                  <a:gd name="connsiteX87" fmla="*/ 456438 w 3649028"/>
                  <a:gd name="connsiteY87" fmla="*/ 297180 h 596169"/>
                  <a:gd name="connsiteX88" fmla="*/ 466915 w 3649028"/>
                  <a:gd name="connsiteY88" fmla="*/ 297180 h 596169"/>
                  <a:gd name="connsiteX89" fmla="*/ 466915 w 3649028"/>
                  <a:gd name="connsiteY89" fmla="*/ 303180 h 596169"/>
                  <a:gd name="connsiteX90" fmla="*/ 473202 w 3649028"/>
                  <a:gd name="connsiteY90" fmla="*/ 303180 h 596169"/>
                  <a:gd name="connsiteX91" fmla="*/ 473202 w 3649028"/>
                  <a:gd name="connsiteY91" fmla="*/ 315372 h 596169"/>
                  <a:gd name="connsiteX92" fmla="*/ 481679 w 3649028"/>
                  <a:gd name="connsiteY92" fmla="*/ 315372 h 596169"/>
                  <a:gd name="connsiteX93" fmla="*/ 481679 w 3649028"/>
                  <a:gd name="connsiteY93" fmla="*/ 321373 h 596169"/>
                  <a:gd name="connsiteX94" fmla="*/ 487966 w 3649028"/>
                  <a:gd name="connsiteY94" fmla="*/ 321373 h 596169"/>
                  <a:gd name="connsiteX95" fmla="*/ 487966 w 3649028"/>
                  <a:gd name="connsiteY95" fmla="*/ 333565 h 596169"/>
                  <a:gd name="connsiteX96" fmla="*/ 490061 w 3649028"/>
                  <a:gd name="connsiteY96" fmla="*/ 333565 h 596169"/>
                  <a:gd name="connsiteX97" fmla="*/ 490061 w 3649028"/>
                  <a:gd name="connsiteY97" fmla="*/ 339661 h 596169"/>
                  <a:gd name="connsiteX98" fmla="*/ 502634 w 3649028"/>
                  <a:gd name="connsiteY98" fmla="*/ 339661 h 596169"/>
                  <a:gd name="connsiteX99" fmla="*/ 502634 w 3649028"/>
                  <a:gd name="connsiteY99" fmla="*/ 345662 h 596169"/>
                  <a:gd name="connsiteX100" fmla="*/ 525780 w 3649028"/>
                  <a:gd name="connsiteY100" fmla="*/ 345662 h 596169"/>
                  <a:gd name="connsiteX101" fmla="*/ 525780 w 3649028"/>
                  <a:gd name="connsiteY101" fmla="*/ 351758 h 596169"/>
                  <a:gd name="connsiteX102" fmla="*/ 532162 w 3649028"/>
                  <a:gd name="connsiteY102" fmla="*/ 351758 h 596169"/>
                  <a:gd name="connsiteX103" fmla="*/ 532162 w 3649028"/>
                  <a:gd name="connsiteY103" fmla="*/ 357854 h 596169"/>
                  <a:gd name="connsiteX104" fmla="*/ 540544 w 3649028"/>
                  <a:gd name="connsiteY104" fmla="*/ 357854 h 596169"/>
                  <a:gd name="connsiteX105" fmla="*/ 540544 w 3649028"/>
                  <a:gd name="connsiteY105" fmla="*/ 363855 h 596169"/>
                  <a:gd name="connsiteX106" fmla="*/ 548926 w 3649028"/>
                  <a:gd name="connsiteY106" fmla="*/ 363855 h 596169"/>
                  <a:gd name="connsiteX107" fmla="*/ 548926 w 3649028"/>
                  <a:gd name="connsiteY107" fmla="*/ 369951 h 596169"/>
                  <a:gd name="connsiteX108" fmla="*/ 553117 w 3649028"/>
                  <a:gd name="connsiteY108" fmla="*/ 369951 h 596169"/>
                  <a:gd name="connsiteX109" fmla="*/ 553117 w 3649028"/>
                  <a:gd name="connsiteY109" fmla="*/ 376047 h 596169"/>
                  <a:gd name="connsiteX110" fmla="*/ 626745 w 3649028"/>
                  <a:gd name="connsiteY110" fmla="*/ 376047 h 596169"/>
                  <a:gd name="connsiteX111" fmla="*/ 626745 w 3649028"/>
                  <a:gd name="connsiteY111" fmla="*/ 382047 h 596169"/>
                  <a:gd name="connsiteX112" fmla="*/ 647795 w 3649028"/>
                  <a:gd name="connsiteY112" fmla="*/ 382047 h 596169"/>
                  <a:gd name="connsiteX113" fmla="*/ 647795 w 3649028"/>
                  <a:gd name="connsiteY113" fmla="*/ 388143 h 596169"/>
                  <a:gd name="connsiteX114" fmla="*/ 654082 w 3649028"/>
                  <a:gd name="connsiteY114" fmla="*/ 388143 h 596169"/>
                  <a:gd name="connsiteX115" fmla="*/ 654082 w 3649028"/>
                  <a:gd name="connsiteY115" fmla="*/ 394239 h 596169"/>
                  <a:gd name="connsiteX116" fmla="*/ 696182 w 3649028"/>
                  <a:gd name="connsiteY116" fmla="*/ 394239 h 596169"/>
                  <a:gd name="connsiteX117" fmla="*/ 696182 w 3649028"/>
                  <a:gd name="connsiteY117" fmla="*/ 400240 h 596169"/>
                  <a:gd name="connsiteX118" fmla="*/ 710851 w 3649028"/>
                  <a:gd name="connsiteY118" fmla="*/ 400240 h 596169"/>
                  <a:gd name="connsiteX119" fmla="*/ 710851 w 3649028"/>
                  <a:gd name="connsiteY119" fmla="*/ 406336 h 596169"/>
                  <a:gd name="connsiteX120" fmla="*/ 740378 w 3649028"/>
                  <a:gd name="connsiteY120" fmla="*/ 406336 h 596169"/>
                  <a:gd name="connsiteX121" fmla="*/ 740378 w 3649028"/>
                  <a:gd name="connsiteY121" fmla="*/ 412432 h 596169"/>
                  <a:gd name="connsiteX122" fmla="*/ 742474 w 3649028"/>
                  <a:gd name="connsiteY122" fmla="*/ 412432 h 596169"/>
                  <a:gd name="connsiteX123" fmla="*/ 742474 w 3649028"/>
                  <a:gd name="connsiteY123" fmla="*/ 418433 h 596169"/>
                  <a:gd name="connsiteX124" fmla="*/ 765524 w 3649028"/>
                  <a:gd name="connsiteY124" fmla="*/ 418433 h 596169"/>
                  <a:gd name="connsiteX125" fmla="*/ 765524 w 3649028"/>
                  <a:gd name="connsiteY125" fmla="*/ 424529 h 596169"/>
                  <a:gd name="connsiteX126" fmla="*/ 778193 w 3649028"/>
                  <a:gd name="connsiteY126" fmla="*/ 424529 h 596169"/>
                  <a:gd name="connsiteX127" fmla="*/ 778193 w 3649028"/>
                  <a:gd name="connsiteY127" fmla="*/ 430625 h 596169"/>
                  <a:gd name="connsiteX128" fmla="*/ 813911 w 3649028"/>
                  <a:gd name="connsiteY128" fmla="*/ 430625 h 596169"/>
                  <a:gd name="connsiteX129" fmla="*/ 813911 w 3649028"/>
                  <a:gd name="connsiteY129" fmla="*/ 436721 h 596169"/>
                  <a:gd name="connsiteX130" fmla="*/ 929640 w 3649028"/>
                  <a:gd name="connsiteY130" fmla="*/ 436721 h 596169"/>
                  <a:gd name="connsiteX131" fmla="*/ 929640 w 3649028"/>
                  <a:gd name="connsiteY131" fmla="*/ 442722 h 596169"/>
                  <a:gd name="connsiteX132" fmla="*/ 967454 w 3649028"/>
                  <a:gd name="connsiteY132" fmla="*/ 442722 h 596169"/>
                  <a:gd name="connsiteX133" fmla="*/ 967454 w 3649028"/>
                  <a:gd name="connsiteY133" fmla="*/ 448913 h 596169"/>
                  <a:gd name="connsiteX134" fmla="*/ 1020032 w 3649028"/>
                  <a:gd name="connsiteY134" fmla="*/ 448913 h 596169"/>
                  <a:gd name="connsiteX135" fmla="*/ 1020032 w 3649028"/>
                  <a:gd name="connsiteY135" fmla="*/ 455009 h 596169"/>
                  <a:gd name="connsiteX136" fmla="*/ 1038987 w 3649028"/>
                  <a:gd name="connsiteY136" fmla="*/ 455009 h 596169"/>
                  <a:gd name="connsiteX137" fmla="*/ 1038987 w 3649028"/>
                  <a:gd name="connsiteY137" fmla="*/ 461105 h 596169"/>
                  <a:gd name="connsiteX138" fmla="*/ 1049465 w 3649028"/>
                  <a:gd name="connsiteY138" fmla="*/ 461105 h 596169"/>
                  <a:gd name="connsiteX139" fmla="*/ 1049465 w 3649028"/>
                  <a:gd name="connsiteY139" fmla="*/ 467296 h 596169"/>
                  <a:gd name="connsiteX140" fmla="*/ 1083183 w 3649028"/>
                  <a:gd name="connsiteY140" fmla="*/ 467296 h 596169"/>
                  <a:gd name="connsiteX141" fmla="*/ 1083183 w 3649028"/>
                  <a:gd name="connsiteY141" fmla="*/ 473392 h 596169"/>
                  <a:gd name="connsiteX142" fmla="*/ 1089470 w 3649028"/>
                  <a:gd name="connsiteY142" fmla="*/ 473392 h 596169"/>
                  <a:gd name="connsiteX143" fmla="*/ 1089470 w 3649028"/>
                  <a:gd name="connsiteY143" fmla="*/ 479488 h 596169"/>
                  <a:gd name="connsiteX144" fmla="*/ 1104138 w 3649028"/>
                  <a:gd name="connsiteY144" fmla="*/ 479488 h 596169"/>
                  <a:gd name="connsiteX145" fmla="*/ 1104138 w 3649028"/>
                  <a:gd name="connsiteY145" fmla="*/ 485584 h 596169"/>
                  <a:gd name="connsiteX146" fmla="*/ 1116806 w 3649028"/>
                  <a:gd name="connsiteY146" fmla="*/ 485584 h 596169"/>
                  <a:gd name="connsiteX147" fmla="*/ 1116806 w 3649028"/>
                  <a:gd name="connsiteY147" fmla="*/ 491775 h 596169"/>
                  <a:gd name="connsiteX148" fmla="*/ 1142048 w 3649028"/>
                  <a:gd name="connsiteY148" fmla="*/ 491775 h 596169"/>
                  <a:gd name="connsiteX149" fmla="*/ 1142048 w 3649028"/>
                  <a:gd name="connsiteY149" fmla="*/ 497871 h 596169"/>
                  <a:gd name="connsiteX150" fmla="*/ 1371314 w 3649028"/>
                  <a:gd name="connsiteY150" fmla="*/ 497871 h 596169"/>
                  <a:gd name="connsiteX151" fmla="*/ 1371314 w 3649028"/>
                  <a:gd name="connsiteY151" fmla="*/ 504063 h 596169"/>
                  <a:gd name="connsiteX152" fmla="*/ 1484852 w 3649028"/>
                  <a:gd name="connsiteY152" fmla="*/ 504063 h 596169"/>
                  <a:gd name="connsiteX153" fmla="*/ 1484852 w 3649028"/>
                  <a:gd name="connsiteY153" fmla="*/ 510254 h 596169"/>
                  <a:gd name="connsiteX154" fmla="*/ 1754029 w 3649028"/>
                  <a:gd name="connsiteY154" fmla="*/ 510254 h 596169"/>
                  <a:gd name="connsiteX155" fmla="*/ 1754029 w 3649028"/>
                  <a:gd name="connsiteY155" fmla="*/ 516540 h 596169"/>
                  <a:gd name="connsiteX156" fmla="*/ 1827657 w 3649028"/>
                  <a:gd name="connsiteY156" fmla="*/ 516540 h 596169"/>
                  <a:gd name="connsiteX157" fmla="*/ 1827657 w 3649028"/>
                  <a:gd name="connsiteY157" fmla="*/ 522827 h 596169"/>
                  <a:gd name="connsiteX158" fmla="*/ 1907572 w 3649028"/>
                  <a:gd name="connsiteY158" fmla="*/ 522827 h 596169"/>
                  <a:gd name="connsiteX159" fmla="*/ 1907572 w 3649028"/>
                  <a:gd name="connsiteY159" fmla="*/ 529113 h 596169"/>
                  <a:gd name="connsiteX160" fmla="*/ 2069497 w 3649028"/>
                  <a:gd name="connsiteY160" fmla="*/ 529113 h 596169"/>
                  <a:gd name="connsiteX161" fmla="*/ 2069497 w 3649028"/>
                  <a:gd name="connsiteY161" fmla="*/ 535590 h 596169"/>
                  <a:gd name="connsiteX162" fmla="*/ 2086356 w 3649028"/>
                  <a:gd name="connsiteY162" fmla="*/ 535590 h 596169"/>
                  <a:gd name="connsiteX163" fmla="*/ 2086356 w 3649028"/>
                  <a:gd name="connsiteY163" fmla="*/ 541972 h 596169"/>
                  <a:gd name="connsiteX164" fmla="*/ 2204180 w 3649028"/>
                  <a:gd name="connsiteY164" fmla="*/ 541972 h 596169"/>
                  <a:gd name="connsiteX165" fmla="*/ 2204180 w 3649028"/>
                  <a:gd name="connsiteY165" fmla="*/ 548449 h 596169"/>
                  <a:gd name="connsiteX166" fmla="*/ 2296668 w 3649028"/>
                  <a:gd name="connsiteY166" fmla="*/ 548449 h 596169"/>
                  <a:gd name="connsiteX167" fmla="*/ 2296668 w 3649028"/>
                  <a:gd name="connsiteY167" fmla="*/ 554831 h 596169"/>
                  <a:gd name="connsiteX168" fmla="*/ 2315623 w 3649028"/>
                  <a:gd name="connsiteY168" fmla="*/ 554831 h 596169"/>
                  <a:gd name="connsiteX169" fmla="*/ 2315623 w 3649028"/>
                  <a:gd name="connsiteY169" fmla="*/ 561308 h 596169"/>
                  <a:gd name="connsiteX170" fmla="*/ 3169444 w 3649028"/>
                  <a:gd name="connsiteY170" fmla="*/ 561308 h 596169"/>
                  <a:gd name="connsiteX171" fmla="*/ 3169444 w 3649028"/>
                  <a:gd name="connsiteY171" fmla="*/ 596169 h 596169"/>
                  <a:gd name="connsiteX172" fmla="*/ 3649028 w 3649028"/>
                  <a:gd name="connsiteY172" fmla="*/ 596169 h 596169"/>
                  <a:gd name="connsiteX0" fmla="*/ 0 w 3649028"/>
                  <a:gd name="connsiteY0" fmla="*/ 0 h 590169"/>
                  <a:gd name="connsiteX1" fmla="*/ 10573 w 3649028"/>
                  <a:gd name="connsiteY1" fmla="*/ 0 h 590169"/>
                  <a:gd name="connsiteX2" fmla="*/ 10573 w 3649028"/>
                  <a:gd name="connsiteY2" fmla="*/ 6001 h 590169"/>
                  <a:gd name="connsiteX3" fmla="*/ 61055 w 3649028"/>
                  <a:gd name="connsiteY3" fmla="*/ 6001 h 590169"/>
                  <a:gd name="connsiteX4" fmla="*/ 61055 w 3649028"/>
                  <a:gd name="connsiteY4" fmla="*/ 12097 h 590169"/>
                  <a:gd name="connsiteX5" fmla="*/ 69437 w 3649028"/>
                  <a:gd name="connsiteY5" fmla="*/ 12097 h 590169"/>
                  <a:gd name="connsiteX6" fmla="*/ 69437 w 3649028"/>
                  <a:gd name="connsiteY6" fmla="*/ 24194 h 590169"/>
                  <a:gd name="connsiteX7" fmla="*/ 75724 w 3649028"/>
                  <a:gd name="connsiteY7" fmla="*/ 24194 h 590169"/>
                  <a:gd name="connsiteX8" fmla="*/ 75724 w 3649028"/>
                  <a:gd name="connsiteY8" fmla="*/ 30290 h 590169"/>
                  <a:gd name="connsiteX9" fmla="*/ 79915 w 3649028"/>
                  <a:gd name="connsiteY9" fmla="*/ 30290 h 590169"/>
                  <a:gd name="connsiteX10" fmla="*/ 79915 w 3649028"/>
                  <a:gd name="connsiteY10" fmla="*/ 36386 h 590169"/>
                  <a:gd name="connsiteX11" fmla="*/ 84106 w 3649028"/>
                  <a:gd name="connsiteY11" fmla="*/ 36386 h 590169"/>
                  <a:gd name="connsiteX12" fmla="*/ 84106 w 3649028"/>
                  <a:gd name="connsiteY12" fmla="*/ 42482 h 590169"/>
                  <a:gd name="connsiteX13" fmla="*/ 86201 w 3649028"/>
                  <a:gd name="connsiteY13" fmla="*/ 42482 h 590169"/>
                  <a:gd name="connsiteX14" fmla="*/ 86201 w 3649028"/>
                  <a:gd name="connsiteY14" fmla="*/ 48483 h 590169"/>
                  <a:gd name="connsiteX15" fmla="*/ 88392 w 3649028"/>
                  <a:gd name="connsiteY15" fmla="*/ 48483 h 590169"/>
                  <a:gd name="connsiteX16" fmla="*/ 88392 w 3649028"/>
                  <a:gd name="connsiteY16" fmla="*/ 54579 h 590169"/>
                  <a:gd name="connsiteX17" fmla="*/ 98869 w 3649028"/>
                  <a:gd name="connsiteY17" fmla="*/ 54579 h 590169"/>
                  <a:gd name="connsiteX18" fmla="*/ 98869 w 3649028"/>
                  <a:gd name="connsiteY18" fmla="*/ 60675 h 590169"/>
                  <a:gd name="connsiteX19" fmla="*/ 105156 w 3649028"/>
                  <a:gd name="connsiteY19" fmla="*/ 60675 h 590169"/>
                  <a:gd name="connsiteX20" fmla="*/ 105156 w 3649028"/>
                  <a:gd name="connsiteY20" fmla="*/ 66675 h 590169"/>
                  <a:gd name="connsiteX21" fmla="*/ 119920 w 3649028"/>
                  <a:gd name="connsiteY21" fmla="*/ 66675 h 590169"/>
                  <a:gd name="connsiteX22" fmla="*/ 119920 w 3649028"/>
                  <a:gd name="connsiteY22" fmla="*/ 72771 h 590169"/>
                  <a:gd name="connsiteX23" fmla="*/ 128302 w 3649028"/>
                  <a:gd name="connsiteY23" fmla="*/ 72771 h 590169"/>
                  <a:gd name="connsiteX24" fmla="*/ 128302 w 3649028"/>
                  <a:gd name="connsiteY24" fmla="*/ 78867 h 590169"/>
                  <a:gd name="connsiteX25" fmla="*/ 138875 w 3649028"/>
                  <a:gd name="connsiteY25" fmla="*/ 78867 h 590169"/>
                  <a:gd name="connsiteX26" fmla="*/ 138875 w 3649028"/>
                  <a:gd name="connsiteY26" fmla="*/ 84868 h 590169"/>
                  <a:gd name="connsiteX27" fmla="*/ 151448 w 3649028"/>
                  <a:gd name="connsiteY27" fmla="*/ 84868 h 590169"/>
                  <a:gd name="connsiteX28" fmla="*/ 151448 w 3649028"/>
                  <a:gd name="connsiteY28" fmla="*/ 90964 h 590169"/>
                  <a:gd name="connsiteX29" fmla="*/ 157734 w 3649028"/>
                  <a:gd name="connsiteY29" fmla="*/ 90964 h 590169"/>
                  <a:gd name="connsiteX30" fmla="*/ 157734 w 3649028"/>
                  <a:gd name="connsiteY30" fmla="*/ 103061 h 590169"/>
                  <a:gd name="connsiteX31" fmla="*/ 161925 w 3649028"/>
                  <a:gd name="connsiteY31" fmla="*/ 103061 h 590169"/>
                  <a:gd name="connsiteX32" fmla="*/ 161925 w 3649028"/>
                  <a:gd name="connsiteY32" fmla="*/ 109157 h 590169"/>
                  <a:gd name="connsiteX33" fmla="*/ 174593 w 3649028"/>
                  <a:gd name="connsiteY33" fmla="*/ 109157 h 590169"/>
                  <a:gd name="connsiteX34" fmla="*/ 174593 w 3649028"/>
                  <a:gd name="connsiteY34" fmla="*/ 115253 h 590169"/>
                  <a:gd name="connsiteX35" fmla="*/ 189262 w 3649028"/>
                  <a:gd name="connsiteY35" fmla="*/ 115253 h 590169"/>
                  <a:gd name="connsiteX36" fmla="*/ 189262 w 3649028"/>
                  <a:gd name="connsiteY36" fmla="*/ 121254 h 590169"/>
                  <a:gd name="connsiteX37" fmla="*/ 193548 w 3649028"/>
                  <a:gd name="connsiteY37" fmla="*/ 121254 h 590169"/>
                  <a:gd name="connsiteX38" fmla="*/ 193548 w 3649028"/>
                  <a:gd name="connsiteY38" fmla="*/ 127350 h 590169"/>
                  <a:gd name="connsiteX39" fmla="*/ 204025 w 3649028"/>
                  <a:gd name="connsiteY39" fmla="*/ 127350 h 590169"/>
                  <a:gd name="connsiteX40" fmla="*/ 204025 w 3649028"/>
                  <a:gd name="connsiteY40" fmla="*/ 133446 h 590169"/>
                  <a:gd name="connsiteX41" fmla="*/ 212408 w 3649028"/>
                  <a:gd name="connsiteY41" fmla="*/ 133446 h 590169"/>
                  <a:gd name="connsiteX42" fmla="*/ 212408 w 3649028"/>
                  <a:gd name="connsiteY42" fmla="*/ 139542 h 590169"/>
                  <a:gd name="connsiteX43" fmla="*/ 227171 w 3649028"/>
                  <a:gd name="connsiteY43" fmla="*/ 139542 h 590169"/>
                  <a:gd name="connsiteX44" fmla="*/ 227171 w 3649028"/>
                  <a:gd name="connsiteY44" fmla="*/ 145542 h 590169"/>
                  <a:gd name="connsiteX45" fmla="*/ 231362 w 3649028"/>
                  <a:gd name="connsiteY45" fmla="*/ 145542 h 590169"/>
                  <a:gd name="connsiteX46" fmla="*/ 231362 w 3649028"/>
                  <a:gd name="connsiteY46" fmla="*/ 151638 h 590169"/>
                  <a:gd name="connsiteX47" fmla="*/ 235553 w 3649028"/>
                  <a:gd name="connsiteY47" fmla="*/ 151638 h 590169"/>
                  <a:gd name="connsiteX48" fmla="*/ 235553 w 3649028"/>
                  <a:gd name="connsiteY48" fmla="*/ 157734 h 590169"/>
                  <a:gd name="connsiteX49" fmla="*/ 248222 w 3649028"/>
                  <a:gd name="connsiteY49" fmla="*/ 157734 h 590169"/>
                  <a:gd name="connsiteX50" fmla="*/ 248222 w 3649028"/>
                  <a:gd name="connsiteY50" fmla="*/ 163735 h 590169"/>
                  <a:gd name="connsiteX51" fmla="*/ 277654 w 3649028"/>
                  <a:gd name="connsiteY51" fmla="*/ 163735 h 590169"/>
                  <a:gd name="connsiteX52" fmla="*/ 277654 w 3649028"/>
                  <a:gd name="connsiteY52" fmla="*/ 169831 h 590169"/>
                  <a:gd name="connsiteX53" fmla="*/ 286036 w 3649028"/>
                  <a:gd name="connsiteY53" fmla="*/ 169831 h 590169"/>
                  <a:gd name="connsiteX54" fmla="*/ 286036 w 3649028"/>
                  <a:gd name="connsiteY54" fmla="*/ 175927 h 590169"/>
                  <a:gd name="connsiteX55" fmla="*/ 288131 w 3649028"/>
                  <a:gd name="connsiteY55" fmla="*/ 175927 h 590169"/>
                  <a:gd name="connsiteX56" fmla="*/ 288131 w 3649028"/>
                  <a:gd name="connsiteY56" fmla="*/ 181928 h 590169"/>
                  <a:gd name="connsiteX57" fmla="*/ 302895 w 3649028"/>
                  <a:gd name="connsiteY57" fmla="*/ 181928 h 590169"/>
                  <a:gd name="connsiteX58" fmla="*/ 302895 w 3649028"/>
                  <a:gd name="connsiteY58" fmla="*/ 194120 h 590169"/>
                  <a:gd name="connsiteX59" fmla="*/ 304991 w 3649028"/>
                  <a:gd name="connsiteY59" fmla="*/ 194120 h 590169"/>
                  <a:gd name="connsiteX60" fmla="*/ 304991 w 3649028"/>
                  <a:gd name="connsiteY60" fmla="*/ 200121 h 590169"/>
                  <a:gd name="connsiteX61" fmla="*/ 311277 w 3649028"/>
                  <a:gd name="connsiteY61" fmla="*/ 200121 h 590169"/>
                  <a:gd name="connsiteX62" fmla="*/ 311277 w 3649028"/>
                  <a:gd name="connsiteY62" fmla="*/ 206217 h 590169"/>
                  <a:gd name="connsiteX63" fmla="*/ 315468 w 3649028"/>
                  <a:gd name="connsiteY63" fmla="*/ 206217 h 590169"/>
                  <a:gd name="connsiteX64" fmla="*/ 315468 w 3649028"/>
                  <a:gd name="connsiteY64" fmla="*/ 212313 h 590169"/>
                  <a:gd name="connsiteX65" fmla="*/ 332327 w 3649028"/>
                  <a:gd name="connsiteY65" fmla="*/ 212313 h 590169"/>
                  <a:gd name="connsiteX66" fmla="*/ 332327 w 3649028"/>
                  <a:gd name="connsiteY66" fmla="*/ 224409 h 590169"/>
                  <a:gd name="connsiteX67" fmla="*/ 336518 w 3649028"/>
                  <a:gd name="connsiteY67" fmla="*/ 224409 h 590169"/>
                  <a:gd name="connsiteX68" fmla="*/ 336518 w 3649028"/>
                  <a:gd name="connsiteY68" fmla="*/ 230505 h 590169"/>
                  <a:gd name="connsiteX69" fmla="*/ 359664 w 3649028"/>
                  <a:gd name="connsiteY69" fmla="*/ 230505 h 590169"/>
                  <a:gd name="connsiteX70" fmla="*/ 359664 w 3649028"/>
                  <a:gd name="connsiteY70" fmla="*/ 236601 h 590169"/>
                  <a:gd name="connsiteX71" fmla="*/ 363855 w 3649028"/>
                  <a:gd name="connsiteY71" fmla="*/ 236601 h 590169"/>
                  <a:gd name="connsiteX72" fmla="*/ 363855 w 3649028"/>
                  <a:gd name="connsiteY72" fmla="*/ 242602 h 590169"/>
                  <a:gd name="connsiteX73" fmla="*/ 370142 w 3649028"/>
                  <a:gd name="connsiteY73" fmla="*/ 242602 h 590169"/>
                  <a:gd name="connsiteX74" fmla="*/ 370142 w 3649028"/>
                  <a:gd name="connsiteY74" fmla="*/ 254794 h 590169"/>
                  <a:gd name="connsiteX75" fmla="*/ 389096 w 3649028"/>
                  <a:gd name="connsiteY75" fmla="*/ 254794 h 590169"/>
                  <a:gd name="connsiteX76" fmla="*/ 389096 w 3649028"/>
                  <a:gd name="connsiteY76" fmla="*/ 260795 h 590169"/>
                  <a:gd name="connsiteX77" fmla="*/ 397478 w 3649028"/>
                  <a:gd name="connsiteY77" fmla="*/ 260795 h 590169"/>
                  <a:gd name="connsiteX78" fmla="*/ 397478 w 3649028"/>
                  <a:gd name="connsiteY78" fmla="*/ 266891 h 590169"/>
                  <a:gd name="connsiteX79" fmla="*/ 410147 w 3649028"/>
                  <a:gd name="connsiteY79" fmla="*/ 266891 h 590169"/>
                  <a:gd name="connsiteX80" fmla="*/ 410147 w 3649028"/>
                  <a:gd name="connsiteY80" fmla="*/ 272987 h 590169"/>
                  <a:gd name="connsiteX81" fmla="*/ 427006 w 3649028"/>
                  <a:gd name="connsiteY81" fmla="*/ 272987 h 590169"/>
                  <a:gd name="connsiteX82" fmla="*/ 427006 w 3649028"/>
                  <a:gd name="connsiteY82" fmla="*/ 278988 h 590169"/>
                  <a:gd name="connsiteX83" fmla="*/ 454343 w 3649028"/>
                  <a:gd name="connsiteY83" fmla="*/ 278988 h 590169"/>
                  <a:gd name="connsiteX84" fmla="*/ 454343 w 3649028"/>
                  <a:gd name="connsiteY84" fmla="*/ 285084 h 590169"/>
                  <a:gd name="connsiteX85" fmla="*/ 456438 w 3649028"/>
                  <a:gd name="connsiteY85" fmla="*/ 285084 h 590169"/>
                  <a:gd name="connsiteX86" fmla="*/ 456438 w 3649028"/>
                  <a:gd name="connsiteY86" fmla="*/ 291180 h 590169"/>
                  <a:gd name="connsiteX87" fmla="*/ 466915 w 3649028"/>
                  <a:gd name="connsiteY87" fmla="*/ 291180 h 590169"/>
                  <a:gd name="connsiteX88" fmla="*/ 466915 w 3649028"/>
                  <a:gd name="connsiteY88" fmla="*/ 297180 h 590169"/>
                  <a:gd name="connsiteX89" fmla="*/ 473202 w 3649028"/>
                  <a:gd name="connsiteY89" fmla="*/ 297180 h 590169"/>
                  <a:gd name="connsiteX90" fmla="*/ 473202 w 3649028"/>
                  <a:gd name="connsiteY90" fmla="*/ 309372 h 590169"/>
                  <a:gd name="connsiteX91" fmla="*/ 481679 w 3649028"/>
                  <a:gd name="connsiteY91" fmla="*/ 309372 h 590169"/>
                  <a:gd name="connsiteX92" fmla="*/ 481679 w 3649028"/>
                  <a:gd name="connsiteY92" fmla="*/ 315373 h 590169"/>
                  <a:gd name="connsiteX93" fmla="*/ 487966 w 3649028"/>
                  <a:gd name="connsiteY93" fmla="*/ 315373 h 590169"/>
                  <a:gd name="connsiteX94" fmla="*/ 487966 w 3649028"/>
                  <a:gd name="connsiteY94" fmla="*/ 327565 h 590169"/>
                  <a:gd name="connsiteX95" fmla="*/ 490061 w 3649028"/>
                  <a:gd name="connsiteY95" fmla="*/ 327565 h 590169"/>
                  <a:gd name="connsiteX96" fmla="*/ 490061 w 3649028"/>
                  <a:gd name="connsiteY96" fmla="*/ 333661 h 590169"/>
                  <a:gd name="connsiteX97" fmla="*/ 502634 w 3649028"/>
                  <a:gd name="connsiteY97" fmla="*/ 333661 h 590169"/>
                  <a:gd name="connsiteX98" fmla="*/ 502634 w 3649028"/>
                  <a:gd name="connsiteY98" fmla="*/ 339662 h 590169"/>
                  <a:gd name="connsiteX99" fmla="*/ 525780 w 3649028"/>
                  <a:gd name="connsiteY99" fmla="*/ 339662 h 590169"/>
                  <a:gd name="connsiteX100" fmla="*/ 525780 w 3649028"/>
                  <a:gd name="connsiteY100" fmla="*/ 345758 h 590169"/>
                  <a:gd name="connsiteX101" fmla="*/ 532162 w 3649028"/>
                  <a:gd name="connsiteY101" fmla="*/ 345758 h 590169"/>
                  <a:gd name="connsiteX102" fmla="*/ 532162 w 3649028"/>
                  <a:gd name="connsiteY102" fmla="*/ 351854 h 590169"/>
                  <a:gd name="connsiteX103" fmla="*/ 540544 w 3649028"/>
                  <a:gd name="connsiteY103" fmla="*/ 351854 h 590169"/>
                  <a:gd name="connsiteX104" fmla="*/ 540544 w 3649028"/>
                  <a:gd name="connsiteY104" fmla="*/ 357855 h 590169"/>
                  <a:gd name="connsiteX105" fmla="*/ 548926 w 3649028"/>
                  <a:gd name="connsiteY105" fmla="*/ 357855 h 590169"/>
                  <a:gd name="connsiteX106" fmla="*/ 548926 w 3649028"/>
                  <a:gd name="connsiteY106" fmla="*/ 363951 h 590169"/>
                  <a:gd name="connsiteX107" fmla="*/ 553117 w 3649028"/>
                  <a:gd name="connsiteY107" fmla="*/ 363951 h 590169"/>
                  <a:gd name="connsiteX108" fmla="*/ 553117 w 3649028"/>
                  <a:gd name="connsiteY108" fmla="*/ 370047 h 590169"/>
                  <a:gd name="connsiteX109" fmla="*/ 626745 w 3649028"/>
                  <a:gd name="connsiteY109" fmla="*/ 370047 h 590169"/>
                  <a:gd name="connsiteX110" fmla="*/ 626745 w 3649028"/>
                  <a:gd name="connsiteY110" fmla="*/ 376047 h 590169"/>
                  <a:gd name="connsiteX111" fmla="*/ 647795 w 3649028"/>
                  <a:gd name="connsiteY111" fmla="*/ 376047 h 590169"/>
                  <a:gd name="connsiteX112" fmla="*/ 647795 w 3649028"/>
                  <a:gd name="connsiteY112" fmla="*/ 382143 h 590169"/>
                  <a:gd name="connsiteX113" fmla="*/ 654082 w 3649028"/>
                  <a:gd name="connsiteY113" fmla="*/ 382143 h 590169"/>
                  <a:gd name="connsiteX114" fmla="*/ 654082 w 3649028"/>
                  <a:gd name="connsiteY114" fmla="*/ 388239 h 590169"/>
                  <a:gd name="connsiteX115" fmla="*/ 696182 w 3649028"/>
                  <a:gd name="connsiteY115" fmla="*/ 388239 h 590169"/>
                  <a:gd name="connsiteX116" fmla="*/ 696182 w 3649028"/>
                  <a:gd name="connsiteY116" fmla="*/ 394240 h 590169"/>
                  <a:gd name="connsiteX117" fmla="*/ 710851 w 3649028"/>
                  <a:gd name="connsiteY117" fmla="*/ 394240 h 590169"/>
                  <a:gd name="connsiteX118" fmla="*/ 710851 w 3649028"/>
                  <a:gd name="connsiteY118" fmla="*/ 400336 h 590169"/>
                  <a:gd name="connsiteX119" fmla="*/ 740378 w 3649028"/>
                  <a:gd name="connsiteY119" fmla="*/ 400336 h 590169"/>
                  <a:gd name="connsiteX120" fmla="*/ 740378 w 3649028"/>
                  <a:gd name="connsiteY120" fmla="*/ 406432 h 590169"/>
                  <a:gd name="connsiteX121" fmla="*/ 742474 w 3649028"/>
                  <a:gd name="connsiteY121" fmla="*/ 406432 h 590169"/>
                  <a:gd name="connsiteX122" fmla="*/ 742474 w 3649028"/>
                  <a:gd name="connsiteY122" fmla="*/ 412433 h 590169"/>
                  <a:gd name="connsiteX123" fmla="*/ 765524 w 3649028"/>
                  <a:gd name="connsiteY123" fmla="*/ 412433 h 590169"/>
                  <a:gd name="connsiteX124" fmla="*/ 765524 w 3649028"/>
                  <a:gd name="connsiteY124" fmla="*/ 418529 h 590169"/>
                  <a:gd name="connsiteX125" fmla="*/ 778193 w 3649028"/>
                  <a:gd name="connsiteY125" fmla="*/ 418529 h 590169"/>
                  <a:gd name="connsiteX126" fmla="*/ 778193 w 3649028"/>
                  <a:gd name="connsiteY126" fmla="*/ 424625 h 590169"/>
                  <a:gd name="connsiteX127" fmla="*/ 813911 w 3649028"/>
                  <a:gd name="connsiteY127" fmla="*/ 424625 h 590169"/>
                  <a:gd name="connsiteX128" fmla="*/ 813911 w 3649028"/>
                  <a:gd name="connsiteY128" fmla="*/ 430721 h 590169"/>
                  <a:gd name="connsiteX129" fmla="*/ 929640 w 3649028"/>
                  <a:gd name="connsiteY129" fmla="*/ 430721 h 590169"/>
                  <a:gd name="connsiteX130" fmla="*/ 929640 w 3649028"/>
                  <a:gd name="connsiteY130" fmla="*/ 436722 h 590169"/>
                  <a:gd name="connsiteX131" fmla="*/ 967454 w 3649028"/>
                  <a:gd name="connsiteY131" fmla="*/ 436722 h 590169"/>
                  <a:gd name="connsiteX132" fmla="*/ 967454 w 3649028"/>
                  <a:gd name="connsiteY132" fmla="*/ 442913 h 590169"/>
                  <a:gd name="connsiteX133" fmla="*/ 1020032 w 3649028"/>
                  <a:gd name="connsiteY133" fmla="*/ 442913 h 590169"/>
                  <a:gd name="connsiteX134" fmla="*/ 1020032 w 3649028"/>
                  <a:gd name="connsiteY134" fmla="*/ 449009 h 590169"/>
                  <a:gd name="connsiteX135" fmla="*/ 1038987 w 3649028"/>
                  <a:gd name="connsiteY135" fmla="*/ 449009 h 590169"/>
                  <a:gd name="connsiteX136" fmla="*/ 1038987 w 3649028"/>
                  <a:gd name="connsiteY136" fmla="*/ 455105 h 590169"/>
                  <a:gd name="connsiteX137" fmla="*/ 1049465 w 3649028"/>
                  <a:gd name="connsiteY137" fmla="*/ 455105 h 590169"/>
                  <a:gd name="connsiteX138" fmla="*/ 1049465 w 3649028"/>
                  <a:gd name="connsiteY138" fmla="*/ 461296 h 590169"/>
                  <a:gd name="connsiteX139" fmla="*/ 1083183 w 3649028"/>
                  <a:gd name="connsiteY139" fmla="*/ 461296 h 590169"/>
                  <a:gd name="connsiteX140" fmla="*/ 1083183 w 3649028"/>
                  <a:gd name="connsiteY140" fmla="*/ 467392 h 590169"/>
                  <a:gd name="connsiteX141" fmla="*/ 1089470 w 3649028"/>
                  <a:gd name="connsiteY141" fmla="*/ 467392 h 590169"/>
                  <a:gd name="connsiteX142" fmla="*/ 1089470 w 3649028"/>
                  <a:gd name="connsiteY142" fmla="*/ 473488 h 590169"/>
                  <a:gd name="connsiteX143" fmla="*/ 1104138 w 3649028"/>
                  <a:gd name="connsiteY143" fmla="*/ 473488 h 590169"/>
                  <a:gd name="connsiteX144" fmla="*/ 1104138 w 3649028"/>
                  <a:gd name="connsiteY144" fmla="*/ 479584 h 590169"/>
                  <a:gd name="connsiteX145" fmla="*/ 1116806 w 3649028"/>
                  <a:gd name="connsiteY145" fmla="*/ 479584 h 590169"/>
                  <a:gd name="connsiteX146" fmla="*/ 1116806 w 3649028"/>
                  <a:gd name="connsiteY146" fmla="*/ 485775 h 590169"/>
                  <a:gd name="connsiteX147" fmla="*/ 1142048 w 3649028"/>
                  <a:gd name="connsiteY147" fmla="*/ 485775 h 590169"/>
                  <a:gd name="connsiteX148" fmla="*/ 1142048 w 3649028"/>
                  <a:gd name="connsiteY148" fmla="*/ 491871 h 590169"/>
                  <a:gd name="connsiteX149" fmla="*/ 1371314 w 3649028"/>
                  <a:gd name="connsiteY149" fmla="*/ 491871 h 590169"/>
                  <a:gd name="connsiteX150" fmla="*/ 1371314 w 3649028"/>
                  <a:gd name="connsiteY150" fmla="*/ 498063 h 590169"/>
                  <a:gd name="connsiteX151" fmla="*/ 1484852 w 3649028"/>
                  <a:gd name="connsiteY151" fmla="*/ 498063 h 590169"/>
                  <a:gd name="connsiteX152" fmla="*/ 1484852 w 3649028"/>
                  <a:gd name="connsiteY152" fmla="*/ 504254 h 590169"/>
                  <a:gd name="connsiteX153" fmla="*/ 1754029 w 3649028"/>
                  <a:gd name="connsiteY153" fmla="*/ 504254 h 590169"/>
                  <a:gd name="connsiteX154" fmla="*/ 1754029 w 3649028"/>
                  <a:gd name="connsiteY154" fmla="*/ 510540 h 590169"/>
                  <a:gd name="connsiteX155" fmla="*/ 1827657 w 3649028"/>
                  <a:gd name="connsiteY155" fmla="*/ 510540 h 590169"/>
                  <a:gd name="connsiteX156" fmla="*/ 1827657 w 3649028"/>
                  <a:gd name="connsiteY156" fmla="*/ 516827 h 590169"/>
                  <a:gd name="connsiteX157" fmla="*/ 1907572 w 3649028"/>
                  <a:gd name="connsiteY157" fmla="*/ 516827 h 590169"/>
                  <a:gd name="connsiteX158" fmla="*/ 1907572 w 3649028"/>
                  <a:gd name="connsiteY158" fmla="*/ 523113 h 590169"/>
                  <a:gd name="connsiteX159" fmla="*/ 2069497 w 3649028"/>
                  <a:gd name="connsiteY159" fmla="*/ 523113 h 590169"/>
                  <a:gd name="connsiteX160" fmla="*/ 2069497 w 3649028"/>
                  <a:gd name="connsiteY160" fmla="*/ 529590 h 590169"/>
                  <a:gd name="connsiteX161" fmla="*/ 2086356 w 3649028"/>
                  <a:gd name="connsiteY161" fmla="*/ 529590 h 590169"/>
                  <a:gd name="connsiteX162" fmla="*/ 2086356 w 3649028"/>
                  <a:gd name="connsiteY162" fmla="*/ 535972 h 590169"/>
                  <a:gd name="connsiteX163" fmla="*/ 2204180 w 3649028"/>
                  <a:gd name="connsiteY163" fmla="*/ 535972 h 590169"/>
                  <a:gd name="connsiteX164" fmla="*/ 2204180 w 3649028"/>
                  <a:gd name="connsiteY164" fmla="*/ 542449 h 590169"/>
                  <a:gd name="connsiteX165" fmla="*/ 2296668 w 3649028"/>
                  <a:gd name="connsiteY165" fmla="*/ 542449 h 590169"/>
                  <a:gd name="connsiteX166" fmla="*/ 2296668 w 3649028"/>
                  <a:gd name="connsiteY166" fmla="*/ 548831 h 590169"/>
                  <a:gd name="connsiteX167" fmla="*/ 2315623 w 3649028"/>
                  <a:gd name="connsiteY167" fmla="*/ 548831 h 590169"/>
                  <a:gd name="connsiteX168" fmla="*/ 2315623 w 3649028"/>
                  <a:gd name="connsiteY168" fmla="*/ 555308 h 590169"/>
                  <a:gd name="connsiteX169" fmla="*/ 3169444 w 3649028"/>
                  <a:gd name="connsiteY169" fmla="*/ 555308 h 590169"/>
                  <a:gd name="connsiteX170" fmla="*/ 3169444 w 3649028"/>
                  <a:gd name="connsiteY170" fmla="*/ 590169 h 590169"/>
                  <a:gd name="connsiteX171" fmla="*/ 3649028 w 3649028"/>
                  <a:gd name="connsiteY171" fmla="*/ 590169 h 590169"/>
                  <a:gd name="connsiteX0" fmla="*/ 0 w 3638455"/>
                  <a:gd name="connsiteY0" fmla="*/ 0 h 590169"/>
                  <a:gd name="connsiteX1" fmla="*/ 0 w 3638455"/>
                  <a:gd name="connsiteY1" fmla="*/ 6001 h 590169"/>
                  <a:gd name="connsiteX2" fmla="*/ 50482 w 3638455"/>
                  <a:gd name="connsiteY2" fmla="*/ 6001 h 590169"/>
                  <a:gd name="connsiteX3" fmla="*/ 50482 w 3638455"/>
                  <a:gd name="connsiteY3" fmla="*/ 12097 h 590169"/>
                  <a:gd name="connsiteX4" fmla="*/ 58864 w 3638455"/>
                  <a:gd name="connsiteY4" fmla="*/ 12097 h 590169"/>
                  <a:gd name="connsiteX5" fmla="*/ 58864 w 3638455"/>
                  <a:gd name="connsiteY5" fmla="*/ 24194 h 590169"/>
                  <a:gd name="connsiteX6" fmla="*/ 65151 w 3638455"/>
                  <a:gd name="connsiteY6" fmla="*/ 24194 h 590169"/>
                  <a:gd name="connsiteX7" fmla="*/ 65151 w 3638455"/>
                  <a:gd name="connsiteY7" fmla="*/ 30290 h 590169"/>
                  <a:gd name="connsiteX8" fmla="*/ 69342 w 3638455"/>
                  <a:gd name="connsiteY8" fmla="*/ 30290 h 590169"/>
                  <a:gd name="connsiteX9" fmla="*/ 69342 w 3638455"/>
                  <a:gd name="connsiteY9" fmla="*/ 36386 h 590169"/>
                  <a:gd name="connsiteX10" fmla="*/ 73533 w 3638455"/>
                  <a:gd name="connsiteY10" fmla="*/ 36386 h 590169"/>
                  <a:gd name="connsiteX11" fmla="*/ 73533 w 3638455"/>
                  <a:gd name="connsiteY11" fmla="*/ 42482 h 590169"/>
                  <a:gd name="connsiteX12" fmla="*/ 75628 w 3638455"/>
                  <a:gd name="connsiteY12" fmla="*/ 42482 h 590169"/>
                  <a:gd name="connsiteX13" fmla="*/ 75628 w 3638455"/>
                  <a:gd name="connsiteY13" fmla="*/ 48483 h 590169"/>
                  <a:gd name="connsiteX14" fmla="*/ 77819 w 3638455"/>
                  <a:gd name="connsiteY14" fmla="*/ 48483 h 590169"/>
                  <a:gd name="connsiteX15" fmla="*/ 77819 w 3638455"/>
                  <a:gd name="connsiteY15" fmla="*/ 54579 h 590169"/>
                  <a:gd name="connsiteX16" fmla="*/ 88296 w 3638455"/>
                  <a:gd name="connsiteY16" fmla="*/ 54579 h 590169"/>
                  <a:gd name="connsiteX17" fmla="*/ 88296 w 3638455"/>
                  <a:gd name="connsiteY17" fmla="*/ 60675 h 590169"/>
                  <a:gd name="connsiteX18" fmla="*/ 94583 w 3638455"/>
                  <a:gd name="connsiteY18" fmla="*/ 60675 h 590169"/>
                  <a:gd name="connsiteX19" fmla="*/ 94583 w 3638455"/>
                  <a:gd name="connsiteY19" fmla="*/ 66675 h 590169"/>
                  <a:gd name="connsiteX20" fmla="*/ 109347 w 3638455"/>
                  <a:gd name="connsiteY20" fmla="*/ 66675 h 590169"/>
                  <a:gd name="connsiteX21" fmla="*/ 109347 w 3638455"/>
                  <a:gd name="connsiteY21" fmla="*/ 72771 h 590169"/>
                  <a:gd name="connsiteX22" fmla="*/ 117729 w 3638455"/>
                  <a:gd name="connsiteY22" fmla="*/ 72771 h 590169"/>
                  <a:gd name="connsiteX23" fmla="*/ 117729 w 3638455"/>
                  <a:gd name="connsiteY23" fmla="*/ 78867 h 590169"/>
                  <a:gd name="connsiteX24" fmla="*/ 128302 w 3638455"/>
                  <a:gd name="connsiteY24" fmla="*/ 78867 h 590169"/>
                  <a:gd name="connsiteX25" fmla="*/ 128302 w 3638455"/>
                  <a:gd name="connsiteY25" fmla="*/ 84868 h 590169"/>
                  <a:gd name="connsiteX26" fmla="*/ 140875 w 3638455"/>
                  <a:gd name="connsiteY26" fmla="*/ 84868 h 590169"/>
                  <a:gd name="connsiteX27" fmla="*/ 140875 w 3638455"/>
                  <a:gd name="connsiteY27" fmla="*/ 90964 h 590169"/>
                  <a:gd name="connsiteX28" fmla="*/ 147161 w 3638455"/>
                  <a:gd name="connsiteY28" fmla="*/ 90964 h 590169"/>
                  <a:gd name="connsiteX29" fmla="*/ 147161 w 3638455"/>
                  <a:gd name="connsiteY29" fmla="*/ 103061 h 590169"/>
                  <a:gd name="connsiteX30" fmla="*/ 151352 w 3638455"/>
                  <a:gd name="connsiteY30" fmla="*/ 103061 h 590169"/>
                  <a:gd name="connsiteX31" fmla="*/ 151352 w 3638455"/>
                  <a:gd name="connsiteY31" fmla="*/ 109157 h 590169"/>
                  <a:gd name="connsiteX32" fmla="*/ 164020 w 3638455"/>
                  <a:gd name="connsiteY32" fmla="*/ 109157 h 590169"/>
                  <a:gd name="connsiteX33" fmla="*/ 164020 w 3638455"/>
                  <a:gd name="connsiteY33" fmla="*/ 115253 h 590169"/>
                  <a:gd name="connsiteX34" fmla="*/ 178689 w 3638455"/>
                  <a:gd name="connsiteY34" fmla="*/ 115253 h 590169"/>
                  <a:gd name="connsiteX35" fmla="*/ 178689 w 3638455"/>
                  <a:gd name="connsiteY35" fmla="*/ 121254 h 590169"/>
                  <a:gd name="connsiteX36" fmla="*/ 182975 w 3638455"/>
                  <a:gd name="connsiteY36" fmla="*/ 121254 h 590169"/>
                  <a:gd name="connsiteX37" fmla="*/ 182975 w 3638455"/>
                  <a:gd name="connsiteY37" fmla="*/ 127350 h 590169"/>
                  <a:gd name="connsiteX38" fmla="*/ 193452 w 3638455"/>
                  <a:gd name="connsiteY38" fmla="*/ 127350 h 590169"/>
                  <a:gd name="connsiteX39" fmla="*/ 193452 w 3638455"/>
                  <a:gd name="connsiteY39" fmla="*/ 133446 h 590169"/>
                  <a:gd name="connsiteX40" fmla="*/ 201835 w 3638455"/>
                  <a:gd name="connsiteY40" fmla="*/ 133446 h 590169"/>
                  <a:gd name="connsiteX41" fmla="*/ 201835 w 3638455"/>
                  <a:gd name="connsiteY41" fmla="*/ 139542 h 590169"/>
                  <a:gd name="connsiteX42" fmla="*/ 216598 w 3638455"/>
                  <a:gd name="connsiteY42" fmla="*/ 139542 h 590169"/>
                  <a:gd name="connsiteX43" fmla="*/ 216598 w 3638455"/>
                  <a:gd name="connsiteY43" fmla="*/ 145542 h 590169"/>
                  <a:gd name="connsiteX44" fmla="*/ 220789 w 3638455"/>
                  <a:gd name="connsiteY44" fmla="*/ 145542 h 590169"/>
                  <a:gd name="connsiteX45" fmla="*/ 220789 w 3638455"/>
                  <a:gd name="connsiteY45" fmla="*/ 151638 h 590169"/>
                  <a:gd name="connsiteX46" fmla="*/ 224980 w 3638455"/>
                  <a:gd name="connsiteY46" fmla="*/ 151638 h 590169"/>
                  <a:gd name="connsiteX47" fmla="*/ 224980 w 3638455"/>
                  <a:gd name="connsiteY47" fmla="*/ 157734 h 590169"/>
                  <a:gd name="connsiteX48" fmla="*/ 237649 w 3638455"/>
                  <a:gd name="connsiteY48" fmla="*/ 157734 h 590169"/>
                  <a:gd name="connsiteX49" fmla="*/ 237649 w 3638455"/>
                  <a:gd name="connsiteY49" fmla="*/ 163735 h 590169"/>
                  <a:gd name="connsiteX50" fmla="*/ 267081 w 3638455"/>
                  <a:gd name="connsiteY50" fmla="*/ 163735 h 590169"/>
                  <a:gd name="connsiteX51" fmla="*/ 267081 w 3638455"/>
                  <a:gd name="connsiteY51" fmla="*/ 169831 h 590169"/>
                  <a:gd name="connsiteX52" fmla="*/ 275463 w 3638455"/>
                  <a:gd name="connsiteY52" fmla="*/ 169831 h 590169"/>
                  <a:gd name="connsiteX53" fmla="*/ 275463 w 3638455"/>
                  <a:gd name="connsiteY53" fmla="*/ 175927 h 590169"/>
                  <a:gd name="connsiteX54" fmla="*/ 277558 w 3638455"/>
                  <a:gd name="connsiteY54" fmla="*/ 175927 h 590169"/>
                  <a:gd name="connsiteX55" fmla="*/ 277558 w 3638455"/>
                  <a:gd name="connsiteY55" fmla="*/ 181928 h 590169"/>
                  <a:gd name="connsiteX56" fmla="*/ 292322 w 3638455"/>
                  <a:gd name="connsiteY56" fmla="*/ 181928 h 590169"/>
                  <a:gd name="connsiteX57" fmla="*/ 292322 w 3638455"/>
                  <a:gd name="connsiteY57" fmla="*/ 194120 h 590169"/>
                  <a:gd name="connsiteX58" fmla="*/ 294418 w 3638455"/>
                  <a:gd name="connsiteY58" fmla="*/ 194120 h 590169"/>
                  <a:gd name="connsiteX59" fmla="*/ 294418 w 3638455"/>
                  <a:gd name="connsiteY59" fmla="*/ 200121 h 590169"/>
                  <a:gd name="connsiteX60" fmla="*/ 300704 w 3638455"/>
                  <a:gd name="connsiteY60" fmla="*/ 200121 h 590169"/>
                  <a:gd name="connsiteX61" fmla="*/ 300704 w 3638455"/>
                  <a:gd name="connsiteY61" fmla="*/ 206217 h 590169"/>
                  <a:gd name="connsiteX62" fmla="*/ 304895 w 3638455"/>
                  <a:gd name="connsiteY62" fmla="*/ 206217 h 590169"/>
                  <a:gd name="connsiteX63" fmla="*/ 304895 w 3638455"/>
                  <a:gd name="connsiteY63" fmla="*/ 212313 h 590169"/>
                  <a:gd name="connsiteX64" fmla="*/ 321754 w 3638455"/>
                  <a:gd name="connsiteY64" fmla="*/ 212313 h 590169"/>
                  <a:gd name="connsiteX65" fmla="*/ 321754 w 3638455"/>
                  <a:gd name="connsiteY65" fmla="*/ 224409 h 590169"/>
                  <a:gd name="connsiteX66" fmla="*/ 325945 w 3638455"/>
                  <a:gd name="connsiteY66" fmla="*/ 224409 h 590169"/>
                  <a:gd name="connsiteX67" fmla="*/ 325945 w 3638455"/>
                  <a:gd name="connsiteY67" fmla="*/ 230505 h 590169"/>
                  <a:gd name="connsiteX68" fmla="*/ 349091 w 3638455"/>
                  <a:gd name="connsiteY68" fmla="*/ 230505 h 590169"/>
                  <a:gd name="connsiteX69" fmla="*/ 349091 w 3638455"/>
                  <a:gd name="connsiteY69" fmla="*/ 236601 h 590169"/>
                  <a:gd name="connsiteX70" fmla="*/ 353282 w 3638455"/>
                  <a:gd name="connsiteY70" fmla="*/ 236601 h 590169"/>
                  <a:gd name="connsiteX71" fmla="*/ 353282 w 3638455"/>
                  <a:gd name="connsiteY71" fmla="*/ 242602 h 590169"/>
                  <a:gd name="connsiteX72" fmla="*/ 359569 w 3638455"/>
                  <a:gd name="connsiteY72" fmla="*/ 242602 h 590169"/>
                  <a:gd name="connsiteX73" fmla="*/ 359569 w 3638455"/>
                  <a:gd name="connsiteY73" fmla="*/ 254794 h 590169"/>
                  <a:gd name="connsiteX74" fmla="*/ 378523 w 3638455"/>
                  <a:gd name="connsiteY74" fmla="*/ 254794 h 590169"/>
                  <a:gd name="connsiteX75" fmla="*/ 378523 w 3638455"/>
                  <a:gd name="connsiteY75" fmla="*/ 260795 h 590169"/>
                  <a:gd name="connsiteX76" fmla="*/ 386905 w 3638455"/>
                  <a:gd name="connsiteY76" fmla="*/ 260795 h 590169"/>
                  <a:gd name="connsiteX77" fmla="*/ 386905 w 3638455"/>
                  <a:gd name="connsiteY77" fmla="*/ 266891 h 590169"/>
                  <a:gd name="connsiteX78" fmla="*/ 399574 w 3638455"/>
                  <a:gd name="connsiteY78" fmla="*/ 266891 h 590169"/>
                  <a:gd name="connsiteX79" fmla="*/ 399574 w 3638455"/>
                  <a:gd name="connsiteY79" fmla="*/ 272987 h 590169"/>
                  <a:gd name="connsiteX80" fmla="*/ 416433 w 3638455"/>
                  <a:gd name="connsiteY80" fmla="*/ 272987 h 590169"/>
                  <a:gd name="connsiteX81" fmla="*/ 416433 w 3638455"/>
                  <a:gd name="connsiteY81" fmla="*/ 278988 h 590169"/>
                  <a:gd name="connsiteX82" fmla="*/ 443770 w 3638455"/>
                  <a:gd name="connsiteY82" fmla="*/ 278988 h 590169"/>
                  <a:gd name="connsiteX83" fmla="*/ 443770 w 3638455"/>
                  <a:gd name="connsiteY83" fmla="*/ 285084 h 590169"/>
                  <a:gd name="connsiteX84" fmla="*/ 445865 w 3638455"/>
                  <a:gd name="connsiteY84" fmla="*/ 285084 h 590169"/>
                  <a:gd name="connsiteX85" fmla="*/ 445865 w 3638455"/>
                  <a:gd name="connsiteY85" fmla="*/ 291180 h 590169"/>
                  <a:gd name="connsiteX86" fmla="*/ 456342 w 3638455"/>
                  <a:gd name="connsiteY86" fmla="*/ 291180 h 590169"/>
                  <a:gd name="connsiteX87" fmla="*/ 456342 w 3638455"/>
                  <a:gd name="connsiteY87" fmla="*/ 297180 h 590169"/>
                  <a:gd name="connsiteX88" fmla="*/ 462629 w 3638455"/>
                  <a:gd name="connsiteY88" fmla="*/ 297180 h 590169"/>
                  <a:gd name="connsiteX89" fmla="*/ 462629 w 3638455"/>
                  <a:gd name="connsiteY89" fmla="*/ 309372 h 590169"/>
                  <a:gd name="connsiteX90" fmla="*/ 471106 w 3638455"/>
                  <a:gd name="connsiteY90" fmla="*/ 309372 h 590169"/>
                  <a:gd name="connsiteX91" fmla="*/ 471106 w 3638455"/>
                  <a:gd name="connsiteY91" fmla="*/ 315373 h 590169"/>
                  <a:gd name="connsiteX92" fmla="*/ 477393 w 3638455"/>
                  <a:gd name="connsiteY92" fmla="*/ 315373 h 590169"/>
                  <a:gd name="connsiteX93" fmla="*/ 477393 w 3638455"/>
                  <a:gd name="connsiteY93" fmla="*/ 327565 h 590169"/>
                  <a:gd name="connsiteX94" fmla="*/ 479488 w 3638455"/>
                  <a:gd name="connsiteY94" fmla="*/ 327565 h 590169"/>
                  <a:gd name="connsiteX95" fmla="*/ 479488 w 3638455"/>
                  <a:gd name="connsiteY95" fmla="*/ 333661 h 590169"/>
                  <a:gd name="connsiteX96" fmla="*/ 492061 w 3638455"/>
                  <a:gd name="connsiteY96" fmla="*/ 333661 h 590169"/>
                  <a:gd name="connsiteX97" fmla="*/ 492061 w 3638455"/>
                  <a:gd name="connsiteY97" fmla="*/ 339662 h 590169"/>
                  <a:gd name="connsiteX98" fmla="*/ 515207 w 3638455"/>
                  <a:gd name="connsiteY98" fmla="*/ 339662 h 590169"/>
                  <a:gd name="connsiteX99" fmla="*/ 515207 w 3638455"/>
                  <a:gd name="connsiteY99" fmla="*/ 345758 h 590169"/>
                  <a:gd name="connsiteX100" fmla="*/ 521589 w 3638455"/>
                  <a:gd name="connsiteY100" fmla="*/ 345758 h 590169"/>
                  <a:gd name="connsiteX101" fmla="*/ 521589 w 3638455"/>
                  <a:gd name="connsiteY101" fmla="*/ 351854 h 590169"/>
                  <a:gd name="connsiteX102" fmla="*/ 529971 w 3638455"/>
                  <a:gd name="connsiteY102" fmla="*/ 351854 h 590169"/>
                  <a:gd name="connsiteX103" fmla="*/ 529971 w 3638455"/>
                  <a:gd name="connsiteY103" fmla="*/ 357855 h 590169"/>
                  <a:gd name="connsiteX104" fmla="*/ 538353 w 3638455"/>
                  <a:gd name="connsiteY104" fmla="*/ 357855 h 590169"/>
                  <a:gd name="connsiteX105" fmla="*/ 538353 w 3638455"/>
                  <a:gd name="connsiteY105" fmla="*/ 363951 h 590169"/>
                  <a:gd name="connsiteX106" fmla="*/ 542544 w 3638455"/>
                  <a:gd name="connsiteY106" fmla="*/ 363951 h 590169"/>
                  <a:gd name="connsiteX107" fmla="*/ 542544 w 3638455"/>
                  <a:gd name="connsiteY107" fmla="*/ 370047 h 590169"/>
                  <a:gd name="connsiteX108" fmla="*/ 616172 w 3638455"/>
                  <a:gd name="connsiteY108" fmla="*/ 370047 h 590169"/>
                  <a:gd name="connsiteX109" fmla="*/ 616172 w 3638455"/>
                  <a:gd name="connsiteY109" fmla="*/ 376047 h 590169"/>
                  <a:gd name="connsiteX110" fmla="*/ 637222 w 3638455"/>
                  <a:gd name="connsiteY110" fmla="*/ 376047 h 590169"/>
                  <a:gd name="connsiteX111" fmla="*/ 637222 w 3638455"/>
                  <a:gd name="connsiteY111" fmla="*/ 382143 h 590169"/>
                  <a:gd name="connsiteX112" fmla="*/ 643509 w 3638455"/>
                  <a:gd name="connsiteY112" fmla="*/ 382143 h 590169"/>
                  <a:gd name="connsiteX113" fmla="*/ 643509 w 3638455"/>
                  <a:gd name="connsiteY113" fmla="*/ 388239 h 590169"/>
                  <a:gd name="connsiteX114" fmla="*/ 685609 w 3638455"/>
                  <a:gd name="connsiteY114" fmla="*/ 388239 h 590169"/>
                  <a:gd name="connsiteX115" fmla="*/ 685609 w 3638455"/>
                  <a:gd name="connsiteY115" fmla="*/ 394240 h 590169"/>
                  <a:gd name="connsiteX116" fmla="*/ 700278 w 3638455"/>
                  <a:gd name="connsiteY116" fmla="*/ 394240 h 590169"/>
                  <a:gd name="connsiteX117" fmla="*/ 700278 w 3638455"/>
                  <a:gd name="connsiteY117" fmla="*/ 400336 h 590169"/>
                  <a:gd name="connsiteX118" fmla="*/ 729805 w 3638455"/>
                  <a:gd name="connsiteY118" fmla="*/ 400336 h 590169"/>
                  <a:gd name="connsiteX119" fmla="*/ 729805 w 3638455"/>
                  <a:gd name="connsiteY119" fmla="*/ 406432 h 590169"/>
                  <a:gd name="connsiteX120" fmla="*/ 731901 w 3638455"/>
                  <a:gd name="connsiteY120" fmla="*/ 406432 h 590169"/>
                  <a:gd name="connsiteX121" fmla="*/ 731901 w 3638455"/>
                  <a:gd name="connsiteY121" fmla="*/ 412433 h 590169"/>
                  <a:gd name="connsiteX122" fmla="*/ 754951 w 3638455"/>
                  <a:gd name="connsiteY122" fmla="*/ 412433 h 590169"/>
                  <a:gd name="connsiteX123" fmla="*/ 754951 w 3638455"/>
                  <a:gd name="connsiteY123" fmla="*/ 418529 h 590169"/>
                  <a:gd name="connsiteX124" fmla="*/ 767620 w 3638455"/>
                  <a:gd name="connsiteY124" fmla="*/ 418529 h 590169"/>
                  <a:gd name="connsiteX125" fmla="*/ 767620 w 3638455"/>
                  <a:gd name="connsiteY125" fmla="*/ 424625 h 590169"/>
                  <a:gd name="connsiteX126" fmla="*/ 803338 w 3638455"/>
                  <a:gd name="connsiteY126" fmla="*/ 424625 h 590169"/>
                  <a:gd name="connsiteX127" fmla="*/ 803338 w 3638455"/>
                  <a:gd name="connsiteY127" fmla="*/ 430721 h 590169"/>
                  <a:gd name="connsiteX128" fmla="*/ 919067 w 3638455"/>
                  <a:gd name="connsiteY128" fmla="*/ 430721 h 590169"/>
                  <a:gd name="connsiteX129" fmla="*/ 919067 w 3638455"/>
                  <a:gd name="connsiteY129" fmla="*/ 436722 h 590169"/>
                  <a:gd name="connsiteX130" fmla="*/ 956881 w 3638455"/>
                  <a:gd name="connsiteY130" fmla="*/ 436722 h 590169"/>
                  <a:gd name="connsiteX131" fmla="*/ 956881 w 3638455"/>
                  <a:gd name="connsiteY131" fmla="*/ 442913 h 590169"/>
                  <a:gd name="connsiteX132" fmla="*/ 1009459 w 3638455"/>
                  <a:gd name="connsiteY132" fmla="*/ 442913 h 590169"/>
                  <a:gd name="connsiteX133" fmla="*/ 1009459 w 3638455"/>
                  <a:gd name="connsiteY133" fmla="*/ 449009 h 590169"/>
                  <a:gd name="connsiteX134" fmla="*/ 1028414 w 3638455"/>
                  <a:gd name="connsiteY134" fmla="*/ 449009 h 590169"/>
                  <a:gd name="connsiteX135" fmla="*/ 1028414 w 3638455"/>
                  <a:gd name="connsiteY135" fmla="*/ 455105 h 590169"/>
                  <a:gd name="connsiteX136" fmla="*/ 1038892 w 3638455"/>
                  <a:gd name="connsiteY136" fmla="*/ 455105 h 590169"/>
                  <a:gd name="connsiteX137" fmla="*/ 1038892 w 3638455"/>
                  <a:gd name="connsiteY137" fmla="*/ 461296 h 590169"/>
                  <a:gd name="connsiteX138" fmla="*/ 1072610 w 3638455"/>
                  <a:gd name="connsiteY138" fmla="*/ 461296 h 590169"/>
                  <a:gd name="connsiteX139" fmla="*/ 1072610 w 3638455"/>
                  <a:gd name="connsiteY139" fmla="*/ 467392 h 590169"/>
                  <a:gd name="connsiteX140" fmla="*/ 1078897 w 3638455"/>
                  <a:gd name="connsiteY140" fmla="*/ 467392 h 590169"/>
                  <a:gd name="connsiteX141" fmla="*/ 1078897 w 3638455"/>
                  <a:gd name="connsiteY141" fmla="*/ 473488 h 590169"/>
                  <a:gd name="connsiteX142" fmla="*/ 1093565 w 3638455"/>
                  <a:gd name="connsiteY142" fmla="*/ 473488 h 590169"/>
                  <a:gd name="connsiteX143" fmla="*/ 1093565 w 3638455"/>
                  <a:gd name="connsiteY143" fmla="*/ 479584 h 590169"/>
                  <a:gd name="connsiteX144" fmla="*/ 1106233 w 3638455"/>
                  <a:gd name="connsiteY144" fmla="*/ 479584 h 590169"/>
                  <a:gd name="connsiteX145" fmla="*/ 1106233 w 3638455"/>
                  <a:gd name="connsiteY145" fmla="*/ 485775 h 590169"/>
                  <a:gd name="connsiteX146" fmla="*/ 1131475 w 3638455"/>
                  <a:gd name="connsiteY146" fmla="*/ 485775 h 590169"/>
                  <a:gd name="connsiteX147" fmla="*/ 1131475 w 3638455"/>
                  <a:gd name="connsiteY147" fmla="*/ 491871 h 590169"/>
                  <a:gd name="connsiteX148" fmla="*/ 1360741 w 3638455"/>
                  <a:gd name="connsiteY148" fmla="*/ 491871 h 590169"/>
                  <a:gd name="connsiteX149" fmla="*/ 1360741 w 3638455"/>
                  <a:gd name="connsiteY149" fmla="*/ 498063 h 590169"/>
                  <a:gd name="connsiteX150" fmla="*/ 1474279 w 3638455"/>
                  <a:gd name="connsiteY150" fmla="*/ 498063 h 590169"/>
                  <a:gd name="connsiteX151" fmla="*/ 1474279 w 3638455"/>
                  <a:gd name="connsiteY151" fmla="*/ 504254 h 590169"/>
                  <a:gd name="connsiteX152" fmla="*/ 1743456 w 3638455"/>
                  <a:gd name="connsiteY152" fmla="*/ 504254 h 590169"/>
                  <a:gd name="connsiteX153" fmla="*/ 1743456 w 3638455"/>
                  <a:gd name="connsiteY153" fmla="*/ 510540 h 590169"/>
                  <a:gd name="connsiteX154" fmla="*/ 1817084 w 3638455"/>
                  <a:gd name="connsiteY154" fmla="*/ 510540 h 590169"/>
                  <a:gd name="connsiteX155" fmla="*/ 1817084 w 3638455"/>
                  <a:gd name="connsiteY155" fmla="*/ 516827 h 590169"/>
                  <a:gd name="connsiteX156" fmla="*/ 1896999 w 3638455"/>
                  <a:gd name="connsiteY156" fmla="*/ 516827 h 590169"/>
                  <a:gd name="connsiteX157" fmla="*/ 1896999 w 3638455"/>
                  <a:gd name="connsiteY157" fmla="*/ 523113 h 590169"/>
                  <a:gd name="connsiteX158" fmla="*/ 2058924 w 3638455"/>
                  <a:gd name="connsiteY158" fmla="*/ 523113 h 590169"/>
                  <a:gd name="connsiteX159" fmla="*/ 2058924 w 3638455"/>
                  <a:gd name="connsiteY159" fmla="*/ 529590 h 590169"/>
                  <a:gd name="connsiteX160" fmla="*/ 2075783 w 3638455"/>
                  <a:gd name="connsiteY160" fmla="*/ 529590 h 590169"/>
                  <a:gd name="connsiteX161" fmla="*/ 2075783 w 3638455"/>
                  <a:gd name="connsiteY161" fmla="*/ 535972 h 590169"/>
                  <a:gd name="connsiteX162" fmla="*/ 2193607 w 3638455"/>
                  <a:gd name="connsiteY162" fmla="*/ 535972 h 590169"/>
                  <a:gd name="connsiteX163" fmla="*/ 2193607 w 3638455"/>
                  <a:gd name="connsiteY163" fmla="*/ 542449 h 590169"/>
                  <a:gd name="connsiteX164" fmla="*/ 2286095 w 3638455"/>
                  <a:gd name="connsiteY164" fmla="*/ 542449 h 590169"/>
                  <a:gd name="connsiteX165" fmla="*/ 2286095 w 3638455"/>
                  <a:gd name="connsiteY165" fmla="*/ 548831 h 590169"/>
                  <a:gd name="connsiteX166" fmla="*/ 2305050 w 3638455"/>
                  <a:gd name="connsiteY166" fmla="*/ 548831 h 590169"/>
                  <a:gd name="connsiteX167" fmla="*/ 2305050 w 3638455"/>
                  <a:gd name="connsiteY167" fmla="*/ 555308 h 590169"/>
                  <a:gd name="connsiteX168" fmla="*/ 3158871 w 3638455"/>
                  <a:gd name="connsiteY168" fmla="*/ 555308 h 590169"/>
                  <a:gd name="connsiteX169" fmla="*/ 3158871 w 3638455"/>
                  <a:gd name="connsiteY169" fmla="*/ 590169 h 590169"/>
                  <a:gd name="connsiteX170" fmla="*/ 3638455 w 3638455"/>
                  <a:gd name="connsiteY170" fmla="*/ 590169 h 590169"/>
                  <a:gd name="connsiteX0" fmla="*/ 0 w 3638455"/>
                  <a:gd name="connsiteY0" fmla="*/ 0 h 590169"/>
                  <a:gd name="connsiteX1" fmla="*/ 50482 w 3638455"/>
                  <a:gd name="connsiteY1" fmla="*/ 6001 h 590169"/>
                  <a:gd name="connsiteX2" fmla="*/ 50482 w 3638455"/>
                  <a:gd name="connsiteY2" fmla="*/ 12097 h 590169"/>
                  <a:gd name="connsiteX3" fmla="*/ 58864 w 3638455"/>
                  <a:gd name="connsiteY3" fmla="*/ 12097 h 590169"/>
                  <a:gd name="connsiteX4" fmla="*/ 58864 w 3638455"/>
                  <a:gd name="connsiteY4" fmla="*/ 24194 h 590169"/>
                  <a:gd name="connsiteX5" fmla="*/ 65151 w 3638455"/>
                  <a:gd name="connsiteY5" fmla="*/ 24194 h 590169"/>
                  <a:gd name="connsiteX6" fmla="*/ 65151 w 3638455"/>
                  <a:gd name="connsiteY6" fmla="*/ 30290 h 590169"/>
                  <a:gd name="connsiteX7" fmla="*/ 69342 w 3638455"/>
                  <a:gd name="connsiteY7" fmla="*/ 30290 h 590169"/>
                  <a:gd name="connsiteX8" fmla="*/ 69342 w 3638455"/>
                  <a:gd name="connsiteY8" fmla="*/ 36386 h 590169"/>
                  <a:gd name="connsiteX9" fmla="*/ 73533 w 3638455"/>
                  <a:gd name="connsiteY9" fmla="*/ 36386 h 590169"/>
                  <a:gd name="connsiteX10" fmla="*/ 73533 w 3638455"/>
                  <a:gd name="connsiteY10" fmla="*/ 42482 h 590169"/>
                  <a:gd name="connsiteX11" fmla="*/ 75628 w 3638455"/>
                  <a:gd name="connsiteY11" fmla="*/ 42482 h 590169"/>
                  <a:gd name="connsiteX12" fmla="*/ 75628 w 3638455"/>
                  <a:gd name="connsiteY12" fmla="*/ 48483 h 590169"/>
                  <a:gd name="connsiteX13" fmla="*/ 77819 w 3638455"/>
                  <a:gd name="connsiteY13" fmla="*/ 48483 h 590169"/>
                  <a:gd name="connsiteX14" fmla="*/ 77819 w 3638455"/>
                  <a:gd name="connsiteY14" fmla="*/ 54579 h 590169"/>
                  <a:gd name="connsiteX15" fmla="*/ 88296 w 3638455"/>
                  <a:gd name="connsiteY15" fmla="*/ 54579 h 590169"/>
                  <a:gd name="connsiteX16" fmla="*/ 88296 w 3638455"/>
                  <a:gd name="connsiteY16" fmla="*/ 60675 h 590169"/>
                  <a:gd name="connsiteX17" fmla="*/ 94583 w 3638455"/>
                  <a:gd name="connsiteY17" fmla="*/ 60675 h 590169"/>
                  <a:gd name="connsiteX18" fmla="*/ 94583 w 3638455"/>
                  <a:gd name="connsiteY18" fmla="*/ 66675 h 590169"/>
                  <a:gd name="connsiteX19" fmla="*/ 109347 w 3638455"/>
                  <a:gd name="connsiteY19" fmla="*/ 66675 h 590169"/>
                  <a:gd name="connsiteX20" fmla="*/ 109347 w 3638455"/>
                  <a:gd name="connsiteY20" fmla="*/ 72771 h 590169"/>
                  <a:gd name="connsiteX21" fmla="*/ 117729 w 3638455"/>
                  <a:gd name="connsiteY21" fmla="*/ 72771 h 590169"/>
                  <a:gd name="connsiteX22" fmla="*/ 117729 w 3638455"/>
                  <a:gd name="connsiteY22" fmla="*/ 78867 h 590169"/>
                  <a:gd name="connsiteX23" fmla="*/ 128302 w 3638455"/>
                  <a:gd name="connsiteY23" fmla="*/ 78867 h 590169"/>
                  <a:gd name="connsiteX24" fmla="*/ 128302 w 3638455"/>
                  <a:gd name="connsiteY24" fmla="*/ 84868 h 590169"/>
                  <a:gd name="connsiteX25" fmla="*/ 140875 w 3638455"/>
                  <a:gd name="connsiteY25" fmla="*/ 84868 h 590169"/>
                  <a:gd name="connsiteX26" fmla="*/ 140875 w 3638455"/>
                  <a:gd name="connsiteY26" fmla="*/ 90964 h 590169"/>
                  <a:gd name="connsiteX27" fmla="*/ 147161 w 3638455"/>
                  <a:gd name="connsiteY27" fmla="*/ 90964 h 590169"/>
                  <a:gd name="connsiteX28" fmla="*/ 147161 w 3638455"/>
                  <a:gd name="connsiteY28" fmla="*/ 103061 h 590169"/>
                  <a:gd name="connsiteX29" fmla="*/ 151352 w 3638455"/>
                  <a:gd name="connsiteY29" fmla="*/ 103061 h 590169"/>
                  <a:gd name="connsiteX30" fmla="*/ 151352 w 3638455"/>
                  <a:gd name="connsiteY30" fmla="*/ 109157 h 590169"/>
                  <a:gd name="connsiteX31" fmla="*/ 164020 w 3638455"/>
                  <a:gd name="connsiteY31" fmla="*/ 109157 h 590169"/>
                  <a:gd name="connsiteX32" fmla="*/ 164020 w 3638455"/>
                  <a:gd name="connsiteY32" fmla="*/ 115253 h 590169"/>
                  <a:gd name="connsiteX33" fmla="*/ 178689 w 3638455"/>
                  <a:gd name="connsiteY33" fmla="*/ 115253 h 590169"/>
                  <a:gd name="connsiteX34" fmla="*/ 178689 w 3638455"/>
                  <a:gd name="connsiteY34" fmla="*/ 121254 h 590169"/>
                  <a:gd name="connsiteX35" fmla="*/ 182975 w 3638455"/>
                  <a:gd name="connsiteY35" fmla="*/ 121254 h 590169"/>
                  <a:gd name="connsiteX36" fmla="*/ 182975 w 3638455"/>
                  <a:gd name="connsiteY36" fmla="*/ 127350 h 590169"/>
                  <a:gd name="connsiteX37" fmla="*/ 193452 w 3638455"/>
                  <a:gd name="connsiteY37" fmla="*/ 127350 h 590169"/>
                  <a:gd name="connsiteX38" fmla="*/ 193452 w 3638455"/>
                  <a:gd name="connsiteY38" fmla="*/ 133446 h 590169"/>
                  <a:gd name="connsiteX39" fmla="*/ 201835 w 3638455"/>
                  <a:gd name="connsiteY39" fmla="*/ 133446 h 590169"/>
                  <a:gd name="connsiteX40" fmla="*/ 201835 w 3638455"/>
                  <a:gd name="connsiteY40" fmla="*/ 139542 h 590169"/>
                  <a:gd name="connsiteX41" fmla="*/ 216598 w 3638455"/>
                  <a:gd name="connsiteY41" fmla="*/ 139542 h 590169"/>
                  <a:gd name="connsiteX42" fmla="*/ 216598 w 3638455"/>
                  <a:gd name="connsiteY42" fmla="*/ 145542 h 590169"/>
                  <a:gd name="connsiteX43" fmla="*/ 220789 w 3638455"/>
                  <a:gd name="connsiteY43" fmla="*/ 145542 h 590169"/>
                  <a:gd name="connsiteX44" fmla="*/ 220789 w 3638455"/>
                  <a:gd name="connsiteY44" fmla="*/ 151638 h 590169"/>
                  <a:gd name="connsiteX45" fmla="*/ 224980 w 3638455"/>
                  <a:gd name="connsiteY45" fmla="*/ 151638 h 590169"/>
                  <a:gd name="connsiteX46" fmla="*/ 224980 w 3638455"/>
                  <a:gd name="connsiteY46" fmla="*/ 157734 h 590169"/>
                  <a:gd name="connsiteX47" fmla="*/ 237649 w 3638455"/>
                  <a:gd name="connsiteY47" fmla="*/ 157734 h 590169"/>
                  <a:gd name="connsiteX48" fmla="*/ 237649 w 3638455"/>
                  <a:gd name="connsiteY48" fmla="*/ 163735 h 590169"/>
                  <a:gd name="connsiteX49" fmla="*/ 267081 w 3638455"/>
                  <a:gd name="connsiteY49" fmla="*/ 163735 h 590169"/>
                  <a:gd name="connsiteX50" fmla="*/ 267081 w 3638455"/>
                  <a:gd name="connsiteY50" fmla="*/ 169831 h 590169"/>
                  <a:gd name="connsiteX51" fmla="*/ 275463 w 3638455"/>
                  <a:gd name="connsiteY51" fmla="*/ 169831 h 590169"/>
                  <a:gd name="connsiteX52" fmla="*/ 275463 w 3638455"/>
                  <a:gd name="connsiteY52" fmla="*/ 175927 h 590169"/>
                  <a:gd name="connsiteX53" fmla="*/ 277558 w 3638455"/>
                  <a:gd name="connsiteY53" fmla="*/ 175927 h 590169"/>
                  <a:gd name="connsiteX54" fmla="*/ 277558 w 3638455"/>
                  <a:gd name="connsiteY54" fmla="*/ 181928 h 590169"/>
                  <a:gd name="connsiteX55" fmla="*/ 292322 w 3638455"/>
                  <a:gd name="connsiteY55" fmla="*/ 181928 h 590169"/>
                  <a:gd name="connsiteX56" fmla="*/ 292322 w 3638455"/>
                  <a:gd name="connsiteY56" fmla="*/ 194120 h 590169"/>
                  <a:gd name="connsiteX57" fmla="*/ 294418 w 3638455"/>
                  <a:gd name="connsiteY57" fmla="*/ 194120 h 590169"/>
                  <a:gd name="connsiteX58" fmla="*/ 294418 w 3638455"/>
                  <a:gd name="connsiteY58" fmla="*/ 200121 h 590169"/>
                  <a:gd name="connsiteX59" fmla="*/ 300704 w 3638455"/>
                  <a:gd name="connsiteY59" fmla="*/ 200121 h 590169"/>
                  <a:gd name="connsiteX60" fmla="*/ 300704 w 3638455"/>
                  <a:gd name="connsiteY60" fmla="*/ 206217 h 590169"/>
                  <a:gd name="connsiteX61" fmla="*/ 304895 w 3638455"/>
                  <a:gd name="connsiteY61" fmla="*/ 206217 h 590169"/>
                  <a:gd name="connsiteX62" fmla="*/ 304895 w 3638455"/>
                  <a:gd name="connsiteY62" fmla="*/ 212313 h 590169"/>
                  <a:gd name="connsiteX63" fmla="*/ 321754 w 3638455"/>
                  <a:gd name="connsiteY63" fmla="*/ 212313 h 590169"/>
                  <a:gd name="connsiteX64" fmla="*/ 321754 w 3638455"/>
                  <a:gd name="connsiteY64" fmla="*/ 224409 h 590169"/>
                  <a:gd name="connsiteX65" fmla="*/ 325945 w 3638455"/>
                  <a:gd name="connsiteY65" fmla="*/ 224409 h 590169"/>
                  <a:gd name="connsiteX66" fmla="*/ 325945 w 3638455"/>
                  <a:gd name="connsiteY66" fmla="*/ 230505 h 590169"/>
                  <a:gd name="connsiteX67" fmla="*/ 349091 w 3638455"/>
                  <a:gd name="connsiteY67" fmla="*/ 230505 h 590169"/>
                  <a:gd name="connsiteX68" fmla="*/ 349091 w 3638455"/>
                  <a:gd name="connsiteY68" fmla="*/ 236601 h 590169"/>
                  <a:gd name="connsiteX69" fmla="*/ 353282 w 3638455"/>
                  <a:gd name="connsiteY69" fmla="*/ 236601 h 590169"/>
                  <a:gd name="connsiteX70" fmla="*/ 353282 w 3638455"/>
                  <a:gd name="connsiteY70" fmla="*/ 242602 h 590169"/>
                  <a:gd name="connsiteX71" fmla="*/ 359569 w 3638455"/>
                  <a:gd name="connsiteY71" fmla="*/ 242602 h 590169"/>
                  <a:gd name="connsiteX72" fmla="*/ 359569 w 3638455"/>
                  <a:gd name="connsiteY72" fmla="*/ 254794 h 590169"/>
                  <a:gd name="connsiteX73" fmla="*/ 378523 w 3638455"/>
                  <a:gd name="connsiteY73" fmla="*/ 254794 h 590169"/>
                  <a:gd name="connsiteX74" fmla="*/ 378523 w 3638455"/>
                  <a:gd name="connsiteY74" fmla="*/ 260795 h 590169"/>
                  <a:gd name="connsiteX75" fmla="*/ 386905 w 3638455"/>
                  <a:gd name="connsiteY75" fmla="*/ 260795 h 590169"/>
                  <a:gd name="connsiteX76" fmla="*/ 386905 w 3638455"/>
                  <a:gd name="connsiteY76" fmla="*/ 266891 h 590169"/>
                  <a:gd name="connsiteX77" fmla="*/ 399574 w 3638455"/>
                  <a:gd name="connsiteY77" fmla="*/ 266891 h 590169"/>
                  <a:gd name="connsiteX78" fmla="*/ 399574 w 3638455"/>
                  <a:gd name="connsiteY78" fmla="*/ 272987 h 590169"/>
                  <a:gd name="connsiteX79" fmla="*/ 416433 w 3638455"/>
                  <a:gd name="connsiteY79" fmla="*/ 272987 h 590169"/>
                  <a:gd name="connsiteX80" fmla="*/ 416433 w 3638455"/>
                  <a:gd name="connsiteY80" fmla="*/ 278988 h 590169"/>
                  <a:gd name="connsiteX81" fmla="*/ 443770 w 3638455"/>
                  <a:gd name="connsiteY81" fmla="*/ 278988 h 590169"/>
                  <a:gd name="connsiteX82" fmla="*/ 443770 w 3638455"/>
                  <a:gd name="connsiteY82" fmla="*/ 285084 h 590169"/>
                  <a:gd name="connsiteX83" fmla="*/ 445865 w 3638455"/>
                  <a:gd name="connsiteY83" fmla="*/ 285084 h 590169"/>
                  <a:gd name="connsiteX84" fmla="*/ 445865 w 3638455"/>
                  <a:gd name="connsiteY84" fmla="*/ 291180 h 590169"/>
                  <a:gd name="connsiteX85" fmla="*/ 456342 w 3638455"/>
                  <a:gd name="connsiteY85" fmla="*/ 291180 h 590169"/>
                  <a:gd name="connsiteX86" fmla="*/ 456342 w 3638455"/>
                  <a:gd name="connsiteY86" fmla="*/ 297180 h 590169"/>
                  <a:gd name="connsiteX87" fmla="*/ 462629 w 3638455"/>
                  <a:gd name="connsiteY87" fmla="*/ 297180 h 590169"/>
                  <a:gd name="connsiteX88" fmla="*/ 462629 w 3638455"/>
                  <a:gd name="connsiteY88" fmla="*/ 309372 h 590169"/>
                  <a:gd name="connsiteX89" fmla="*/ 471106 w 3638455"/>
                  <a:gd name="connsiteY89" fmla="*/ 309372 h 590169"/>
                  <a:gd name="connsiteX90" fmla="*/ 471106 w 3638455"/>
                  <a:gd name="connsiteY90" fmla="*/ 315373 h 590169"/>
                  <a:gd name="connsiteX91" fmla="*/ 477393 w 3638455"/>
                  <a:gd name="connsiteY91" fmla="*/ 315373 h 590169"/>
                  <a:gd name="connsiteX92" fmla="*/ 477393 w 3638455"/>
                  <a:gd name="connsiteY92" fmla="*/ 327565 h 590169"/>
                  <a:gd name="connsiteX93" fmla="*/ 479488 w 3638455"/>
                  <a:gd name="connsiteY93" fmla="*/ 327565 h 590169"/>
                  <a:gd name="connsiteX94" fmla="*/ 479488 w 3638455"/>
                  <a:gd name="connsiteY94" fmla="*/ 333661 h 590169"/>
                  <a:gd name="connsiteX95" fmla="*/ 492061 w 3638455"/>
                  <a:gd name="connsiteY95" fmla="*/ 333661 h 590169"/>
                  <a:gd name="connsiteX96" fmla="*/ 492061 w 3638455"/>
                  <a:gd name="connsiteY96" fmla="*/ 339662 h 590169"/>
                  <a:gd name="connsiteX97" fmla="*/ 515207 w 3638455"/>
                  <a:gd name="connsiteY97" fmla="*/ 339662 h 590169"/>
                  <a:gd name="connsiteX98" fmla="*/ 515207 w 3638455"/>
                  <a:gd name="connsiteY98" fmla="*/ 345758 h 590169"/>
                  <a:gd name="connsiteX99" fmla="*/ 521589 w 3638455"/>
                  <a:gd name="connsiteY99" fmla="*/ 345758 h 590169"/>
                  <a:gd name="connsiteX100" fmla="*/ 521589 w 3638455"/>
                  <a:gd name="connsiteY100" fmla="*/ 351854 h 590169"/>
                  <a:gd name="connsiteX101" fmla="*/ 529971 w 3638455"/>
                  <a:gd name="connsiteY101" fmla="*/ 351854 h 590169"/>
                  <a:gd name="connsiteX102" fmla="*/ 529971 w 3638455"/>
                  <a:gd name="connsiteY102" fmla="*/ 357855 h 590169"/>
                  <a:gd name="connsiteX103" fmla="*/ 538353 w 3638455"/>
                  <a:gd name="connsiteY103" fmla="*/ 357855 h 590169"/>
                  <a:gd name="connsiteX104" fmla="*/ 538353 w 3638455"/>
                  <a:gd name="connsiteY104" fmla="*/ 363951 h 590169"/>
                  <a:gd name="connsiteX105" fmla="*/ 542544 w 3638455"/>
                  <a:gd name="connsiteY105" fmla="*/ 363951 h 590169"/>
                  <a:gd name="connsiteX106" fmla="*/ 542544 w 3638455"/>
                  <a:gd name="connsiteY106" fmla="*/ 370047 h 590169"/>
                  <a:gd name="connsiteX107" fmla="*/ 616172 w 3638455"/>
                  <a:gd name="connsiteY107" fmla="*/ 370047 h 590169"/>
                  <a:gd name="connsiteX108" fmla="*/ 616172 w 3638455"/>
                  <a:gd name="connsiteY108" fmla="*/ 376047 h 590169"/>
                  <a:gd name="connsiteX109" fmla="*/ 637222 w 3638455"/>
                  <a:gd name="connsiteY109" fmla="*/ 376047 h 590169"/>
                  <a:gd name="connsiteX110" fmla="*/ 637222 w 3638455"/>
                  <a:gd name="connsiteY110" fmla="*/ 382143 h 590169"/>
                  <a:gd name="connsiteX111" fmla="*/ 643509 w 3638455"/>
                  <a:gd name="connsiteY111" fmla="*/ 382143 h 590169"/>
                  <a:gd name="connsiteX112" fmla="*/ 643509 w 3638455"/>
                  <a:gd name="connsiteY112" fmla="*/ 388239 h 590169"/>
                  <a:gd name="connsiteX113" fmla="*/ 685609 w 3638455"/>
                  <a:gd name="connsiteY113" fmla="*/ 388239 h 590169"/>
                  <a:gd name="connsiteX114" fmla="*/ 685609 w 3638455"/>
                  <a:gd name="connsiteY114" fmla="*/ 394240 h 590169"/>
                  <a:gd name="connsiteX115" fmla="*/ 700278 w 3638455"/>
                  <a:gd name="connsiteY115" fmla="*/ 394240 h 590169"/>
                  <a:gd name="connsiteX116" fmla="*/ 700278 w 3638455"/>
                  <a:gd name="connsiteY116" fmla="*/ 400336 h 590169"/>
                  <a:gd name="connsiteX117" fmla="*/ 729805 w 3638455"/>
                  <a:gd name="connsiteY117" fmla="*/ 400336 h 590169"/>
                  <a:gd name="connsiteX118" fmla="*/ 729805 w 3638455"/>
                  <a:gd name="connsiteY118" fmla="*/ 406432 h 590169"/>
                  <a:gd name="connsiteX119" fmla="*/ 731901 w 3638455"/>
                  <a:gd name="connsiteY119" fmla="*/ 406432 h 590169"/>
                  <a:gd name="connsiteX120" fmla="*/ 731901 w 3638455"/>
                  <a:gd name="connsiteY120" fmla="*/ 412433 h 590169"/>
                  <a:gd name="connsiteX121" fmla="*/ 754951 w 3638455"/>
                  <a:gd name="connsiteY121" fmla="*/ 412433 h 590169"/>
                  <a:gd name="connsiteX122" fmla="*/ 754951 w 3638455"/>
                  <a:gd name="connsiteY122" fmla="*/ 418529 h 590169"/>
                  <a:gd name="connsiteX123" fmla="*/ 767620 w 3638455"/>
                  <a:gd name="connsiteY123" fmla="*/ 418529 h 590169"/>
                  <a:gd name="connsiteX124" fmla="*/ 767620 w 3638455"/>
                  <a:gd name="connsiteY124" fmla="*/ 424625 h 590169"/>
                  <a:gd name="connsiteX125" fmla="*/ 803338 w 3638455"/>
                  <a:gd name="connsiteY125" fmla="*/ 424625 h 590169"/>
                  <a:gd name="connsiteX126" fmla="*/ 803338 w 3638455"/>
                  <a:gd name="connsiteY126" fmla="*/ 430721 h 590169"/>
                  <a:gd name="connsiteX127" fmla="*/ 919067 w 3638455"/>
                  <a:gd name="connsiteY127" fmla="*/ 430721 h 590169"/>
                  <a:gd name="connsiteX128" fmla="*/ 919067 w 3638455"/>
                  <a:gd name="connsiteY128" fmla="*/ 436722 h 590169"/>
                  <a:gd name="connsiteX129" fmla="*/ 956881 w 3638455"/>
                  <a:gd name="connsiteY129" fmla="*/ 436722 h 590169"/>
                  <a:gd name="connsiteX130" fmla="*/ 956881 w 3638455"/>
                  <a:gd name="connsiteY130" fmla="*/ 442913 h 590169"/>
                  <a:gd name="connsiteX131" fmla="*/ 1009459 w 3638455"/>
                  <a:gd name="connsiteY131" fmla="*/ 442913 h 590169"/>
                  <a:gd name="connsiteX132" fmla="*/ 1009459 w 3638455"/>
                  <a:gd name="connsiteY132" fmla="*/ 449009 h 590169"/>
                  <a:gd name="connsiteX133" fmla="*/ 1028414 w 3638455"/>
                  <a:gd name="connsiteY133" fmla="*/ 449009 h 590169"/>
                  <a:gd name="connsiteX134" fmla="*/ 1028414 w 3638455"/>
                  <a:gd name="connsiteY134" fmla="*/ 455105 h 590169"/>
                  <a:gd name="connsiteX135" fmla="*/ 1038892 w 3638455"/>
                  <a:gd name="connsiteY135" fmla="*/ 455105 h 590169"/>
                  <a:gd name="connsiteX136" fmla="*/ 1038892 w 3638455"/>
                  <a:gd name="connsiteY136" fmla="*/ 461296 h 590169"/>
                  <a:gd name="connsiteX137" fmla="*/ 1072610 w 3638455"/>
                  <a:gd name="connsiteY137" fmla="*/ 461296 h 590169"/>
                  <a:gd name="connsiteX138" fmla="*/ 1072610 w 3638455"/>
                  <a:gd name="connsiteY138" fmla="*/ 467392 h 590169"/>
                  <a:gd name="connsiteX139" fmla="*/ 1078897 w 3638455"/>
                  <a:gd name="connsiteY139" fmla="*/ 467392 h 590169"/>
                  <a:gd name="connsiteX140" fmla="*/ 1078897 w 3638455"/>
                  <a:gd name="connsiteY140" fmla="*/ 473488 h 590169"/>
                  <a:gd name="connsiteX141" fmla="*/ 1093565 w 3638455"/>
                  <a:gd name="connsiteY141" fmla="*/ 473488 h 590169"/>
                  <a:gd name="connsiteX142" fmla="*/ 1093565 w 3638455"/>
                  <a:gd name="connsiteY142" fmla="*/ 479584 h 590169"/>
                  <a:gd name="connsiteX143" fmla="*/ 1106233 w 3638455"/>
                  <a:gd name="connsiteY143" fmla="*/ 479584 h 590169"/>
                  <a:gd name="connsiteX144" fmla="*/ 1106233 w 3638455"/>
                  <a:gd name="connsiteY144" fmla="*/ 485775 h 590169"/>
                  <a:gd name="connsiteX145" fmla="*/ 1131475 w 3638455"/>
                  <a:gd name="connsiteY145" fmla="*/ 485775 h 590169"/>
                  <a:gd name="connsiteX146" fmla="*/ 1131475 w 3638455"/>
                  <a:gd name="connsiteY146" fmla="*/ 491871 h 590169"/>
                  <a:gd name="connsiteX147" fmla="*/ 1360741 w 3638455"/>
                  <a:gd name="connsiteY147" fmla="*/ 491871 h 590169"/>
                  <a:gd name="connsiteX148" fmla="*/ 1360741 w 3638455"/>
                  <a:gd name="connsiteY148" fmla="*/ 498063 h 590169"/>
                  <a:gd name="connsiteX149" fmla="*/ 1474279 w 3638455"/>
                  <a:gd name="connsiteY149" fmla="*/ 498063 h 590169"/>
                  <a:gd name="connsiteX150" fmla="*/ 1474279 w 3638455"/>
                  <a:gd name="connsiteY150" fmla="*/ 504254 h 590169"/>
                  <a:gd name="connsiteX151" fmla="*/ 1743456 w 3638455"/>
                  <a:gd name="connsiteY151" fmla="*/ 504254 h 590169"/>
                  <a:gd name="connsiteX152" fmla="*/ 1743456 w 3638455"/>
                  <a:gd name="connsiteY152" fmla="*/ 510540 h 590169"/>
                  <a:gd name="connsiteX153" fmla="*/ 1817084 w 3638455"/>
                  <a:gd name="connsiteY153" fmla="*/ 510540 h 590169"/>
                  <a:gd name="connsiteX154" fmla="*/ 1817084 w 3638455"/>
                  <a:gd name="connsiteY154" fmla="*/ 516827 h 590169"/>
                  <a:gd name="connsiteX155" fmla="*/ 1896999 w 3638455"/>
                  <a:gd name="connsiteY155" fmla="*/ 516827 h 590169"/>
                  <a:gd name="connsiteX156" fmla="*/ 1896999 w 3638455"/>
                  <a:gd name="connsiteY156" fmla="*/ 523113 h 590169"/>
                  <a:gd name="connsiteX157" fmla="*/ 2058924 w 3638455"/>
                  <a:gd name="connsiteY157" fmla="*/ 523113 h 590169"/>
                  <a:gd name="connsiteX158" fmla="*/ 2058924 w 3638455"/>
                  <a:gd name="connsiteY158" fmla="*/ 529590 h 590169"/>
                  <a:gd name="connsiteX159" fmla="*/ 2075783 w 3638455"/>
                  <a:gd name="connsiteY159" fmla="*/ 529590 h 590169"/>
                  <a:gd name="connsiteX160" fmla="*/ 2075783 w 3638455"/>
                  <a:gd name="connsiteY160" fmla="*/ 535972 h 590169"/>
                  <a:gd name="connsiteX161" fmla="*/ 2193607 w 3638455"/>
                  <a:gd name="connsiteY161" fmla="*/ 535972 h 590169"/>
                  <a:gd name="connsiteX162" fmla="*/ 2193607 w 3638455"/>
                  <a:gd name="connsiteY162" fmla="*/ 542449 h 590169"/>
                  <a:gd name="connsiteX163" fmla="*/ 2286095 w 3638455"/>
                  <a:gd name="connsiteY163" fmla="*/ 542449 h 590169"/>
                  <a:gd name="connsiteX164" fmla="*/ 2286095 w 3638455"/>
                  <a:gd name="connsiteY164" fmla="*/ 548831 h 590169"/>
                  <a:gd name="connsiteX165" fmla="*/ 2305050 w 3638455"/>
                  <a:gd name="connsiteY165" fmla="*/ 548831 h 590169"/>
                  <a:gd name="connsiteX166" fmla="*/ 2305050 w 3638455"/>
                  <a:gd name="connsiteY166" fmla="*/ 555308 h 590169"/>
                  <a:gd name="connsiteX167" fmla="*/ 3158871 w 3638455"/>
                  <a:gd name="connsiteY167" fmla="*/ 555308 h 590169"/>
                  <a:gd name="connsiteX168" fmla="*/ 3158871 w 3638455"/>
                  <a:gd name="connsiteY168" fmla="*/ 590169 h 590169"/>
                  <a:gd name="connsiteX169" fmla="*/ 3638455 w 3638455"/>
                  <a:gd name="connsiteY169" fmla="*/ 590169 h 590169"/>
                  <a:gd name="connsiteX0" fmla="*/ 0 w 3587973"/>
                  <a:gd name="connsiteY0" fmla="*/ 0 h 584168"/>
                  <a:gd name="connsiteX1" fmla="*/ 0 w 3587973"/>
                  <a:gd name="connsiteY1" fmla="*/ 6096 h 584168"/>
                  <a:gd name="connsiteX2" fmla="*/ 8382 w 3587973"/>
                  <a:gd name="connsiteY2" fmla="*/ 6096 h 584168"/>
                  <a:gd name="connsiteX3" fmla="*/ 8382 w 3587973"/>
                  <a:gd name="connsiteY3" fmla="*/ 18193 h 584168"/>
                  <a:gd name="connsiteX4" fmla="*/ 14669 w 3587973"/>
                  <a:gd name="connsiteY4" fmla="*/ 18193 h 584168"/>
                  <a:gd name="connsiteX5" fmla="*/ 14669 w 3587973"/>
                  <a:gd name="connsiteY5" fmla="*/ 24289 h 584168"/>
                  <a:gd name="connsiteX6" fmla="*/ 18860 w 3587973"/>
                  <a:gd name="connsiteY6" fmla="*/ 24289 h 584168"/>
                  <a:gd name="connsiteX7" fmla="*/ 18860 w 3587973"/>
                  <a:gd name="connsiteY7" fmla="*/ 30385 h 584168"/>
                  <a:gd name="connsiteX8" fmla="*/ 23051 w 3587973"/>
                  <a:gd name="connsiteY8" fmla="*/ 30385 h 584168"/>
                  <a:gd name="connsiteX9" fmla="*/ 23051 w 3587973"/>
                  <a:gd name="connsiteY9" fmla="*/ 36481 h 584168"/>
                  <a:gd name="connsiteX10" fmla="*/ 25146 w 3587973"/>
                  <a:gd name="connsiteY10" fmla="*/ 36481 h 584168"/>
                  <a:gd name="connsiteX11" fmla="*/ 25146 w 3587973"/>
                  <a:gd name="connsiteY11" fmla="*/ 42482 h 584168"/>
                  <a:gd name="connsiteX12" fmla="*/ 27337 w 3587973"/>
                  <a:gd name="connsiteY12" fmla="*/ 42482 h 584168"/>
                  <a:gd name="connsiteX13" fmla="*/ 27337 w 3587973"/>
                  <a:gd name="connsiteY13" fmla="*/ 48578 h 584168"/>
                  <a:gd name="connsiteX14" fmla="*/ 37814 w 3587973"/>
                  <a:gd name="connsiteY14" fmla="*/ 48578 h 584168"/>
                  <a:gd name="connsiteX15" fmla="*/ 37814 w 3587973"/>
                  <a:gd name="connsiteY15" fmla="*/ 54674 h 584168"/>
                  <a:gd name="connsiteX16" fmla="*/ 44101 w 3587973"/>
                  <a:gd name="connsiteY16" fmla="*/ 54674 h 584168"/>
                  <a:gd name="connsiteX17" fmla="*/ 44101 w 3587973"/>
                  <a:gd name="connsiteY17" fmla="*/ 60674 h 584168"/>
                  <a:gd name="connsiteX18" fmla="*/ 58865 w 3587973"/>
                  <a:gd name="connsiteY18" fmla="*/ 60674 h 584168"/>
                  <a:gd name="connsiteX19" fmla="*/ 58865 w 3587973"/>
                  <a:gd name="connsiteY19" fmla="*/ 66770 h 584168"/>
                  <a:gd name="connsiteX20" fmla="*/ 67247 w 3587973"/>
                  <a:gd name="connsiteY20" fmla="*/ 66770 h 584168"/>
                  <a:gd name="connsiteX21" fmla="*/ 67247 w 3587973"/>
                  <a:gd name="connsiteY21" fmla="*/ 72866 h 584168"/>
                  <a:gd name="connsiteX22" fmla="*/ 77820 w 3587973"/>
                  <a:gd name="connsiteY22" fmla="*/ 72866 h 584168"/>
                  <a:gd name="connsiteX23" fmla="*/ 77820 w 3587973"/>
                  <a:gd name="connsiteY23" fmla="*/ 78867 h 584168"/>
                  <a:gd name="connsiteX24" fmla="*/ 90393 w 3587973"/>
                  <a:gd name="connsiteY24" fmla="*/ 78867 h 584168"/>
                  <a:gd name="connsiteX25" fmla="*/ 90393 w 3587973"/>
                  <a:gd name="connsiteY25" fmla="*/ 84963 h 584168"/>
                  <a:gd name="connsiteX26" fmla="*/ 96679 w 3587973"/>
                  <a:gd name="connsiteY26" fmla="*/ 84963 h 584168"/>
                  <a:gd name="connsiteX27" fmla="*/ 96679 w 3587973"/>
                  <a:gd name="connsiteY27" fmla="*/ 97060 h 584168"/>
                  <a:gd name="connsiteX28" fmla="*/ 100870 w 3587973"/>
                  <a:gd name="connsiteY28" fmla="*/ 97060 h 584168"/>
                  <a:gd name="connsiteX29" fmla="*/ 100870 w 3587973"/>
                  <a:gd name="connsiteY29" fmla="*/ 103156 h 584168"/>
                  <a:gd name="connsiteX30" fmla="*/ 113538 w 3587973"/>
                  <a:gd name="connsiteY30" fmla="*/ 103156 h 584168"/>
                  <a:gd name="connsiteX31" fmla="*/ 113538 w 3587973"/>
                  <a:gd name="connsiteY31" fmla="*/ 109252 h 584168"/>
                  <a:gd name="connsiteX32" fmla="*/ 128207 w 3587973"/>
                  <a:gd name="connsiteY32" fmla="*/ 109252 h 584168"/>
                  <a:gd name="connsiteX33" fmla="*/ 128207 w 3587973"/>
                  <a:gd name="connsiteY33" fmla="*/ 115253 h 584168"/>
                  <a:gd name="connsiteX34" fmla="*/ 132493 w 3587973"/>
                  <a:gd name="connsiteY34" fmla="*/ 115253 h 584168"/>
                  <a:gd name="connsiteX35" fmla="*/ 132493 w 3587973"/>
                  <a:gd name="connsiteY35" fmla="*/ 121349 h 584168"/>
                  <a:gd name="connsiteX36" fmla="*/ 142970 w 3587973"/>
                  <a:gd name="connsiteY36" fmla="*/ 121349 h 584168"/>
                  <a:gd name="connsiteX37" fmla="*/ 142970 w 3587973"/>
                  <a:gd name="connsiteY37" fmla="*/ 127445 h 584168"/>
                  <a:gd name="connsiteX38" fmla="*/ 151353 w 3587973"/>
                  <a:gd name="connsiteY38" fmla="*/ 127445 h 584168"/>
                  <a:gd name="connsiteX39" fmla="*/ 151353 w 3587973"/>
                  <a:gd name="connsiteY39" fmla="*/ 133541 h 584168"/>
                  <a:gd name="connsiteX40" fmla="*/ 166116 w 3587973"/>
                  <a:gd name="connsiteY40" fmla="*/ 133541 h 584168"/>
                  <a:gd name="connsiteX41" fmla="*/ 166116 w 3587973"/>
                  <a:gd name="connsiteY41" fmla="*/ 139541 h 584168"/>
                  <a:gd name="connsiteX42" fmla="*/ 170307 w 3587973"/>
                  <a:gd name="connsiteY42" fmla="*/ 139541 h 584168"/>
                  <a:gd name="connsiteX43" fmla="*/ 170307 w 3587973"/>
                  <a:gd name="connsiteY43" fmla="*/ 145637 h 584168"/>
                  <a:gd name="connsiteX44" fmla="*/ 174498 w 3587973"/>
                  <a:gd name="connsiteY44" fmla="*/ 145637 h 584168"/>
                  <a:gd name="connsiteX45" fmla="*/ 174498 w 3587973"/>
                  <a:gd name="connsiteY45" fmla="*/ 151733 h 584168"/>
                  <a:gd name="connsiteX46" fmla="*/ 187167 w 3587973"/>
                  <a:gd name="connsiteY46" fmla="*/ 151733 h 584168"/>
                  <a:gd name="connsiteX47" fmla="*/ 187167 w 3587973"/>
                  <a:gd name="connsiteY47" fmla="*/ 157734 h 584168"/>
                  <a:gd name="connsiteX48" fmla="*/ 216599 w 3587973"/>
                  <a:gd name="connsiteY48" fmla="*/ 157734 h 584168"/>
                  <a:gd name="connsiteX49" fmla="*/ 216599 w 3587973"/>
                  <a:gd name="connsiteY49" fmla="*/ 163830 h 584168"/>
                  <a:gd name="connsiteX50" fmla="*/ 224981 w 3587973"/>
                  <a:gd name="connsiteY50" fmla="*/ 163830 h 584168"/>
                  <a:gd name="connsiteX51" fmla="*/ 224981 w 3587973"/>
                  <a:gd name="connsiteY51" fmla="*/ 169926 h 584168"/>
                  <a:gd name="connsiteX52" fmla="*/ 227076 w 3587973"/>
                  <a:gd name="connsiteY52" fmla="*/ 169926 h 584168"/>
                  <a:gd name="connsiteX53" fmla="*/ 227076 w 3587973"/>
                  <a:gd name="connsiteY53" fmla="*/ 175927 h 584168"/>
                  <a:gd name="connsiteX54" fmla="*/ 241840 w 3587973"/>
                  <a:gd name="connsiteY54" fmla="*/ 175927 h 584168"/>
                  <a:gd name="connsiteX55" fmla="*/ 241840 w 3587973"/>
                  <a:gd name="connsiteY55" fmla="*/ 188119 h 584168"/>
                  <a:gd name="connsiteX56" fmla="*/ 243936 w 3587973"/>
                  <a:gd name="connsiteY56" fmla="*/ 188119 h 584168"/>
                  <a:gd name="connsiteX57" fmla="*/ 243936 w 3587973"/>
                  <a:gd name="connsiteY57" fmla="*/ 194120 h 584168"/>
                  <a:gd name="connsiteX58" fmla="*/ 250222 w 3587973"/>
                  <a:gd name="connsiteY58" fmla="*/ 194120 h 584168"/>
                  <a:gd name="connsiteX59" fmla="*/ 250222 w 3587973"/>
                  <a:gd name="connsiteY59" fmla="*/ 200216 h 584168"/>
                  <a:gd name="connsiteX60" fmla="*/ 254413 w 3587973"/>
                  <a:gd name="connsiteY60" fmla="*/ 200216 h 584168"/>
                  <a:gd name="connsiteX61" fmla="*/ 254413 w 3587973"/>
                  <a:gd name="connsiteY61" fmla="*/ 206312 h 584168"/>
                  <a:gd name="connsiteX62" fmla="*/ 271272 w 3587973"/>
                  <a:gd name="connsiteY62" fmla="*/ 206312 h 584168"/>
                  <a:gd name="connsiteX63" fmla="*/ 271272 w 3587973"/>
                  <a:gd name="connsiteY63" fmla="*/ 218408 h 584168"/>
                  <a:gd name="connsiteX64" fmla="*/ 275463 w 3587973"/>
                  <a:gd name="connsiteY64" fmla="*/ 218408 h 584168"/>
                  <a:gd name="connsiteX65" fmla="*/ 275463 w 3587973"/>
                  <a:gd name="connsiteY65" fmla="*/ 224504 h 584168"/>
                  <a:gd name="connsiteX66" fmla="*/ 298609 w 3587973"/>
                  <a:gd name="connsiteY66" fmla="*/ 224504 h 584168"/>
                  <a:gd name="connsiteX67" fmla="*/ 298609 w 3587973"/>
                  <a:gd name="connsiteY67" fmla="*/ 230600 h 584168"/>
                  <a:gd name="connsiteX68" fmla="*/ 302800 w 3587973"/>
                  <a:gd name="connsiteY68" fmla="*/ 230600 h 584168"/>
                  <a:gd name="connsiteX69" fmla="*/ 302800 w 3587973"/>
                  <a:gd name="connsiteY69" fmla="*/ 236601 h 584168"/>
                  <a:gd name="connsiteX70" fmla="*/ 309087 w 3587973"/>
                  <a:gd name="connsiteY70" fmla="*/ 236601 h 584168"/>
                  <a:gd name="connsiteX71" fmla="*/ 309087 w 3587973"/>
                  <a:gd name="connsiteY71" fmla="*/ 248793 h 584168"/>
                  <a:gd name="connsiteX72" fmla="*/ 328041 w 3587973"/>
                  <a:gd name="connsiteY72" fmla="*/ 248793 h 584168"/>
                  <a:gd name="connsiteX73" fmla="*/ 328041 w 3587973"/>
                  <a:gd name="connsiteY73" fmla="*/ 254794 h 584168"/>
                  <a:gd name="connsiteX74" fmla="*/ 336423 w 3587973"/>
                  <a:gd name="connsiteY74" fmla="*/ 254794 h 584168"/>
                  <a:gd name="connsiteX75" fmla="*/ 336423 w 3587973"/>
                  <a:gd name="connsiteY75" fmla="*/ 260890 h 584168"/>
                  <a:gd name="connsiteX76" fmla="*/ 349092 w 3587973"/>
                  <a:gd name="connsiteY76" fmla="*/ 260890 h 584168"/>
                  <a:gd name="connsiteX77" fmla="*/ 349092 w 3587973"/>
                  <a:gd name="connsiteY77" fmla="*/ 266986 h 584168"/>
                  <a:gd name="connsiteX78" fmla="*/ 365951 w 3587973"/>
                  <a:gd name="connsiteY78" fmla="*/ 266986 h 584168"/>
                  <a:gd name="connsiteX79" fmla="*/ 365951 w 3587973"/>
                  <a:gd name="connsiteY79" fmla="*/ 272987 h 584168"/>
                  <a:gd name="connsiteX80" fmla="*/ 393288 w 3587973"/>
                  <a:gd name="connsiteY80" fmla="*/ 272987 h 584168"/>
                  <a:gd name="connsiteX81" fmla="*/ 393288 w 3587973"/>
                  <a:gd name="connsiteY81" fmla="*/ 279083 h 584168"/>
                  <a:gd name="connsiteX82" fmla="*/ 395383 w 3587973"/>
                  <a:gd name="connsiteY82" fmla="*/ 279083 h 584168"/>
                  <a:gd name="connsiteX83" fmla="*/ 395383 w 3587973"/>
                  <a:gd name="connsiteY83" fmla="*/ 285179 h 584168"/>
                  <a:gd name="connsiteX84" fmla="*/ 405860 w 3587973"/>
                  <a:gd name="connsiteY84" fmla="*/ 285179 h 584168"/>
                  <a:gd name="connsiteX85" fmla="*/ 405860 w 3587973"/>
                  <a:gd name="connsiteY85" fmla="*/ 291179 h 584168"/>
                  <a:gd name="connsiteX86" fmla="*/ 412147 w 3587973"/>
                  <a:gd name="connsiteY86" fmla="*/ 291179 h 584168"/>
                  <a:gd name="connsiteX87" fmla="*/ 412147 w 3587973"/>
                  <a:gd name="connsiteY87" fmla="*/ 303371 h 584168"/>
                  <a:gd name="connsiteX88" fmla="*/ 420624 w 3587973"/>
                  <a:gd name="connsiteY88" fmla="*/ 303371 h 584168"/>
                  <a:gd name="connsiteX89" fmla="*/ 420624 w 3587973"/>
                  <a:gd name="connsiteY89" fmla="*/ 309372 h 584168"/>
                  <a:gd name="connsiteX90" fmla="*/ 426911 w 3587973"/>
                  <a:gd name="connsiteY90" fmla="*/ 309372 h 584168"/>
                  <a:gd name="connsiteX91" fmla="*/ 426911 w 3587973"/>
                  <a:gd name="connsiteY91" fmla="*/ 321564 h 584168"/>
                  <a:gd name="connsiteX92" fmla="*/ 429006 w 3587973"/>
                  <a:gd name="connsiteY92" fmla="*/ 321564 h 584168"/>
                  <a:gd name="connsiteX93" fmla="*/ 429006 w 3587973"/>
                  <a:gd name="connsiteY93" fmla="*/ 327660 h 584168"/>
                  <a:gd name="connsiteX94" fmla="*/ 441579 w 3587973"/>
                  <a:gd name="connsiteY94" fmla="*/ 327660 h 584168"/>
                  <a:gd name="connsiteX95" fmla="*/ 441579 w 3587973"/>
                  <a:gd name="connsiteY95" fmla="*/ 333661 h 584168"/>
                  <a:gd name="connsiteX96" fmla="*/ 464725 w 3587973"/>
                  <a:gd name="connsiteY96" fmla="*/ 333661 h 584168"/>
                  <a:gd name="connsiteX97" fmla="*/ 464725 w 3587973"/>
                  <a:gd name="connsiteY97" fmla="*/ 339757 h 584168"/>
                  <a:gd name="connsiteX98" fmla="*/ 471107 w 3587973"/>
                  <a:gd name="connsiteY98" fmla="*/ 339757 h 584168"/>
                  <a:gd name="connsiteX99" fmla="*/ 471107 w 3587973"/>
                  <a:gd name="connsiteY99" fmla="*/ 345853 h 584168"/>
                  <a:gd name="connsiteX100" fmla="*/ 479489 w 3587973"/>
                  <a:gd name="connsiteY100" fmla="*/ 345853 h 584168"/>
                  <a:gd name="connsiteX101" fmla="*/ 479489 w 3587973"/>
                  <a:gd name="connsiteY101" fmla="*/ 351854 h 584168"/>
                  <a:gd name="connsiteX102" fmla="*/ 487871 w 3587973"/>
                  <a:gd name="connsiteY102" fmla="*/ 351854 h 584168"/>
                  <a:gd name="connsiteX103" fmla="*/ 487871 w 3587973"/>
                  <a:gd name="connsiteY103" fmla="*/ 357950 h 584168"/>
                  <a:gd name="connsiteX104" fmla="*/ 492062 w 3587973"/>
                  <a:gd name="connsiteY104" fmla="*/ 357950 h 584168"/>
                  <a:gd name="connsiteX105" fmla="*/ 492062 w 3587973"/>
                  <a:gd name="connsiteY105" fmla="*/ 364046 h 584168"/>
                  <a:gd name="connsiteX106" fmla="*/ 565690 w 3587973"/>
                  <a:gd name="connsiteY106" fmla="*/ 364046 h 584168"/>
                  <a:gd name="connsiteX107" fmla="*/ 565690 w 3587973"/>
                  <a:gd name="connsiteY107" fmla="*/ 370046 h 584168"/>
                  <a:gd name="connsiteX108" fmla="*/ 586740 w 3587973"/>
                  <a:gd name="connsiteY108" fmla="*/ 370046 h 584168"/>
                  <a:gd name="connsiteX109" fmla="*/ 586740 w 3587973"/>
                  <a:gd name="connsiteY109" fmla="*/ 376142 h 584168"/>
                  <a:gd name="connsiteX110" fmla="*/ 593027 w 3587973"/>
                  <a:gd name="connsiteY110" fmla="*/ 376142 h 584168"/>
                  <a:gd name="connsiteX111" fmla="*/ 593027 w 3587973"/>
                  <a:gd name="connsiteY111" fmla="*/ 382238 h 584168"/>
                  <a:gd name="connsiteX112" fmla="*/ 635127 w 3587973"/>
                  <a:gd name="connsiteY112" fmla="*/ 382238 h 584168"/>
                  <a:gd name="connsiteX113" fmla="*/ 635127 w 3587973"/>
                  <a:gd name="connsiteY113" fmla="*/ 388239 h 584168"/>
                  <a:gd name="connsiteX114" fmla="*/ 649796 w 3587973"/>
                  <a:gd name="connsiteY114" fmla="*/ 388239 h 584168"/>
                  <a:gd name="connsiteX115" fmla="*/ 649796 w 3587973"/>
                  <a:gd name="connsiteY115" fmla="*/ 394335 h 584168"/>
                  <a:gd name="connsiteX116" fmla="*/ 679323 w 3587973"/>
                  <a:gd name="connsiteY116" fmla="*/ 394335 h 584168"/>
                  <a:gd name="connsiteX117" fmla="*/ 679323 w 3587973"/>
                  <a:gd name="connsiteY117" fmla="*/ 400431 h 584168"/>
                  <a:gd name="connsiteX118" fmla="*/ 681419 w 3587973"/>
                  <a:gd name="connsiteY118" fmla="*/ 400431 h 584168"/>
                  <a:gd name="connsiteX119" fmla="*/ 681419 w 3587973"/>
                  <a:gd name="connsiteY119" fmla="*/ 406432 h 584168"/>
                  <a:gd name="connsiteX120" fmla="*/ 704469 w 3587973"/>
                  <a:gd name="connsiteY120" fmla="*/ 406432 h 584168"/>
                  <a:gd name="connsiteX121" fmla="*/ 704469 w 3587973"/>
                  <a:gd name="connsiteY121" fmla="*/ 412528 h 584168"/>
                  <a:gd name="connsiteX122" fmla="*/ 717138 w 3587973"/>
                  <a:gd name="connsiteY122" fmla="*/ 412528 h 584168"/>
                  <a:gd name="connsiteX123" fmla="*/ 717138 w 3587973"/>
                  <a:gd name="connsiteY123" fmla="*/ 418624 h 584168"/>
                  <a:gd name="connsiteX124" fmla="*/ 752856 w 3587973"/>
                  <a:gd name="connsiteY124" fmla="*/ 418624 h 584168"/>
                  <a:gd name="connsiteX125" fmla="*/ 752856 w 3587973"/>
                  <a:gd name="connsiteY125" fmla="*/ 424720 h 584168"/>
                  <a:gd name="connsiteX126" fmla="*/ 868585 w 3587973"/>
                  <a:gd name="connsiteY126" fmla="*/ 424720 h 584168"/>
                  <a:gd name="connsiteX127" fmla="*/ 868585 w 3587973"/>
                  <a:gd name="connsiteY127" fmla="*/ 430721 h 584168"/>
                  <a:gd name="connsiteX128" fmla="*/ 906399 w 3587973"/>
                  <a:gd name="connsiteY128" fmla="*/ 430721 h 584168"/>
                  <a:gd name="connsiteX129" fmla="*/ 906399 w 3587973"/>
                  <a:gd name="connsiteY129" fmla="*/ 436912 h 584168"/>
                  <a:gd name="connsiteX130" fmla="*/ 958977 w 3587973"/>
                  <a:gd name="connsiteY130" fmla="*/ 436912 h 584168"/>
                  <a:gd name="connsiteX131" fmla="*/ 958977 w 3587973"/>
                  <a:gd name="connsiteY131" fmla="*/ 443008 h 584168"/>
                  <a:gd name="connsiteX132" fmla="*/ 977932 w 3587973"/>
                  <a:gd name="connsiteY132" fmla="*/ 443008 h 584168"/>
                  <a:gd name="connsiteX133" fmla="*/ 977932 w 3587973"/>
                  <a:gd name="connsiteY133" fmla="*/ 449104 h 584168"/>
                  <a:gd name="connsiteX134" fmla="*/ 988410 w 3587973"/>
                  <a:gd name="connsiteY134" fmla="*/ 449104 h 584168"/>
                  <a:gd name="connsiteX135" fmla="*/ 988410 w 3587973"/>
                  <a:gd name="connsiteY135" fmla="*/ 455295 h 584168"/>
                  <a:gd name="connsiteX136" fmla="*/ 1022128 w 3587973"/>
                  <a:gd name="connsiteY136" fmla="*/ 455295 h 584168"/>
                  <a:gd name="connsiteX137" fmla="*/ 1022128 w 3587973"/>
                  <a:gd name="connsiteY137" fmla="*/ 461391 h 584168"/>
                  <a:gd name="connsiteX138" fmla="*/ 1028415 w 3587973"/>
                  <a:gd name="connsiteY138" fmla="*/ 461391 h 584168"/>
                  <a:gd name="connsiteX139" fmla="*/ 1028415 w 3587973"/>
                  <a:gd name="connsiteY139" fmla="*/ 467487 h 584168"/>
                  <a:gd name="connsiteX140" fmla="*/ 1043083 w 3587973"/>
                  <a:gd name="connsiteY140" fmla="*/ 467487 h 584168"/>
                  <a:gd name="connsiteX141" fmla="*/ 1043083 w 3587973"/>
                  <a:gd name="connsiteY141" fmla="*/ 473583 h 584168"/>
                  <a:gd name="connsiteX142" fmla="*/ 1055751 w 3587973"/>
                  <a:gd name="connsiteY142" fmla="*/ 473583 h 584168"/>
                  <a:gd name="connsiteX143" fmla="*/ 1055751 w 3587973"/>
                  <a:gd name="connsiteY143" fmla="*/ 479774 h 584168"/>
                  <a:gd name="connsiteX144" fmla="*/ 1080993 w 3587973"/>
                  <a:gd name="connsiteY144" fmla="*/ 479774 h 584168"/>
                  <a:gd name="connsiteX145" fmla="*/ 1080993 w 3587973"/>
                  <a:gd name="connsiteY145" fmla="*/ 485870 h 584168"/>
                  <a:gd name="connsiteX146" fmla="*/ 1310259 w 3587973"/>
                  <a:gd name="connsiteY146" fmla="*/ 485870 h 584168"/>
                  <a:gd name="connsiteX147" fmla="*/ 1310259 w 3587973"/>
                  <a:gd name="connsiteY147" fmla="*/ 492062 h 584168"/>
                  <a:gd name="connsiteX148" fmla="*/ 1423797 w 3587973"/>
                  <a:gd name="connsiteY148" fmla="*/ 492062 h 584168"/>
                  <a:gd name="connsiteX149" fmla="*/ 1423797 w 3587973"/>
                  <a:gd name="connsiteY149" fmla="*/ 498253 h 584168"/>
                  <a:gd name="connsiteX150" fmla="*/ 1692974 w 3587973"/>
                  <a:gd name="connsiteY150" fmla="*/ 498253 h 584168"/>
                  <a:gd name="connsiteX151" fmla="*/ 1692974 w 3587973"/>
                  <a:gd name="connsiteY151" fmla="*/ 504539 h 584168"/>
                  <a:gd name="connsiteX152" fmla="*/ 1766602 w 3587973"/>
                  <a:gd name="connsiteY152" fmla="*/ 504539 h 584168"/>
                  <a:gd name="connsiteX153" fmla="*/ 1766602 w 3587973"/>
                  <a:gd name="connsiteY153" fmla="*/ 510826 h 584168"/>
                  <a:gd name="connsiteX154" fmla="*/ 1846517 w 3587973"/>
                  <a:gd name="connsiteY154" fmla="*/ 510826 h 584168"/>
                  <a:gd name="connsiteX155" fmla="*/ 1846517 w 3587973"/>
                  <a:gd name="connsiteY155" fmla="*/ 517112 h 584168"/>
                  <a:gd name="connsiteX156" fmla="*/ 2008442 w 3587973"/>
                  <a:gd name="connsiteY156" fmla="*/ 517112 h 584168"/>
                  <a:gd name="connsiteX157" fmla="*/ 2008442 w 3587973"/>
                  <a:gd name="connsiteY157" fmla="*/ 523589 h 584168"/>
                  <a:gd name="connsiteX158" fmla="*/ 2025301 w 3587973"/>
                  <a:gd name="connsiteY158" fmla="*/ 523589 h 584168"/>
                  <a:gd name="connsiteX159" fmla="*/ 2025301 w 3587973"/>
                  <a:gd name="connsiteY159" fmla="*/ 529971 h 584168"/>
                  <a:gd name="connsiteX160" fmla="*/ 2143125 w 3587973"/>
                  <a:gd name="connsiteY160" fmla="*/ 529971 h 584168"/>
                  <a:gd name="connsiteX161" fmla="*/ 2143125 w 3587973"/>
                  <a:gd name="connsiteY161" fmla="*/ 536448 h 584168"/>
                  <a:gd name="connsiteX162" fmla="*/ 2235613 w 3587973"/>
                  <a:gd name="connsiteY162" fmla="*/ 536448 h 584168"/>
                  <a:gd name="connsiteX163" fmla="*/ 2235613 w 3587973"/>
                  <a:gd name="connsiteY163" fmla="*/ 542830 h 584168"/>
                  <a:gd name="connsiteX164" fmla="*/ 2254568 w 3587973"/>
                  <a:gd name="connsiteY164" fmla="*/ 542830 h 584168"/>
                  <a:gd name="connsiteX165" fmla="*/ 2254568 w 3587973"/>
                  <a:gd name="connsiteY165" fmla="*/ 549307 h 584168"/>
                  <a:gd name="connsiteX166" fmla="*/ 3108389 w 3587973"/>
                  <a:gd name="connsiteY166" fmla="*/ 549307 h 584168"/>
                  <a:gd name="connsiteX167" fmla="*/ 3108389 w 3587973"/>
                  <a:gd name="connsiteY167" fmla="*/ 584168 h 584168"/>
                  <a:gd name="connsiteX168" fmla="*/ 3587973 w 3587973"/>
                  <a:gd name="connsiteY168" fmla="*/ 584168 h 584168"/>
                  <a:gd name="connsiteX0" fmla="*/ 0 w 3587973"/>
                  <a:gd name="connsiteY0" fmla="*/ 0 h 578072"/>
                  <a:gd name="connsiteX1" fmla="*/ 8382 w 3587973"/>
                  <a:gd name="connsiteY1" fmla="*/ 0 h 578072"/>
                  <a:gd name="connsiteX2" fmla="*/ 8382 w 3587973"/>
                  <a:gd name="connsiteY2" fmla="*/ 12097 h 578072"/>
                  <a:gd name="connsiteX3" fmla="*/ 14669 w 3587973"/>
                  <a:gd name="connsiteY3" fmla="*/ 12097 h 578072"/>
                  <a:gd name="connsiteX4" fmla="*/ 14669 w 3587973"/>
                  <a:gd name="connsiteY4" fmla="*/ 18193 h 578072"/>
                  <a:gd name="connsiteX5" fmla="*/ 18860 w 3587973"/>
                  <a:gd name="connsiteY5" fmla="*/ 18193 h 578072"/>
                  <a:gd name="connsiteX6" fmla="*/ 18860 w 3587973"/>
                  <a:gd name="connsiteY6" fmla="*/ 24289 h 578072"/>
                  <a:gd name="connsiteX7" fmla="*/ 23051 w 3587973"/>
                  <a:gd name="connsiteY7" fmla="*/ 24289 h 578072"/>
                  <a:gd name="connsiteX8" fmla="*/ 23051 w 3587973"/>
                  <a:gd name="connsiteY8" fmla="*/ 30385 h 578072"/>
                  <a:gd name="connsiteX9" fmla="*/ 25146 w 3587973"/>
                  <a:gd name="connsiteY9" fmla="*/ 30385 h 578072"/>
                  <a:gd name="connsiteX10" fmla="*/ 25146 w 3587973"/>
                  <a:gd name="connsiteY10" fmla="*/ 36386 h 578072"/>
                  <a:gd name="connsiteX11" fmla="*/ 27337 w 3587973"/>
                  <a:gd name="connsiteY11" fmla="*/ 36386 h 578072"/>
                  <a:gd name="connsiteX12" fmla="*/ 27337 w 3587973"/>
                  <a:gd name="connsiteY12" fmla="*/ 42482 h 578072"/>
                  <a:gd name="connsiteX13" fmla="*/ 37814 w 3587973"/>
                  <a:gd name="connsiteY13" fmla="*/ 42482 h 578072"/>
                  <a:gd name="connsiteX14" fmla="*/ 37814 w 3587973"/>
                  <a:gd name="connsiteY14" fmla="*/ 48578 h 578072"/>
                  <a:gd name="connsiteX15" fmla="*/ 44101 w 3587973"/>
                  <a:gd name="connsiteY15" fmla="*/ 48578 h 578072"/>
                  <a:gd name="connsiteX16" fmla="*/ 44101 w 3587973"/>
                  <a:gd name="connsiteY16" fmla="*/ 54578 h 578072"/>
                  <a:gd name="connsiteX17" fmla="*/ 58865 w 3587973"/>
                  <a:gd name="connsiteY17" fmla="*/ 54578 h 578072"/>
                  <a:gd name="connsiteX18" fmla="*/ 58865 w 3587973"/>
                  <a:gd name="connsiteY18" fmla="*/ 60674 h 578072"/>
                  <a:gd name="connsiteX19" fmla="*/ 67247 w 3587973"/>
                  <a:gd name="connsiteY19" fmla="*/ 60674 h 578072"/>
                  <a:gd name="connsiteX20" fmla="*/ 67247 w 3587973"/>
                  <a:gd name="connsiteY20" fmla="*/ 66770 h 578072"/>
                  <a:gd name="connsiteX21" fmla="*/ 77820 w 3587973"/>
                  <a:gd name="connsiteY21" fmla="*/ 66770 h 578072"/>
                  <a:gd name="connsiteX22" fmla="*/ 77820 w 3587973"/>
                  <a:gd name="connsiteY22" fmla="*/ 72771 h 578072"/>
                  <a:gd name="connsiteX23" fmla="*/ 90393 w 3587973"/>
                  <a:gd name="connsiteY23" fmla="*/ 72771 h 578072"/>
                  <a:gd name="connsiteX24" fmla="*/ 90393 w 3587973"/>
                  <a:gd name="connsiteY24" fmla="*/ 78867 h 578072"/>
                  <a:gd name="connsiteX25" fmla="*/ 96679 w 3587973"/>
                  <a:gd name="connsiteY25" fmla="*/ 78867 h 578072"/>
                  <a:gd name="connsiteX26" fmla="*/ 96679 w 3587973"/>
                  <a:gd name="connsiteY26" fmla="*/ 90964 h 578072"/>
                  <a:gd name="connsiteX27" fmla="*/ 100870 w 3587973"/>
                  <a:gd name="connsiteY27" fmla="*/ 90964 h 578072"/>
                  <a:gd name="connsiteX28" fmla="*/ 100870 w 3587973"/>
                  <a:gd name="connsiteY28" fmla="*/ 97060 h 578072"/>
                  <a:gd name="connsiteX29" fmla="*/ 113538 w 3587973"/>
                  <a:gd name="connsiteY29" fmla="*/ 97060 h 578072"/>
                  <a:gd name="connsiteX30" fmla="*/ 113538 w 3587973"/>
                  <a:gd name="connsiteY30" fmla="*/ 103156 h 578072"/>
                  <a:gd name="connsiteX31" fmla="*/ 128207 w 3587973"/>
                  <a:gd name="connsiteY31" fmla="*/ 103156 h 578072"/>
                  <a:gd name="connsiteX32" fmla="*/ 128207 w 3587973"/>
                  <a:gd name="connsiteY32" fmla="*/ 109157 h 578072"/>
                  <a:gd name="connsiteX33" fmla="*/ 132493 w 3587973"/>
                  <a:gd name="connsiteY33" fmla="*/ 109157 h 578072"/>
                  <a:gd name="connsiteX34" fmla="*/ 132493 w 3587973"/>
                  <a:gd name="connsiteY34" fmla="*/ 115253 h 578072"/>
                  <a:gd name="connsiteX35" fmla="*/ 142970 w 3587973"/>
                  <a:gd name="connsiteY35" fmla="*/ 115253 h 578072"/>
                  <a:gd name="connsiteX36" fmla="*/ 142970 w 3587973"/>
                  <a:gd name="connsiteY36" fmla="*/ 121349 h 578072"/>
                  <a:gd name="connsiteX37" fmla="*/ 151353 w 3587973"/>
                  <a:gd name="connsiteY37" fmla="*/ 121349 h 578072"/>
                  <a:gd name="connsiteX38" fmla="*/ 151353 w 3587973"/>
                  <a:gd name="connsiteY38" fmla="*/ 127445 h 578072"/>
                  <a:gd name="connsiteX39" fmla="*/ 166116 w 3587973"/>
                  <a:gd name="connsiteY39" fmla="*/ 127445 h 578072"/>
                  <a:gd name="connsiteX40" fmla="*/ 166116 w 3587973"/>
                  <a:gd name="connsiteY40" fmla="*/ 133445 h 578072"/>
                  <a:gd name="connsiteX41" fmla="*/ 170307 w 3587973"/>
                  <a:gd name="connsiteY41" fmla="*/ 133445 h 578072"/>
                  <a:gd name="connsiteX42" fmla="*/ 170307 w 3587973"/>
                  <a:gd name="connsiteY42" fmla="*/ 139541 h 578072"/>
                  <a:gd name="connsiteX43" fmla="*/ 174498 w 3587973"/>
                  <a:gd name="connsiteY43" fmla="*/ 139541 h 578072"/>
                  <a:gd name="connsiteX44" fmla="*/ 174498 w 3587973"/>
                  <a:gd name="connsiteY44" fmla="*/ 145637 h 578072"/>
                  <a:gd name="connsiteX45" fmla="*/ 187167 w 3587973"/>
                  <a:gd name="connsiteY45" fmla="*/ 145637 h 578072"/>
                  <a:gd name="connsiteX46" fmla="*/ 187167 w 3587973"/>
                  <a:gd name="connsiteY46" fmla="*/ 151638 h 578072"/>
                  <a:gd name="connsiteX47" fmla="*/ 216599 w 3587973"/>
                  <a:gd name="connsiteY47" fmla="*/ 151638 h 578072"/>
                  <a:gd name="connsiteX48" fmla="*/ 216599 w 3587973"/>
                  <a:gd name="connsiteY48" fmla="*/ 157734 h 578072"/>
                  <a:gd name="connsiteX49" fmla="*/ 224981 w 3587973"/>
                  <a:gd name="connsiteY49" fmla="*/ 157734 h 578072"/>
                  <a:gd name="connsiteX50" fmla="*/ 224981 w 3587973"/>
                  <a:gd name="connsiteY50" fmla="*/ 163830 h 578072"/>
                  <a:gd name="connsiteX51" fmla="*/ 227076 w 3587973"/>
                  <a:gd name="connsiteY51" fmla="*/ 163830 h 578072"/>
                  <a:gd name="connsiteX52" fmla="*/ 227076 w 3587973"/>
                  <a:gd name="connsiteY52" fmla="*/ 169831 h 578072"/>
                  <a:gd name="connsiteX53" fmla="*/ 241840 w 3587973"/>
                  <a:gd name="connsiteY53" fmla="*/ 169831 h 578072"/>
                  <a:gd name="connsiteX54" fmla="*/ 241840 w 3587973"/>
                  <a:gd name="connsiteY54" fmla="*/ 182023 h 578072"/>
                  <a:gd name="connsiteX55" fmla="*/ 243936 w 3587973"/>
                  <a:gd name="connsiteY55" fmla="*/ 182023 h 578072"/>
                  <a:gd name="connsiteX56" fmla="*/ 243936 w 3587973"/>
                  <a:gd name="connsiteY56" fmla="*/ 188024 h 578072"/>
                  <a:gd name="connsiteX57" fmla="*/ 250222 w 3587973"/>
                  <a:gd name="connsiteY57" fmla="*/ 188024 h 578072"/>
                  <a:gd name="connsiteX58" fmla="*/ 250222 w 3587973"/>
                  <a:gd name="connsiteY58" fmla="*/ 194120 h 578072"/>
                  <a:gd name="connsiteX59" fmla="*/ 254413 w 3587973"/>
                  <a:gd name="connsiteY59" fmla="*/ 194120 h 578072"/>
                  <a:gd name="connsiteX60" fmla="*/ 254413 w 3587973"/>
                  <a:gd name="connsiteY60" fmla="*/ 200216 h 578072"/>
                  <a:gd name="connsiteX61" fmla="*/ 271272 w 3587973"/>
                  <a:gd name="connsiteY61" fmla="*/ 200216 h 578072"/>
                  <a:gd name="connsiteX62" fmla="*/ 271272 w 3587973"/>
                  <a:gd name="connsiteY62" fmla="*/ 212312 h 578072"/>
                  <a:gd name="connsiteX63" fmla="*/ 275463 w 3587973"/>
                  <a:gd name="connsiteY63" fmla="*/ 212312 h 578072"/>
                  <a:gd name="connsiteX64" fmla="*/ 275463 w 3587973"/>
                  <a:gd name="connsiteY64" fmla="*/ 218408 h 578072"/>
                  <a:gd name="connsiteX65" fmla="*/ 298609 w 3587973"/>
                  <a:gd name="connsiteY65" fmla="*/ 218408 h 578072"/>
                  <a:gd name="connsiteX66" fmla="*/ 298609 w 3587973"/>
                  <a:gd name="connsiteY66" fmla="*/ 224504 h 578072"/>
                  <a:gd name="connsiteX67" fmla="*/ 302800 w 3587973"/>
                  <a:gd name="connsiteY67" fmla="*/ 224504 h 578072"/>
                  <a:gd name="connsiteX68" fmla="*/ 302800 w 3587973"/>
                  <a:gd name="connsiteY68" fmla="*/ 230505 h 578072"/>
                  <a:gd name="connsiteX69" fmla="*/ 309087 w 3587973"/>
                  <a:gd name="connsiteY69" fmla="*/ 230505 h 578072"/>
                  <a:gd name="connsiteX70" fmla="*/ 309087 w 3587973"/>
                  <a:gd name="connsiteY70" fmla="*/ 242697 h 578072"/>
                  <a:gd name="connsiteX71" fmla="*/ 328041 w 3587973"/>
                  <a:gd name="connsiteY71" fmla="*/ 242697 h 578072"/>
                  <a:gd name="connsiteX72" fmla="*/ 328041 w 3587973"/>
                  <a:gd name="connsiteY72" fmla="*/ 248698 h 578072"/>
                  <a:gd name="connsiteX73" fmla="*/ 336423 w 3587973"/>
                  <a:gd name="connsiteY73" fmla="*/ 248698 h 578072"/>
                  <a:gd name="connsiteX74" fmla="*/ 336423 w 3587973"/>
                  <a:gd name="connsiteY74" fmla="*/ 254794 h 578072"/>
                  <a:gd name="connsiteX75" fmla="*/ 349092 w 3587973"/>
                  <a:gd name="connsiteY75" fmla="*/ 254794 h 578072"/>
                  <a:gd name="connsiteX76" fmla="*/ 349092 w 3587973"/>
                  <a:gd name="connsiteY76" fmla="*/ 260890 h 578072"/>
                  <a:gd name="connsiteX77" fmla="*/ 365951 w 3587973"/>
                  <a:gd name="connsiteY77" fmla="*/ 260890 h 578072"/>
                  <a:gd name="connsiteX78" fmla="*/ 365951 w 3587973"/>
                  <a:gd name="connsiteY78" fmla="*/ 266891 h 578072"/>
                  <a:gd name="connsiteX79" fmla="*/ 393288 w 3587973"/>
                  <a:gd name="connsiteY79" fmla="*/ 266891 h 578072"/>
                  <a:gd name="connsiteX80" fmla="*/ 393288 w 3587973"/>
                  <a:gd name="connsiteY80" fmla="*/ 272987 h 578072"/>
                  <a:gd name="connsiteX81" fmla="*/ 395383 w 3587973"/>
                  <a:gd name="connsiteY81" fmla="*/ 272987 h 578072"/>
                  <a:gd name="connsiteX82" fmla="*/ 395383 w 3587973"/>
                  <a:gd name="connsiteY82" fmla="*/ 279083 h 578072"/>
                  <a:gd name="connsiteX83" fmla="*/ 405860 w 3587973"/>
                  <a:gd name="connsiteY83" fmla="*/ 279083 h 578072"/>
                  <a:gd name="connsiteX84" fmla="*/ 405860 w 3587973"/>
                  <a:gd name="connsiteY84" fmla="*/ 285083 h 578072"/>
                  <a:gd name="connsiteX85" fmla="*/ 412147 w 3587973"/>
                  <a:gd name="connsiteY85" fmla="*/ 285083 h 578072"/>
                  <a:gd name="connsiteX86" fmla="*/ 412147 w 3587973"/>
                  <a:gd name="connsiteY86" fmla="*/ 297275 h 578072"/>
                  <a:gd name="connsiteX87" fmla="*/ 420624 w 3587973"/>
                  <a:gd name="connsiteY87" fmla="*/ 297275 h 578072"/>
                  <a:gd name="connsiteX88" fmla="*/ 420624 w 3587973"/>
                  <a:gd name="connsiteY88" fmla="*/ 303276 h 578072"/>
                  <a:gd name="connsiteX89" fmla="*/ 426911 w 3587973"/>
                  <a:gd name="connsiteY89" fmla="*/ 303276 h 578072"/>
                  <a:gd name="connsiteX90" fmla="*/ 426911 w 3587973"/>
                  <a:gd name="connsiteY90" fmla="*/ 315468 h 578072"/>
                  <a:gd name="connsiteX91" fmla="*/ 429006 w 3587973"/>
                  <a:gd name="connsiteY91" fmla="*/ 315468 h 578072"/>
                  <a:gd name="connsiteX92" fmla="*/ 429006 w 3587973"/>
                  <a:gd name="connsiteY92" fmla="*/ 321564 h 578072"/>
                  <a:gd name="connsiteX93" fmla="*/ 441579 w 3587973"/>
                  <a:gd name="connsiteY93" fmla="*/ 321564 h 578072"/>
                  <a:gd name="connsiteX94" fmla="*/ 441579 w 3587973"/>
                  <a:gd name="connsiteY94" fmla="*/ 327565 h 578072"/>
                  <a:gd name="connsiteX95" fmla="*/ 464725 w 3587973"/>
                  <a:gd name="connsiteY95" fmla="*/ 327565 h 578072"/>
                  <a:gd name="connsiteX96" fmla="*/ 464725 w 3587973"/>
                  <a:gd name="connsiteY96" fmla="*/ 333661 h 578072"/>
                  <a:gd name="connsiteX97" fmla="*/ 471107 w 3587973"/>
                  <a:gd name="connsiteY97" fmla="*/ 333661 h 578072"/>
                  <a:gd name="connsiteX98" fmla="*/ 471107 w 3587973"/>
                  <a:gd name="connsiteY98" fmla="*/ 339757 h 578072"/>
                  <a:gd name="connsiteX99" fmla="*/ 479489 w 3587973"/>
                  <a:gd name="connsiteY99" fmla="*/ 339757 h 578072"/>
                  <a:gd name="connsiteX100" fmla="*/ 479489 w 3587973"/>
                  <a:gd name="connsiteY100" fmla="*/ 345758 h 578072"/>
                  <a:gd name="connsiteX101" fmla="*/ 487871 w 3587973"/>
                  <a:gd name="connsiteY101" fmla="*/ 345758 h 578072"/>
                  <a:gd name="connsiteX102" fmla="*/ 487871 w 3587973"/>
                  <a:gd name="connsiteY102" fmla="*/ 351854 h 578072"/>
                  <a:gd name="connsiteX103" fmla="*/ 492062 w 3587973"/>
                  <a:gd name="connsiteY103" fmla="*/ 351854 h 578072"/>
                  <a:gd name="connsiteX104" fmla="*/ 492062 w 3587973"/>
                  <a:gd name="connsiteY104" fmla="*/ 357950 h 578072"/>
                  <a:gd name="connsiteX105" fmla="*/ 565690 w 3587973"/>
                  <a:gd name="connsiteY105" fmla="*/ 357950 h 578072"/>
                  <a:gd name="connsiteX106" fmla="*/ 565690 w 3587973"/>
                  <a:gd name="connsiteY106" fmla="*/ 363950 h 578072"/>
                  <a:gd name="connsiteX107" fmla="*/ 586740 w 3587973"/>
                  <a:gd name="connsiteY107" fmla="*/ 363950 h 578072"/>
                  <a:gd name="connsiteX108" fmla="*/ 586740 w 3587973"/>
                  <a:gd name="connsiteY108" fmla="*/ 370046 h 578072"/>
                  <a:gd name="connsiteX109" fmla="*/ 593027 w 3587973"/>
                  <a:gd name="connsiteY109" fmla="*/ 370046 h 578072"/>
                  <a:gd name="connsiteX110" fmla="*/ 593027 w 3587973"/>
                  <a:gd name="connsiteY110" fmla="*/ 376142 h 578072"/>
                  <a:gd name="connsiteX111" fmla="*/ 635127 w 3587973"/>
                  <a:gd name="connsiteY111" fmla="*/ 376142 h 578072"/>
                  <a:gd name="connsiteX112" fmla="*/ 635127 w 3587973"/>
                  <a:gd name="connsiteY112" fmla="*/ 382143 h 578072"/>
                  <a:gd name="connsiteX113" fmla="*/ 649796 w 3587973"/>
                  <a:gd name="connsiteY113" fmla="*/ 382143 h 578072"/>
                  <a:gd name="connsiteX114" fmla="*/ 649796 w 3587973"/>
                  <a:gd name="connsiteY114" fmla="*/ 388239 h 578072"/>
                  <a:gd name="connsiteX115" fmla="*/ 679323 w 3587973"/>
                  <a:gd name="connsiteY115" fmla="*/ 388239 h 578072"/>
                  <a:gd name="connsiteX116" fmla="*/ 679323 w 3587973"/>
                  <a:gd name="connsiteY116" fmla="*/ 394335 h 578072"/>
                  <a:gd name="connsiteX117" fmla="*/ 681419 w 3587973"/>
                  <a:gd name="connsiteY117" fmla="*/ 394335 h 578072"/>
                  <a:gd name="connsiteX118" fmla="*/ 681419 w 3587973"/>
                  <a:gd name="connsiteY118" fmla="*/ 400336 h 578072"/>
                  <a:gd name="connsiteX119" fmla="*/ 704469 w 3587973"/>
                  <a:gd name="connsiteY119" fmla="*/ 400336 h 578072"/>
                  <a:gd name="connsiteX120" fmla="*/ 704469 w 3587973"/>
                  <a:gd name="connsiteY120" fmla="*/ 406432 h 578072"/>
                  <a:gd name="connsiteX121" fmla="*/ 717138 w 3587973"/>
                  <a:gd name="connsiteY121" fmla="*/ 406432 h 578072"/>
                  <a:gd name="connsiteX122" fmla="*/ 717138 w 3587973"/>
                  <a:gd name="connsiteY122" fmla="*/ 412528 h 578072"/>
                  <a:gd name="connsiteX123" fmla="*/ 752856 w 3587973"/>
                  <a:gd name="connsiteY123" fmla="*/ 412528 h 578072"/>
                  <a:gd name="connsiteX124" fmla="*/ 752856 w 3587973"/>
                  <a:gd name="connsiteY124" fmla="*/ 418624 h 578072"/>
                  <a:gd name="connsiteX125" fmla="*/ 868585 w 3587973"/>
                  <a:gd name="connsiteY125" fmla="*/ 418624 h 578072"/>
                  <a:gd name="connsiteX126" fmla="*/ 868585 w 3587973"/>
                  <a:gd name="connsiteY126" fmla="*/ 424625 h 578072"/>
                  <a:gd name="connsiteX127" fmla="*/ 906399 w 3587973"/>
                  <a:gd name="connsiteY127" fmla="*/ 424625 h 578072"/>
                  <a:gd name="connsiteX128" fmla="*/ 906399 w 3587973"/>
                  <a:gd name="connsiteY128" fmla="*/ 430816 h 578072"/>
                  <a:gd name="connsiteX129" fmla="*/ 958977 w 3587973"/>
                  <a:gd name="connsiteY129" fmla="*/ 430816 h 578072"/>
                  <a:gd name="connsiteX130" fmla="*/ 958977 w 3587973"/>
                  <a:gd name="connsiteY130" fmla="*/ 436912 h 578072"/>
                  <a:gd name="connsiteX131" fmla="*/ 977932 w 3587973"/>
                  <a:gd name="connsiteY131" fmla="*/ 436912 h 578072"/>
                  <a:gd name="connsiteX132" fmla="*/ 977932 w 3587973"/>
                  <a:gd name="connsiteY132" fmla="*/ 443008 h 578072"/>
                  <a:gd name="connsiteX133" fmla="*/ 988410 w 3587973"/>
                  <a:gd name="connsiteY133" fmla="*/ 443008 h 578072"/>
                  <a:gd name="connsiteX134" fmla="*/ 988410 w 3587973"/>
                  <a:gd name="connsiteY134" fmla="*/ 449199 h 578072"/>
                  <a:gd name="connsiteX135" fmla="*/ 1022128 w 3587973"/>
                  <a:gd name="connsiteY135" fmla="*/ 449199 h 578072"/>
                  <a:gd name="connsiteX136" fmla="*/ 1022128 w 3587973"/>
                  <a:gd name="connsiteY136" fmla="*/ 455295 h 578072"/>
                  <a:gd name="connsiteX137" fmla="*/ 1028415 w 3587973"/>
                  <a:gd name="connsiteY137" fmla="*/ 455295 h 578072"/>
                  <a:gd name="connsiteX138" fmla="*/ 1028415 w 3587973"/>
                  <a:gd name="connsiteY138" fmla="*/ 461391 h 578072"/>
                  <a:gd name="connsiteX139" fmla="*/ 1043083 w 3587973"/>
                  <a:gd name="connsiteY139" fmla="*/ 461391 h 578072"/>
                  <a:gd name="connsiteX140" fmla="*/ 1043083 w 3587973"/>
                  <a:gd name="connsiteY140" fmla="*/ 467487 h 578072"/>
                  <a:gd name="connsiteX141" fmla="*/ 1055751 w 3587973"/>
                  <a:gd name="connsiteY141" fmla="*/ 467487 h 578072"/>
                  <a:gd name="connsiteX142" fmla="*/ 1055751 w 3587973"/>
                  <a:gd name="connsiteY142" fmla="*/ 473678 h 578072"/>
                  <a:gd name="connsiteX143" fmla="*/ 1080993 w 3587973"/>
                  <a:gd name="connsiteY143" fmla="*/ 473678 h 578072"/>
                  <a:gd name="connsiteX144" fmla="*/ 1080993 w 3587973"/>
                  <a:gd name="connsiteY144" fmla="*/ 479774 h 578072"/>
                  <a:gd name="connsiteX145" fmla="*/ 1310259 w 3587973"/>
                  <a:gd name="connsiteY145" fmla="*/ 479774 h 578072"/>
                  <a:gd name="connsiteX146" fmla="*/ 1310259 w 3587973"/>
                  <a:gd name="connsiteY146" fmla="*/ 485966 h 578072"/>
                  <a:gd name="connsiteX147" fmla="*/ 1423797 w 3587973"/>
                  <a:gd name="connsiteY147" fmla="*/ 485966 h 578072"/>
                  <a:gd name="connsiteX148" fmla="*/ 1423797 w 3587973"/>
                  <a:gd name="connsiteY148" fmla="*/ 492157 h 578072"/>
                  <a:gd name="connsiteX149" fmla="*/ 1692974 w 3587973"/>
                  <a:gd name="connsiteY149" fmla="*/ 492157 h 578072"/>
                  <a:gd name="connsiteX150" fmla="*/ 1692974 w 3587973"/>
                  <a:gd name="connsiteY150" fmla="*/ 498443 h 578072"/>
                  <a:gd name="connsiteX151" fmla="*/ 1766602 w 3587973"/>
                  <a:gd name="connsiteY151" fmla="*/ 498443 h 578072"/>
                  <a:gd name="connsiteX152" fmla="*/ 1766602 w 3587973"/>
                  <a:gd name="connsiteY152" fmla="*/ 504730 h 578072"/>
                  <a:gd name="connsiteX153" fmla="*/ 1846517 w 3587973"/>
                  <a:gd name="connsiteY153" fmla="*/ 504730 h 578072"/>
                  <a:gd name="connsiteX154" fmla="*/ 1846517 w 3587973"/>
                  <a:gd name="connsiteY154" fmla="*/ 511016 h 578072"/>
                  <a:gd name="connsiteX155" fmla="*/ 2008442 w 3587973"/>
                  <a:gd name="connsiteY155" fmla="*/ 511016 h 578072"/>
                  <a:gd name="connsiteX156" fmla="*/ 2008442 w 3587973"/>
                  <a:gd name="connsiteY156" fmla="*/ 517493 h 578072"/>
                  <a:gd name="connsiteX157" fmla="*/ 2025301 w 3587973"/>
                  <a:gd name="connsiteY157" fmla="*/ 517493 h 578072"/>
                  <a:gd name="connsiteX158" fmla="*/ 2025301 w 3587973"/>
                  <a:gd name="connsiteY158" fmla="*/ 523875 h 578072"/>
                  <a:gd name="connsiteX159" fmla="*/ 2143125 w 3587973"/>
                  <a:gd name="connsiteY159" fmla="*/ 523875 h 578072"/>
                  <a:gd name="connsiteX160" fmla="*/ 2143125 w 3587973"/>
                  <a:gd name="connsiteY160" fmla="*/ 530352 h 578072"/>
                  <a:gd name="connsiteX161" fmla="*/ 2235613 w 3587973"/>
                  <a:gd name="connsiteY161" fmla="*/ 530352 h 578072"/>
                  <a:gd name="connsiteX162" fmla="*/ 2235613 w 3587973"/>
                  <a:gd name="connsiteY162" fmla="*/ 536734 h 578072"/>
                  <a:gd name="connsiteX163" fmla="*/ 2254568 w 3587973"/>
                  <a:gd name="connsiteY163" fmla="*/ 536734 h 578072"/>
                  <a:gd name="connsiteX164" fmla="*/ 2254568 w 3587973"/>
                  <a:gd name="connsiteY164" fmla="*/ 543211 h 578072"/>
                  <a:gd name="connsiteX165" fmla="*/ 3108389 w 3587973"/>
                  <a:gd name="connsiteY165" fmla="*/ 543211 h 578072"/>
                  <a:gd name="connsiteX166" fmla="*/ 3108389 w 3587973"/>
                  <a:gd name="connsiteY166" fmla="*/ 578072 h 578072"/>
                  <a:gd name="connsiteX167" fmla="*/ 3587973 w 3587973"/>
                  <a:gd name="connsiteY167" fmla="*/ 578072 h 578072"/>
                  <a:gd name="connsiteX0" fmla="*/ 0 w 3587973"/>
                  <a:gd name="connsiteY0" fmla="*/ 0 h 578072"/>
                  <a:gd name="connsiteX1" fmla="*/ 8382 w 3587973"/>
                  <a:gd name="connsiteY1" fmla="*/ 12097 h 578072"/>
                  <a:gd name="connsiteX2" fmla="*/ 14669 w 3587973"/>
                  <a:gd name="connsiteY2" fmla="*/ 12097 h 578072"/>
                  <a:gd name="connsiteX3" fmla="*/ 14669 w 3587973"/>
                  <a:gd name="connsiteY3" fmla="*/ 18193 h 578072"/>
                  <a:gd name="connsiteX4" fmla="*/ 18860 w 3587973"/>
                  <a:gd name="connsiteY4" fmla="*/ 18193 h 578072"/>
                  <a:gd name="connsiteX5" fmla="*/ 18860 w 3587973"/>
                  <a:gd name="connsiteY5" fmla="*/ 24289 h 578072"/>
                  <a:gd name="connsiteX6" fmla="*/ 23051 w 3587973"/>
                  <a:gd name="connsiteY6" fmla="*/ 24289 h 578072"/>
                  <a:gd name="connsiteX7" fmla="*/ 23051 w 3587973"/>
                  <a:gd name="connsiteY7" fmla="*/ 30385 h 578072"/>
                  <a:gd name="connsiteX8" fmla="*/ 25146 w 3587973"/>
                  <a:gd name="connsiteY8" fmla="*/ 30385 h 578072"/>
                  <a:gd name="connsiteX9" fmla="*/ 25146 w 3587973"/>
                  <a:gd name="connsiteY9" fmla="*/ 36386 h 578072"/>
                  <a:gd name="connsiteX10" fmla="*/ 27337 w 3587973"/>
                  <a:gd name="connsiteY10" fmla="*/ 36386 h 578072"/>
                  <a:gd name="connsiteX11" fmla="*/ 27337 w 3587973"/>
                  <a:gd name="connsiteY11" fmla="*/ 42482 h 578072"/>
                  <a:gd name="connsiteX12" fmla="*/ 37814 w 3587973"/>
                  <a:gd name="connsiteY12" fmla="*/ 42482 h 578072"/>
                  <a:gd name="connsiteX13" fmla="*/ 37814 w 3587973"/>
                  <a:gd name="connsiteY13" fmla="*/ 48578 h 578072"/>
                  <a:gd name="connsiteX14" fmla="*/ 44101 w 3587973"/>
                  <a:gd name="connsiteY14" fmla="*/ 48578 h 578072"/>
                  <a:gd name="connsiteX15" fmla="*/ 44101 w 3587973"/>
                  <a:gd name="connsiteY15" fmla="*/ 54578 h 578072"/>
                  <a:gd name="connsiteX16" fmla="*/ 58865 w 3587973"/>
                  <a:gd name="connsiteY16" fmla="*/ 54578 h 578072"/>
                  <a:gd name="connsiteX17" fmla="*/ 58865 w 3587973"/>
                  <a:gd name="connsiteY17" fmla="*/ 60674 h 578072"/>
                  <a:gd name="connsiteX18" fmla="*/ 67247 w 3587973"/>
                  <a:gd name="connsiteY18" fmla="*/ 60674 h 578072"/>
                  <a:gd name="connsiteX19" fmla="*/ 67247 w 3587973"/>
                  <a:gd name="connsiteY19" fmla="*/ 66770 h 578072"/>
                  <a:gd name="connsiteX20" fmla="*/ 77820 w 3587973"/>
                  <a:gd name="connsiteY20" fmla="*/ 66770 h 578072"/>
                  <a:gd name="connsiteX21" fmla="*/ 77820 w 3587973"/>
                  <a:gd name="connsiteY21" fmla="*/ 72771 h 578072"/>
                  <a:gd name="connsiteX22" fmla="*/ 90393 w 3587973"/>
                  <a:gd name="connsiteY22" fmla="*/ 72771 h 578072"/>
                  <a:gd name="connsiteX23" fmla="*/ 90393 w 3587973"/>
                  <a:gd name="connsiteY23" fmla="*/ 78867 h 578072"/>
                  <a:gd name="connsiteX24" fmla="*/ 96679 w 3587973"/>
                  <a:gd name="connsiteY24" fmla="*/ 78867 h 578072"/>
                  <a:gd name="connsiteX25" fmla="*/ 96679 w 3587973"/>
                  <a:gd name="connsiteY25" fmla="*/ 90964 h 578072"/>
                  <a:gd name="connsiteX26" fmla="*/ 100870 w 3587973"/>
                  <a:gd name="connsiteY26" fmla="*/ 90964 h 578072"/>
                  <a:gd name="connsiteX27" fmla="*/ 100870 w 3587973"/>
                  <a:gd name="connsiteY27" fmla="*/ 97060 h 578072"/>
                  <a:gd name="connsiteX28" fmla="*/ 113538 w 3587973"/>
                  <a:gd name="connsiteY28" fmla="*/ 97060 h 578072"/>
                  <a:gd name="connsiteX29" fmla="*/ 113538 w 3587973"/>
                  <a:gd name="connsiteY29" fmla="*/ 103156 h 578072"/>
                  <a:gd name="connsiteX30" fmla="*/ 128207 w 3587973"/>
                  <a:gd name="connsiteY30" fmla="*/ 103156 h 578072"/>
                  <a:gd name="connsiteX31" fmla="*/ 128207 w 3587973"/>
                  <a:gd name="connsiteY31" fmla="*/ 109157 h 578072"/>
                  <a:gd name="connsiteX32" fmla="*/ 132493 w 3587973"/>
                  <a:gd name="connsiteY32" fmla="*/ 109157 h 578072"/>
                  <a:gd name="connsiteX33" fmla="*/ 132493 w 3587973"/>
                  <a:gd name="connsiteY33" fmla="*/ 115253 h 578072"/>
                  <a:gd name="connsiteX34" fmla="*/ 142970 w 3587973"/>
                  <a:gd name="connsiteY34" fmla="*/ 115253 h 578072"/>
                  <a:gd name="connsiteX35" fmla="*/ 142970 w 3587973"/>
                  <a:gd name="connsiteY35" fmla="*/ 121349 h 578072"/>
                  <a:gd name="connsiteX36" fmla="*/ 151353 w 3587973"/>
                  <a:gd name="connsiteY36" fmla="*/ 121349 h 578072"/>
                  <a:gd name="connsiteX37" fmla="*/ 151353 w 3587973"/>
                  <a:gd name="connsiteY37" fmla="*/ 127445 h 578072"/>
                  <a:gd name="connsiteX38" fmla="*/ 166116 w 3587973"/>
                  <a:gd name="connsiteY38" fmla="*/ 127445 h 578072"/>
                  <a:gd name="connsiteX39" fmla="*/ 166116 w 3587973"/>
                  <a:gd name="connsiteY39" fmla="*/ 133445 h 578072"/>
                  <a:gd name="connsiteX40" fmla="*/ 170307 w 3587973"/>
                  <a:gd name="connsiteY40" fmla="*/ 133445 h 578072"/>
                  <a:gd name="connsiteX41" fmla="*/ 170307 w 3587973"/>
                  <a:gd name="connsiteY41" fmla="*/ 139541 h 578072"/>
                  <a:gd name="connsiteX42" fmla="*/ 174498 w 3587973"/>
                  <a:gd name="connsiteY42" fmla="*/ 139541 h 578072"/>
                  <a:gd name="connsiteX43" fmla="*/ 174498 w 3587973"/>
                  <a:gd name="connsiteY43" fmla="*/ 145637 h 578072"/>
                  <a:gd name="connsiteX44" fmla="*/ 187167 w 3587973"/>
                  <a:gd name="connsiteY44" fmla="*/ 145637 h 578072"/>
                  <a:gd name="connsiteX45" fmla="*/ 187167 w 3587973"/>
                  <a:gd name="connsiteY45" fmla="*/ 151638 h 578072"/>
                  <a:gd name="connsiteX46" fmla="*/ 216599 w 3587973"/>
                  <a:gd name="connsiteY46" fmla="*/ 151638 h 578072"/>
                  <a:gd name="connsiteX47" fmla="*/ 216599 w 3587973"/>
                  <a:gd name="connsiteY47" fmla="*/ 157734 h 578072"/>
                  <a:gd name="connsiteX48" fmla="*/ 224981 w 3587973"/>
                  <a:gd name="connsiteY48" fmla="*/ 157734 h 578072"/>
                  <a:gd name="connsiteX49" fmla="*/ 224981 w 3587973"/>
                  <a:gd name="connsiteY49" fmla="*/ 163830 h 578072"/>
                  <a:gd name="connsiteX50" fmla="*/ 227076 w 3587973"/>
                  <a:gd name="connsiteY50" fmla="*/ 163830 h 578072"/>
                  <a:gd name="connsiteX51" fmla="*/ 227076 w 3587973"/>
                  <a:gd name="connsiteY51" fmla="*/ 169831 h 578072"/>
                  <a:gd name="connsiteX52" fmla="*/ 241840 w 3587973"/>
                  <a:gd name="connsiteY52" fmla="*/ 169831 h 578072"/>
                  <a:gd name="connsiteX53" fmla="*/ 241840 w 3587973"/>
                  <a:gd name="connsiteY53" fmla="*/ 182023 h 578072"/>
                  <a:gd name="connsiteX54" fmla="*/ 243936 w 3587973"/>
                  <a:gd name="connsiteY54" fmla="*/ 182023 h 578072"/>
                  <a:gd name="connsiteX55" fmla="*/ 243936 w 3587973"/>
                  <a:gd name="connsiteY55" fmla="*/ 188024 h 578072"/>
                  <a:gd name="connsiteX56" fmla="*/ 250222 w 3587973"/>
                  <a:gd name="connsiteY56" fmla="*/ 188024 h 578072"/>
                  <a:gd name="connsiteX57" fmla="*/ 250222 w 3587973"/>
                  <a:gd name="connsiteY57" fmla="*/ 194120 h 578072"/>
                  <a:gd name="connsiteX58" fmla="*/ 254413 w 3587973"/>
                  <a:gd name="connsiteY58" fmla="*/ 194120 h 578072"/>
                  <a:gd name="connsiteX59" fmla="*/ 254413 w 3587973"/>
                  <a:gd name="connsiteY59" fmla="*/ 200216 h 578072"/>
                  <a:gd name="connsiteX60" fmla="*/ 271272 w 3587973"/>
                  <a:gd name="connsiteY60" fmla="*/ 200216 h 578072"/>
                  <a:gd name="connsiteX61" fmla="*/ 271272 w 3587973"/>
                  <a:gd name="connsiteY61" fmla="*/ 212312 h 578072"/>
                  <a:gd name="connsiteX62" fmla="*/ 275463 w 3587973"/>
                  <a:gd name="connsiteY62" fmla="*/ 212312 h 578072"/>
                  <a:gd name="connsiteX63" fmla="*/ 275463 w 3587973"/>
                  <a:gd name="connsiteY63" fmla="*/ 218408 h 578072"/>
                  <a:gd name="connsiteX64" fmla="*/ 298609 w 3587973"/>
                  <a:gd name="connsiteY64" fmla="*/ 218408 h 578072"/>
                  <a:gd name="connsiteX65" fmla="*/ 298609 w 3587973"/>
                  <a:gd name="connsiteY65" fmla="*/ 224504 h 578072"/>
                  <a:gd name="connsiteX66" fmla="*/ 302800 w 3587973"/>
                  <a:gd name="connsiteY66" fmla="*/ 224504 h 578072"/>
                  <a:gd name="connsiteX67" fmla="*/ 302800 w 3587973"/>
                  <a:gd name="connsiteY67" fmla="*/ 230505 h 578072"/>
                  <a:gd name="connsiteX68" fmla="*/ 309087 w 3587973"/>
                  <a:gd name="connsiteY68" fmla="*/ 230505 h 578072"/>
                  <a:gd name="connsiteX69" fmla="*/ 309087 w 3587973"/>
                  <a:gd name="connsiteY69" fmla="*/ 242697 h 578072"/>
                  <a:gd name="connsiteX70" fmla="*/ 328041 w 3587973"/>
                  <a:gd name="connsiteY70" fmla="*/ 242697 h 578072"/>
                  <a:gd name="connsiteX71" fmla="*/ 328041 w 3587973"/>
                  <a:gd name="connsiteY71" fmla="*/ 248698 h 578072"/>
                  <a:gd name="connsiteX72" fmla="*/ 336423 w 3587973"/>
                  <a:gd name="connsiteY72" fmla="*/ 248698 h 578072"/>
                  <a:gd name="connsiteX73" fmla="*/ 336423 w 3587973"/>
                  <a:gd name="connsiteY73" fmla="*/ 254794 h 578072"/>
                  <a:gd name="connsiteX74" fmla="*/ 349092 w 3587973"/>
                  <a:gd name="connsiteY74" fmla="*/ 254794 h 578072"/>
                  <a:gd name="connsiteX75" fmla="*/ 349092 w 3587973"/>
                  <a:gd name="connsiteY75" fmla="*/ 260890 h 578072"/>
                  <a:gd name="connsiteX76" fmla="*/ 365951 w 3587973"/>
                  <a:gd name="connsiteY76" fmla="*/ 260890 h 578072"/>
                  <a:gd name="connsiteX77" fmla="*/ 365951 w 3587973"/>
                  <a:gd name="connsiteY77" fmla="*/ 266891 h 578072"/>
                  <a:gd name="connsiteX78" fmla="*/ 393288 w 3587973"/>
                  <a:gd name="connsiteY78" fmla="*/ 266891 h 578072"/>
                  <a:gd name="connsiteX79" fmla="*/ 393288 w 3587973"/>
                  <a:gd name="connsiteY79" fmla="*/ 272987 h 578072"/>
                  <a:gd name="connsiteX80" fmla="*/ 395383 w 3587973"/>
                  <a:gd name="connsiteY80" fmla="*/ 272987 h 578072"/>
                  <a:gd name="connsiteX81" fmla="*/ 395383 w 3587973"/>
                  <a:gd name="connsiteY81" fmla="*/ 279083 h 578072"/>
                  <a:gd name="connsiteX82" fmla="*/ 405860 w 3587973"/>
                  <a:gd name="connsiteY82" fmla="*/ 279083 h 578072"/>
                  <a:gd name="connsiteX83" fmla="*/ 405860 w 3587973"/>
                  <a:gd name="connsiteY83" fmla="*/ 285083 h 578072"/>
                  <a:gd name="connsiteX84" fmla="*/ 412147 w 3587973"/>
                  <a:gd name="connsiteY84" fmla="*/ 285083 h 578072"/>
                  <a:gd name="connsiteX85" fmla="*/ 412147 w 3587973"/>
                  <a:gd name="connsiteY85" fmla="*/ 297275 h 578072"/>
                  <a:gd name="connsiteX86" fmla="*/ 420624 w 3587973"/>
                  <a:gd name="connsiteY86" fmla="*/ 297275 h 578072"/>
                  <a:gd name="connsiteX87" fmla="*/ 420624 w 3587973"/>
                  <a:gd name="connsiteY87" fmla="*/ 303276 h 578072"/>
                  <a:gd name="connsiteX88" fmla="*/ 426911 w 3587973"/>
                  <a:gd name="connsiteY88" fmla="*/ 303276 h 578072"/>
                  <a:gd name="connsiteX89" fmla="*/ 426911 w 3587973"/>
                  <a:gd name="connsiteY89" fmla="*/ 315468 h 578072"/>
                  <a:gd name="connsiteX90" fmla="*/ 429006 w 3587973"/>
                  <a:gd name="connsiteY90" fmla="*/ 315468 h 578072"/>
                  <a:gd name="connsiteX91" fmla="*/ 429006 w 3587973"/>
                  <a:gd name="connsiteY91" fmla="*/ 321564 h 578072"/>
                  <a:gd name="connsiteX92" fmla="*/ 441579 w 3587973"/>
                  <a:gd name="connsiteY92" fmla="*/ 321564 h 578072"/>
                  <a:gd name="connsiteX93" fmla="*/ 441579 w 3587973"/>
                  <a:gd name="connsiteY93" fmla="*/ 327565 h 578072"/>
                  <a:gd name="connsiteX94" fmla="*/ 464725 w 3587973"/>
                  <a:gd name="connsiteY94" fmla="*/ 327565 h 578072"/>
                  <a:gd name="connsiteX95" fmla="*/ 464725 w 3587973"/>
                  <a:gd name="connsiteY95" fmla="*/ 333661 h 578072"/>
                  <a:gd name="connsiteX96" fmla="*/ 471107 w 3587973"/>
                  <a:gd name="connsiteY96" fmla="*/ 333661 h 578072"/>
                  <a:gd name="connsiteX97" fmla="*/ 471107 w 3587973"/>
                  <a:gd name="connsiteY97" fmla="*/ 339757 h 578072"/>
                  <a:gd name="connsiteX98" fmla="*/ 479489 w 3587973"/>
                  <a:gd name="connsiteY98" fmla="*/ 339757 h 578072"/>
                  <a:gd name="connsiteX99" fmla="*/ 479489 w 3587973"/>
                  <a:gd name="connsiteY99" fmla="*/ 345758 h 578072"/>
                  <a:gd name="connsiteX100" fmla="*/ 487871 w 3587973"/>
                  <a:gd name="connsiteY100" fmla="*/ 345758 h 578072"/>
                  <a:gd name="connsiteX101" fmla="*/ 487871 w 3587973"/>
                  <a:gd name="connsiteY101" fmla="*/ 351854 h 578072"/>
                  <a:gd name="connsiteX102" fmla="*/ 492062 w 3587973"/>
                  <a:gd name="connsiteY102" fmla="*/ 351854 h 578072"/>
                  <a:gd name="connsiteX103" fmla="*/ 492062 w 3587973"/>
                  <a:gd name="connsiteY103" fmla="*/ 357950 h 578072"/>
                  <a:gd name="connsiteX104" fmla="*/ 565690 w 3587973"/>
                  <a:gd name="connsiteY104" fmla="*/ 357950 h 578072"/>
                  <a:gd name="connsiteX105" fmla="*/ 565690 w 3587973"/>
                  <a:gd name="connsiteY105" fmla="*/ 363950 h 578072"/>
                  <a:gd name="connsiteX106" fmla="*/ 586740 w 3587973"/>
                  <a:gd name="connsiteY106" fmla="*/ 363950 h 578072"/>
                  <a:gd name="connsiteX107" fmla="*/ 586740 w 3587973"/>
                  <a:gd name="connsiteY107" fmla="*/ 370046 h 578072"/>
                  <a:gd name="connsiteX108" fmla="*/ 593027 w 3587973"/>
                  <a:gd name="connsiteY108" fmla="*/ 370046 h 578072"/>
                  <a:gd name="connsiteX109" fmla="*/ 593027 w 3587973"/>
                  <a:gd name="connsiteY109" fmla="*/ 376142 h 578072"/>
                  <a:gd name="connsiteX110" fmla="*/ 635127 w 3587973"/>
                  <a:gd name="connsiteY110" fmla="*/ 376142 h 578072"/>
                  <a:gd name="connsiteX111" fmla="*/ 635127 w 3587973"/>
                  <a:gd name="connsiteY111" fmla="*/ 382143 h 578072"/>
                  <a:gd name="connsiteX112" fmla="*/ 649796 w 3587973"/>
                  <a:gd name="connsiteY112" fmla="*/ 382143 h 578072"/>
                  <a:gd name="connsiteX113" fmla="*/ 649796 w 3587973"/>
                  <a:gd name="connsiteY113" fmla="*/ 388239 h 578072"/>
                  <a:gd name="connsiteX114" fmla="*/ 679323 w 3587973"/>
                  <a:gd name="connsiteY114" fmla="*/ 388239 h 578072"/>
                  <a:gd name="connsiteX115" fmla="*/ 679323 w 3587973"/>
                  <a:gd name="connsiteY115" fmla="*/ 394335 h 578072"/>
                  <a:gd name="connsiteX116" fmla="*/ 681419 w 3587973"/>
                  <a:gd name="connsiteY116" fmla="*/ 394335 h 578072"/>
                  <a:gd name="connsiteX117" fmla="*/ 681419 w 3587973"/>
                  <a:gd name="connsiteY117" fmla="*/ 400336 h 578072"/>
                  <a:gd name="connsiteX118" fmla="*/ 704469 w 3587973"/>
                  <a:gd name="connsiteY118" fmla="*/ 400336 h 578072"/>
                  <a:gd name="connsiteX119" fmla="*/ 704469 w 3587973"/>
                  <a:gd name="connsiteY119" fmla="*/ 406432 h 578072"/>
                  <a:gd name="connsiteX120" fmla="*/ 717138 w 3587973"/>
                  <a:gd name="connsiteY120" fmla="*/ 406432 h 578072"/>
                  <a:gd name="connsiteX121" fmla="*/ 717138 w 3587973"/>
                  <a:gd name="connsiteY121" fmla="*/ 412528 h 578072"/>
                  <a:gd name="connsiteX122" fmla="*/ 752856 w 3587973"/>
                  <a:gd name="connsiteY122" fmla="*/ 412528 h 578072"/>
                  <a:gd name="connsiteX123" fmla="*/ 752856 w 3587973"/>
                  <a:gd name="connsiteY123" fmla="*/ 418624 h 578072"/>
                  <a:gd name="connsiteX124" fmla="*/ 868585 w 3587973"/>
                  <a:gd name="connsiteY124" fmla="*/ 418624 h 578072"/>
                  <a:gd name="connsiteX125" fmla="*/ 868585 w 3587973"/>
                  <a:gd name="connsiteY125" fmla="*/ 424625 h 578072"/>
                  <a:gd name="connsiteX126" fmla="*/ 906399 w 3587973"/>
                  <a:gd name="connsiteY126" fmla="*/ 424625 h 578072"/>
                  <a:gd name="connsiteX127" fmla="*/ 906399 w 3587973"/>
                  <a:gd name="connsiteY127" fmla="*/ 430816 h 578072"/>
                  <a:gd name="connsiteX128" fmla="*/ 958977 w 3587973"/>
                  <a:gd name="connsiteY128" fmla="*/ 430816 h 578072"/>
                  <a:gd name="connsiteX129" fmla="*/ 958977 w 3587973"/>
                  <a:gd name="connsiteY129" fmla="*/ 436912 h 578072"/>
                  <a:gd name="connsiteX130" fmla="*/ 977932 w 3587973"/>
                  <a:gd name="connsiteY130" fmla="*/ 436912 h 578072"/>
                  <a:gd name="connsiteX131" fmla="*/ 977932 w 3587973"/>
                  <a:gd name="connsiteY131" fmla="*/ 443008 h 578072"/>
                  <a:gd name="connsiteX132" fmla="*/ 988410 w 3587973"/>
                  <a:gd name="connsiteY132" fmla="*/ 443008 h 578072"/>
                  <a:gd name="connsiteX133" fmla="*/ 988410 w 3587973"/>
                  <a:gd name="connsiteY133" fmla="*/ 449199 h 578072"/>
                  <a:gd name="connsiteX134" fmla="*/ 1022128 w 3587973"/>
                  <a:gd name="connsiteY134" fmla="*/ 449199 h 578072"/>
                  <a:gd name="connsiteX135" fmla="*/ 1022128 w 3587973"/>
                  <a:gd name="connsiteY135" fmla="*/ 455295 h 578072"/>
                  <a:gd name="connsiteX136" fmla="*/ 1028415 w 3587973"/>
                  <a:gd name="connsiteY136" fmla="*/ 455295 h 578072"/>
                  <a:gd name="connsiteX137" fmla="*/ 1028415 w 3587973"/>
                  <a:gd name="connsiteY137" fmla="*/ 461391 h 578072"/>
                  <a:gd name="connsiteX138" fmla="*/ 1043083 w 3587973"/>
                  <a:gd name="connsiteY138" fmla="*/ 461391 h 578072"/>
                  <a:gd name="connsiteX139" fmla="*/ 1043083 w 3587973"/>
                  <a:gd name="connsiteY139" fmla="*/ 467487 h 578072"/>
                  <a:gd name="connsiteX140" fmla="*/ 1055751 w 3587973"/>
                  <a:gd name="connsiteY140" fmla="*/ 467487 h 578072"/>
                  <a:gd name="connsiteX141" fmla="*/ 1055751 w 3587973"/>
                  <a:gd name="connsiteY141" fmla="*/ 473678 h 578072"/>
                  <a:gd name="connsiteX142" fmla="*/ 1080993 w 3587973"/>
                  <a:gd name="connsiteY142" fmla="*/ 473678 h 578072"/>
                  <a:gd name="connsiteX143" fmla="*/ 1080993 w 3587973"/>
                  <a:gd name="connsiteY143" fmla="*/ 479774 h 578072"/>
                  <a:gd name="connsiteX144" fmla="*/ 1310259 w 3587973"/>
                  <a:gd name="connsiteY144" fmla="*/ 479774 h 578072"/>
                  <a:gd name="connsiteX145" fmla="*/ 1310259 w 3587973"/>
                  <a:gd name="connsiteY145" fmla="*/ 485966 h 578072"/>
                  <a:gd name="connsiteX146" fmla="*/ 1423797 w 3587973"/>
                  <a:gd name="connsiteY146" fmla="*/ 485966 h 578072"/>
                  <a:gd name="connsiteX147" fmla="*/ 1423797 w 3587973"/>
                  <a:gd name="connsiteY147" fmla="*/ 492157 h 578072"/>
                  <a:gd name="connsiteX148" fmla="*/ 1692974 w 3587973"/>
                  <a:gd name="connsiteY148" fmla="*/ 492157 h 578072"/>
                  <a:gd name="connsiteX149" fmla="*/ 1692974 w 3587973"/>
                  <a:gd name="connsiteY149" fmla="*/ 498443 h 578072"/>
                  <a:gd name="connsiteX150" fmla="*/ 1766602 w 3587973"/>
                  <a:gd name="connsiteY150" fmla="*/ 498443 h 578072"/>
                  <a:gd name="connsiteX151" fmla="*/ 1766602 w 3587973"/>
                  <a:gd name="connsiteY151" fmla="*/ 504730 h 578072"/>
                  <a:gd name="connsiteX152" fmla="*/ 1846517 w 3587973"/>
                  <a:gd name="connsiteY152" fmla="*/ 504730 h 578072"/>
                  <a:gd name="connsiteX153" fmla="*/ 1846517 w 3587973"/>
                  <a:gd name="connsiteY153" fmla="*/ 511016 h 578072"/>
                  <a:gd name="connsiteX154" fmla="*/ 2008442 w 3587973"/>
                  <a:gd name="connsiteY154" fmla="*/ 511016 h 578072"/>
                  <a:gd name="connsiteX155" fmla="*/ 2008442 w 3587973"/>
                  <a:gd name="connsiteY155" fmla="*/ 517493 h 578072"/>
                  <a:gd name="connsiteX156" fmla="*/ 2025301 w 3587973"/>
                  <a:gd name="connsiteY156" fmla="*/ 517493 h 578072"/>
                  <a:gd name="connsiteX157" fmla="*/ 2025301 w 3587973"/>
                  <a:gd name="connsiteY157" fmla="*/ 523875 h 578072"/>
                  <a:gd name="connsiteX158" fmla="*/ 2143125 w 3587973"/>
                  <a:gd name="connsiteY158" fmla="*/ 523875 h 578072"/>
                  <a:gd name="connsiteX159" fmla="*/ 2143125 w 3587973"/>
                  <a:gd name="connsiteY159" fmla="*/ 530352 h 578072"/>
                  <a:gd name="connsiteX160" fmla="*/ 2235613 w 3587973"/>
                  <a:gd name="connsiteY160" fmla="*/ 530352 h 578072"/>
                  <a:gd name="connsiteX161" fmla="*/ 2235613 w 3587973"/>
                  <a:gd name="connsiteY161" fmla="*/ 536734 h 578072"/>
                  <a:gd name="connsiteX162" fmla="*/ 2254568 w 3587973"/>
                  <a:gd name="connsiteY162" fmla="*/ 536734 h 578072"/>
                  <a:gd name="connsiteX163" fmla="*/ 2254568 w 3587973"/>
                  <a:gd name="connsiteY163" fmla="*/ 543211 h 578072"/>
                  <a:gd name="connsiteX164" fmla="*/ 3108389 w 3587973"/>
                  <a:gd name="connsiteY164" fmla="*/ 543211 h 578072"/>
                  <a:gd name="connsiteX165" fmla="*/ 3108389 w 3587973"/>
                  <a:gd name="connsiteY165" fmla="*/ 578072 h 578072"/>
                  <a:gd name="connsiteX166" fmla="*/ 3587973 w 3587973"/>
                  <a:gd name="connsiteY166" fmla="*/ 578072 h 578072"/>
                  <a:gd name="connsiteX0" fmla="*/ 0 w 3579591"/>
                  <a:gd name="connsiteY0" fmla="*/ 0 h 565975"/>
                  <a:gd name="connsiteX1" fmla="*/ 6287 w 3579591"/>
                  <a:gd name="connsiteY1" fmla="*/ 0 h 565975"/>
                  <a:gd name="connsiteX2" fmla="*/ 6287 w 3579591"/>
                  <a:gd name="connsiteY2" fmla="*/ 6096 h 565975"/>
                  <a:gd name="connsiteX3" fmla="*/ 10478 w 3579591"/>
                  <a:gd name="connsiteY3" fmla="*/ 6096 h 565975"/>
                  <a:gd name="connsiteX4" fmla="*/ 10478 w 3579591"/>
                  <a:gd name="connsiteY4" fmla="*/ 12192 h 565975"/>
                  <a:gd name="connsiteX5" fmla="*/ 14669 w 3579591"/>
                  <a:gd name="connsiteY5" fmla="*/ 12192 h 565975"/>
                  <a:gd name="connsiteX6" fmla="*/ 14669 w 3579591"/>
                  <a:gd name="connsiteY6" fmla="*/ 18288 h 565975"/>
                  <a:gd name="connsiteX7" fmla="*/ 16764 w 3579591"/>
                  <a:gd name="connsiteY7" fmla="*/ 18288 h 565975"/>
                  <a:gd name="connsiteX8" fmla="*/ 16764 w 3579591"/>
                  <a:gd name="connsiteY8" fmla="*/ 24289 h 565975"/>
                  <a:gd name="connsiteX9" fmla="*/ 18955 w 3579591"/>
                  <a:gd name="connsiteY9" fmla="*/ 24289 h 565975"/>
                  <a:gd name="connsiteX10" fmla="*/ 18955 w 3579591"/>
                  <a:gd name="connsiteY10" fmla="*/ 30385 h 565975"/>
                  <a:gd name="connsiteX11" fmla="*/ 29432 w 3579591"/>
                  <a:gd name="connsiteY11" fmla="*/ 30385 h 565975"/>
                  <a:gd name="connsiteX12" fmla="*/ 29432 w 3579591"/>
                  <a:gd name="connsiteY12" fmla="*/ 36481 h 565975"/>
                  <a:gd name="connsiteX13" fmla="*/ 35719 w 3579591"/>
                  <a:gd name="connsiteY13" fmla="*/ 36481 h 565975"/>
                  <a:gd name="connsiteX14" fmla="*/ 35719 w 3579591"/>
                  <a:gd name="connsiteY14" fmla="*/ 42481 h 565975"/>
                  <a:gd name="connsiteX15" fmla="*/ 50483 w 3579591"/>
                  <a:gd name="connsiteY15" fmla="*/ 42481 h 565975"/>
                  <a:gd name="connsiteX16" fmla="*/ 50483 w 3579591"/>
                  <a:gd name="connsiteY16" fmla="*/ 48577 h 565975"/>
                  <a:gd name="connsiteX17" fmla="*/ 58865 w 3579591"/>
                  <a:gd name="connsiteY17" fmla="*/ 48577 h 565975"/>
                  <a:gd name="connsiteX18" fmla="*/ 58865 w 3579591"/>
                  <a:gd name="connsiteY18" fmla="*/ 54673 h 565975"/>
                  <a:gd name="connsiteX19" fmla="*/ 69438 w 3579591"/>
                  <a:gd name="connsiteY19" fmla="*/ 54673 h 565975"/>
                  <a:gd name="connsiteX20" fmla="*/ 69438 w 3579591"/>
                  <a:gd name="connsiteY20" fmla="*/ 60674 h 565975"/>
                  <a:gd name="connsiteX21" fmla="*/ 82011 w 3579591"/>
                  <a:gd name="connsiteY21" fmla="*/ 60674 h 565975"/>
                  <a:gd name="connsiteX22" fmla="*/ 82011 w 3579591"/>
                  <a:gd name="connsiteY22" fmla="*/ 66770 h 565975"/>
                  <a:gd name="connsiteX23" fmla="*/ 88297 w 3579591"/>
                  <a:gd name="connsiteY23" fmla="*/ 66770 h 565975"/>
                  <a:gd name="connsiteX24" fmla="*/ 88297 w 3579591"/>
                  <a:gd name="connsiteY24" fmla="*/ 78867 h 565975"/>
                  <a:gd name="connsiteX25" fmla="*/ 92488 w 3579591"/>
                  <a:gd name="connsiteY25" fmla="*/ 78867 h 565975"/>
                  <a:gd name="connsiteX26" fmla="*/ 92488 w 3579591"/>
                  <a:gd name="connsiteY26" fmla="*/ 84963 h 565975"/>
                  <a:gd name="connsiteX27" fmla="*/ 105156 w 3579591"/>
                  <a:gd name="connsiteY27" fmla="*/ 84963 h 565975"/>
                  <a:gd name="connsiteX28" fmla="*/ 105156 w 3579591"/>
                  <a:gd name="connsiteY28" fmla="*/ 91059 h 565975"/>
                  <a:gd name="connsiteX29" fmla="*/ 119825 w 3579591"/>
                  <a:gd name="connsiteY29" fmla="*/ 91059 h 565975"/>
                  <a:gd name="connsiteX30" fmla="*/ 119825 w 3579591"/>
                  <a:gd name="connsiteY30" fmla="*/ 97060 h 565975"/>
                  <a:gd name="connsiteX31" fmla="*/ 124111 w 3579591"/>
                  <a:gd name="connsiteY31" fmla="*/ 97060 h 565975"/>
                  <a:gd name="connsiteX32" fmla="*/ 124111 w 3579591"/>
                  <a:gd name="connsiteY32" fmla="*/ 103156 h 565975"/>
                  <a:gd name="connsiteX33" fmla="*/ 134588 w 3579591"/>
                  <a:gd name="connsiteY33" fmla="*/ 103156 h 565975"/>
                  <a:gd name="connsiteX34" fmla="*/ 134588 w 3579591"/>
                  <a:gd name="connsiteY34" fmla="*/ 109252 h 565975"/>
                  <a:gd name="connsiteX35" fmla="*/ 142971 w 3579591"/>
                  <a:gd name="connsiteY35" fmla="*/ 109252 h 565975"/>
                  <a:gd name="connsiteX36" fmla="*/ 142971 w 3579591"/>
                  <a:gd name="connsiteY36" fmla="*/ 115348 h 565975"/>
                  <a:gd name="connsiteX37" fmla="*/ 157734 w 3579591"/>
                  <a:gd name="connsiteY37" fmla="*/ 115348 h 565975"/>
                  <a:gd name="connsiteX38" fmla="*/ 157734 w 3579591"/>
                  <a:gd name="connsiteY38" fmla="*/ 121348 h 565975"/>
                  <a:gd name="connsiteX39" fmla="*/ 161925 w 3579591"/>
                  <a:gd name="connsiteY39" fmla="*/ 121348 h 565975"/>
                  <a:gd name="connsiteX40" fmla="*/ 161925 w 3579591"/>
                  <a:gd name="connsiteY40" fmla="*/ 127444 h 565975"/>
                  <a:gd name="connsiteX41" fmla="*/ 166116 w 3579591"/>
                  <a:gd name="connsiteY41" fmla="*/ 127444 h 565975"/>
                  <a:gd name="connsiteX42" fmla="*/ 166116 w 3579591"/>
                  <a:gd name="connsiteY42" fmla="*/ 133540 h 565975"/>
                  <a:gd name="connsiteX43" fmla="*/ 178785 w 3579591"/>
                  <a:gd name="connsiteY43" fmla="*/ 133540 h 565975"/>
                  <a:gd name="connsiteX44" fmla="*/ 178785 w 3579591"/>
                  <a:gd name="connsiteY44" fmla="*/ 139541 h 565975"/>
                  <a:gd name="connsiteX45" fmla="*/ 208217 w 3579591"/>
                  <a:gd name="connsiteY45" fmla="*/ 139541 h 565975"/>
                  <a:gd name="connsiteX46" fmla="*/ 208217 w 3579591"/>
                  <a:gd name="connsiteY46" fmla="*/ 145637 h 565975"/>
                  <a:gd name="connsiteX47" fmla="*/ 216599 w 3579591"/>
                  <a:gd name="connsiteY47" fmla="*/ 145637 h 565975"/>
                  <a:gd name="connsiteX48" fmla="*/ 216599 w 3579591"/>
                  <a:gd name="connsiteY48" fmla="*/ 151733 h 565975"/>
                  <a:gd name="connsiteX49" fmla="*/ 218694 w 3579591"/>
                  <a:gd name="connsiteY49" fmla="*/ 151733 h 565975"/>
                  <a:gd name="connsiteX50" fmla="*/ 218694 w 3579591"/>
                  <a:gd name="connsiteY50" fmla="*/ 157734 h 565975"/>
                  <a:gd name="connsiteX51" fmla="*/ 233458 w 3579591"/>
                  <a:gd name="connsiteY51" fmla="*/ 157734 h 565975"/>
                  <a:gd name="connsiteX52" fmla="*/ 233458 w 3579591"/>
                  <a:gd name="connsiteY52" fmla="*/ 169926 h 565975"/>
                  <a:gd name="connsiteX53" fmla="*/ 235554 w 3579591"/>
                  <a:gd name="connsiteY53" fmla="*/ 169926 h 565975"/>
                  <a:gd name="connsiteX54" fmla="*/ 235554 w 3579591"/>
                  <a:gd name="connsiteY54" fmla="*/ 175927 h 565975"/>
                  <a:gd name="connsiteX55" fmla="*/ 241840 w 3579591"/>
                  <a:gd name="connsiteY55" fmla="*/ 175927 h 565975"/>
                  <a:gd name="connsiteX56" fmla="*/ 241840 w 3579591"/>
                  <a:gd name="connsiteY56" fmla="*/ 182023 h 565975"/>
                  <a:gd name="connsiteX57" fmla="*/ 246031 w 3579591"/>
                  <a:gd name="connsiteY57" fmla="*/ 182023 h 565975"/>
                  <a:gd name="connsiteX58" fmla="*/ 246031 w 3579591"/>
                  <a:gd name="connsiteY58" fmla="*/ 188119 h 565975"/>
                  <a:gd name="connsiteX59" fmla="*/ 262890 w 3579591"/>
                  <a:gd name="connsiteY59" fmla="*/ 188119 h 565975"/>
                  <a:gd name="connsiteX60" fmla="*/ 262890 w 3579591"/>
                  <a:gd name="connsiteY60" fmla="*/ 200215 h 565975"/>
                  <a:gd name="connsiteX61" fmla="*/ 267081 w 3579591"/>
                  <a:gd name="connsiteY61" fmla="*/ 200215 h 565975"/>
                  <a:gd name="connsiteX62" fmla="*/ 267081 w 3579591"/>
                  <a:gd name="connsiteY62" fmla="*/ 206311 h 565975"/>
                  <a:gd name="connsiteX63" fmla="*/ 290227 w 3579591"/>
                  <a:gd name="connsiteY63" fmla="*/ 206311 h 565975"/>
                  <a:gd name="connsiteX64" fmla="*/ 290227 w 3579591"/>
                  <a:gd name="connsiteY64" fmla="*/ 212407 h 565975"/>
                  <a:gd name="connsiteX65" fmla="*/ 294418 w 3579591"/>
                  <a:gd name="connsiteY65" fmla="*/ 212407 h 565975"/>
                  <a:gd name="connsiteX66" fmla="*/ 294418 w 3579591"/>
                  <a:gd name="connsiteY66" fmla="*/ 218408 h 565975"/>
                  <a:gd name="connsiteX67" fmla="*/ 300705 w 3579591"/>
                  <a:gd name="connsiteY67" fmla="*/ 218408 h 565975"/>
                  <a:gd name="connsiteX68" fmla="*/ 300705 w 3579591"/>
                  <a:gd name="connsiteY68" fmla="*/ 230600 h 565975"/>
                  <a:gd name="connsiteX69" fmla="*/ 319659 w 3579591"/>
                  <a:gd name="connsiteY69" fmla="*/ 230600 h 565975"/>
                  <a:gd name="connsiteX70" fmla="*/ 319659 w 3579591"/>
                  <a:gd name="connsiteY70" fmla="*/ 236601 h 565975"/>
                  <a:gd name="connsiteX71" fmla="*/ 328041 w 3579591"/>
                  <a:gd name="connsiteY71" fmla="*/ 236601 h 565975"/>
                  <a:gd name="connsiteX72" fmla="*/ 328041 w 3579591"/>
                  <a:gd name="connsiteY72" fmla="*/ 242697 h 565975"/>
                  <a:gd name="connsiteX73" fmla="*/ 340710 w 3579591"/>
                  <a:gd name="connsiteY73" fmla="*/ 242697 h 565975"/>
                  <a:gd name="connsiteX74" fmla="*/ 340710 w 3579591"/>
                  <a:gd name="connsiteY74" fmla="*/ 248793 h 565975"/>
                  <a:gd name="connsiteX75" fmla="*/ 357569 w 3579591"/>
                  <a:gd name="connsiteY75" fmla="*/ 248793 h 565975"/>
                  <a:gd name="connsiteX76" fmla="*/ 357569 w 3579591"/>
                  <a:gd name="connsiteY76" fmla="*/ 254794 h 565975"/>
                  <a:gd name="connsiteX77" fmla="*/ 384906 w 3579591"/>
                  <a:gd name="connsiteY77" fmla="*/ 254794 h 565975"/>
                  <a:gd name="connsiteX78" fmla="*/ 384906 w 3579591"/>
                  <a:gd name="connsiteY78" fmla="*/ 260890 h 565975"/>
                  <a:gd name="connsiteX79" fmla="*/ 387001 w 3579591"/>
                  <a:gd name="connsiteY79" fmla="*/ 260890 h 565975"/>
                  <a:gd name="connsiteX80" fmla="*/ 387001 w 3579591"/>
                  <a:gd name="connsiteY80" fmla="*/ 266986 h 565975"/>
                  <a:gd name="connsiteX81" fmla="*/ 397478 w 3579591"/>
                  <a:gd name="connsiteY81" fmla="*/ 266986 h 565975"/>
                  <a:gd name="connsiteX82" fmla="*/ 397478 w 3579591"/>
                  <a:gd name="connsiteY82" fmla="*/ 272986 h 565975"/>
                  <a:gd name="connsiteX83" fmla="*/ 403765 w 3579591"/>
                  <a:gd name="connsiteY83" fmla="*/ 272986 h 565975"/>
                  <a:gd name="connsiteX84" fmla="*/ 403765 w 3579591"/>
                  <a:gd name="connsiteY84" fmla="*/ 285178 h 565975"/>
                  <a:gd name="connsiteX85" fmla="*/ 412242 w 3579591"/>
                  <a:gd name="connsiteY85" fmla="*/ 285178 h 565975"/>
                  <a:gd name="connsiteX86" fmla="*/ 412242 w 3579591"/>
                  <a:gd name="connsiteY86" fmla="*/ 291179 h 565975"/>
                  <a:gd name="connsiteX87" fmla="*/ 418529 w 3579591"/>
                  <a:gd name="connsiteY87" fmla="*/ 291179 h 565975"/>
                  <a:gd name="connsiteX88" fmla="*/ 418529 w 3579591"/>
                  <a:gd name="connsiteY88" fmla="*/ 303371 h 565975"/>
                  <a:gd name="connsiteX89" fmla="*/ 420624 w 3579591"/>
                  <a:gd name="connsiteY89" fmla="*/ 303371 h 565975"/>
                  <a:gd name="connsiteX90" fmla="*/ 420624 w 3579591"/>
                  <a:gd name="connsiteY90" fmla="*/ 309467 h 565975"/>
                  <a:gd name="connsiteX91" fmla="*/ 433197 w 3579591"/>
                  <a:gd name="connsiteY91" fmla="*/ 309467 h 565975"/>
                  <a:gd name="connsiteX92" fmla="*/ 433197 w 3579591"/>
                  <a:gd name="connsiteY92" fmla="*/ 315468 h 565975"/>
                  <a:gd name="connsiteX93" fmla="*/ 456343 w 3579591"/>
                  <a:gd name="connsiteY93" fmla="*/ 315468 h 565975"/>
                  <a:gd name="connsiteX94" fmla="*/ 456343 w 3579591"/>
                  <a:gd name="connsiteY94" fmla="*/ 321564 h 565975"/>
                  <a:gd name="connsiteX95" fmla="*/ 462725 w 3579591"/>
                  <a:gd name="connsiteY95" fmla="*/ 321564 h 565975"/>
                  <a:gd name="connsiteX96" fmla="*/ 462725 w 3579591"/>
                  <a:gd name="connsiteY96" fmla="*/ 327660 h 565975"/>
                  <a:gd name="connsiteX97" fmla="*/ 471107 w 3579591"/>
                  <a:gd name="connsiteY97" fmla="*/ 327660 h 565975"/>
                  <a:gd name="connsiteX98" fmla="*/ 471107 w 3579591"/>
                  <a:gd name="connsiteY98" fmla="*/ 333661 h 565975"/>
                  <a:gd name="connsiteX99" fmla="*/ 479489 w 3579591"/>
                  <a:gd name="connsiteY99" fmla="*/ 333661 h 565975"/>
                  <a:gd name="connsiteX100" fmla="*/ 479489 w 3579591"/>
                  <a:gd name="connsiteY100" fmla="*/ 339757 h 565975"/>
                  <a:gd name="connsiteX101" fmla="*/ 483680 w 3579591"/>
                  <a:gd name="connsiteY101" fmla="*/ 339757 h 565975"/>
                  <a:gd name="connsiteX102" fmla="*/ 483680 w 3579591"/>
                  <a:gd name="connsiteY102" fmla="*/ 345853 h 565975"/>
                  <a:gd name="connsiteX103" fmla="*/ 557308 w 3579591"/>
                  <a:gd name="connsiteY103" fmla="*/ 345853 h 565975"/>
                  <a:gd name="connsiteX104" fmla="*/ 557308 w 3579591"/>
                  <a:gd name="connsiteY104" fmla="*/ 351853 h 565975"/>
                  <a:gd name="connsiteX105" fmla="*/ 578358 w 3579591"/>
                  <a:gd name="connsiteY105" fmla="*/ 351853 h 565975"/>
                  <a:gd name="connsiteX106" fmla="*/ 578358 w 3579591"/>
                  <a:gd name="connsiteY106" fmla="*/ 357949 h 565975"/>
                  <a:gd name="connsiteX107" fmla="*/ 584645 w 3579591"/>
                  <a:gd name="connsiteY107" fmla="*/ 357949 h 565975"/>
                  <a:gd name="connsiteX108" fmla="*/ 584645 w 3579591"/>
                  <a:gd name="connsiteY108" fmla="*/ 364045 h 565975"/>
                  <a:gd name="connsiteX109" fmla="*/ 626745 w 3579591"/>
                  <a:gd name="connsiteY109" fmla="*/ 364045 h 565975"/>
                  <a:gd name="connsiteX110" fmla="*/ 626745 w 3579591"/>
                  <a:gd name="connsiteY110" fmla="*/ 370046 h 565975"/>
                  <a:gd name="connsiteX111" fmla="*/ 641414 w 3579591"/>
                  <a:gd name="connsiteY111" fmla="*/ 370046 h 565975"/>
                  <a:gd name="connsiteX112" fmla="*/ 641414 w 3579591"/>
                  <a:gd name="connsiteY112" fmla="*/ 376142 h 565975"/>
                  <a:gd name="connsiteX113" fmla="*/ 670941 w 3579591"/>
                  <a:gd name="connsiteY113" fmla="*/ 376142 h 565975"/>
                  <a:gd name="connsiteX114" fmla="*/ 670941 w 3579591"/>
                  <a:gd name="connsiteY114" fmla="*/ 382238 h 565975"/>
                  <a:gd name="connsiteX115" fmla="*/ 673037 w 3579591"/>
                  <a:gd name="connsiteY115" fmla="*/ 382238 h 565975"/>
                  <a:gd name="connsiteX116" fmla="*/ 673037 w 3579591"/>
                  <a:gd name="connsiteY116" fmla="*/ 388239 h 565975"/>
                  <a:gd name="connsiteX117" fmla="*/ 696087 w 3579591"/>
                  <a:gd name="connsiteY117" fmla="*/ 388239 h 565975"/>
                  <a:gd name="connsiteX118" fmla="*/ 696087 w 3579591"/>
                  <a:gd name="connsiteY118" fmla="*/ 394335 h 565975"/>
                  <a:gd name="connsiteX119" fmla="*/ 708756 w 3579591"/>
                  <a:gd name="connsiteY119" fmla="*/ 394335 h 565975"/>
                  <a:gd name="connsiteX120" fmla="*/ 708756 w 3579591"/>
                  <a:gd name="connsiteY120" fmla="*/ 400431 h 565975"/>
                  <a:gd name="connsiteX121" fmla="*/ 744474 w 3579591"/>
                  <a:gd name="connsiteY121" fmla="*/ 400431 h 565975"/>
                  <a:gd name="connsiteX122" fmla="*/ 744474 w 3579591"/>
                  <a:gd name="connsiteY122" fmla="*/ 406527 h 565975"/>
                  <a:gd name="connsiteX123" fmla="*/ 860203 w 3579591"/>
                  <a:gd name="connsiteY123" fmla="*/ 406527 h 565975"/>
                  <a:gd name="connsiteX124" fmla="*/ 860203 w 3579591"/>
                  <a:gd name="connsiteY124" fmla="*/ 412528 h 565975"/>
                  <a:gd name="connsiteX125" fmla="*/ 898017 w 3579591"/>
                  <a:gd name="connsiteY125" fmla="*/ 412528 h 565975"/>
                  <a:gd name="connsiteX126" fmla="*/ 898017 w 3579591"/>
                  <a:gd name="connsiteY126" fmla="*/ 418719 h 565975"/>
                  <a:gd name="connsiteX127" fmla="*/ 950595 w 3579591"/>
                  <a:gd name="connsiteY127" fmla="*/ 418719 h 565975"/>
                  <a:gd name="connsiteX128" fmla="*/ 950595 w 3579591"/>
                  <a:gd name="connsiteY128" fmla="*/ 424815 h 565975"/>
                  <a:gd name="connsiteX129" fmla="*/ 969550 w 3579591"/>
                  <a:gd name="connsiteY129" fmla="*/ 424815 h 565975"/>
                  <a:gd name="connsiteX130" fmla="*/ 969550 w 3579591"/>
                  <a:gd name="connsiteY130" fmla="*/ 430911 h 565975"/>
                  <a:gd name="connsiteX131" fmla="*/ 980028 w 3579591"/>
                  <a:gd name="connsiteY131" fmla="*/ 430911 h 565975"/>
                  <a:gd name="connsiteX132" fmla="*/ 980028 w 3579591"/>
                  <a:gd name="connsiteY132" fmla="*/ 437102 h 565975"/>
                  <a:gd name="connsiteX133" fmla="*/ 1013746 w 3579591"/>
                  <a:gd name="connsiteY133" fmla="*/ 437102 h 565975"/>
                  <a:gd name="connsiteX134" fmla="*/ 1013746 w 3579591"/>
                  <a:gd name="connsiteY134" fmla="*/ 443198 h 565975"/>
                  <a:gd name="connsiteX135" fmla="*/ 1020033 w 3579591"/>
                  <a:gd name="connsiteY135" fmla="*/ 443198 h 565975"/>
                  <a:gd name="connsiteX136" fmla="*/ 1020033 w 3579591"/>
                  <a:gd name="connsiteY136" fmla="*/ 449294 h 565975"/>
                  <a:gd name="connsiteX137" fmla="*/ 1034701 w 3579591"/>
                  <a:gd name="connsiteY137" fmla="*/ 449294 h 565975"/>
                  <a:gd name="connsiteX138" fmla="*/ 1034701 w 3579591"/>
                  <a:gd name="connsiteY138" fmla="*/ 455390 h 565975"/>
                  <a:gd name="connsiteX139" fmla="*/ 1047369 w 3579591"/>
                  <a:gd name="connsiteY139" fmla="*/ 455390 h 565975"/>
                  <a:gd name="connsiteX140" fmla="*/ 1047369 w 3579591"/>
                  <a:gd name="connsiteY140" fmla="*/ 461581 h 565975"/>
                  <a:gd name="connsiteX141" fmla="*/ 1072611 w 3579591"/>
                  <a:gd name="connsiteY141" fmla="*/ 461581 h 565975"/>
                  <a:gd name="connsiteX142" fmla="*/ 1072611 w 3579591"/>
                  <a:gd name="connsiteY142" fmla="*/ 467677 h 565975"/>
                  <a:gd name="connsiteX143" fmla="*/ 1301877 w 3579591"/>
                  <a:gd name="connsiteY143" fmla="*/ 467677 h 565975"/>
                  <a:gd name="connsiteX144" fmla="*/ 1301877 w 3579591"/>
                  <a:gd name="connsiteY144" fmla="*/ 473869 h 565975"/>
                  <a:gd name="connsiteX145" fmla="*/ 1415415 w 3579591"/>
                  <a:gd name="connsiteY145" fmla="*/ 473869 h 565975"/>
                  <a:gd name="connsiteX146" fmla="*/ 1415415 w 3579591"/>
                  <a:gd name="connsiteY146" fmla="*/ 480060 h 565975"/>
                  <a:gd name="connsiteX147" fmla="*/ 1684592 w 3579591"/>
                  <a:gd name="connsiteY147" fmla="*/ 480060 h 565975"/>
                  <a:gd name="connsiteX148" fmla="*/ 1684592 w 3579591"/>
                  <a:gd name="connsiteY148" fmla="*/ 486346 h 565975"/>
                  <a:gd name="connsiteX149" fmla="*/ 1758220 w 3579591"/>
                  <a:gd name="connsiteY149" fmla="*/ 486346 h 565975"/>
                  <a:gd name="connsiteX150" fmla="*/ 1758220 w 3579591"/>
                  <a:gd name="connsiteY150" fmla="*/ 492633 h 565975"/>
                  <a:gd name="connsiteX151" fmla="*/ 1838135 w 3579591"/>
                  <a:gd name="connsiteY151" fmla="*/ 492633 h 565975"/>
                  <a:gd name="connsiteX152" fmla="*/ 1838135 w 3579591"/>
                  <a:gd name="connsiteY152" fmla="*/ 498919 h 565975"/>
                  <a:gd name="connsiteX153" fmla="*/ 2000060 w 3579591"/>
                  <a:gd name="connsiteY153" fmla="*/ 498919 h 565975"/>
                  <a:gd name="connsiteX154" fmla="*/ 2000060 w 3579591"/>
                  <a:gd name="connsiteY154" fmla="*/ 505396 h 565975"/>
                  <a:gd name="connsiteX155" fmla="*/ 2016919 w 3579591"/>
                  <a:gd name="connsiteY155" fmla="*/ 505396 h 565975"/>
                  <a:gd name="connsiteX156" fmla="*/ 2016919 w 3579591"/>
                  <a:gd name="connsiteY156" fmla="*/ 511778 h 565975"/>
                  <a:gd name="connsiteX157" fmla="*/ 2134743 w 3579591"/>
                  <a:gd name="connsiteY157" fmla="*/ 511778 h 565975"/>
                  <a:gd name="connsiteX158" fmla="*/ 2134743 w 3579591"/>
                  <a:gd name="connsiteY158" fmla="*/ 518255 h 565975"/>
                  <a:gd name="connsiteX159" fmla="*/ 2227231 w 3579591"/>
                  <a:gd name="connsiteY159" fmla="*/ 518255 h 565975"/>
                  <a:gd name="connsiteX160" fmla="*/ 2227231 w 3579591"/>
                  <a:gd name="connsiteY160" fmla="*/ 524637 h 565975"/>
                  <a:gd name="connsiteX161" fmla="*/ 2246186 w 3579591"/>
                  <a:gd name="connsiteY161" fmla="*/ 524637 h 565975"/>
                  <a:gd name="connsiteX162" fmla="*/ 2246186 w 3579591"/>
                  <a:gd name="connsiteY162" fmla="*/ 531114 h 565975"/>
                  <a:gd name="connsiteX163" fmla="*/ 3100007 w 3579591"/>
                  <a:gd name="connsiteY163" fmla="*/ 531114 h 565975"/>
                  <a:gd name="connsiteX164" fmla="*/ 3100007 w 3579591"/>
                  <a:gd name="connsiteY164" fmla="*/ 565975 h 565975"/>
                  <a:gd name="connsiteX165" fmla="*/ 3579591 w 3579591"/>
                  <a:gd name="connsiteY165" fmla="*/ 565975 h 565975"/>
                  <a:gd name="connsiteX0" fmla="*/ 0 w 3579591"/>
                  <a:gd name="connsiteY0" fmla="*/ 0 h 565975"/>
                  <a:gd name="connsiteX1" fmla="*/ 6287 w 3579591"/>
                  <a:gd name="connsiteY1" fmla="*/ 6096 h 565975"/>
                  <a:gd name="connsiteX2" fmla="*/ 10478 w 3579591"/>
                  <a:gd name="connsiteY2" fmla="*/ 6096 h 565975"/>
                  <a:gd name="connsiteX3" fmla="*/ 10478 w 3579591"/>
                  <a:gd name="connsiteY3" fmla="*/ 12192 h 565975"/>
                  <a:gd name="connsiteX4" fmla="*/ 14669 w 3579591"/>
                  <a:gd name="connsiteY4" fmla="*/ 12192 h 565975"/>
                  <a:gd name="connsiteX5" fmla="*/ 14669 w 3579591"/>
                  <a:gd name="connsiteY5" fmla="*/ 18288 h 565975"/>
                  <a:gd name="connsiteX6" fmla="*/ 16764 w 3579591"/>
                  <a:gd name="connsiteY6" fmla="*/ 18288 h 565975"/>
                  <a:gd name="connsiteX7" fmla="*/ 16764 w 3579591"/>
                  <a:gd name="connsiteY7" fmla="*/ 24289 h 565975"/>
                  <a:gd name="connsiteX8" fmla="*/ 18955 w 3579591"/>
                  <a:gd name="connsiteY8" fmla="*/ 24289 h 565975"/>
                  <a:gd name="connsiteX9" fmla="*/ 18955 w 3579591"/>
                  <a:gd name="connsiteY9" fmla="*/ 30385 h 565975"/>
                  <a:gd name="connsiteX10" fmla="*/ 29432 w 3579591"/>
                  <a:gd name="connsiteY10" fmla="*/ 30385 h 565975"/>
                  <a:gd name="connsiteX11" fmla="*/ 29432 w 3579591"/>
                  <a:gd name="connsiteY11" fmla="*/ 36481 h 565975"/>
                  <a:gd name="connsiteX12" fmla="*/ 35719 w 3579591"/>
                  <a:gd name="connsiteY12" fmla="*/ 36481 h 565975"/>
                  <a:gd name="connsiteX13" fmla="*/ 35719 w 3579591"/>
                  <a:gd name="connsiteY13" fmla="*/ 42481 h 565975"/>
                  <a:gd name="connsiteX14" fmla="*/ 50483 w 3579591"/>
                  <a:gd name="connsiteY14" fmla="*/ 42481 h 565975"/>
                  <a:gd name="connsiteX15" fmla="*/ 50483 w 3579591"/>
                  <a:gd name="connsiteY15" fmla="*/ 48577 h 565975"/>
                  <a:gd name="connsiteX16" fmla="*/ 58865 w 3579591"/>
                  <a:gd name="connsiteY16" fmla="*/ 48577 h 565975"/>
                  <a:gd name="connsiteX17" fmla="*/ 58865 w 3579591"/>
                  <a:gd name="connsiteY17" fmla="*/ 54673 h 565975"/>
                  <a:gd name="connsiteX18" fmla="*/ 69438 w 3579591"/>
                  <a:gd name="connsiteY18" fmla="*/ 54673 h 565975"/>
                  <a:gd name="connsiteX19" fmla="*/ 69438 w 3579591"/>
                  <a:gd name="connsiteY19" fmla="*/ 60674 h 565975"/>
                  <a:gd name="connsiteX20" fmla="*/ 82011 w 3579591"/>
                  <a:gd name="connsiteY20" fmla="*/ 60674 h 565975"/>
                  <a:gd name="connsiteX21" fmla="*/ 82011 w 3579591"/>
                  <a:gd name="connsiteY21" fmla="*/ 66770 h 565975"/>
                  <a:gd name="connsiteX22" fmla="*/ 88297 w 3579591"/>
                  <a:gd name="connsiteY22" fmla="*/ 66770 h 565975"/>
                  <a:gd name="connsiteX23" fmla="*/ 88297 w 3579591"/>
                  <a:gd name="connsiteY23" fmla="*/ 78867 h 565975"/>
                  <a:gd name="connsiteX24" fmla="*/ 92488 w 3579591"/>
                  <a:gd name="connsiteY24" fmla="*/ 78867 h 565975"/>
                  <a:gd name="connsiteX25" fmla="*/ 92488 w 3579591"/>
                  <a:gd name="connsiteY25" fmla="*/ 84963 h 565975"/>
                  <a:gd name="connsiteX26" fmla="*/ 105156 w 3579591"/>
                  <a:gd name="connsiteY26" fmla="*/ 84963 h 565975"/>
                  <a:gd name="connsiteX27" fmla="*/ 105156 w 3579591"/>
                  <a:gd name="connsiteY27" fmla="*/ 91059 h 565975"/>
                  <a:gd name="connsiteX28" fmla="*/ 119825 w 3579591"/>
                  <a:gd name="connsiteY28" fmla="*/ 91059 h 565975"/>
                  <a:gd name="connsiteX29" fmla="*/ 119825 w 3579591"/>
                  <a:gd name="connsiteY29" fmla="*/ 97060 h 565975"/>
                  <a:gd name="connsiteX30" fmla="*/ 124111 w 3579591"/>
                  <a:gd name="connsiteY30" fmla="*/ 97060 h 565975"/>
                  <a:gd name="connsiteX31" fmla="*/ 124111 w 3579591"/>
                  <a:gd name="connsiteY31" fmla="*/ 103156 h 565975"/>
                  <a:gd name="connsiteX32" fmla="*/ 134588 w 3579591"/>
                  <a:gd name="connsiteY32" fmla="*/ 103156 h 565975"/>
                  <a:gd name="connsiteX33" fmla="*/ 134588 w 3579591"/>
                  <a:gd name="connsiteY33" fmla="*/ 109252 h 565975"/>
                  <a:gd name="connsiteX34" fmla="*/ 142971 w 3579591"/>
                  <a:gd name="connsiteY34" fmla="*/ 109252 h 565975"/>
                  <a:gd name="connsiteX35" fmla="*/ 142971 w 3579591"/>
                  <a:gd name="connsiteY35" fmla="*/ 115348 h 565975"/>
                  <a:gd name="connsiteX36" fmla="*/ 157734 w 3579591"/>
                  <a:gd name="connsiteY36" fmla="*/ 115348 h 565975"/>
                  <a:gd name="connsiteX37" fmla="*/ 157734 w 3579591"/>
                  <a:gd name="connsiteY37" fmla="*/ 121348 h 565975"/>
                  <a:gd name="connsiteX38" fmla="*/ 161925 w 3579591"/>
                  <a:gd name="connsiteY38" fmla="*/ 121348 h 565975"/>
                  <a:gd name="connsiteX39" fmla="*/ 161925 w 3579591"/>
                  <a:gd name="connsiteY39" fmla="*/ 127444 h 565975"/>
                  <a:gd name="connsiteX40" fmla="*/ 166116 w 3579591"/>
                  <a:gd name="connsiteY40" fmla="*/ 127444 h 565975"/>
                  <a:gd name="connsiteX41" fmla="*/ 166116 w 3579591"/>
                  <a:gd name="connsiteY41" fmla="*/ 133540 h 565975"/>
                  <a:gd name="connsiteX42" fmla="*/ 178785 w 3579591"/>
                  <a:gd name="connsiteY42" fmla="*/ 133540 h 565975"/>
                  <a:gd name="connsiteX43" fmla="*/ 178785 w 3579591"/>
                  <a:gd name="connsiteY43" fmla="*/ 139541 h 565975"/>
                  <a:gd name="connsiteX44" fmla="*/ 208217 w 3579591"/>
                  <a:gd name="connsiteY44" fmla="*/ 139541 h 565975"/>
                  <a:gd name="connsiteX45" fmla="*/ 208217 w 3579591"/>
                  <a:gd name="connsiteY45" fmla="*/ 145637 h 565975"/>
                  <a:gd name="connsiteX46" fmla="*/ 216599 w 3579591"/>
                  <a:gd name="connsiteY46" fmla="*/ 145637 h 565975"/>
                  <a:gd name="connsiteX47" fmla="*/ 216599 w 3579591"/>
                  <a:gd name="connsiteY47" fmla="*/ 151733 h 565975"/>
                  <a:gd name="connsiteX48" fmla="*/ 218694 w 3579591"/>
                  <a:gd name="connsiteY48" fmla="*/ 151733 h 565975"/>
                  <a:gd name="connsiteX49" fmla="*/ 218694 w 3579591"/>
                  <a:gd name="connsiteY49" fmla="*/ 157734 h 565975"/>
                  <a:gd name="connsiteX50" fmla="*/ 233458 w 3579591"/>
                  <a:gd name="connsiteY50" fmla="*/ 157734 h 565975"/>
                  <a:gd name="connsiteX51" fmla="*/ 233458 w 3579591"/>
                  <a:gd name="connsiteY51" fmla="*/ 169926 h 565975"/>
                  <a:gd name="connsiteX52" fmla="*/ 235554 w 3579591"/>
                  <a:gd name="connsiteY52" fmla="*/ 169926 h 565975"/>
                  <a:gd name="connsiteX53" fmla="*/ 235554 w 3579591"/>
                  <a:gd name="connsiteY53" fmla="*/ 175927 h 565975"/>
                  <a:gd name="connsiteX54" fmla="*/ 241840 w 3579591"/>
                  <a:gd name="connsiteY54" fmla="*/ 175927 h 565975"/>
                  <a:gd name="connsiteX55" fmla="*/ 241840 w 3579591"/>
                  <a:gd name="connsiteY55" fmla="*/ 182023 h 565975"/>
                  <a:gd name="connsiteX56" fmla="*/ 246031 w 3579591"/>
                  <a:gd name="connsiteY56" fmla="*/ 182023 h 565975"/>
                  <a:gd name="connsiteX57" fmla="*/ 246031 w 3579591"/>
                  <a:gd name="connsiteY57" fmla="*/ 188119 h 565975"/>
                  <a:gd name="connsiteX58" fmla="*/ 262890 w 3579591"/>
                  <a:gd name="connsiteY58" fmla="*/ 188119 h 565975"/>
                  <a:gd name="connsiteX59" fmla="*/ 262890 w 3579591"/>
                  <a:gd name="connsiteY59" fmla="*/ 200215 h 565975"/>
                  <a:gd name="connsiteX60" fmla="*/ 267081 w 3579591"/>
                  <a:gd name="connsiteY60" fmla="*/ 200215 h 565975"/>
                  <a:gd name="connsiteX61" fmla="*/ 267081 w 3579591"/>
                  <a:gd name="connsiteY61" fmla="*/ 206311 h 565975"/>
                  <a:gd name="connsiteX62" fmla="*/ 290227 w 3579591"/>
                  <a:gd name="connsiteY62" fmla="*/ 206311 h 565975"/>
                  <a:gd name="connsiteX63" fmla="*/ 290227 w 3579591"/>
                  <a:gd name="connsiteY63" fmla="*/ 212407 h 565975"/>
                  <a:gd name="connsiteX64" fmla="*/ 294418 w 3579591"/>
                  <a:gd name="connsiteY64" fmla="*/ 212407 h 565975"/>
                  <a:gd name="connsiteX65" fmla="*/ 294418 w 3579591"/>
                  <a:gd name="connsiteY65" fmla="*/ 218408 h 565975"/>
                  <a:gd name="connsiteX66" fmla="*/ 300705 w 3579591"/>
                  <a:gd name="connsiteY66" fmla="*/ 218408 h 565975"/>
                  <a:gd name="connsiteX67" fmla="*/ 300705 w 3579591"/>
                  <a:gd name="connsiteY67" fmla="*/ 230600 h 565975"/>
                  <a:gd name="connsiteX68" fmla="*/ 319659 w 3579591"/>
                  <a:gd name="connsiteY68" fmla="*/ 230600 h 565975"/>
                  <a:gd name="connsiteX69" fmla="*/ 319659 w 3579591"/>
                  <a:gd name="connsiteY69" fmla="*/ 236601 h 565975"/>
                  <a:gd name="connsiteX70" fmla="*/ 328041 w 3579591"/>
                  <a:gd name="connsiteY70" fmla="*/ 236601 h 565975"/>
                  <a:gd name="connsiteX71" fmla="*/ 328041 w 3579591"/>
                  <a:gd name="connsiteY71" fmla="*/ 242697 h 565975"/>
                  <a:gd name="connsiteX72" fmla="*/ 340710 w 3579591"/>
                  <a:gd name="connsiteY72" fmla="*/ 242697 h 565975"/>
                  <a:gd name="connsiteX73" fmla="*/ 340710 w 3579591"/>
                  <a:gd name="connsiteY73" fmla="*/ 248793 h 565975"/>
                  <a:gd name="connsiteX74" fmla="*/ 357569 w 3579591"/>
                  <a:gd name="connsiteY74" fmla="*/ 248793 h 565975"/>
                  <a:gd name="connsiteX75" fmla="*/ 357569 w 3579591"/>
                  <a:gd name="connsiteY75" fmla="*/ 254794 h 565975"/>
                  <a:gd name="connsiteX76" fmla="*/ 384906 w 3579591"/>
                  <a:gd name="connsiteY76" fmla="*/ 254794 h 565975"/>
                  <a:gd name="connsiteX77" fmla="*/ 384906 w 3579591"/>
                  <a:gd name="connsiteY77" fmla="*/ 260890 h 565975"/>
                  <a:gd name="connsiteX78" fmla="*/ 387001 w 3579591"/>
                  <a:gd name="connsiteY78" fmla="*/ 260890 h 565975"/>
                  <a:gd name="connsiteX79" fmla="*/ 387001 w 3579591"/>
                  <a:gd name="connsiteY79" fmla="*/ 266986 h 565975"/>
                  <a:gd name="connsiteX80" fmla="*/ 397478 w 3579591"/>
                  <a:gd name="connsiteY80" fmla="*/ 266986 h 565975"/>
                  <a:gd name="connsiteX81" fmla="*/ 397478 w 3579591"/>
                  <a:gd name="connsiteY81" fmla="*/ 272986 h 565975"/>
                  <a:gd name="connsiteX82" fmla="*/ 403765 w 3579591"/>
                  <a:gd name="connsiteY82" fmla="*/ 272986 h 565975"/>
                  <a:gd name="connsiteX83" fmla="*/ 403765 w 3579591"/>
                  <a:gd name="connsiteY83" fmla="*/ 285178 h 565975"/>
                  <a:gd name="connsiteX84" fmla="*/ 412242 w 3579591"/>
                  <a:gd name="connsiteY84" fmla="*/ 285178 h 565975"/>
                  <a:gd name="connsiteX85" fmla="*/ 412242 w 3579591"/>
                  <a:gd name="connsiteY85" fmla="*/ 291179 h 565975"/>
                  <a:gd name="connsiteX86" fmla="*/ 418529 w 3579591"/>
                  <a:gd name="connsiteY86" fmla="*/ 291179 h 565975"/>
                  <a:gd name="connsiteX87" fmla="*/ 418529 w 3579591"/>
                  <a:gd name="connsiteY87" fmla="*/ 303371 h 565975"/>
                  <a:gd name="connsiteX88" fmla="*/ 420624 w 3579591"/>
                  <a:gd name="connsiteY88" fmla="*/ 303371 h 565975"/>
                  <a:gd name="connsiteX89" fmla="*/ 420624 w 3579591"/>
                  <a:gd name="connsiteY89" fmla="*/ 309467 h 565975"/>
                  <a:gd name="connsiteX90" fmla="*/ 433197 w 3579591"/>
                  <a:gd name="connsiteY90" fmla="*/ 309467 h 565975"/>
                  <a:gd name="connsiteX91" fmla="*/ 433197 w 3579591"/>
                  <a:gd name="connsiteY91" fmla="*/ 315468 h 565975"/>
                  <a:gd name="connsiteX92" fmla="*/ 456343 w 3579591"/>
                  <a:gd name="connsiteY92" fmla="*/ 315468 h 565975"/>
                  <a:gd name="connsiteX93" fmla="*/ 456343 w 3579591"/>
                  <a:gd name="connsiteY93" fmla="*/ 321564 h 565975"/>
                  <a:gd name="connsiteX94" fmla="*/ 462725 w 3579591"/>
                  <a:gd name="connsiteY94" fmla="*/ 321564 h 565975"/>
                  <a:gd name="connsiteX95" fmla="*/ 462725 w 3579591"/>
                  <a:gd name="connsiteY95" fmla="*/ 327660 h 565975"/>
                  <a:gd name="connsiteX96" fmla="*/ 471107 w 3579591"/>
                  <a:gd name="connsiteY96" fmla="*/ 327660 h 565975"/>
                  <a:gd name="connsiteX97" fmla="*/ 471107 w 3579591"/>
                  <a:gd name="connsiteY97" fmla="*/ 333661 h 565975"/>
                  <a:gd name="connsiteX98" fmla="*/ 479489 w 3579591"/>
                  <a:gd name="connsiteY98" fmla="*/ 333661 h 565975"/>
                  <a:gd name="connsiteX99" fmla="*/ 479489 w 3579591"/>
                  <a:gd name="connsiteY99" fmla="*/ 339757 h 565975"/>
                  <a:gd name="connsiteX100" fmla="*/ 483680 w 3579591"/>
                  <a:gd name="connsiteY100" fmla="*/ 339757 h 565975"/>
                  <a:gd name="connsiteX101" fmla="*/ 483680 w 3579591"/>
                  <a:gd name="connsiteY101" fmla="*/ 345853 h 565975"/>
                  <a:gd name="connsiteX102" fmla="*/ 557308 w 3579591"/>
                  <a:gd name="connsiteY102" fmla="*/ 345853 h 565975"/>
                  <a:gd name="connsiteX103" fmla="*/ 557308 w 3579591"/>
                  <a:gd name="connsiteY103" fmla="*/ 351853 h 565975"/>
                  <a:gd name="connsiteX104" fmla="*/ 578358 w 3579591"/>
                  <a:gd name="connsiteY104" fmla="*/ 351853 h 565975"/>
                  <a:gd name="connsiteX105" fmla="*/ 578358 w 3579591"/>
                  <a:gd name="connsiteY105" fmla="*/ 357949 h 565975"/>
                  <a:gd name="connsiteX106" fmla="*/ 584645 w 3579591"/>
                  <a:gd name="connsiteY106" fmla="*/ 357949 h 565975"/>
                  <a:gd name="connsiteX107" fmla="*/ 584645 w 3579591"/>
                  <a:gd name="connsiteY107" fmla="*/ 364045 h 565975"/>
                  <a:gd name="connsiteX108" fmla="*/ 626745 w 3579591"/>
                  <a:gd name="connsiteY108" fmla="*/ 364045 h 565975"/>
                  <a:gd name="connsiteX109" fmla="*/ 626745 w 3579591"/>
                  <a:gd name="connsiteY109" fmla="*/ 370046 h 565975"/>
                  <a:gd name="connsiteX110" fmla="*/ 641414 w 3579591"/>
                  <a:gd name="connsiteY110" fmla="*/ 370046 h 565975"/>
                  <a:gd name="connsiteX111" fmla="*/ 641414 w 3579591"/>
                  <a:gd name="connsiteY111" fmla="*/ 376142 h 565975"/>
                  <a:gd name="connsiteX112" fmla="*/ 670941 w 3579591"/>
                  <a:gd name="connsiteY112" fmla="*/ 376142 h 565975"/>
                  <a:gd name="connsiteX113" fmla="*/ 670941 w 3579591"/>
                  <a:gd name="connsiteY113" fmla="*/ 382238 h 565975"/>
                  <a:gd name="connsiteX114" fmla="*/ 673037 w 3579591"/>
                  <a:gd name="connsiteY114" fmla="*/ 382238 h 565975"/>
                  <a:gd name="connsiteX115" fmla="*/ 673037 w 3579591"/>
                  <a:gd name="connsiteY115" fmla="*/ 388239 h 565975"/>
                  <a:gd name="connsiteX116" fmla="*/ 696087 w 3579591"/>
                  <a:gd name="connsiteY116" fmla="*/ 388239 h 565975"/>
                  <a:gd name="connsiteX117" fmla="*/ 696087 w 3579591"/>
                  <a:gd name="connsiteY117" fmla="*/ 394335 h 565975"/>
                  <a:gd name="connsiteX118" fmla="*/ 708756 w 3579591"/>
                  <a:gd name="connsiteY118" fmla="*/ 394335 h 565975"/>
                  <a:gd name="connsiteX119" fmla="*/ 708756 w 3579591"/>
                  <a:gd name="connsiteY119" fmla="*/ 400431 h 565975"/>
                  <a:gd name="connsiteX120" fmla="*/ 744474 w 3579591"/>
                  <a:gd name="connsiteY120" fmla="*/ 400431 h 565975"/>
                  <a:gd name="connsiteX121" fmla="*/ 744474 w 3579591"/>
                  <a:gd name="connsiteY121" fmla="*/ 406527 h 565975"/>
                  <a:gd name="connsiteX122" fmla="*/ 860203 w 3579591"/>
                  <a:gd name="connsiteY122" fmla="*/ 406527 h 565975"/>
                  <a:gd name="connsiteX123" fmla="*/ 860203 w 3579591"/>
                  <a:gd name="connsiteY123" fmla="*/ 412528 h 565975"/>
                  <a:gd name="connsiteX124" fmla="*/ 898017 w 3579591"/>
                  <a:gd name="connsiteY124" fmla="*/ 412528 h 565975"/>
                  <a:gd name="connsiteX125" fmla="*/ 898017 w 3579591"/>
                  <a:gd name="connsiteY125" fmla="*/ 418719 h 565975"/>
                  <a:gd name="connsiteX126" fmla="*/ 950595 w 3579591"/>
                  <a:gd name="connsiteY126" fmla="*/ 418719 h 565975"/>
                  <a:gd name="connsiteX127" fmla="*/ 950595 w 3579591"/>
                  <a:gd name="connsiteY127" fmla="*/ 424815 h 565975"/>
                  <a:gd name="connsiteX128" fmla="*/ 969550 w 3579591"/>
                  <a:gd name="connsiteY128" fmla="*/ 424815 h 565975"/>
                  <a:gd name="connsiteX129" fmla="*/ 969550 w 3579591"/>
                  <a:gd name="connsiteY129" fmla="*/ 430911 h 565975"/>
                  <a:gd name="connsiteX130" fmla="*/ 980028 w 3579591"/>
                  <a:gd name="connsiteY130" fmla="*/ 430911 h 565975"/>
                  <a:gd name="connsiteX131" fmla="*/ 980028 w 3579591"/>
                  <a:gd name="connsiteY131" fmla="*/ 437102 h 565975"/>
                  <a:gd name="connsiteX132" fmla="*/ 1013746 w 3579591"/>
                  <a:gd name="connsiteY132" fmla="*/ 437102 h 565975"/>
                  <a:gd name="connsiteX133" fmla="*/ 1013746 w 3579591"/>
                  <a:gd name="connsiteY133" fmla="*/ 443198 h 565975"/>
                  <a:gd name="connsiteX134" fmla="*/ 1020033 w 3579591"/>
                  <a:gd name="connsiteY134" fmla="*/ 443198 h 565975"/>
                  <a:gd name="connsiteX135" fmla="*/ 1020033 w 3579591"/>
                  <a:gd name="connsiteY135" fmla="*/ 449294 h 565975"/>
                  <a:gd name="connsiteX136" fmla="*/ 1034701 w 3579591"/>
                  <a:gd name="connsiteY136" fmla="*/ 449294 h 565975"/>
                  <a:gd name="connsiteX137" fmla="*/ 1034701 w 3579591"/>
                  <a:gd name="connsiteY137" fmla="*/ 455390 h 565975"/>
                  <a:gd name="connsiteX138" fmla="*/ 1047369 w 3579591"/>
                  <a:gd name="connsiteY138" fmla="*/ 455390 h 565975"/>
                  <a:gd name="connsiteX139" fmla="*/ 1047369 w 3579591"/>
                  <a:gd name="connsiteY139" fmla="*/ 461581 h 565975"/>
                  <a:gd name="connsiteX140" fmla="*/ 1072611 w 3579591"/>
                  <a:gd name="connsiteY140" fmla="*/ 461581 h 565975"/>
                  <a:gd name="connsiteX141" fmla="*/ 1072611 w 3579591"/>
                  <a:gd name="connsiteY141" fmla="*/ 467677 h 565975"/>
                  <a:gd name="connsiteX142" fmla="*/ 1301877 w 3579591"/>
                  <a:gd name="connsiteY142" fmla="*/ 467677 h 565975"/>
                  <a:gd name="connsiteX143" fmla="*/ 1301877 w 3579591"/>
                  <a:gd name="connsiteY143" fmla="*/ 473869 h 565975"/>
                  <a:gd name="connsiteX144" fmla="*/ 1415415 w 3579591"/>
                  <a:gd name="connsiteY144" fmla="*/ 473869 h 565975"/>
                  <a:gd name="connsiteX145" fmla="*/ 1415415 w 3579591"/>
                  <a:gd name="connsiteY145" fmla="*/ 480060 h 565975"/>
                  <a:gd name="connsiteX146" fmla="*/ 1684592 w 3579591"/>
                  <a:gd name="connsiteY146" fmla="*/ 480060 h 565975"/>
                  <a:gd name="connsiteX147" fmla="*/ 1684592 w 3579591"/>
                  <a:gd name="connsiteY147" fmla="*/ 486346 h 565975"/>
                  <a:gd name="connsiteX148" fmla="*/ 1758220 w 3579591"/>
                  <a:gd name="connsiteY148" fmla="*/ 486346 h 565975"/>
                  <a:gd name="connsiteX149" fmla="*/ 1758220 w 3579591"/>
                  <a:gd name="connsiteY149" fmla="*/ 492633 h 565975"/>
                  <a:gd name="connsiteX150" fmla="*/ 1838135 w 3579591"/>
                  <a:gd name="connsiteY150" fmla="*/ 492633 h 565975"/>
                  <a:gd name="connsiteX151" fmla="*/ 1838135 w 3579591"/>
                  <a:gd name="connsiteY151" fmla="*/ 498919 h 565975"/>
                  <a:gd name="connsiteX152" fmla="*/ 2000060 w 3579591"/>
                  <a:gd name="connsiteY152" fmla="*/ 498919 h 565975"/>
                  <a:gd name="connsiteX153" fmla="*/ 2000060 w 3579591"/>
                  <a:gd name="connsiteY153" fmla="*/ 505396 h 565975"/>
                  <a:gd name="connsiteX154" fmla="*/ 2016919 w 3579591"/>
                  <a:gd name="connsiteY154" fmla="*/ 505396 h 565975"/>
                  <a:gd name="connsiteX155" fmla="*/ 2016919 w 3579591"/>
                  <a:gd name="connsiteY155" fmla="*/ 511778 h 565975"/>
                  <a:gd name="connsiteX156" fmla="*/ 2134743 w 3579591"/>
                  <a:gd name="connsiteY156" fmla="*/ 511778 h 565975"/>
                  <a:gd name="connsiteX157" fmla="*/ 2134743 w 3579591"/>
                  <a:gd name="connsiteY157" fmla="*/ 518255 h 565975"/>
                  <a:gd name="connsiteX158" fmla="*/ 2227231 w 3579591"/>
                  <a:gd name="connsiteY158" fmla="*/ 518255 h 565975"/>
                  <a:gd name="connsiteX159" fmla="*/ 2227231 w 3579591"/>
                  <a:gd name="connsiteY159" fmla="*/ 524637 h 565975"/>
                  <a:gd name="connsiteX160" fmla="*/ 2246186 w 3579591"/>
                  <a:gd name="connsiteY160" fmla="*/ 524637 h 565975"/>
                  <a:gd name="connsiteX161" fmla="*/ 2246186 w 3579591"/>
                  <a:gd name="connsiteY161" fmla="*/ 531114 h 565975"/>
                  <a:gd name="connsiteX162" fmla="*/ 3100007 w 3579591"/>
                  <a:gd name="connsiteY162" fmla="*/ 531114 h 565975"/>
                  <a:gd name="connsiteX163" fmla="*/ 3100007 w 3579591"/>
                  <a:gd name="connsiteY163" fmla="*/ 565975 h 565975"/>
                  <a:gd name="connsiteX164" fmla="*/ 3579591 w 3579591"/>
                  <a:gd name="connsiteY164" fmla="*/ 565975 h 565975"/>
                  <a:gd name="connsiteX0" fmla="*/ 0 w 3573304"/>
                  <a:gd name="connsiteY0" fmla="*/ 0 h 559879"/>
                  <a:gd name="connsiteX1" fmla="*/ 4191 w 3573304"/>
                  <a:gd name="connsiteY1" fmla="*/ 0 h 559879"/>
                  <a:gd name="connsiteX2" fmla="*/ 4191 w 3573304"/>
                  <a:gd name="connsiteY2" fmla="*/ 6096 h 559879"/>
                  <a:gd name="connsiteX3" fmla="*/ 8382 w 3573304"/>
                  <a:gd name="connsiteY3" fmla="*/ 6096 h 559879"/>
                  <a:gd name="connsiteX4" fmla="*/ 8382 w 3573304"/>
                  <a:gd name="connsiteY4" fmla="*/ 12192 h 559879"/>
                  <a:gd name="connsiteX5" fmla="*/ 10477 w 3573304"/>
                  <a:gd name="connsiteY5" fmla="*/ 12192 h 559879"/>
                  <a:gd name="connsiteX6" fmla="*/ 10477 w 3573304"/>
                  <a:gd name="connsiteY6" fmla="*/ 18193 h 559879"/>
                  <a:gd name="connsiteX7" fmla="*/ 12668 w 3573304"/>
                  <a:gd name="connsiteY7" fmla="*/ 18193 h 559879"/>
                  <a:gd name="connsiteX8" fmla="*/ 12668 w 3573304"/>
                  <a:gd name="connsiteY8" fmla="*/ 24289 h 559879"/>
                  <a:gd name="connsiteX9" fmla="*/ 23145 w 3573304"/>
                  <a:gd name="connsiteY9" fmla="*/ 24289 h 559879"/>
                  <a:gd name="connsiteX10" fmla="*/ 23145 w 3573304"/>
                  <a:gd name="connsiteY10" fmla="*/ 30385 h 559879"/>
                  <a:gd name="connsiteX11" fmla="*/ 29432 w 3573304"/>
                  <a:gd name="connsiteY11" fmla="*/ 30385 h 559879"/>
                  <a:gd name="connsiteX12" fmla="*/ 29432 w 3573304"/>
                  <a:gd name="connsiteY12" fmla="*/ 36385 h 559879"/>
                  <a:gd name="connsiteX13" fmla="*/ 44196 w 3573304"/>
                  <a:gd name="connsiteY13" fmla="*/ 36385 h 559879"/>
                  <a:gd name="connsiteX14" fmla="*/ 44196 w 3573304"/>
                  <a:gd name="connsiteY14" fmla="*/ 42481 h 559879"/>
                  <a:gd name="connsiteX15" fmla="*/ 52578 w 3573304"/>
                  <a:gd name="connsiteY15" fmla="*/ 42481 h 559879"/>
                  <a:gd name="connsiteX16" fmla="*/ 52578 w 3573304"/>
                  <a:gd name="connsiteY16" fmla="*/ 48577 h 559879"/>
                  <a:gd name="connsiteX17" fmla="*/ 63151 w 3573304"/>
                  <a:gd name="connsiteY17" fmla="*/ 48577 h 559879"/>
                  <a:gd name="connsiteX18" fmla="*/ 63151 w 3573304"/>
                  <a:gd name="connsiteY18" fmla="*/ 54578 h 559879"/>
                  <a:gd name="connsiteX19" fmla="*/ 75724 w 3573304"/>
                  <a:gd name="connsiteY19" fmla="*/ 54578 h 559879"/>
                  <a:gd name="connsiteX20" fmla="*/ 75724 w 3573304"/>
                  <a:gd name="connsiteY20" fmla="*/ 60674 h 559879"/>
                  <a:gd name="connsiteX21" fmla="*/ 82010 w 3573304"/>
                  <a:gd name="connsiteY21" fmla="*/ 60674 h 559879"/>
                  <a:gd name="connsiteX22" fmla="*/ 82010 w 3573304"/>
                  <a:gd name="connsiteY22" fmla="*/ 72771 h 559879"/>
                  <a:gd name="connsiteX23" fmla="*/ 86201 w 3573304"/>
                  <a:gd name="connsiteY23" fmla="*/ 72771 h 559879"/>
                  <a:gd name="connsiteX24" fmla="*/ 86201 w 3573304"/>
                  <a:gd name="connsiteY24" fmla="*/ 78867 h 559879"/>
                  <a:gd name="connsiteX25" fmla="*/ 98869 w 3573304"/>
                  <a:gd name="connsiteY25" fmla="*/ 78867 h 559879"/>
                  <a:gd name="connsiteX26" fmla="*/ 98869 w 3573304"/>
                  <a:gd name="connsiteY26" fmla="*/ 84963 h 559879"/>
                  <a:gd name="connsiteX27" fmla="*/ 113538 w 3573304"/>
                  <a:gd name="connsiteY27" fmla="*/ 84963 h 559879"/>
                  <a:gd name="connsiteX28" fmla="*/ 113538 w 3573304"/>
                  <a:gd name="connsiteY28" fmla="*/ 90964 h 559879"/>
                  <a:gd name="connsiteX29" fmla="*/ 117824 w 3573304"/>
                  <a:gd name="connsiteY29" fmla="*/ 90964 h 559879"/>
                  <a:gd name="connsiteX30" fmla="*/ 117824 w 3573304"/>
                  <a:gd name="connsiteY30" fmla="*/ 97060 h 559879"/>
                  <a:gd name="connsiteX31" fmla="*/ 128301 w 3573304"/>
                  <a:gd name="connsiteY31" fmla="*/ 97060 h 559879"/>
                  <a:gd name="connsiteX32" fmla="*/ 128301 w 3573304"/>
                  <a:gd name="connsiteY32" fmla="*/ 103156 h 559879"/>
                  <a:gd name="connsiteX33" fmla="*/ 136684 w 3573304"/>
                  <a:gd name="connsiteY33" fmla="*/ 103156 h 559879"/>
                  <a:gd name="connsiteX34" fmla="*/ 136684 w 3573304"/>
                  <a:gd name="connsiteY34" fmla="*/ 109252 h 559879"/>
                  <a:gd name="connsiteX35" fmla="*/ 151447 w 3573304"/>
                  <a:gd name="connsiteY35" fmla="*/ 109252 h 559879"/>
                  <a:gd name="connsiteX36" fmla="*/ 151447 w 3573304"/>
                  <a:gd name="connsiteY36" fmla="*/ 115252 h 559879"/>
                  <a:gd name="connsiteX37" fmla="*/ 155638 w 3573304"/>
                  <a:gd name="connsiteY37" fmla="*/ 115252 h 559879"/>
                  <a:gd name="connsiteX38" fmla="*/ 155638 w 3573304"/>
                  <a:gd name="connsiteY38" fmla="*/ 121348 h 559879"/>
                  <a:gd name="connsiteX39" fmla="*/ 159829 w 3573304"/>
                  <a:gd name="connsiteY39" fmla="*/ 121348 h 559879"/>
                  <a:gd name="connsiteX40" fmla="*/ 159829 w 3573304"/>
                  <a:gd name="connsiteY40" fmla="*/ 127444 h 559879"/>
                  <a:gd name="connsiteX41" fmla="*/ 172498 w 3573304"/>
                  <a:gd name="connsiteY41" fmla="*/ 127444 h 559879"/>
                  <a:gd name="connsiteX42" fmla="*/ 172498 w 3573304"/>
                  <a:gd name="connsiteY42" fmla="*/ 133445 h 559879"/>
                  <a:gd name="connsiteX43" fmla="*/ 201930 w 3573304"/>
                  <a:gd name="connsiteY43" fmla="*/ 133445 h 559879"/>
                  <a:gd name="connsiteX44" fmla="*/ 201930 w 3573304"/>
                  <a:gd name="connsiteY44" fmla="*/ 139541 h 559879"/>
                  <a:gd name="connsiteX45" fmla="*/ 210312 w 3573304"/>
                  <a:gd name="connsiteY45" fmla="*/ 139541 h 559879"/>
                  <a:gd name="connsiteX46" fmla="*/ 210312 w 3573304"/>
                  <a:gd name="connsiteY46" fmla="*/ 145637 h 559879"/>
                  <a:gd name="connsiteX47" fmla="*/ 212407 w 3573304"/>
                  <a:gd name="connsiteY47" fmla="*/ 145637 h 559879"/>
                  <a:gd name="connsiteX48" fmla="*/ 212407 w 3573304"/>
                  <a:gd name="connsiteY48" fmla="*/ 151638 h 559879"/>
                  <a:gd name="connsiteX49" fmla="*/ 227171 w 3573304"/>
                  <a:gd name="connsiteY49" fmla="*/ 151638 h 559879"/>
                  <a:gd name="connsiteX50" fmla="*/ 227171 w 3573304"/>
                  <a:gd name="connsiteY50" fmla="*/ 163830 h 559879"/>
                  <a:gd name="connsiteX51" fmla="*/ 229267 w 3573304"/>
                  <a:gd name="connsiteY51" fmla="*/ 163830 h 559879"/>
                  <a:gd name="connsiteX52" fmla="*/ 229267 w 3573304"/>
                  <a:gd name="connsiteY52" fmla="*/ 169831 h 559879"/>
                  <a:gd name="connsiteX53" fmla="*/ 235553 w 3573304"/>
                  <a:gd name="connsiteY53" fmla="*/ 169831 h 559879"/>
                  <a:gd name="connsiteX54" fmla="*/ 235553 w 3573304"/>
                  <a:gd name="connsiteY54" fmla="*/ 175927 h 559879"/>
                  <a:gd name="connsiteX55" fmla="*/ 239744 w 3573304"/>
                  <a:gd name="connsiteY55" fmla="*/ 175927 h 559879"/>
                  <a:gd name="connsiteX56" fmla="*/ 239744 w 3573304"/>
                  <a:gd name="connsiteY56" fmla="*/ 182023 h 559879"/>
                  <a:gd name="connsiteX57" fmla="*/ 256603 w 3573304"/>
                  <a:gd name="connsiteY57" fmla="*/ 182023 h 559879"/>
                  <a:gd name="connsiteX58" fmla="*/ 256603 w 3573304"/>
                  <a:gd name="connsiteY58" fmla="*/ 194119 h 559879"/>
                  <a:gd name="connsiteX59" fmla="*/ 260794 w 3573304"/>
                  <a:gd name="connsiteY59" fmla="*/ 194119 h 559879"/>
                  <a:gd name="connsiteX60" fmla="*/ 260794 w 3573304"/>
                  <a:gd name="connsiteY60" fmla="*/ 200215 h 559879"/>
                  <a:gd name="connsiteX61" fmla="*/ 283940 w 3573304"/>
                  <a:gd name="connsiteY61" fmla="*/ 200215 h 559879"/>
                  <a:gd name="connsiteX62" fmla="*/ 283940 w 3573304"/>
                  <a:gd name="connsiteY62" fmla="*/ 206311 h 559879"/>
                  <a:gd name="connsiteX63" fmla="*/ 288131 w 3573304"/>
                  <a:gd name="connsiteY63" fmla="*/ 206311 h 559879"/>
                  <a:gd name="connsiteX64" fmla="*/ 288131 w 3573304"/>
                  <a:gd name="connsiteY64" fmla="*/ 212312 h 559879"/>
                  <a:gd name="connsiteX65" fmla="*/ 294418 w 3573304"/>
                  <a:gd name="connsiteY65" fmla="*/ 212312 h 559879"/>
                  <a:gd name="connsiteX66" fmla="*/ 294418 w 3573304"/>
                  <a:gd name="connsiteY66" fmla="*/ 224504 h 559879"/>
                  <a:gd name="connsiteX67" fmla="*/ 313372 w 3573304"/>
                  <a:gd name="connsiteY67" fmla="*/ 224504 h 559879"/>
                  <a:gd name="connsiteX68" fmla="*/ 313372 w 3573304"/>
                  <a:gd name="connsiteY68" fmla="*/ 230505 h 559879"/>
                  <a:gd name="connsiteX69" fmla="*/ 321754 w 3573304"/>
                  <a:gd name="connsiteY69" fmla="*/ 230505 h 559879"/>
                  <a:gd name="connsiteX70" fmla="*/ 321754 w 3573304"/>
                  <a:gd name="connsiteY70" fmla="*/ 236601 h 559879"/>
                  <a:gd name="connsiteX71" fmla="*/ 334423 w 3573304"/>
                  <a:gd name="connsiteY71" fmla="*/ 236601 h 559879"/>
                  <a:gd name="connsiteX72" fmla="*/ 334423 w 3573304"/>
                  <a:gd name="connsiteY72" fmla="*/ 242697 h 559879"/>
                  <a:gd name="connsiteX73" fmla="*/ 351282 w 3573304"/>
                  <a:gd name="connsiteY73" fmla="*/ 242697 h 559879"/>
                  <a:gd name="connsiteX74" fmla="*/ 351282 w 3573304"/>
                  <a:gd name="connsiteY74" fmla="*/ 248698 h 559879"/>
                  <a:gd name="connsiteX75" fmla="*/ 378619 w 3573304"/>
                  <a:gd name="connsiteY75" fmla="*/ 248698 h 559879"/>
                  <a:gd name="connsiteX76" fmla="*/ 378619 w 3573304"/>
                  <a:gd name="connsiteY76" fmla="*/ 254794 h 559879"/>
                  <a:gd name="connsiteX77" fmla="*/ 380714 w 3573304"/>
                  <a:gd name="connsiteY77" fmla="*/ 254794 h 559879"/>
                  <a:gd name="connsiteX78" fmla="*/ 380714 w 3573304"/>
                  <a:gd name="connsiteY78" fmla="*/ 260890 h 559879"/>
                  <a:gd name="connsiteX79" fmla="*/ 391191 w 3573304"/>
                  <a:gd name="connsiteY79" fmla="*/ 260890 h 559879"/>
                  <a:gd name="connsiteX80" fmla="*/ 391191 w 3573304"/>
                  <a:gd name="connsiteY80" fmla="*/ 266890 h 559879"/>
                  <a:gd name="connsiteX81" fmla="*/ 397478 w 3573304"/>
                  <a:gd name="connsiteY81" fmla="*/ 266890 h 559879"/>
                  <a:gd name="connsiteX82" fmla="*/ 397478 w 3573304"/>
                  <a:gd name="connsiteY82" fmla="*/ 279082 h 559879"/>
                  <a:gd name="connsiteX83" fmla="*/ 405955 w 3573304"/>
                  <a:gd name="connsiteY83" fmla="*/ 279082 h 559879"/>
                  <a:gd name="connsiteX84" fmla="*/ 405955 w 3573304"/>
                  <a:gd name="connsiteY84" fmla="*/ 285083 h 559879"/>
                  <a:gd name="connsiteX85" fmla="*/ 412242 w 3573304"/>
                  <a:gd name="connsiteY85" fmla="*/ 285083 h 559879"/>
                  <a:gd name="connsiteX86" fmla="*/ 412242 w 3573304"/>
                  <a:gd name="connsiteY86" fmla="*/ 297275 h 559879"/>
                  <a:gd name="connsiteX87" fmla="*/ 414337 w 3573304"/>
                  <a:gd name="connsiteY87" fmla="*/ 297275 h 559879"/>
                  <a:gd name="connsiteX88" fmla="*/ 414337 w 3573304"/>
                  <a:gd name="connsiteY88" fmla="*/ 303371 h 559879"/>
                  <a:gd name="connsiteX89" fmla="*/ 426910 w 3573304"/>
                  <a:gd name="connsiteY89" fmla="*/ 303371 h 559879"/>
                  <a:gd name="connsiteX90" fmla="*/ 426910 w 3573304"/>
                  <a:gd name="connsiteY90" fmla="*/ 309372 h 559879"/>
                  <a:gd name="connsiteX91" fmla="*/ 450056 w 3573304"/>
                  <a:gd name="connsiteY91" fmla="*/ 309372 h 559879"/>
                  <a:gd name="connsiteX92" fmla="*/ 450056 w 3573304"/>
                  <a:gd name="connsiteY92" fmla="*/ 315468 h 559879"/>
                  <a:gd name="connsiteX93" fmla="*/ 456438 w 3573304"/>
                  <a:gd name="connsiteY93" fmla="*/ 315468 h 559879"/>
                  <a:gd name="connsiteX94" fmla="*/ 456438 w 3573304"/>
                  <a:gd name="connsiteY94" fmla="*/ 321564 h 559879"/>
                  <a:gd name="connsiteX95" fmla="*/ 464820 w 3573304"/>
                  <a:gd name="connsiteY95" fmla="*/ 321564 h 559879"/>
                  <a:gd name="connsiteX96" fmla="*/ 464820 w 3573304"/>
                  <a:gd name="connsiteY96" fmla="*/ 327565 h 559879"/>
                  <a:gd name="connsiteX97" fmla="*/ 473202 w 3573304"/>
                  <a:gd name="connsiteY97" fmla="*/ 327565 h 559879"/>
                  <a:gd name="connsiteX98" fmla="*/ 473202 w 3573304"/>
                  <a:gd name="connsiteY98" fmla="*/ 333661 h 559879"/>
                  <a:gd name="connsiteX99" fmla="*/ 477393 w 3573304"/>
                  <a:gd name="connsiteY99" fmla="*/ 333661 h 559879"/>
                  <a:gd name="connsiteX100" fmla="*/ 477393 w 3573304"/>
                  <a:gd name="connsiteY100" fmla="*/ 339757 h 559879"/>
                  <a:gd name="connsiteX101" fmla="*/ 551021 w 3573304"/>
                  <a:gd name="connsiteY101" fmla="*/ 339757 h 559879"/>
                  <a:gd name="connsiteX102" fmla="*/ 551021 w 3573304"/>
                  <a:gd name="connsiteY102" fmla="*/ 345757 h 559879"/>
                  <a:gd name="connsiteX103" fmla="*/ 572071 w 3573304"/>
                  <a:gd name="connsiteY103" fmla="*/ 345757 h 559879"/>
                  <a:gd name="connsiteX104" fmla="*/ 572071 w 3573304"/>
                  <a:gd name="connsiteY104" fmla="*/ 351853 h 559879"/>
                  <a:gd name="connsiteX105" fmla="*/ 578358 w 3573304"/>
                  <a:gd name="connsiteY105" fmla="*/ 351853 h 559879"/>
                  <a:gd name="connsiteX106" fmla="*/ 578358 w 3573304"/>
                  <a:gd name="connsiteY106" fmla="*/ 357949 h 559879"/>
                  <a:gd name="connsiteX107" fmla="*/ 620458 w 3573304"/>
                  <a:gd name="connsiteY107" fmla="*/ 357949 h 559879"/>
                  <a:gd name="connsiteX108" fmla="*/ 620458 w 3573304"/>
                  <a:gd name="connsiteY108" fmla="*/ 363950 h 559879"/>
                  <a:gd name="connsiteX109" fmla="*/ 635127 w 3573304"/>
                  <a:gd name="connsiteY109" fmla="*/ 363950 h 559879"/>
                  <a:gd name="connsiteX110" fmla="*/ 635127 w 3573304"/>
                  <a:gd name="connsiteY110" fmla="*/ 370046 h 559879"/>
                  <a:gd name="connsiteX111" fmla="*/ 664654 w 3573304"/>
                  <a:gd name="connsiteY111" fmla="*/ 370046 h 559879"/>
                  <a:gd name="connsiteX112" fmla="*/ 664654 w 3573304"/>
                  <a:gd name="connsiteY112" fmla="*/ 376142 h 559879"/>
                  <a:gd name="connsiteX113" fmla="*/ 666750 w 3573304"/>
                  <a:gd name="connsiteY113" fmla="*/ 376142 h 559879"/>
                  <a:gd name="connsiteX114" fmla="*/ 666750 w 3573304"/>
                  <a:gd name="connsiteY114" fmla="*/ 382143 h 559879"/>
                  <a:gd name="connsiteX115" fmla="*/ 689800 w 3573304"/>
                  <a:gd name="connsiteY115" fmla="*/ 382143 h 559879"/>
                  <a:gd name="connsiteX116" fmla="*/ 689800 w 3573304"/>
                  <a:gd name="connsiteY116" fmla="*/ 388239 h 559879"/>
                  <a:gd name="connsiteX117" fmla="*/ 702469 w 3573304"/>
                  <a:gd name="connsiteY117" fmla="*/ 388239 h 559879"/>
                  <a:gd name="connsiteX118" fmla="*/ 702469 w 3573304"/>
                  <a:gd name="connsiteY118" fmla="*/ 394335 h 559879"/>
                  <a:gd name="connsiteX119" fmla="*/ 738187 w 3573304"/>
                  <a:gd name="connsiteY119" fmla="*/ 394335 h 559879"/>
                  <a:gd name="connsiteX120" fmla="*/ 738187 w 3573304"/>
                  <a:gd name="connsiteY120" fmla="*/ 400431 h 559879"/>
                  <a:gd name="connsiteX121" fmla="*/ 853916 w 3573304"/>
                  <a:gd name="connsiteY121" fmla="*/ 400431 h 559879"/>
                  <a:gd name="connsiteX122" fmla="*/ 853916 w 3573304"/>
                  <a:gd name="connsiteY122" fmla="*/ 406432 h 559879"/>
                  <a:gd name="connsiteX123" fmla="*/ 891730 w 3573304"/>
                  <a:gd name="connsiteY123" fmla="*/ 406432 h 559879"/>
                  <a:gd name="connsiteX124" fmla="*/ 891730 w 3573304"/>
                  <a:gd name="connsiteY124" fmla="*/ 412623 h 559879"/>
                  <a:gd name="connsiteX125" fmla="*/ 944308 w 3573304"/>
                  <a:gd name="connsiteY125" fmla="*/ 412623 h 559879"/>
                  <a:gd name="connsiteX126" fmla="*/ 944308 w 3573304"/>
                  <a:gd name="connsiteY126" fmla="*/ 418719 h 559879"/>
                  <a:gd name="connsiteX127" fmla="*/ 963263 w 3573304"/>
                  <a:gd name="connsiteY127" fmla="*/ 418719 h 559879"/>
                  <a:gd name="connsiteX128" fmla="*/ 963263 w 3573304"/>
                  <a:gd name="connsiteY128" fmla="*/ 424815 h 559879"/>
                  <a:gd name="connsiteX129" fmla="*/ 973741 w 3573304"/>
                  <a:gd name="connsiteY129" fmla="*/ 424815 h 559879"/>
                  <a:gd name="connsiteX130" fmla="*/ 973741 w 3573304"/>
                  <a:gd name="connsiteY130" fmla="*/ 431006 h 559879"/>
                  <a:gd name="connsiteX131" fmla="*/ 1007459 w 3573304"/>
                  <a:gd name="connsiteY131" fmla="*/ 431006 h 559879"/>
                  <a:gd name="connsiteX132" fmla="*/ 1007459 w 3573304"/>
                  <a:gd name="connsiteY132" fmla="*/ 437102 h 559879"/>
                  <a:gd name="connsiteX133" fmla="*/ 1013746 w 3573304"/>
                  <a:gd name="connsiteY133" fmla="*/ 437102 h 559879"/>
                  <a:gd name="connsiteX134" fmla="*/ 1013746 w 3573304"/>
                  <a:gd name="connsiteY134" fmla="*/ 443198 h 559879"/>
                  <a:gd name="connsiteX135" fmla="*/ 1028414 w 3573304"/>
                  <a:gd name="connsiteY135" fmla="*/ 443198 h 559879"/>
                  <a:gd name="connsiteX136" fmla="*/ 1028414 w 3573304"/>
                  <a:gd name="connsiteY136" fmla="*/ 449294 h 559879"/>
                  <a:gd name="connsiteX137" fmla="*/ 1041082 w 3573304"/>
                  <a:gd name="connsiteY137" fmla="*/ 449294 h 559879"/>
                  <a:gd name="connsiteX138" fmla="*/ 1041082 w 3573304"/>
                  <a:gd name="connsiteY138" fmla="*/ 455485 h 559879"/>
                  <a:gd name="connsiteX139" fmla="*/ 1066324 w 3573304"/>
                  <a:gd name="connsiteY139" fmla="*/ 455485 h 559879"/>
                  <a:gd name="connsiteX140" fmla="*/ 1066324 w 3573304"/>
                  <a:gd name="connsiteY140" fmla="*/ 461581 h 559879"/>
                  <a:gd name="connsiteX141" fmla="*/ 1295590 w 3573304"/>
                  <a:gd name="connsiteY141" fmla="*/ 461581 h 559879"/>
                  <a:gd name="connsiteX142" fmla="*/ 1295590 w 3573304"/>
                  <a:gd name="connsiteY142" fmla="*/ 467773 h 559879"/>
                  <a:gd name="connsiteX143" fmla="*/ 1409128 w 3573304"/>
                  <a:gd name="connsiteY143" fmla="*/ 467773 h 559879"/>
                  <a:gd name="connsiteX144" fmla="*/ 1409128 w 3573304"/>
                  <a:gd name="connsiteY144" fmla="*/ 473964 h 559879"/>
                  <a:gd name="connsiteX145" fmla="*/ 1678305 w 3573304"/>
                  <a:gd name="connsiteY145" fmla="*/ 473964 h 559879"/>
                  <a:gd name="connsiteX146" fmla="*/ 1678305 w 3573304"/>
                  <a:gd name="connsiteY146" fmla="*/ 480250 h 559879"/>
                  <a:gd name="connsiteX147" fmla="*/ 1751933 w 3573304"/>
                  <a:gd name="connsiteY147" fmla="*/ 480250 h 559879"/>
                  <a:gd name="connsiteX148" fmla="*/ 1751933 w 3573304"/>
                  <a:gd name="connsiteY148" fmla="*/ 486537 h 559879"/>
                  <a:gd name="connsiteX149" fmla="*/ 1831848 w 3573304"/>
                  <a:gd name="connsiteY149" fmla="*/ 486537 h 559879"/>
                  <a:gd name="connsiteX150" fmla="*/ 1831848 w 3573304"/>
                  <a:gd name="connsiteY150" fmla="*/ 492823 h 559879"/>
                  <a:gd name="connsiteX151" fmla="*/ 1993773 w 3573304"/>
                  <a:gd name="connsiteY151" fmla="*/ 492823 h 559879"/>
                  <a:gd name="connsiteX152" fmla="*/ 1993773 w 3573304"/>
                  <a:gd name="connsiteY152" fmla="*/ 499300 h 559879"/>
                  <a:gd name="connsiteX153" fmla="*/ 2010632 w 3573304"/>
                  <a:gd name="connsiteY153" fmla="*/ 499300 h 559879"/>
                  <a:gd name="connsiteX154" fmla="*/ 2010632 w 3573304"/>
                  <a:gd name="connsiteY154" fmla="*/ 505682 h 559879"/>
                  <a:gd name="connsiteX155" fmla="*/ 2128456 w 3573304"/>
                  <a:gd name="connsiteY155" fmla="*/ 505682 h 559879"/>
                  <a:gd name="connsiteX156" fmla="*/ 2128456 w 3573304"/>
                  <a:gd name="connsiteY156" fmla="*/ 512159 h 559879"/>
                  <a:gd name="connsiteX157" fmla="*/ 2220944 w 3573304"/>
                  <a:gd name="connsiteY157" fmla="*/ 512159 h 559879"/>
                  <a:gd name="connsiteX158" fmla="*/ 2220944 w 3573304"/>
                  <a:gd name="connsiteY158" fmla="*/ 518541 h 559879"/>
                  <a:gd name="connsiteX159" fmla="*/ 2239899 w 3573304"/>
                  <a:gd name="connsiteY159" fmla="*/ 518541 h 559879"/>
                  <a:gd name="connsiteX160" fmla="*/ 2239899 w 3573304"/>
                  <a:gd name="connsiteY160" fmla="*/ 525018 h 559879"/>
                  <a:gd name="connsiteX161" fmla="*/ 3093720 w 3573304"/>
                  <a:gd name="connsiteY161" fmla="*/ 525018 h 559879"/>
                  <a:gd name="connsiteX162" fmla="*/ 3093720 w 3573304"/>
                  <a:gd name="connsiteY162" fmla="*/ 559879 h 559879"/>
                  <a:gd name="connsiteX163" fmla="*/ 3573304 w 3573304"/>
                  <a:gd name="connsiteY163" fmla="*/ 559879 h 559879"/>
                  <a:gd name="connsiteX0" fmla="*/ 0 w 3573304"/>
                  <a:gd name="connsiteY0" fmla="*/ 0 h 559879"/>
                  <a:gd name="connsiteX1" fmla="*/ 4191 w 3573304"/>
                  <a:gd name="connsiteY1" fmla="*/ 6096 h 559879"/>
                  <a:gd name="connsiteX2" fmla="*/ 8382 w 3573304"/>
                  <a:gd name="connsiteY2" fmla="*/ 6096 h 559879"/>
                  <a:gd name="connsiteX3" fmla="*/ 8382 w 3573304"/>
                  <a:gd name="connsiteY3" fmla="*/ 12192 h 559879"/>
                  <a:gd name="connsiteX4" fmla="*/ 10477 w 3573304"/>
                  <a:gd name="connsiteY4" fmla="*/ 12192 h 559879"/>
                  <a:gd name="connsiteX5" fmla="*/ 10477 w 3573304"/>
                  <a:gd name="connsiteY5" fmla="*/ 18193 h 559879"/>
                  <a:gd name="connsiteX6" fmla="*/ 12668 w 3573304"/>
                  <a:gd name="connsiteY6" fmla="*/ 18193 h 559879"/>
                  <a:gd name="connsiteX7" fmla="*/ 12668 w 3573304"/>
                  <a:gd name="connsiteY7" fmla="*/ 24289 h 559879"/>
                  <a:gd name="connsiteX8" fmla="*/ 23145 w 3573304"/>
                  <a:gd name="connsiteY8" fmla="*/ 24289 h 559879"/>
                  <a:gd name="connsiteX9" fmla="*/ 23145 w 3573304"/>
                  <a:gd name="connsiteY9" fmla="*/ 30385 h 559879"/>
                  <a:gd name="connsiteX10" fmla="*/ 29432 w 3573304"/>
                  <a:gd name="connsiteY10" fmla="*/ 30385 h 559879"/>
                  <a:gd name="connsiteX11" fmla="*/ 29432 w 3573304"/>
                  <a:gd name="connsiteY11" fmla="*/ 36385 h 559879"/>
                  <a:gd name="connsiteX12" fmla="*/ 44196 w 3573304"/>
                  <a:gd name="connsiteY12" fmla="*/ 36385 h 559879"/>
                  <a:gd name="connsiteX13" fmla="*/ 44196 w 3573304"/>
                  <a:gd name="connsiteY13" fmla="*/ 42481 h 559879"/>
                  <a:gd name="connsiteX14" fmla="*/ 52578 w 3573304"/>
                  <a:gd name="connsiteY14" fmla="*/ 42481 h 559879"/>
                  <a:gd name="connsiteX15" fmla="*/ 52578 w 3573304"/>
                  <a:gd name="connsiteY15" fmla="*/ 48577 h 559879"/>
                  <a:gd name="connsiteX16" fmla="*/ 63151 w 3573304"/>
                  <a:gd name="connsiteY16" fmla="*/ 48577 h 559879"/>
                  <a:gd name="connsiteX17" fmla="*/ 63151 w 3573304"/>
                  <a:gd name="connsiteY17" fmla="*/ 54578 h 559879"/>
                  <a:gd name="connsiteX18" fmla="*/ 75724 w 3573304"/>
                  <a:gd name="connsiteY18" fmla="*/ 54578 h 559879"/>
                  <a:gd name="connsiteX19" fmla="*/ 75724 w 3573304"/>
                  <a:gd name="connsiteY19" fmla="*/ 60674 h 559879"/>
                  <a:gd name="connsiteX20" fmla="*/ 82010 w 3573304"/>
                  <a:gd name="connsiteY20" fmla="*/ 60674 h 559879"/>
                  <a:gd name="connsiteX21" fmla="*/ 82010 w 3573304"/>
                  <a:gd name="connsiteY21" fmla="*/ 72771 h 559879"/>
                  <a:gd name="connsiteX22" fmla="*/ 86201 w 3573304"/>
                  <a:gd name="connsiteY22" fmla="*/ 72771 h 559879"/>
                  <a:gd name="connsiteX23" fmla="*/ 86201 w 3573304"/>
                  <a:gd name="connsiteY23" fmla="*/ 78867 h 559879"/>
                  <a:gd name="connsiteX24" fmla="*/ 98869 w 3573304"/>
                  <a:gd name="connsiteY24" fmla="*/ 78867 h 559879"/>
                  <a:gd name="connsiteX25" fmla="*/ 98869 w 3573304"/>
                  <a:gd name="connsiteY25" fmla="*/ 84963 h 559879"/>
                  <a:gd name="connsiteX26" fmla="*/ 113538 w 3573304"/>
                  <a:gd name="connsiteY26" fmla="*/ 84963 h 559879"/>
                  <a:gd name="connsiteX27" fmla="*/ 113538 w 3573304"/>
                  <a:gd name="connsiteY27" fmla="*/ 90964 h 559879"/>
                  <a:gd name="connsiteX28" fmla="*/ 117824 w 3573304"/>
                  <a:gd name="connsiteY28" fmla="*/ 90964 h 559879"/>
                  <a:gd name="connsiteX29" fmla="*/ 117824 w 3573304"/>
                  <a:gd name="connsiteY29" fmla="*/ 97060 h 559879"/>
                  <a:gd name="connsiteX30" fmla="*/ 128301 w 3573304"/>
                  <a:gd name="connsiteY30" fmla="*/ 97060 h 559879"/>
                  <a:gd name="connsiteX31" fmla="*/ 128301 w 3573304"/>
                  <a:gd name="connsiteY31" fmla="*/ 103156 h 559879"/>
                  <a:gd name="connsiteX32" fmla="*/ 136684 w 3573304"/>
                  <a:gd name="connsiteY32" fmla="*/ 103156 h 559879"/>
                  <a:gd name="connsiteX33" fmla="*/ 136684 w 3573304"/>
                  <a:gd name="connsiteY33" fmla="*/ 109252 h 559879"/>
                  <a:gd name="connsiteX34" fmla="*/ 151447 w 3573304"/>
                  <a:gd name="connsiteY34" fmla="*/ 109252 h 559879"/>
                  <a:gd name="connsiteX35" fmla="*/ 151447 w 3573304"/>
                  <a:gd name="connsiteY35" fmla="*/ 115252 h 559879"/>
                  <a:gd name="connsiteX36" fmla="*/ 155638 w 3573304"/>
                  <a:gd name="connsiteY36" fmla="*/ 115252 h 559879"/>
                  <a:gd name="connsiteX37" fmla="*/ 155638 w 3573304"/>
                  <a:gd name="connsiteY37" fmla="*/ 121348 h 559879"/>
                  <a:gd name="connsiteX38" fmla="*/ 159829 w 3573304"/>
                  <a:gd name="connsiteY38" fmla="*/ 121348 h 559879"/>
                  <a:gd name="connsiteX39" fmla="*/ 159829 w 3573304"/>
                  <a:gd name="connsiteY39" fmla="*/ 127444 h 559879"/>
                  <a:gd name="connsiteX40" fmla="*/ 172498 w 3573304"/>
                  <a:gd name="connsiteY40" fmla="*/ 127444 h 559879"/>
                  <a:gd name="connsiteX41" fmla="*/ 172498 w 3573304"/>
                  <a:gd name="connsiteY41" fmla="*/ 133445 h 559879"/>
                  <a:gd name="connsiteX42" fmla="*/ 201930 w 3573304"/>
                  <a:gd name="connsiteY42" fmla="*/ 133445 h 559879"/>
                  <a:gd name="connsiteX43" fmla="*/ 201930 w 3573304"/>
                  <a:gd name="connsiteY43" fmla="*/ 139541 h 559879"/>
                  <a:gd name="connsiteX44" fmla="*/ 210312 w 3573304"/>
                  <a:gd name="connsiteY44" fmla="*/ 139541 h 559879"/>
                  <a:gd name="connsiteX45" fmla="*/ 210312 w 3573304"/>
                  <a:gd name="connsiteY45" fmla="*/ 145637 h 559879"/>
                  <a:gd name="connsiteX46" fmla="*/ 212407 w 3573304"/>
                  <a:gd name="connsiteY46" fmla="*/ 145637 h 559879"/>
                  <a:gd name="connsiteX47" fmla="*/ 212407 w 3573304"/>
                  <a:gd name="connsiteY47" fmla="*/ 151638 h 559879"/>
                  <a:gd name="connsiteX48" fmla="*/ 227171 w 3573304"/>
                  <a:gd name="connsiteY48" fmla="*/ 151638 h 559879"/>
                  <a:gd name="connsiteX49" fmla="*/ 227171 w 3573304"/>
                  <a:gd name="connsiteY49" fmla="*/ 163830 h 559879"/>
                  <a:gd name="connsiteX50" fmla="*/ 229267 w 3573304"/>
                  <a:gd name="connsiteY50" fmla="*/ 163830 h 559879"/>
                  <a:gd name="connsiteX51" fmla="*/ 229267 w 3573304"/>
                  <a:gd name="connsiteY51" fmla="*/ 169831 h 559879"/>
                  <a:gd name="connsiteX52" fmla="*/ 235553 w 3573304"/>
                  <a:gd name="connsiteY52" fmla="*/ 169831 h 559879"/>
                  <a:gd name="connsiteX53" fmla="*/ 235553 w 3573304"/>
                  <a:gd name="connsiteY53" fmla="*/ 175927 h 559879"/>
                  <a:gd name="connsiteX54" fmla="*/ 239744 w 3573304"/>
                  <a:gd name="connsiteY54" fmla="*/ 175927 h 559879"/>
                  <a:gd name="connsiteX55" fmla="*/ 239744 w 3573304"/>
                  <a:gd name="connsiteY55" fmla="*/ 182023 h 559879"/>
                  <a:gd name="connsiteX56" fmla="*/ 256603 w 3573304"/>
                  <a:gd name="connsiteY56" fmla="*/ 182023 h 559879"/>
                  <a:gd name="connsiteX57" fmla="*/ 256603 w 3573304"/>
                  <a:gd name="connsiteY57" fmla="*/ 194119 h 559879"/>
                  <a:gd name="connsiteX58" fmla="*/ 260794 w 3573304"/>
                  <a:gd name="connsiteY58" fmla="*/ 194119 h 559879"/>
                  <a:gd name="connsiteX59" fmla="*/ 260794 w 3573304"/>
                  <a:gd name="connsiteY59" fmla="*/ 200215 h 559879"/>
                  <a:gd name="connsiteX60" fmla="*/ 283940 w 3573304"/>
                  <a:gd name="connsiteY60" fmla="*/ 200215 h 559879"/>
                  <a:gd name="connsiteX61" fmla="*/ 283940 w 3573304"/>
                  <a:gd name="connsiteY61" fmla="*/ 206311 h 559879"/>
                  <a:gd name="connsiteX62" fmla="*/ 288131 w 3573304"/>
                  <a:gd name="connsiteY62" fmla="*/ 206311 h 559879"/>
                  <a:gd name="connsiteX63" fmla="*/ 288131 w 3573304"/>
                  <a:gd name="connsiteY63" fmla="*/ 212312 h 559879"/>
                  <a:gd name="connsiteX64" fmla="*/ 294418 w 3573304"/>
                  <a:gd name="connsiteY64" fmla="*/ 212312 h 559879"/>
                  <a:gd name="connsiteX65" fmla="*/ 294418 w 3573304"/>
                  <a:gd name="connsiteY65" fmla="*/ 224504 h 559879"/>
                  <a:gd name="connsiteX66" fmla="*/ 313372 w 3573304"/>
                  <a:gd name="connsiteY66" fmla="*/ 224504 h 559879"/>
                  <a:gd name="connsiteX67" fmla="*/ 313372 w 3573304"/>
                  <a:gd name="connsiteY67" fmla="*/ 230505 h 559879"/>
                  <a:gd name="connsiteX68" fmla="*/ 321754 w 3573304"/>
                  <a:gd name="connsiteY68" fmla="*/ 230505 h 559879"/>
                  <a:gd name="connsiteX69" fmla="*/ 321754 w 3573304"/>
                  <a:gd name="connsiteY69" fmla="*/ 236601 h 559879"/>
                  <a:gd name="connsiteX70" fmla="*/ 334423 w 3573304"/>
                  <a:gd name="connsiteY70" fmla="*/ 236601 h 559879"/>
                  <a:gd name="connsiteX71" fmla="*/ 334423 w 3573304"/>
                  <a:gd name="connsiteY71" fmla="*/ 242697 h 559879"/>
                  <a:gd name="connsiteX72" fmla="*/ 351282 w 3573304"/>
                  <a:gd name="connsiteY72" fmla="*/ 242697 h 559879"/>
                  <a:gd name="connsiteX73" fmla="*/ 351282 w 3573304"/>
                  <a:gd name="connsiteY73" fmla="*/ 248698 h 559879"/>
                  <a:gd name="connsiteX74" fmla="*/ 378619 w 3573304"/>
                  <a:gd name="connsiteY74" fmla="*/ 248698 h 559879"/>
                  <a:gd name="connsiteX75" fmla="*/ 378619 w 3573304"/>
                  <a:gd name="connsiteY75" fmla="*/ 254794 h 559879"/>
                  <a:gd name="connsiteX76" fmla="*/ 380714 w 3573304"/>
                  <a:gd name="connsiteY76" fmla="*/ 254794 h 559879"/>
                  <a:gd name="connsiteX77" fmla="*/ 380714 w 3573304"/>
                  <a:gd name="connsiteY77" fmla="*/ 260890 h 559879"/>
                  <a:gd name="connsiteX78" fmla="*/ 391191 w 3573304"/>
                  <a:gd name="connsiteY78" fmla="*/ 260890 h 559879"/>
                  <a:gd name="connsiteX79" fmla="*/ 391191 w 3573304"/>
                  <a:gd name="connsiteY79" fmla="*/ 266890 h 559879"/>
                  <a:gd name="connsiteX80" fmla="*/ 397478 w 3573304"/>
                  <a:gd name="connsiteY80" fmla="*/ 266890 h 559879"/>
                  <a:gd name="connsiteX81" fmla="*/ 397478 w 3573304"/>
                  <a:gd name="connsiteY81" fmla="*/ 279082 h 559879"/>
                  <a:gd name="connsiteX82" fmla="*/ 405955 w 3573304"/>
                  <a:gd name="connsiteY82" fmla="*/ 279082 h 559879"/>
                  <a:gd name="connsiteX83" fmla="*/ 405955 w 3573304"/>
                  <a:gd name="connsiteY83" fmla="*/ 285083 h 559879"/>
                  <a:gd name="connsiteX84" fmla="*/ 412242 w 3573304"/>
                  <a:gd name="connsiteY84" fmla="*/ 285083 h 559879"/>
                  <a:gd name="connsiteX85" fmla="*/ 412242 w 3573304"/>
                  <a:gd name="connsiteY85" fmla="*/ 297275 h 559879"/>
                  <a:gd name="connsiteX86" fmla="*/ 414337 w 3573304"/>
                  <a:gd name="connsiteY86" fmla="*/ 297275 h 559879"/>
                  <a:gd name="connsiteX87" fmla="*/ 414337 w 3573304"/>
                  <a:gd name="connsiteY87" fmla="*/ 303371 h 559879"/>
                  <a:gd name="connsiteX88" fmla="*/ 426910 w 3573304"/>
                  <a:gd name="connsiteY88" fmla="*/ 303371 h 559879"/>
                  <a:gd name="connsiteX89" fmla="*/ 426910 w 3573304"/>
                  <a:gd name="connsiteY89" fmla="*/ 309372 h 559879"/>
                  <a:gd name="connsiteX90" fmla="*/ 450056 w 3573304"/>
                  <a:gd name="connsiteY90" fmla="*/ 309372 h 559879"/>
                  <a:gd name="connsiteX91" fmla="*/ 450056 w 3573304"/>
                  <a:gd name="connsiteY91" fmla="*/ 315468 h 559879"/>
                  <a:gd name="connsiteX92" fmla="*/ 456438 w 3573304"/>
                  <a:gd name="connsiteY92" fmla="*/ 315468 h 559879"/>
                  <a:gd name="connsiteX93" fmla="*/ 456438 w 3573304"/>
                  <a:gd name="connsiteY93" fmla="*/ 321564 h 559879"/>
                  <a:gd name="connsiteX94" fmla="*/ 464820 w 3573304"/>
                  <a:gd name="connsiteY94" fmla="*/ 321564 h 559879"/>
                  <a:gd name="connsiteX95" fmla="*/ 464820 w 3573304"/>
                  <a:gd name="connsiteY95" fmla="*/ 327565 h 559879"/>
                  <a:gd name="connsiteX96" fmla="*/ 473202 w 3573304"/>
                  <a:gd name="connsiteY96" fmla="*/ 327565 h 559879"/>
                  <a:gd name="connsiteX97" fmla="*/ 473202 w 3573304"/>
                  <a:gd name="connsiteY97" fmla="*/ 333661 h 559879"/>
                  <a:gd name="connsiteX98" fmla="*/ 477393 w 3573304"/>
                  <a:gd name="connsiteY98" fmla="*/ 333661 h 559879"/>
                  <a:gd name="connsiteX99" fmla="*/ 477393 w 3573304"/>
                  <a:gd name="connsiteY99" fmla="*/ 339757 h 559879"/>
                  <a:gd name="connsiteX100" fmla="*/ 551021 w 3573304"/>
                  <a:gd name="connsiteY100" fmla="*/ 339757 h 559879"/>
                  <a:gd name="connsiteX101" fmla="*/ 551021 w 3573304"/>
                  <a:gd name="connsiteY101" fmla="*/ 345757 h 559879"/>
                  <a:gd name="connsiteX102" fmla="*/ 572071 w 3573304"/>
                  <a:gd name="connsiteY102" fmla="*/ 345757 h 559879"/>
                  <a:gd name="connsiteX103" fmla="*/ 572071 w 3573304"/>
                  <a:gd name="connsiteY103" fmla="*/ 351853 h 559879"/>
                  <a:gd name="connsiteX104" fmla="*/ 578358 w 3573304"/>
                  <a:gd name="connsiteY104" fmla="*/ 351853 h 559879"/>
                  <a:gd name="connsiteX105" fmla="*/ 578358 w 3573304"/>
                  <a:gd name="connsiteY105" fmla="*/ 357949 h 559879"/>
                  <a:gd name="connsiteX106" fmla="*/ 620458 w 3573304"/>
                  <a:gd name="connsiteY106" fmla="*/ 357949 h 559879"/>
                  <a:gd name="connsiteX107" fmla="*/ 620458 w 3573304"/>
                  <a:gd name="connsiteY107" fmla="*/ 363950 h 559879"/>
                  <a:gd name="connsiteX108" fmla="*/ 635127 w 3573304"/>
                  <a:gd name="connsiteY108" fmla="*/ 363950 h 559879"/>
                  <a:gd name="connsiteX109" fmla="*/ 635127 w 3573304"/>
                  <a:gd name="connsiteY109" fmla="*/ 370046 h 559879"/>
                  <a:gd name="connsiteX110" fmla="*/ 664654 w 3573304"/>
                  <a:gd name="connsiteY110" fmla="*/ 370046 h 559879"/>
                  <a:gd name="connsiteX111" fmla="*/ 664654 w 3573304"/>
                  <a:gd name="connsiteY111" fmla="*/ 376142 h 559879"/>
                  <a:gd name="connsiteX112" fmla="*/ 666750 w 3573304"/>
                  <a:gd name="connsiteY112" fmla="*/ 376142 h 559879"/>
                  <a:gd name="connsiteX113" fmla="*/ 666750 w 3573304"/>
                  <a:gd name="connsiteY113" fmla="*/ 382143 h 559879"/>
                  <a:gd name="connsiteX114" fmla="*/ 689800 w 3573304"/>
                  <a:gd name="connsiteY114" fmla="*/ 382143 h 559879"/>
                  <a:gd name="connsiteX115" fmla="*/ 689800 w 3573304"/>
                  <a:gd name="connsiteY115" fmla="*/ 388239 h 559879"/>
                  <a:gd name="connsiteX116" fmla="*/ 702469 w 3573304"/>
                  <a:gd name="connsiteY116" fmla="*/ 388239 h 559879"/>
                  <a:gd name="connsiteX117" fmla="*/ 702469 w 3573304"/>
                  <a:gd name="connsiteY117" fmla="*/ 394335 h 559879"/>
                  <a:gd name="connsiteX118" fmla="*/ 738187 w 3573304"/>
                  <a:gd name="connsiteY118" fmla="*/ 394335 h 559879"/>
                  <a:gd name="connsiteX119" fmla="*/ 738187 w 3573304"/>
                  <a:gd name="connsiteY119" fmla="*/ 400431 h 559879"/>
                  <a:gd name="connsiteX120" fmla="*/ 853916 w 3573304"/>
                  <a:gd name="connsiteY120" fmla="*/ 400431 h 559879"/>
                  <a:gd name="connsiteX121" fmla="*/ 853916 w 3573304"/>
                  <a:gd name="connsiteY121" fmla="*/ 406432 h 559879"/>
                  <a:gd name="connsiteX122" fmla="*/ 891730 w 3573304"/>
                  <a:gd name="connsiteY122" fmla="*/ 406432 h 559879"/>
                  <a:gd name="connsiteX123" fmla="*/ 891730 w 3573304"/>
                  <a:gd name="connsiteY123" fmla="*/ 412623 h 559879"/>
                  <a:gd name="connsiteX124" fmla="*/ 944308 w 3573304"/>
                  <a:gd name="connsiteY124" fmla="*/ 412623 h 559879"/>
                  <a:gd name="connsiteX125" fmla="*/ 944308 w 3573304"/>
                  <a:gd name="connsiteY125" fmla="*/ 418719 h 559879"/>
                  <a:gd name="connsiteX126" fmla="*/ 963263 w 3573304"/>
                  <a:gd name="connsiteY126" fmla="*/ 418719 h 559879"/>
                  <a:gd name="connsiteX127" fmla="*/ 963263 w 3573304"/>
                  <a:gd name="connsiteY127" fmla="*/ 424815 h 559879"/>
                  <a:gd name="connsiteX128" fmla="*/ 973741 w 3573304"/>
                  <a:gd name="connsiteY128" fmla="*/ 424815 h 559879"/>
                  <a:gd name="connsiteX129" fmla="*/ 973741 w 3573304"/>
                  <a:gd name="connsiteY129" fmla="*/ 431006 h 559879"/>
                  <a:gd name="connsiteX130" fmla="*/ 1007459 w 3573304"/>
                  <a:gd name="connsiteY130" fmla="*/ 431006 h 559879"/>
                  <a:gd name="connsiteX131" fmla="*/ 1007459 w 3573304"/>
                  <a:gd name="connsiteY131" fmla="*/ 437102 h 559879"/>
                  <a:gd name="connsiteX132" fmla="*/ 1013746 w 3573304"/>
                  <a:gd name="connsiteY132" fmla="*/ 437102 h 559879"/>
                  <a:gd name="connsiteX133" fmla="*/ 1013746 w 3573304"/>
                  <a:gd name="connsiteY133" fmla="*/ 443198 h 559879"/>
                  <a:gd name="connsiteX134" fmla="*/ 1028414 w 3573304"/>
                  <a:gd name="connsiteY134" fmla="*/ 443198 h 559879"/>
                  <a:gd name="connsiteX135" fmla="*/ 1028414 w 3573304"/>
                  <a:gd name="connsiteY135" fmla="*/ 449294 h 559879"/>
                  <a:gd name="connsiteX136" fmla="*/ 1041082 w 3573304"/>
                  <a:gd name="connsiteY136" fmla="*/ 449294 h 559879"/>
                  <a:gd name="connsiteX137" fmla="*/ 1041082 w 3573304"/>
                  <a:gd name="connsiteY137" fmla="*/ 455485 h 559879"/>
                  <a:gd name="connsiteX138" fmla="*/ 1066324 w 3573304"/>
                  <a:gd name="connsiteY138" fmla="*/ 455485 h 559879"/>
                  <a:gd name="connsiteX139" fmla="*/ 1066324 w 3573304"/>
                  <a:gd name="connsiteY139" fmla="*/ 461581 h 559879"/>
                  <a:gd name="connsiteX140" fmla="*/ 1295590 w 3573304"/>
                  <a:gd name="connsiteY140" fmla="*/ 461581 h 559879"/>
                  <a:gd name="connsiteX141" fmla="*/ 1295590 w 3573304"/>
                  <a:gd name="connsiteY141" fmla="*/ 467773 h 559879"/>
                  <a:gd name="connsiteX142" fmla="*/ 1409128 w 3573304"/>
                  <a:gd name="connsiteY142" fmla="*/ 467773 h 559879"/>
                  <a:gd name="connsiteX143" fmla="*/ 1409128 w 3573304"/>
                  <a:gd name="connsiteY143" fmla="*/ 473964 h 559879"/>
                  <a:gd name="connsiteX144" fmla="*/ 1678305 w 3573304"/>
                  <a:gd name="connsiteY144" fmla="*/ 473964 h 559879"/>
                  <a:gd name="connsiteX145" fmla="*/ 1678305 w 3573304"/>
                  <a:gd name="connsiteY145" fmla="*/ 480250 h 559879"/>
                  <a:gd name="connsiteX146" fmla="*/ 1751933 w 3573304"/>
                  <a:gd name="connsiteY146" fmla="*/ 480250 h 559879"/>
                  <a:gd name="connsiteX147" fmla="*/ 1751933 w 3573304"/>
                  <a:gd name="connsiteY147" fmla="*/ 486537 h 559879"/>
                  <a:gd name="connsiteX148" fmla="*/ 1831848 w 3573304"/>
                  <a:gd name="connsiteY148" fmla="*/ 486537 h 559879"/>
                  <a:gd name="connsiteX149" fmla="*/ 1831848 w 3573304"/>
                  <a:gd name="connsiteY149" fmla="*/ 492823 h 559879"/>
                  <a:gd name="connsiteX150" fmla="*/ 1993773 w 3573304"/>
                  <a:gd name="connsiteY150" fmla="*/ 492823 h 559879"/>
                  <a:gd name="connsiteX151" fmla="*/ 1993773 w 3573304"/>
                  <a:gd name="connsiteY151" fmla="*/ 499300 h 559879"/>
                  <a:gd name="connsiteX152" fmla="*/ 2010632 w 3573304"/>
                  <a:gd name="connsiteY152" fmla="*/ 499300 h 559879"/>
                  <a:gd name="connsiteX153" fmla="*/ 2010632 w 3573304"/>
                  <a:gd name="connsiteY153" fmla="*/ 505682 h 559879"/>
                  <a:gd name="connsiteX154" fmla="*/ 2128456 w 3573304"/>
                  <a:gd name="connsiteY154" fmla="*/ 505682 h 559879"/>
                  <a:gd name="connsiteX155" fmla="*/ 2128456 w 3573304"/>
                  <a:gd name="connsiteY155" fmla="*/ 512159 h 559879"/>
                  <a:gd name="connsiteX156" fmla="*/ 2220944 w 3573304"/>
                  <a:gd name="connsiteY156" fmla="*/ 512159 h 559879"/>
                  <a:gd name="connsiteX157" fmla="*/ 2220944 w 3573304"/>
                  <a:gd name="connsiteY157" fmla="*/ 518541 h 559879"/>
                  <a:gd name="connsiteX158" fmla="*/ 2239899 w 3573304"/>
                  <a:gd name="connsiteY158" fmla="*/ 518541 h 559879"/>
                  <a:gd name="connsiteX159" fmla="*/ 2239899 w 3573304"/>
                  <a:gd name="connsiteY159" fmla="*/ 525018 h 559879"/>
                  <a:gd name="connsiteX160" fmla="*/ 3093720 w 3573304"/>
                  <a:gd name="connsiteY160" fmla="*/ 525018 h 559879"/>
                  <a:gd name="connsiteX161" fmla="*/ 3093720 w 3573304"/>
                  <a:gd name="connsiteY161" fmla="*/ 559879 h 559879"/>
                  <a:gd name="connsiteX162" fmla="*/ 3573304 w 3573304"/>
                  <a:gd name="connsiteY162" fmla="*/ 559879 h 559879"/>
                  <a:gd name="connsiteX0" fmla="*/ 0 w 3573304"/>
                  <a:gd name="connsiteY0" fmla="*/ 0 h 559879"/>
                  <a:gd name="connsiteX1" fmla="*/ 4191 w 3573304"/>
                  <a:gd name="connsiteY1" fmla="*/ 6096 h 559879"/>
                  <a:gd name="connsiteX2" fmla="*/ 8382 w 3573304"/>
                  <a:gd name="connsiteY2" fmla="*/ 12192 h 559879"/>
                  <a:gd name="connsiteX3" fmla="*/ 10477 w 3573304"/>
                  <a:gd name="connsiteY3" fmla="*/ 12192 h 559879"/>
                  <a:gd name="connsiteX4" fmla="*/ 10477 w 3573304"/>
                  <a:gd name="connsiteY4" fmla="*/ 18193 h 559879"/>
                  <a:gd name="connsiteX5" fmla="*/ 12668 w 3573304"/>
                  <a:gd name="connsiteY5" fmla="*/ 18193 h 559879"/>
                  <a:gd name="connsiteX6" fmla="*/ 12668 w 3573304"/>
                  <a:gd name="connsiteY6" fmla="*/ 24289 h 559879"/>
                  <a:gd name="connsiteX7" fmla="*/ 23145 w 3573304"/>
                  <a:gd name="connsiteY7" fmla="*/ 24289 h 559879"/>
                  <a:gd name="connsiteX8" fmla="*/ 23145 w 3573304"/>
                  <a:gd name="connsiteY8" fmla="*/ 30385 h 559879"/>
                  <a:gd name="connsiteX9" fmla="*/ 29432 w 3573304"/>
                  <a:gd name="connsiteY9" fmla="*/ 30385 h 559879"/>
                  <a:gd name="connsiteX10" fmla="*/ 29432 w 3573304"/>
                  <a:gd name="connsiteY10" fmla="*/ 36385 h 559879"/>
                  <a:gd name="connsiteX11" fmla="*/ 44196 w 3573304"/>
                  <a:gd name="connsiteY11" fmla="*/ 36385 h 559879"/>
                  <a:gd name="connsiteX12" fmla="*/ 44196 w 3573304"/>
                  <a:gd name="connsiteY12" fmla="*/ 42481 h 559879"/>
                  <a:gd name="connsiteX13" fmla="*/ 52578 w 3573304"/>
                  <a:gd name="connsiteY13" fmla="*/ 42481 h 559879"/>
                  <a:gd name="connsiteX14" fmla="*/ 52578 w 3573304"/>
                  <a:gd name="connsiteY14" fmla="*/ 48577 h 559879"/>
                  <a:gd name="connsiteX15" fmla="*/ 63151 w 3573304"/>
                  <a:gd name="connsiteY15" fmla="*/ 48577 h 559879"/>
                  <a:gd name="connsiteX16" fmla="*/ 63151 w 3573304"/>
                  <a:gd name="connsiteY16" fmla="*/ 54578 h 559879"/>
                  <a:gd name="connsiteX17" fmla="*/ 75724 w 3573304"/>
                  <a:gd name="connsiteY17" fmla="*/ 54578 h 559879"/>
                  <a:gd name="connsiteX18" fmla="*/ 75724 w 3573304"/>
                  <a:gd name="connsiteY18" fmla="*/ 60674 h 559879"/>
                  <a:gd name="connsiteX19" fmla="*/ 82010 w 3573304"/>
                  <a:gd name="connsiteY19" fmla="*/ 60674 h 559879"/>
                  <a:gd name="connsiteX20" fmla="*/ 82010 w 3573304"/>
                  <a:gd name="connsiteY20" fmla="*/ 72771 h 559879"/>
                  <a:gd name="connsiteX21" fmla="*/ 86201 w 3573304"/>
                  <a:gd name="connsiteY21" fmla="*/ 72771 h 559879"/>
                  <a:gd name="connsiteX22" fmla="*/ 86201 w 3573304"/>
                  <a:gd name="connsiteY22" fmla="*/ 78867 h 559879"/>
                  <a:gd name="connsiteX23" fmla="*/ 98869 w 3573304"/>
                  <a:gd name="connsiteY23" fmla="*/ 78867 h 559879"/>
                  <a:gd name="connsiteX24" fmla="*/ 98869 w 3573304"/>
                  <a:gd name="connsiteY24" fmla="*/ 84963 h 559879"/>
                  <a:gd name="connsiteX25" fmla="*/ 113538 w 3573304"/>
                  <a:gd name="connsiteY25" fmla="*/ 84963 h 559879"/>
                  <a:gd name="connsiteX26" fmla="*/ 113538 w 3573304"/>
                  <a:gd name="connsiteY26" fmla="*/ 90964 h 559879"/>
                  <a:gd name="connsiteX27" fmla="*/ 117824 w 3573304"/>
                  <a:gd name="connsiteY27" fmla="*/ 90964 h 559879"/>
                  <a:gd name="connsiteX28" fmla="*/ 117824 w 3573304"/>
                  <a:gd name="connsiteY28" fmla="*/ 97060 h 559879"/>
                  <a:gd name="connsiteX29" fmla="*/ 128301 w 3573304"/>
                  <a:gd name="connsiteY29" fmla="*/ 97060 h 559879"/>
                  <a:gd name="connsiteX30" fmla="*/ 128301 w 3573304"/>
                  <a:gd name="connsiteY30" fmla="*/ 103156 h 559879"/>
                  <a:gd name="connsiteX31" fmla="*/ 136684 w 3573304"/>
                  <a:gd name="connsiteY31" fmla="*/ 103156 h 559879"/>
                  <a:gd name="connsiteX32" fmla="*/ 136684 w 3573304"/>
                  <a:gd name="connsiteY32" fmla="*/ 109252 h 559879"/>
                  <a:gd name="connsiteX33" fmla="*/ 151447 w 3573304"/>
                  <a:gd name="connsiteY33" fmla="*/ 109252 h 559879"/>
                  <a:gd name="connsiteX34" fmla="*/ 151447 w 3573304"/>
                  <a:gd name="connsiteY34" fmla="*/ 115252 h 559879"/>
                  <a:gd name="connsiteX35" fmla="*/ 155638 w 3573304"/>
                  <a:gd name="connsiteY35" fmla="*/ 115252 h 559879"/>
                  <a:gd name="connsiteX36" fmla="*/ 155638 w 3573304"/>
                  <a:gd name="connsiteY36" fmla="*/ 121348 h 559879"/>
                  <a:gd name="connsiteX37" fmla="*/ 159829 w 3573304"/>
                  <a:gd name="connsiteY37" fmla="*/ 121348 h 559879"/>
                  <a:gd name="connsiteX38" fmla="*/ 159829 w 3573304"/>
                  <a:gd name="connsiteY38" fmla="*/ 127444 h 559879"/>
                  <a:gd name="connsiteX39" fmla="*/ 172498 w 3573304"/>
                  <a:gd name="connsiteY39" fmla="*/ 127444 h 559879"/>
                  <a:gd name="connsiteX40" fmla="*/ 172498 w 3573304"/>
                  <a:gd name="connsiteY40" fmla="*/ 133445 h 559879"/>
                  <a:gd name="connsiteX41" fmla="*/ 201930 w 3573304"/>
                  <a:gd name="connsiteY41" fmla="*/ 133445 h 559879"/>
                  <a:gd name="connsiteX42" fmla="*/ 201930 w 3573304"/>
                  <a:gd name="connsiteY42" fmla="*/ 139541 h 559879"/>
                  <a:gd name="connsiteX43" fmla="*/ 210312 w 3573304"/>
                  <a:gd name="connsiteY43" fmla="*/ 139541 h 559879"/>
                  <a:gd name="connsiteX44" fmla="*/ 210312 w 3573304"/>
                  <a:gd name="connsiteY44" fmla="*/ 145637 h 559879"/>
                  <a:gd name="connsiteX45" fmla="*/ 212407 w 3573304"/>
                  <a:gd name="connsiteY45" fmla="*/ 145637 h 559879"/>
                  <a:gd name="connsiteX46" fmla="*/ 212407 w 3573304"/>
                  <a:gd name="connsiteY46" fmla="*/ 151638 h 559879"/>
                  <a:gd name="connsiteX47" fmla="*/ 227171 w 3573304"/>
                  <a:gd name="connsiteY47" fmla="*/ 151638 h 559879"/>
                  <a:gd name="connsiteX48" fmla="*/ 227171 w 3573304"/>
                  <a:gd name="connsiteY48" fmla="*/ 163830 h 559879"/>
                  <a:gd name="connsiteX49" fmla="*/ 229267 w 3573304"/>
                  <a:gd name="connsiteY49" fmla="*/ 163830 h 559879"/>
                  <a:gd name="connsiteX50" fmla="*/ 229267 w 3573304"/>
                  <a:gd name="connsiteY50" fmla="*/ 169831 h 559879"/>
                  <a:gd name="connsiteX51" fmla="*/ 235553 w 3573304"/>
                  <a:gd name="connsiteY51" fmla="*/ 169831 h 559879"/>
                  <a:gd name="connsiteX52" fmla="*/ 235553 w 3573304"/>
                  <a:gd name="connsiteY52" fmla="*/ 175927 h 559879"/>
                  <a:gd name="connsiteX53" fmla="*/ 239744 w 3573304"/>
                  <a:gd name="connsiteY53" fmla="*/ 175927 h 559879"/>
                  <a:gd name="connsiteX54" fmla="*/ 239744 w 3573304"/>
                  <a:gd name="connsiteY54" fmla="*/ 182023 h 559879"/>
                  <a:gd name="connsiteX55" fmla="*/ 256603 w 3573304"/>
                  <a:gd name="connsiteY55" fmla="*/ 182023 h 559879"/>
                  <a:gd name="connsiteX56" fmla="*/ 256603 w 3573304"/>
                  <a:gd name="connsiteY56" fmla="*/ 194119 h 559879"/>
                  <a:gd name="connsiteX57" fmla="*/ 260794 w 3573304"/>
                  <a:gd name="connsiteY57" fmla="*/ 194119 h 559879"/>
                  <a:gd name="connsiteX58" fmla="*/ 260794 w 3573304"/>
                  <a:gd name="connsiteY58" fmla="*/ 200215 h 559879"/>
                  <a:gd name="connsiteX59" fmla="*/ 283940 w 3573304"/>
                  <a:gd name="connsiteY59" fmla="*/ 200215 h 559879"/>
                  <a:gd name="connsiteX60" fmla="*/ 283940 w 3573304"/>
                  <a:gd name="connsiteY60" fmla="*/ 206311 h 559879"/>
                  <a:gd name="connsiteX61" fmla="*/ 288131 w 3573304"/>
                  <a:gd name="connsiteY61" fmla="*/ 206311 h 559879"/>
                  <a:gd name="connsiteX62" fmla="*/ 288131 w 3573304"/>
                  <a:gd name="connsiteY62" fmla="*/ 212312 h 559879"/>
                  <a:gd name="connsiteX63" fmla="*/ 294418 w 3573304"/>
                  <a:gd name="connsiteY63" fmla="*/ 212312 h 559879"/>
                  <a:gd name="connsiteX64" fmla="*/ 294418 w 3573304"/>
                  <a:gd name="connsiteY64" fmla="*/ 224504 h 559879"/>
                  <a:gd name="connsiteX65" fmla="*/ 313372 w 3573304"/>
                  <a:gd name="connsiteY65" fmla="*/ 224504 h 559879"/>
                  <a:gd name="connsiteX66" fmla="*/ 313372 w 3573304"/>
                  <a:gd name="connsiteY66" fmla="*/ 230505 h 559879"/>
                  <a:gd name="connsiteX67" fmla="*/ 321754 w 3573304"/>
                  <a:gd name="connsiteY67" fmla="*/ 230505 h 559879"/>
                  <a:gd name="connsiteX68" fmla="*/ 321754 w 3573304"/>
                  <a:gd name="connsiteY68" fmla="*/ 236601 h 559879"/>
                  <a:gd name="connsiteX69" fmla="*/ 334423 w 3573304"/>
                  <a:gd name="connsiteY69" fmla="*/ 236601 h 559879"/>
                  <a:gd name="connsiteX70" fmla="*/ 334423 w 3573304"/>
                  <a:gd name="connsiteY70" fmla="*/ 242697 h 559879"/>
                  <a:gd name="connsiteX71" fmla="*/ 351282 w 3573304"/>
                  <a:gd name="connsiteY71" fmla="*/ 242697 h 559879"/>
                  <a:gd name="connsiteX72" fmla="*/ 351282 w 3573304"/>
                  <a:gd name="connsiteY72" fmla="*/ 248698 h 559879"/>
                  <a:gd name="connsiteX73" fmla="*/ 378619 w 3573304"/>
                  <a:gd name="connsiteY73" fmla="*/ 248698 h 559879"/>
                  <a:gd name="connsiteX74" fmla="*/ 378619 w 3573304"/>
                  <a:gd name="connsiteY74" fmla="*/ 254794 h 559879"/>
                  <a:gd name="connsiteX75" fmla="*/ 380714 w 3573304"/>
                  <a:gd name="connsiteY75" fmla="*/ 254794 h 559879"/>
                  <a:gd name="connsiteX76" fmla="*/ 380714 w 3573304"/>
                  <a:gd name="connsiteY76" fmla="*/ 260890 h 559879"/>
                  <a:gd name="connsiteX77" fmla="*/ 391191 w 3573304"/>
                  <a:gd name="connsiteY77" fmla="*/ 260890 h 559879"/>
                  <a:gd name="connsiteX78" fmla="*/ 391191 w 3573304"/>
                  <a:gd name="connsiteY78" fmla="*/ 266890 h 559879"/>
                  <a:gd name="connsiteX79" fmla="*/ 397478 w 3573304"/>
                  <a:gd name="connsiteY79" fmla="*/ 266890 h 559879"/>
                  <a:gd name="connsiteX80" fmla="*/ 397478 w 3573304"/>
                  <a:gd name="connsiteY80" fmla="*/ 279082 h 559879"/>
                  <a:gd name="connsiteX81" fmla="*/ 405955 w 3573304"/>
                  <a:gd name="connsiteY81" fmla="*/ 279082 h 559879"/>
                  <a:gd name="connsiteX82" fmla="*/ 405955 w 3573304"/>
                  <a:gd name="connsiteY82" fmla="*/ 285083 h 559879"/>
                  <a:gd name="connsiteX83" fmla="*/ 412242 w 3573304"/>
                  <a:gd name="connsiteY83" fmla="*/ 285083 h 559879"/>
                  <a:gd name="connsiteX84" fmla="*/ 412242 w 3573304"/>
                  <a:gd name="connsiteY84" fmla="*/ 297275 h 559879"/>
                  <a:gd name="connsiteX85" fmla="*/ 414337 w 3573304"/>
                  <a:gd name="connsiteY85" fmla="*/ 297275 h 559879"/>
                  <a:gd name="connsiteX86" fmla="*/ 414337 w 3573304"/>
                  <a:gd name="connsiteY86" fmla="*/ 303371 h 559879"/>
                  <a:gd name="connsiteX87" fmla="*/ 426910 w 3573304"/>
                  <a:gd name="connsiteY87" fmla="*/ 303371 h 559879"/>
                  <a:gd name="connsiteX88" fmla="*/ 426910 w 3573304"/>
                  <a:gd name="connsiteY88" fmla="*/ 309372 h 559879"/>
                  <a:gd name="connsiteX89" fmla="*/ 450056 w 3573304"/>
                  <a:gd name="connsiteY89" fmla="*/ 309372 h 559879"/>
                  <a:gd name="connsiteX90" fmla="*/ 450056 w 3573304"/>
                  <a:gd name="connsiteY90" fmla="*/ 315468 h 559879"/>
                  <a:gd name="connsiteX91" fmla="*/ 456438 w 3573304"/>
                  <a:gd name="connsiteY91" fmla="*/ 315468 h 559879"/>
                  <a:gd name="connsiteX92" fmla="*/ 456438 w 3573304"/>
                  <a:gd name="connsiteY92" fmla="*/ 321564 h 559879"/>
                  <a:gd name="connsiteX93" fmla="*/ 464820 w 3573304"/>
                  <a:gd name="connsiteY93" fmla="*/ 321564 h 559879"/>
                  <a:gd name="connsiteX94" fmla="*/ 464820 w 3573304"/>
                  <a:gd name="connsiteY94" fmla="*/ 327565 h 559879"/>
                  <a:gd name="connsiteX95" fmla="*/ 473202 w 3573304"/>
                  <a:gd name="connsiteY95" fmla="*/ 327565 h 559879"/>
                  <a:gd name="connsiteX96" fmla="*/ 473202 w 3573304"/>
                  <a:gd name="connsiteY96" fmla="*/ 333661 h 559879"/>
                  <a:gd name="connsiteX97" fmla="*/ 477393 w 3573304"/>
                  <a:gd name="connsiteY97" fmla="*/ 333661 h 559879"/>
                  <a:gd name="connsiteX98" fmla="*/ 477393 w 3573304"/>
                  <a:gd name="connsiteY98" fmla="*/ 339757 h 559879"/>
                  <a:gd name="connsiteX99" fmla="*/ 551021 w 3573304"/>
                  <a:gd name="connsiteY99" fmla="*/ 339757 h 559879"/>
                  <a:gd name="connsiteX100" fmla="*/ 551021 w 3573304"/>
                  <a:gd name="connsiteY100" fmla="*/ 345757 h 559879"/>
                  <a:gd name="connsiteX101" fmla="*/ 572071 w 3573304"/>
                  <a:gd name="connsiteY101" fmla="*/ 345757 h 559879"/>
                  <a:gd name="connsiteX102" fmla="*/ 572071 w 3573304"/>
                  <a:gd name="connsiteY102" fmla="*/ 351853 h 559879"/>
                  <a:gd name="connsiteX103" fmla="*/ 578358 w 3573304"/>
                  <a:gd name="connsiteY103" fmla="*/ 351853 h 559879"/>
                  <a:gd name="connsiteX104" fmla="*/ 578358 w 3573304"/>
                  <a:gd name="connsiteY104" fmla="*/ 357949 h 559879"/>
                  <a:gd name="connsiteX105" fmla="*/ 620458 w 3573304"/>
                  <a:gd name="connsiteY105" fmla="*/ 357949 h 559879"/>
                  <a:gd name="connsiteX106" fmla="*/ 620458 w 3573304"/>
                  <a:gd name="connsiteY106" fmla="*/ 363950 h 559879"/>
                  <a:gd name="connsiteX107" fmla="*/ 635127 w 3573304"/>
                  <a:gd name="connsiteY107" fmla="*/ 363950 h 559879"/>
                  <a:gd name="connsiteX108" fmla="*/ 635127 w 3573304"/>
                  <a:gd name="connsiteY108" fmla="*/ 370046 h 559879"/>
                  <a:gd name="connsiteX109" fmla="*/ 664654 w 3573304"/>
                  <a:gd name="connsiteY109" fmla="*/ 370046 h 559879"/>
                  <a:gd name="connsiteX110" fmla="*/ 664654 w 3573304"/>
                  <a:gd name="connsiteY110" fmla="*/ 376142 h 559879"/>
                  <a:gd name="connsiteX111" fmla="*/ 666750 w 3573304"/>
                  <a:gd name="connsiteY111" fmla="*/ 376142 h 559879"/>
                  <a:gd name="connsiteX112" fmla="*/ 666750 w 3573304"/>
                  <a:gd name="connsiteY112" fmla="*/ 382143 h 559879"/>
                  <a:gd name="connsiteX113" fmla="*/ 689800 w 3573304"/>
                  <a:gd name="connsiteY113" fmla="*/ 382143 h 559879"/>
                  <a:gd name="connsiteX114" fmla="*/ 689800 w 3573304"/>
                  <a:gd name="connsiteY114" fmla="*/ 388239 h 559879"/>
                  <a:gd name="connsiteX115" fmla="*/ 702469 w 3573304"/>
                  <a:gd name="connsiteY115" fmla="*/ 388239 h 559879"/>
                  <a:gd name="connsiteX116" fmla="*/ 702469 w 3573304"/>
                  <a:gd name="connsiteY116" fmla="*/ 394335 h 559879"/>
                  <a:gd name="connsiteX117" fmla="*/ 738187 w 3573304"/>
                  <a:gd name="connsiteY117" fmla="*/ 394335 h 559879"/>
                  <a:gd name="connsiteX118" fmla="*/ 738187 w 3573304"/>
                  <a:gd name="connsiteY118" fmla="*/ 400431 h 559879"/>
                  <a:gd name="connsiteX119" fmla="*/ 853916 w 3573304"/>
                  <a:gd name="connsiteY119" fmla="*/ 400431 h 559879"/>
                  <a:gd name="connsiteX120" fmla="*/ 853916 w 3573304"/>
                  <a:gd name="connsiteY120" fmla="*/ 406432 h 559879"/>
                  <a:gd name="connsiteX121" fmla="*/ 891730 w 3573304"/>
                  <a:gd name="connsiteY121" fmla="*/ 406432 h 559879"/>
                  <a:gd name="connsiteX122" fmla="*/ 891730 w 3573304"/>
                  <a:gd name="connsiteY122" fmla="*/ 412623 h 559879"/>
                  <a:gd name="connsiteX123" fmla="*/ 944308 w 3573304"/>
                  <a:gd name="connsiteY123" fmla="*/ 412623 h 559879"/>
                  <a:gd name="connsiteX124" fmla="*/ 944308 w 3573304"/>
                  <a:gd name="connsiteY124" fmla="*/ 418719 h 559879"/>
                  <a:gd name="connsiteX125" fmla="*/ 963263 w 3573304"/>
                  <a:gd name="connsiteY125" fmla="*/ 418719 h 559879"/>
                  <a:gd name="connsiteX126" fmla="*/ 963263 w 3573304"/>
                  <a:gd name="connsiteY126" fmla="*/ 424815 h 559879"/>
                  <a:gd name="connsiteX127" fmla="*/ 973741 w 3573304"/>
                  <a:gd name="connsiteY127" fmla="*/ 424815 h 559879"/>
                  <a:gd name="connsiteX128" fmla="*/ 973741 w 3573304"/>
                  <a:gd name="connsiteY128" fmla="*/ 431006 h 559879"/>
                  <a:gd name="connsiteX129" fmla="*/ 1007459 w 3573304"/>
                  <a:gd name="connsiteY129" fmla="*/ 431006 h 559879"/>
                  <a:gd name="connsiteX130" fmla="*/ 1007459 w 3573304"/>
                  <a:gd name="connsiteY130" fmla="*/ 437102 h 559879"/>
                  <a:gd name="connsiteX131" fmla="*/ 1013746 w 3573304"/>
                  <a:gd name="connsiteY131" fmla="*/ 437102 h 559879"/>
                  <a:gd name="connsiteX132" fmla="*/ 1013746 w 3573304"/>
                  <a:gd name="connsiteY132" fmla="*/ 443198 h 559879"/>
                  <a:gd name="connsiteX133" fmla="*/ 1028414 w 3573304"/>
                  <a:gd name="connsiteY133" fmla="*/ 443198 h 559879"/>
                  <a:gd name="connsiteX134" fmla="*/ 1028414 w 3573304"/>
                  <a:gd name="connsiteY134" fmla="*/ 449294 h 559879"/>
                  <a:gd name="connsiteX135" fmla="*/ 1041082 w 3573304"/>
                  <a:gd name="connsiteY135" fmla="*/ 449294 h 559879"/>
                  <a:gd name="connsiteX136" fmla="*/ 1041082 w 3573304"/>
                  <a:gd name="connsiteY136" fmla="*/ 455485 h 559879"/>
                  <a:gd name="connsiteX137" fmla="*/ 1066324 w 3573304"/>
                  <a:gd name="connsiteY137" fmla="*/ 455485 h 559879"/>
                  <a:gd name="connsiteX138" fmla="*/ 1066324 w 3573304"/>
                  <a:gd name="connsiteY138" fmla="*/ 461581 h 559879"/>
                  <a:gd name="connsiteX139" fmla="*/ 1295590 w 3573304"/>
                  <a:gd name="connsiteY139" fmla="*/ 461581 h 559879"/>
                  <a:gd name="connsiteX140" fmla="*/ 1295590 w 3573304"/>
                  <a:gd name="connsiteY140" fmla="*/ 467773 h 559879"/>
                  <a:gd name="connsiteX141" fmla="*/ 1409128 w 3573304"/>
                  <a:gd name="connsiteY141" fmla="*/ 467773 h 559879"/>
                  <a:gd name="connsiteX142" fmla="*/ 1409128 w 3573304"/>
                  <a:gd name="connsiteY142" fmla="*/ 473964 h 559879"/>
                  <a:gd name="connsiteX143" fmla="*/ 1678305 w 3573304"/>
                  <a:gd name="connsiteY143" fmla="*/ 473964 h 559879"/>
                  <a:gd name="connsiteX144" fmla="*/ 1678305 w 3573304"/>
                  <a:gd name="connsiteY144" fmla="*/ 480250 h 559879"/>
                  <a:gd name="connsiteX145" fmla="*/ 1751933 w 3573304"/>
                  <a:gd name="connsiteY145" fmla="*/ 480250 h 559879"/>
                  <a:gd name="connsiteX146" fmla="*/ 1751933 w 3573304"/>
                  <a:gd name="connsiteY146" fmla="*/ 486537 h 559879"/>
                  <a:gd name="connsiteX147" fmla="*/ 1831848 w 3573304"/>
                  <a:gd name="connsiteY147" fmla="*/ 486537 h 559879"/>
                  <a:gd name="connsiteX148" fmla="*/ 1831848 w 3573304"/>
                  <a:gd name="connsiteY148" fmla="*/ 492823 h 559879"/>
                  <a:gd name="connsiteX149" fmla="*/ 1993773 w 3573304"/>
                  <a:gd name="connsiteY149" fmla="*/ 492823 h 559879"/>
                  <a:gd name="connsiteX150" fmla="*/ 1993773 w 3573304"/>
                  <a:gd name="connsiteY150" fmla="*/ 499300 h 559879"/>
                  <a:gd name="connsiteX151" fmla="*/ 2010632 w 3573304"/>
                  <a:gd name="connsiteY151" fmla="*/ 499300 h 559879"/>
                  <a:gd name="connsiteX152" fmla="*/ 2010632 w 3573304"/>
                  <a:gd name="connsiteY152" fmla="*/ 505682 h 559879"/>
                  <a:gd name="connsiteX153" fmla="*/ 2128456 w 3573304"/>
                  <a:gd name="connsiteY153" fmla="*/ 505682 h 559879"/>
                  <a:gd name="connsiteX154" fmla="*/ 2128456 w 3573304"/>
                  <a:gd name="connsiteY154" fmla="*/ 512159 h 559879"/>
                  <a:gd name="connsiteX155" fmla="*/ 2220944 w 3573304"/>
                  <a:gd name="connsiteY155" fmla="*/ 512159 h 559879"/>
                  <a:gd name="connsiteX156" fmla="*/ 2220944 w 3573304"/>
                  <a:gd name="connsiteY156" fmla="*/ 518541 h 559879"/>
                  <a:gd name="connsiteX157" fmla="*/ 2239899 w 3573304"/>
                  <a:gd name="connsiteY157" fmla="*/ 518541 h 559879"/>
                  <a:gd name="connsiteX158" fmla="*/ 2239899 w 3573304"/>
                  <a:gd name="connsiteY158" fmla="*/ 525018 h 559879"/>
                  <a:gd name="connsiteX159" fmla="*/ 3093720 w 3573304"/>
                  <a:gd name="connsiteY159" fmla="*/ 525018 h 559879"/>
                  <a:gd name="connsiteX160" fmla="*/ 3093720 w 3573304"/>
                  <a:gd name="connsiteY160" fmla="*/ 559879 h 559879"/>
                  <a:gd name="connsiteX161" fmla="*/ 3573304 w 3573304"/>
                  <a:gd name="connsiteY161" fmla="*/ 559879 h 559879"/>
                  <a:gd name="connsiteX0" fmla="*/ 0 w 3573304"/>
                  <a:gd name="connsiteY0" fmla="*/ 0 h 559879"/>
                  <a:gd name="connsiteX1" fmla="*/ 8382 w 3573304"/>
                  <a:gd name="connsiteY1" fmla="*/ 12192 h 559879"/>
                  <a:gd name="connsiteX2" fmla="*/ 10477 w 3573304"/>
                  <a:gd name="connsiteY2" fmla="*/ 12192 h 559879"/>
                  <a:gd name="connsiteX3" fmla="*/ 10477 w 3573304"/>
                  <a:gd name="connsiteY3" fmla="*/ 18193 h 559879"/>
                  <a:gd name="connsiteX4" fmla="*/ 12668 w 3573304"/>
                  <a:gd name="connsiteY4" fmla="*/ 18193 h 559879"/>
                  <a:gd name="connsiteX5" fmla="*/ 12668 w 3573304"/>
                  <a:gd name="connsiteY5" fmla="*/ 24289 h 559879"/>
                  <a:gd name="connsiteX6" fmla="*/ 23145 w 3573304"/>
                  <a:gd name="connsiteY6" fmla="*/ 24289 h 559879"/>
                  <a:gd name="connsiteX7" fmla="*/ 23145 w 3573304"/>
                  <a:gd name="connsiteY7" fmla="*/ 30385 h 559879"/>
                  <a:gd name="connsiteX8" fmla="*/ 29432 w 3573304"/>
                  <a:gd name="connsiteY8" fmla="*/ 30385 h 559879"/>
                  <a:gd name="connsiteX9" fmla="*/ 29432 w 3573304"/>
                  <a:gd name="connsiteY9" fmla="*/ 36385 h 559879"/>
                  <a:gd name="connsiteX10" fmla="*/ 44196 w 3573304"/>
                  <a:gd name="connsiteY10" fmla="*/ 36385 h 559879"/>
                  <a:gd name="connsiteX11" fmla="*/ 44196 w 3573304"/>
                  <a:gd name="connsiteY11" fmla="*/ 42481 h 559879"/>
                  <a:gd name="connsiteX12" fmla="*/ 52578 w 3573304"/>
                  <a:gd name="connsiteY12" fmla="*/ 42481 h 559879"/>
                  <a:gd name="connsiteX13" fmla="*/ 52578 w 3573304"/>
                  <a:gd name="connsiteY13" fmla="*/ 48577 h 559879"/>
                  <a:gd name="connsiteX14" fmla="*/ 63151 w 3573304"/>
                  <a:gd name="connsiteY14" fmla="*/ 48577 h 559879"/>
                  <a:gd name="connsiteX15" fmla="*/ 63151 w 3573304"/>
                  <a:gd name="connsiteY15" fmla="*/ 54578 h 559879"/>
                  <a:gd name="connsiteX16" fmla="*/ 75724 w 3573304"/>
                  <a:gd name="connsiteY16" fmla="*/ 54578 h 559879"/>
                  <a:gd name="connsiteX17" fmla="*/ 75724 w 3573304"/>
                  <a:gd name="connsiteY17" fmla="*/ 60674 h 559879"/>
                  <a:gd name="connsiteX18" fmla="*/ 82010 w 3573304"/>
                  <a:gd name="connsiteY18" fmla="*/ 60674 h 559879"/>
                  <a:gd name="connsiteX19" fmla="*/ 82010 w 3573304"/>
                  <a:gd name="connsiteY19" fmla="*/ 72771 h 559879"/>
                  <a:gd name="connsiteX20" fmla="*/ 86201 w 3573304"/>
                  <a:gd name="connsiteY20" fmla="*/ 72771 h 559879"/>
                  <a:gd name="connsiteX21" fmla="*/ 86201 w 3573304"/>
                  <a:gd name="connsiteY21" fmla="*/ 78867 h 559879"/>
                  <a:gd name="connsiteX22" fmla="*/ 98869 w 3573304"/>
                  <a:gd name="connsiteY22" fmla="*/ 78867 h 559879"/>
                  <a:gd name="connsiteX23" fmla="*/ 98869 w 3573304"/>
                  <a:gd name="connsiteY23" fmla="*/ 84963 h 559879"/>
                  <a:gd name="connsiteX24" fmla="*/ 113538 w 3573304"/>
                  <a:gd name="connsiteY24" fmla="*/ 84963 h 559879"/>
                  <a:gd name="connsiteX25" fmla="*/ 113538 w 3573304"/>
                  <a:gd name="connsiteY25" fmla="*/ 90964 h 559879"/>
                  <a:gd name="connsiteX26" fmla="*/ 117824 w 3573304"/>
                  <a:gd name="connsiteY26" fmla="*/ 90964 h 559879"/>
                  <a:gd name="connsiteX27" fmla="*/ 117824 w 3573304"/>
                  <a:gd name="connsiteY27" fmla="*/ 97060 h 559879"/>
                  <a:gd name="connsiteX28" fmla="*/ 128301 w 3573304"/>
                  <a:gd name="connsiteY28" fmla="*/ 97060 h 559879"/>
                  <a:gd name="connsiteX29" fmla="*/ 128301 w 3573304"/>
                  <a:gd name="connsiteY29" fmla="*/ 103156 h 559879"/>
                  <a:gd name="connsiteX30" fmla="*/ 136684 w 3573304"/>
                  <a:gd name="connsiteY30" fmla="*/ 103156 h 559879"/>
                  <a:gd name="connsiteX31" fmla="*/ 136684 w 3573304"/>
                  <a:gd name="connsiteY31" fmla="*/ 109252 h 559879"/>
                  <a:gd name="connsiteX32" fmla="*/ 151447 w 3573304"/>
                  <a:gd name="connsiteY32" fmla="*/ 109252 h 559879"/>
                  <a:gd name="connsiteX33" fmla="*/ 151447 w 3573304"/>
                  <a:gd name="connsiteY33" fmla="*/ 115252 h 559879"/>
                  <a:gd name="connsiteX34" fmla="*/ 155638 w 3573304"/>
                  <a:gd name="connsiteY34" fmla="*/ 115252 h 559879"/>
                  <a:gd name="connsiteX35" fmla="*/ 155638 w 3573304"/>
                  <a:gd name="connsiteY35" fmla="*/ 121348 h 559879"/>
                  <a:gd name="connsiteX36" fmla="*/ 159829 w 3573304"/>
                  <a:gd name="connsiteY36" fmla="*/ 121348 h 559879"/>
                  <a:gd name="connsiteX37" fmla="*/ 159829 w 3573304"/>
                  <a:gd name="connsiteY37" fmla="*/ 127444 h 559879"/>
                  <a:gd name="connsiteX38" fmla="*/ 172498 w 3573304"/>
                  <a:gd name="connsiteY38" fmla="*/ 127444 h 559879"/>
                  <a:gd name="connsiteX39" fmla="*/ 172498 w 3573304"/>
                  <a:gd name="connsiteY39" fmla="*/ 133445 h 559879"/>
                  <a:gd name="connsiteX40" fmla="*/ 201930 w 3573304"/>
                  <a:gd name="connsiteY40" fmla="*/ 133445 h 559879"/>
                  <a:gd name="connsiteX41" fmla="*/ 201930 w 3573304"/>
                  <a:gd name="connsiteY41" fmla="*/ 139541 h 559879"/>
                  <a:gd name="connsiteX42" fmla="*/ 210312 w 3573304"/>
                  <a:gd name="connsiteY42" fmla="*/ 139541 h 559879"/>
                  <a:gd name="connsiteX43" fmla="*/ 210312 w 3573304"/>
                  <a:gd name="connsiteY43" fmla="*/ 145637 h 559879"/>
                  <a:gd name="connsiteX44" fmla="*/ 212407 w 3573304"/>
                  <a:gd name="connsiteY44" fmla="*/ 145637 h 559879"/>
                  <a:gd name="connsiteX45" fmla="*/ 212407 w 3573304"/>
                  <a:gd name="connsiteY45" fmla="*/ 151638 h 559879"/>
                  <a:gd name="connsiteX46" fmla="*/ 227171 w 3573304"/>
                  <a:gd name="connsiteY46" fmla="*/ 151638 h 559879"/>
                  <a:gd name="connsiteX47" fmla="*/ 227171 w 3573304"/>
                  <a:gd name="connsiteY47" fmla="*/ 163830 h 559879"/>
                  <a:gd name="connsiteX48" fmla="*/ 229267 w 3573304"/>
                  <a:gd name="connsiteY48" fmla="*/ 163830 h 559879"/>
                  <a:gd name="connsiteX49" fmla="*/ 229267 w 3573304"/>
                  <a:gd name="connsiteY49" fmla="*/ 169831 h 559879"/>
                  <a:gd name="connsiteX50" fmla="*/ 235553 w 3573304"/>
                  <a:gd name="connsiteY50" fmla="*/ 169831 h 559879"/>
                  <a:gd name="connsiteX51" fmla="*/ 235553 w 3573304"/>
                  <a:gd name="connsiteY51" fmla="*/ 175927 h 559879"/>
                  <a:gd name="connsiteX52" fmla="*/ 239744 w 3573304"/>
                  <a:gd name="connsiteY52" fmla="*/ 175927 h 559879"/>
                  <a:gd name="connsiteX53" fmla="*/ 239744 w 3573304"/>
                  <a:gd name="connsiteY53" fmla="*/ 182023 h 559879"/>
                  <a:gd name="connsiteX54" fmla="*/ 256603 w 3573304"/>
                  <a:gd name="connsiteY54" fmla="*/ 182023 h 559879"/>
                  <a:gd name="connsiteX55" fmla="*/ 256603 w 3573304"/>
                  <a:gd name="connsiteY55" fmla="*/ 194119 h 559879"/>
                  <a:gd name="connsiteX56" fmla="*/ 260794 w 3573304"/>
                  <a:gd name="connsiteY56" fmla="*/ 194119 h 559879"/>
                  <a:gd name="connsiteX57" fmla="*/ 260794 w 3573304"/>
                  <a:gd name="connsiteY57" fmla="*/ 200215 h 559879"/>
                  <a:gd name="connsiteX58" fmla="*/ 283940 w 3573304"/>
                  <a:gd name="connsiteY58" fmla="*/ 200215 h 559879"/>
                  <a:gd name="connsiteX59" fmla="*/ 283940 w 3573304"/>
                  <a:gd name="connsiteY59" fmla="*/ 206311 h 559879"/>
                  <a:gd name="connsiteX60" fmla="*/ 288131 w 3573304"/>
                  <a:gd name="connsiteY60" fmla="*/ 206311 h 559879"/>
                  <a:gd name="connsiteX61" fmla="*/ 288131 w 3573304"/>
                  <a:gd name="connsiteY61" fmla="*/ 212312 h 559879"/>
                  <a:gd name="connsiteX62" fmla="*/ 294418 w 3573304"/>
                  <a:gd name="connsiteY62" fmla="*/ 212312 h 559879"/>
                  <a:gd name="connsiteX63" fmla="*/ 294418 w 3573304"/>
                  <a:gd name="connsiteY63" fmla="*/ 224504 h 559879"/>
                  <a:gd name="connsiteX64" fmla="*/ 313372 w 3573304"/>
                  <a:gd name="connsiteY64" fmla="*/ 224504 h 559879"/>
                  <a:gd name="connsiteX65" fmla="*/ 313372 w 3573304"/>
                  <a:gd name="connsiteY65" fmla="*/ 230505 h 559879"/>
                  <a:gd name="connsiteX66" fmla="*/ 321754 w 3573304"/>
                  <a:gd name="connsiteY66" fmla="*/ 230505 h 559879"/>
                  <a:gd name="connsiteX67" fmla="*/ 321754 w 3573304"/>
                  <a:gd name="connsiteY67" fmla="*/ 236601 h 559879"/>
                  <a:gd name="connsiteX68" fmla="*/ 334423 w 3573304"/>
                  <a:gd name="connsiteY68" fmla="*/ 236601 h 559879"/>
                  <a:gd name="connsiteX69" fmla="*/ 334423 w 3573304"/>
                  <a:gd name="connsiteY69" fmla="*/ 242697 h 559879"/>
                  <a:gd name="connsiteX70" fmla="*/ 351282 w 3573304"/>
                  <a:gd name="connsiteY70" fmla="*/ 242697 h 559879"/>
                  <a:gd name="connsiteX71" fmla="*/ 351282 w 3573304"/>
                  <a:gd name="connsiteY71" fmla="*/ 248698 h 559879"/>
                  <a:gd name="connsiteX72" fmla="*/ 378619 w 3573304"/>
                  <a:gd name="connsiteY72" fmla="*/ 248698 h 559879"/>
                  <a:gd name="connsiteX73" fmla="*/ 378619 w 3573304"/>
                  <a:gd name="connsiteY73" fmla="*/ 254794 h 559879"/>
                  <a:gd name="connsiteX74" fmla="*/ 380714 w 3573304"/>
                  <a:gd name="connsiteY74" fmla="*/ 254794 h 559879"/>
                  <a:gd name="connsiteX75" fmla="*/ 380714 w 3573304"/>
                  <a:gd name="connsiteY75" fmla="*/ 260890 h 559879"/>
                  <a:gd name="connsiteX76" fmla="*/ 391191 w 3573304"/>
                  <a:gd name="connsiteY76" fmla="*/ 260890 h 559879"/>
                  <a:gd name="connsiteX77" fmla="*/ 391191 w 3573304"/>
                  <a:gd name="connsiteY77" fmla="*/ 266890 h 559879"/>
                  <a:gd name="connsiteX78" fmla="*/ 397478 w 3573304"/>
                  <a:gd name="connsiteY78" fmla="*/ 266890 h 559879"/>
                  <a:gd name="connsiteX79" fmla="*/ 397478 w 3573304"/>
                  <a:gd name="connsiteY79" fmla="*/ 279082 h 559879"/>
                  <a:gd name="connsiteX80" fmla="*/ 405955 w 3573304"/>
                  <a:gd name="connsiteY80" fmla="*/ 279082 h 559879"/>
                  <a:gd name="connsiteX81" fmla="*/ 405955 w 3573304"/>
                  <a:gd name="connsiteY81" fmla="*/ 285083 h 559879"/>
                  <a:gd name="connsiteX82" fmla="*/ 412242 w 3573304"/>
                  <a:gd name="connsiteY82" fmla="*/ 285083 h 559879"/>
                  <a:gd name="connsiteX83" fmla="*/ 412242 w 3573304"/>
                  <a:gd name="connsiteY83" fmla="*/ 297275 h 559879"/>
                  <a:gd name="connsiteX84" fmla="*/ 414337 w 3573304"/>
                  <a:gd name="connsiteY84" fmla="*/ 297275 h 559879"/>
                  <a:gd name="connsiteX85" fmla="*/ 414337 w 3573304"/>
                  <a:gd name="connsiteY85" fmla="*/ 303371 h 559879"/>
                  <a:gd name="connsiteX86" fmla="*/ 426910 w 3573304"/>
                  <a:gd name="connsiteY86" fmla="*/ 303371 h 559879"/>
                  <a:gd name="connsiteX87" fmla="*/ 426910 w 3573304"/>
                  <a:gd name="connsiteY87" fmla="*/ 309372 h 559879"/>
                  <a:gd name="connsiteX88" fmla="*/ 450056 w 3573304"/>
                  <a:gd name="connsiteY88" fmla="*/ 309372 h 559879"/>
                  <a:gd name="connsiteX89" fmla="*/ 450056 w 3573304"/>
                  <a:gd name="connsiteY89" fmla="*/ 315468 h 559879"/>
                  <a:gd name="connsiteX90" fmla="*/ 456438 w 3573304"/>
                  <a:gd name="connsiteY90" fmla="*/ 315468 h 559879"/>
                  <a:gd name="connsiteX91" fmla="*/ 456438 w 3573304"/>
                  <a:gd name="connsiteY91" fmla="*/ 321564 h 559879"/>
                  <a:gd name="connsiteX92" fmla="*/ 464820 w 3573304"/>
                  <a:gd name="connsiteY92" fmla="*/ 321564 h 559879"/>
                  <a:gd name="connsiteX93" fmla="*/ 464820 w 3573304"/>
                  <a:gd name="connsiteY93" fmla="*/ 327565 h 559879"/>
                  <a:gd name="connsiteX94" fmla="*/ 473202 w 3573304"/>
                  <a:gd name="connsiteY94" fmla="*/ 327565 h 559879"/>
                  <a:gd name="connsiteX95" fmla="*/ 473202 w 3573304"/>
                  <a:gd name="connsiteY95" fmla="*/ 333661 h 559879"/>
                  <a:gd name="connsiteX96" fmla="*/ 477393 w 3573304"/>
                  <a:gd name="connsiteY96" fmla="*/ 333661 h 559879"/>
                  <a:gd name="connsiteX97" fmla="*/ 477393 w 3573304"/>
                  <a:gd name="connsiteY97" fmla="*/ 339757 h 559879"/>
                  <a:gd name="connsiteX98" fmla="*/ 551021 w 3573304"/>
                  <a:gd name="connsiteY98" fmla="*/ 339757 h 559879"/>
                  <a:gd name="connsiteX99" fmla="*/ 551021 w 3573304"/>
                  <a:gd name="connsiteY99" fmla="*/ 345757 h 559879"/>
                  <a:gd name="connsiteX100" fmla="*/ 572071 w 3573304"/>
                  <a:gd name="connsiteY100" fmla="*/ 345757 h 559879"/>
                  <a:gd name="connsiteX101" fmla="*/ 572071 w 3573304"/>
                  <a:gd name="connsiteY101" fmla="*/ 351853 h 559879"/>
                  <a:gd name="connsiteX102" fmla="*/ 578358 w 3573304"/>
                  <a:gd name="connsiteY102" fmla="*/ 351853 h 559879"/>
                  <a:gd name="connsiteX103" fmla="*/ 578358 w 3573304"/>
                  <a:gd name="connsiteY103" fmla="*/ 357949 h 559879"/>
                  <a:gd name="connsiteX104" fmla="*/ 620458 w 3573304"/>
                  <a:gd name="connsiteY104" fmla="*/ 357949 h 559879"/>
                  <a:gd name="connsiteX105" fmla="*/ 620458 w 3573304"/>
                  <a:gd name="connsiteY105" fmla="*/ 363950 h 559879"/>
                  <a:gd name="connsiteX106" fmla="*/ 635127 w 3573304"/>
                  <a:gd name="connsiteY106" fmla="*/ 363950 h 559879"/>
                  <a:gd name="connsiteX107" fmla="*/ 635127 w 3573304"/>
                  <a:gd name="connsiteY107" fmla="*/ 370046 h 559879"/>
                  <a:gd name="connsiteX108" fmla="*/ 664654 w 3573304"/>
                  <a:gd name="connsiteY108" fmla="*/ 370046 h 559879"/>
                  <a:gd name="connsiteX109" fmla="*/ 664654 w 3573304"/>
                  <a:gd name="connsiteY109" fmla="*/ 376142 h 559879"/>
                  <a:gd name="connsiteX110" fmla="*/ 666750 w 3573304"/>
                  <a:gd name="connsiteY110" fmla="*/ 376142 h 559879"/>
                  <a:gd name="connsiteX111" fmla="*/ 666750 w 3573304"/>
                  <a:gd name="connsiteY111" fmla="*/ 382143 h 559879"/>
                  <a:gd name="connsiteX112" fmla="*/ 689800 w 3573304"/>
                  <a:gd name="connsiteY112" fmla="*/ 382143 h 559879"/>
                  <a:gd name="connsiteX113" fmla="*/ 689800 w 3573304"/>
                  <a:gd name="connsiteY113" fmla="*/ 388239 h 559879"/>
                  <a:gd name="connsiteX114" fmla="*/ 702469 w 3573304"/>
                  <a:gd name="connsiteY114" fmla="*/ 388239 h 559879"/>
                  <a:gd name="connsiteX115" fmla="*/ 702469 w 3573304"/>
                  <a:gd name="connsiteY115" fmla="*/ 394335 h 559879"/>
                  <a:gd name="connsiteX116" fmla="*/ 738187 w 3573304"/>
                  <a:gd name="connsiteY116" fmla="*/ 394335 h 559879"/>
                  <a:gd name="connsiteX117" fmla="*/ 738187 w 3573304"/>
                  <a:gd name="connsiteY117" fmla="*/ 400431 h 559879"/>
                  <a:gd name="connsiteX118" fmla="*/ 853916 w 3573304"/>
                  <a:gd name="connsiteY118" fmla="*/ 400431 h 559879"/>
                  <a:gd name="connsiteX119" fmla="*/ 853916 w 3573304"/>
                  <a:gd name="connsiteY119" fmla="*/ 406432 h 559879"/>
                  <a:gd name="connsiteX120" fmla="*/ 891730 w 3573304"/>
                  <a:gd name="connsiteY120" fmla="*/ 406432 h 559879"/>
                  <a:gd name="connsiteX121" fmla="*/ 891730 w 3573304"/>
                  <a:gd name="connsiteY121" fmla="*/ 412623 h 559879"/>
                  <a:gd name="connsiteX122" fmla="*/ 944308 w 3573304"/>
                  <a:gd name="connsiteY122" fmla="*/ 412623 h 559879"/>
                  <a:gd name="connsiteX123" fmla="*/ 944308 w 3573304"/>
                  <a:gd name="connsiteY123" fmla="*/ 418719 h 559879"/>
                  <a:gd name="connsiteX124" fmla="*/ 963263 w 3573304"/>
                  <a:gd name="connsiteY124" fmla="*/ 418719 h 559879"/>
                  <a:gd name="connsiteX125" fmla="*/ 963263 w 3573304"/>
                  <a:gd name="connsiteY125" fmla="*/ 424815 h 559879"/>
                  <a:gd name="connsiteX126" fmla="*/ 973741 w 3573304"/>
                  <a:gd name="connsiteY126" fmla="*/ 424815 h 559879"/>
                  <a:gd name="connsiteX127" fmla="*/ 973741 w 3573304"/>
                  <a:gd name="connsiteY127" fmla="*/ 431006 h 559879"/>
                  <a:gd name="connsiteX128" fmla="*/ 1007459 w 3573304"/>
                  <a:gd name="connsiteY128" fmla="*/ 431006 h 559879"/>
                  <a:gd name="connsiteX129" fmla="*/ 1007459 w 3573304"/>
                  <a:gd name="connsiteY129" fmla="*/ 437102 h 559879"/>
                  <a:gd name="connsiteX130" fmla="*/ 1013746 w 3573304"/>
                  <a:gd name="connsiteY130" fmla="*/ 437102 h 559879"/>
                  <a:gd name="connsiteX131" fmla="*/ 1013746 w 3573304"/>
                  <a:gd name="connsiteY131" fmla="*/ 443198 h 559879"/>
                  <a:gd name="connsiteX132" fmla="*/ 1028414 w 3573304"/>
                  <a:gd name="connsiteY132" fmla="*/ 443198 h 559879"/>
                  <a:gd name="connsiteX133" fmla="*/ 1028414 w 3573304"/>
                  <a:gd name="connsiteY133" fmla="*/ 449294 h 559879"/>
                  <a:gd name="connsiteX134" fmla="*/ 1041082 w 3573304"/>
                  <a:gd name="connsiteY134" fmla="*/ 449294 h 559879"/>
                  <a:gd name="connsiteX135" fmla="*/ 1041082 w 3573304"/>
                  <a:gd name="connsiteY135" fmla="*/ 455485 h 559879"/>
                  <a:gd name="connsiteX136" fmla="*/ 1066324 w 3573304"/>
                  <a:gd name="connsiteY136" fmla="*/ 455485 h 559879"/>
                  <a:gd name="connsiteX137" fmla="*/ 1066324 w 3573304"/>
                  <a:gd name="connsiteY137" fmla="*/ 461581 h 559879"/>
                  <a:gd name="connsiteX138" fmla="*/ 1295590 w 3573304"/>
                  <a:gd name="connsiteY138" fmla="*/ 461581 h 559879"/>
                  <a:gd name="connsiteX139" fmla="*/ 1295590 w 3573304"/>
                  <a:gd name="connsiteY139" fmla="*/ 467773 h 559879"/>
                  <a:gd name="connsiteX140" fmla="*/ 1409128 w 3573304"/>
                  <a:gd name="connsiteY140" fmla="*/ 467773 h 559879"/>
                  <a:gd name="connsiteX141" fmla="*/ 1409128 w 3573304"/>
                  <a:gd name="connsiteY141" fmla="*/ 473964 h 559879"/>
                  <a:gd name="connsiteX142" fmla="*/ 1678305 w 3573304"/>
                  <a:gd name="connsiteY142" fmla="*/ 473964 h 559879"/>
                  <a:gd name="connsiteX143" fmla="*/ 1678305 w 3573304"/>
                  <a:gd name="connsiteY143" fmla="*/ 480250 h 559879"/>
                  <a:gd name="connsiteX144" fmla="*/ 1751933 w 3573304"/>
                  <a:gd name="connsiteY144" fmla="*/ 480250 h 559879"/>
                  <a:gd name="connsiteX145" fmla="*/ 1751933 w 3573304"/>
                  <a:gd name="connsiteY145" fmla="*/ 486537 h 559879"/>
                  <a:gd name="connsiteX146" fmla="*/ 1831848 w 3573304"/>
                  <a:gd name="connsiteY146" fmla="*/ 486537 h 559879"/>
                  <a:gd name="connsiteX147" fmla="*/ 1831848 w 3573304"/>
                  <a:gd name="connsiteY147" fmla="*/ 492823 h 559879"/>
                  <a:gd name="connsiteX148" fmla="*/ 1993773 w 3573304"/>
                  <a:gd name="connsiteY148" fmla="*/ 492823 h 559879"/>
                  <a:gd name="connsiteX149" fmla="*/ 1993773 w 3573304"/>
                  <a:gd name="connsiteY149" fmla="*/ 499300 h 559879"/>
                  <a:gd name="connsiteX150" fmla="*/ 2010632 w 3573304"/>
                  <a:gd name="connsiteY150" fmla="*/ 499300 h 559879"/>
                  <a:gd name="connsiteX151" fmla="*/ 2010632 w 3573304"/>
                  <a:gd name="connsiteY151" fmla="*/ 505682 h 559879"/>
                  <a:gd name="connsiteX152" fmla="*/ 2128456 w 3573304"/>
                  <a:gd name="connsiteY152" fmla="*/ 505682 h 559879"/>
                  <a:gd name="connsiteX153" fmla="*/ 2128456 w 3573304"/>
                  <a:gd name="connsiteY153" fmla="*/ 512159 h 559879"/>
                  <a:gd name="connsiteX154" fmla="*/ 2220944 w 3573304"/>
                  <a:gd name="connsiteY154" fmla="*/ 512159 h 559879"/>
                  <a:gd name="connsiteX155" fmla="*/ 2220944 w 3573304"/>
                  <a:gd name="connsiteY155" fmla="*/ 518541 h 559879"/>
                  <a:gd name="connsiteX156" fmla="*/ 2239899 w 3573304"/>
                  <a:gd name="connsiteY156" fmla="*/ 518541 h 559879"/>
                  <a:gd name="connsiteX157" fmla="*/ 2239899 w 3573304"/>
                  <a:gd name="connsiteY157" fmla="*/ 525018 h 559879"/>
                  <a:gd name="connsiteX158" fmla="*/ 3093720 w 3573304"/>
                  <a:gd name="connsiteY158" fmla="*/ 525018 h 559879"/>
                  <a:gd name="connsiteX159" fmla="*/ 3093720 w 3573304"/>
                  <a:gd name="connsiteY159" fmla="*/ 559879 h 559879"/>
                  <a:gd name="connsiteX160" fmla="*/ 3573304 w 3573304"/>
                  <a:gd name="connsiteY160" fmla="*/ 559879 h 559879"/>
                  <a:gd name="connsiteX0" fmla="*/ 0 w 3564922"/>
                  <a:gd name="connsiteY0" fmla="*/ 0 h 547687"/>
                  <a:gd name="connsiteX1" fmla="*/ 2095 w 3564922"/>
                  <a:gd name="connsiteY1" fmla="*/ 0 h 547687"/>
                  <a:gd name="connsiteX2" fmla="*/ 2095 w 3564922"/>
                  <a:gd name="connsiteY2" fmla="*/ 6001 h 547687"/>
                  <a:gd name="connsiteX3" fmla="*/ 4286 w 3564922"/>
                  <a:gd name="connsiteY3" fmla="*/ 6001 h 547687"/>
                  <a:gd name="connsiteX4" fmla="*/ 4286 w 3564922"/>
                  <a:gd name="connsiteY4" fmla="*/ 12097 h 547687"/>
                  <a:gd name="connsiteX5" fmla="*/ 14763 w 3564922"/>
                  <a:gd name="connsiteY5" fmla="*/ 12097 h 547687"/>
                  <a:gd name="connsiteX6" fmla="*/ 14763 w 3564922"/>
                  <a:gd name="connsiteY6" fmla="*/ 18193 h 547687"/>
                  <a:gd name="connsiteX7" fmla="*/ 21050 w 3564922"/>
                  <a:gd name="connsiteY7" fmla="*/ 18193 h 547687"/>
                  <a:gd name="connsiteX8" fmla="*/ 21050 w 3564922"/>
                  <a:gd name="connsiteY8" fmla="*/ 24193 h 547687"/>
                  <a:gd name="connsiteX9" fmla="*/ 35814 w 3564922"/>
                  <a:gd name="connsiteY9" fmla="*/ 24193 h 547687"/>
                  <a:gd name="connsiteX10" fmla="*/ 35814 w 3564922"/>
                  <a:gd name="connsiteY10" fmla="*/ 30289 h 547687"/>
                  <a:gd name="connsiteX11" fmla="*/ 44196 w 3564922"/>
                  <a:gd name="connsiteY11" fmla="*/ 30289 h 547687"/>
                  <a:gd name="connsiteX12" fmla="*/ 44196 w 3564922"/>
                  <a:gd name="connsiteY12" fmla="*/ 36385 h 547687"/>
                  <a:gd name="connsiteX13" fmla="*/ 54769 w 3564922"/>
                  <a:gd name="connsiteY13" fmla="*/ 36385 h 547687"/>
                  <a:gd name="connsiteX14" fmla="*/ 54769 w 3564922"/>
                  <a:gd name="connsiteY14" fmla="*/ 42386 h 547687"/>
                  <a:gd name="connsiteX15" fmla="*/ 67342 w 3564922"/>
                  <a:gd name="connsiteY15" fmla="*/ 42386 h 547687"/>
                  <a:gd name="connsiteX16" fmla="*/ 67342 w 3564922"/>
                  <a:gd name="connsiteY16" fmla="*/ 48482 h 547687"/>
                  <a:gd name="connsiteX17" fmla="*/ 73628 w 3564922"/>
                  <a:gd name="connsiteY17" fmla="*/ 48482 h 547687"/>
                  <a:gd name="connsiteX18" fmla="*/ 73628 w 3564922"/>
                  <a:gd name="connsiteY18" fmla="*/ 60579 h 547687"/>
                  <a:gd name="connsiteX19" fmla="*/ 77819 w 3564922"/>
                  <a:gd name="connsiteY19" fmla="*/ 60579 h 547687"/>
                  <a:gd name="connsiteX20" fmla="*/ 77819 w 3564922"/>
                  <a:gd name="connsiteY20" fmla="*/ 66675 h 547687"/>
                  <a:gd name="connsiteX21" fmla="*/ 90487 w 3564922"/>
                  <a:gd name="connsiteY21" fmla="*/ 66675 h 547687"/>
                  <a:gd name="connsiteX22" fmla="*/ 90487 w 3564922"/>
                  <a:gd name="connsiteY22" fmla="*/ 72771 h 547687"/>
                  <a:gd name="connsiteX23" fmla="*/ 105156 w 3564922"/>
                  <a:gd name="connsiteY23" fmla="*/ 72771 h 547687"/>
                  <a:gd name="connsiteX24" fmla="*/ 105156 w 3564922"/>
                  <a:gd name="connsiteY24" fmla="*/ 78772 h 547687"/>
                  <a:gd name="connsiteX25" fmla="*/ 109442 w 3564922"/>
                  <a:gd name="connsiteY25" fmla="*/ 78772 h 547687"/>
                  <a:gd name="connsiteX26" fmla="*/ 109442 w 3564922"/>
                  <a:gd name="connsiteY26" fmla="*/ 84868 h 547687"/>
                  <a:gd name="connsiteX27" fmla="*/ 119919 w 3564922"/>
                  <a:gd name="connsiteY27" fmla="*/ 84868 h 547687"/>
                  <a:gd name="connsiteX28" fmla="*/ 119919 w 3564922"/>
                  <a:gd name="connsiteY28" fmla="*/ 90964 h 547687"/>
                  <a:gd name="connsiteX29" fmla="*/ 128302 w 3564922"/>
                  <a:gd name="connsiteY29" fmla="*/ 90964 h 547687"/>
                  <a:gd name="connsiteX30" fmla="*/ 128302 w 3564922"/>
                  <a:gd name="connsiteY30" fmla="*/ 97060 h 547687"/>
                  <a:gd name="connsiteX31" fmla="*/ 143065 w 3564922"/>
                  <a:gd name="connsiteY31" fmla="*/ 97060 h 547687"/>
                  <a:gd name="connsiteX32" fmla="*/ 143065 w 3564922"/>
                  <a:gd name="connsiteY32" fmla="*/ 103060 h 547687"/>
                  <a:gd name="connsiteX33" fmla="*/ 147256 w 3564922"/>
                  <a:gd name="connsiteY33" fmla="*/ 103060 h 547687"/>
                  <a:gd name="connsiteX34" fmla="*/ 147256 w 3564922"/>
                  <a:gd name="connsiteY34" fmla="*/ 109156 h 547687"/>
                  <a:gd name="connsiteX35" fmla="*/ 151447 w 3564922"/>
                  <a:gd name="connsiteY35" fmla="*/ 109156 h 547687"/>
                  <a:gd name="connsiteX36" fmla="*/ 151447 w 3564922"/>
                  <a:gd name="connsiteY36" fmla="*/ 115252 h 547687"/>
                  <a:gd name="connsiteX37" fmla="*/ 164116 w 3564922"/>
                  <a:gd name="connsiteY37" fmla="*/ 115252 h 547687"/>
                  <a:gd name="connsiteX38" fmla="*/ 164116 w 3564922"/>
                  <a:gd name="connsiteY38" fmla="*/ 121253 h 547687"/>
                  <a:gd name="connsiteX39" fmla="*/ 193548 w 3564922"/>
                  <a:gd name="connsiteY39" fmla="*/ 121253 h 547687"/>
                  <a:gd name="connsiteX40" fmla="*/ 193548 w 3564922"/>
                  <a:gd name="connsiteY40" fmla="*/ 127349 h 547687"/>
                  <a:gd name="connsiteX41" fmla="*/ 201930 w 3564922"/>
                  <a:gd name="connsiteY41" fmla="*/ 127349 h 547687"/>
                  <a:gd name="connsiteX42" fmla="*/ 201930 w 3564922"/>
                  <a:gd name="connsiteY42" fmla="*/ 133445 h 547687"/>
                  <a:gd name="connsiteX43" fmla="*/ 204025 w 3564922"/>
                  <a:gd name="connsiteY43" fmla="*/ 133445 h 547687"/>
                  <a:gd name="connsiteX44" fmla="*/ 204025 w 3564922"/>
                  <a:gd name="connsiteY44" fmla="*/ 139446 h 547687"/>
                  <a:gd name="connsiteX45" fmla="*/ 218789 w 3564922"/>
                  <a:gd name="connsiteY45" fmla="*/ 139446 h 547687"/>
                  <a:gd name="connsiteX46" fmla="*/ 218789 w 3564922"/>
                  <a:gd name="connsiteY46" fmla="*/ 151638 h 547687"/>
                  <a:gd name="connsiteX47" fmla="*/ 220885 w 3564922"/>
                  <a:gd name="connsiteY47" fmla="*/ 151638 h 547687"/>
                  <a:gd name="connsiteX48" fmla="*/ 220885 w 3564922"/>
                  <a:gd name="connsiteY48" fmla="*/ 157639 h 547687"/>
                  <a:gd name="connsiteX49" fmla="*/ 227171 w 3564922"/>
                  <a:gd name="connsiteY49" fmla="*/ 157639 h 547687"/>
                  <a:gd name="connsiteX50" fmla="*/ 227171 w 3564922"/>
                  <a:gd name="connsiteY50" fmla="*/ 163735 h 547687"/>
                  <a:gd name="connsiteX51" fmla="*/ 231362 w 3564922"/>
                  <a:gd name="connsiteY51" fmla="*/ 163735 h 547687"/>
                  <a:gd name="connsiteX52" fmla="*/ 231362 w 3564922"/>
                  <a:gd name="connsiteY52" fmla="*/ 169831 h 547687"/>
                  <a:gd name="connsiteX53" fmla="*/ 248221 w 3564922"/>
                  <a:gd name="connsiteY53" fmla="*/ 169831 h 547687"/>
                  <a:gd name="connsiteX54" fmla="*/ 248221 w 3564922"/>
                  <a:gd name="connsiteY54" fmla="*/ 181927 h 547687"/>
                  <a:gd name="connsiteX55" fmla="*/ 252412 w 3564922"/>
                  <a:gd name="connsiteY55" fmla="*/ 181927 h 547687"/>
                  <a:gd name="connsiteX56" fmla="*/ 252412 w 3564922"/>
                  <a:gd name="connsiteY56" fmla="*/ 188023 h 547687"/>
                  <a:gd name="connsiteX57" fmla="*/ 275558 w 3564922"/>
                  <a:gd name="connsiteY57" fmla="*/ 188023 h 547687"/>
                  <a:gd name="connsiteX58" fmla="*/ 275558 w 3564922"/>
                  <a:gd name="connsiteY58" fmla="*/ 194119 h 547687"/>
                  <a:gd name="connsiteX59" fmla="*/ 279749 w 3564922"/>
                  <a:gd name="connsiteY59" fmla="*/ 194119 h 547687"/>
                  <a:gd name="connsiteX60" fmla="*/ 279749 w 3564922"/>
                  <a:gd name="connsiteY60" fmla="*/ 200120 h 547687"/>
                  <a:gd name="connsiteX61" fmla="*/ 286036 w 3564922"/>
                  <a:gd name="connsiteY61" fmla="*/ 200120 h 547687"/>
                  <a:gd name="connsiteX62" fmla="*/ 286036 w 3564922"/>
                  <a:gd name="connsiteY62" fmla="*/ 212312 h 547687"/>
                  <a:gd name="connsiteX63" fmla="*/ 304990 w 3564922"/>
                  <a:gd name="connsiteY63" fmla="*/ 212312 h 547687"/>
                  <a:gd name="connsiteX64" fmla="*/ 304990 w 3564922"/>
                  <a:gd name="connsiteY64" fmla="*/ 218313 h 547687"/>
                  <a:gd name="connsiteX65" fmla="*/ 313372 w 3564922"/>
                  <a:gd name="connsiteY65" fmla="*/ 218313 h 547687"/>
                  <a:gd name="connsiteX66" fmla="*/ 313372 w 3564922"/>
                  <a:gd name="connsiteY66" fmla="*/ 224409 h 547687"/>
                  <a:gd name="connsiteX67" fmla="*/ 326041 w 3564922"/>
                  <a:gd name="connsiteY67" fmla="*/ 224409 h 547687"/>
                  <a:gd name="connsiteX68" fmla="*/ 326041 w 3564922"/>
                  <a:gd name="connsiteY68" fmla="*/ 230505 h 547687"/>
                  <a:gd name="connsiteX69" fmla="*/ 342900 w 3564922"/>
                  <a:gd name="connsiteY69" fmla="*/ 230505 h 547687"/>
                  <a:gd name="connsiteX70" fmla="*/ 342900 w 3564922"/>
                  <a:gd name="connsiteY70" fmla="*/ 236506 h 547687"/>
                  <a:gd name="connsiteX71" fmla="*/ 370237 w 3564922"/>
                  <a:gd name="connsiteY71" fmla="*/ 236506 h 547687"/>
                  <a:gd name="connsiteX72" fmla="*/ 370237 w 3564922"/>
                  <a:gd name="connsiteY72" fmla="*/ 242602 h 547687"/>
                  <a:gd name="connsiteX73" fmla="*/ 372332 w 3564922"/>
                  <a:gd name="connsiteY73" fmla="*/ 242602 h 547687"/>
                  <a:gd name="connsiteX74" fmla="*/ 372332 w 3564922"/>
                  <a:gd name="connsiteY74" fmla="*/ 248698 h 547687"/>
                  <a:gd name="connsiteX75" fmla="*/ 382809 w 3564922"/>
                  <a:gd name="connsiteY75" fmla="*/ 248698 h 547687"/>
                  <a:gd name="connsiteX76" fmla="*/ 382809 w 3564922"/>
                  <a:gd name="connsiteY76" fmla="*/ 254698 h 547687"/>
                  <a:gd name="connsiteX77" fmla="*/ 389096 w 3564922"/>
                  <a:gd name="connsiteY77" fmla="*/ 254698 h 547687"/>
                  <a:gd name="connsiteX78" fmla="*/ 389096 w 3564922"/>
                  <a:gd name="connsiteY78" fmla="*/ 266890 h 547687"/>
                  <a:gd name="connsiteX79" fmla="*/ 397573 w 3564922"/>
                  <a:gd name="connsiteY79" fmla="*/ 266890 h 547687"/>
                  <a:gd name="connsiteX80" fmla="*/ 397573 w 3564922"/>
                  <a:gd name="connsiteY80" fmla="*/ 272891 h 547687"/>
                  <a:gd name="connsiteX81" fmla="*/ 403860 w 3564922"/>
                  <a:gd name="connsiteY81" fmla="*/ 272891 h 547687"/>
                  <a:gd name="connsiteX82" fmla="*/ 403860 w 3564922"/>
                  <a:gd name="connsiteY82" fmla="*/ 285083 h 547687"/>
                  <a:gd name="connsiteX83" fmla="*/ 405955 w 3564922"/>
                  <a:gd name="connsiteY83" fmla="*/ 285083 h 547687"/>
                  <a:gd name="connsiteX84" fmla="*/ 405955 w 3564922"/>
                  <a:gd name="connsiteY84" fmla="*/ 291179 h 547687"/>
                  <a:gd name="connsiteX85" fmla="*/ 418528 w 3564922"/>
                  <a:gd name="connsiteY85" fmla="*/ 291179 h 547687"/>
                  <a:gd name="connsiteX86" fmla="*/ 418528 w 3564922"/>
                  <a:gd name="connsiteY86" fmla="*/ 297180 h 547687"/>
                  <a:gd name="connsiteX87" fmla="*/ 441674 w 3564922"/>
                  <a:gd name="connsiteY87" fmla="*/ 297180 h 547687"/>
                  <a:gd name="connsiteX88" fmla="*/ 441674 w 3564922"/>
                  <a:gd name="connsiteY88" fmla="*/ 303276 h 547687"/>
                  <a:gd name="connsiteX89" fmla="*/ 448056 w 3564922"/>
                  <a:gd name="connsiteY89" fmla="*/ 303276 h 547687"/>
                  <a:gd name="connsiteX90" fmla="*/ 448056 w 3564922"/>
                  <a:gd name="connsiteY90" fmla="*/ 309372 h 547687"/>
                  <a:gd name="connsiteX91" fmla="*/ 456438 w 3564922"/>
                  <a:gd name="connsiteY91" fmla="*/ 309372 h 547687"/>
                  <a:gd name="connsiteX92" fmla="*/ 456438 w 3564922"/>
                  <a:gd name="connsiteY92" fmla="*/ 315373 h 547687"/>
                  <a:gd name="connsiteX93" fmla="*/ 464820 w 3564922"/>
                  <a:gd name="connsiteY93" fmla="*/ 315373 h 547687"/>
                  <a:gd name="connsiteX94" fmla="*/ 464820 w 3564922"/>
                  <a:gd name="connsiteY94" fmla="*/ 321469 h 547687"/>
                  <a:gd name="connsiteX95" fmla="*/ 469011 w 3564922"/>
                  <a:gd name="connsiteY95" fmla="*/ 321469 h 547687"/>
                  <a:gd name="connsiteX96" fmla="*/ 469011 w 3564922"/>
                  <a:gd name="connsiteY96" fmla="*/ 327565 h 547687"/>
                  <a:gd name="connsiteX97" fmla="*/ 542639 w 3564922"/>
                  <a:gd name="connsiteY97" fmla="*/ 327565 h 547687"/>
                  <a:gd name="connsiteX98" fmla="*/ 542639 w 3564922"/>
                  <a:gd name="connsiteY98" fmla="*/ 333565 h 547687"/>
                  <a:gd name="connsiteX99" fmla="*/ 563689 w 3564922"/>
                  <a:gd name="connsiteY99" fmla="*/ 333565 h 547687"/>
                  <a:gd name="connsiteX100" fmla="*/ 563689 w 3564922"/>
                  <a:gd name="connsiteY100" fmla="*/ 339661 h 547687"/>
                  <a:gd name="connsiteX101" fmla="*/ 569976 w 3564922"/>
                  <a:gd name="connsiteY101" fmla="*/ 339661 h 547687"/>
                  <a:gd name="connsiteX102" fmla="*/ 569976 w 3564922"/>
                  <a:gd name="connsiteY102" fmla="*/ 345757 h 547687"/>
                  <a:gd name="connsiteX103" fmla="*/ 612076 w 3564922"/>
                  <a:gd name="connsiteY103" fmla="*/ 345757 h 547687"/>
                  <a:gd name="connsiteX104" fmla="*/ 612076 w 3564922"/>
                  <a:gd name="connsiteY104" fmla="*/ 351758 h 547687"/>
                  <a:gd name="connsiteX105" fmla="*/ 626745 w 3564922"/>
                  <a:gd name="connsiteY105" fmla="*/ 351758 h 547687"/>
                  <a:gd name="connsiteX106" fmla="*/ 626745 w 3564922"/>
                  <a:gd name="connsiteY106" fmla="*/ 357854 h 547687"/>
                  <a:gd name="connsiteX107" fmla="*/ 656272 w 3564922"/>
                  <a:gd name="connsiteY107" fmla="*/ 357854 h 547687"/>
                  <a:gd name="connsiteX108" fmla="*/ 656272 w 3564922"/>
                  <a:gd name="connsiteY108" fmla="*/ 363950 h 547687"/>
                  <a:gd name="connsiteX109" fmla="*/ 658368 w 3564922"/>
                  <a:gd name="connsiteY109" fmla="*/ 363950 h 547687"/>
                  <a:gd name="connsiteX110" fmla="*/ 658368 w 3564922"/>
                  <a:gd name="connsiteY110" fmla="*/ 369951 h 547687"/>
                  <a:gd name="connsiteX111" fmla="*/ 681418 w 3564922"/>
                  <a:gd name="connsiteY111" fmla="*/ 369951 h 547687"/>
                  <a:gd name="connsiteX112" fmla="*/ 681418 w 3564922"/>
                  <a:gd name="connsiteY112" fmla="*/ 376047 h 547687"/>
                  <a:gd name="connsiteX113" fmla="*/ 694087 w 3564922"/>
                  <a:gd name="connsiteY113" fmla="*/ 376047 h 547687"/>
                  <a:gd name="connsiteX114" fmla="*/ 694087 w 3564922"/>
                  <a:gd name="connsiteY114" fmla="*/ 382143 h 547687"/>
                  <a:gd name="connsiteX115" fmla="*/ 729805 w 3564922"/>
                  <a:gd name="connsiteY115" fmla="*/ 382143 h 547687"/>
                  <a:gd name="connsiteX116" fmla="*/ 729805 w 3564922"/>
                  <a:gd name="connsiteY116" fmla="*/ 388239 h 547687"/>
                  <a:gd name="connsiteX117" fmla="*/ 845534 w 3564922"/>
                  <a:gd name="connsiteY117" fmla="*/ 388239 h 547687"/>
                  <a:gd name="connsiteX118" fmla="*/ 845534 w 3564922"/>
                  <a:gd name="connsiteY118" fmla="*/ 394240 h 547687"/>
                  <a:gd name="connsiteX119" fmla="*/ 883348 w 3564922"/>
                  <a:gd name="connsiteY119" fmla="*/ 394240 h 547687"/>
                  <a:gd name="connsiteX120" fmla="*/ 883348 w 3564922"/>
                  <a:gd name="connsiteY120" fmla="*/ 400431 h 547687"/>
                  <a:gd name="connsiteX121" fmla="*/ 935926 w 3564922"/>
                  <a:gd name="connsiteY121" fmla="*/ 400431 h 547687"/>
                  <a:gd name="connsiteX122" fmla="*/ 935926 w 3564922"/>
                  <a:gd name="connsiteY122" fmla="*/ 406527 h 547687"/>
                  <a:gd name="connsiteX123" fmla="*/ 954881 w 3564922"/>
                  <a:gd name="connsiteY123" fmla="*/ 406527 h 547687"/>
                  <a:gd name="connsiteX124" fmla="*/ 954881 w 3564922"/>
                  <a:gd name="connsiteY124" fmla="*/ 412623 h 547687"/>
                  <a:gd name="connsiteX125" fmla="*/ 965359 w 3564922"/>
                  <a:gd name="connsiteY125" fmla="*/ 412623 h 547687"/>
                  <a:gd name="connsiteX126" fmla="*/ 965359 w 3564922"/>
                  <a:gd name="connsiteY126" fmla="*/ 418814 h 547687"/>
                  <a:gd name="connsiteX127" fmla="*/ 999077 w 3564922"/>
                  <a:gd name="connsiteY127" fmla="*/ 418814 h 547687"/>
                  <a:gd name="connsiteX128" fmla="*/ 999077 w 3564922"/>
                  <a:gd name="connsiteY128" fmla="*/ 424910 h 547687"/>
                  <a:gd name="connsiteX129" fmla="*/ 1005364 w 3564922"/>
                  <a:gd name="connsiteY129" fmla="*/ 424910 h 547687"/>
                  <a:gd name="connsiteX130" fmla="*/ 1005364 w 3564922"/>
                  <a:gd name="connsiteY130" fmla="*/ 431006 h 547687"/>
                  <a:gd name="connsiteX131" fmla="*/ 1020032 w 3564922"/>
                  <a:gd name="connsiteY131" fmla="*/ 431006 h 547687"/>
                  <a:gd name="connsiteX132" fmla="*/ 1020032 w 3564922"/>
                  <a:gd name="connsiteY132" fmla="*/ 437102 h 547687"/>
                  <a:gd name="connsiteX133" fmla="*/ 1032700 w 3564922"/>
                  <a:gd name="connsiteY133" fmla="*/ 437102 h 547687"/>
                  <a:gd name="connsiteX134" fmla="*/ 1032700 w 3564922"/>
                  <a:gd name="connsiteY134" fmla="*/ 443293 h 547687"/>
                  <a:gd name="connsiteX135" fmla="*/ 1057942 w 3564922"/>
                  <a:gd name="connsiteY135" fmla="*/ 443293 h 547687"/>
                  <a:gd name="connsiteX136" fmla="*/ 1057942 w 3564922"/>
                  <a:gd name="connsiteY136" fmla="*/ 449389 h 547687"/>
                  <a:gd name="connsiteX137" fmla="*/ 1287208 w 3564922"/>
                  <a:gd name="connsiteY137" fmla="*/ 449389 h 547687"/>
                  <a:gd name="connsiteX138" fmla="*/ 1287208 w 3564922"/>
                  <a:gd name="connsiteY138" fmla="*/ 455581 h 547687"/>
                  <a:gd name="connsiteX139" fmla="*/ 1400746 w 3564922"/>
                  <a:gd name="connsiteY139" fmla="*/ 455581 h 547687"/>
                  <a:gd name="connsiteX140" fmla="*/ 1400746 w 3564922"/>
                  <a:gd name="connsiteY140" fmla="*/ 461772 h 547687"/>
                  <a:gd name="connsiteX141" fmla="*/ 1669923 w 3564922"/>
                  <a:gd name="connsiteY141" fmla="*/ 461772 h 547687"/>
                  <a:gd name="connsiteX142" fmla="*/ 1669923 w 3564922"/>
                  <a:gd name="connsiteY142" fmla="*/ 468058 h 547687"/>
                  <a:gd name="connsiteX143" fmla="*/ 1743551 w 3564922"/>
                  <a:gd name="connsiteY143" fmla="*/ 468058 h 547687"/>
                  <a:gd name="connsiteX144" fmla="*/ 1743551 w 3564922"/>
                  <a:gd name="connsiteY144" fmla="*/ 474345 h 547687"/>
                  <a:gd name="connsiteX145" fmla="*/ 1823466 w 3564922"/>
                  <a:gd name="connsiteY145" fmla="*/ 474345 h 547687"/>
                  <a:gd name="connsiteX146" fmla="*/ 1823466 w 3564922"/>
                  <a:gd name="connsiteY146" fmla="*/ 480631 h 547687"/>
                  <a:gd name="connsiteX147" fmla="*/ 1985391 w 3564922"/>
                  <a:gd name="connsiteY147" fmla="*/ 480631 h 547687"/>
                  <a:gd name="connsiteX148" fmla="*/ 1985391 w 3564922"/>
                  <a:gd name="connsiteY148" fmla="*/ 487108 h 547687"/>
                  <a:gd name="connsiteX149" fmla="*/ 2002250 w 3564922"/>
                  <a:gd name="connsiteY149" fmla="*/ 487108 h 547687"/>
                  <a:gd name="connsiteX150" fmla="*/ 2002250 w 3564922"/>
                  <a:gd name="connsiteY150" fmla="*/ 493490 h 547687"/>
                  <a:gd name="connsiteX151" fmla="*/ 2120074 w 3564922"/>
                  <a:gd name="connsiteY151" fmla="*/ 493490 h 547687"/>
                  <a:gd name="connsiteX152" fmla="*/ 2120074 w 3564922"/>
                  <a:gd name="connsiteY152" fmla="*/ 499967 h 547687"/>
                  <a:gd name="connsiteX153" fmla="*/ 2212562 w 3564922"/>
                  <a:gd name="connsiteY153" fmla="*/ 499967 h 547687"/>
                  <a:gd name="connsiteX154" fmla="*/ 2212562 w 3564922"/>
                  <a:gd name="connsiteY154" fmla="*/ 506349 h 547687"/>
                  <a:gd name="connsiteX155" fmla="*/ 2231517 w 3564922"/>
                  <a:gd name="connsiteY155" fmla="*/ 506349 h 547687"/>
                  <a:gd name="connsiteX156" fmla="*/ 2231517 w 3564922"/>
                  <a:gd name="connsiteY156" fmla="*/ 512826 h 547687"/>
                  <a:gd name="connsiteX157" fmla="*/ 3085338 w 3564922"/>
                  <a:gd name="connsiteY157" fmla="*/ 512826 h 547687"/>
                  <a:gd name="connsiteX158" fmla="*/ 3085338 w 3564922"/>
                  <a:gd name="connsiteY158" fmla="*/ 547687 h 547687"/>
                  <a:gd name="connsiteX159" fmla="*/ 3564922 w 3564922"/>
                  <a:gd name="connsiteY159" fmla="*/ 547687 h 547687"/>
                  <a:gd name="connsiteX0" fmla="*/ 0 w 3564922"/>
                  <a:gd name="connsiteY0" fmla="*/ 0 h 547687"/>
                  <a:gd name="connsiteX1" fmla="*/ 2095 w 3564922"/>
                  <a:gd name="connsiteY1" fmla="*/ 0 h 547687"/>
                  <a:gd name="connsiteX2" fmla="*/ 2095 w 3564922"/>
                  <a:gd name="connsiteY2" fmla="*/ 6001 h 547687"/>
                  <a:gd name="connsiteX3" fmla="*/ 4286 w 3564922"/>
                  <a:gd name="connsiteY3" fmla="*/ 12097 h 547687"/>
                  <a:gd name="connsiteX4" fmla="*/ 14763 w 3564922"/>
                  <a:gd name="connsiteY4" fmla="*/ 12097 h 547687"/>
                  <a:gd name="connsiteX5" fmla="*/ 14763 w 3564922"/>
                  <a:gd name="connsiteY5" fmla="*/ 18193 h 547687"/>
                  <a:gd name="connsiteX6" fmla="*/ 21050 w 3564922"/>
                  <a:gd name="connsiteY6" fmla="*/ 18193 h 547687"/>
                  <a:gd name="connsiteX7" fmla="*/ 21050 w 3564922"/>
                  <a:gd name="connsiteY7" fmla="*/ 24193 h 547687"/>
                  <a:gd name="connsiteX8" fmla="*/ 35814 w 3564922"/>
                  <a:gd name="connsiteY8" fmla="*/ 24193 h 547687"/>
                  <a:gd name="connsiteX9" fmla="*/ 35814 w 3564922"/>
                  <a:gd name="connsiteY9" fmla="*/ 30289 h 547687"/>
                  <a:gd name="connsiteX10" fmla="*/ 44196 w 3564922"/>
                  <a:gd name="connsiteY10" fmla="*/ 30289 h 547687"/>
                  <a:gd name="connsiteX11" fmla="*/ 44196 w 3564922"/>
                  <a:gd name="connsiteY11" fmla="*/ 36385 h 547687"/>
                  <a:gd name="connsiteX12" fmla="*/ 54769 w 3564922"/>
                  <a:gd name="connsiteY12" fmla="*/ 36385 h 547687"/>
                  <a:gd name="connsiteX13" fmla="*/ 54769 w 3564922"/>
                  <a:gd name="connsiteY13" fmla="*/ 42386 h 547687"/>
                  <a:gd name="connsiteX14" fmla="*/ 67342 w 3564922"/>
                  <a:gd name="connsiteY14" fmla="*/ 42386 h 547687"/>
                  <a:gd name="connsiteX15" fmla="*/ 67342 w 3564922"/>
                  <a:gd name="connsiteY15" fmla="*/ 48482 h 547687"/>
                  <a:gd name="connsiteX16" fmla="*/ 73628 w 3564922"/>
                  <a:gd name="connsiteY16" fmla="*/ 48482 h 547687"/>
                  <a:gd name="connsiteX17" fmla="*/ 73628 w 3564922"/>
                  <a:gd name="connsiteY17" fmla="*/ 60579 h 547687"/>
                  <a:gd name="connsiteX18" fmla="*/ 77819 w 3564922"/>
                  <a:gd name="connsiteY18" fmla="*/ 60579 h 547687"/>
                  <a:gd name="connsiteX19" fmla="*/ 77819 w 3564922"/>
                  <a:gd name="connsiteY19" fmla="*/ 66675 h 547687"/>
                  <a:gd name="connsiteX20" fmla="*/ 90487 w 3564922"/>
                  <a:gd name="connsiteY20" fmla="*/ 66675 h 547687"/>
                  <a:gd name="connsiteX21" fmla="*/ 90487 w 3564922"/>
                  <a:gd name="connsiteY21" fmla="*/ 72771 h 547687"/>
                  <a:gd name="connsiteX22" fmla="*/ 105156 w 3564922"/>
                  <a:gd name="connsiteY22" fmla="*/ 72771 h 547687"/>
                  <a:gd name="connsiteX23" fmla="*/ 105156 w 3564922"/>
                  <a:gd name="connsiteY23" fmla="*/ 78772 h 547687"/>
                  <a:gd name="connsiteX24" fmla="*/ 109442 w 3564922"/>
                  <a:gd name="connsiteY24" fmla="*/ 78772 h 547687"/>
                  <a:gd name="connsiteX25" fmla="*/ 109442 w 3564922"/>
                  <a:gd name="connsiteY25" fmla="*/ 84868 h 547687"/>
                  <a:gd name="connsiteX26" fmla="*/ 119919 w 3564922"/>
                  <a:gd name="connsiteY26" fmla="*/ 84868 h 547687"/>
                  <a:gd name="connsiteX27" fmla="*/ 119919 w 3564922"/>
                  <a:gd name="connsiteY27" fmla="*/ 90964 h 547687"/>
                  <a:gd name="connsiteX28" fmla="*/ 128302 w 3564922"/>
                  <a:gd name="connsiteY28" fmla="*/ 90964 h 547687"/>
                  <a:gd name="connsiteX29" fmla="*/ 128302 w 3564922"/>
                  <a:gd name="connsiteY29" fmla="*/ 97060 h 547687"/>
                  <a:gd name="connsiteX30" fmla="*/ 143065 w 3564922"/>
                  <a:gd name="connsiteY30" fmla="*/ 97060 h 547687"/>
                  <a:gd name="connsiteX31" fmla="*/ 143065 w 3564922"/>
                  <a:gd name="connsiteY31" fmla="*/ 103060 h 547687"/>
                  <a:gd name="connsiteX32" fmla="*/ 147256 w 3564922"/>
                  <a:gd name="connsiteY32" fmla="*/ 103060 h 547687"/>
                  <a:gd name="connsiteX33" fmla="*/ 147256 w 3564922"/>
                  <a:gd name="connsiteY33" fmla="*/ 109156 h 547687"/>
                  <a:gd name="connsiteX34" fmla="*/ 151447 w 3564922"/>
                  <a:gd name="connsiteY34" fmla="*/ 109156 h 547687"/>
                  <a:gd name="connsiteX35" fmla="*/ 151447 w 3564922"/>
                  <a:gd name="connsiteY35" fmla="*/ 115252 h 547687"/>
                  <a:gd name="connsiteX36" fmla="*/ 164116 w 3564922"/>
                  <a:gd name="connsiteY36" fmla="*/ 115252 h 547687"/>
                  <a:gd name="connsiteX37" fmla="*/ 164116 w 3564922"/>
                  <a:gd name="connsiteY37" fmla="*/ 121253 h 547687"/>
                  <a:gd name="connsiteX38" fmla="*/ 193548 w 3564922"/>
                  <a:gd name="connsiteY38" fmla="*/ 121253 h 547687"/>
                  <a:gd name="connsiteX39" fmla="*/ 193548 w 3564922"/>
                  <a:gd name="connsiteY39" fmla="*/ 127349 h 547687"/>
                  <a:gd name="connsiteX40" fmla="*/ 201930 w 3564922"/>
                  <a:gd name="connsiteY40" fmla="*/ 127349 h 547687"/>
                  <a:gd name="connsiteX41" fmla="*/ 201930 w 3564922"/>
                  <a:gd name="connsiteY41" fmla="*/ 133445 h 547687"/>
                  <a:gd name="connsiteX42" fmla="*/ 204025 w 3564922"/>
                  <a:gd name="connsiteY42" fmla="*/ 133445 h 547687"/>
                  <a:gd name="connsiteX43" fmla="*/ 204025 w 3564922"/>
                  <a:gd name="connsiteY43" fmla="*/ 139446 h 547687"/>
                  <a:gd name="connsiteX44" fmla="*/ 218789 w 3564922"/>
                  <a:gd name="connsiteY44" fmla="*/ 139446 h 547687"/>
                  <a:gd name="connsiteX45" fmla="*/ 218789 w 3564922"/>
                  <a:gd name="connsiteY45" fmla="*/ 151638 h 547687"/>
                  <a:gd name="connsiteX46" fmla="*/ 220885 w 3564922"/>
                  <a:gd name="connsiteY46" fmla="*/ 151638 h 547687"/>
                  <a:gd name="connsiteX47" fmla="*/ 220885 w 3564922"/>
                  <a:gd name="connsiteY47" fmla="*/ 157639 h 547687"/>
                  <a:gd name="connsiteX48" fmla="*/ 227171 w 3564922"/>
                  <a:gd name="connsiteY48" fmla="*/ 157639 h 547687"/>
                  <a:gd name="connsiteX49" fmla="*/ 227171 w 3564922"/>
                  <a:gd name="connsiteY49" fmla="*/ 163735 h 547687"/>
                  <a:gd name="connsiteX50" fmla="*/ 231362 w 3564922"/>
                  <a:gd name="connsiteY50" fmla="*/ 163735 h 547687"/>
                  <a:gd name="connsiteX51" fmla="*/ 231362 w 3564922"/>
                  <a:gd name="connsiteY51" fmla="*/ 169831 h 547687"/>
                  <a:gd name="connsiteX52" fmla="*/ 248221 w 3564922"/>
                  <a:gd name="connsiteY52" fmla="*/ 169831 h 547687"/>
                  <a:gd name="connsiteX53" fmla="*/ 248221 w 3564922"/>
                  <a:gd name="connsiteY53" fmla="*/ 181927 h 547687"/>
                  <a:gd name="connsiteX54" fmla="*/ 252412 w 3564922"/>
                  <a:gd name="connsiteY54" fmla="*/ 181927 h 547687"/>
                  <a:gd name="connsiteX55" fmla="*/ 252412 w 3564922"/>
                  <a:gd name="connsiteY55" fmla="*/ 188023 h 547687"/>
                  <a:gd name="connsiteX56" fmla="*/ 275558 w 3564922"/>
                  <a:gd name="connsiteY56" fmla="*/ 188023 h 547687"/>
                  <a:gd name="connsiteX57" fmla="*/ 275558 w 3564922"/>
                  <a:gd name="connsiteY57" fmla="*/ 194119 h 547687"/>
                  <a:gd name="connsiteX58" fmla="*/ 279749 w 3564922"/>
                  <a:gd name="connsiteY58" fmla="*/ 194119 h 547687"/>
                  <a:gd name="connsiteX59" fmla="*/ 279749 w 3564922"/>
                  <a:gd name="connsiteY59" fmla="*/ 200120 h 547687"/>
                  <a:gd name="connsiteX60" fmla="*/ 286036 w 3564922"/>
                  <a:gd name="connsiteY60" fmla="*/ 200120 h 547687"/>
                  <a:gd name="connsiteX61" fmla="*/ 286036 w 3564922"/>
                  <a:gd name="connsiteY61" fmla="*/ 212312 h 547687"/>
                  <a:gd name="connsiteX62" fmla="*/ 304990 w 3564922"/>
                  <a:gd name="connsiteY62" fmla="*/ 212312 h 547687"/>
                  <a:gd name="connsiteX63" fmla="*/ 304990 w 3564922"/>
                  <a:gd name="connsiteY63" fmla="*/ 218313 h 547687"/>
                  <a:gd name="connsiteX64" fmla="*/ 313372 w 3564922"/>
                  <a:gd name="connsiteY64" fmla="*/ 218313 h 547687"/>
                  <a:gd name="connsiteX65" fmla="*/ 313372 w 3564922"/>
                  <a:gd name="connsiteY65" fmla="*/ 224409 h 547687"/>
                  <a:gd name="connsiteX66" fmla="*/ 326041 w 3564922"/>
                  <a:gd name="connsiteY66" fmla="*/ 224409 h 547687"/>
                  <a:gd name="connsiteX67" fmla="*/ 326041 w 3564922"/>
                  <a:gd name="connsiteY67" fmla="*/ 230505 h 547687"/>
                  <a:gd name="connsiteX68" fmla="*/ 342900 w 3564922"/>
                  <a:gd name="connsiteY68" fmla="*/ 230505 h 547687"/>
                  <a:gd name="connsiteX69" fmla="*/ 342900 w 3564922"/>
                  <a:gd name="connsiteY69" fmla="*/ 236506 h 547687"/>
                  <a:gd name="connsiteX70" fmla="*/ 370237 w 3564922"/>
                  <a:gd name="connsiteY70" fmla="*/ 236506 h 547687"/>
                  <a:gd name="connsiteX71" fmla="*/ 370237 w 3564922"/>
                  <a:gd name="connsiteY71" fmla="*/ 242602 h 547687"/>
                  <a:gd name="connsiteX72" fmla="*/ 372332 w 3564922"/>
                  <a:gd name="connsiteY72" fmla="*/ 242602 h 547687"/>
                  <a:gd name="connsiteX73" fmla="*/ 372332 w 3564922"/>
                  <a:gd name="connsiteY73" fmla="*/ 248698 h 547687"/>
                  <a:gd name="connsiteX74" fmla="*/ 382809 w 3564922"/>
                  <a:gd name="connsiteY74" fmla="*/ 248698 h 547687"/>
                  <a:gd name="connsiteX75" fmla="*/ 382809 w 3564922"/>
                  <a:gd name="connsiteY75" fmla="*/ 254698 h 547687"/>
                  <a:gd name="connsiteX76" fmla="*/ 389096 w 3564922"/>
                  <a:gd name="connsiteY76" fmla="*/ 254698 h 547687"/>
                  <a:gd name="connsiteX77" fmla="*/ 389096 w 3564922"/>
                  <a:gd name="connsiteY77" fmla="*/ 266890 h 547687"/>
                  <a:gd name="connsiteX78" fmla="*/ 397573 w 3564922"/>
                  <a:gd name="connsiteY78" fmla="*/ 266890 h 547687"/>
                  <a:gd name="connsiteX79" fmla="*/ 397573 w 3564922"/>
                  <a:gd name="connsiteY79" fmla="*/ 272891 h 547687"/>
                  <a:gd name="connsiteX80" fmla="*/ 403860 w 3564922"/>
                  <a:gd name="connsiteY80" fmla="*/ 272891 h 547687"/>
                  <a:gd name="connsiteX81" fmla="*/ 403860 w 3564922"/>
                  <a:gd name="connsiteY81" fmla="*/ 285083 h 547687"/>
                  <a:gd name="connsiteX82" fmla="*/ 405955 w 3564922"/>
                  <a:gd name="connsiteY82" fmla="*/ 285083 h 547687"/>
                  <a:gd name="connsiteX83" fmla="*/ 405955 w 3564922"/>
                  <a:gd name="connsiteY83" fmla="*/ 291179 h 547687"/>
                  <a:gd name="connsiteX84" fmla="*/ 418528 w 3564922"/>
                  <a:gd name="connsiteY84" fmla="*/ 291179 h 547687"/>
                  <a:gd name="connsiteX85" fmla="*/ 418528 w 3564922"/>
                  <a:gd name="connsiteY85" fmla="*/ 297180 h 547687"/>
                  <a:gd name="connsiteX86" fmla="*/ 441674 w 3564922"/>
                  <a:gd name="connsiteY86" fmla="*/ 297180 h 547687"/>
                  <a:gd name="connsiteX87" fmla="*/ 441674 w 3564922"/>
                  <a:gd name="connsiteY87" fmla="*/ 303276 h 547687"/>
                  <a:gd name="connsiteX88" fmla="*/ 448056 w 3564922"/>
                  <a:gd name="connsiteY88" fmla="*/ 303276 h 547687"/>
                  <a:gd name="connsiteX89" fmla="*/ 448056 w 3564922"/>
                  <a:gd name="connsiteY89" fmla="*/ 309372 h 547687"/>
                  <a:gd name="connsiteX90" fmla="*/ 456438 w 3564922"/>
                  <a:gd name="connsiteY90" fmla="*/ 309372 h 547687"/>
                  <a:gd name="connsiteX91" fmla="*/ 456438 w 3564922"/>
                  <a:gd name="connsiteY91" fmla="*/ 315373 h 547687"/>
                  <a:gd name="connsiteX92" fmla="*/ 464820 w 3564922"/>
                  <a:gd name="connsiteY92" fmla="*/ 315373 h 547687"/>
                  <a:gd name="connsiteX93" fmla="*/ 464820 w 3564922"/>
                  <a:gd name="connsiteY93" fmla="*/ 321469 h 547687"/>
                  <a:gd name="connsiteX94" fmla="*/ 469011 w 3564922"/>
                  <a:gd name="connsiteY94" fmla="*/ 321469 h 547687"/>
                  <a:gd name="connsiteX95" fmla="*/ 469011 w 3564922"/>
                  <a:gd name="connsiteY95" fmla="*/ 327565 h 547687"/>
                  <a:gd name="connsiteX96" fmla="*/ 542639 w 3564922"/>
                  <a:gd name="connsiteY96" fmla="*/ 327565 h 547687"/>
                  <a:gd name="connsiteX97" fmla="*/ 542639 w 3564922"/>
                  <a:gd name="connsiteY97" fmla="*/ 333565 h 547687"/>
                  <a:gd name="connsiteX98" fmla="*/ 563689 w 3564922"/>
                  <a:gd name="connsiteY98" fmla="*/ 333565 h 547687"/>
                  <a:gd name="connsiteX99" fmla="*/ 563689 w 3564922"/>
                  <a:gd name="connsiteY99" fmla="*/ 339661 h 547687"/>
                  <a:gd name="connsiteX100" fmla="*/ 569976 w 3564922"/>
                  <a:gd name="connsiteY100" fmla="*/ 339661 h 547687"/>
                  <a:gd name="connsiteX101" fmla="*/ 569976 w 3564922"/>
                  <a:gd name="connsiteY101" fmla="*/ 345757 h 547687"/>
                  <a:gd name="connsiteX102" fmla="*/ 612076 w 3564922"/>
                  <a:gd name="connsiteY102" fmla="*/ 345757 h 547687"/>
                  <a:gd name="connsiteX103" fmla="*/ 612076 w 3564922"/>
                  <a:gd name="connsiteY103" fmla="*/ 351758 h 547687"/>
                  <a:gd name="connsiteX104" fmla="*/ 626745 w 3564922"/>
                  <a:gd name="connsiteY104" fmla="*/ 351758 h 547687"/>
                  <a:gd name="connsiteX105" fmla="*/ 626745 w 3564922"/>
                  <a:gd name="connsiteY105" fmla="*/ 357854 h 547687"/>
                  <a:gd name="connsiteX106" fmla="*/ 656272 w 3564922"/>
                  <a:gd name="connsiteY106" fmla="*/ 357854 h 547687"/>
                  <a:gd name="connsiteX107" fmla="*/ 656272 w 3564922"/>
                  <a:gd name="connsiteY107" fmla="*/ 363950 h 547687"/>
                  <a:gd name="connsiteX108" fmla="*/ 658368 w 3564922"/>
                  <a:gd name="connsiteY108" fmla="*/ 363950 h 547687"/>
                  <a:gd name="connsiteX109" fmla="*/ 658368 w 3564922"/>
                  <a:gd name="connsiteY109" fmla="*/ 369951 h 547687"/>
                  <a:gd name="connsiteX110" fmla="*/ 681418 w 3564922"/>
                  <a:gd name="connsiteY110" fmla="*/ 369951 h 547687"/>
                  <a:gd name="connsiteX111" fmla="*/ 681418 w 3564922"/>
                  <a:gd name="connsiteY111" fmla="*/ 376047 h 547687"/>
                  <a:gd name="connsiteX112" fmla="*/ 694087 w 3564922"/>
                  <a:gd name="connsiteY112" fmla="*/ 376047 h 547687"/>
                  <a:gd name="connsiteX113" fmla="*/ 694087 w 3564922"/>
                  <a:gd name="connsiteY113" fmla="*/ 382143 h 547687"/>
                  <a:gd name="connsiteX114" fmla="*/ 729805 w 3564922"/>
                  <a:gd name="connsiteY114" fmla="*/ 382143 h 547687"/>
                  <a:gd name="connsiteX115" fmla="*/ 729805 w 3564922"/>
                  <a:gd name="connsiteY115" fmla="*/ 388239 h 547687"/>
                  <a:gd name="connsiteX116" fmla="*/ 845534 w 3564922"/>
                  <a:gd name="connsiteY116" fmla="*/ 388239 h 547687"/>
                  <a:gd name="connsiteX117" fmla="*/ 845534 w 3564922"/>
                  <a:gd name="connsiteY117" fmla="*/ 394240 h 547687"/>
                  <a:gd name="connsiteX118" fmla="*/ 883348 w 3564922"/>
                  <a:gd name="connsiteY118" fmla="*/ 394240 h 547687"/>
                  <a:gd name="connsiteX119" fmla="*/ 883348 w 3564922"/>
                  <a:gd name="connsiteY119" fmla="*/ 400431 h 547687"/>
                  <a:gd name="connsiteX120" fmla="*/ 935926 w 3564922"/>
                  <a:gd name="connsiteY120" fmla="*/ 400431 h 547687"/>
                  <a:gd name="connsiteX121" fmla="*/ 935926 w 3564922"/>
                  <a:gd name="connsiteY121" fmla="*/ 406527 h 547687"/>
                  <a:gd name="connsiteX122" fmla="*/ 954881 w 3564922"/>
                  <a:gd name="connsiteY122" fmla="*/ 406527 h 547687"/>
                  <a:gd name="connsiteX123" fmla="*/ 954881 w 3564922"/>
                  <a:gd name="connsiteY123" fmla="*/ 412623 h 547687"/>
                  <a:gd name="connsiteX124" fmla="*/ 965359 w 3564922"/>
                  <a:gd name="connsiteY124" fmla="*/ 412623 h 547687"/>
                  <a:gd name="connsiteX125" fmla="*/ 965359 w 3564922"/>
                  <a:gd name="connsiteY125" fmla="*/ 418814 h 547687"/>
                  <a:gd name="connsiteX126" fmla="*/ 999077 w 3564922"/>
                  <a:gd name="connsiteY126" fmla="*/ 418814 h 547687"/>
                  <a:gd name="connsiteX127" fmla="*/ 999077 w 3564922"/>
                  <a:gd name="connsiteY127" fmla="*/ 424910 h 547687"/>
                  <a:gd name="connsiteX128" fmla="*/ 1005364 w 3564922"/>
                  <a:gd name="connsiteY128" fmla="*/ 424910 h 547687"/>
                  <a:gd name="connsiteX129" fmla="*/ 1005364 w 3564922"/>
                  <a:gd name="connsiteY129" fmla="*/ 431006 h 547687"/>
                  <a:gd name="connsiteX130" fmla="*/ 1020032 w 3564922"/>
                  <a:gd name="connsiteY130" fmla="*/ 431006 h 547687"/>
                  <a:gd name="connsiteX131" fmla="*/ 1020032 w 3564922"/>
                  <a:gd name="connsiteY131" fmla="*/ 437102 h 547687"/>
                  <a:gd name="connsiteX132" fmla="*/ 1032700 w 3564922"/>
                  <a:gd name="connsiteY132" fmla="*/ 437102 h 547687"/>
                  <a:gd name="connsiteX133" fmla="*/ 1032700 w 3564922"/>
                  <a:gd name="connsiteY133" fmla="*/ 443293 h 547687"/>
                  <a:gd name="connsiteX134" fmla="*/ 1057942 w 3564922"/>
                  <a:gd name="connsiteY134" fmla="*/ 443293 h 547687"/>
                  <a:gd name="connsiteX135" fmla="*/ 1057942 w 3564922"/>
                  <a:gd name="connsiteY135" fmla="*/ 449389 h 547687"/>
                  <a:gd name="connsiteX136" fmla="*/ 1287208 w 3564922"/>
                  <a:gd name="connsiteY136" fmla="*/ 449389 h 547687"/>
                  <a:gd name="connsiteX137" fmla="*/ 1287208 w 3564922"/>
                  <a:gd name="connsiteY137" fmla="*/ 455581 h 547687"/>
                  <a:gd name="connsiteX138" fmla="*/ 1400746 w 3564922"/>
                  <a:gd name="connsiteY138" fmla="*/ 455581 h 547687"/>
                  <a:gd name="connsiteX139" fmla="*/ 1400746 w 3564922"/>
                  <a:gd name="connsiteY139" fmla="*/ 461772 h 547687"/>
                  <a:gd name="connsiteX140" fmla="*/ 1669923 w 3564922"/>
                  <a:gd name="connsiteY140" fmla="*/ 461772 h 547687"/>
                  <a:gd name="connsiteX141" fmla="*/ 1669923 w 3564922"/>
                  <a:gd name="connsiteY141" fmla="*/ 468058 h 547687"/>
                  <a:gd name="connsiteX142" fmla="*/ 1743551 w 3564922"/>
                  <a:gd name="connsiteY142" fmla="*/ 468058 h 547687"/>
                  <a:gd name="connsiteX143" fmla="*/ 1743551 w 3564922"/>
                  <a:gd name="connsiteY143" fmla="*/ 474345 h 547687"/>
                  <a:gd name="connsiteX144" fmla="*/ 1823466 w 3564922"/>
                  <a:gd name="connsiteY144" fmla="*/ 474345 h 547687"/>
                  <a:gd name="connsiteX145" fmla="*/ 1823466 w 3564922"/>
                  <a:gd name="connsiteY145" fmla="*/ 480631 h 547687"/>
                  <a:gd name="connsiteX146" fmla="*/ 1985391 w 3564922"/>
                  <a:gd name="connsiteY146" fmla="*/ 480631 h 547687"/>
                  <a:gd name="connsiteX147" fmla="*/ 1985391 w 3564922"/>
                  <a:gd name="connsiteY147" fmla="*/ 487108 h 547687"/>
                  <a:gd name="connsiteX148" fmla="*/ 2002250 w 3564922"/>
                  <a:gd name="connsiteY148" fmla="*/ 487108 h 547687"/>
                  <a:gd name="connsiteX149" fmla="*/ 2002250 w 3564922"/>
                  <a:gd name="connsiteY149" fmla="*/ 493490 h 547687"/>
                  <a:gd name="connsiteX150" fmla="*/ 2120074 w 3564922"/>
                  <a:gd name="connsiteY150" fmla="*/ 493490 h 547687"/>
                  <a:gd name="connsiteX151" fmla="*/ 2120074 w 3564922"/>
                  <a:gd name="connsiteY151" fmla="*/ 499967 h 547687"/>
                  <a:gd name="connsiteX152" fmla="*/ 2212562 w 3564922"/>
                  <a:gd name="connsiteY152" fmla="*/ 499967 h 547687"/>
                  <a:gd name="connsiteX153" fmla="*/ 2212562 w 3564922"/>
                  <a:gd name="connsiteY153" fmla="*/ 506349 h 547687"/>
                  <a:gd name="connsiteX154" fmla="*/ 2231517 w 3564922"/>
                  <a:gd name="connsiteY154" fmla="*/ 506349 h 547687"/>
                  <a:gd name="connsiteX155" fmla="*/ 2231517 w 3564922"/>
                  <a:gd name="connsiteY155" fmla="*/ 512826 h 547687"/>
                  <a:gd name="connsiteX156" fmla="*/ 3085338 w 3564922"/>
                  <a:gd name="connsiteY156" fmla="*/ 512826 h 547687"/>
                  <a:gd name="connsiteX157" fmla="*/ 3085338 w 3564922"/>
                  <a:gd name="connsiteY157" fmla="*/ 547687 h 547687"/>
                  <a:gd name="connsiteX158" fmla="*/ 3564922 w 3564922"/>
                  <a:gd name="connsiteY158" fmla="*/ 547687 h 547687"/>
                  <a:gd name="connsiteX0" fmla="*/ 0 w 3564922"/>
                  <a:gd name="connsiteY0" fmla="*/ 0 h 547687"/>
                  <a:gd name="connsiteX1" fmla="*/ 2095 w 3564922"/>
                  <a:gd name="connsiteY1" fmla="*/ 6001 h 547687"/>
                  <a:gd name="connsiteX2" fmla="*/ 4286 w 3564922"/>
                  <a:gd name="connsiteY2" fmla="*/ 12097 h 547687"/>
                  <a:gd name="connsiteX3" fmla="*/ 14763 w 3564922"/>
                  <a:gd name="connsiteY3" fmla="*/ 12097 h 547687"/>
                  <a:gd name="connsiteX4" fmla="*/ 14763 w 3564922"/>
                  <a:gd name="connsiteY4" fmla="*/ 18193 h 547687"/>
                  <a:gd name="connsiteX5" fmla="*/ 21050 w 3564922"/>
                  <a:gd name="connsiteY5" fmla="*/ 18193 h 547687"/>
                  <a:gd name="connsiteX6" fmla="*/ 21050 w 3564922"/>
                  <a:gd name="connsiteY6" fmla="*/ 24193 h 547687"/>
                  <a:gd name="connsiteX7" fmla="*/ 35814 w 3564922"/>
                  <a:gd name="connsiteY7" fmla="*/ 24193 h 547687"/>
                  <a:gd name="connsiteX8" fmla="*/ 35814 w 3564922"/>
                  <a:gd name="connsiteY8" fmla="*/ 30289 h 547687"/>
                  <a:gd name="connsiteX9" fmla="*/ 44196 w 3564922"/>
                  <a:gd name="connsiteY9" fmla="*/ 30289 h 547687"/>
                  <a:gd name="connsiteX10" fmla="*/ 44196 w 3564922"/>
                  <a:gd name="connsiteY10" fmla="*/ 36385 h 547687"/>
                  <a:gd name="connsiteX11" fmla="*/ 54769 w 3564922"/>
                  <a:gd name="connsiteY11" fmla="*/ 36385 h 547687"/>
                  <a:gd name="connsiteX12" fmla="*/ 54769 w 3564922"/>
                  <a:gd name="connsiteY12" fmla="*/ 42386 h 547687"/>
                  <a:gd name="connsiteX13" fmla="*/ 67342 w 3564922"/>
                  <a:gd name="connsiteY13" fmla="*/ 42386 h 547687"/>
                  <a:gd name="connsiteX14" fmla="*/ 67342 w 3564922"/>
                  <a:gd name="connsiteY14" fmla="*/ 48482 h 547687"/>
                  <a:gd name="connsiteX15" fmla="*/ 73628 w 3564922"/>
                  <a:gd name="connsiteY15" fmla="*/ 48482 h 547687"/>
                  <a:gd name="connsiteX16" fmla="*/ 73628 w 3564922"/>
                  <a:gd name="connsiteY16" fmla="*/ 60579 h 547687"/>
                  <a:gd name="connsiteX17" fmla="*/ 77819 w 3564922"/>
                  <a:gd name="connsiteY17" fmla="*/ 60579 h 547687"/>
                  <a:gd name="connsiteX18" fmla="*/ 77819 w 3564922"/>
                  <a:gd name="connsiteY18" fmla="*/ 66675 h 547687"/>
                  <a:gd name="connsiteX19" fmla="*/ 90487 w 3564922"/>
                  <a:gd name="connsiteY19" fmla="*/ 66675 h 547687"/>
                  <a:gd name="connsiteX20" fmla="*/ 90487 w 3564922"/>
                  <a:gd name="connsiteY20" fmla="*/ 72771 h 547687"/>
                  <a:gd name="connsiteX21" fmla="*/ 105156 w 3564922"/>
                  <a:gd name="connsiteY21" fmla="*/ 72771 h 547687"/>
                  <a:gd name="connsiteX22" fmla="*/ 105156 w 3564922"/>
                  <a:gd name="connsiteY22" fmla="*/ 78772 h 547687"/>
                  <a:gd name="connsiteX23" fmla="*/ 109442 w 3564922"/>
                  <a:gd name="connsiteY23" fmla="*/ 78772 h 547687"/>
                  <a:gd name="connsiteX24" fmla="*/ 109442 w 3564922"/>
                  <a:gd name="connsiteY24" fmla="*/ 84868 h 547687"/>
                  <a:gd name="connsiteX25" fmla="*/ 119919 w 3564922"/>
                  <a:gd name="connsiteY25" fmla="*/ 84868 h 547687"/>
                  <a:gd name="connsiteX26" fmla="*/ 119919 w 3564922"/>
                  <a:gd name="connsiteY26" fmla="*/ 90964 h 547687"/>
                  <a:gd name="connsiteX27" fmla="*/ 128302 w 3564922"/>
                  <a:gd name="connsiteY27" fmla="*/ 90964 h 547687"/>
                  <a:gd name="connsiteX28" fmla="*/ 128302 w 3564922"/>
                  <a:gd name="connsiteY28" fmla="*/ 97060 h 547687"/>
                  <a:gd name="connsiteX29" fmla="*/ 143065 w 3564922"/>
                  <a:gd name="connsiteY29" fmla="*/ 97060 h 547687"/>
                  <a:gd name="connsiteX30" fmla="*/ 143065 w 3564922"/>
                  <a:gd name="connsiteY30" fmla="*/ 103060 h 547687"/>
                  <a:gd name="connsiteX31" fmla="*/ 147256 w 3564922"/>
                  <a:gd name="connsiteY31" fmla="*/ 103060 h 547687"/>
                  <a:gd name="connsiteX32" fmla="*/ 147256 w 3564922"/>
                  <a:gd name="connsiteY32" fmla="*/ 109156 h 547687"/>
                  <a:gd name="connsiteX33" fmla="*/ 151447 w 3564922"/>
                  <a:gd name="connsiteY33" fmla="*/ 109156 h 547687"/>
                  <a:gd name="connsiteX34" fmla="*/ 151447 w 3564922"/>
                  <a:gd name="connsiteY34" fmla="*/ 115252 h 547687"/>
                  <a:gd name="connsiteX35" fmla="*/ 164116 w 3564922"/>
                  <a:gd name="connsiteY35" fmla="*/ 115252 h 547687"/>
                  <a:gd name="connsiteX36" fmla="*/ 164116 w 3564922"/>
                  <a:gd name="connsiteY36" fmla="*/ 121253 h 547687"/>
                  <a:gd name="connsiteX37" fmla="*/ 193548 w 3564922"/>
                  <a:gd name="connsiteY37" fmla="*/ 121253 h 547687"/>
                  <a:gd name="connsiteX38" fmla="*/ 193548 w 3564922"/>
                  <a:gd name="connsiteY38" fmla="*/ 127349 h 547687"/>
                  <a:gd name="connsiteX39" fmla="*/ 201930 w 3564922"/>
                  <a:gd name="connsiteY39" fmla="*/ 127349 h 547687"/>
                  <a:gd name="connsiteX40" fmla="*/ 201930 w 3564922"/>
                  <a:gd name="connsiteY40" fmla="*/ 133445 h 547687"/>
                  <a:gd name="connsiteX41" fmla="*/ 204025 w 3564922"/>
                  <a:gd name="connsiteY41" fmla="*/ 133445 h 547687"/>
                  <a:gd name="connsiteX42" fmla="*/ 204025 w 3564922"/>
                  <a:gd name="connsiteY42" fmla="*/ 139446 h 547687"/>
                  <a:gd name="connsiteX43" fmla="*/ 218789 w 3564922"/>
                  <a:gd name="connsiteY43" fmla="*/ 139446 h 547687"/>
                  <a:gd name="connsiteX44" fmla="*/ 218789 w 3564922"/>
                  <a:gd name="connsiteY44" fmla="*/ 151638 h 547687"/>
                  <a:gd name="connsiteX45" fmla="*/ 220885 w 3564922"/>
                  <a:gd name="connsiteY45" fmla="*/ 151638 h 547687"/>
                  <a:gd name="connsiteX46" fmla="*/ 220885 w 3564922"/>
                  <a:gd name="connsiteY46" fmla="*/ 157639 h 547687"/>
                  <a:gd name="connsiteX47" fmla="*/ 227171 w 3564922"/>
                  <a:gd name="connsiteY47" fmla="*/ 157639 h 547687"/>
                  <a:gd name="connsiteX48" fmla="*/ 227171 w 3564922"/>
                  <a:gd name="connsiteY48" fmla="*/ 163735 h 547687"/>
                  <a:gd name="connsiteX49" fmla="*/ 231362 w 3564922"/>
                  <a:gd name="connsiteY49" fmla="*/ 163735 h 547687"/>
                  <a:gd name="connsiteX50" fmla="*/ 231362 w 3564922"/>
                  <a:gd name="connsiteY50" fmla="*/ 169831 h 547687"/>
                  <a:gd name="connsiteX51" fmla="*/ 248221 w 3564922"/>
                  <a:gd name="connsiteY51" fmla="*/ 169831 h 547687"/>
                  <a:gd name="connsiteX52" fmla="*/ 248221 w 3564922"/>
                  <a:gd name="connsiteY52" fmla="*/ 181927 h 547687"/>
                  <a:gd name="connsiteX53" fmla="*/ 252412 w 3564922"/>
                  <a:gd name="connsiteY53" fmla="*/ 181927 h 547687"/>
                  <a:gd name="connsiteX54" fmla="*/ 252412 w 3564922"/>
                  <a:gd name="connsiteY54" fmla="*/ 188023 h 547687"/>
                  <a:gd name="connsiteX55" fmla="*/ 275558 w 3564922"/>
                  <a:gd name="connsiteY55" fmla="*/ 188023 h 547687"/>
                  <a:gd name="connsiteX56" fmla="*/ 275558 w 3564922"/>
                  <a:gd name="connsiteY56" fmla="*/ 194119 h 547687"/>
                  <a:gd name="connsiteX57" fmla="*/ 279749 w 3564922"/>
                  <a:gd name="connsiteY57" fmla="*/ 194119 h 547687"/>
                  <a:gd name="connsiteX58" fmla="*/ 279749 w 3564922"/>
                  <a:gd name="connsiteY58" fmla="*/ 200120 h 547687"/>
                  <a:gd name="connsiteX59" fmla="*/ 286036 w 3564922"/>
                  <a:gd name="connsiteY59" fmla="*/ 200120 h 547687"/>
                  <a:gd name="connsiteX60" fmla="*/ 286036 w 3564922"/>
                  <a:gd name="connsiteY60" fmla="*/ 212312 h 547687"/>
                  <a:gd name="connsiteX61" fmla="*/ 304990 w 3564922"/>
                  <a:gd name="connsiteY61" fmla="*/ 212312 h 547687"/>
                  <a:gd name="connsiteX62" fmla="*/ 304990 w 3564922"/>
                  <a:gd name="connsiteY62" fmla="*/ 218313 h 547687"/>
                  <a:gd name="connsiteX63" fmla="*/ 313372 w 3564922"/>
                  <a:gd name="connsiteY63" fmla="*/ 218313 h 547687"/>
                  <a:gd name="connsiteX64" fmla="*/ 313372 w 3564922"/>
                  <a:gd name="connsiteY64" fmla="*/ 224409 h 547687"/>
                  <a:gd name="connsiteX65" fmla="*/ 326041 w 3564922"/>
                  <a:gd name="connsiteY65" fmla="*/ 224409 h 547687"/>
                  <a:gd name="connsiteX66" fmla="*/ 326041 w 3564922"/>
                  <a:gd name="connsiteY66" fmla="*/ 230505 h 547687"/>
                  <a:gd name="connsiteX67" fmla="*/ 342900 w 3564922"/>
                  <a:gd name="connsiteY67" fmla="*/ 230505 h 547687"/>
                  <a:gd name="connsiteX68" fmla="*/ 342900 w 3564922"/>
                  <a:gd name="connsiteY68" fmla="*/ 236506 h 547687"/>
                  <a:gd name="connsiteX69" fmla="*/ 370237 w 3564922"/>
                  <a:gd name="connsiteY69" fmla="*/ 236506 h 547687"/>
                  <a:gd name="connsiteX70" fmla="*/ 370237 w 3564922"/>
                  <a:gd name="connsiteY70" fmla="*/ 242602 h 547687"/>
                  <a:gd name="connsiteX71" fmla="*/ 372332 w 3564922"/>
                  <a:gd name="connsiteY71" fmla="*/ 242602 h 547687"/>
                  <a:gd name="connsiteX72" fmla="*/ 372332 w 3564922"/>
                  <a:gd name="connsiteY72" fmla="*/ 248698 h 547687"/>
                  <a:gd name="connsiteX73" fmla="*/ 382809 w 3564922"/>
                  <a:gd name="connsiteY73" fmla="*/ 248698 h 547687"/>
                  <a:gd name="connsiteX74" fmla="*/ 382809 w 3564922"/>
                  <a:gd name="connsiteY74" fmla="*/ 254698 h 547687"/>
                  <a:gd name="connsiteX75" fmla="*/ 389096 w 3564922"/>
                  <a:gd name="connsiteY75" fmla="*/ 254698 h 547687"/>
                  <a:gd name="connsiteX76" fmla="*/ 389096 w 3564922"/>
                  <a:gd name="connsiteY76" fmla="*/ 266890 h 547687"/>
                  <a:gd name="connsiteX77" fmla="*/ 397573 w 3564922"/>
                  <a:gd name="connsiteY77" fmla="*/ 266890 h 547687"/>
                  <a:gd name="connsiteX78" fmla="*/ 397573 w 3564922"/>
                  <a:gd name="connsiteY78" fmla="*/ 272891 h 547687"/>
                  <a:gd name="connsiteX79" fmla="*/ 403860 w 3564922"/>
                  <a:gd name="connsiteY79" fmla="*/ 272891 h 547687"/>
                  <a:gd name="connsiteX80" fmla="*/ 403860 w 3564922"/>
                  <a:gd name="connsiteY80" fmla="*/ 285083 h 547687"/>
                  <a:gd name="connsiteX81" fmla="*/ 405955 w 3564922"/>
                  <a:gd name="connsiteY81" fmla="*/ 285083 h 547687"/>
                  <a:gd name="connsiteX82" fmla="*/ 405955 w 3564922"/>
                  <a:gd name="connsiteY82" fmla="*/ 291179 h 547687"/>
                  <a:gd name="connsiteX83" fmla="*/ 418528 w 3564922"/>
                  <a:gd name="connsiteY83" fmla="*/ 291179 h 547687"/>
                  <a:gd name="connsiteX84" fmla="*/ 418528 w 3564922"/>
                  <a:gd name="connsiteY84" fmla="*/ 297180 h 547687"/>
                  <a:gd name="connsiteX85" fmla="*/ 441674 w 3564922"/>
                  <a:gd name="connsiteY85" fmla="*/ 297180 h 547687"/>
                  <a:gd name="connsiteX86" fmla="*/ 441674 w 3564922"/>
                  <a:gd name="connsiteY86" fmla="*/ 303276 h 547687"/>
                  <a:gd name="connsiteX87" fmla="*/ 448056 w 3564922"/>
                  <a:gd name="connsiteY87" fmla="*/ 303276 h 547687"/>
                  <a:gd name="connsiteX88" fmla="*/ 448056 w 3564922"/>
                  <a:gd name="connsiteY88" fmla="*/ 309372 h 547687"/>
                  <a:gd name="connsiteX89" fmla="*/ 456438 w 3564922"/>
                  <a:gd name="connsiteY89" fmla="*/ 309372 h 547687"/>
                  <a:gd name="connsiteX90" fmla="*/ 456438 w 3564922"/>
                  <a:gd name="connsiteY90" fmla="*/ 315373 h 547687"/>
                  <a:gd name="connsiteX91" fmla="*/ 464820 w 3564922"/>
                  <a:gd name="connsiteY91" fmla="*/ 315373 h 547687"/>
                  <a:gd name="connsiteX92" fmla="*/ 464820 w 3564922"/>
                  <a:gd name="connsiteY92" fmla="*/ 321469 h 547687"/>
                  <a:gd name="connsiteX93" fmla="*/ 469011 w 3564922"/>
                  <a:gd name="connsiteY93" fmla="*/ 321469 h 547687"/>
                  <a:gd name="connsiteX94" fmla="*/ 469011 w 3564922"/>
                  <a:gd name="connsiteY94" fmla="*/ 327565 h 547687"/>
                  <a:gd name="connsiteX95" fmla="*/ 542639 w 3564922"/>
                  <a:gd name="connsiteY95" fmla="*/ 327565 h 547687"/>
                  <a:gd name="connsiteX96" fmla="*/ 542639 w 3564922"/>
                  <a:gd name="connsiteY96" fmla="*/ 333565 h 547687"/>
                  <a:gd name="connsiteX97" fmla="*/ 563689 w 3564922"/>
                  <a:gd name="connsiteY97" fmla="*/ 333565 h 547687"/>
                  <a:gd name="connsiteX98" fmla="*/ 563689 w 3564922"/>
                  <a:gd name="connsiteY98" fmla="*/ 339661 h 547687"/>
                  <a:gd name="connsiteX99" fmla="*/ 569976 w 3564922"/>
                  <a:gd name="connsiteY99" fmla="*/ 339661 h 547687"/>
                  <a:gd name="connsiteX100" fmla="*/ 569976 w 3564922"/>
                  <a:gd name="connsiteY100" fmla="*/ 345757 h 547687"/>
                  <a:gd name="connsiteX101" fmla="*/ 612076 w 3564922"/>
                  <a:gd name="connsiteY101" fmla="*/ 345757 h 547687"/>
                  <a:gd name="connsiteX102" fmla="*/ 612076 w 3564922"/>
                  <a:gd name="connsiteY102" fmla="*/ 351758 h 547687"/>
                  <a:gd name="connsiteX103" fmla="*/ 626745 w 3564922"/>
                  <a:gd name="connsiteY103" fmla="*/ 351758 h 547687"/>
                  <a:gd name="connsiteX104" fmla="*/ 626745 w 3564922"/>
                  <a:gd name="connsiteY104" fmla="*/ 357854 h 547687"/>
                  <a:gd name="connsiteX105" fmla="*/ 656272 w 3564922"/>
                  <a:gd name="connsiteY105" fmla="*/ 357854 h 547687"/>
                  <a:gd name="connsiteX106" fmla="*/ 656272 w 3564922"/>
                  <a:gd name="connsiteY106" fmla="*/ 363950 h 547687"/>
                  <a:gd name="connsiteX107" fmla="*/ 658368 w 3564922"/>
                  <a:gd name="connsiteY107" fmla="*/ 363950 h 547687"/>
                  <a:gd name="connsiteX108" fmla="*/ 658368 w 3564922"/>
                  <a:gd name="connsiteY108" fmla="*/ 369951 h 547687"/>
                  <a:gd name="connsiteX109" fmla="*/ 681418 w 3564922"/>
                  <a:gd name="connsiteY109" fmla="*/ 369951 h 547687"/>
                  <a:gd name="connsiteX110" fmla="*/ 681418 w 3564922"/>
                  <a:gd name="connsiteY110" fmla="*/ 376047 h 547687"/>
                  <a:gd name="connsiteX111" fmla="*/ 694087 w 3564922"/>
                  <a:gd name="connsiteY111" fmla="*/ 376047 h 547687"/>
                  <a:gd name="connsiteX112" fmla="*/ 694087 w 3564922"/>
                  <a:gd name="connsiteY112" fmla="*/ 382143 h 547687"/>
                  <a:gd name="connsiteX113" fmla="*/ 729805 w 3564922"/>
                  <a:gd name="connsiteY113" fmla="*/ 382143 h 547687"/>
                  <a:gd name="connsiteX114" fmla="*/ 729805 w 3564922"/>
                  <a:gd name="connsiteY114" fmla="*/ 388239 h 547687"/>
                  <a:gd name="connsiteX115" fmla="*/ 845534 w 3564922"/>
                  <a:gd name="connsiteY115" fmla="*/ 388239 h 547687"/>
                  <a:gd name="connsiteX116" fmla="*/ 845534 w 3564922"/>
                  <a:gd name="connsiteY116" fmla="*/ 394240 h 547687"/>
                  <a:gd name="connsiteX117" fmla="*/ 883348 w 3564922"/>
                  <a:gd name="connsiteY117" fmla="*/ 394240 h 547687"/>
                  <a:gd name="connsiteX118" fmla="*/ 883348 w 3564922"/>
                  <a:gd name="connsiteY118" fmla="*/ 400431 h 547687"/>
                  <a:gd name="connsiteX119" fmla="*/ 935926 w 3564922"/>
                  <a:gd name="connsiteY119" fmla="*/ 400431 h 547687"/>
                  <a:gd name="connsiteX120" fmla="*/ 935926 w 3564922"/>
                  <a:gd name="connsiteY120" fmla="*/ 406527 h 547687"/>
                  <a:gd name="connsiteX121" fmla="*/ 954881 w 3564922"/>
                  <a:gd name="connsiteY121" fmla="*/ 406527 h 547687"/>
                  <a:gd name="connsiteX122" fmla="*/ 954881 w 3564922"/>
                  <a:gd name="connsiteY122" fmla="*/ 412623 h 547687"/>
                  <a:gd name="connsiteX123" fmla="*/ 965359 w 3564922"/>
                  <a:gd name="connsiteY123" fmla="*/ 412623 h 547687"/>
                  <a:gd name="connsiteX124" fmla="*/ 965359 w 3564922"/>
                  <a:gd name="connsiteY124" fmla="*/ 418814 h 547687"/>
                  <a:gd name="connsiteX125" fmla="*/ 999077 w 3564922"/>
                  <a:gd name="connsiteY125" fmla="*/ 418814 h 547687"/>
                  <a:gd name="connsiteX126" fmla="*/ 999077 w 3564922"/>
                  <a:gd name="connsiteY126" fmla="*/ 424910 h 547687"/>
                  <a:gd name="connsiteX127" fmla="*/ 1005364 w 3564922"/>
                  <a:gd name="connsiteY127" fmla="*/ 424910 h 547687"/>
                  <a:gd name="connsiteX128" fmla="*/ 1005364 w 3564922"/>
                  <a:gd name="connsiteY128" fmla="*/ 431006 h 547687"/>
                  <a:gd name="connsiteX129" fmla="*/ 1020032 w 3564922"/>
                  <a:gd name="connsiteY129" fmla="*/ 431006 h 547687"/>
                  <a:gd name="connsiteX130" fmla="*/ 1020032 w 3564922"/>
                  <a:gd name="connsiteY130" fmla="*/ 437102 h 547687"/>
                  <a:gd name="connsiteX131" fmla="*/ 1032700 w 3564922"/>
                  <a:gd name="connsiteY131" fmla="*/ 437102 h 547687"/>
                  <a:gd name="connsiteX132" fmla="*/ 1032700 w 3564922"/>
                  <a:gd name="connsiteY132" fmla="*/ 443293 h 547687"/>
                  <a:gd name="connsiteX133" fmla="*/ 1057942 w 3564922"/>
                  <a:gd name="connsiteY133" fmla="*/ 443293 h 547687"/>
                  <a:gd name="connsiteX134" fmla="*/ 1057942 w 3564922"/>
                  <a:gd name="connsiteY134" fmla="*/ 449389 h 547687"/>
                  <a:gd name="connsiteX135" fmla="*/ 1287208 w 3564922"/>
                  <a:gd name="connsiteY135" fmla="*/ 449389 h 547687"/>
                  <a:gd name="connsiteX136" fmla="*/ 1287208 w 3564922"/>
                  <a:gd name="connsiteY136" fmla="*/ 455581 h 547687"/>
                  <a:gd name="connsiteX137" fmla="*/ 1400746 w 3564922"/>
                  <a:gd name="connsiteY137" fmla="*/ 455581 h 547687"/>
                  <a:gd name="connsiteX138" fmla="*/ 1400746 w 3564922"/>
                  <a:gd name="connsiteY138" fmla="*/ 461772 h 547687"/>
                  <a:gd name="connsiteX139" fmla="*/ 1669923 w 3564922"/>
                  <a:gd name="connsiteY139" fmla="*/ 461772 h 547687"/>
                  <a:gd name="connsiteX140" fmla="*/ 1669923 w 3564922"/>
                  <a:gd name="connsiteY140" fmla="*/ 468058 h 547687"/>
                  <a:gd name="connsiteX141" fmla="*/ 1743551 w 3564922"/>
                  <a:gd name="connsiteY141" fmla="*/ 468058 h 547687"/>
                  <a:gd name="connsiteX142" fmla="*/ 1743551 w 3564922"/>
                  <a:gd name="connsiteY142" fmla="*/ 474345 h 547687"/>
                  <a:gd name="connsiteX143" fmla="*/ 1823466 w 3564922"/>
                  <a:gd name="connsiteY143" fmla="*/ 474345 h 547687"/>
                  <a:gd name="connsiteX144" fmla="*/ 1823466 w 3564922"/>
                  <a:gd name="connsiteY144" fmla="*/ 480631 h 547687"/>
                  <a:gd name="connsiteX145" fmla="*/ 1985391 w 3564922"/>
                  <a:gd name="connsiteY145" fmla="*/ 480631 h 547687"/>
                  <a:gd name="connsiteX146" fmla="*/ 1985391 w 3564922"/>
                  <a:gd name="connsiteY146" fmla="*/ 487108 h 547687"/>
                  <a:gd name="connsiteX147" fmla="*/ 2002250 w 3564922"/>
                  <a:gd name="connsiteY147" fmla="*/ 487108 h 547687"/>
                  <a:gd name="connsiteX148" fmla="*/ 2002250 w 3564922"/>
                  <a:gd name="connsiteY148" fmla="*/ 493490 h 547687"/>
                  <a:gd name="connsiteX149" fmla="*/ 2120074 w 3564922"/>
                  <a:gd name="connsiteY149" fmla="*/ 493490 h 547687"/>
                  <a:gd name="connsiteX150" fmla="*/ 2120074 w 3564922"/>
                  <a:gd name="connsiteY150" fmla="*/ 499967 h 547687"/>
                  <a:gd name="connsiteX151" fmla="*/ 2212562 w 3564922"/>
                  <a:gd name="connsiteY151" fmla="*/ 499967 h 547687"/>
                  <a:gd name="connsiteX152" fmla="*/ 2212562 w 3564922"/>
                  <a:gd name="connsiteY152" fmla="*/ 506349 h 547687"/>
                  <a:gd name="connsiteX153" fmla="*/ 2231517 w 3564922"/>
                  <a:gd name="connsiteY153" fmla="*/ 506349 h 547687"/>
                  <a:gd name="connsiteX154" fmla="*/ 2231517 w 3564922"/>
                  <a:gd name="connsiteY154" fmla="*/ 512826 h 547687"/>
                  <a:gd name="connsiteX155" fmla="*/ 3085338 w 3564922"/>
                  <a:gd name="connsiteY155" fmla="*/ 512826 h 547687"/>
                  <a:gd name="connsiteX156" fmla="*/ 3085338 w 3564922"/>
                  <a:gd name="connsiteY156" fmla="*/ 547687 h 547687"/>
                  <a:gd name="connsiteX157" fmla="*/ 3564922 w 3564922"/>
                  <a:gd name="connsiteY157" fmla="*/ 547687 h 547687"/>
                  <a:gd name="connsiteX0" fmla="*/ 0 w 3562827"/>
                  <a:gd name="connsiteY0" fmla="*/ 0 h 541686"/>
                  <a:gd name="connsiteX1" fmla="*/ 2191 w 3562827"/>
                  <a:gd name="connsiteY1" fmla="*/ 6096 h 541686"/>
                  <a:gd name="connsiteX2" fmla="*/ 12668 w 3562827"/>
                  <a:gd name="connsiteY2" fmla="*/ 6096 h 541686"/>
                  <a:gd name="connsiteX3" fmla="*/ 12668 w 3562827"/>
                  <a:gd name="connsiteY3" fmla="*/ 12192 h 541686"/>
                  <a:gd name="connsiteX4" fmla="*/ 18955 w 3562827"/>
                  <a:gd name="connsiteY4" fmla="*/ 12192 h 541686"/>
                  <a:gd name="connsiteX5" fmla="*/ 18955 w 3562827"/>
                  <a:gd name="connsiteY5" fmla="*/ 18192 h 541686"/>
                  <a:gd name="connsiteX6" fmla="*/ 33719 w 3562827"/>
                  <a:gd name="connsiteY6" fmla="*/ 18192 h 541686"/>
                  <a:gd name="connsiteX7" fmla="*/ 33719 w 3562827"/>
                  <a:gd name="connsiteY7" fmla="*/ 24288 h 541686"/>
                  <a:gd name="connsiteX8" fmla="*/ 42101 w 3562827"/>
                  <a:gd name="connsiteY8" fmla="*/ 24288 h 541686"/>
                  <a:gd name="connsiteX9" fmla="*/ 42101 w 3562827"/>
                  <a:gd name="connsiteY9" fmla="*/ 30384 h 541686"/>
                  <a:gd name="connsiteX10" fmla="*/ 52674 w 3562827"/>
                  <a:gd name="connsiteY10" fmla="*/ 30384 h 541686"/>
                  <a:gd name="connsiteX11" fmla="*/ 52674 w 3562827"/>
                  <a:gd name="connsiteY11" fmla="*/ 36385 h 541686"/>
                  <a:gd name="connsiteX12" fmla="*/ 65247 w 3562827"/>
                  <a:gd name="connsiteY12" fmla="*/ 36385 h 541686"/>
                  <a:gd name="connsiteX13" fmla="*/ 65247 w 3562827"/>
                  <a:gd name="connsiteY13" fmla="*/ 42481 h 541686"/>
                  <a:gd name="connsiteX14" fmla="*/ 71533 w 3562827"/>
                  <a:gd name="connsiteY14" fmla="*/ 42481 h 541686"/>
                  <a:gd name="connsiteX15" fmla="*/ 71533 w 3562827"/>
                  <a:gd name="connsiteY15" fmla="*/ 54578 h 541686"/>
                  <a:gd name="connsiteX16" fmla="*/ 75724 w 3562827"/>
                  <a:gd name="connsiteY16" fmla="*/ 54578 h 541686"/>
                  <a:gd name="connsiteX17" fmla="*/ 75724 w 3562827"/>
                  <a:gd name="connsiteY17" fmla="*/ 60674 h 541686"/>
                  <a:gd name="connsiteX18" fmla="*/ 88392 w 3562827"/>
                  <a:gd name="connsiteY18" fmla="*/ 60674 h 541686"/>
                  <a:gd name="connsiteX19" fmla="*/ 88392 w 3562827"/>
                  <a:gd name="connsiteY19" fmla="*/ 66770 h 541686"/>
                  <a:gd name="connsiteX20" fmla="*/ 103061 w 3562827"/>
                  <a:gd name="connsiteY20" fmla="*/ 66770 h 541686"/>
                  <a:gd name="connsiteX21" fmla="*/ 103061 w 3562827"/>
                  <a:gd name="connsiteY21" fmla="*/ 72771 h 541686"/>
                  <a:gd name="connsiteX22" fmla="*/ 107347 w 3562827"/>
                  <a:gd name="connsiteY22" fmla="*/ 72771 h 541686"/>
                  <a:gd name="connsiteX23" fmla="*/ 107347 w 3562827"/>
                  <a:gd name="connsiteY23" fmla="*/ 78867 h 541686"/>
                  <a:gd name="connsiteX24" fmla="*/ 117824 w 3562827"/>
                  <a:gd name="connsiteY24" fmla="*/ 78867 h 541686"/>
                  <a:gd name="connsiteX25" fmla="*/ 117824 w 3562827"/>
                  <a:gd name="connsiteY25" fmla="*/ 84963 h 541686"/>
                  <a:gd name="connsiteX26" fmla="*/ 126207 w 3562827"/>
                  <a:gd name="connsiteY26" fmla="*/ 84963 h 541686"/>
                  <a:gd name="connsiteX27" fmla="*/ 126207 w 3562827"/>
                  <a:gd name="connsiteY27" fmla="*/ 91059 h 541686"/>
                  <a:gd name="connsiteX28" fmla="*/ 140970 w 3562827"/>
                  <a:gd name="connsiteY28" fmla="*/ 91059 h 541686"/>
                  <a:gd name="connsiteX29" fmla="*/ 140970 w 3562827"/>
                  <a:gd name="connsiteY29" fmla="*/ 97059 h 541686"/>
                  <a:gd name="connsiteX30" fmla="*/ 145161 w 3562827"/>
                  <a:gd name="connsiteY30" fmla="*/ 97059 h 541686"/>
                  <a:gd name="connsiteX31" fmla="*/ 145161 w 3562827"/>
                  <a:gd name="connsiteY31" fmla="*/ 103155 h 541686"/>
                  <a:gd name="connsiteX32" fmla="*/ 149352 w 3562827"/>
                  <a:gd name="connsiteY32" fmla="*/ 103155 h 541686"/>
                  <a:gd name="connsiteX33" fmla="*/ 149352 w 3562827"/>
                  <a:gd name="connsiteY33" fmla="*/ 109251 h 541686"/>
                  <a:gd name="connsiteX34" fmla="*/ 162021 w 3562827"/>
                  <a:gd name="connsiteY34" fmla="*/ 109251 h 541686"/>
                  <a:gd name="connsiteX35" fmla="*/ 162021 w 3562827"/>
                  <a:gd name="connsiteY35" fmla="*/ 115252 h 541686"/>
                  <a:gd name="connsiteX36" fmla="*/ 191453 w 3562827"/>
                  <a:gd name="connsiteY36" fmla="*/ 115252 h 541686"/>
                  <a:gd name="connsiteX37" fmla="*/ 191453 w 3562827"/>
                  <a:gd name="connsiteY37" fmla="*/ 121348 h 541686"/>
                  <a:gd name="connsiteX38" fmla="*/ 199835 w 3562827"/>
                  <a:gd name="connsiteY38" fmla="*/ 121348 h 541686"/>
                  <a:gd name="connsiteX39" fmla="*/ 199835 w 3562827"/>
                  <a:gd name="connsiteY39" fmla="*/ 127444 h 541686"/>
                  <a:gd name="connsiteX40" fmla="*/ 201930 w 3562827"/>
                  <a:gd name="connsiteY40" fmla="*/ 127444 h 541686"/>
                  <a:gd name="connsiteX41" fmla="*/ 201930 w 3562827"/>
                  <a:gd name="connsiteY41" fmla="*/ 133445 h 541686"/>
                  <a:gd name="connsiteX42" fmla="*/ 216694 w 3562827"/>
                  <a:gd name="connsiteY42" fmla="*/ 133445 h 541686"/>
                  <a:gd name="connsiteX43" fmla="*/ 216694 w 3562827"/>
                  <a:gd name="connsiteY43" fmla="*/ 145637 h 541686"/>
                  <a:gd name="connsiteX44" fmla="*/ 218790 w 3562827"/>
                  <a:gd name="connsiteY44" fmla="*/ 145637 h 541686"/>
                  <a:gd name="connsiteX45" fmla="*/ 218790 w 3562827"/>
                  <a:gd name="connsiteY45" fmla="*/ 151638 h 541686"/>
                  <a:gd name="connsiteX46" fmla="*/ 225076 w 3562827"/>
                  <a:gd name="connsiteY46" fmla="*/ 151638 h 541686"/>
                  <a:gd name="connsiteX47" fmla="*/ 225076 w 3562827"/>
                  <a:gd name="connsiteY47" fmla="*/ 157734 h 541686"/>
                  <a:gd name="connsiteX48" fmla="*/ 229267 w 3562827"/>
                  <a:gd name="connsiteY48" fmla="*/ 157734 h 541686"/>
                  <a:gd name="connsiteX49" fmla="*/ 229267 w 3562827"/>
                  <a:gd name="connsiteY49" fmla="*/ 163830 h 541686"/>
                  <a:gd name="connsiteX50" fmla="*/ 246126 w 3562827"/>
                  <a:gd name="connsiteY50" fmla="*/ 163830 h 541686"/>
                  <a:gd name="connsiteX51" fmla="*/ 246126 w 3562827"/>
                  <a:gd name="connsiteY51" fmla="*/ 175926 h 541686"/>
                  <a:gd name="connsiteX52" fmla="*/ 250317 w 3562827"/>
                  <a:gd name="connsiteY52" fmla="*/ 175926 h 541686"/>
                  <a:gd name="connsiteX53" fmla="*/ 250317 w 3562827"/>
                  <a:gd name="connsiteY53" fmla="*/ 182022 h 541686"/>
                  <a:gd name="connsiteX54" fmla="*/ 273463 w 3562827"/>
                  <a:gd name="connsiteY54" fmla="*/ 182022 h 541686"/>
                  <a:gd name="connsiteX55" fmla="*/ 273463 w 3562827"/>
                  <a:gd name="connsiteY55" fmla="*/ 188118 h 541686"/>
                  <a:gd name="connsiteX56" fmla="*/ 277654 w 3562827"/>
                  <a:gd name="connsiteY56" fmla="*/ 188118 h 541686"/>
                  <a:gd name="connsiteX57" fmla="*/ 277654 w 3562827"/>
                  <a:gd name="connsiteY57" fmla="*/ 194119 h 541686"/>
                  <a:gd name="connsiteX58" fmla="*/ 283941 w 3562827"/>
                  <a:gd name="connsiteY58" fmla="*/ 194119 h 541686"/>
                  <a:gd name="connsiteX59" fmla="*/ 283941 w 3562827"/>
                  <a:gd name="connsiteY59" fmla="*/ 206311 h 541686"/>
                  <a:gd name="connsiteX60" fmla="*/ 302895 w 3562827"/>
                  <a:gd name="connsiteY60" fmla="*/ 206311 h 541686"/>
                  <a:gd name="connsiteX61" fmla="*/ 302895 w 3562827"/>
                  <a:gd name="connsiteY61" fmla="*/ 212312 h 541686"/>
                  <a:gd name="connsiteX62" fmla="*/ 311277 w 3562827"/>
                  <a:gd name="connsiteY62" fmla="*/ 212312 h 541686"/>
                  <a:gd name="connsiteX63" fmla="*/ 311277 w 3562827"/>
                  <a:gd name="connsiteY63" fmla="*/ 218408 h 541686"/>
                  <a:gd name="connsiteX64" fmla="*/ 323946 w 3562827"/>
                  <a:gd name="connsiteY64" fmla="*/ 218408 h 541686"/>
                  <a:gd name="connsiteX65" fmla="*/ 323946 w 3562827"/>
                  <a:gd name="connsiteY65" fmla="*/ 224504 h 541686"/>
                  <a:gd name="connsiteX66" fmla="*/ 340805 w 3562827"/>
                  <a:gd name="connsiteY66" fmla="*/ 224504 h 541686"/>
                  <a:gd name="connsiteX67" fmla="*/ 340805 w 3562827"/>
                  <a:gd name="connsiteY67" fmla="*/ 230505 h 541686"/>
                  <a:gd name="connsiteX68" fmla="*/ 368142 w 3562827"/>
                  <a:gd name="connsiteY68" fmla="*/ 230505 h 541686"/>
                  <a:gd name="connsiteX69" fmla="*/ 368142 w 3562827"/>
                  <a:gd name="connsiteY69" fmla="*/ 236601 h 541686"/>
                  <a:gd name="connsiteX70" fmla="*/ 370237 w 3562827"/>
                  <a:gd name="connsiteY70" fmla="*/ 236601 h 541686"/>
                  <a:gd name="connsiteX71" fmla="*/ 370237 w 3562827"/>
                  <a:gd name="connsiteY71" fmla="*/ 242697 h 541686"/>
                  <a:gd name="connsiteX72" fmla="*/ 380714 w 3562827"/>
                  <a:gd name="connsiteY72" fmla="*/ 242697 h 541686"/>
                  <a:gd name="connsiteX73" fmla="*/ 380714 w 3562827"/>
                  <a:gd name="connsiteY73" fmla="*/ 248697 h 541686"/>
                  <a:gd name="connsiteX74" fmla="*/ 387001 w 3562827"/>
                  <a:gd name="connsiteY74" fmla="*/ 248697 h 541686"/>
                  <a:gd name="connsiteX75" fmla="*/ 387001 w 3562827"/>
                  <a:gd name="connsiteY75" fmla="*/ 260889 h 541686"/>
                  <a:gd name="connsiteX76" fmla="*/ 395478 w 3562827"/>
                  <a:gd name="connsiteY76" fmla="*/ 260889 h 541686"/>
                  <a:gd name="connsiteX77" fmla="*/ 395478 w 3562827"/>
                  <a:gd name="connsiteY77" fmla="*/ 266890 h 541686"/>
                  <a:gd name="connsiteX78" fmla="*/ 401765 w 3562827"/>
                  <a:gd name="connsiteY78" fmla="*/ 266890 h 541686"/>
                  <a:gd name="connsiteX79" fmla="*/ 401765 w 3562827"/>
                  <a:gd name="connsiteY79" fmla="*/ 279082 h 541686"/>
                  <a:gd name="connsiteX80" fmla="*/ 403860 w 3562827"/>
                  <a:gd name="connsiteY80" fmla="*/ 279082 h 541686"/>
                  <a:gd name="connsiteX81" fmla="*/ 403860 w 3562827"/>
                  <a:gd name="connsiteY81" fmla="*/ 285178 h 541686"/>
                  <a:gd name="connsiteX82" fmla="*/ 416433 w 3562827"/>
                  <a:gd name="connsiteY82" fmla="*/ 285178 h 541686"/>
                  <a:gd name="connsiteX83" fmla="*/ 416433 w 3562827"/>
                  <a:gd name="connsiteY83" fmla="*/ 291179 h 541686"/>
                  <a:gd name="connsiteX84" fmla="*/ 439579 w 3562827"/>
                  <a:gd name="connsiteY84" fmla="*/ 291179 h 541686"/>
                  <a:gd name="connsiteX85" fmla="*/ 439579 w 3562827"/>
                  <a:gd name="connsiteY85" fmla="*/ 297275 h 541686"/>
                  <a:gd name="connsiteX86" fmla="*/ 445961 w 3562827"/>
                  <a:gd name="connsiteY86" fmla="*/ 297275 h 541686"/>
                  <a:gd name="connsiteX87" fmla="*/ 445961 w 3562827"/>
                  <a:gd name="connsiteY87" fmla="*/ 303371 h 541686"/>
                  <a:gd name="connsiteX88" fmla="*/ 454343 w 3562827"/>
                  <a:gd name="connsiteY88" fmla="*/ 303371 h 541686"/>
                  <a:gd name="connsiteX89" fmla="*/ 454343 w 3562827"/>
                  <a:gd name="connsiteY89" fmla="*/ 309372 h 541686"/>
                  <a:gd name="connsiteX90" fmla="*/ 462725 w 3562827"/>
                  <a:gd name="connsiteY90" fmla="*/ 309372 h 541686"/>
                  <a:gd name="connsiteX91" fmla="*/ 462725 w 3562827"/>
                  <a:gd name="connsiteY91" fmla="*/ 315468 h 541686"/>
                  <a:gd name="connsiteX92" fmla="*/ 466916 w 3562827"/>
                  <a:gd name="connsiteY92" fmla="*/ 315468 h 541686"/>
                  <a:gd name="connsiteX93" fmla="*/ 466916 w 3562827"/>
                  <a:gd name="connsiteY93" fmla="*/ 321564 h 541686"/>
                  <a:gd name="connsiteX94" fmla="*/ 540544 w 3562827"/>
                  <a:gd name="connsiteY94" fmla="*/ 321564 h 541686"/>
                  <a:gd name="connsiteX95" fmla="*/ 540544 w 3562827"/>
                  <a:gd name="connsiteY95" fmla="*/ 327564 h 541686"/>
                  <a:gd name="connsiteX96" fmla="*/ 561594 w 3562827"/>
                  <a:gd name="connsiteY96" fmla="*/ 327564 h 541686"/>
                  <a:gd name="connsiteX97" fmla="*/ 561594 w 3562827"/>
                  <a:gd name="connsiteY97" fmla="*/ 333660 h 541686"/>
                  <a:gd name="connsiteX98" fmla="*/ 567881 w 3562827"/>
                  <a:gd name="connsiteY98" fmla="*/ 333660 h 541686"/>
                  <a:gd name="connsiteX99" fmla="*/ 567881 w 3562827"/>
                  <a:gd name="connsiteY99" fmla="*/ 339756 h 541686"/>
                  <a:gd name="connsiteX100" fmla="*/ 609981 w 3562827"/>
                  <a:gd name="connsiteY100" fmla="*/ 339756 h 541686"/>
                  <a:gd name="connsiteX101" fmla="*/ 609981 w 3562827"/>
                  <a:gd name="connsiteY101" fmla="*/ 345757 h 541686"/>
                  <a:gd name="connsiteX102" fmla="*/ 624650 w 3562827"/>
                  <a:gd name="connsiteY102" fmla="*/ 345757 h 541686"/>
                  <a:gd name="connsiteX103" fmla="*/ 624650 w 3562827"/>
                  <a:gd name="connsiteY103" fmla="*/ 351853 h 541686"/>
                  <a:gd name="connsiteX104" fmla="*/ 654177 w 3562827"/>
                  <a:gd name="connsiteY104" fmla="*/ 351853 h 541686"/>
                  <a:gd name="connsiteX105" fmla="*/ 654177 w 3562827"/>
                  <a:gd name="connsiteY105" fmla="*/ 357949 h 541686"/>
                  <a:gd name="connsiteX106" fmla="*/ 656273 w 3562827"/>
                  <a:gd name="connsiteY106" fmla="*/ 357949 h 541686"/>
                  <a:gd name="connsiteX107" fmla="*/ 656273 w 3562827"/>
                  <a:gd name="connsiteY107" fmla="*/ 363950 h 541686"/>
                  <a:gd name="connsiteX108" fmla="*/ 679323 w 3562827"/>
                  <a:gd name="connsiteY108" fmla="*/ 363950 h 541686"/>
                  <a:gd name="connsiteX109" fmla="*/ 679323 w 3562827"/>
                  <a:gd name="connsiteY109" fmla="*/ 370046 h 541686"/>
                  <a:gd name="connsiteX110" fmla="*/ 691992 w 3562827"/>
                  <a:gd name="connsiteY110" fmla="*/ 370046 h 541686"/>
                  <a:gd name="connsiteX111" fmla="*/ 691992 w 3562827"/>
                  <a:gd name="connsiteY111" fmla="*/ 376142 h 541686"/>
                  <a:gd name="connsiteX112" fmla="*/ 727710 w 3562827"/>
                  <a:gd name="connsiteY112" fmla="*/ 376142 h 541686"/>
                  <a:gd name="connsiteX113" fmla="*/ 727710 w 3562827"/>
                  <a:gd name="connsiteY113" fmla="*/ 382238 h 541686"/>
                  <a:gd name="connsiteX114" fmla="*/ 843439 w 3562827"/>
                  <a:gd name="connsiteY114" fmla="*/ 382238 h 541686"/>
                  <a:gd name="connsiteX115" fmla="*/ 843439 w 3562827"/>
                  <a:gd name="connsiteY115" fmla="*/ 388239 h 541686"/>
                  <a:gd name="connsiteX116" fmla="*/ 881253 w 3562827"/>
                  <a:gd name="connsiteY116" fmla="*/ 388239 h 541686"/>
                  <a:gd name="connsiteX117" fmla="*/ 881253 w 3562827"/>
                  <a:gd name="connsiteY117" fmla="*/ 394430 h 541686"/>
                  <a:gd name="connsiteX118" fmla="*/ 933831 w 3562827"/>
                  <a:gd name="connsiteY118" fmla="*/ 394430 h 541686"/>
                  <a:gd name="connsiteX119" fmla="*/ 933831 w 3562827"/>
                  <a:gd name="connsiteY119" fmla="*/ 400526 h 541686"/>
                  <a:gd name="connsiteX120" fmla="*/ 952786 w 3562827"/>
                  <a:gd name="connsiteY120" fmla="*/ 400526 h 541686"/>
                  <a:gd name="connsiteX121" fmla="*/ 952786 w 3562827"/>
                  <a:gd name="connsiteY121" fmla="*/ 406622 h 541686"/>
                  <a:gd name="connsiteX122" fmla="*/ 963264 w 3562827"/>
                  <a:gd name="connsiteY122" fmla="*/ 406622 h 541686"/>
                  <a:gd name="connsiteX123" fmla="*/ 963264 w 3562827"/>
                  <a:gd name="connsiteY123" fmla="*/ 412813 h 541686"/>
                  <a:gd name="connsiteX124" fmla="*/ 996982 w 3562827"/>
                  <a:gd name="connsiteY124" fmla="*/ 412813 h 541686"/>
                  <a:gd name="connsiteX125" fmla="*/ 996982 w 3562827"/>
                  <a:gd name="connsiteY125" fmla="*/ 418909 h 541686"/>
                  <a:gd name="connsiteX126" fmla="*/ 1003269 w 3562827"/>
                  <a:gd name="connsiteY126" fmla="*/ 418909 h 541686"/>
                  <a:gd name="connsiteX127" fmla="*/ 1003269 w 3562827"/>
                  <a:gd name="connsiteY127" fmla="*/ 425005 h 541686"/>
                  <a:gd name="connsiteX128" fmla="*/ 1017937 w 3562827"/>
                  <a:gd name="connsiteY128" fmla="*/ 425005 h 541686"/>
                  <a:gd name="connsiteX129" fmla="*/ 1017937 w 3562827"/>
                  <a:gd name="connsiteY129" fmla="*/ 431101 h 541686"/>
                  <a:gd name="connsiteX130" fmla="*/ 1030605 w 3562827"/>
                  <a:gd name="connsiteY130" fmla="*/ 431101 h 541686"/>
                  <a:gd name="connsiteX131" fmla="*/ 1030605 w 3562827"/>
                  <a:gd name="connsiteY131" fmla="*/ 437292 h 541686"/>
                  <a:gd name="connsiteX132" fmla="*/ 1055847 w 3562827"/>
                  <a:gd name="connsiteY132" fmla="*/ 437292 h 541686"/>
                  <a:gd name="connsiteX133" fmla="*/ 1055847 w 3562827"/>
                  <a:gd name="connsiteY133" fmla="*/ 443388 h 541686"/>
                  <a:gd name="connsiteX134" fmla="*/ 1285113 w 3562827"/>
                  <a:gd name="connsiteY134" fmla="*/ 443388 h 541686"/>
                  <a:gd name="connsiteX135" fmla="*/ 1285113 w 3562827"/>
                  <a:gd name="connsiteY135" fmla="*/ 449580 h 541686"/>
                  <a:gd name="connsiteX136" fmla="*/ 1398651 w 3562827"/>
                  <a:gd name="connsiteY136" fmla="*/ 449580 h 541686"/>
                  <a:gd name="connsiteX137" fmla="*/ 1398651 w 3562827"/>
                  <a:gd name="connsiteY137" fmla="*/ 455771 h 541686"/>
                  <a:gd name="connsiteX138" fmla="*/ 1667828 w 3562827"/>
                  <a:gd name="connsiteY138" fmla="*/ 455771 h 541686"/>
                  <a:gd name="connsiteX139" fmla="*/ 1667828 w 3562827"/>
                  <a:gd name="connsiteY139" fmla="*/ 462057 h 541686"/>
                  <a:gd name="connsiteX140" fmla="*/ 1741456 w 3562827"/>
                  <a:gd name="connsiteY140" fmla="*/ 462057 h 541686"/>
                  <a:gd name="connsiteX141" fmla="*/ 1741456 w 3562827"/>
                  <a:gd name="connsiteY141" fmla="*/ 468344 h 541686"/>
                  <a:gd name="connsiteX142" fmla="*/ 1821371 w 3562827"/>
                  <a:gd name="connsiteY142" fmla="*/ 468344 h 541686"/>
                  <a:gd name="connsiteX143" fmla="*/ 1821371 w 3562827"/>
                  <a:gd name="connsiteY143" fmla="*/ 474630 h 541686"/>
                  <a:gd name="connsiteX144" fmla="*/ 1983296 w 3562827"/>
                  <a:gd name="connsiteY144" fmla="*/ 474630 h 541686"/>
                  <a:gd name="connsiteX145" fmla="*/ 1983296 w 3562827"/>
                  <a:gd name="connsiteY145" fmla="*/ 481107 h 541686"/>
                  <a:gd name="connsiteX146" fmla="*/ 2000155 w 3562827"/>
                  <a:gd name="connsiteY146" fmla="*/ 481107 h 541686"/>
                  <a:gd name="connsiteX147" fmla="*/ 2000155 w 3562827"/>
                  <a:gd name="connsiteY147" fmla="*/ 487489 h 541686"/>
                  <a:gd name="connsiteX148" fmla="*/ 2117979 w 3562827"/>
                  <a:gd name="connsiteY148" fmla="*/ 487489 h 541686"/>
                  <a:gd name="connsiteX149" fmla="*/ 2117979 w 3562827"/>
                  <a:gd name="connsiteY149" fmla="*/ 493966 h 541686"/>
                  <a:gd name="connsiteX150" fmla="*/ 2210467 w 3562827"/>
                  <a:gd name="connsiteY150" fmla="*/ 493966 h 541686"/>
                  <a:gd name="connsiteX151" fmla="*/ 2210467 w 3562827"/>
                  <a:gd name="connsiteY151" fmla="*/ 500348 h 541686"/>
                  <a:gd name="connsiteX152" fmla="*/ 2229422 w 3562827"/>
                  <a:gd name="connsiteY152" fmla="*/ 500348 h 541686"/>
                  <a:gd name="connsiteX153" fmla="*/ 2229422 w 3562827"/>
                  <a:gd name="connsiteY153" fmla="*/ 506825 h 541686"/>
                  <a:gd name="connsiteX154" fmla="*/ 3083243 w 3562827"/>
                  <a:gd name="connsiteY154" fmla="*/ 506825 h 541686"/>
                  <a:gd name="connsiteX155" fmla="*/ 3083243 w 3562827"/>
                  <a:gd name="connsiteY155" fmla="*/ 541686 h 541686"/>
                  <a:gd name="connsiteX156" fmla="*/ 3562827 w 3562827"/>
                  <a:gd name="connsiteY156" fmla="*/ 541686 h 541686"/>
                  <a:gd name="connsiteX0" fmla="*/ 0 w 3560636"/>
                  <a:gd name="connsiteY0" fmla="*/ 0 h 535590"/>
                  <a:gd name="connsiteX1" fmla="*/ 10477 w 3560636"/>
                  <a:gd name="connsiteY1" fmla="*/ 0 h 535590"/>
                  <a:gd name="connsiteX2" fmla="*/ 10477 w 3560636"/>
                  <a:gd name="connsiteY2" fmla="*/ 6096 h 535590"/>
                  <a:gd name="connsiteX3" fmla="*/ 16764 w 3560636"/>
                  <a:gd name="connsiteY3" fmla="*/ 6096 h 535590"/>
                  <a:gd name="connsiteX4" fmla="*/ 16764 w 3560636"/>
                  <a:gd name="connsiteY4" fmla="*/ 12096 h 535590"/>
                  <a:gd name="connsiteX5" fmla="*/ 31528 w 3560636"/>
                  <a:gd name="connsiteY5" fmla="*/ 12096 h 535590"/>
                  <a:gd name="connsiteX6" fmla="*/ 31528 w 3560636"/>
                  <a:gd name="connsiteY6" fmla="*/ 18192 h 535590"/>
                  <a:gd name="connsiteX7" fmla="*/ 39910 w 3560636"/>
                  <a:gd name="connsiteY7" fmla="*/ 18192 h 535590"/>
                  <a:gd name="connsiteX8" fmla="*/ 39910 w 3560636"/>
                  <a:gd name="connsiteY8" fmla="*/ 24288 h 535590"/>
                  <a:gd name="connsiteX9" fmla="*/ 50483 w 3560636"/>
                  <a:gd name="connsiteY9" fmla="*/ 24288 h 535590"/>
                  <a:gd name="connsiteX10" fmla="*/ 50483 w 3560636"/>
                  <a:gd name="connsiteY10" fmla="*/ 30289 h 535590"/>
                  <a:gd name="connsiteX11" fmla="*/ 63056 w 3560636"/>
                  <a:gd name="connsiteY11" fmla="*/ 30289 h 535590"/>
                  <a:gd name="connsiteX12" fmla="*/ 63056 w 3560636"/>
                  <a:gd name="connsiteY12" fmla="*/ 36385 h 535590"/>
                  <a:gd name="connsiteX13" fmla="*/ 69342 w 3560636"/>
                  <a:gd name="connsiteY13" fmla="*/ 36385 h 535590"/>
                  <a:gd name="connsiteX14" fmla="*/ 69342 w 3560636"/>
                  <a:gd name="connsiteY14" fmla="*/ 48482 h 535590"/>
                  <a:gd name="connsiteX15" fmla="*/ 73533 w 3560636"/>
                  <a:gd name="connsiteY15" fmla="*/ 48482 h 535590"/>
                  <a:gd name="connsiteX16" fmla="*/ 73533 w 3560636"/>
                  <a:gd name="connsiteY16" fmla="*/ 54578 h 535590"/>
                  <a:gd name="connsiteX17" fmla="*/ 86201 w 3560636"/>
                  <a:gd name="connsiteY17" fmla="*/ 54578 h 535590"/>
                  <a:gd name="connsiteX18" fmla="*/ 86201 w 3560636"/>
                  <a:gd name="connsiteY18" fmla="*/ 60674 h 535590"/>
                  <a:gd name="connsiteX19" fmla="*/ 100870 w 3560636"/>
                  <a:gd name="connsiteY19" fmla="*/ 60674 h 535590"/>
                  <a:gd name="connsiteX20" fmla="*/ 100870 w 3560636"/>
                  <a:gd name="connsiteY20" fmla="*/ 66675 h 535590"/>
                  <a:gd name="connsiteX21" fmla="*/ 105156 w 3560636"/>
                  <a:gd name="connsiteY21" fmla="*/ 66675 h 535590"/>
                  <a:gd name="connsiteX22" fmla="*/ 105156 w 3560636"/>
                  <a:gd name="connsiteY22" fmla="*/ 72771 h 535590"/>
                  <a:gd name="connsiteX23" fmla="*/ 115633 w 3560636"/>
                  <a:gd name="connsiteY23" fmla="*/ 72771 h 535590"/>
                  <a:gd name="connsiteX24" fmla="*/ 115633 w 3560636"/>
                  <a:gd name="connsiteY24" fmla="*/ 78867 h 535590"/>
                  <a:gd name="connsiteX25" fmla="*/ 124016 w 3560636"/>
                  <a:gd name="connsiteY25" fmla="*/ 78867 h 535590"/>
                  <a:gd name="connsiteX26" fmla="*/ 124016 w 3560636"/>
                  <a:gd name="connsiteY26" fmla="*/ 84963 h 535590"/>
                  <a:gd name="connsiteX27" fmla="*/ 138779 w 3560636"/>
                  <a:gd name="connsiteY27" fmla="*/ 84963 h 535590"/>
                  <a:gd name="connsiteX28" fmla="*/ 138779 w 3560636"/>
                  <a:gd name="connsiteY28" fmla="*/ 90963 h 535590"/>
                  <a:gd name="connsiteX29" fmla="*/ 142970 w 3560636"/>
                  <a:gd name="connsiteY29" fmla="*/ 90963 h 535590"/>
                  <a:gd name="connsiteX30" fmla="*/ 142970 w 3560636"/>
                  <a:gd name="connsiteY30" fmla="*/ 97059 h 535590"/>
                  <a:gd name="connsiteX31" fmla="*/ 147161 w 3560636"/>
                  <a:gd name="connsiteY31" fmla="*/ 97059 h 535590"/>
                  <a:gd name="connsiteX32" fmla="*/ 147161 w 3560636"/>
                  <a:gd name="connsiteY32" fmla="*/ 103155 h 535590"/>
                  <a:gd name="connsiteX33" fmla="*/ 159830 w 3560636"/>
                  <a:gd name="connsiteY33" fmla="*/ 103155 h 535590"/>
                  <a:gd name="connsiteX34" fmla="*/ 159830 w 3560636"/>
                  <a:gd name="connsiteY34" fmla="*/ 109156 h 535590"/>
                  <a:gd name="connsiteX35" fmla="*/ 189262 w 3560636"/>
                  <a:gd name="connsiteY35" fmla="*/ 109156 h 535590"/>
                  <a:gd name="connsiteX36" fmla="*/ 189262 w 3560636"/>
                  <a:gd name="connsiteY36" fmla="*/ 115252 h 535590"/>
                  <a:gd name="connsiteX37" fmla="*/ 197644 w 3560636"/>
                  <a:gd name="connsiteY37" fmla="*/ 115252 h 535590"/>
                  <a:gd name="connsiteX38" fmla="*/ 197644 w 3560636"/>
                  <a:gd name="connsiteY38" fmla="*/ 121348 h 535590"/>
                  <a:gd name="connsiteX39" fmla="*/ 199739 w 3560636"/>
                  <a:gd name="connsiteY39" fmla="*/ 121348 h 535590"/>
                  <a:gd name="connsiteX40" fmla="*/ 199739 w 3560636"/>
                  <a:gd name="connsiteY40" fmla="*/ 127349 h 535590"/>
                  <a:gd name="connsiteX41" fmla="*/ 214503 w 3560636"/>
                  <a:gd name="connsiteY41" fmla="*/ 127349 h 535590"/>
                  <a:gd name="connsiteX42" fmla="*/ 214503 w 3560636"/>
                  <a:gd name="connsiteY42" fmla="*/ 139541 h 535590"/>
                  <a:gd name="connsiteX43" fmla="*/ 216599 w 3560636"/>
                  <a:gd name="connsiteY43" fmla="*/ 139541 h 535590"/>
                  <a:gd name="connsiteX44" fmla="*/ 216599 w 3560636"/>
                  <a:gd name="connsiteY44" fmla="*/ 145542 h 535590"/>
                  <a:gd name="connsiteX45" fmla="*/ 222885 w 3560636"/>
                  <a:gd name="connsiteY45" fmla="*/ 145542 h 535590"/>
                  <a:gd name="connsiteX46" fmla="*/ 222885 w 3560636"/>
                  <a:gd name="connsiteY46" fmla="*/ 151638 h 535590"/>
                  <a:gd name="connsiteX47" fmla="*/ 227076 w 3560636"/>
                  <a:gd name="connsiteY47" fmla="*/ 151638 h 535590"/>
                  <a:gd name="connsiteX48" fmla="*/ 227076 w 3560636"/>
                  <a:gd name="connsiteY48" fmla="*/ 157734 h 535590"/>
                  <a:gd name="connsiteX49" fmla="*/ 243935 w 3560636"/>
                  <a:gd name="connsiteY49" fmla="*/ 157734 h 535590"/>
                  <a:gd name="connsiteX50" fmla="*/ 243935 w 3560636"/>
                  <a:gd name="connsiteY50" fmla="*/ 169830 h 535590"/>
                  <a:gd name="connsiteX51" fmla="*/ 248126 w 3560636"/>
                  <a:gd name="connsiteY51" fmla="*/ 169830 h 535590"/>
                  <a:gd name="connsiteX52" fmla="*/ 248126 w 3560636"/>
                  <a:gd name="connsiteY52" fmla="*/ 175926 h 535590"/>
                  <a:gd name="connsiteX53" fmla="*/ 271272 w 3560636"/>
                  <a:gd name="connsiteY53" fmla="*/ 175926 h 535590"/>
                  <a:gd name="connsiteX54" fmla="*/ 271272 w 3560636"/>
                  <a:gd name="connsiteY54" fmla="*/ 182022 h 535590"/>
                  <a:gd name="connsiteX55" fmla="*/ 275463 w 3560636"/>
                  <a:gd name="connsiteY55" fmla="*/ 182022 h 535590"/>
                  <a:gd name="connsiteX56" fmla="*/ 275463 w 3560636"/>
                  <a:gd name="connsiteY56" fmla="*/ 188023 h 535590"/>
                  <a:gd name="connsiteX57" fmla="*/ 281750 w 3560636"/>
                  <a:gd name="connsiteY57" fmla="*/ 188023 h 535590"/>
                  <a:gd name="connsiteX58" fmla="*/ 281750 w 3560636"/>
                  <a:gd name="connsiteY58" fmla="*/ 200215 h 535590"/>
                  <a:gd name="connsiteX59" fmla="*/ 300704 w 3560636"/>
                  <a:gd name="connsiteY59" fmla="*/ 200215 h 535590"/>
                  <a:gd name="connsiteX60" fmla="*/ 300704 w 3560636"/>
                  <a:gd name="connsiteY60" fmla="*/ 206216 h 535590"/>
                  <a:gd name="connsiteX61" fmla="*/ 309086 w 3560636"/>
                  <a:gd name="connsiteY61" fmla="*/ 206216 h 535590"/>
                  <a:gd name="connsiteX62" fmla="*/ 309086 w 3560636"/>
                  <a:gd name="connsiteY62" fmla="*/ 212312 h 535590"/>
                  <a:gd name="connsiteX63" fmla="*/ 321755 w 3560636"/>
                  <a:gd name="connsiteY63" fmla="*/ 212312 h 535590"/>
                  <a:gd name="connsiteX64" fmla="*/ 321755 w 3560636"/>
                  <a:gd name="connsiteY64" fmla="*/ 218408 h 535590"/>
                  <a:gd name="connsiteX65" fmla="*/ 338614 w 3560636"/>
                  <a:gd name="connsiteY65" fmla="*/ 218408 h 535590"/>
                  <a:gd name="connsiteX66" fmla="*/ 338614 w 3560636"/>
                  <a:gd name="connsiteY66" fmla="*/ 224409 h 535590"/>
                  <a:gd name="connsiteX67" fmla="*/ 365951 w 3560636"/>
                  <a:gd name="connsiteY67" fmla="*/ 224409 h 535590"/>
                  <a:gd name="connsiteX68" fmla="*/ 365951 w 3560636"/>
                  <a:gd name="connsiteY68" fmla="*/ 230505 h 535590"/>
                  <a:gd name="connsiteX69" fmla="*/ 368046 w 3560636"/>
                  <a:gd name="connsiteY69" fmla="*/ 230505 h 535590"/>
                  <a:gd name="connsiteX70" fmla="*/ 368046 w 3560636"/>
                  <a:gd name="connsiteY70" fmla="*/ 236601 h 535590"/>
                  <a:gd name="connsiteX71" fmla="*/ 378523 w 3560636"/>
                  <a:gd name="connsiteY71" fmla="*/ 236601 h 535590"/>
                  <a:gd name="connsiteX72" fmla="*/ 378523 w 3560636"/>
                  <a:gd name="connsiteY72" fmla="*/ 242601 h 535590"/>
                  <a:gd name="connsiteX73" fmla="*/ 384810 w 3560636"/>
                  <a:gd name="connsiteY73" fmla="*/ 242601 h 535590"/>
                  <a:gd name="connsiteX74" fmla="*/ 384810 w 3560636"/>
                  <a:gd name="connsiteY74" fmla="*/ 254793 h 535590"/>
                  <a:gd name="connsiteX75" fmla="*/ 393287 w 3560636"/>
                  <a:gd name="connsiteY75" fmla="*/ 254793 h 535590"/>
                  <a:gd name="connsiteX76" fmla="*/ 393287 w 3560636"/>
                  <a:gd name="connsiteY76" fmla="*/ 260794 h 535590"/>
                  <a:gd name="connsiteX77" fmla="*/ 399574 w 3560636"/>
                  <a:gd name="connsiteY77" fmla="*/ 260794 h 535590"/>
                  <a:gd name="connsiteX78" fmla="*/ 399574 w 3560636"/>
                  <a:gd name="connsiteY78" fmla="*/ 272986 h 535590"/>
                  <a:gd name="connsiteX79" fmla="*/ 401669 w 3560636"/>
                  <a:gd name="connsiteY79" fmla="*/ 272986 h 535590"/>
                  <a:gd name="connsiteX80" fmla="*/ 401669 w 3560636"/>
                  <a:gd name="connsiteY80" fmla="*/ 279082 h 535590"/>
                  <a:gd name="connsiteX81" fmla="*/ 414242 w 3560636"/>
                  <a:gd name="connsiteY81" fmla="*/ 279082 h 535590"/>
                  <a:gd name="connsiteX82" fmla="*/ 414242 w 3560636"/>
                  <a:gd name="connsiteY82" fmla="*/ 285083 h 535590"/>
                  <a:gd name="connsiteX83" fmla="*/ 437388 w 3560636"/>
                  <a:gd name="connsiteY83" fmla="*/ 285083 h 535590"/>
                  <a:gd name="connsiteX84" fmla="*/ 437388 w 3560636"/>
                  <a:gd name="connsiteY84" fmla="*/ 291179 h 535590"/>
                  <a:gd name="connsiteX85" fmla="*/ 443770 w 3560636"/>
                  <a:gd name="connsiteY85" fmla="*/ 291179 h 535590"/>
                  <a:gd name="connsiteX86" fmla="*/ 443770 w 3560636"/>
                  <a:gd name="connsiteY86" fmla="*/ 297275 h 535590"/>
                  <a:gd name="connsiteX87" fmla="*/ 452152 w 3560636"/>
                  <a:gd name="connsiteY87" fmla="*/ 297275 h 535590"/>
                  <a:gd name="connsiteX88" fmla="*/ 452152 w 3560636"/>
                  <a:gd name="connsiteY88" fmla="*/ 303276 h 535590"/>
                  <a:gd name="connsiteX89" fmla="*/ 460534 w 3560636"/>
                  <a:gd name="connsiteY89" fmla="*/ 303276 h 535590"/>
                  <a:gd name="connsiteX90" fmla="*/ 460534 w 3560636"/>
                  <a:gd name="connsiteY90" fmla="*/ 309372 h 535590"/>
                  <a:gd name="connsiteX91" fmla="*/ 464725 w 3560636"/>
                  <a:gd name="connsiteY91" fmla="*/ 309372 h 535590"/>
                  <a:gd name="connsiteX92" fmla="*/ 464725 w 3560636"/>
                  <a:gd name="connsiteY92" fmla="*/ 315468 h 535590"/>
                  <a:gd name="connsiteX93" fmla="*/ 538353 w 3560636"/>
                  <a:gd name="connsiteY93" fmla="*/ 315468 h 535590"/>
                  <a:gd name="connsiteX94" fmla="*/ 538353 w 3560636"/>
                  <a:gd name="connsiteY94" fmla="*/ 321468 h 535590"/>
                  <a:gd name="connsiteX95" fmla="*/ 559403 w 3560636"/>
                  <a:gd name="connsiteY95" fmla="*/ 321468 h 535590"/>
                  <a:gd name="connsiteX96" fmla="*/ 559403 w 3560636"/>
                  <a:gd name="connsiteY96" fmla="*/ 327564 h 535590"/>
                  <a:gd name="connsiteX97" fmla="*/ 565690 w 3560636"/>
                  <a:gd name="connsiteY97" fmla="*/ 327564 h 535590"/>
                  <a:gd name="connsiteX98" fmla="*/ 565690 w 3560636"/>
                  <a:gd name="connsiteY98" fmla="*/ 333660 h 535590"/>
                  <a:gd name="connsiteX99" fmla="*/ 607790 w 3560636"/>
                  <a:gd name="connsiteY99" fmla="*/ 333660 h 535590"/>
                  <a:gd name="connsiteX100" fmla="*/ 607790 w 3560636"/>
                  <a:gd name="connsiteY100" fmla="*/ 339661 h 535590"/>
                  <a:gd name="connsiteX101" fmla="*/ 622459 w 3560636"/>
                  <a:gd name="connsiteY101" fmla="*/ 339661 h 535590"/>
                  <a:gd name="connsiteX102" fmla="*/ 622459 w 3560636"/>
                  <a:gd name="connsiteY102" fmla="*/ 345757 h 535590"/>
                  <a:gd name="connsiteX103" fmla="*/ 651986 w 3560636"/>
                  <a:gd name="connsiteY103" fmla="*/ 345757 h 535590"/>
                  <a:gd name="connsiteX104" fmla="*/ 651986 w 3560636"/>
                  <a:gd name="connsiteY104" fmla="*/ 351853 h 535590"/>
                  <a:gd name="connsiteX105" fmla="*/ 654082 w 3560636"/>
                  <a:gd name="connsiteY105" fmla="*/ 351853 h 535590"/>
                  <a:gd name="connsiteX106" fmla="*/ 654082 w 3560636"/>
                  <a:gd name="connsiteY106" fmla="*/ 357854 h 535590"/>
                  <a:gd name="connsiteX107" fmla="*/ 677132 w 3560636"/>
                  <a:gd name="connsiteY107" fmla="*/ 357854 h 535590"/>
                  <a:gd name="connsiteX108" fmla="*/ 677132 w 3560636"/>
                  <a:gd name="connsiteY108" fmla="*/ 363950 h 535590"/>
                  <a:gd name="connsiteX109" fmla="*/ 689801 w 3560636"/>
                  <a:gd name="connsiteY109" fmla="*/ 363950 h 535590"/>
                  <a:gd name="connsiteX110" fmla="*/ 689801 w 3560636"/>
                  <a:gd name="connsiteY110" fmla="*/ 370046 h 535590"/>
                  <a:gd name="connsiteX111" fmla="*/ 725519 w 3560636"/>
                  <a:gd name="connsiteY111" fmla="*/ 370046 h 535590"/>
                  <a:gd name="connsiteX112" fmla="*/ 725519 w 3560636"/>
                  <a:gd name="connsiteY112" fmla="*/ 376142 h 535590"/>
                  <a:gd name="connsiteX113" fmla="*/ 841248 w 3560636"/>
                  <a:gd name="connsiteY113" fmla="*/ 376142 h 535590"/>
                  <a:gd name="connsiteX114" fmla="*/ 841248 w 3560636"/>
                  <a:gd name="connsiteY114" fmla="*/ 382143 h 535590"/>
                  <a:gd name="connsiteX115" fmla="*/ 879062 w 3560636"/>
                  <a:gd name="connsiteY115" fmla="*/ 382143 h 535590"/>
                  <a:gd name="connsiteX116" fmla="*/ 879062 w 3560636"/>
                  <a:gd name="connsiteY116" fmla="*/ 388334 h 535590"/>
                  <a:gd name="connsiteX117" fmla="*/ 931640 w 3560636"/>
                  <a:gd name="connsiteY117" fmla="*/ 388334 h 535590"/>
                  <a:gd name="connsiteX118" fmla="*/ 931640 w 3560636"/>
                  <a:gd name="connsiteY118" fmla="*/ 394430 h 535590"/>
                  <a:gd name="connsiteX119" fmla="*/ 950595 w 3560636"/>
                  <a:gd name="connsiteY119" fmla="*/ 394430 h 535590"/>
                  <a:gd name="connsiteX120" fmla="*/ 950595 w 3560636"/>
                  <a:gd name="connsiteY120" fmla="*/ 400526 h 535590"/>
                  <a:gd name="connsiteX121" fmla="*/ 961073 w 3560636"/>
                  <a:gd name="connsiteY121" fmla="*/ 400526 h 535590"/>
                  <a:gd name="connsiteX122" fmla="*/ 961073 w 3560636"/>
                  <a:gd name="connsiteY122" fmla="*/ 406717 h 535590"/>
                  <a:gd name="connsiteX123" fmla="*/ 994791 w 3560636"/>
                  <a:gd name="connsiteY123" fmla="*/ 406717 h 535590"/>
                  <a:gd name="connsiteX124" fmla="*/ 994791 w 3560636"/>
                  <a:gd name="connsiteY124" fmla="*/ 412813 h 535590"/>
                  <a:gd name="connsiteX125" fmla="*/ 1001078 w 3560636"/>
                  <a:gd name="connsiteY125" fmla="*/ 412813 h 535590"/>
                  <a:gd name="connsiteX126" fmla="*/ 1001078 w 3560636"/>
                  <a:gd name="connsiteY126" fmla="*/ 418909 h 535590"/>
                  <a:gd name="connsiteX127" fmla="*/ 1015746 w 3560636"/>
                  <a:gd name="connsiteY127" fmla="*/ 418909 h 535590"/>
                  <a:gd name="connsiteX128" fmla="*/ 1015746 w 3560636"/>
                  <a:gd name="connsiteY128" fmla="*/ 425005 h 535590"/>
                  <a:gd name="connsiteX129" fmla="*/ 1028414 w 3560636"/>
                  <a:gd name="connsiteY129" fmla="*/ 425005 h 535590"/>
                  <a:gd name="connsiteX130" fmla="*/ 1028414 w 3560636"/>
                  <a:gd name="connsiteY130" fmla="*/ 431196 h 535590"/>
                  <a:gd name="connsiteX131" fmla="*/ 1053656 w 3560636"/>
                  <a:gd name="connsiteY131" fmla="*/ 431196 h 535590"/>
                  <a:gd name="connsiteX132" fmla="*/ 1053656 w 3560636"/>
                  <a:gd name="connsiteY132" fmla="*/ 437292 h 535590"/>
                  <a:gd name="connsiteX133" fmla="*/ 1282922 w 3560636"/>
                  <a:gd name="connsiteY133" fmla="*/ 437292 h 535590"/>
                  <a:gd name="connsiteX134" fmla="*/ 1282922 w 3560636"/>
                  <a:gd name="connsiteY134" fmla="*/ 443484 h 535590"/>
                  <a:gd name="connsiteX135" fmla="*/ 1396460 w 3560636"/>
                  <a:gd name="connsiteY135" fmla="*/ 443484 h 535590"/>
                  <a:gd name="connsiteX136" fmla="*/ 1396460 w 3560636"/>
                  <a:gd name="connsiteY136" fmla="*/ 449675 h 535590"/>
                  <a:gd name="connsiteX137" fmla="*/ 1665637 w 3560636"/>
                  <a:gd name="connsiteY137" fmla="*/ 449675 h 535590"/>
                  <a:gd name="connsiteX138" fmla="*/ 1665637 w 3560636"/>
                  <a:gd name="connsiteY138" fmla="*/ 455961 h 535590"/>
                  <a:gd name="connsiteX139" fmla="*/ 1739265 w 3560636"/>
                  <a:gd name="connsiteY139" fmla="*/ 455961 h 535590"/>
                  <a:gd name="connsiteX140" fmla="*/ 1739265 w 3560636"/>
                  <a:gd name="connsiteY140" fmla="*/ 462248 h 535590"/>
                  <a:gd name="connsiteX141" fmla="*/ 1819180 w 3560636"/>
                  <a:gd name="connsiteY141" fmla="*/ 462248 h 535590"/>
                  <a:gd name="connsiteX142" fmla="*/ 1819180 w 3560636"/>
                  <a:gd name="connsiteY142" fmla="*/ 468534 h 535590"/>
                  <a:gd name="connsiteX143" fmla="*/ 1981105 w 3560636"/>
                  <a:gd name="connsiteY143" fmla="*/ 468534 h 535590"/>
                  <a:gd name="connsiteX144" fmla="*/ 1981105 w 3560636"/>
                  <a:gd name="connsiteY144" fmla="*/ 475011 h 535590"/>
                  <a:gd name="connsiteX145" fmla="*/ 1997964 w 3560636"/>
                  <a:gd name="connsiteY145" fmla="*/ 475011 h 535590"/>
                  <a:gd name="connsiteX146" fmla="*/ 1997964 w 3560636"/>
                  <a:gd name="connsiteY146" fmla="*/ 481393 h 535590"/>
                  <a:gd name="connsiteX147" fmla="*/ 2115788 w 3560636"/>
                  <a:gd name="connsiteY147" fmla="*/ 481393 h 535590"/>
                  <a:gd name="connsiteX148" fmla="*/ 2115788 w 3560636"/>
                  <a:gd name="connsiteY148" fmla="*/ 487870 h 535590"/>
                  <a:gd name="connsiteX149" fmla="*/ 2208276 w 3560636"/>
                  <a:gd name="connsiteY149" fmla="*/ 487870 h 535590"/>
                  <a:gd name="connsiteX150" fmla="*/ 2208276 w 3560636"/>
                  <a:gd name="connsiteY150" fmla="*/ 494252 h 535590"/>
                  <a:gd name="connsiteX151" fmla="*/ 2227231 w 3560636"/>
                  <a:gd name="connsiteY151" fmla="*/ 494252 h 535590"/>
                  <a:gd name="connsiteX152" fmla="*/ 2227231 w 3560636"/>
                  <a:gd name="connsiteY152" fmla="*/ 500729 h 535590"/>
                  <a:gd name="connsiteX153" fmla="*/ 3081052 w 3560636"/>
                  <a:gd name="connsiteY153" fmla="*/ 500729 h 535590"/>
                  <a:gd name="connsiteX154" fmla="*/ 3081052 w 3560636"/>
                  <a:gd name="connsiteY154" fmla="*/ 535590 h 535590"/>
                  <a:gd name="connsiteX155" fmla="*/ 3560636 w 3560636"/>
                  <a:gd name="connsiteY155" fmla="*/ 535590 h 535590"/>
                  <a:gd name="connsiteX0" fmla="*/ 0 w 3550159"/>
                  <a:gd name="connsiteY0" fmla="*/ 0 h 535590"/>
                  <a:gd name="connsiteX1" fmla="*/ 0 w 3550159"/>
                  <a:gd name="connsiteY1" fmla="*/ 6096 h 535590"/>
                  <a:gd name="connsiteX2" fmla="*/ 6287 w 3550159"/>
                  <a:gd name="connsiteY2" fmla="*/ 6096 h 535590"/>
                  <a:gd name="connsiteX3" fmla="*/ 6287 w 3550159"/>
                  <a:gd name="connsiteY3" fmla="*/ 12096 h 535590"/>
                  <a:gd name="connsiteX4" fmla="*/ 21051 w 3550159"/>
                  <a:gd name="connsiteY4" fmla="*/ 12096 h 535590"/>
                  <a:gd name="connsiteX5" fmla="*/ 21051 w 3550159"/>
                  <a:gd name="connsiteY5" fmla="*/ 18192 h 535590"/>
                  <a:gd name="connsiteX6" fmla="*/ 29433 w 3550159"/>
                  <a:gd name="connsiteY6" fmla="*/ 18192 h 535590"/>
                  <a:gd name="connsiteX7" fmla="*/ 29433 w 3550159"/>
                  <a:gd name="connsiteY7" fmla="*/ 24288 h 535590"/>
                  <a:gd name="connsiteX8" fmla="*/ 40006 w 3550159"/>
                  <a:gd name="connsiteY8" fmla="*/ 24288 h 535590"/>
                  <a:gd name="connsiteX9" fmla="*/ 40006 w 3550159"/>
                  <a:gd name="connsiteY9" fmla="*/ 30289 h 535590"/>
                  <a:gd name="connsiteX10" fmla="*/ 52579 w 3550159"/>
                  <a:gd name="connsiteY10" fmla="*/ 30289 h 535590"/>
                  <a:gd name="connsiteX11" fmla="*/ 52579 w 3550159"/>
                  <a:gd name="connsiteY11" fmla="*/ 36385 h 535590"/>
                  <a:gd name="connsiteX12" fmla="*/ 58865 w 3550159"/>
                  <a:gd name="connsiteY12" fmla="*/ 36385 h 535590"/>
                  <a:gd name="connsiteX13" fmla="*/ 58865 w 3550159"/>
                  <a:gd name="connsiteY13" fmla="*/ 48482 h 535590"/>
                  <a:gd name="connsiteX14" fmla="*/ 63056 w 3550159"/>
                  <a:gd name="connsiteY14" fmla="*/ 48482 h 535590"/>
                  <a:gd name="connsiteX15" fmla="*/ 63056 w 3550159"/>
                  <a:gd name="connsiteY15" fmla="*/ 54578 h 535590"/>
                  <a:gd name="connsiteX16" fmla="*/ 75724 w 3550159"/>
                  <a:gd name="connsiteY16" fmla="*/ 54578 h 535590"/>
                  <a:gd name="connsiteX17" fmla="*/ 75724 w 3550159"/>
                  <a:gd name="connsiteY17" fmla="*/ 60674 h 535590"/>
                  <a:gd name="connsiteX18" fmla="*/ 90393 w 3550159"/>
                  <a:gd name="connsiteY18" fmla="*/ 60674 h 535590"/>
                  <a:gd name="connsiteX19" fmla="*/ 90393 w 3550159"/>
                  <a:gd name="connsiteY19" fmla="*/ 66675 h 535590"/>
                  <a:gd name="connsiteX20" fmla="*/ 94679 w 3550159"/>
                  <a:gd name="connsiteY20" fmla="*/ 66675 h 535590"/>
                  <a:gd name="connsiteX21" fmla="*/ 94679 w 3550159"/>
                  <a:gd name="connsiteY21" fmla="*/ 72771 h 535590"/>
                  <a:gd name="connsiteX22" fmla="*/ 105156 w 3550159"/>
                  <a:gd name="connsiteY22" fmla="*/ 72771 h 535590"/>
                  <a:gd name="connsiteX23" fmla="*/ 105156 w 3550159"/>
                  <a:gd name="connsiteY23" fmla="*/ 78867 h 535590"/>
                  <a:gd name="connsiteX24" fmla="*/ 113539 w 3550159"/>
                  <a:gd name="connsiteY24" fmla="*/ 78867 h 535590"/>
                  <a:gd name="connsiteX25" fmla="*/ 113539 w 3550159"/>
                  <a:gd name="connsiteY25" fmla="*/ 84963 h 535590"/>
                  <a:gd name="connsiteX26" fmla="*/ 128302 w 3550159"/>
                  <a:gd name="connsiteY26" fmla="*/ 84963 h 535590"/>
                  <a:gd name="connsiteX27" fmla="*/ 128302 w 3550159"/>
                  <a:gd name="connsiteY27" fmla="*/ 90963 h 535590"/>
                  <a:gd name="connsiteX28" fmla="*/ 132493 w 3550159"/>
                  <a:gd name="connsiteY28" fmla="*/ 90963 h 535590"/>
                  <a:gd name="connsiteX29" fmla="*/ 132493 w 3550159"/>
                  <a:gd name="connsiteY29" fmla="*/ 97059 h 535590"/>
                  <a:gd name="connsiteX30" fmla="*/ 136684 w 3550159"/>
                  <a:gd name="connsiteY30" fmla="*/ 97059 h 535590"/>
                  <a:gd name="connsiteX31" fmla="*/ 136684 w 3550159"/>
                  <a:gd name="connsiteY31" fmla="*/ 103155 h 535590"/>
                  <a:gd name="connsiteX32" fmla="*/ 149353 w 3550159"/>
                  <a:gd name="connsiteY32" fmla="*/ 103155 h 535590"/>
                  <a:gd name="connsiteX33" fmla="*/ 149353 w 3550159"/>
                  <a:gd name="connsiteY33" fmla="*/ 109156 h 535590"/>
                  <a:gd name="connsiteX34" fmla="*/ 178785 w 3550159"/>
                  <a:gd name="connsiteY34" fmla="*/ 109156 h 535590"/>
                  <a:gd name="connsiteX35" fmla="*/ 178785 w 3550159"/>
                  <a:gd name="connsiteY35" fmla="*/ 115252 h 535590"/>
                  <a:gd name="connsiteX36" fmla="*/ 187167 w 3550159"/>
                  <a:gd name="connsiteY36" fmla="*/ 115252 h 535590"/>
                  <a:gd name="connsiteX37" fmla="*/ 187167 w 3550159"/>
                  <a:gd name="connsiteY37" fmla="*/ 121348 h 535590"/>
                  <a:gd name="connsiteX38" fmla="*/ 189262 w 3550159"/>
                  <a:gd name="connsiteY38" fmla="*/ 121348 h 535590"/>
                  <a:gd name="connsiteX39" fmla="*/ 189262 w 3550159"/>
                  <a:gd name="connsiteY39" fmla="*/ 127349 h 535590"/>
                  <a:gd name="connsiteX40" fmla="*/ 204026 w 3550159"/>
                  <a:gd name="connsiteY40" fmla="*/ 127349 h 535590"/>
                  <a:gd name="connsiteX41" fmla="*/ 204026 w 3550159"/>
                  <a:gd name="connsiteY41" fmla="*/ 139541 h 535590"/>
                  <a:gd name="connsiteX42" fmla="*/ 206122 w 3550159"/>
                  <a:gd name="connsiteY42" fmla="*/ 139541 h 535590"/>
                  <a:gd name="connsiteX43" fmla="*/ 206122 w 3550159"/>
                  <a:gd name="connsiteY43" fmla="*/ 145542 h 535590"/>
                  <a:gd name="connsiteX44" fmla="*/ 212408 w 3550159"/>
                  <a:gd name="connsiteY44" fmla="*/ 145542 h 535590"/>
                  <a:gd name="connsiteX45" fmla="*/ 212408 w 3550159"/>
                  <a:gd name="connsiteY45" fmla="*/ 151638 h 535590"/>
                  <a:gd name="connsiteX46" fmla="*/ 216599 w 3550159"/>
                  <a:gd name="connsiteY46" fmla="*/ 151638 h 535590"/>
                  <a:gd name="connsiteX47" fmla="*/ 216599 w 3550159"/>
                  <a:gd name="connsiteY47" fmla="*/ 157734 h 535590"/>
                  <a:gd name="connsiteX48" fmla="*/ 233458 w 3550159"/>
                  <a:gd name="connsiteY48" fmla="*/ 157734 h 535590"/>
                  <a:gd name="connsiteX49" fmla="*/ 233458 w 3550159"/>
                  <a:gd name="connsiteY49" fmla="*/ 169830 h 535590"/>
                  <a:gd name="connsiteX50" fmla="*/ 237649 w 3550159"/>
                  <a:gd name="connsiteY50" fmla="*/ 169830 h 535590"/>
                  <a:gd name="connsiteX51" fmla="*/ 237649 w 3550159"/>
                  <a:gd name="connsiteY51" fmla="*/ 175926 h 535590"/>
                  <a:gd name="connsiteX52" fmla="*/ 260795 w 3550159"/>
                  <a:gd name="connsiteY52" fmla="*/ 175926 h 535590"/>
                  <a:gd name="connsiteX53" fmla="*/ 260795 w 3550159"/>
                  <a:gd name="connsiteY53" fmla="*/ 182022 h 535590"/>
                  <a:gd name="connsiteX54" fmla="*/ 264986 w 3550159"/>
                  <a:gd name="connsiteY54" fmla="*/ 182022 h 535590"/>
                  <a:gd name="connsiteX55" fmla="*/ 264986 w 3550159"/>
                  <a:gd name="connsiteY55" fmla="*/ 188023 h 535590"/>
                  <a:gd name="connsiteX56" fmla="*/ 271273 w 3550159"/>
                  <a:gd name="connsiteY56" fmla="*/ 188023 h 535590"/>
                  <a:gd name="connsiteX57" fmla="*/ 271273 w 3550159"/>
                  <a:gd name="connsiteY57" fmla="*/ 200215 h 535590"/>
                  <a:gd name="connsiteX58" fmla="*/ 290227 w 3550159"/>
                  <a:gd name="connsiteY58" fmla="*/ 200215 h 535590"/>
                  <a:gd name="connsiteX59" fmla="*/ 290227 w 3550159"/>
                  <a:gd name="connsiteY59" fmla="*/ 206216 h 535590"/>
                  <a:gd name="connsiteX60" fmla="*/ 298609 w 3550159"/>
                  <a:gd name="connsiteY60" fmla="*/ 206216 h 535590"/>
                  <a:gd name="connsiteX61" fmla="*/ 298609 w 3550159"/>
                  <a:gd name="connsiteY61" fmla="*/ 212312 h 535590"/>
                  <a:gd name="connsiteX62" fmla="*/ 311278 w 3550159"/>
                  <a:gd name="connsiteY62" fmla="*/ 212312 h 535590"/>
                  <a:gd name="connsiteX63" fmla="*/ 311278 w 3550159"/>
                  <a:gd name="connsiteY63" fmla="*/ 218408 h 535590"/>
                  <a:gd name="connsiteX64" fmla="*/ 328137 w 3550159"/>
                  <a:gd name="connsiteY64" fmla="*/ 218408 h 535590"/>
                  <a:gd name="connsiteX65" fmla="*/ 328137 w 3550159"/>
                  <a:gd name="connsiteY65" fmla="*/ 224409 h 535590"/>
                  <a:gd name="connsiteX66" fmla="*/ 355474 w 3550159"/>
                  <a:gd name="connsiteY66" fmla="*/ 224409 h 535590"/>
                  <a:gd name="connsiteX67" fmla="*/ 355474 w 3550159"/>
                  <a:gd name="connsiteY67" fmla="*/ 230505 h 535590"/>
                  <a:gd name="connsiteX68" fmla="*/ 357569 w 3550159"/>
                  <a:gd name="connsiteY68" fmla="*/ 230505 h 535590"/>
                  <a:gd name="connsiteX69" fmla="*/ 357569 w 3550159"/>
                  <a:gd name="connsiteY69" fmla="*/ 236601 h 535590"/>
                  <a:gd name="connsiteX70" fmla="*/ 368046 w 3550159"/>
                  <a:gd name="connsiteY70" fmla="*/ 236601 h 535590"/>
                  <a:gd name="connsiteX71" fmla="*/ 368046 w 3550159"/>
                  <a:gd name="connsiteY71" fmla="*/ 242601 h 535590"/>
                  <a:gd name="connsiteX72" fmla="*/ 374333 w 3550159"/>
                  <a:gd name="connsiteY72" fmla="*/ 242601 h 535590"/>
                  <a:gd name="connsiteX73" fmla="*/ 374333 w 3550159"/>
                  <a:gd name="connsiteY73" fmla="*/ 254793 h 535590"/>
                  <a:gd name="connsiteX74" fmla="*/ 382810 w 3550159"/>
                  <a:gd name="connsiteY74" fmla="*/ 254793 h 535590"/>
                  <a:gd name="connsiteX75" fmla="*/ 382810 w 3550159"/>
                  <a:gd name="connsiteY75" fmla="*/ 260794 h 535590"/>
                  <a:gd name="connsiteX76" fmla="*/ 389097 w 3550159"/>
                  <a:gd name="connsiteY76" fmla="*/ 260794 h 535590"/>
                  <a:gd name="connsiteX77" fmla="*/ 389097 w 3550159"/>
                  <a:gd name="connsiteY77" fmla="*/ 272986 h 535590"/>
                  <a:gd name="connsiteX78" fmla="*/ 391192 w 3550159"/>
                  <a:gd name="connsiteY78" fmla="*/ 272986 h 535590"/>
                  <a:gd name="connsiteX79" fmla="*/ 391192 w 3550159"/>
                  <a:gd name="connsiteY79" fmla="*/ 279082 h 535590"/>
                  <a:gd name="connsiteX80" fmla="*/ 403765 w 3550159"/>
                  <a:gd name="connsiteY80" fmla="*/ 279082 h 535590"/>
                  <a:gd name="connsiteX81" fmla="*/ 403765 w 3550159"/>
                  <a:gd name="connsiteY81" fmla="*/ 285083 h 535590"/>
                  <a:gd name="connsiteX82" fmla="*/ 426911 w 3550159"/>
                  <a:gd name="connsiteY82" fmla="*/ 285083 h 535590"/>
                  <a:gd name="connsiteX83" fmla="*/ 426911 w 3550159"/>
                  <a:gd name="connsiteY83" fmla="*/ 291179 h 535590"/>
                  <a:gd name="connsiteX84" fmla="*/ 433293 w 3550159"/>
                  <a:gd name="connsiteY84" fmla="*/ 291179 h 535590"/>
                  <a:gd name="connsiteX85" fmla="*/ 433293 w 3550159"/>
                  <a:gd name="connsiteY85" fmla="*/ 297275 h 535590"/>
                  <a:gd name="connsiteX86" fmla="*/ 441675 w 3550159"/>
                  <a:gd name="connsiteY86" fmla="*/ 297275 h 535590"/>
                  <a:gd name="connsiteX87" fmla="*/ 441675 w 3550159"/>
                  <a:gd name="connsiteY87" fmla="*/ 303276 h 535590"/>
                  <a:gd name="connsiteX88" fmla="*/ 450057 w 3550159"/>
                  <a:gd name="connsiteY88" fmla="*/ 303276 h 535590"/>
                  <a:gd name="connsiteX89" fmla="*/ 450057 w 3550159"/>
                  <a:gd name="connsiteY89" fmla="*/ 309372 h 535590"/>
                  <a:gd name="connsiteX90" fmla="*/ 454248 w 3550159"/>
                  <a:gd name="connsiteY90" fmla="*/ 309372 h 535590"/>
                  <a:gd name="connsiteX91" fmla="*/ 454248 w 3550159"/>
                  <a:gd name="connsiteY91" fmla="*/ 315468 h 535590"/>
                  <a:gd name="connsiteX92" fmla="*/ 527876 w 3550159"/>
                  <a:gd name="connsiteY92" fmla="*/ 315468 h 535590"/>
                  <a:gd name="connsiteX93" fmla="*/ 527876 w 3550159"/>
                  <a:gd name="connsiteY93" fmla="*/ 321468 h 535590"/>
                  <a:gd name="connsiteX94" fmla="*/ 548926 w 3550159"/>
                  <a:gd name="connsiteY94" fmla="*/ 321468 h 535590"/>
                  <a:gd name="connsiteX95" fmla="*/ 548926 w 3550159"/>
                  <a:gd name="connsiteY95" fmla="*/ 327564 h 535590"/>
                  <a:gd name="connsiteX96" fmla="*/ 555213 w 3550159"/>
                  <a:gd name="connsiteY96" fmla="*/ 327564 h 535590"/>
                  <a:gd name="connsiteX97" fmla="*/ 555213 w 3550159"/>
                  <a:gd name="connsiteY97" fmla="*/ 333660 h 535590"/>
                  <a:gd name="connsiteX98" fmla="*/ 597313 w 3550159"/>
                  <a:gd name="connsiteY98" fmla="*/ 333660 h 535590"/>
                  <a:gd name="connsiteX99" fmla="*/ 597313 w 3550159"/>
                  <a:gd name="connsiteY99" fmla="*/ 339661 h 535590"/>
                  <a:gd name="connsiteX100" fmla="*/ 611982 w 3550159"/>
                  <a:gd name="connsiteY100" fmla="*/ 339661 h 535590"/>
                  <a:gd name="connsiteX101" fmla="*/ 611982 w 3550159"/>
                  <a:gd name="connsiteY101" fmla="*/ 345757 h 535590"/>
                  <a:gd name="connsiteX102" fmla="*/ 641509 w 3550159"/>
                  <a:gd name="connsiteY102" fmla="*/ 345757 h 535590"/>
                  <a:gd name="connsiteX103" fmla="*/ 641509 w 3550159"/>
                  <a:gd name="connsiteY103" fmla="*/ 351853 h 535590"/>
                  <a:gd name="connsiteX104" fmla="*/ 643605 w 3550159"/>
                  <a:gd name="connsiteY104" fmla="*/ 351853 h 535590"/>
                  <a:gd name="connsiteX105" fmla="*/ 643605 w 3550159"/>
                  <a:gd name="connsiteY105" fmla="*/ 357854 h 535590"/>
                  <a:gd name="connsiteX106" fmla="*/ 666655 w 3550159"/>
                  <a:gd name="connsiteY106" fmla="*/ 357854 h 535590"/>
                  <a:gd name="connsiteX107" fmla="*/ 666655 w 3550159"/>
                  <a:gd name="connsiteY107" fmla="*/ 363950 h 535590"/>
                  <a:gd name="connsiteX108" fmla="*/ 679324 w 3550159"/>
                  <a:gd name="connsiteY108" fmla="*/ 363950 h 535590"/>
                  <a:gd name="connsiteX109" fmla="*/ 679324 w 3550159"/>
                  <a:gd name="connsiteY109" fmla="*/ 370046 h 535590"/>
                  <a:gd name="connsiteX110" fmla="*/ 715042 w 3550159"/>
                  <a:gd name="connsiteY110" fmla="*/ 370046 h 535590"/>
                  <a:gd name="connsiteX111" fmla="*/ 715042 w 3550159"/>
                  <a:gd name="connsiteY111" fmla="*/ 376142 h 535590"/>
                  <a:gd name="connsiteX112" fmla="*/ 830771 w 3550159"/>
                  <a:gd name="connsiteY112" fmla="*/ 376142 h 535590"/>
                  <a:gd name="connsiteX113" fmla="*/ 830771 w 3550159"/>
                  <a:gd name="connsiteY113" fmla="*/ 382143 h 535590"/>
                  <a:gd name="connsiteX114" fmla="*/ 868585 w 3550159"/>
                  <a:gd name="connsiteY114" fmla="*/ 382143 h 535590"/>
                  <a:gd name="connsiteX115" fmla="*/ 868585 w 3550159"/>
                  <a:gd name="connsiteY115" fmla="*/ 388334 h 535590"/>
                  <a:gd name="connsiteX116" fmla="*/ 921163 w 3550159"/>
                  <a:gd name="connsiteY116" fmla="*/ 388334 h 535590"/>
                  <a:gd name="connsiteX117" fmla="*/ 921163 w 3550159"/>
                  <a:gd name="connsiteY117" fmla="*/ 394430 h 535590"/>
                  <a:gd name="connsiteX118" fmla="*/ 940118 w 3550159"/>
                  <a:gd name="connsiteY118" fmla="*/ 394430 h 535590"/>
                  <a:gd name="connsiteX119" fmla="*/ 940118 w 3550159"/>
                  <a:gd name="connsiteY119" fmla="*/ 400526 h 535590"/>
                  <a:gd name="connsiteX120" fmla="*/ 950596 w 3550159"/>
                  <a:gd name="connsiteY120" fmla="*/ 400526 h 535590"/>
                  <a:gd name="connsiteX121" fmla="*/ 950596 w 3550159"/>
                  <a:gd name="connsiteY121" fmla="*/ 406717 h 535590"/>
                  <a:gd name="connsiteX122" fmla="*/ 984314 w 3550159"/>
                  <a:gd name="connsiteY122" fmla="*/ 406717 h 535590"/>
                  <a:gd name="connsiteX123" fmla="*/ 984314 w 3550159"/>
                  <a:gd name="connsiteY123" fmla="*/ 412813 h 535590"/>
                  <a:gd name="connsiteX124" fmla="*/ 990601 w 3550159"/>
                  <a:gd name="connsiteY124" fmla="*/ 412813 h 535590"/>
                  <a:gd name="connsiteX125" fmla="*/ 990601 w 3550159"/>
                  <a:gd name="connsiteY125" fmla="*/ 418909 h 535590"/>
                  <a:gd name="connsiteX126" fmla="*/ 1005269 w 3550159"/>
                  <a:gd name="connsiteY126" fmla="*/ 418909 h 535590"/>
                  <a:gd name="connsiteX127" fmla="*/ 1005269 w 3550159"/>
                  <a:gd name="connsiteY127" fmla="*/ 425005 h 535590"/>
                  <a:gd name="connsiteX128" fmla="*/ 1017937 w 3550159"/>
                  <a:gd name="connsiteY128" fmla="*/ 425005 h 535590"/>
                  <a:gd name="connsiteX129" fmla="*/ 1017937 w 3550159"/>
                  <a:gd name="connsiteY129" fmla="*/ 431196 h 535590"/>
                  <a:gd name="connsiteX130" fmla="*/ 1043179 w 3550159"/>
                  <a:gd name="connsiteY130" fmla="*/ 431196 h 535590"/>
                  <a:gd name="connsiteX131" fmla="*/ 1043179 w 3550159"/>
                  <a:gd name="connsiteY131" fmla="*/ 437292 h 535590"/>
                  <a:gd name="connsiteX132" fmla="*/ 1272445 w 3550159"/>
                  <a:gd name="connsiteY132" fmla="*/ 437292 h 535590"/>
                  <a:gd name="connsiteX133" fmla="*/ 1272445 w 3550159"/>
                  <a:gd name="connsiteY133" fmla="*/ 443484 h 535590"/>
                  <a:gd name="connsiteX134" fmla="*/ 1385983 w 3550159"/>
                  <a:gd name="connsiteY134" fmla="*/ 443484 h 535590"/>
                  <a:gd name="connsiteX135" fmla="*/ 1385983 w 3550159"/>
                  <a:gd name="connsiteY135" fmla="*/ 449675 h 535590"/>
                  <a:gd name="connsiteX136" fmla="*/ 1655160 w 3550159"/>
                  <a:gd name="connsiteY136" fmla="*/ 449675 h 535590"/>
                  <a:gd name="connsiteX137" fmla="*/ 1655160 w 3550159"/>
                  <a:gd name="connsiteY137" fmla="*/ 455961 h 535590"/>
                  <a:gd name="connsiteX138" fmla="*/ 1728788 w 3550159"/>
                  <a:gd name="connsiteY138" fmla="*/ 455961 h 535590"/>
                  <a:gd name="connsiteX139" fmla="*/ 1728788 w 3550159"/>
                  <a:gd name="connsiteY139" fmla="*/ 462248 h 535590"/>
                  <a:gd name="connsiteX140" fmla="*/ 1808703 w 3550159"/>
                  <a:gd name="connsiteY140" fmla="*/ 462248 h 535590"/>
                  <a:gd name="connsiteX141" fmla="*/ 1808703 w 3550159"/>
                  <a:gd name="connsiteY141" fmla="*/ 468534 h 535590"/>
                  <a:gd name="connsiteX142" fmla="*/ 1970628 w 3550159"/>
                  <a:gd name="connsiteY142" fmla="*/ 468534 h 535590"/>
                  <a:gd name="connsiteX143" fmla="*/ 1970628 w 3550159"/>
                  <a:gd name="connsiteY143" fmla="*/ 475011 h 535590"/>
                  <a:gd name="connsiteX144" fmla="*/ 1987487 w 3550159"/>
                  <a:gd name="connsiteY144" fmla="*/ 475011 h 535590"/>
                  <a:gd name="connsiteX145" fmla="*/ 1987487 w 3550159"/>
                  <a:gd name="connsiteY145" fmla="*/ 481393 h 535590"/>
                  <a:gd name="connsiteX146" fmla="*/ 2105311 w 3550159"/>
                  <a:gd name="connsiteY146" fmla="*/ 481393 h 535590"/>
                  <a:gd name="connsiteX147" fmla="*/ 2105311 w 3550159"/>
                  <a:gd name="connsiteY147" fmla="*/ 487870 h 535590"/>
                  <a:gd name="connsiteX148" fmla="*/ 2197799 w 3550159"/>
                  <a:gd name="connsiteY148" fmla="*/ 487870 h 535590"/>
                  <a:gd name="connsiteX149" fmla="*/ 2197799 w 3550159"/>
                  <a:gd name="connsiteY149" fmla="*/ 494252 h 535590"/>
                  <a:gd name="connsiteX150" fmla="*/ 2216754 w 3550159"/>
                  <a:gd name="connsiteY150" fmla="*/ 494252 h 535590"/>
                  <a:gd name="connsiteX151" fmla="*/ 2216754 w 3550159"/>
                  <a:gd name="connsiteY151" fmla="*/ 500729 h 535590"/>
                  <a:gd name="connsiteX152" fmla="*/ 3070575 w 3550159"/>
                  <a:gd name="connsiteY152" fmla="*/ 500729 h 535590"/>
                  <a:gd name="connsiteX153" fmla="*/ 3070575 w 3550159"/>
                  <a:gd name="connsiteY153" fmla="*/ 535590 h 535590"/>
                  <a:gd name="connsiteX154" fmla="*/ 3550159 w 3550159"/>
                  <a:gd name="connsiteY154" fmla="*/ 535590 h 535590"/>
                  <a:gd name="connsiteX0" fmla="*/ 0 w 3550159"/>
                  <a:gd name="connsiteY0" fmla="*/ 0 h 529494"/>
                  <a:gd name="connsiteX1" fmla="*/ 6287 w 3550159"/>
                  <a:gd name="connsiteY1" fmla="*/ 0 h 529494"/>
                  <a:gd name="connsiteX2" fmla="*/ 6287 w 3550159"/>
                  <a:gd name="connsiteY2" fmla="*/ 6000 h 529494"/>
                  <a:gd name="connsiteX3" fmla="*/ 21051 w 3550159"/>
                  <a:gd name="connsiteY3" fmla="*/ 6000 h 529494"/>
                  <a:gd name="connsiteX4" fmla="*/ 21051 w 3550159"/>
                  <a:gd name="connsiteY4" fmla="*/ 12096 h 529494"/>
                  <a:gd name="connsiteX5" fmla="*/ 29433 w 3550159"/>
                  <a:gd name="connsiteY5" fmla="*/ 12096 h 529494"/>
                  <a:gd name="connsiteX6" fmla="*/ 29433 w 3550159"/>
                  <a:gd name="connsiteY6" fmla="*/ 18192 h 529494"/>
                  <a:gd name="connsiteX7" fmla="*/ 40006 w 3550159"/>
                  <a:gd name="connsiteY7" fmla="*/ 18192 h 529494"/>
                  <a:gd name="connsiteX8" fmla="*/ 40006 w 3550159"/>
                  <a:gd name="connsiteY8" fmla="*/ 24193 h 529494"/>
                  <a:gd name="connsiteX9" fmla="*/ 52579 w 3550159"/>
                  <a:gd name="connsiteY9" fmla="*/ 24193 h 529494"/>
                  <a:gd name="connsiteX10" fmla="*/ 52579 w 3550159"/>
                  <a:gd name="connsiteY10" fmla="*/ 30289 h 529494"/>
                  <a:gd name="connsiteX11" fmla="*/ 58865 w 3550159"/>
                  <a:gd name="connsiteY11" fmla="*/ 30289 h 529494"/>
                  <a:gd name="connsiteX12" fmla="*/ 58865 w 3550159"/>
                  <a:gd name="connsiteY12" fmla="*/ 42386 h 529494"/>
                  <a:gd name="connsiteX13" fmla="*/ 63056 w 3550159"/>
                  <a:gd name="connsiteY13" fmla="*/ 42386 h 529494"/>
                  <a:gd name="connsiteX14" fmla="*/ 63056 w 3550159"/>
                  <a:gd name="connsiteY14" fmla="*/ 48482 h 529494"/>
                  <a:gd name="connsiteX15" fmla="*/ 75724 w 3550159"/>
                  <a:gd name="connsiteY15" fmla="*/ 48482 h 529494"/>
                  <a:gd name="connsiteX16" fmla="*/ 75724 w 3550159"/>
                  <a:gd name="connsiteY16" fmla="*/ 54578 h 529494"/>
                  <a:gd name="connsiteX17" fmla="*/ 90393 w 3550159"/>
                  <a:gd name="connsiteY17" fmla="*/ 54578 h 529494"/>
                  <a:gd name="connsiteX18" fmla="*/ 90393 w 3550159"/>
                  <a:gd name="connsiteY18" fmla="*/ 60579 h 529494"/>
                  <a:gd name="connsiteX19" fmla="*/ 94679 w 3550159"/>
                  <a:gd name="connsiteY19" fmla="*/ 60579 h 529494"/>
                  <a:gd name="connsiteX20" fmla="*/ 94679 w 3550159"/>
                  <a:gd name="connsiteY20" fmla="*/ 66675 h 529494"/>
                  <a:gd name="connsiteX21" fmla="*/ 105156 w 3550159"/>
                  <a:gd name="connsiteY21" fmla="*/ 66675 h 529494"/>
                  <a:gd name="connsiteX22" fmla="*/ 105156 w 3550159"/>
                  <a:gd name="connsiteY22" fmla="*/ 72771 h 529494"/>
                  <a:gd name="connsiteX23" fmla="*/ 113539 w 3550159"/>
                  <a:gd name="connsiteY23" fmla="*/ 72771 h 529494"/>
                  <a:gd name="connsiteX24" fmla="*/ 113539 w 3550159"/>
                  <a:gd name="connsiteY24" fmla="*/ 78867 h 529494"/>
                  <a:gd name="connsiteX25" fmla="*/ 128302 w 3550159"/>
                  <a:gd name="connsiteY25" fmla="*/ 78867 h 529494"/>
                  <a:gd name="connsiteX26" fmla="*/ 128302 w 3550159"/>
                  <a:gd name="connsiteY26" fmla="*/ 84867 h 529494"/>
                  <a:gd name="connsiteX27" fmla="*/ 132493 w 3550159"/>
                  <a:gd name="connsiteY27" fmla="*/ 84867 h 529494"/>
                  <a:gd name="connsiteX28" fmla="*/ 132493 w 3550159"/>
                  <a:gd name="connsiteY28" fmla="*/ 90963 h 529494"/>
                  <a:gd name="connsiteX29" fmla="*/ 136684 w 3550159"/>
                  <a:gd name="connsiteY29" fmla="*/ 90963 h 529494"/>
                  <a:gd name="connsiteX30" fmla="*/ 136684 w 3550159"/>
                  <a:gd name="connsiteY30" fmla="*/ 97059 h 529494"/>
                  <a:gd name="connsiteX31" fmla="*/ 149353 w 3550159"/>
                  <a:gd name="connsiteY31" fmla="*/ 97059 h 529494"/>
                  <a:gd name="connsiteX32" fmla="*/ 149353 w 3550159"/>
                  <a:gd name="connsiteY32" fmla="*/ 103060 h 529494"/>
                  <a:gd name="connsiteX33" fmla="*/ 178785 w 3550159"/>
                  <a:gd name="connsiteY33" fmla="*/ 103060 h 529494"/>
                  <a:gd name="connsiteX34" fmla="*/ 178785 w 3550159"/>
                  <a:gd name="connsiteY34" fmla="*/ 109156 h 529494"/>
                  <a:gd name="connsiteX35" fmla="*/ 187167 w 3550159"/>
                  <a:gd name="connsiteY35" fmla="*/ 109156 h 529494"/>
                  <a:gd name="connsiteX36" fmla="*/ 187167 w 3550159"/>
                  <a:gd name="connsiteY36" fmla="*/ 115252 h 529494"/>
                  <a:gd name="connsiteX37" fmla="*/ 189262 w 3550159"/>
                  <a:gd name="connsiteY37" fmla="*/ 115252 h 529494"/>
                  <a:gd name="connsiteX38" fmla="*/ 189262 w 3550159"/>
                  <a:gd name="connsiteY38" fmla="*/ 121253 h 529494"/>
                  <a:gd name="connsiteX39" fmla="*/ 204026 w 3550159"/>
                  <a:gd name="connsiteY39" fmla="*/ 121253 h 529494"/>
                  <a:gd name="connsiteX40" fmla="*/ 204026 w 3550159"/>
                  <a:gd name="connsiteY40" fmla="*/ 133445 h 529494"/>
                  <a:gd name="connsiteX41" fmla="*/ 206122 w 3550159"/>
                  <a:gd name="connsiteY41" fmla="*/ 133445 h 529494"/>
                  <a:gd name="connsiteX42" fmla="*/ 206122 w 3550159"/>
                  <a:gd name="connsiteY42" fmla="*/ 139446 h 529494"/>
                  <a:gd name="connsiteX43" fmla="*/ 212408 w 3550159"/>
                  <a:gd name="connsiteY43" fmla="*/ 139446 h 529494"/>
                  <a:gd name="connsiteX44" fmla="*/ 212408 w 3550159"/>
                  <a:gd name="connsiteY44" fmla="*/ 145542 h 529494"/>
                  <a:gd name="connsiteX45" fmla="*/ 216599 w 3550159"/>
                  <a:gd name="connsiteY45" fmla="*/ 145542 h 529494"/>
                  <a:gd name="connsiteX46" fmla="*/ 216599 w 3550159"/>
                  <a:gd name="connsiteY46" fmla="*/ 151638 h 529494"/>
                  <a:gd name="connsiteX47" fmla="*/ 233458 w 3550159"/>
                  <a:gd name="connsiteY47" fmla="*/ 151638 h 529494"/>
                  <a:gd name="connsiteX48" fmla="*/ 233458 w 3550159"/>
                  <a:gd name="connsiteY48" fmla="*/ 163734 h 529494"/>
                  <a:gd name="connsiteX49" fmla="*/ 237649 w 3550159"/>
                  <a:gd name="connsiteY49" fmla="*/ 163734 h 529494"/>
                  <a:gd name="connsiteX50" fmla="*/ 237649 w 3550159"/>
                  <a:gd name="connsiteY50" fmla="*/ 169830 h 529494"/>
                  <a:gd name="connsiteX51" fmla="*/ 260795 w 3550159"/>
                  <a:gd name="connsiteY51" fmla="*/ 169830 h 529494"/>
                  <a:gd name="connsiteX52" fmla="*/ 260795 w 3550159"/>
                  <a:gd name="connsiteY52" fmla="*/ 175926 h 529494"/>
                  <a:gd name="connsiteX53" fmla="*/ 264986 w 3550159"/>
                  <a:gd name="connsiteY53" fmla="*/ 175926 h 529494"/>
                  <a:gd name="connsiteX54" fmla="*/ 264986 w 3550159"/>
                  <a:gd name="connsiteY54" fmla="*/ 181927 h 529494"/>
                  <a:gd name="connsiteX55" fmla="*/ 271273 w 3550159"/>
                  <a:gd name="connsiteY55" fmla="*/ 181927 h 529494"/>
                  <a:gd name="connsiteX56" fmla="*/ 271273 w 3550159"/>
                  <a:gd name="connsiteY56" fmla="*/ 194119 h 529494"/>
                  <a:gd name="connsiteX57" fmla="*/ 290227 w 3550159"/>
                  <a:gd name="connsiteY57" fmla="*/ 194119 h 529494"/>
                  <a:gd name="connsiteX58" fmla="*/ 290227 w 3550159"/>
                  <a:gd name="connsiteY58" fmla="*/ 200120 h 529494"/>
                  <a:gd name="connsiteX59" fmla="*/ 298609 w 3550159"/>
                  <a:gd name="connsiteY59" fmla="*/ 200120 h 529494"/>
                  <a:gd name="connsiteX60" fmla="*/ 298609 w 3550159"/>
                  <a:gd name="connsiteY60" fmla="*/ 206216 h 529494"/>
                  <a:gd name="connsiteX61" fmla="*/ 311278 w 3550159"/>
                  <a:gd name="connsiteY61" fmla="*/ 206216 h 529494"/>
                  <a:gd name="connsiteX62" fmla="*/ 311278 w 3550159"/>
                  <a:gd name="connsiteY62" fmla="*/ 212312 h 529494"/>
                  <a:gd name="connsiteX63" fmla="*/ 328137 w 3550159"/>
                  <a:gd name="connsiteY63" fmla="*/ 212312 h 529494"/>
                  <a:gd name="connsiteX64" fmla="*/ 328137 w 3550159"/>
                  <a:gd name="connsiteY64" fmla="*/ 218313 h 529494"/>
                  <a:gd name="connsiteX65" fmla="*/ 355474 w 3550159"/>
                  <a:gd name="connsiteY65" fmla="*/ 218313 h 529494"/>
                  <a:gd name="connsiteX66" fmla="*/ 355474 w 3550159"/>
                  <a:gd name="connsiteY66" fmla="*/ 224409 h 529494"/>
                  <a:gd name="connsiteX67" fmla="*/ 357569 w 3550159"/>
                  <a:gd name="connsiteY67" fmla="*/ 224409 h 529494"/>
                  <a:gd name="connsiteX68" fmla="*/ 357569 w 3550159"/>
                  <a:gd name="connsiteY68" fmla="*/ 230505 h 529494"/>
                  <a:gd name="connsiteX69" fmla="*/ 368046 w 3550159"/>
                  <a:gd name="connsiteY69" fmla="*/ 230505 h 529494"/>
                  <a:gd name="connsiteX70" fmla="*/ 368046 w 3550159"/>
                  <a:gd name="connsiteY70" fmla="*/ 236505 h 529494"/>
                  <a:gd name="connsiteX71" fmla="*/ 374333 w 3550159"/>
                  <a:gd name="connsiteY71" fmla="*/ 236505 h 529494"/>
                  <a:gd name="connsiteX72" fmla="*/ 374333 w 3550159"/>
                  <a:gd name="connsiteY72" fmla="*/ 248697 h 529494"/>
                  <a:gd name="connsiteX73" fmla="*/ 382810 w 3550159"/>
                  <a:gd name="connsiteY73" fmla="*/ 248697 h 529494"/>
                  <a:gd name="connsiteX74" fmla="*/ 382810 w 3550159"/>
                  <a:gd name="connsiteY74" fmla="*/ 254698 h 529494"/>
                  <a:gd name="connsiteX75" fmla="*/ 389097 w 3550159"/>
                  <a:gd name="connsiteY75" fmla="*/ 254698 h 529494"/>
                  <a:gd name="connsiteX76" fmla="*/ 389097 w 3550159"/>
                  <a:gd name="connsiteY76" fmla="*/ 266890 h 529494"/>
                  <a:gd name="connsiteX77" fmla="*/ 391192 w 3550159"/>
                  <a:gd name="connsiteY77" fmla="*/ 266890 h 529494"/>
                  <a:gd name="connsiteX78" fmla="*/ 391192 w 3550159"/>
                  <a:gd name="connsiteY78" fmla="*/ 272986 h 529494"/>
                  <a:gd name="connsiteX79" fmla="*/ 403765 w 3550159"/>
                  <a:gd name="connsiteY79" fmla="*/ 272986 h 529494"/>
                  <a:gd name="connsiteX80" fmla="*/ 403765 w 3550159"/>
                  <a:gd name="connsiteY80" fmla="*/ 278987 h 529494"/>
                  <a:gd name="connsiteX81" fmla="*/ 426911 w 3550159"/>
                  <a:gd name="connsiteY81" fmla="*/ 278987 h 529494"/>
                  <a:gd name="connsiteX82" fmla="*/ 426911 w 3550159"/>
                  <a:gd name="connsiteY82" fmla="*/ 285083 h 529494"/>
                  <a:gd name="connsiteX83" fmla="*/ 433293 w 3550159"/>
                  <a:gd name="connsiteY83" fmla="*/ 285083 h 529494"/>
                  <a:gd name="connsiteX84" fmla="*/ 433293 w 3550159"/>
                  <a:gd name="connsiteY84" fmla="*/ 291179 h 529494"/>
                  <a:gd name="connsiteX85" fmla="*/ 441675 w 3550159"/>
                  <a:gd name="connsiteY85" fmla="*/ 291179 h 529494"/>
                  <a:gd name="connsiteX86" fmla="*/ 441675 w 3550159"/>
                  <a:gd name="connsiteY86" fmla="*/ 297180 h 529494"/>
                  <a:gd name="connsiteX87" fmla="*/ 450057 w 3550159"/>
                  <a:gd name="connsiteY87" fmla="*/ 297180 h 529494"/>
                  <a:gd name="connsiteX88" fmla="*/ 450057 w 3550159"/>
                  <a:gd name="connsiteY88" fmla="*/ 303276 h 529494"/>
                  <a:gd name="connsiteX89" fmla="*/ 454248 w 3550159"/>
                  <a:gd name="connsiteY89" fmla="*/ 303276 h 529494"/>
                  <a:gd name="connsiteX90" fmla="*/ 454248 w 3550159"/>
                  <a:gd name="connsiteY90" fmla="*/ 309372 h 529494"/>
                  <a:gd name="connsiteX91" fmla="*/ 527876 w 3550159"/>
                  <a:gd name="connsiteY91" fmla="*/ 309372 h 529494"/>
                  <a:gd name="connsiteX92" fmla="*/ 527876 w 3550159"/>
                  <a:gd name="connsiteY92" fmla="*/ 315372 h 529494"/>
                  <a:gd name="connsiteX93" fmla="*/ 548926 w 3550159"/>
                  <a:gd name="connsiteY93" fmla="*/ 315372 h 529494"/>
                  <a:gd name="connsiteX94" fmla="*/ 548926 w 3550159"/>
                  <a:gd name="connsiteY94" fmla="*/ 321468 h 529494"/>
                  <a:gd name="connsiteX95" fmla="*/ 555213 w 3550159"/>
                  <a:gd name="connsiteY95" fmla="*/ 321468 h 529494"/>
                  <a:gd name="connsiteX96" fmla="*/ 555213 w 3550159"/>
                  <a:gd name="connsiteY96" fmla="*/ 327564 h 529494"/>
                  <a:gd name="connsiteX97" fmla="*/ 597313 w 3550159"/>
                  <a:gd name="connsiteY97" fmla="*/ 327564 h 529494"/>
                  <a:gd name="connsiteX98" fmla="*/ 597313 w 3550159"/>
                  <a:gd name="connsiteY98" fmla="*/ 333565 h 529494"/>
                  <a:gd name="connsiteX99" fmla="*/ 611982 w 3550159"/>
                  <a:gd name="connsiteY99" fmla="*/ 333565 h 529494"/>
                  <a:gd name="connsiteX100" fmla="*/ 611982 w 3550159"/>
                  <a:gd name="connsiteY100" fmla="*/ 339661 h 529494"/>
                  <a:gd name="connsiteX101" fmla="*/ 641509 w 3550159"/>
                  <a:gd name="connsiteY101" fmla="*/ 339661 h 529494"/>
                  <a:gd name="connsiteX102" fmla="*/ 641509 w 3550159"/>
                  <a:gd name="connsiteY102" fmla="*/ 345757 h 529494"/>
                  <a:gd name="connsiteX103" fmla="*/ 643605 w 3550159"/>
                  <a:gd name="connsiteY103" fmla="*/ 345757 h 529494"/>
                  <a:gd name="connsiteX104" fmla="*/ 643605 w 3550159"/>
                  <a:gd name="connsiteY104" fmla="*/ 351758 h 529494"/>
                  <a:gd name="connsiteX105" fmla="*/ 666655 w 3550159"/>
                  <a:gd name="connsiteY105" fmla="*/ 351758 h 529494"/>
                  <a:gd name="connsiteX106" fmla="*/ 666655 w 3550159"/>
                  <a:gd name="connsiteY106" fmla="*/ 357854 h 529494"/>
                  <a:gd name="connsiteX107" fmla="*/ 679324 w 3550159"/>
                  <a:gd name="connsiteY107" fmla="*/ 357854 h 529494"/>
                  <a:gd name="connsiteX108" fmla="*/ 679324 w 3550159"/>
                  <a:gd name="connsiteY108" fmla="*/ 363950 h 529494"/>
                  <a:gd name="connsiteX109" fmla="*/ 715042 w 3550159"/>
                  <a:gd name="connsiteY109" fmla="*/ 363950 h 529494"/>
                  <a:gd name="connsiteX110" fmla="*/ 715042 w 3550159"/>
                  <a:gd name="connsiteY110" fmla="*/ 370046 h 529494"/>
                  <a:gd name="connsiteX111" fmla="*/ 830771 w 3550159"/>
                  <a:gd name="connsiteY111" fmla="*/ 370046 h 529494"/>
                  <a:gd name="connsiteX112" fmla="*/ 830771 w 3550159"/>
                  <a:gd name="connsiteY112" fmla="*/ 376047 h 529494"/>
                  <a:gd name="connsiteX113" fmla="*/ 868585 w 3550159"/>
                  <a:gd name="connsiteY113" fmla="*/ 376047 h 529494"/>
                  <a:gd name="connsiteX114" fmla="*/ 868585 w 3550159"/>
                  <a:gd name="connsiteY114" fmla="*/ 382238 h 529494"/>
                  <a:gd name="connsiteX115" fmla="*/ 921163 w 3550159"/>
                  <a:gd name="connsiteY115" fmla="*/ 382238 h 529494"/>
                  <a:gd name="connsiteX116" fmla="*/ 921163 w 3550159"/>
                  <a:gd name="connsiteY116" fmla="*/ 388334 h 529494"/>
                  <a:gd name="connsiteX117" fmla="*/ 940118 w 3550159"/>
                  <a:gd name="connsiteY117" fmla="*/ 388334 h 529494"/>
                  <a:gd name="connsiteX118" fmla="*/ 940118 w 3550159"/>
                  <a:gd name="connsiteY118" fmla="*/ 394430 h 529494"/>
                  <a:gd name="connsiteX119" fmla="*/ 950596 w 3550159"/>
                  <a:gd name="connsiteY119" fmla="*/ 394430 h 529494"/>
                  <a:gd name="connsiteX120" fmla="*/ 950596 w 3550159"/>
                  <a:gd name="connsiteY120" fmla="*/ 400621 h 529494"/>
                  <a:gd name="connsiteX121" fmla="*/ 984314 w 3550159"/>
                  <a:gd name="connsiteY121" fmla="*/ 400621 h 529494"/>
                  <a:gd name="connsiteX122" fmla="*/ 984314 w 3550159"/>
                  <a:gd name="connsiteY122" fmla="*/ 406717 h 529494"/>
                  <a:gd name="connsiteX123" fmla="*/ 990601 w 3550159"/>
                  <a:gd name="connsiteY123" fmla="*/ 406717 h 529494"/>
                  <a:gd name="connsiteX124" fmla="*/ 990601 w 3550159"/>
                  <a:gd name="connsiteY124" fmla="*/ 412813 h 529494"/>
                  <a:gd name="connsiteX125" fmla="*/ 1005269 w 3550159"/>
                  <a:gd name="connsiteY125" fmla="*/ 412813 h 529494"/>
                  <a:gd name="connsiteX126" fmla="*/ 1005269 w 3550159"/>
                  <a:gd name="connsiteY126" fmla="*/ 418909 h 529494"/>
                  <a:gd name="connsiteX127" fmla="*/ 1017937 w 3550159"/>
                  <a:gd name="connsiteY127" fmla="*/ 418909 h 529494"/>
                  <a:gd name="connsiteX128" fmla="*/ 1017937 w 3550159"/>
                  <a:gd name="connsiteY128" fmla="*/ 425100 h 529494"/>
                  <a:gd name="connsiteX129" fmla="*/ 1043179 w 3550159"/>
                  <a:gd name="connsiteY129" fmla="*/ 425100 h 529494"/>
                  <a:gd name="connsiteX130" fmla="*/ 1043179 w 3550159"/>
                  <a:gd name="connsiteY130" fmla="*/ 431196 h 529494"/>
                  <a:gd name="connsiteX131" fmla="*/ 1272445 w 3550159"/>
                  <a:gd name="connsiteY131" fmla="*/ 431196 h 529494"/>
                  <a:gd name="connsiteX132" fmla="*/ 1272445 w 3550159"/>
                  <a:gd name="connsiteY132" fmla="*/ 437388 h 529494"/>
                  <a:gd name="connsiteX133" fmla="*/ 1385983 w 3550159"/>
                  <a:gd name="connsiteY133" fmla="*/ 437388 h 529494"/>
                  <a:gd name="connsiteX134" fmla="*/ 1385983 w 3550159"/>
                  <a:gd name="connsiteY134" fmla="*/ 443579 h 529494"/>
                  <a:gd name="connsiteX135" fmla="*/ 1655160 w 3550159"/>
                  <a:gd name="connsiteY135" fmla="*/ 443579 h 529494"/>
                  <a:gd name="connsiteX136" fmla="*/ 1655160 w 3550159"/>
                  <a:gd name="connsiteY136" fmla="*/ 449865 h 529494"/>
                  <a:gd name="connsiteX137" fmla="*/ 1728788 w 3550159"/>
                  <a:gd name="connsiteY137" fmla="*/ 449865 h 529494"/>
                  <a:gd name="connsiteX138" fmla="*/ 1728788 w 3550159"/>
                  <a:gd name="connsiteY138" fmla="*/ 456152 h 529494"/>
                  <a:gd name="connsiteX139" fmla="*/ 1808703 w 3550159"/>
                  <a:gd name="connsiteY139" fmla="*/ 456152 h 529494"/>
                  <a:gd name="connsiteX140" fmla="*/ 1808703 w 3550159"/>
                  <a:gd name="connsiteY140" fmla="*/ 462438 h 529494"/>
                  <a:gd name="connsiteX141" fmla="*/ 1970628 w 3550159"/>
                  <a:gd name="connsiteY141" fmla="*/ 462438 h 529494"/>
                  <a:gd name="connsiteX142" fmla="*/ 1970628 w 3550159"/>
                  <a:gd name="connsiteY142" fmla="*/ 468915 h 529494"/>
                  <a:gd name="connsiteX143" fmla="*/ 1987487 w 3550159"/>
                  <a:gd name="connsiteY143" fmla="*/ 468915 h 529494"/>
                  <a:gd name="connsiteX144" fmla="*/ 1987487 w 3550159"/>
                  <a:gd name="connsiteY144" fmla="*/ 475297 h 529494"/>
                  <a:gd name="connsiteX145" fmla="*/ 2105311 w 3550159"/>
                  <a:gd name="connsiteY145" fmla="*/ 475297 h 529494"/>
                  <a:gd name="connsiteX146" fmla="*/ 2105311 w 3550159"/>
                  <a:gd name="connsiteY146" fmla="*/ 481774 h 529494"/>
                  <a:gd name="connsiteX147" fmla="*/ 2197799 w 3550159"/>
                  <a:gd name="connsiteY147" fmla="*/ 481774 h 529494"/>
                  <a:gd name="connsiteX148" fmla="*/ 2197799 w 3550159"/>
                  <a:gd name="connsiteY148" fmla="*/ 488156 h 529494"/>
                  <a:gd name="connsiteX149" fmla="*/ 2216754 w 3550159"/>
                  <a:gd name="connsiteY149" fmla="*/ 488156 h 529494"/>
                  <a:gd name="connsiteX150" fmla="*/ 2216754 w 3550159"/>
                  <a:gd name="connsiteY150" fmla="*/ 494633 h 529494"/>
                  <a:gd name="connsiteX151" fmla="*/ 3070575 w 3550159"/>
                  <a:gd name="connsiteY151" fmla="*/ 494633 h 529494"/>
                  <a:gd name="connsiteX152" fmla="*/ 3070575 w 3550159"/>
                  <a:gd name="connsiteY152" fmla="*/ 529494 h 529494"/>
                  <a:gd name="connsiteX153" fmla="*/ 3550159 w 3550159"/>
                  <a:gd name="connsiteY153" fmla="*/ 529494 h 529494"/>
                  <a:gd name="connsiteX0" fmla="*/ 0 w 3550159"/>
                  <a:gd name="connsiteY0" fmla="*/ 0 h 529494"/>
                  <a:gd name="connsiteX1" fmla="*/ 6287 w 3550159"/>
                  <a:gd name="connsiteY1" fmla="*/ 0 h 529494"/>
                  <a:gd name="connsiteX2" fmla="*/ 21051 w 3550159"/>
                  <a:gd name="connsiteY2" fmla="*/ 6000 h 529494"/>
                  <a:gd name="connsiteX3" fmla="*/ 21051 w 3550159"/>
                  <a:gd name="connsiteY3" fmla="*/ 12096 h 529494"/>
                  <a:gd name="connsiteX4" fmla="*/ 29433 w 3550159"/>
                  <a:gd name="connsiteY4" fmla="*/ 12096 h 529494"/>
                  <a:gd name="connsiteX5" fmla="*/ 29433 w 3550159"/>
                  <a:gd name="connsiteY5" fmla="*/ 18192 h 529494"/>
                  <a:gd name="connsiteX6" fmla="*/ 40006 w 3550159"/>
                  <a:gd name="connsiteY6" fmla="*/ 18192 h 529494"/>
                  <a:gd name="connsiteX7" fmla="*/ 40006 w 3550159"/>
                  <a:gd name="connsiteY7" fmla="*/ 24193 h 529494"/>
                  <a:gd name="connsiteX8" fmla="*/ 52579 w 3550159"/>
                  <a:gd name="connsiteY8" fmla="*/ 24193 h 529494"/>
                  <a:gd name="connsiteX9" fmla="*/ 52579 w 3550159"/>
                  <a:gd name="connsiteY9" fmla="*/ 30289 h 529494"/>
                  <a:gd name="connsiteX10" fmla="*/ 58865 w 3550159"/>
                  <a:gd name="connsiteY10" fmla="*/ 30289 h 529494"/>
                  <a:gd name="connsiteX11" fmla="*/ 58865 w 3550159"/>
                  <a:gd name="connsiteY11" fmla="*/ 42386 h 529494"/>
                  <a:gd name="connsiteX12" fmla="*/ 63056 w 3550159"/>
                  <a:gd name="connsiteY12" fmla="*/ 42386 h 529494"/>
                  <a:gd name="connsiteX13" fmla="*/ 63056 w 3550159"/>
                  <a:gd name="connsiteY13" fmla="*/ 48482 h 529494"/>
                  <a:gd name="connsiteX14" fmla="*/ 75724 w 3550159"/>
                  <a:gd name="connsiteY14" fmla="*/ 48482 h 529494"/>
                  <a:gd name="connsiteX15" fmla="*/ 75724 w 3550159"/>
                  <a:gd name="connsiteY15" fmla="*/ 54578 h 529494"/>
                  <a:gd name="connsiteX16" fmla="*/ 90393 w 3550159"/>
                  <a:gd name="connsiteY16" fmla="*/ 54578 h 529494"/>
                  <a:gd name="connsiteX17" fmla="*/ 90393 w 3550159"/>
                  <a:gd name="connsiteY17" fmla="*/ 60579 h 529494"/>
                  <a:gd name="connsiteX18" fmla="*/ 94679 w 3550159"/>
                  <a:gd name="connsiteY18" fmla="*/ 60579 h 529494"/>
                  <a:gd name="connsiteX19" fmla="*/ 94679 w 3550159"/>
                  <a:gd name="connsiteY19" fmla="*/ 66675 h 529494"/>
                  <a:gd name="connsiteX20" fmla="*/ 105156 w 3550159"/>
                  <a:gd name="connsiteY20" fmla="*/ 66675 h 529494"/>
                  <a:gd name="connsiteX21" fmla="*/ 105156 w 3550159"/>
                  <a:gd name="connsiteY21" fmla="*/ 72771 h 529494"/>
                  <a:gd name="connsiteX22" fmla="*/ 113539 w 3550159"/>
                  <a:gd name="connsiteY22" fmla="*/ 72771 h 529494"/>
                  <a:gd name="connsiteX23" fmla="*/ 113539 w 3550159"/>
                  <a:gd name="connsiteY23" fmla="*/ 78867 h 529494"/>
                  <a:gd name="connsiteX24" fmla="*/ 128302 w 3550159"/>
                  <a:gd name="connsiteY24" fmla="*/ 78867 h 529494"/>
                  <a:gd name="connsiteX25" fmla="*/ 128302 w 3550159"/>
                  <a:gd name="connsiteY25" fmla="*/ 84867 h 529494"/>
                  <a:gd name="connsiteX26" fmla="*/ 132493 w 3550159"/>
                  <a:gd name="connsiteY26" fmla="*/ 84867 h 529494"/>
                  <a:gd name="connsiteX27" fmla="*/ 132493 w 3550159"/>
                  <a:gd name="connsiteY27" fmla="*/ 90963 h 529494"/>
                  <a:gd name="connsiteX28" fmla="*/ 136684 w 3550159"/>
                  <a:gd name="connsiteY28" fmla="*/ 90963 h 529494"/>
                  <a:gd name="connsiteX29" fmla="*/ 136684 w 3550159"/>
                  <a:gd name="connsiteY29" fmla="*/ 97059 h 529494"/>
                  <a:gd name="connsiteX30" fmla="*/ 149353 w 3550159"/>
                  <a:gd name="connsiteY30" fmla="*/ 97059 h 529494"/>
                  <a:gd name="connsiteX31" fmla="*/ 149353 w 3550159"/>
                  <a:gd name="connsiteY31" fmla="*/ 103060 h 529494"/>
                  <a:gd name="connsiteX32" fmla="*/ 178785 w 3550159"/>
                  <a:gd name="connsiteY32" fmla="*/ 103060 h 529494"/>
                  <a:gd name="connsiteX33" fmla="*/ 178785 w 3550159"/>
                  <a:gd name="connsiteY33" fmla="*/ 109156 h 529494"/>
                  <a:gd name="connsiteX34" fmla="*/ 187167 w 3550159"/>
                  <a:gd name="connsiteY34" fmla="*/ 109156 h 529494"/>
                  <a:gd name="connsiteX35" fmla="*/ 187167 w 3550159"/>
                  <a:gd name="connsiteY35" fmla="*/ 115252 h 529494"/>
                  <a:gd name="connsiteX36" fmla="*/ 189262 w 3550159"/>
                  <a:gd name="connsiteY36" fmla="*/ 115252 h 529494"/>
                  <a:gd name="connsiteX37" fmla="*/ 189262 w 3550159"/>
                  <a:gd name="connsiteY37" fmla="*/ 121253 h 529494"/>
                  <a:gd name="connsiteX38" fmla="*/ 204026 w 3550159"/>
                  <a:gd name="connsiteY38" fmla="*/ 121253 h 529494"/>
                  <a:gd name="connsiteX39" fmla="*/ 204026 w 3550159"/>
                  <a:gd name="connsiteY39" fmla="*/ 133445 h 529494"/>
                  <a:gd name="connsiteX40" fmla="*/ 206122 w 3550159"/>
                  <a:gd name="connsiteY40" fmla="*/ 133445 h 529494"/>
                  <a:gd name="connsiteX41" fmla="*/ 206122 w 3550159"/>
                  <a:gd name="connsiteY41" fmla="*/ 139446 h 529494"/>
                  <a:gd name="connsiteX42" fmla="*/ 212408 w 3550159"/>
                  <a:gd name="connsiteY42" fmla="*/ 139446 h 529494"/>
                  <a:gd name="connsiteX43" fmla="*/ 212408 w 3550159"/>
                  <a:gd name="connsiteY43" fmla="*/ 145542 h 529494"/>
                  <a:gd name="connsiteX44" fmla="*/ 216599 w 3550159"/>
                  <a:gd name="connsiteY44" fmla="*/ 145542 h 529494"/>
                  <a:gd name="connsiteX45" fmla="*/ 216599 w 3550159"/>
                  <a:gd name="connsiteY45" fmla="*/ 151638 h 529494"/>
                  <a:gd name="connsiteX46" fmla="*/ 233458 w 3550159"/>
                  <a:gd name="connsiteY46" fmla="*/ 151638 h 529494"/>
                  <a:gd name="connsiteX47" fmla="*/ 233458 w 3550159"/>
                  <a:gd name="connsiteY47" fmla="*/ 163734 h 529494"/>
                  <a:gd name="connsiteX48" fmla="*/ 237649 w 3550159"/>
                  <a:gd name="connsiteY48" fmla="*/ 163734 h 529494"/>
                  <a:gd name="connsiteX49" fmla="*/ 237649 w 3550159"/>
                  <a:gd name="connsiteY49" fmla="*/ 169830 h 529494"/>
                  <a:gd name="connsiteX50" fmla="*/ 260795 w 3550159"/>
                  <a:gd name="connsiteY50" fmla="*/ 169830 h 529494"/>
                  <a:gd name="connsiteX51" fmla="*/ 260795 w 3550159"/>
                  <a:gd name="connsiteY51" fmla="*/ 175926 h 529494"/>
                  <a:gd name="connsiteX52" fmla="*/ 264986 w 3550159"/>
                  <a:gd name="connsiteY52" fmla="*/ 175926 h 529494"/>
                  <a:gd name="connsiteX53" fmla="*/ 264986 w 3550159"/>
                  <a:gd name="connsiteY53" fmla="*/ 181927 h 529494"/>
                  <a:gd name="connsiteX54" fmla="*/ 271273 w 3550159"/>
                  <a:gd name="connsiteY54" fmla="*/ 181927 h 529494"/>
                  <a:gd name="connsiteX55" fmla="*/ 271273 w 3550159"/>
                  <a:gd name="connsiteY55" fmla="*/ 194119 h 529494"/>
                  <a:gd name="connsiteX56" fmla="*/ 290227 w 3550159"/>
                  <a:gd name="connsiteY56" fmla="*/ 194119 h 529494"/>
                  <a:gd name="connsiteX57" fmla="*/ 290227 w 3550159"/>
                  <a:gd name="connsiteY57" fmla="*/ 200120 h 529494"/>
                  <a:gd name="connsiteX58" fmla="*/ 298609 w 3550159"/>
                  <a:gd name="connsiteY58" fmla="*/ 200120 h 529494"/>
                  <a:gd name="connsiteX59" fmla="*/ 298609 w 3550159"/>
                  <a:gd name="connsiteY59" fmla="*/ 206216 h 529494"/>
                  <a:gd name="connsiteX60" fmla="*/ 311278 w 3550159"/>
                  <a:gd name="connsiteY60" fmla="*/ 206216 h 529494"/>
                  <a:gd name="connsiteX61" fmla="*/ 311278 w 3550159"/>
                  <a:gd name="connsiteY61" fmla="*/ 212312 h 529494"/>
                  <a:gd name="connsiteX62" fmla="*/ 328137 w 3550159"/>
                  <a:gd name="connsiteY62" fmla="*/ 212312 h 529494"/>
                  <a:gd name="connsiteX63" fmla="*/ 328137 w 3550159"/>
                  <a:gd name="connsiteY63" fmla="*/ 218313 h 529494"/>
                  <a:gd name="connsiteX64" fmla="*/ 355474 w 3550159"/>
                  <a:gd name="connsiteY64" fmla="*/ 218313 h 529494"/>
                  <a:gd name="connsiteX65" fmla="*/ 355474 w 3550159"/>
                  <a:gd name="connsiteY65" fmla="*/ 224409 h 529494"/>
                  <a:gd name="connsiteX66" fmla="*/ 357569 w 3550159"/>
                  <a:gd name="connsiteY66" fmla="*/ 224409 h 529494"/>
                  <a:gd name="connsiteX67" fmla="*/ 357569 w 3550159"/>
                  <a:gd name="connsiteY67" fmla="*/ 230505 h 529494"/>
                  <a:gd name="connsiteX68" fmla="*/ 368046 w 3550159"/>
                  <a:gd name="connsiteY68" fmla="*/ 230505 h 529494"/>
                  <a:gd name="connsiteX69" fmla="*/ 368046 w 3550159"/>
                  <a:gd name="connsiteY69" fmla="*/ 236505 h 529494"/>
                  <a:gd name="connsiteX70" fmla="*/ 374333 w 3550159"/>
                  <a:gd name="connsiteY70" fmla="*/ 236505 h 529494"/>
                  <a:gd name="connsiteX71" fmla="*/ 374333 w 3550159"/>
                  <a:gd name="connsiteY71" fmla="*/ 248697 h 529494"/>
                  <a:gd name="connsiteX72" fmla="*/ 382810 w 3550159"/>
                  <a:gd name="connsiteY72" fmla="*/ 248697 h 529494"/>
                  <a:gd name="connsiteX73" fmla="*/ 382810 w 3550159"/>
                  <a:gd name="connsiteY73" fmla="*/ 254698 h 529494"/>
                  <a:gd name="connsiteX74" fmla="*/ 389097 w 3550159"/>
                  <a:gd name="connsiteY74" fmla="*/ 254698 h 529494"/>
                  <a:gd name="connsiteX75" fmla="*/ 389097 w 3550159"/>
                  <a:gd name="connsiteY75" fmla="*/ 266890 h 529494"/>
                  <a:gd name="connsiteX76" fmla="*/ 391192 w 3550159"/>
                  <a:gd name="connsiteY76" fmla="*/ 266890 h 529494"/>
                  <a:gd name="connsiteX77" fmla="*/ 391192 w 3550159"/>
                  <a:gd name="connsiteY77" fmla="*/ 272986 h 529494"/>
                  <a:gd name="connsiteX78" fmla="*/ 403765 w 3550159"/>
                  <a:gd name="connsiteY78" fmla="*/ 272986 h 529494"/>
                  <a:gd name="connsiteX79" fmla="*/ 403765 w 3550159"/>
                  <a:gd name="connsiteY79" fmla="*/ 278987 h 529494"/>
                  <a:gd name="connsiteX80" fmla="*/ 426911 w 3550159"/>
                  <a:gd name="connsiteY80" fmla="*/ 278987 h 529494"/>
                  <a:gd name="connsiteX81" fmla="*/ 426911 w 3550159"/>
                  <a:gd name="connsiteY81" fmla="*/ 285083 h 529494"/>
                  <a:gd name="connsiteX82" fmla="*/ 433293 w 3550159"/>
                  <a:gd name="connsiteY82" fmla="*/ 285083 h 529494"/>
                  <a:gd name="connsiteX83" fmla="*/ 433293 w 3550159"/>
                  <a:gd name="connsiteY83" fmla="*/ 291179 h 529494"/>
                  <a:gd name="connsiteX84" fmla="*/ 441675 w 3550159"/>
                  <a:gd name="connsiteY84" fmla="*/ 291179 h 529494"/>
                  <a:gd name="connsiteX85" fmla="*/ 441675 w 3550159"/>
                  <a:gd name="connsiteY85" fmla="*/ 297180 h 529494"/>
                  <a:gd name="connsiteX86" fmla="*/ 450057 w 3550159"/>
                  <a:gd name="connsiteY86" fmla="*/ 297180 h 529494"/>
                  <a:gd name="connsiteX87" fmla="*/ 450057 w 3550159"/>
                  <a:gd name="connsiteY87" fmla="*/ 303276 h 529494"/>
                  <a:gd name="connsiteX88" fmla="*/ 454248 w 3550159"/>
                  <a:gd name="connsiteY88" fmla="*/ 303276 h 529494"/>
                  <a:gd name="connsiteX89" fmla="*/ 454248 w 3550159"/>
                  <a:gd name="connsiteY89" fmla="*/ 309372 h 529494"/>
                  <a:gd name="connsiteX90" fmla="*/ 527876 w 3550159"/>
                  <a:gd name="connsiteY90" fmla="*/ 309372 h 529494"/>
                  <a:gd name="connsiteX91" fmla="*/ 527876 w 3550159"/>
                  <a:gd name="connsiteY91" fmla="*/ 315372 h 529494"/>
                  <a:gd name="connsiteX92" fmla="*/ 548926 w 3550159"/>
                  <a:gd name="connsiteY92" fmla="*/ 315372 h 529494"/>
                  <a:gd name="connsiteX93" fmla="*/ 548926 w 3550159"/>
                  <a:gd name="connsiteY93" fmla="*/ 321468 h 529494"/>
                  <a:gd name="connsiteX94" fmla="*/ 555213 w 3550159"/>
                  <a:gd name="connsiteY94" fmla="*/ 321468 h 529494"/>
                  <a:gd name="connsiteX95" fmla="*/ 555213 w 3550159"/>
                  <a:gd name="connsiteY95" fmla="*/ 327564 h 529494"/>
                  <a:gd name="connsiteX96" fmla="*/ 597313 w 3550159"/>
                  <a:gd name="connsiteY96" fmla="*/ 327564 h 529494"/>
                  <a:gd name="connsiteX97" fmla="*/ 597313 w 3550159"/>
                  <a:gd name="connsiteY97" fmla="*/ 333565 h 529494"/>
                  <a:gd name="connsiteX98" fmla="*/ 611982 w 3550159"/>
                  <a:gd name="connsiteY98" fmla="*/ 333565 h 529494"/>
                  <a:gd name="connsiteX99" fmla="*/ 611982 w 3550159"/>
                  <a:gd name="connsiteY99" fmla="*/ 339661 h 529494"/>
                  <a:gd name="connsiteX100" fmla="*/ 641509 w 3550159"/>
                  <a:gd name="connsiteY100" fmla="*/ 339661 h 529494"/>
                  <a:gd name="connsiteX101" fmla="*/ 641509 w 3550159"/>
                  <a:gd name="connsiteY101" fmla="*/ 345757 h 529494"/>
                  <a:gd name="connsiteX102" fmla="*/ 643605 w 3550159"/>
                  <a:gd name="connsiteY102" fmla="*/ 345757 h 529494"/>
                  <a:gd name="connsiteX103" fmla="*/ 643605 w 3550159"/>
                  <a:gd name="connsiteY103" fmla="*/ 351758 h 529494"/>
                  <a:gd name="connsiteX104" fmla="*/ 666655 w 3550159"/>
                  <a:gd name="connsiteY104" fmla="*/ 351758 h 529494"/>
                  <a:gd name="connsiteX105" fmla="*/ 666655 w 3550159"/>
                  <a:gd name="connsiteY105" fmla="*/ 357854 h 529494"/>
                  <a:gd name="connsiteX106" fmla="*/ 679324 w 3550159"/>
                  <a:gd name="connsiteY106" fmla="*/ 357854 h 529494"/>
                  <a:gd name="connsiteX107" fmla="*/ 679324 w 3550159"/>
                  <a:gd name="connsiteY107" fmla="*/ 363950 h 529494"/>
                  <a:gd name="connsiteX108" fmla="*/ 715042 w 3550159"/>
                  <a:gd name="connsiteY108" fmla="*/ 363950 h 529494"/>
                  <a:gd name="connsiteX109" fmla="*/ 715042 w 3550159"/>
                  <a:gd name="connsiteY109" fmla="*/ 370046 h 529494"/>
                  <a:gd name="connsiteX110" fmla="*/ 830771 w 3550159"/>
                  <a:gd name="connsiteY110" fmla="*/ 370046 h 529494"/>
                  <a:gd name="connsiteX111" fmla="*/ 830771 w 3550159"/>
                  <a:gd name="connsiteY111" fmla="*/ 376047 h 529494"/>
                  <a:gd name="connsiteX112" fmla="*/ 868585 w 3550159"/>
                  <a:gd name="connsiteY112" fmla="*/ 376047 h 529494"/>
                  <a:gd name="connsiteX113" fmla="*/ 868585 w 3550159"/>
                  <a:gd name="connsiteY113" fmla="*/ 382238 h 529494"/>
                  <a:gd name="connsiteX114" fmla="*/ 921163 w 3550159"/>
                  <a:gd name="connsiteY114" fmla="*/ 382238 h 529494"/>
                  <a:gd name="connsiteX115" fmla="*/ 921163 w 3550159"/>
                  <a:gd name="connsiteY115" fmla="*/ 388334 h 529494"/>
                  <a:gd name="connsiteX116" fmla="*/ 940118 w 3550159"/>
                  <a:gd name="connsiteY116" fmla="*/ 388334 h 529494"/>
                  <a:gd name="connsiteX117" fmla="*/ 940118 w 3550159"/>
                  <a:gd name="connsiteY117" fmla="*/ 394430 h 529494"/>
                  <a:gd name="connsiteX118" fmla="*/ 950596 w 3550159"/>
                  <a:gd name="connsiteY118" fmla="*/ 394430 h 529494"/>
                  <a:gd name="connsiteX119" fmla="*/ 950596 w 3550159"/>
                  <a:gd name="connsiteY119" fmla="*/ 400621 h 529494"/>
                  <a:gd name="connsiteX120" fmla="*/ 984314 w 3550159"/>
                  <a:gd name="connsiteY120" fmla="*/ 400621 h 529494"/>
                  <a:gd name="connsiteX121" fmla="*/ 984314 w 3550159"/>
                  <a:gd name="connsiteY121" fmla="*/ 406717 h 529494"/>
                  <a:gd name="connsiteX122" fmla="*/ 990601 w 3550159"/>
                  <a:gd name="connsiteY122" fmla="*/ 406717 h 529494"/>
                  <a:gd name="connsiteX123" fmla="*/ 990601 w 3550159"/>
                  <a:gd name="connsiteY123" fmla="*/ 412813 h 529494"/>
                  <a:gd name="connsiteX124" fmla="*/ 1005269 w 3550159"/>
                  <a:gd name="connsiteY124" fmla="*/ 412813 h 529494"/>
                  <a:gd name="connsiteX125" fmla="*/ 1005269 w 3550159"/>
                  <a:gd name="connsiteY125" fmla="*/ 418909 h 529494"/>
                  <a:gd name="connsiteX126" fmla="*/ 1017937 w 3550159"/>
                  <a:gd name="connsiteY126" fmla="*/ 418909 h 529494"/>
                  <a:gd name="connsiteX127" fmla="*/ 1017937 w 3550159"/>
                  <a:gd name="connsiteY127" fmla="*/ 425100 h 529494"/>
                  <a:gd name="connsiteX128" fmla="*/ 1043179 w 3550159"/>
                  <a:gd name="connsiteY128" fmla="*/ 425100 h 529494"/>
                  <a:gd name="connsiteX129" fmla="*/ 1043179 w 3550159"/>
                  <a:gd name="connsiteY129" fmla="*/ 431196 h 529494"/>
                  <a:gd name="connsiteX130" fmla="*/ 1272445 w 3550159"/>
                  <a:gd name="connsiteY130" fmla="*/ 431196 h 529494"/>
                  <a:gd name="connsiteX131" fmla="*/ 1272445 w 3550159"/>
                  <a:gd name="connsiteY131" fmla="*/ 437388 h 529494"/>
                  <a:gd name="connsiteX132" fmla="*/ 1385983 w 3550159"/>
                  <a:gd name="connsiteY132" fmla="*/ 437388 h 529494"/>
                  <a:gd name="connsiteX133" fmla="*/ 1385983 w 3550159"/>
                  <a:gd name="connsiteY133" fmla="*/ 443579 h 529494"/>
                  <a:gd name="connsiteX134" fmla="*/ 1655160 w 3550159"/>
                  <a:gd name="connsiteY134" fmla="*/ 443579 h 529494"/>
                  <a:gd name="connsiteX135" fmla="*/ 1655160 w 3550159"/>
                  <a:gd name="connsiteY135" fmla="*/ 449865 h 529494"/>
                  <a:gd name="connsiteX136" fmla="*/ 1728788 w 3550159"/>
                  <a:gd name="connsiteY136" fmla="*/ 449865 h 529494"/>
                  <a:gd name="connsiteX137" fmla="*/ 1728788 w 3550159"/>
                  <a:gd name="connsiteY137" fmla="*/ 456152 h 529494"/>
                  <a:gd name="connsiteX138" fmla="*/ 1808703 w 3550159"/>
                  <a:gd name="connsiteY138" fmla="*/ 456152 h 529494"/>
                  <a:gd name="connsiteX139" fmla="*/ 1808703 w 3550159"/>
                  <a:gd name="connsiteY139" fmla="*/ 462438 h 529494"/>
                  <a:gd name="connsiteX140" fmla="*/ 1970628 w 3550159"/>
                  <a:gd name="connsiteY140" fmla="*/ 462438 h 529494"/>
                  <a:gd name="connsiteX141" fmla="*/ 1970628 w 3550159"/>
                  <a:gd name="connsiteY141" fmla="*/ 468915 h 529494"/>
                  <a:gd name="connsiteX142" fmla="*/ 1987487 w 3550159"/>
                  <a:gd name="connsiteY142" fmla="*/ 468915 h 529494"/>
                  <a:gd name="connsiteX143" fmla="*/ 1987487 w 3550159"/>
                  <a:gd name="connsiteY143" fmla="*/ 475297 h 529494"/>
                  <a:gd name="connsiteX144" fmla="*/ 2105311 w 3550159"/>
                  <a:gd name="connsiteY144" fmla="*/ 475297 h 529494"/>
                  <a:gd name="connsiteX145" fmla="*/ 2105311 w 3550159"/>
                  <a:gd name="connsiteY145" fmla="*/ 481774 h 529494"/>
                  <a:gd name="connsiteX146" fmla="*/ 2197799 w 3550159"/>
                  <a:gd name="connsiteY146" fmla="*/ 481774 h 529494"/>
                  <a:gd name="connsiteX147" fmla="*/ 2197799 w 3550159"/>
                  <a:gd name="connsiteY147" fmla="*/ 488156 h 529494"/>
                  <a:gd name="connsiteX148" fmla="*/ 2216754 w 3550159"/>
                  <a:gd name="connsiteY148" fmla="*/ 488156 h 529494"/>
                  <a:gd name="connsiteX149" fmla="*/ 2216754 w 3550159"/>
                  <a:gd name="connsiteY149" fmla="*/ 494633 h 529494"/>
                  <a:gd name="connsiteX150" fmla="*/ 3070575 w 3550159"/>
                  <a:gd name="connsiteY150" fmla="*/ 494633 h 529494"/>
                  <a:gd name="connsiteX151" fmla="*/ 3070575 w 3550159"/>
                  <a:gd name="connsiteY151" fmla="*/ 529494 h 529494"/>
                  <a:gd name="connsiteX152" fmla="*/ 3550159 w 3550159"/>
                  <a:gd name="connsiteY152" fmla="*/ 529494 h 529494"/>
                  <a:gd name="connsiteX0" fmla="*/ 0 w 3550159"/>
                  <a:gd name="connsiteY0" fmla="*/ 0 h 529494"/>
                  <a:gd name="connsiteX1" fmla="*/ 21051 w 3550159"/>
                  <a:gd name="connsiteY1" fmla="*/ 6000 h 529494"/>
                  <a:gd name="connsiteX2" fmla="*/ 21051 w 3550159"/>
                  <a:gd name="connsiteY2" fmla="*/ 12096 h 529494"/>
                  <a:gd name="connsiteX3" fmla="*/ 29433 w 3550159"/>
                  <a:gd name="connsiteY3" fmla="*/ 12096 h 529494"/>
                  <a:gd name="connsiteX4" fmla="*/ 29433 w 3550159"/>
                  <a:gd name="connsiteY4" fmla="*/ 18192 h 529494"/>
                  <a:gd name="connsiteX5" fmla="*/ 40006 w 3550159"/>
                  <a:gd name="connsiteY5" fmla="*/ 18192 h 529494"/>
                  <a:gd name="connsiteX6" fmla="*/ 40006 w 3550159"/>
                  <a:gd name="connsiteY6" fmla="*/ 24193 h 529494"/>
                  <a:gd name="connsiteX7" fmla="*/ 52579 w 3550159"/>
                  <a:gd name="connsiteY7" fmla="*/ 24193 h 529494"/>
                  <a:gd name="connsiteX8" fmla="*/ 52579 w 3550159"/>
                  <a:gd name="connsiteY8" fmla="*/ 30289 h 529494"/>
                  <a:gd name="connsiteX9" fmla="*/ 58865 w 3550159"/>
                  <a:gd name="connsiteY9" fmla="*/ 30289 h 529494"/>
                  <a:gd name="connsiteX10" fmla="*/ 58865 w 3550159"/>
                  <a:gd name="connsiteY10" fmla="*/ 42386 h 529494"/>
                  <a:gd name="connsiteX11" fmla="*/ 63056 w 3550159"/>
                  <a:gd name="connsiteY11" fmla="*/ 42386 h 529494"/>
                  <a:gd name="connsiteX12" fmla="*/ 63056 w 3550159"/>
                  <a:gd name="connsiteY12" fmla="*/ 48482 h 529494"/>
                  <a:gd name="connsiteX13" fmla="*/ 75724 w 3550159"/>
                  <a:gd name="connsiteY13" fmla="*/ 48482 h 529494"/>
                  <a:gd name="connsiteX14" fmla="*/ 75724 w 3550159"/>
                  <a:gd name="connsiteY14" fmla="*/ 54578 h 529494"/>
                  <a:gd name="connsiteX15" fmla="*/ 90393 w 3550159"/>
                  <a:gd name="connsiteY15" fmla="*/ 54578 h 529494"/>
                  <a:gd name="connsiteX16" fmla="*/ 90393 w 3550159"/>
                  <a:gd name="connsiteY16" fmla="*/ 60579 h 529494"/>
                  <a:gd name="connsiteX17" fmla="*/ 94679 w 3550159"/>
                  <a:gd name="connsiteY17" fmla="*/ 60579 h 529494"/>
                  <a:gd name="connsiteX18" fmla="*/ 94679 w 3550159"/>
                  <a:gd name="connsiteY18" fmla="*/ 66675 h 529494"/>
                  <a:gd name="connsiteX19" fmla="*/ 105156 w 3550159"/>
                  <a:gd name="connsiteY19" fmla="*/ 66675 h 529494"/>
                  <a:gd name="connsiteX20" fmla="*/ 105156 w 3550159"/>
                  <a:gd name="connsiteY20" fmla="*/ 72771 h 529494"/>
                  <a:gd name="connsiteX21" fmla="*/ 113539 w 3550159"/>
                  <a:gd name="connsiteY21" fmla="*/ 72771 h 529494"/>
                  <a:gd name="connsiteX22" fmla="*/ 113539 w 3550159"/>
                  <a:gd name="connsiteY22" fmla="*/ 78867 h 529494"/>
                  <a:gd name="connsiteX23" fmla="*/ 128302 w 3550159"/>
                  <a:gd name="connsiteY23" fmla="*/ 78867 h 529494"/>
                  <a:gd name="connsiteX24" fmla="*/ 128302 w 3550159"/>
                  <a:gd name="connsiteY24" fmla="*/ 84867 h 529494"/>
                  <a:gd name="connsiteX25" fmla="*/ 132493 w 3550159"/>
                  <a:gd name="connsiteY25" fmla="*/ 84867 h 529494"/>
                  <a:gd name="connsiteX26" fmla="*/ 132493 w 3550159"/>
                  <a:gd name="connsiteY26" fmla="*/ 90963 h 529494"/>
                  <a:gd name="connsiteX27" fmla="*/ 136684 w 3550159"/>
                  <a:gd name="connsiteY27" fmla="*/ 90963 h 529494"/>
                  <a:gd name="connsiteX28" fmla="*/ 136684 w 3550159"/>
                  <a:gd name="connsiteY28" fmla="*/ 97059 h 529494"/>
                  <a:gd name="connsiteX29" fmla="*/ 149353 w 3550159"/>
                  <a:gd name="connsiteY29" fmla="*/ 97059 h 529494"/>
                  <a:gd name="connsiteX30" fmla="*/ 149353 w 3550159"/>
                  <a:gd name="connsiteY30" fmla="*/ 103060 h 529494"/>
                  <a:gd name="connsiteX31" fmla="*/ 178785 w 3550159"/>
                  <a:gd name="connsiteY31" fmla="*/ 103060 h 529494"/>
                  <a:gd name="connsiteX32" fmla="*/ 178785 w 3550159"/>
                  <a:gd name="connsiteY32" fmla="*/ 109156 h 529494"/>
                  <a:gd name="connsiteX33" fmla="*/ 187167 w 3550159"/>
                  <a:gd name="connsiteY33" fmla="*/ 109156 h 529494"/>
                  <a:gd name="connsiteX34" fmla="*/ 187167 w 3550159"/>
                  <a:gd name="connsiteY34" fmla="*/ 115252 h 529494"/>
                  <a:gd name="connsiteX35" fmla="*/ 189262 w 3550159"/>
                  <a:gd name="connsiteY35" fmla="*/ 115252 h 529494"/>
                  <a:gd name="connsiteX36" fmla="*/ 189262 w 3550159"/>
                  <a:gd name="connsiteY36" fmla="*/ 121253 h 529494"/>
                  <a:gd name="connsiteX37" fmla="*/ 204026 w 3550159"/>
                  <a:gd name="connsiteY37" fmla="*/ 121253 h 529494"/>
                  <a:gd name="connsiteX38" fmla="*/ 204026 w 3550159"/>
                  <a:gd name="connsiteY38" fmla="*/ 133445 h 529494"/>
                  <a:gd name="connsiteX39" fmla="*/ 206122 w 3550159"/>
                  <a:gd name="connsiteY39" fmla="*/ 133445 h 529494"/>
                  <a:gd name="connsiteX40" fmla="*/ 206122 w 3550159"/>
                  <a:gd name="connsiteY40" fmla="*/ 139446 h 529494"/>
                  <a:gd name="connsiteX41" fmla="*/ 212408 w 3550159"/>
                  <a:gd name="connsiteY41" fmla="*/ 139446 h 529494"/>
                  <a:gd name="connsiteX42" fmla="*/ 212408 w 3550159"/>
                  <a:gd name="connsiteY42" fmla="*/ 145542 h 529494"/>
                  <a:gd name="connsiteX43" fmla="*/ 216599 w 3550159"/>
                  <a:gd name="connsiteY43" fmla="*/ 145542 h 529494"/>
                  <a:gd name="connsiteX44" fmla="*/ 216599 w 3550159"/>
                  <a:gd name="connsiteY44" fmla="*/ 151638 h 529494"/>
                  <a:gd name="connsiteX45" fmla="*/ 233458 w 3550159"/>
                  <a:gd name="connsiteY45" fmla="*/ 151638 h 529494"/>
                  <a:gd name="connsiteX46" fmla="*/ 233458 w 3550159"/>
                  <a:gd name="connsiteY46" fmla="*/ 163734 h 529494"/>
                  <a:gd name="connsiteX47" fmla="*/ 237649 w 3550159"/>
                  <a:gd name="connsiteY47" fmla="*/ 163734 h 529494"/>
                  <a:gd name="connsiteX48" fmla="*/ 237649 w 3550159"/>
                  <a:gd name="connsiteY48" fmla="*/ 169830 h 529494"/>
                  <a:gd name="connsiteX49" fmla="*/ 260795 w 3550159"/>
                  <a:gd name="connsiteY49" fmla="*/ 169830 h 529494"/>
                  <a:gd name="connsiteX50" fmla="*/ 260795 w 3550159"/>
                  <a:gd name="connsiteY50" fmla="*/ 175926 h 529494"/>
                  <a:gd name="connsiteX51" fmla="*/ 264986 w 3550159"/>
                  <a:gd name="connsiteY51" fmla="*/ 175926 h 529494"/>
                  <a:gd name="connsiteX52" fmla="*/ 264986 w 3550159"/>
                  <a:gd name="connsiteY52" fmla="*/ 181927 h 529494"/>
                  <a:gd name="connsiteX53" fmla="*/ 271273 w 3550159"/>
                  <a:gd name="connsiteY53" fmla="*/ 181927 h 529494"/>
                  <a:gd name="connsiteX54" fmla="*/ 271273 w 3550159"/>
                  <a:gd name="connsiteY54" fmla="*/ 194119 h 529494"/>
                  <a:gd name="connsiteX55" fmla="*/ 290227 w 3550159"/>
                  <a:gd name="connsiteY55" fmla="*/ 194119 h 529494"/>
                  <a:gd name="connsiteX56" fmla="*/ 290227 w 3550159"/>
                  <a:gd name="connsiteY56" fmla="*/ 200120 h 529494"/>
                  <a:gd name="connsiteX57" fmla="*/ 298609 w 3550159"/>
                  <a:gd name="connsiteY57" fmla="*/ 200120 h 529494"/>
                  <a:gd name="connsiteX58" fmla="*/ 298609 w 3550159"/>
                  <a:gd name="connsiteY58" fmla="*/ 206216 h 529494"/>
                  <a:gd name="connsiteX59" fmla="*/ 311278 w 3550159"/>
                  <a:gd name="connsiteY59" fmla="*/ 206216 h 529494"/>
                  <a:gd name="connsiteX60" fmla="*/ 311278 w 3550159"/>
                  <a:gd name="connsiteY60" fmla="*/ 212312 h 529494"/>
                  <a:gd name="connsiteX61" fmla="*/ 328137 w 3550159"/>
                  <a:gd name="connsiteY61" fmla="*/ 212312 h 529494"/>
                  <a:gd name="connsiteX62" fmla="*/ 328137 w 3550159"/>
                  <a:gd name="connsiteY62" fmla="*/ 218313 h 529494"/>
                  <a:gd name="connsiteX63" fmla="*/ 355474 w 3550159"/>
                  <a:gd name="connsiteY63" fmla="*/ 218313 h 529494"/>
                  <a:gd name="connsiteX64" fmla="*/ 355474 w 3550159"/>
                  <a:gd name="connsiteY64" fmla="*/ 224409 h 529494"/>
                  <a:gd name="connsiteX65" fmla="*/ 357569 w 3550159"/>
                  <a:gd name="connsiteY65" fmla="*/ 224409 h 529494"/>
                  <a:gd name="connsiteX66" fmla="*/ 357569 w 3550159"/>
                  <a:gd name="connsiteY66" fmla="*/ 230505 h 529494"/>
                  <a:gd name="connsiteX67" fmla="*/ 368046 w 3550159"/>
                  <a:gd name="connsiteY67" fmla="*/ 230505 h 529494"/>
                  <a:gd name="connsiteX68" fmla="*/ 368046 w 3550159"/>
                  <a:gd name="connsiteY68" fmla="*/ 236505 h 529494"/>
                  <a:gd name="connsiteX69" fmla="*/ 374333 w 3550159"/>
                  <a:gd name="connsiteY69" fmla="*/ 236505 h 529494"/>
                  <a:gd name="connsiteX70" fmla="*/ 374333 w 3550159"/>
                  <a:gd name="connsiteY70" fmla="*/ 248697 h 529494"/>
                  <a:gd name="connsiteX71" fmla="*/ 382810 w 3550159"/>
                  <a:gd name="connsiteY71" fmla="*/ 248697 h 529494"/>
                  <a:gd name="connsiteX72" fmla="*/ 382810 w 3550159"/>
                  <a:gd name="connsiteY72" fmla="*/ 254698 h 529494"/>
                  <a:gd name="connsiteX73" fmla="*/ 389097 w 3550159"/>
                  <a:gd name="connsiteY73" fmla="*/ 254698 h 529494"/>
                  <a:gd name="connsiteX74" fmla="*/ 389097 w 3550159"/>
                  <a:gd name="connsiteY74" fmla="*/ 266890 h 529494"/>
                  <a:gd name="connsiteX75" fmla="*/ 391192 w 3550159"/>
                  <a:gd name="connsiteY75" fmla="*/ 266890 h 529494"/>
                  <a:gd name="connsiteX76" fmla="*/ 391192 w 3550159"/>
                  <a:gd name="connsiteY76" fmla="*/ 272986 h 529494"/>
                  <a:gd name="connsiteX77" fmla="*/ 403765 w 3550159"/>
                  <a:gd name="connsiteY77" fmla="*/ 272986 h 529494"/>
                  <a:gd name="connsiteX78" fmla="*/ 403765 w 3550159"/>
                  <a:gd name="connsiteY78" fmla="*/ 278987 h 529494"/>
                  <a:gd name="connsiteX79" fmla="*/ 426911 w 3550159"/>
                  <a:gd name="connsiteY79" fmla="*/ 278987 h 529494"/>
                  <a:gd name="connsiteX80" fmla="*/ 426911 w 3550159"/>
                  <a:gd name="connsiteY80" fmla="*/ 285083 h 529494"/>
                  <a:gd name="connsiteX81" fmla="*/ 433293 w 3550159"/>
                  <a:gd name="connsiteY81" fmla="*/ 285083 h 529494"/>
                  <a:gd name="connsiteX82" fmla="*/ 433293 w 3550159"/>
                  <a:gd name="connsiteY82" fmla="*/ 291179 h 529494"/>
                  <a:gd name="connsiteX83" fmla="*/ 441675 w 3550159"/>
                  <a:gd name="connsiteY83" fmla="*/ 291179 h 529494"/>
                  <a:gd name="connsiteX84" fmla="*/ 441675 w 3550159"/>
                  <a:gd name="connsiteY84" fmla="*/ 297180 h 529494"/>
                  <a:gd name="connsiteX85" fmla="*/ 450057 w 3550159"/>
                  <a:gd name="connsiteY85" fmla="*/ 297180 h 529494"/>
                  <a:gd name="connsiteX86" fmla="*/ 450057 w 3550159"/>
                  <a:gd name="connsiteY86" fmla="*/ 303276 h 529494"/>
                  <a:gd name="connsiteX87" fmla="*/ 454248 w 3550159"/>
                  <a:gd name="connsiteY87" fmla="*/ 303276 h 529494"/>
                  <a:gd name="connsiteX88" fmla="*/ 454248 w 3550159"/>
                  <a:gd name="connsiteY88" fmla="*/ 309372 h 529494"/>
                  <a:gd name="connsiteX89" fmla="*/ 527876 w 3550159"/>
                  <a:gd name="connsiteY89" fmla="*/ 309372 h 529494"/>
                  <a:gd name="connsiteX90" fmla="*/ 527876 w 3550159"/>
                  <a:gd name="connsiteY90" fmla="*/ 315372 h 529494"/>
                  <a:gd name="connsiteX91" fmla="*/ 548926 w 3550159"/>
                  <a:gd name="connsiteY91" fmla="*/ 315372 h 529494"/>
                  <a:gd name="connsiteX92" fmla="*/ 548926 w 3550159"/>
                  <a:gd name="connsiteY92" fmla="*/ 321468 h 529494"/>
                  <a:gd name="connsiteX93" fmla="*/ 555213 w 3550159"/>
                  <a:gd name="connsiteY93" fmla="*/ 321468 h 529494"/>
                  <a:gd name="connsiteX94" fmla="*/ 555213 w 3550159"/>
                  <a:gd name="connsiteY94" fmla="*/ 327564 h 529494"/>
                  <a:gd name="connsiteX95" fmla="*/ 597313 w 3550159"/>
                  <a:gd name="connsiteY95" fmla="*/ 327564 h 529494"/>
                  <a:gd name="connsiteX96" fmla="*/ 597313 w 3550159"/>
                  <a:gd name="connsiteY96" fmla="*/ 333565 h 529494"/>
                  <a:gd name="connsiteX97" fmla="*/ 611982 w 3550159"/>
                  <a:gd name="connsiteY97" fmla="*/ 333565 h 529494"/>
                  <a:gd name="connsiteX98" fmla="*/ 611982 w 3550159"/>
                  <a:gd name="connsiteY98" fmla="*/ 339661 h 529494"/>
                  <a:gd name="connsiteX99" fmla="*/ 641509 w 3550159"/>
                  <a:gd name="connsiteY99" fmla="*/ 339661 h 529494"/>
                  <a:gd name="connsiteX100" fmla="*/ 641509 w 3550159"/>
                  <a:gd name="connsiteY100" fmla="*/ 345757 h 529494"/>
                  <a:gd name="connsiteX101" fmla="*/ 643605 w 3550159"/>
                  <a:gd name="connsiteY101" fmla="*/ 345757 h 529494"/>
                  <a:gd name="connsiteX102" fmla="*/ 643605 w 3550159"/>
                  <a:gd name="connsiteY102" fmla="*/ 351758 h 529494"/>
                  <a:gd name="connsiteX103" fmla="*/ 666655 w 3550159"/>
                  <a:gd name="connsiteY103" fmla="*/ 351758 h 529494"/>
                  <a:gd name="connsiteX104" fmla="*/ 666655 w 3550159"/>
                  <a:gd name="connsiteY104" fmla="*/ 357854 h 529494"/>
                  <a:gd name="connsiteX105" fmla="*/ 679324 w 3550159"/>
                  <a:gd name="connsiteY105" fmla="*/ 357854 h 529494"/>
                  <a:gd name="connsiteX106" fmla="*/ 679324 w 3550159"/>
                  <a:gd name="connsiteY106" fmla="*/ 363950 h 529494"/>
                  <a:gd name="connsiteX107" fmla="*/ 715042 w 3550159"/>
                  <a:gd name="connsiteY107" fmla="*/ 363950 h 529494"/>
                  <a:gd name="connsiteX108" fmla="*/ 715042 w 3550159"/>
                  <a:gd name="connsiteY108" fmla="*/ 370046 h 529494"/>
                  <a:gd name="connsiteX109" fmla="*/ 830771 w 3550159"/>
                  <a:gd name="connsiteY109" fmla="*/ 370046 h 529494"/>
                  <a:gd name="connsiteX110" fmla="*/ 830771 w 3550159"/>
                  <a:gd name="connsiteY110" fmla="*/ 376047 h 529494"/>
                  <a:gd name="connsiteX111" fmla="*/ 868585 w 3550159"/>
                  <a:gd name="connsiteY111" fmla="*/ 376047 h 529494"/>
                  <a:gd name="connsiteX112" fmla="*/ 868585 w 3550159"/>
                  <a:gd name="connsiteY112" fmla="*/ 382238 h 529494"/>
                  <a:gd name="connsiteX113" fmla="*/ 921163 w 3550159"/>
                  <a:gd name="connsiteY113" fmla="*/ 382238 h 529494"/>
                  <a:gd name="connsiteX114" fmla="*/ 921163 w 3550159"/>
                  <a:gd name="connsiteY114" fmla="*/ 388334 h 529494"/>
                  <a:gd name="connsiteX115" fmla="*/ 940118 w 3550159"/>
                  <a:gd name="connsiteY115" fmla="*/ 388334 h 529494"/>
                  <a:gd name="connsiteX116" fmla="*/ 940118 w 3550159"/>
                  <a:gd name="connsiteY116" fmla="*/ 394430 h 529494"/>
                  <a:gd name="connsiteX117" fmla="*/ 950596 w 3550159"/>
                  <a:gd name="connsiteY117" fmla="*/ 394430 h 529494"/>
                  <a:gd name="connsiteX118" fmla="*/ 950596 w 3550159"/>
                  <a:gd name="connsiteY118" fmla="*/ 400621 h 529494"/>
                  <a:gd name="connsiteX119" fmla="*/ 984314 w 3550159"/>
                  <a:gd name="connsiteY119" fmla="*/ 400621 h 529494"/>
                  <a:gd name="connsiteX120" fmla="*/ 984314 w 3550159"/>
                  <a:gd name="connsiteY120" fmla="*/ 406717 h 529494"/>
                  <a:gd name="connsiteX121" fmla="*/ 990601 w 3550159"/>
                  <a:gd name="connsiteY121" fmla="*/ 406717 h 529494"/>
                  <a:gd name="connsiteX122" fmla="*/ 990601 w 3550159"/>
                  <a:gd name="connsiteY122" fmla="*/ 412813 h 529494"/>
                  <a:gd name="connsiteX123" fmla="*/ 1005269 w 3550159"/>
                  <a:gd name="connsiteY123" fmla="*/ 412813 h 529494"/>
                  <a:gd name="connsiteX124" fmla="*/ 1005269 w 3550159"/>
                  <a:gd name="connsiteY124" fmla="*/ 418909 h 529494"/>
                  <a:gd name="connsiteX125" fmla="*/ 1017937 w 3550159"/>
                  <a:gd name="connsiteY125" fmla="*/ 418909 h 529494"/>
                  <a:gd name="connsiteX126" fmla="*/ 1017937 w 3550159"/>
                  <a:gd name="connsiteY126" fmla="*/ 425100 h 529494"/>
                  <a:gd name="connsiteX127" fmla="*/ 1043179 w 3550159"/>
                  <a:gd name="connsiteY127" fmla="*/ 425100 h 529494"/>
                  <a:gd name="connsiteX128" fmla="*/ 1043179 w 3550159"/>
                  <a:gd name="connsiteY128" fmla="*/ 431196 h 529494"/>
                  <a:gd name="connsiteX129" fmla="*/ 1272445 w 3550159"/>
                  <a:gd name="connsiteY129" fmla="*/ 431196 h 529494"/>
                  <a:gd name="connsiteX130" fmla="*/ 1272445 w 3550159"/>
                  <a:gd name="connsiteY130" fmla="*/ 437388 h 529494"/>
                  <a:gd name="connsiteX131" fmla="*/ 1385983 w 3550159"/>
                  <a:gd name="connsiteY131" fmla="*/ 437388 h 529494"/>
                  <a:gd name="connsiteX132" fmla="*/ 1385983 w 3550159"/>
                  <a:gd name="connsiteY132" fmla="*/ 443579 h 529494"/>
                  <a:gd name="connsiteX133" fmla="*/ 1655160 w 3550159"/>
                  <a:gd name="connsiteY133" fmla="*/ 443579 h 529494"/>
                  <a:gd name="connsiteX134" fmla="*/ 1655160 w 3550159"/>
                  <a:gd name="connsiteY134" fmla="*/ 449865 h 529494"/>
                  <a:gd name="connsiteX135" fmla="*/ 1728788 w 3550159"/>
                  <a:gd name="connsiteY135" fmla="*/ 449865 h 529494"/>
                  <a:gd name="connsiteX136" fmla="*/ 1728788 w 3550159"/>
                  <a:gd name="connsiteY136" fmla="*/ 456152 h 529494"/>
                  <a:gd name="connsiteX137" fmla="*/ 1808703 w 3550159"/>
                  <a:gd name="connsiteY137" fmla="*/ 456152 h 529494"/>
                  <a:gd name="connsiteX138" fmla="*/ 1808703 w 3550159"/>
                  <a:gd name="connsiteY138" fmla="*/ 462438 h 529494"/>
                  <a:gd name="connsiteX139" fmla="*/ 1970628 w 3550159"/>
                  <a:gd name="connsiteY139" fmla="*/ 462438 h 529494"/>
                  <a:gd name="connsiteX140" fmla="*/ 1970628 w 3550159"/>
                  <a:gd name="connsiteY140" fmla="*/ 468915 h 529494"/>
                  <a:gd name="connsiteX141" fmla="*/ 1987487 w 3550159"/>
                  <a:gd name="connsiteY141" fmla="*/ 468915 h 529494"/>
                  <a:gd name="connsiteX142" fmla="*/ 1987487 w 3550159"/>
                  <a:gd name="connsiteY142" fmla="*/ 475297 h 529494"/>
                  <a:gd name="connsiteX143" fmla="*/ 2105311 w 3550159"/>
                  <a:gd name="connsiteY143" fmla="*/ 475297 h 529494"/>
                  <a:gd name="connsiteX144" fmla="*/ 2105311 w 3550159"/>
                  <a:gd name="connsiteY144" fmla="*/ 481774 h 529494"/>
                  <a:gd name="connsiteX145" fmla="*/ 2197799 w 3550159"/>
                  <a:gd name="connsiteY145" fmla="*/ 481774 h 529494"/>
                  <a:gd name="connsiteX146" fmla="*/ 2197799 w 3550159"/>
                  <a:gd name="connsiteY146" fmla="*/ 488156 h 529494"/>
                  <a:gd name="connsiteX147" fmla="*/ 2216754 w 3550159"/>
                  <a:gd name="connsiteY147" fmla="*/ 488156 h 529494"/>
                  <a:gd name="connsiteX148" fmla="*/ 2216754 w 3550159"/>
                  <a:gd name="connsiteY148" fmla="*/ 494633 h 529494"/>
                  <a:gd name="connsiteX149" fmla="*/ 3070575 w 3550159"/>
                  <a:gd name="connsiteY149" fmla="*/ 494633 h 529494"/>
                  <a:gd name="connsiteX150" fmla="*/ 3070575 w 3550159"/>
                  <a:gd name="connsiteY150" fmla="*/ 529494 h 529494"/>
                  <a:gd name="connsiteX151" fmla="*/ 3550159 w 3550159"/>
                  <a:gd name="connsiteY151" fmla="*/ 529494 h 529494"/>
                  <a:gd name="connsiteX0" fmla="*/ 0 w 3550159"/>
                  <a:gd name="connsiteY0" fmla="*/ 0 h 529494"/>
                  <a:gd name="connsiteX1" fmla="*/ 21051 w 3550159"/>
                  <a:gd name="connsiteY1" fmla="*/ 6000 h 529494"/>
                  <a:gd name="connsiteX2" fmla="*/ 21051 w 3550159"/>
                  <a:gd name="connsiteY2" fmla="*/ 12096 h 529494"/>
                  <a:gd name="connsiteX3" fmla="*/ 29433 w 3550159"/>
                  <a:gd name="connsiteY3" fmla="*/ 12096 h 529494"/>
                  <a:gd name="connsiteX4" fmla="*/ 40006 w 3550159"/>
                  <a:gd name="connsiteY4" fmla="*/ 18192 h 529494"/>
                  <a:gd name="connsiteX5" fmla="*/ 40006 w 3550159"/>
                  <a:gd name="connsiteY5" fmla="*/ 24193 h 529494"/>
                  <a:gd name="connsiteX6" fmla="*/ 52579 w 3550159"/>
                  <a:gd name="connsiteY6" fmla="*/ 24193 h 529494"/>
                  <a:gd name="connsiteX7" fmla="*/ 52579 w 3550159"/>
                  <a:gd name="connsiteY7" fmla="*/ 30289 h 529494"/>
                  <a:gd name="connsiteX8" fmla="*/ 58865 w 3550159"/>
                  <a:gd name="connsiteY8" fmla="*/ 30289 h 529494"/>
                  <a:gd name="connsiteX9" fmla="*/ 58865 w 3550159"/>
                  <a:gd name="connsiteY9" fmla="*/ 42386 h 529494"/>
                  <a:gd name="connsiteX10" fmla="*/ 63056 w 3550159"/>
                  <a:gd name="connsiteY10" fmla="*/ 42386 h 529494"/>
                  <a:gd name="connsiteX11" fmla="*/ 63056 w 3550159"/>
                  <a:gd name="connsiteY11" fmla="*/ 48482 h 529494"/>
                  <a:gd name="connsiteX12" fmla="*/ 75724 w 3550159"/>
                  <a:gd name="connsiteY12" fmla="*/ 48482 h 529494"/>
                  <a:gd name="connsiteX13" fmla="*/ 75724 w 3550159"/>
                  <a:gd name="connsiteY13" fmla="*/ 54578 h 529494"/>
                  <a:gd name="connsiteX14" fmla="*/ 90393 w 3550159"/>
                  <a:gd name="connsiteY14" fmla="*/ 54578 h 529494"/>
                  <a:gd name="connsiteX15" fmla="*/ 90393 w 3550159"/>
                  <a:gd name="connsiteY15" fmla="*/ 60579 h 529494"/>
                  <a:gd name="connsiteX16" fmla="*/ 94679 w 3550159"/>
                  <a:gd name="connsiteY16" fmla="*/ 60579 h 529494"/>
                  <a:gd name="connsiteX17" fmla="*/ 94679 w 3550159"/>
                  <a:gd name="connsiteY17" fmla="*/ 66675 h 529494"/>
                  <a:gd name="connsiteX18" fmla="*/ 105156 w 3550159"/>
                  <a:gd name="connsiteY18" fmla="*/ 66675 h 529494"/>
                  <a:gd name="connsiteX19" fmla="*/ 105156 w 3550159"/>
                  <a:gd name="connsiteY19" fmla="*/ 72771 h 529494"/>
                  <a:gd name="connsiteX20" fmla="*/ 113539 w 3550159"/>
                  <a:gd name="connsiteY20" fmla="*/ 72771 h 529494"/>
                  <a:gd name="connsiteX21" fmla="*/ 113539 w 3550159"/>
                  <a:gd name="connsiteY21" fmla="*/ 78867 h 529494"/>
                  <a:gd name="connsiteX22" fmla="*/ 128302 w 3550159"/>
                  <a:gd name="connsiteY22" fmla="*/ 78867 h 529494"/>
                  <a:gd name="connsiteX23" fmla="*/ 128302 w 3550159"/>
                  <a:gd name="connsiteY23" fmla="*/ 84867 h 529494"/>
                  <a:gd name="connsiteX24" fmla="*/ 132493 w 3550159"/>
                  <a:gd name="connsiteY24" fmla="*/ 84867 h 529494"/>
                  <a:gd name="connsiteX25" fmla="*/ 132493 w 3550159"/>
                  <a:gd name="connsiteY25" fmla="*/ 90963 h 529494"/>
                  <a:gd name="connsiteX26" fmla="*/ 136684 w 3550159"/>
                  <a:gd name="connsiteY26" fmla="*/ 90963 h 529494"/>
                  <a:gd name="connsiteX27" fmla="*/ 136684 w 3550159"/>
                  <a:gd name="connsiteY27" fmla="*/ 97059 h 529494"/>
                  <a:gd name="connsiteX28" fmla="*/ 149353 w 3550159"/>
                  <a:gd name="connsiteY28" fmla="*/ 97059 h 529494"/>
                  <a:gd name="connsiteX29" fmla="*/ 149353 w 3550159"/>
                  <a:gd name="connsiteY29" fmla="*/ 103060 h 529494"/>
                  <a:gd name="connsiteX30" fmla="*/ 178785 w 3550159"/>
                  <a:gd name="connsiteY30" fmla="*/ 103060 h 529494"/>
                  <a:gd name="connsiteX31" fmla="*/ 178785 w 3550159"/>
                  <a:gd name="connsiteY31" fmla="*/ 109156 h 529494"/>
                  <a:gd name="connsiteX32" fmla="*/ 187167 w 3550159"/>
                  <a:gd name="connsiteY32" fmla="*/ 109156 h 529494"/>
                  <a:gd name="connsiteX33" fmla="*/ 187167 w 3550159"/>
                  <a:gd name="connsiteY33" fmla="*/ 115252 h 529494"/>
                  <a:gd name="connsiteX34" fmla="*/ 189262 w 3550159"/>
                  <a:gd name="connsiteY34" fmla="*/ 115252 h 529494"/>
                  <a:gd name="connsiteX35" fmla="*/ 189262 w 3550159"/>
                  <a:gd name="connsiteY35" fmla="*/ 121253 h 529494"/>
                  <a:gd name="connsiteX36" fmla="*/ 204026 w 3550159"/>
                  <a:gd name="connsiteY36" fmla="*/ 121253 h 529494"/>
                  <a:gd name="connsiteX37" fmla="*/ 204026 w 3550159"/>
                  <a:gd name="connsiteY37" fmla="*/ 133445 h 529494"/>
                  <a:gd name="connsiteX38" fmla="*/ 206122 w 3550159"/>
                  <a:gd name="connsiteY38" fmla="*/ 133445 h 529494"/>
                  <a:gd name="connsiteX39" fmla="*/ 206122 w 3550159"/>
                  <a:gd name="connsiteY39" fmla="*/ 139446 h 529494"/>
                  <a:gd name="connsiteX40" fmla="*/ 212408 w 3550159"/>
                  <a:gd name="connsiteY40" fmla="*/ 139446 h 529494"/>
                  <a:gd name="connsiteX41" fmla="*/ 212408 w 3550159"/>
                  <a:gd name="connsiteY41" fmla="*/ 145542 h 529494"/>
                  <a:gd name="connsiteX42" fmla="*/ 216599 w 3550159"/>
                  <a:gd name="connsiteY42" fmla="*/ 145542 h 529494"/>
                  <a:gd name="connsiteX43" fmla="*/ 216599 w 3550159"/>
                  <a:gd name="connsiteY43" fmla="*/ 151638 h 529494"/>
                  <a:gd name="connsiteX44" fmla="*/ 233458 w 3550159"/>
                  <a:gd name="connsiteY44" fmla="*/ 151638 h 529494"/>
                  <a:gd name="connsiteX45" fmla="*/ 233458 w 3550159"/>
                  <a:gd name="connsiteY45" fmla="*/ 163734 h 529494"/>
                  <a:gd name="connsiteX46" fmla="*/ 237649 w 3550159"/>
                  <a:gd name="connsiteY46" fmla="*/ 163734 h 529494"/>
                  <a:gd name="connsiteX47" fmla="*/ 237649 w 3550159"/>
                  <a:gd name="connsiteY47" fmla="*/ 169830 h 529494"/>
                  <a:gd name="connsiteX48" fmla="*/ 260795 w 3550159"/>
                  <a:gd name="connsiteY48" fmla="*/ 169830 h 529494"/>
                  <a:gd name="connsiteX49" fmla="*/ 260795 w 3550159"/>
                  <a:gd name="connsiteY49" fmla="*/ 175926 h 529494"/>
                  <a:gd name="connsiteX50" fmla="*/ 264986 w 3550159"/>
                  <a:gd name="connsiteY50" fmla="*/ 175926 h 529494"/>
                  <a:gd name="connsiteX51" fmla="*/ 264986 w 3550159"/>
                  <a:gd name="connsiteY51" fmla="*/ 181927 h 529494"/>
                  <a:gd name="connsiteX52" fmla="*/ 271273 w 3550159"/>
                  <a:gd name="connsiteY52" fmla="*/ 181927 h 529494"/>
                  <a:gd name="connsiteX53" fmla="*/ 271273 w 3550159"/>
                  <a:gd name="connsiteY53" fmla="*/ 194119 h 529494"/>
                  <a:gd name="connsiteX54" fmla="*/ 290227 w 3550159"/>
                  <a:gd name="connsiteY54" fmla="*/ 194119 h 529494"/>
                  <a:gd name="connsiteX55" fmla="*/ 290227 w 3550159"/>
                  <a:gd name="connsiteY55" fmla="*/ 200120 h 529494"/>
                  <a:gd name="connsiteX56" fmla="*/ 298609 w 3550159"/>
                  <a:gd name="connsiteY56" fmla="*/ 200120 h 529494"/>
                  <a:gd name="connsiteX57" fmla="*/ 298609 w 3550159"/>
                  <a:gd name="connsiteY57" fmla="*/ 206216 h 529494"/>
                  <a:gd name="connsiteX58" fmla="*/ 311278 w 3550159"/>
                  <a:gd name="connsiteY58" fmla="*/ 206216 h 529494"/>
                  <a:gd name="connsiteX59" fmla="*/ 311278 w 3550159"/>
                  <a:gd name="connsiteY59" fmla="*/ 212312 h 529494"/>
                  <a:gd name="connsiteX60" fmla="*/ 328137 w 3550159"/>
                  <a:gd name="connsiteY60" fmla="*/ 212312 h 529494"/>
                  <a:gd name="connsiteX61" fmla="*/ 328137 w 3550159"/>
                  <a:gd name="connsiteY61" fmla="*/ 218313 h 529494"/>
                  <a:gd name="connsiteX62" fmla="*/ 355474 w 3550159"/>
                  <a:gd name="connsiteY62" fmla="*/ 218313 h 529494"/>
                  <a:gd name="connsiteX63" fmla="*/ 355474 w 3550159"/>
                  <a:gd name="connsiteY63" fmla="*/ 224409 h 529494"/>
                  <a:gd name="connsiteX64" fmla="*/ 357569 w 3550159"/>
                  <a:gd name="connsiteY64" fmla="*/ 224409 h 529494"/>
                  <a:gd name="connsiteX65" fmla="*/ 357569 w 3550159"/>
                  <a:gd name="connsiteY65" fmla="*/ 230505 h 529494"/>
                  <a:gd name="connsiteX66" fmla="*/ 368046 w 3550159"/>
                  <a:gd name="connsiteY66" fmla="*/ 230505 h 529494"/>
                  <a:gd name="connsiteX67" fmla="*/ 368046 w 3550159"/>
                  <a:gd name="connsiteY67" fmla="*/ 236505 h 529494"/>
                  <a:gd name="connsiteX68" fmla="*/ 374333 w 3550159"/>
                  <a:gd name="connsiteY68" fmla="*/ 236505 h 529494"/>
                  <a:gd name="connsiteX69" fmla="*/ 374333 w 3550159"/>
                  <a:gd name="connsiteY69" fmla="*/ 248697 h 529494"/>
                  <a:gd name="connsiteX70" fmla="*/ 382810 w 3550159"/>
                  <a:gd name="connsiteY70" fmla="*/ 248697 h 529494"/>
                  <a:gd name="connsiteX71" fmla="*/ 382810 w 3550159"/>
                  <a:gd name="connsiteY71" fmla="*/ 254698 h 529494"/>
                  <a:gd name="connsiteX72" fmla="*/ 389097 w 3550159"/>
                  <a:gd name="connsiteY72" fmla="*/ 254698 h 529494"/>
                  <a:gd name="connsiteX73" fmla="*/ 389097 w 3550159"/>
                  <a:gd name="connsiteY73" fmla="*/ 266890 h 529494"/>
                  <a:gd name="connsiteX74" fmla="*/ 391192 w 3550159"/>
                  <a:gd name="connsiteY74" fmla="*/ 266890 h 529494"/>
                  <a:gd name="connsiteX75" fmla="*/ 391192 w 3550159"/>
                  <a:gd name="connsiteY75" fmla="*/ 272986 h 529494"/>
                  <a:gd name="connsiteX76" fmla="*/ 403765 w 3550159"/>
                  <a:gd name="connsiteY76" fmla="*/ 272986 h 529494"/>
                  <a:gd name="connsiteX77" fmla="*/ 403765 w 3550159"/>
                  <a:gd name="connsiteY77" fmla="*/ 278987 h 529494"/>
                  <a:gd name="connsiteX78" fmla="*/ 426911 w 3550159"/>
                  <a:gd name="connsiteY78" fmla="*/ 278987 h 529494"/>
                  <a:gd name="connsiteX79" fmla="*/ 426911 w 3550159"/>
                  <a:gd name="connsiteY79" fmla="*/ 285083 h 529494"/>
                  <a:gd name="connsiteX80" fmla="*/ 433293 w 3550159"/>
                  <a:gd name="connsiteY80" fmla="*/ 285083 h 529494"/>
                  <a:gd name="connsiteX81" fmla="*/ 433293 w 3550159"/>
                  <a:gd name="connsiteY81" fmla="*/ 291179 h 529494"/>
                  <a:gd name="connsiteX82" fmla="*/ 441675 w 3550159"/>
                  <a:gd name="connsiteY82" fmla="*/ 291179 h 529494"/>
                  <a:gd name="connsiteX83" fmla="*/ 441675 w 3550159"/>
                  <a:gd name="connsiteY83" fmla="*/ 297180 h 529494"/>
                  <a:gd name="connsiteX84" fmla="*/ 450057 w 3550159"/>
                  <a:gd name="connsiteY84" fmla="*/ 297180 h 529494"/>
                  <a:gd name="connsiteX85" fmla="*/ 450057 w 3550159"/>
                  <a:gd name="connsiteY85" fmla="*/ 303276 h 529494"/>
                  <a:gd name="connsiteX86" fmla="*/ 454248 w 3550159"/>
                  <a:gd name="connsiteY86" fmla="*/ 303276 h 529494"/>
                  <a:gd name="connsiteX87" fmla="*/ 454248 w 3550159"/>
                  <a:gd name="connsiteY87" fmla="*/ 309372 h 529494"/>
                  <a:gd name="connsiteX88" fmla="*/ 527876 w 3550159"/>
                  <a:gd name="connsiteY88" fmla="*/ 309372 h 529494"/>
                  <a:gd name="connsiteX89" fmla="*/ 527876 w 3550159"/>
                  <a:gd name="connsiteY89" fmla="*/ 315372 h 529494"/>
                  <a:gd name="connsiteX90" fmla="*/ 548926 w 3550159"/>
                  <a:gd name="connsiteY90" fmla="*/ 315372 h 529494"/>
                  <a:gd name="connsiteX91" fmla="*/ 548926 w 3550159"/>
                  <a:gd name="connsiteY91" fmla="*/ 321468 h 529494"/>
                  <a:gd name="connsiteX92" fmla="*/ 555213 w 3550159"/>
                  <a:gd name="connsiteY92" fmla="*/ 321468 h 529494"/>
                  <a:gd name="connsiteX93" fmla="*/ 555213 w 3550159"/>
                  <a:gd name="connsiteY93" fmla="*/ 327564 h 529494"/>
                  <a:gd name="connsiteX94" fmla="*/ 597313 w 3550159"/>
                  <a:gd name="connsiteY94" fmla="*/ 327564 h 529494"/>
                  <a:gd name="connsiteX95" fmla="*/ 597313 w 3550159"/>
                  <a:gd name="connsiteY95" fmla="*/ 333565 h 529494"/>
                  <a:gd name="connsiteX96" fmla="*/ 611982 w 3550159"/>
                  <a:gd name="connsiteY96" fmla="*/ 333565 h 529494"/>
                  <a:gd name="connsiteX97" fmla="*/ 611982 w 3550159"/>
                  <a:gd name="connsiteY97" fmla="*/ 339661 h 529494"/>
                  <a:gd name="connsiteX98" fmla="*/ 641509 w 3550159"/>
                  <a:gd name="connsiteY98" fmla="*/ 339661 h 529494"/>
                  <a:gd name="connsiteX99" fmla="*/ 641509 w 3550159"/>
                  <a:gd name="connsiteY99" fmla="*/ 345757 h 529494"/>
                  <a:gd name="connsiteX100" fmla="*/ 643605 w 3550159"/>
                  <a:gd name="connsiteY100" fmla="*/ 345757 h 529494"/>
                  <a:gd name="connsiteX101" fmla="*/ 643605 w 3550159"/>
                  <a:gd name="connsiteY101" fmla="*/ 351758 h 529494"/>
                  <a:gd name="connsiteX102" fmla="*/ 666655 w 3550159"/>
                  <a:gd name="connsiteY102" fmla="*/ 351758 h 529494"/>
                  <a:gd name="connsiteX103" fmla="*/ 666655 w 3550159"/>
                  <a:gd name="connsiteY103" fmla="*/ 357854 h 529494"/>
                  <a:gd name="connsiteX104" fmla="*/ 679324 w 3550159"/>
                  <a:gd name="connsiteY104" fmla="*/ 357854 h 529494"/>
                  <a:gd name="connsiteX105" fmla="*/ 679324 w 3550159"/>
                  <a:gd name="connsiteY105" fmla="*/ 363950 h 529494"/>
                  <a:gd name="connsiteX106" fmla="*/ 715042 w 3550159"/>
                  <a:gd name="connsiteY106" fmla="*/ 363950 h 529494"/>
                  <a:gd name="connsiteX107" fmla="*/ 715042 w 3550159"/>
                  <a:gd name="connsiteY107" fmla="*/ 370046 h 529494"/>
                  <a:gd name="connsiteX108" fmla="*/ 830771 w 3550159"/>
                  <a:gd name="connsiteY108" fmla="*/ 370046 h 529494"/>
                  <a:gd name="connsiteX109" fmla="*/ 830771 w 3550159"/>
                  <a:gd name="connsiteY109" fmla="*/ 376047 h 529494"/>
                  <a:gd name="connsiteX110" fmla="*/ 868585 w 3550159"/>
                  <a:gd name="connsiteY110" fmla="*/ 376047 h 529494"/>
                  <a:gd name="connsiteX111" fmla="*/ 868585 w 3550159"/>
                  <a:gd name="connsiteY111" fmla="*/ 382238 h 529494"/>
                  <a:gd name="connsiteX112" fmla="*/ 921163 w 3550159"/>
                  <a:gd name="connsiteY112" fmla="*/ 382238 h 529494"/>
                  <a:gd name="connsiteX113" fmla="*/ 921163 w 3550159"/>
                  <a:gd name="connsiteY113" fmla="*/ 388334 h 529494"/>
                  <a:gd name="connsiteX114" fmla="*/ 940118 w 3550159"/>
                  <a:gd name="connsiteY114" fmla="*/ 388334 h 529494"/>
                  <a:gd name="connsiteX115" fmla="*/ 940118 w 3550159"/>
                  <a:gd name="connsiteY115" fmla="*/ 394430 h 529494"/>
                  <a:gd name="connsiteX116" fmla="*/ 950596 w 3550159"/>
                  <a:gd name="connsiteY116" fmla="*/ 394430 h 529494"/>
                  <a:gd name="connsiteX117" fmla="*/ 950596 w 3550159"/>
                  <a:gd name="connsiteY117" fmla="*/ 400621 h 529494"/>
                  <a:gd name="connsiteX118" fmla="*/ 984314 w 3550159"/>
                  <a:gd name="connsiteY118" fmla="*/ 400621 h 529494"/>
                  <a:gd name="connsiteX119" fmla="*/ 984314 w 3550159"/>
                  <a:gd name="connsiteY119" fmla="*/ 406717 h 529494"/>
                  <a:gd name="connsiteX120" fmla="*/ 990601 w 3550159"/>
                  <a:gd name="connsiteY120" fmla="*/ 406717 h 529494"/>
                  <a:gd name="connsiteX121" fmla="*/ 990601 w 3550159"/>
                  <a:gd name="connsiteY121" fmla="*/ 412813 h 529494"/>
                  <a:gd name="connsiteX122" fmla="*/ 1005269 w 3550159"/>
                  <a:gd name="connsiteY122" fmla="*/ 412813 h 529494"/>
                  <a:gd name="connsiteX123" fmla="*/ 1005269 w 3550159"/>
                  <a:gd name="connsiteY123" fmla="*/ 418909 h 529494"/>
                  <a:gd name="connsiteX124" fmla="*/ 1017937 w 3550159"/>
                  <a:gd name="connsiteY124" fmla="*/ 418909 h 529494"/>
                  <a:gd name="connsiteX125" fmla="*/ 1017937 w 3550159"/>
                  <a:gd name="connsiteY125" fmla="*/ 425100 h 529494"/>
                  <a:gd name="connsiteX126" fmla="*/ 1043179 w 3550159"/>
                  <a:gd name="connsiteY126" fmla="*/ 425100 h 529494"/>
                  <a:gd name="connsiteX127" fmla="*/ 1043179 w 3550159"/>
                  <a:gd name="connsiteY127" fmla="*/ 431196 h 529494"/>
                  <a:gd name="connsiteX128" fmla="*/ 1272445 w 3550159"/>
                  <a:gd name="connsiteY128" fmla="*/ 431196 h 529494"/>
                  <a:gd name="connsiteX129" fmla="*/ 1272445 w 3550159"/>
                  <a:gd name="connsiteY129" fmla="*/ 437388 h 529494"/>
                  <a:gd name="connsiteX130" fmla="*/ 1385983 w 3550159"/>
                  <a:gd name="connsiteY130" fmla="*/ 437388 h 529494"/>
                  <a:gd name="connsiteX131" fmla="*/ 1385983 w 3550159"/>
                  <a:gd name="connsiteY131" fmla="*/ 443579 h 529494"/>
                  <a:gd name="connsiteX132" fmla="*/ 1655160 w 3550159"/>
                  <a:gd name="connsiteY132" fmla="*/ 443579 h 529494"/>
                  <a:gd name="connsiteX133" fmla="*/ 1655160 w 3550159"/>
                  <a:gd name="connsiteY133" fmla="*/ 449865 h 529494"/>
                  <a:gd name="connsiteX134" fmla="*/ 1728788 w 3550159"/>
                  <a:gd name="connsiteY134" fmla="*/ 449865 h 529494"/>
                  <a:gd name="connsiteX135" fmla="*/ 1728788 w 3550159"/>
                  <a:gd name="connsiteY135" fmla="*/ 456152 h 529494"/>
                  <a:gd name="connsiteX136" fmla="*/ 1808703 w 3550159"/>
                  <a:gd name="connsiteY136" fmla="*/ 456152 h 529494"/>
                  <a:gd name="connsiteX137" fmla="*/ 1808703 w 3550159"/>
                  <a:gd name="connsiteY137" fmla="*/ 462438 h 529494"/>
                  <a:gd name="connsiteX138" fmla="*/ 1970628 w 3550159"/>
                  <a:gd name="connsiteY138" fmla="*/ 462438 h 529494"/>
                  <a:gd name="connsiteX139" fmla="*/ 1970628 w 3550159"/>
                  <a:gd name="connsiteY139" fmla="*/ 468915 h 529494"/>
                  <a:gd name="connsiteX140" fmla="*/ 1987487 w 3550159"/>
                  <a:gd name="connsiteY140" fmla="*/ 468915 h 529494"/>
                  <a:gd name="connsiteX141" fmla="*/ 1987487 w 3550159"/>
                  <a:gd name="connsiteY141" fmla="*/ 475297 h 529494"/>
                  <a:gd name="connsiteX142" fmla="*/ 2105311 w 3550159"/>
                  <a:gd name="connsiteY142" fmla="*/ 475297 h 529494"/>
                  <a:gd name="connsiteX143" fmla="*/ 2105311 w 3550159"/>
                  <a:gd name="connsiteY143" fmla="*/ 481774 h 529494"/>
                  <a:gd name="connsiteX144" fmla="*/ 2197799 w 3550159"/>
                  <a:gd name="connsiteY144" fmla="*/ 481774 h 529494"/>
                  <a:gd name="connsiteX145" fmla="*/ 2197799 w 3550159"/>
                  <a:gd name="connsiteY145" fmla="*/ 488156 h 529494"/>
                  <a:gd name="connsiteX146" fmla="*/ 2216754 w 3550159"/>
                  <a:gd name="connsiteY146" fmla="*/ 488156 h 529494"/>
                  <a:gd name="connsiteX147" fmla="*/ 2216754 w 3550159"/>
                  <a:gd name="connsiteY147" fmla="*/ 494633 h 529494"/>
                  <a:gd name="connsiteX148" fmla="*/ 3070575 w 3550159"/>
                  <a:gd name="connsiteY148" fmla="*/ 494633 h 529494"/>
                  <a:gd name="connsiteX149" fmla="*/ 3070575 w 3550159"/>
                  <a:gd name="connsiteY149" fmla="*/ 529494 h 529494"/>
                  <a:gd name="connsiteX150" fmla="*/ 3550159 w 3550159"/>
                  <a:gd name="connsiteY150" fmla="*/ 529494 h 529494"/>
                  <a:gd name="connsiteX0" fmla="*/ 0 w 3529108"/>
                  <a:gd name="connsiteY0" fmla="*/ 0 h 523494"/>
                  <a:gd name="connsiteX1" fmla="*/ 0 w 3529108"/>
                  <a:gd name="connsiteY1" fmla="*/ 6096 h 523494"/>
                  <a:gd name="connsiteX2" fmla="*/ 8382 w 3529108"/>
                  <a:gd name="connsiteY2" fmla="*/ 6096 h 523494"/>
                  <a:gd name="connsiteX3" fmla="*/ 18955 w 3529108"/>
                  <a:gd name="connsiteY3" fmla="*/ 12192 h 523494"/>
                  <a:gd name="connsiteX4" fmla="*/ 18955 w 3529108"/>
                  <a:gd name="connsiteY4" fmla="*/ 18193 h 523494"/>
                  <a:gd name="connsiteX5" fmla="*/ 31528 w 3529108"/>
                  <a:gd name="connsiteY5" fmla="*/ 18193 h 523494"/>
                  <a:gd name="connsiteX6" fmla="*/ 31528 w 3529108"/>
                  <a:gd name="connsiteY6" fmla="*/ 24289 h 523494"/>
                  <a:gd name="connsiteX7" fmla="*/ 37814 w 3529108"/>
                  <a:gd name="connsiteY7" fmla="*/ 24289 h 523494"/>
                  <a:gd name="connsiteX8" fmla="*/ 37814 w 3529108"/>
                  <a:gd name="connsiteY8" fmla="*/ 36386 h 523494"/>
                  <a:gd name="connsiteX9" fmla="*/ 42005 w 3529108"/>
                  <a:gd name="connsiteY9" fmla="*/ 36386 h 523494"/>
                  <a:gd name="connsiteX10" fmla="*/ 42005 w 3529108"/>
                  <a:gd name="connsiteY10" fmla="*/ 42482 h 523494"/>
                  <a:gd name="connsiteX11" fmla="*/ 54673 w 3529108"/>
                  <a:gd name="connsiteY11" fmla="*/ 42482 h 523494"/>
                  <a:gd name="connsiteX12" fmla="*/ 54673 w 3529108"/>
                  <a:gd name="connsiteY12" fmla="*/ 48578 h 523494"/>
                  <a:gd name="connsiteX13" fmla="*/ 69342 w 3529108"/>
                  <a:gd name="connsiteY13" fmla="*/ 48578 h 523494"/>
                  <a:gd name="connsiteX14" fmla="*/ 69342 w 3529108"/>
                  <a:gd name="connsiteY14" fmla="*/ 54579 h 523494"/>
                  <a:gd name="connsiteX15" fmla="*/ 73628 w 3529108"/>
                  <a:gd name="connsiteY15" fmla="*/ 54579 h 523494"/>
                  <a:gd name="connsiteX16" fmla="*/ 73628 w 3529108"/>
                  <a:gd name="connsiteY16" fmla="*/ 60675 h 523494"/>
                  <a:gd name="connsiteX17" fmla="*/ 84105 w 3529108"/>
                  <a:gd name="connsiteY17" fmla="*/ 60675 h 523494"/>
                  <a:gd name="connsiteX18" fmla="*/ 84105 w 3529108"/>
                  <a:gd name="connsiteY18" fmla="*/ 66771 h 523494"/>
                  <a:gd name="connsiteX19" fmla="*/ 92488 w 3529108"/>
                  <a:gd name="connsiteY19" fmla="*/ 66771 h 523494"/>
                  <a:gd name="connsiteX20" fmla="*/ 92488 w 3529108"/>
                  <a:gd name="connsiteY20" fmla="*/ 72867 h 523494"/>
                  <a:gd name="connsiteX21" fmla="*/ 107251 w 3529108"/>
                  <a:gd name="connsiteY21" fmla="*/ 72867 h 523494"/>
                  <a:gd name="connsiteX22" fmla="*/ 107251 w 3529108"/>
                  <a:gd name="connsiteY22" fmla="*/ 78867 h 523494"/>
                  <a:gd name="connsiteX23" fmla="*/ 111442 w 3529108"/>
                  <a:gd name="connsiteY23" fmla="*/ 78867 h 523494"/>
                  <a:gd name="connsiteX24" fmla="*/ 111442 w 3529108"/>
                  <a:gd name="connsiteY24" fmla="*/ 84963 h 523494"/>
                  <a:gd name="connsiteX25" fmla="*/ 115633 w 3529108"/>
                  <a:gd name="connsiteY25" fmla="*/ 84963 h 523494"/>
                  <a:gd name="connsiteX26" fmla="*/ 115633 w 3529108"/>
                  <a:gd name="connsiteY26" fmla="*/ 91059 h 523494"/>
                  <a:gd name="connsiteX27" fmla="*/ 128302 w 3529108"/>
                  <a:gd name="connsiteY27" fmla="*/ 91059 h 523494"/>
                  <a:gd name="connsiteX28" fmla="*/ 128302 w 3529108"/>
                  <a:gd name="connsiteY28" fmla="*/ 97060 h 523494"/>
                  <a:gd name="connsiteX29" fmla="*/ 157734 w 3529108"/>
                  <a:gd name="connsiteY29" fmla="*/ 97060 h 523494"/>
                  <a:gd name="connsiteX30" fmla="*/ 157734 w 3529108"/>
                  <a:gd name="connsiteY30" fmla="*/ 103156 h 523494"/>
                  <a:gd name="connsiteX31" fmla="*/ 166116 w 3529108"/>
                  <a:gd name="connsiteY31" fmla="*/ 103156 h 523494"/>
                  <a:gd name="connsiteX32" fmla="*/ 166116 w 3529108"/>
                  <a:gd name="connsiteY32" fmla="*/ 109252 h 523494"/>
                  <a:gd name="connsiteX33" fmla="*/ 168211 w 3529108"/>
                  <a:gd name="connsiteY33" fmla="*/ 109252 h 523494"/>
                  <a:gd name="connsiteX34" fmla="*/ 168211 w 3529108"/>
                  <a:gd name="connsiteY34" fmla="*/ 115253 h 523494"/>
                  <a:gd name="connsiteX35" fmla="*/ 182975 w 3529108"/>
                  <a:gd name="connsiteY35" fmla="*/ 115253 h 523494"/>
                  <a:gd name="connsiteX36" fmla="*/ 182975 w 3529108"/>
                  <a:gd name="connsiteY36" fmla="*/ 127445 h 523494"/>
                  <a:gd name="connsiteX37" fmla="*/ 185071 w 3529108"/>
                  <a:gd name="connsiteY37" fmla="*/ 127445 h 523494"/>
                  <a:gd name="connsiteX38" fmla="*/ 185071 w 3529108"/>
                  <a:gd name="connsiteY38" fmla="*/ 133446 h 523494"/>
                  <a:gd name="connsiteX39" fmla="*/ 191357 w 3529108"/>
                  <a:gd name="connsiteY39" fmla="*/ 133446 h 523494"/>
                  <a:gd name="connsiteX40" fmla="*/ 191357 w 3529108"/>
                  <a:gd name="connsiteY40" fmla="*/ 139542 h 523494"/>
                  <a:gd name="connsiteX41" fmla="*/ 195548 w 3529108"/>
                  <a:gd name="connsiteY41" fmla="*/ 139542 h 523494"/>
                  <a:gd name="connsiteX42" fmla="*/ 195548 w 3529108"/>
                  <a:gd name="connsiteY42" fmla="*/ 145638 h 523494"/>
                  <a:gd name="connsiteX43" fmla="*/ 212407 w 3529108"/>
                  <a:gd name="connsiteY43" fmla="*/ 145638 h 523494"/>
                  <a:gd name="connsiteX44" fmla="*/ 212407 w 3529108"/>
                  <a:gd name="connsiteY44" fmla="*/ 157734 h 523494"/>
                  <a:gd name="connsiteX45" fmla="*/ 216598 w 3529108"/>
                  <a:gd name="connsiteY45" fmla="*/ 157734 h 523494"/>
                  <a:gd name="connsiteX46" fmla="*/ 216598 w 3529108"/>
                  <a:gd name="connsiteY46" fmla="*/ 163830 h 523494"/>
                  <a:gd name="connsiteX47" fmla="*/ 239744 w 3529108"/>
                  <a:gd name="connsiteY47" fmla="*/ 163830 h 523494"/>
                  <a:gd name="connsiteX48" fmla="*/ 239744 w 3529108"/>
                  <a:gd name="connsiteY48" fmla="*/ 169926 h 523494"/>
                  <a:gd name="connsiteX49" fmla="*/ 243935 w 3529108"/>
                  <a:gd name="connsiteY49" fmla="*/ 169926 h 523494"/>
                  <a:gd name="connsiteX50" fmla="*/ 243935 w 3529108"/>
                  <a:gd name="connsiteY50" fmla="*/ 175927 h 523494"/>
                  <a:gd name="connsiteX51" fmla="*/ 250222 w 3529108"/>
                  <a:gd name="connsiteY51" fmla="*/ 175927 h 523494"/>
                  <a:gd name="connsiteX52" fmla="*/ 250222 w 3529108"/>
                  <a:gd name="connsiteY52" fmla="*/ 188119 h 523494"/>
                  <a:gd name="connsiteX53" fmla="*/ 269176 w 3529108"/>
                  <a:gd name="connsiteY53" fmla="*/ 188119 h 523494"/>
                  <a:gd name="connsiteX54" fmla="*/ 269176 w 3529108"/>
                  <a:gd name="connsiteY54" fmla="*/ 194120 h 523494"/>
                  <a:gd name="connsiteX55" fmla="*/ 277558 w 3529108"/>
                  <a:gd name="connsiteY55" fmla="*/ 194120 h 523494"/>
                  <a:gd name="connsiteX56" fmla="*/ 277558 w 3529108"/>
                  <a:gd name="connsiteY56" fmla="*/ 200216 h 523494"/>
                  <a:gd name="connsiteX57" fmla="*/ 290227 w 3529108"/>
                  <a:gd name="connsiteY57" fmla="*/ 200216 h 523494"/>
                  <a:gd name="connsiteX58" fmla="*/ 290227 w 3529108"/>
                  <a:gd name="connsiteY58" fmla="*/ 206312 h 523494"/>
                  <a:gd name="connsiteX59" fmla="*/ 307086 w 3529108"/>
                  <a:gd name="connsiteY59" fmla="*/ 206312 h 523494"/>
                  <a:gd name="connsiteX60" fmla="*/ 307086 w 3529108"/>
                  <a:gd name="connsiteY60" fmla="*/ 212313 h 523494"/>
                  <a:gd name="connsiteX61" fmla="*/ 334423 w 3529108"/>
                  <a:gd name="connsiteY61" fmla="*/ 212313 h 523494"/>
                  <a:gd name="connsiteX62" fmla="*/ 334423 w 3529108"/>
                  <a:gd name="connsiteY62" fmla="*/ 218409 h 523494"/>
                  <a:gd name="connsiteX63" fmla="*/ 336518 w 3529108"/>
                  <a:gd name="connsiteY63" fmla="*/ 218409 h 523494"/>
                  <a:gd name="connsiteX64" fmla="*/ 336518 w 3529108"/>
                  <a:gd name="connsiteY64" fmla="*/ 224505 h 523494"/>
                  <a:gd name="connsiteX65" fmla="*/ 346995 w 3529108"/>
                  <a:gd name="connsiteY65" fmla="*/ 224505 h 523494"/>
                  <a:gd name="connsiteX66" fmla="*/ 346995 w 3529108"/>
                  <a:gd name="connsiteY66" fmla="*/ 230505 h 523494"/>
                  <a:gd name="connsiteX67" fmla="*/ 353282 w 3529108"/>
                  <a:gd name="connsiteY67" fmla="*/ 230505 h 523494"/>
                  <a:gd name="connsiteX68" fmla="*/ 353282 w 3529108"/>
                  <a:gd name="connsiteY68" fmla="*/ 242697 h 523494"/>
                  <a:gd name="connsiteX69" fmla="*/ 361759 w 3529108"/>
                  <a:gd name="connsiteY69" fmla="*/ 242697 h 523494"/>
                  <a:gd name="connsiteX70" fmla="*/ 361759 w 3529108"/>
                  <a:gd name="connsiteY70" fmla="*/ 248698 h 523494"/>
                  <a:gd name="connsiteX71" fmla="*/ 368046 w 3529108"/>
                  <a:gd name="connsiteY71" fmla="*/ 248698 h 523494"/>
                  <a:gd name="connsiteX72" fmla="*/ 368046 w 3529108"/>
                  <a:gd name="connsiteY72" fmla="*/ 260890 h 523494"/>
                  <a:gd name="connsiteX73" fmla="*/ 370141 w 3529108"/>
                  <a:gd name="connsiteY73" fmla="*/ 260890 h 523494"/>
                  <a:gd name="connsiteX74" fmla="*/ 370141 w 3529108"/>
                  <a:gd name="connsiteY74" fmla="*/ 266986 h 523494"/>
                  <a:gd name="connsiteX75" fmla="*/ 382714 w 3529108"/>
                  <a:gd name="connsiteY75" fmla="*/ 266986 h 523494"/>
                  <a:gd name="connsiteX76" fmla="*/ 382714 w 3529108"/>
                  <a:gd name="connsiteY76" fmla="*/ 272987 h 523494"/>
                  <a:gd name="connsiteX77" fmla="*/ 405860 w 3529108"/>
                  <a:gd name="connsiteY77" fmla="*/ 272987 h 523494"/>
                  <a:gd name="connsiteX78" fmla="*/ 405860 w 3529108"/>
                  <a:gd name="connsiteY78" fmla="*/ 279083 h 523494"/>
                  <a:gd name="connsiteX79" fmla="*/ 412242 w 3529108"/>
                  <a:gd name="connsiteY79" fmla="*/ 279083 h 523494"/>
                  <a:gd name="connsiteX80" fmla="*/ 412242 w 3529108"/>
                  <a:gd name="connsiteY80" fmla="*/ 285179 h 523494"/>
                  <a:gd name="connsiteX81" fmla="*/ 420624 w 3529108"/>
                  <a:gd name="connsiteY81" fmla="*/ 285179 h 523494"/>
                  <a:gd name="connsiteX82" fmla="*/ 420624 w 3529108"/>
                  <a:gd name="connsiteY82" fmla="*/ 291180 h 523494"/>
                  <a:gd name="connsiteX83" fmla="*/ 429006 w 3529108"/>
                  <a:gd name="connsiteY83" fmla="*/ 291180 h 523494"/>
                  <a:gd name="connsiteX84" fmla="*/ 429006 w 3529108"/>
                  <a:gd name="connsiteY84" fmla="*/ 297276 h 523494"/>
                  <a:gd name="connsiteX85" fmla="*/ 433197 w 3529108"/>
                  <a:gd name="connsiteY85" fmla="*/ 297276 h 523494"/>
                  <a:gd name="connsiteX86" fmla="*/ 433197 w 3529108"/>
                  <a:gd name="connsiteY86" fmla="*/ 303372 h 523494"/>
                  <a:gd name="connsiteX87" fmla="*/ 506825 w 3529108"/>
                  <a:gd name="connsiteY87" fmla="*/ 303372 h 523494"/>
                  <a:gd name="connsiteX88" fmla="*/ 506825 w 3529108"/>
                  <a:gd name="connsiteY88" fmla="*/ 309372 h 523494"/>
                  <a:gd name="connsiteX89" fmla="*/ 527875 w 3529108"/>
                  <a:gd name="connsiteY89" fmla="*/ 309372 h 523494"/>
                  <a:gd name="connsiteX90" fmla="*/ 527875 w 3529108"/>
                  <a:gd name="connsiteY90" fmla="*/ 315468 h 523494"/>
                  <a:gd name="connsiteX91" fmla="*/ 534162 w 3529108"/>
                  <a:gd name="connsiteY91" fmla="*/ 315468 h 523494"/>
                  <a:gd name="connsiteX92" fmla="*/ 534162 w 3529108"/>
                  <a:gd name="connsiteY92" fmla="*/ 321564 h 523494"/>
                  <a:gd name="connsiteX93" fmla="*/ 576262 w 3529108"/>
                  <a:gd name="connsiteY93" fmla="*/ 321564 h 523494"/>
                  <a:gd name="connsiteX94" fmla="*/ 576262 w 3529108"/>
                  <a:gd name="connsiteY94" fmla="*/ 327565 h 523494"/>
                  <a:gd name="connsiteX95" fmla="*/ 590931 w 3529108"/>
                  <a:gd name="connsiteY95" fmla="*/ 327565 h 523494"/>
                  <a:gd name="connsiteX96" fmla="*/ 590931 w 3529108"/>
                  <a:gd name="connsiteY96" fmla="*/ 333661 h 523494"/>
                  <a:gd name="connsiteX97" fmla="*/ 620458 w 3529108"/>
                  <a:gd name="connsiteY97" fmla="*/ 333661 h 523494"/>
                  <a:gd name="connsiteX98" fmla="*/ 620458 w 3529108"/>
                  <a:gd name="connsiteY98" fmla="*/ 339757 h 523494"/>
                  <a:gd name="connsiteX99" fmla="*/ 622554 w 3529108"/>
                  <a:gd name="connsiteY99" fmla="*/ 339757 h 523494"/>
                  <a:gd name="connsiteX100" fmla="*/ 622554 w 3529108"/>
                  <a:gd name="connsiteY100" fmla="*/ 345758 h 523494"/>
                  <a:gd name="connsiteX101" fmla="*/ 645604 w 3529108"/>
                  <a:gd name="connsiteY101" fmla="*/ 345758 h 523494"/>
                  <a:gd name="connsiteX102" fmla="*/ 645604 w 3529108"/>
                  <a:gd name="connsiteY102" fmla="*/ 351854 h 523494"/>
                  <a:gd name="connsiteX103" fmla="*/ 658273 w 3529108"/>
                  <a:gd name="connsiteY103" fmla="*/ 351854 h 523494"/>
                  <a:gd name="connsiteX104" fmla="*/ 658273 w 3529108"/>
                  <a:gd name="connsiteY104" fmla="*/ 357950 h 523494"/>
                  <a:gd name="connsiteX105" fmla="*/ 693991 w 3529108"/>
                  <a:gd name="connsiteY105" fmla="*/ 357950 h 523494"/>
                  <a:gd name="connsiteX106" fmla="*/ 693991 w 3529108"/>
                  <a:gd name="connsiteY106" fmla="*/ 364046 h 523494"/>
                  <a:gd name="connsiteX107" fmla="*/ 809720 w 3529108"/>
                  <a:gd name="connsiteY107" fmla="*/ 364046 h 523494"/>
                  <a:gd name="connsiteX108" fmla="*/ 809720 w 3529108"/>
                  <a:gd name="connsiteY108" fmla="*/ 370047 h 523494"/>
                  <a:gd name="connsiteX109" fmla="*/ 847534 w 3529108"/>
                  <a:gd name="connsiteY109" fmla="*/ 370047 h 523494"/>
                  <a:gd name="connsiteX110" fmla="*/ 847534 w 3529108"/>
                  <a:gd name="connsiteY110" fmla="*/ 376238 h 523494"/>
                  <a:gd name="connsiteX111" fmla="*/ 900112 w 3529108"/>
                  <a:gd name="connsiteY111" fmla="*/ 376238 h 523494"/>
                  <a:gd name="connsiteX112" fmla="*/ 900112 w 3529108"/>
                  <a:gd name="connsiteY112" fmla="*/ 382334 h 523494"/>
                  <a:gd name="connsiteX113" fmla="*/ 919067 w 3529108"/>
                  <a:gd name="connsiteY113" fmla="*/ 382334 h 523494"/>
                  <a:gd name="connsiteX114" fmla="*/ 919067 w 3529108"/>
                  <a:gd name="connsiteY114" fmla="*/ 388430 h 523494"/>
                  <a:gd name="connsiteX115" fmla="*/ 929545 w 3529108"/>
                  <a:gd name="connsiteY115" fmla="*/ 388430 h 523494"/>
                  <a:gd name="connsiteX116" fmla="*/ 929545 w 3529108"/>
                  <a:gd name="connsiteY116" fmla="*/ 394621 h 523494"/>
                  <a:gd name="connsiteX117" fmla="*/ 963263 w 3529108"/>
                  <a:gd name="connsiteY117" fmla="*/ 394621 h 523494"/>
                  <a:gd name="connsiteX118" fmla="*/ 963263 w 3529108"/>
                  <a:gd name="connsiteY118" fmla="*/ 400717 h 523494"/>
                  <a:gd name="connsiteX119" fmla="*/ 969550 w 3529108"/>
                  <a:gd name="connsiteY119" fmla="*/ 400717 h 523494"/>
                  <a:gd name="connsiteX120" fmla="*/ 969550 w 3529108"/>
                  <a:gd name="connsiteY120" fmla="*/ 406813 h 523494"/>
                  <a:gd name="connsiteX121" fmla="*/ 984218 w 3529108"/>
                  <a:gd name="connsiteY121" fmla="*/ 406813 h 523494"/>
                  <a:gd name="connsiteX122" fmla="*/ 984218 w 3529108"/>
                  <a:gd name="connsiteY122" fmla="*/ 412909 h 523494"/>
                  <a:gd name="connsiteX123" fmla="*/ 996886 w 3529108"/>
                  <a:gd name="connsiteY123" fmla="*/ 412909 h 523494"/>
                  <a:gd name="connsiteX124" fmla="*/ 996886 w 3529108"/>
                  <a:gd name="connsiteY124" fmla="*/ 419100 h 523494"/>
                  <a:gd name="connsiteX125" fmla="*/ 1022128 w 3529108"/>
                  <a:gd name="connsiteY125" fmla="*/ 419100 h 523494"/>
                  <a:gd name="connsiteX126" fmla="*/ 1022128 w 3529108"/>
                  <a:gd name="connsiteY126" fmla="*/ 425196 h 523494"/>
                  <a:gd name="connsiteX127" fmla="*/ 1251394 w 3529108"/>
                  <a:gd name="connsiteY127" fmla="*/ 425196 h 523494"/>
                  <a:gd name="connsiteX128" fmla="*/ 1251394 w 3529108"/>
                  <a:gd name="connsiteY128" fmla="*/ 431388 h 523494"/>
                  <a:gd name="connsiteX129" fmla="*/ 1364932 w 3529108"/>
                  <a:gd name="connsiteY129" fmla="*/ 431388 h 523494"/>
                  <a:gd name="connsiteX130" fmla="*/ 1364932 w 3529108"/>
                  <a:gd name="connsiteY130" fmla="*/ 437579 h 523494"/>
                  <a:gd name="connsiteX131" fmla="*/ 1634109 w 3529108"/>
                  <a:gd name="connsiteY131" fmla="*/ 437579 h 523494"/>
                  <a:gd name="connsiteX132" fmla="*/ 1634109 w 3529108"/>
                  <a:gd name="connsiteY132" fmla="*/ 443865 h 523494"/>
                  <a:gd name="connsiteX133" fmla="*/ 1707737 w 3529108"/>
                  <a:gd name="connsiteY133" fmla="*/ 443865 h 523494"/>
                  <a:gd name="connsiteX134" fmla="*/ 1707737 w 3529108"/>
                  <a:gd name="connsiteY134" fmla="*/ 450152 h 523494"/>
                  <a:gd name="connsiteX135" fmla="*/ 1787652 w 3529108"/>
                  <a:gd name="connsiteY135" fmla="*/ 450152 h 523494"/>
                  <a:gd name="connsiteX136" fmla="*/ 1787652 w 3529108"/>
                  <a:gd name="connsiteY136" fmla="*/ 456438 h 523494"/>
                  <a:gd name="connsiteX137" fmla="*/ 1949577 w 3529108"/>
                  <a:gd name="connsiteY137" fmla="*/ 456438 h 523494"/>
                  <a:gd name="connsiteX138" fmla="*/ 1949577 w 3529108"/>
                  <a:gd name="connsiteY138" fmla="*/ 462915 h 523494"/>
                  <a:gd name="connsiteX139" fmla="*/ 1966436 w 3529108"/>
                  <a:gd name="connsiteY139" fmla="*/ 462915 h 523494"/>
                  <a:gd name="connsiteX140" fmla="*/ 1966436 w 3529108"/>
                  <a:gd name="connsiteY140" fmla="*/ 469297 h 523494"/>
                  <a:gd name="connsiteX141" fmla="*/ 2084260 w 3529108"/>
                  <a:gd name="connsiteY141" fmla="*/ 469297 h 523494"/>
                  <a:gd name="connsiteX142" fmla="*/ 2084260 w 3529108"/>
                  <a:gd name="connsiteY142" fmla="*/ 475774 h 523494"/>
                  <a:gd name="connsiteX143" fmla="*/ 2176748 w 3529108"/>
                  <a:gd name="connsiteY143" fmla="*/ 475774 h 523494"/>
                  <a:gd name="connsiteX144" fmla="*/ 2176748 w 3529108"/>
                  <a:gd name="connsiteY144" fmla="*/ 482156 h 523494"/>
                  <a:gd name="connsiteX145" fmla="*/ 2195703 w 3529108"/>
                  <a:gd name="connsiteY145" fmla="*/ 482156 h 523494"/>
                  <a:gd name="connsiteX146" fmla="*/ 2195703 w 3529108"/>
                  <a:gd name="connsiteY146" fmla="*/ 488633 h 523494"/>
                  <a:gd name="connsiteX147" fmla="*/ 3049524 w 3529108"/>
                  <a:gd name="connsiteY147" fmla="*/ 488633 h 523494"/>
                  <a:gd name="connsiteX148" fmla="*/ 3049524 w 3529108"/>
                  <a:gd name="connsiteY148" fmla="*/ 523494 h 523494"/>
                  <a:gd name="connsiteX149" fmla="*/ 3529108 w 3529108"/>
                  <a:gd name="connsiteY149" fmla="*/ 523494 h 523494"/>
                  <a:gd name="connsiteX0" fmla="*/ 0 w 3529108"/>
                  <a:gd name="connsiteY0" fmla="*/ 0 h 523494"/>
                  <a:gd name="connsiteX1" fmla="*/ 0 w 3529108"/>
                  <a:gd name="connsiteY1" fmla="*/ 6096 h 523494"/>
                  <a:gd name="connsiteX2" fmla="*/ 18955 w 3529108"/>
                  <a:gd name="connsiteY2" fmla="*/ 12192 h 523494"/>
                  <a:gd name="connsiteX3" fmla="*/ 18955 w 3529108"/>
                  <a:gd name="connsiteY3" fmla="*/ 18193 h 523494"/>
                  <a:gd name="connsiteX4" fmla="*/ 31528 w 3529108"/>
                  <a:gd name="connsiteY4" fmla="*/ 18193 h 523494"/>
                  <a:gd name="connsiteX5" fmla="*/ 31528 w 3529108"/>
                  <a:gd name="connsiteY5" fmla="*/ 24289 h 523494"/>
                  <a:gd name="connsiteX6" fmla="*/ 37814 w 3529108"/>
                  <a:gd name="connsiteY6" fmla="*/ 24289 h 523494"/>
                  <a:gd name="connsiteX7" fmla="*/ 37814 w 3529108"/>
                  <a:gd name="connsiteY7" fmla="*/ 36386 h 523494"/>
                  <a:gd name="connsiteX8" fmla="*/ 42005 w 3529108"/>
                  <a:gd name="connsiteY8" fmla="*/ 36386 h 523494"/>
                  <a:gd name="connsiteX9" fmla="*/ 42005 w 3529108"/>
                  <a:gd name="connsiteY9" fmla="*/ 42482 h 523494"/>
                  <a:gd name="connsiteX10" fmla="*/ 54673 w 3529108"/>
                  <a:gd name="connsiteY10" fmla="*/ 42482 h 523494"/>
                  <a:gd name="connsiteX11" fmla="*/ 54673 w 3529108"/>
                  <a:gd name="connsiteY11" fmla="*/ 48578 h 523494"/>
                  <a:gd name="connsiteX12" fmla="*/ 69342 w 3529108"/>
                  <a:gd name="connsiteY12" fmla="*/ 48578 h 523494"/>
                  <a:gd name="connsiteX13" fmla="*/ 69342 w 3529108"/>
                  <a:gd name="connsiteY13" fmla="*/ 54579 h 523494"/>
                  <a:gd name="connsiteX14" fmla="*/ 73628 w 3529108"/>
                  <a:gd name="connsiteY14" fmla="*/ 54579 h 523494"/>
                  <a:gd name="connsiteX15" fmla="*/ 73628 w 3529108"/>
                  <a:gd name="connsiteY15" fmla="*/ 60675 h 523494"/>
                  <a:gd name="connsiteX16" fmla="*/ 84105 w 3529108"/>
                  <a:gd name="connsiteY16" fmla="*/ 60675 h 523494"/>
                  <a:gd name="connsiteX17" fmla="*/ 84105 w 3529108"/>
                  <a:gd name="connsiteY17" fmla="*/ 66771 h 523494"/>
                  <a:gd name="connsiteX18" fmla="*/ 92488 w 3529108"/>
                  <a:gd name="connsiteY18" fmla="*/ 66771 h 523494"/>
                  <a:gd name="connsiteX19" fmla="*/ 92488 w 3529108"/>
                  <a:gd name="connsiteY19" fmla="*/ 72867 h 523494"/>
                  <a:gd name="connsiteX20" fmla="*/ 107251 w 3529108"/>
                  <a:gd name="connsiteY20" fmla="*/ 72867 h 523494"/>
                  <a:gd name="connsiteX21" fmla="*/ 107251 w 3529108"/>
                  <a:gd name="connsiteY21" fmla="*/ 78867 h 523494"/>
                  <a:gd name="connsiteX22" fmla="*/ 111442 w 3529108"/>
                  <a:gd name="connsiteY22" fmla="*/ 78867 h 523494"/>
                  <a:gd name="connsiteX23" fmla="*/ 111442 w 3529108"/>
                  <a:gd name="connsiteY23" fmla="*/ 84963 h 523494"/>
                  <a:gd name="connsiteX24" fmla="*/ 115633 w 3529108"/>
                  <a:gd name="connsiteY24" fmla="*/ 84963 h 523494"/>
                  <a:gd name="connsiteX25" fmla="*/ 115633 w 3529108"/>
                  <a:gd name="connsiteY25" fmla="*/ 91059 h 523494"/>
                  <a:gd name="connsiteX26" fmla="*/ 128302 w 3529108"/>
                  <a:gd name="connsiteY26" fmla="*/ 91059 h 523494"/>
                  <a:gd name="connsiteX27" fmla="*/ 128302 w 3529108"/>
                  <a:gd name="connsiteY27" fmla="*/ 97060 h 523494"/>
                  <a:gd name="connsiteX28" fmla="*/ 157734 w 3529108"/>
                  <a:gd name="connsiteY28" fmla="*/ 97060 h 523494"/>
                  <a:gd name="connsiteX29" fmla="*/ 157734 w 3529108"/>
                  <a:gd name="connsiteY29" fmla="*/ 103156 h 523494"/>
                  <a:gd name="connsiteX30" fmla="*/ 166116 w 3529108"/>
                  <a:gd name="connsiteY30" fmla="*/ 103156 h 523494"/>
                  <a:gd name="connsiteX31" fmla="*/ 166116 w 3529108"/>
                  <a:gd name="connsiteY31" fmla="*/ 109252 h 523494"/>
                  <a:gd name="connsiteX32" fmla="*/ 168211 w 3529108"/>
                  <a:gd name="connsiteY32" fmla="*/ 109252 h 523494"/>
                  <a:gd name="connsiteX33" fmla="*/ 168211 w 3529108"/>
                  <a:gd name="connsiteY33" fmla="*/ 115253 h 523494"/>
                  <a:gd name="connsiteX34" fmla="*/ 182975 w 3529108"/>
                  <a:gd name="connsiteY34" fmla="*/ 115253 h 523494"/>
                  <a:gd name="connsiteX35" fmla="*/ 182975 w 3529108"/>
                  <a:gd name="connsiteY35" fmla="*/ 127445 h 523494"/>
                  <a:gd name="connsiteX36" fmla="*/ 185071 w 3529108"/>
                  <a:gd name="connsiteY36" fmla="*/ 127445 h 523494"/>
                  <a:gd name="connsiteX37" fmla="*/ 185071 w 3529108"/>
                  <a:gd name="connsiteY37" fmla="*/ 133446 h 523494"/>
                  <a:gd name="connsiteX38" fmla="*/ 191357 w 3529108"/>
                  <a:gd name="connsiteY38" fmla="*/ 133446 h 523494"/>
                  <a:gd name="connsiteX39" fmla="*/ 191357 w 3529108"/>
                  <a:gd name="connsiteY39" fmla="*/ 139542 h 523494"/>
                  <a:gd name="connsiteX40" fmla="*/ 195548 w 3529108"/>
                  <a:gd name="connsiteY40" fmla="*/ 139542 h 523494"/>
                  <a:gd name="connsiteX41" fmla="*/ 195548 w 3529108"/>
                  <a:gd name="connsiteY41" fmla="*/ 145638 h 523494"/>
                  <a:gd name="connsiteX42" fmla="*/ 212407 w 3529108"/>
                  <a:gd name="connsiteY42" fmla="*/ 145638 h 523494"/>
                  <a:gd name="connsiteX43" fmla="*/ 212407 w 3529108"/>
                  <a:gd name="connsiteY43" fmla="*/ 157734 h 523494"/>
                  <a:gd name="connsiteX44" fmla="*/ 216598 w 3529108"/>
                  <a:gd name="connsiteY44" fmla="*/ 157734 h 523494"/>
                  <a:gd name="connsiteX45" fmla="*/ 216598 w 3529108"/>
                  <a:gd name="connsiteY45" fmla="*/ 163830 h 523494"/>
                  <a:gd name="connsiteX46" fmla="*/ 239744 w 3529108"/>
                  <a:gd name="connsiteY46" fmla="*/ 163830 h 523494"/>
                  <a:gd name="connsiteX47" fmla="*/ 239744 w 3529108"/>
                  <a:gd name="connsiteY47" fmla="*/ 169926 h 523494"/>
                  <a:gd name="connsiteX48" fmla="*/ 243935 w 3529108"/>
                  <a:gd name="connsiteY48" fmla="*/ 169926 h 523494"/>
                  <a:gd name="connsiteX49" fmla="*/ 243935 w 3529108"/>
                  <a:gd name="connsiteY49" fmla="*/ 175927 h 523494"/>
                  <a:gd name="connsiteX50" fmla="*/ 250222 w 3529108"/>
                  <a:gd name="connsiteY50" fmla="*/ 175927 h 523494"/>
                  <a:gd name="connsiteX51" fmla="*/ 250222 w 3529108"/>
                  <a:gd name="connsiteY51" fmla="*/ 188119 h 523494"/>
                  <a:gd name="connsiteX52" fmla="*/ 269176 w 3529108"/>
                  <a:gd name="connsiteY52" fmla="*/ 188119 h 523494"/>
                  <a:gd name="connsiteX53" fmla="*/ 269176 w 3529108"/>
                  <a:gd name="connsiteY53" fmla="*/ 194120 h 523494"/>
                  <a:gd name="connsiteX54" fmla="*/ 277558 w 3529108"/>
                  <a:gd name="connsiteY54" fmla="*/ 194120 h 523494"/>
                  <a:gd name="connsiteX55" fmla="*/ 277558 w 3529108"/>
                  <a:gd name="connsiteY55" fmla="*/ 200216 h 523494"/>
                  <a:gd name="connsiteX56" fmla="*/ 290227 w 3529108"/>
                  <a:gd name="connsiteY56" fmla="*/ 200216 h 523494"/>
                  <a:gd name="connsiteX57" fmla="*/ 290227 w 3529108"/>
                  <a:gd name="connsiteY57" fmla="*/ 206312 h 523494"/>
                  <a:gd name="connsiteX58" fmla="*/ 307086 w 3529108"/>
                  <a:gd name="connsiteY58" fmla="*/ 206312 h 523494"/>
                  <a:gd name="connsiteX59" fmla="*/ 307086 w 3529108"/>
                  <a:gd name="connsiteY59" fmla="*/ 212313 h 523494"/>
                  <a:gd name="connsiteX60" fmla="*/ 334423 w 3529108"/>
                  <a:gd name="connsiteY60" fmla="*/ 212313 h 523494"/>
                  <a:gd name="connsiteX61" fmla="*/ 334423 w 3529108"/>
                  <a:gd name="connsiteY61" fmla="*/ 218409 h 523494"/>
                  <a:gd name="connsiteX62" fmla="*/ 336518 w 3529108"/>
                  <a:gd name="connsiteY62" fmla="*/ 218409 h 523494"/>
                  <a:gd name="connsiteX63" fmla="*/ 336518 w 3529108"/>
                  <a:gd name="connsiteY63" fmla="*/ 224505 h 523494"/>
                  <a:gd name="connsiteX64" fmla="*/ 346995 w 3529108"/>
                  <a:gd name="connsiteY64" fmla="*/ 224505 h 523494"/>
                  <a:gd name="connsiteX65" fmla="*/ 346995 w 3529108"/>
                  <a:gd name="connsiteY65" fmla="*/ 230505 h 523494"/>
                  <a:gd name="connsiteX66" fmla="*/ 353282 w 3529108"/>
                  <a:gd name="connsiteY66" fmla="*/ 230505 h 523494"/>
                  <a:gd name="connsiteX67" fmla="*/ 353282 w 3529108"/>
                  <a:gd name="connsiteY67" fmla="*/ 242697 h 523494"/>
                  <a:gd name="connsiteX68" fmla="*/ 361759 w 3529108"/>
                  <a:gd name="connsiteY68" fmla="*/ 242697 h 523494"/>
                  <a:gd name="connsiteX69" fmla="*/ 361759 w 3529108"/>
                  <a:gd name="connsiteY69" fmla="*/ 248698 h 523494"/>
                  <a:gd name="connsiteX70" fmla="*/ 368046 w 3529108"/>
                  <a:gd name="connsiteY70" fmla="*/ 248698 h 523494"/>
                  <a:gd name="connsiteX71" fmla="*/ 368046 w 3529108"/>
                  <a:gd name="connsiteY71" fmla="*/ 260890 h 523494"/>
                  <a:gd name="connsiteX72" fmla="*/ 370141 w 3529108"/>
                  <a:gd name="connsiteY72" fmla="*/ 260890 h 523494"/>
                  <a:gd name="connsiteX73" fmla="*/ 370141 w 3529108"/>
                  <a:gd name="connsiteY73" fmla="*/ 266986 h 523494"/>
                  <a:gd name="connsiteX74" fmla="*/ 382714 w 3529108"/>
                  <a:gd name="connsiteY74" fmla="*/ 266986 h 523494"/>
                  <a:gd name="connsiteX75" fmla="*/ 382714 w 3529108"/>
                  <a:gd name="connsiteY75" fmla="*/ 272987 h 523494"/>
                  <a:gd name="connsiteX76" fmla="*/ 405860 w 3529108"/>
                  <a:gd name="connsiteY76" fmla="*/ 272987 h 523494"/>
                  <a:gd name="connsiteX77" fmla="*/ 405860 w 3529108"/>
                  <a:gd name="connsiteY77" fmla="*/ 279083 h 523494"/>
                  <a:gd name="connsiteX78" fmla="*/ 412242 w 3529108"/>
                  <a:gd name="connsiteY78" fmla="*/ 279083 h 523494"/>
                  <a:gd name="connsiteX79" fmla="*/ 412242 w 3529108"/>
                  <a:gd name="connsiteY79" fmla="*/ 285179 h 523494"/>
                  <a:gd name="connsiteX80" fmla="*/ 420624 w 3529108"/>
                  <a:gd name="connsiteY80" fmla="*/ 285179 h 523494"/>
                  <a:gd name="connsiteX81" fmla="*/ 420624 w 3529108"/>
                  <a:gd name="connsiteY81" fmla="*/ 291180 h 523494"/>
                  <a:gd name="connsiteX82" fmla="*/ 429006 w 3529108"/>
                  <a:gd name="connsiteY82" fmla="*/ 291180 h 523494"/>
                  <a:gd name="connsiteX83" fmla="*/ 429006 w 3529108"/>
                  <a:gd name="connsiteY83" fmla="*/ 297276 h 523494"/>
                  <a:gd name="connsiteX84" fmla="*/ 433197 w 3529108"/>
                  <a:gd name="connsiteY84" fmla="*/ 297276 h 523494"/>
                  <a:gd name="connsiteX85" fmla="*/ 433197 w 3529108"/>
                  <a:gd name="connsiteY85" fmla="*/ 303372 h 523494"/>
                  <a:gd name="connsiteX86" fmla="*/ 506825 w 3529108"/>
                  <a:gd name="connsiteY86" fmla="*/ 303372 h 523494"/>
                  <a:gd name="connsiteX87" fmla="*/ 506825 w 3529108"/>
                  <a:gd name="connsiteY87" fmla="*/ 309372 h 523494"/>
                  <a:gd name="connsiteX88" fmla="*/ 527875 w 3529108"/>
                  <a:gd name="connsiteY88" fmla="*/ 309372 h 523494"/>
                  <a:gd name="connsiteX89" fmla="*/ 527875 w 3529108"/>
                  <a:gd name="connsiteY89" fmla="*/ 315468 h 523494"/>
                  <a:gd name="connsiteX90" fmla="*/ 534162 w 3529108"/>
                  <a:gd name="connsiteY90" fmla="*/ 315468 h 523494"/>
                  <a:gd name="connsiteX91" fmla="*/ 534162 w 3529108"/>
                  <a:gd name="connsiteY91" fmla="*/ 321564 h 523494"/>
                  <a:gd name="connsiteX92" fmla="*/ 576262 w 3529108"/>
                  <a:gd name="connsiteY92" fmla="*/ 321564 h 523494"/>
                  <a:gd name="connsiteX93" fmla="*/ 576262 w 3529108"/>
                  <a:gd name="connsiteY93" fmla="*/ 327565 h 523494"/>
                  <a:gd name="connsiteX94" fmla="*/ 590931 w 3529108"/>
                  <a:gd name="connsiteY94" fmla="*/ 327565 h 523494"/>
                  <a:gd name="connsiteX95" fmla="*/ 590931 w 3529108"/>
                  <a:gd name="connsiteY95" fmla="*/ 333661 h 523494"/>
                  <a:gd name="connsiteX96" fmla="*/ 620458 w 3529108"/>
                  <a:gd name="connsiteY96" fmla="*/ 333661 h 523494"/>
                  <a:gd name="connsiteX97" fmla="*/ 620458 w 3529108"/>
                  <a:gd name="connsiteY97" fmla="*/ 339757 h 523494"/>
                  <a:gd name="connsiteX98" fmla="*/ 622554 w 3529108"/>
                  <a:gd name="connsiteY98" fmla="*/ 339757 h 523494"/>
                  <a:gd name="connsiteX99" fmla="*/ 622554 w 3529108"/>
                  <a:gd name="connsiteY99" fmla="*/ 345758 h 523494"/>
                  <a:gd name="connsiteX100" fmla="*/ 645604 w 3529108"/>
                  <a:gd name="connsiteY100" fmla="*/ 345758 h 523494"/>
                  <a:gd name="connsiteX101" fmla="*/ 645604 w 3529108"/>
                  <a:gd name="connsiteY101" fmla="*/ 351854 h 523494"/>
                  <a:gd name="connsiteX102" fmla="*/ 658273 w 3529108"/>
                  <a:gd name="connsiteY102" fmla="*/ 351854 h 523494"/>
                  <a:gd name="connsiteX103" fmla="*/ 658273 w 3529108"/>
                  <a:gd name="connsiteY103" fmla="*/ 357950 h 523494"/>
                  <a:gd name="connsiteX104" fmla="*/ 693991 w 3529108"/>
                  <a:gd name="connsiteY104" fmla="*/ 357950 h 523494"/>
                  <a:gd name="connsiteX105" fmla="*/ 693991 w 3529108"/>
                  <a:gd name="connsiteY105" fmla="*/ 364046 h 523494"/>
                  <a:gd name="connsiteX106" fmla="*/ 809720 w 3529108"/>
                  <a:gd name="connsiteY106" fmla="*/ 364046 h 523494"/>
                  <a:gd name="connsiteX107" fmla="*/ 809720 w 3529108"/>
                  <a:gd name="connsiteY107" fmla="*/ 370047 h 523494"/>
                  <a:gd name="connsiteX108" fmla="*/ 847534 w 3529108"/>
                  <a:gd name="connsiteY108" fmla="*/ 370047 h 523494"/>
                  <a:gd name="connsiteX109" fmla="*/ 847534 w 3529108"/>
                  <a:gd name="connsiteY109" fmla="*/ 376238 h 523494"/>
                  <a:gd name="connsiteX110" fmla="*/ 900112 w 3529108"/>
                  <a:gd name="connsiteY110" fmla="*/ 376238 h 523494"/>
                  <a:gd name="connsiteX111" fmla="*/ 900112 w 3529108"/>
                  <a:gd name="connsiteY111" fmla="*/ 382334 h 523494"/>
                  <a:gd name="connsiteX112" fmla="*/ 919067 w 3529108"/>
                  <a:gd name="connsiteY112" fmla="*/ 382334 h 523494"/>
                  <a:gd name="connsiteX113" fmla="*/ 919067 w 3529108"/>
                  <a:gd name="connsiteY113" fmla="*/ 388430 h 523494"/>
                  <a:gd name="connsiteX114" fmla="*/ 929545 w 3529108"/>
                  <a:gd name="connsiteY114" fmla="*/ 388430 h 523494"/>
                  <a:gd name="connsiteX115" fmla="*/ 929545 w 3529108"/>
                  <a:gd name="connsiteY115" fmla="*/ 394621 h 523494"/>
                  <a:gd name="connsiteX116" fmla="*/ 963263 w 3529108"/>
                  <a:gd name="connsiteY116" fmla="*/ 394621 h 523494"/>
                  <a:gd name="connsiteX117" fmla="*/ 963263 w 3529108"/>
                  <a:gd name="connsiteY117" fmla="*/ 400717 h 523494"/>
                  <a:gd name="connsiteX118" fmla="*/ 969550 w 3529108"/>
                  <a:gd name="connsiteY118" fmla="*/ 400717 h 523494"/>
                  <a:gd name="connsiteX119" fmla="*/ 969550 w 3529108"/>
                  <a:gd name="connsiteY119" fmla="*/ 406813 h 523494"/>
                  <a:gd name="connsiteX120" fmla="*/ 984218 w 3529108"/>
                  <a:gd name="connsiteY120" fmla="*/ 406813 h 523494"/>
                  <a:gd name="connsiteX121" fmla="*/ 984218 w 3529108"/>
                  <a:gd name="connsiteY121" fmla="*/ 412909 h 523494"/>
                  <a:gd name="connsiteX122" fmla="*/ 996886 w 3529108"/>
                  <a:gd name="connsiteY122" fmla="*/ 412909 h 523494"/>
                  <a:gd name="connsiteX123" fmla="*/ 996886 w 3529108"/>
                  <a:gd name="connsiteY123" fmla="*/ 419100 h 523494"/>
                  <a:gd name="connsiteX124" fmla="*/ 1022128 w 3529108"/>
                  <a:gd name="connsiteY124" fmla="*/ 419100 h 523494"/>
                  <a:gd name="connsiteX125" fmla="*/ 1022128 w 3529108"/>
                  <a:gd name="connsiteY125" fmla="*/ 425196 h 523494"/>
                  <a:gd name="connsiteX126" fmla="*/ 1251394 w 3529108"/>
                  <a:gd name="connsiteY126" fmla="*/ 425196 h 523494"/>
                  <a:gd name="connsiteX127" fmla="*/ 1251394 w 3529108"/>
                  <a:gd name="connsiteY127" fmla="*/ 431388 h 523494"/>
                  <a:gd name="connsiteX128" fmla="*/ 1364932 w 3529108"/>
                  <a:gd name="connsiteY128" fmla="*/ 431388 h 523494"/>
                  <a:gd name="connsiteX129" fmla="*/ 1364932 w 3529108"/>
                  <a:gd name="connsiteY129" fmla="*/ 437579 h 523494"/>
                  <a:gd name="connsiteX130" fmla="*/ 1634109 w 3529108"/>
                  <a:gd name="connsiteY130" fmla="*/ 437579 h 523494"/>
                  <a:gd name="connsiteX131" fmla="*/ 1634109 w 3529108"/>
                  <a:gd name="connsiteY131" fmla="*/ 443865 h 523494"/>
                  <a:gd name="connsiteX132" fmla="*/ 1707737 w 3529108"/>
                  <a:gd name="connsiteY132" fmla="*/ 443865 h 523494"/>
                  <a:gd name="connsiteX133" fmla="*/ 1707737 w 3529108"/>
                  <a:gd name="connsiteY133" fmla="*/ 450152 h 523494"/>
                  <a:gd name="connsiteX134" fmla="*/ 1787652 w 3529108"/>
                  <a:gd name="connsiteY134" fmla="*/ 450152 h 523494"/>
                  <a:gd name="connsiteX135" fmla="*/ 1787652 w 3529108"/>
                  <a:gd name="connsiteY135" fmla="*/ 456438 h 523494"/>
                  <a:gd name="connsiteX136" fmla="*/ 1949577 w 3529108"/>
                  <a:gd name="connsiteY136" fmla="*/ 456438 h 523494"/>
                  <a:gd name="connsiteX137" fmla="*/ 1949577 w 3529108"/>
                  <a:gd name="connsiteY137" fmla="*/ 462915 h 523494"/>
                  <a:gd name="connsiteX138" fmla="*/ 1966436 w 3529108"/>
                  <a:gd name="connsiteY138" fmla="*/ 462915 h 523494"/>
                  <a:gd name="connsiteX139" fmla="*/ 1966436 w 3529108"/>
                  <a:gd name="connsiteY139" fmla="*/ 469297 h 523494"/>
                  <a:gd name="connsiteX140" fmla="*/ 2084260 w 3529108"/>
                  <a:gd name="connsiteY140" fmla="*/ 469297 h 523494"/>
                  <a:gd name="connsiteX141" fmla="*/ 2084260 w 3529108"/>
                  <a:gd name="connsiteY141" fmla="*/ 475774 h 523494"/>
                  <a:gd name="connsiteX142" fmla="*/ 2176748 w 3529108"/>
                  <a:gd name="connsiteY142" fmla="*/ 475774 h 523494"/>
                  <a:gd name="connsiteX143" fmla="*/ 2176748 w 3529108"/>
                  <a:gd name="connsiteY143" fmla="*/ 482156 h 523494"/>
                  <a:gd name="connsiteX144" fmla="*/ 2195703 w 3529108"/>
                  <a:gd name="connsiteY144" fmla="*/ 482156 h 523494"/>
                  <a:gd name="connsiteX145" fmla="*/ 2195703 w 3529108"/>
                  <a:gd name="connsiteY145" fmla="*/ 488633 h 523494"/>
                  <a:gd name="connsiteX146" fmla="*/ 3049524 w 3529108"/>
                  <a:gd name="connsiteY146" fmla="*/ 488633 h 523494"/>
                  <a:gd name="connsiteX147" fmla="*/ 3049524 w 3529108"/>
                  <a:gd name="connsiteY147" fmla="*/ 523494 h 523494"/>
                  <a:gd name="connsiteX148" fmla="*/ 3529108 w 3529108"/>
                  <a:gd name="connsiteY148" fmla="*/ 523494 h 523494"/>
                  <a:gd name="connsiteX0" fmla="*/ 0 w 3529108"/>
                  <a:gd name="connsiteY0" fmla="*/ 0 h 523494"/>
                  <a:gd name="connsiteX1" fmla="*/ 18955 w 3529108"/>
                  <a:gd name="connsiteY1" fmla="*/ 12192 h 523494"/>
                  <a:gd name="connsiteX2" fmla="*/ 18955 w 3529108"/>
                  <a:gd name="connsiteY2" fmla="*/ 18193 h 523494"/>
                  <a:gd name="connsiteX3" fmla="*/ 31528 w 3529108"/>
                  <a:gd name="connsiteY3" fmla="*/ 18193 h 523494"/>
                  <a:gd name="connsiteX4" fmla="*/ 31528 w 3529108"/>
                  <a:gd name="connsiteY4" fmla="*/ 24289 h 523494"/>
                  <a:gd name="connsiteX5" fmla="*/ 37814 w 3529108"/>
                  <a:gd name="connsiteY5" fmla="*/ 24289 h 523494"/>
                  <a:gd name="connsiteX6" fmla="*/ 37814 w 3529108"/>
                  <a:gd name="connsiteY6" fmla="*/ 36386 h 523494"/>
                  <a:gd name="connsiteX7" fmla="*/ 42005 w 3529108"/>
                  <a:gd name="connsiteY7" fmla="*/ 36386 h 523494"/>
                  <a:gd name="connsiteX8" fmla="*/ 42005 w 3529108"/>
                  <a:gd name="connsiteY8" fmla="*/ 42482 h 523494"/>
                  <a:gd name="connsiteX9" fmla="*/ 54673 w 3529108"/>
                  <a:gd name="connsiteY9" fmla="*/ 42482 h 523494"/>
                  <a:gd name="connsiteX10" fmla="*/ 54673 w 3529108"/>
                  <a:gd name="connsiteY10" fmla="*/ 48578 h 523494"/>
                  <a:gd name="connsiteX11" fmla="*/ 69342 w 3529108"/>
                  <a:gd name="connsiteY11" fmla="*/ 48578 h 523494"/>
                  <a:gd name="connsiteX12" fmla="*/ 69342 w 3529108"/>
                  <a:gd name="connsiteY12" fmla="*/ 54579 h 523494"/>
                  <a:gd name="connsiteX13" fmla="*/ 73628 w 3529108"/>
                  <a:gd name="connsiteY13" fmla="*/ 54579 h 523494"/>
                  <a:gd name="connsiteX14" fmla="*/ 73628 w 3529108"/>
                  <a:gd name="connsiteY14" fmla="*/ 60675 h 523494"/>
                  <a:gd name="connsiteX15" fmla="*/ 84105 w 3529108"/>
                  <a:gd name="connsiteY15" fmla="*/ 60675 h 523494"/>
                  <a:gd name="connsiteX16" fmla="*/ 84105 w 3529108"/>
                  <a:gd name="connsiteY16" fmla="*/ 66771 h 523494"/>
                  <a:gd name="connsiteX17" fmla="*/ 92488 w 3529108"/>
                  <a:gd name="connsiteY17" fmla="*/ 66771 h 523494"/>
                  <a:gd name="connsiteX18" fmla="*/ 92488 w 3529108"/>
                  <a:gd name="connsiteY18" fmla="*/ 72867 h 523494"/>
                  <a:gd name="connsiteX19" fmla="*/ 107251 w 3529108"/>
                  <a:gd name="connsiteY19" fmla="*/ 72867 h 523494"/>
                  <a:gd name="connsiteX20" fmla="*/ 107251 w 3529108"/>
                  <a:gd name="connsiteY20" fmla="*/ 78867 h 523494"/>
                  <a:gd name="connsiteX21" fmla="*/ 111442 w 3529108"/>
                  <a:gd name="connsiteY21" fmla="*/ 78867 h 523494"/>
                  <a:gd name="connsiteX22" fmla="*/ 111442 w 3529108"/>
                  <a:gd name="connsiteY22" fmla="*/ 84963 h 523494"/>
                  <a:gd name="connsiteX23" fmla="*/ 115633 w 3529108"/>
                  <a:gd name="connsiteY23" fmla="*/ 84963 h 523494"/>
                  <a:gd name="connsiteX24" fmla="*/ 115633 w 3529108"/>
                  <a:gd name="connsiteY24" fmla="*/ 91059 h 523494"/>
                  <a:gd name="connsiteX25" fmla="*/ 128302 w 3529108"/>
                  <a:gd name="connsiteY25" fmla="*/ 91059 h 523494"/>
                  <a:gd name="connsiteX26" fmla="*/ 128302 w 3529108"/>
                  <a:gd name="connsiteY26" fmla="*/ 97060 h 523494"/>
                  <a:gd name="connsiteX27" fmla="*/ 157734 w 3529108"/>
                  <a:gd name="connsiteY27" fmla="*/ 97060 h 523494"/>
                  <a:gd name="connsiteX28" fmla="*/ 157734 w 3529108"/>
                  <a:gd name="connsiteY28" fmla="*/ 103156 h 523494"/>
                  <a:gd name="connsiteX29" fmla="*/ 166116 w 3529108"/>
                  <a:gd name="connsiteY29" fmla="*/ 103156 h 523494"/>
                  <a:gd name="connsiteX30" fmla="*/ 166116 w 3529108"/>
                  <a:gd name="connsiteY30" fmla="*/ 109252 h 523494"/>
                  <a:gd name="connsiteX31" fmla="*/ 168211 w 3529108"/>
                  <a:gd name="connsiteY31" fmla="*/ 109252 h 523494"/>
                  <a:gd name="connsiteX32" fmla="*/ 168211 w 3529108"/>
                  <a:gd name="connsiteY32" fmla="*/ 115253 h 523494"/>
                  <a:gd name="connsiteX33" fmla="*/ 182975 w 3529108"/>
                  <a:gd name="connsiteY33" fmla="*/ 115253 h 523494"/>
                  <a:gd name="connsiteX34" fmla="*/ 182975 w 3529108"/>
                  <a:gd name="connsiteY34" fmla="*/ 127445 h 523494"/>
                  <a:gd name="connsiteX35" fmla="*/ 185071 w 3529108"/>
                  <a:gd name="connsiteY35" fmla="*/ 127445 h 523494"/>
                  <a:gd name="connsiteX36" fmla="*/ 185071 w 3529108"/>
                  <a:gd name="connsiteY36" fmla="*/ 133446 h 523494"/>
                  <a:gd name="connsiteX37" fmla="*/ 191357 w 3529108"/>
                  <a:gd name="connsiteY37" fmla="*/ 133446 h 523494"/>
                  <a:gd name="connsiteX38" fmla="*/ 191357 w 3529108"/>
                  <a:gd name="connsiteY38" fmla="*/ 139542 h 523494"/>
                  <a:gd name="connsiteX39" fmla="*/ 195548 w 3529108"/>
                  <a:gd name="connsiteY39" fmla="*/ 139542 h 523494"/>
                  <a:gd name="connsiteX40" fmla="*/ 195548 w 3529108"/>
                  <a:gd name="connsiteY40" fmla="*/ 145638 h 523494"/>
                  <a:gd name="connsiteX41" fmla="*/ 212407 w 3529108"/>
                  <a:gd name="connsiteY41" fmla="*/ 145638 h 523494"/>
                  <a:gd name="connsiteX42" fmla="*/ 212407 w 3529108"/>
                  <a:gd name="connsiteY42" fmla="*/ 157734 h 523494"/>
                  <a:gd name="connsiteX43" fmla="*/ 216598 w 3529108"/>
                  <a:gd name="connsiteY43" fmla="*/ 157734 h 523494"/>
                  <a:gd name="connsiteX44" fmla="*/ 216598 w 3529108"/>
                  <a:gd name="connsiteY44" fmla="*/ 163830 h 523494"/>
                  <a:gd name="connsiteX45" fmla="*/ 239744 w 3529108"/>
                  <a:gd name="connsiteY45" fmla="*/ 163830 h 523494"/>
                  <a:gd name="connsiteX46" fmla="*/ 239744 w 3529108"/>
                  <a:gd name="connsiteY46" fmla="*/ 169926 h 523494"/>
                  <a:gd name="connsiteX47" fmla="*/ 243935 w 3529108"/>
                  <a:gd name="connsiteY47" fmla="*/ 169926 h 523494"/>
                  <a:gd name="connsiteX48" fmla="*/ 243935 w 3529108"/>
                  <a:gd name="connsiteY48" fmla="*/ 175927 h 523494"/>
                  <a:gd name="connsiteX49" fmla="*/ 250222 w 3529108"/>
                  <a:gd name="connsiteY49" fmla="*/ 175927 h 523494"/>
                  <a:gd name="connsiteX50" fmla="*/ 250222 w 3529108"/>
                  <a:gd name="connsiteY50" fmla="*/ 188119 h 523494"/>
                  <a:gd name="connsiteX51" fmla="*/ 269176 w 3529108"/>
                  <a:gd name="connsiteY51" fmla="*/ 188119 h 523494"/>
                  <a:gd name="connsiteX52" fmla="*/ 269176 w 3529108"/>
                  <a:gd name="connsiteY52" fmla="*/ 194120 h 523494"/>
                  <a:gd name="connsiteX53" fmla="*/ 277558 w 3529108"/>
                  <a:gd name="connsiteY53" fmla="*/ 194120 h 523494"/>
                  <a:gd name="connsiteX54" fmla="*/ 277558 w 3529108"/>
                  <a:gd name="connsiteY54" fmla="*/ 200216 h 523494"/>
                  <a:gd name="connsiteX55" fmla="*/ 290227 w 3529108"/>
                  <a:gd name="connsiteY55" fmla="*/ 200216 h 523494"/>
                  <a:gd name="connsiteX56" fmla="*/ 290227 w 3529108"/>
                  <a:gd name="connsiteY56" fmla="*/ 206312 h 523494"/>
                  <a:gd name="connsiteX57" fmla="*/ 307086 w 3529108"/>
                  <a:gd name="connsiteY57" fmla="*/ 206312 h 523494"/>
                  <a:gd name="connsiteX58" fmla="*/ 307086 w 3529108"/>
                  <a:gd name="connsiteY58" fmla="*/ 212313 h 523494"/>
                  <a:gd name="connsiteX59" fmla="*/ 334423 w 3529108"/>
                  <a:gd name="connsiteY59" fmla="*/ 212313 h 523494"/>
                  <a:gd name="connsiteX60" fmla="*/ 334423 w 3529108"/>
                  <a:gd name="connsiteY60" fmla="*/ 218409 h 523494"/>
                  <a:gd name="connsiteX61" fmla="*/ 336518 w 3529108"/>
                  <a:gd name="connsiteY61" fmla="*/ 218409 h 523494"/>
                  <a:gd name="connsiteX62" fmla="*/ 336518 w 3529108"/>
                  <a:gd name="connsiteY62" fmla="*/ 224505 h 523494"/>
                  <a:gd name="connsiteX63" fmla="*/ 346995 w 3529108"/>
                  <a:gd name="connsiteY63" fmla="*/ 224505 h 523494"/>
                  <a:gd name="connsiteX64" fmla="*/ 346995 w 3529108"/>
                  <a:gd name="connsiteY64" fmla="*/ 230505 h 523494"/>
                  <a:gd name="connsiteX65" fmla="*/ 353282 w 3529108"/>
                  <a:gd name="connsiteY65" fmla="*/ 230505 h 523494"/>
                  <a:gd name="connsiteX66" fmla="*/ 353282 w 3529108"/>
                  <a:gd name="connsiteY66" fmla="*/ 242697 h 523494"/>
                  <a:gd name="connsiteX67" fmla="*/ 361759 w 3529108"/>
                  <a:gd name="connsiteY67" fmla="*/ 242697 h 523494"/>
                  <a:gd name="connsiteX68" fmla="*/ 361759 w 3529108"/>
                  <a:gd name="connsiteY68" fmla="*/ 248698 h 523494"/>
                  <a:gd name="connsiteX69" fmla="*/ 368046 w 3529108"/>
                  <a:gd name="connsiteY69" fmla="*/ 248698 h 523494"/>
                  <a:gd name="connsiteX70" fmla="*/ 368046 w 3529108"/>
                  <a:gd name="connsiteY70" fmla="*/ 260890 h 523494"/>
                  <a:gd name="connsiteX71" fmla="*/ 370141 w 3529108"/>
                  <a:gd name="connsiteY71" fmla="*/ 260890 h 523494"/>
                  <a:gd name="connsiteX72" fmla="*/ 370141 w 3529108"/>
                  <a:gd name="connsiteY72" fmla="*/ 266986 h 523494"/>
                  <a:gd name="connsiteX73" fmla="*/ 382714 w 3529108"/>
                  <a:gd name="connsiteY73" fmla="*/ 266986 h 523494"/>
                  <a:gd name="connsiteX74" fmla="*/ 382714 w 3529108"/>
                  <a:gd name="connsiteY74" fmla="*/ 272987 h 523494"/>
                  <a:gd name="connsiteX75" fmla="*/ 405860 w 3529108"/>
                  <a:gd name="connsiteY75" fmla="*/ 272987 h 523494"/>
                  <a:gd name="connsiteX76" fmla="*/ 405860 w 3529108"/>
                  <a:gd name="connsiteY76" fmla="*/ 279083 h 523494"/>
                  <a:gd name="connsiteX77" fmla="*/ 412242 w 3529108"/>
                  <a:gd name="connsiteY77" fmla="*/ 279083 h 523494"/>
                  <a:gd name="connsiteX78" fmla="*/ 412242 w 3529108"/>
                  <a:gd name="connsiteY78" fmla="*/ 285179 h 523494"/>
                  <a:gd name="connsiteX79" fmla="*/ 420624 w 3529108"/>
                  <a:gd name="connsiteY79" fmla="*/ 285179 h 523494"/>
                  <a:gd name="connsiteX80" fmla="*/ 420624 w 3529108"/>
                  <a:gd name="connsiteY80" fmla="*/ 291180 h 523494"/>
                  <a:gd name="connsiteX81" fmla="*/ 429006 w 3529108"/>
                  <a:gd name="connsiteY81" fmla="*/ 291180 h 523494"/>
                  <a:gd name="connsiteX82" fmla="*/ 429006 w 3529108"/>
                  <a:gd name="connsiteY82" fmla="*/ 297276 h 523494"/>
                  <a:gd name="connsiteX83" fmla="*/ 433197 w 3529108"/>
                  <a:gd name="connsiteY83" fmla="*/ 297276 h 523494"/>
                  <a:gd name="connsiteX84" fmla="*/ 433197 w 3529108"/>
                  <a:gd name="connsiteY84" fmla="*/ 303372 h 523494"/>
                  <a:gd name="connsiteX85" fmla="*/ 506825 w 3529108"/>
                  <a:gd name="connsiteY85" fmla="*/ 303372 h 523494"/>
                  <a:gd name="connsiteX86" fmla="*/ 506825 w 3529108"/>
                  <a:gd name="connsiteY86" fmla="*/ 309372 h 523494"/>
                  <a:gd name="connsiteX87" fmla="*/ 527875 w 3529108"/>
                  <a:gd name="connsiteY87" fmla="*/ 309372 h 523494"/>
                  <a:gd name="connsiteX88" fmla="*/ 527875 w 3529108"/>
                  <a:gd name="connsiteY88" fmla="*/ 315468 h 523494"/>
                  <a:gd name="connsiteX89" fmla="*/ 534162 w 3529108"/>
                  <a:gd name="connsiteY89" fmla="*/ 315468 h 523494"/>
                  <a:gd name="connsiteX90" fmla="*/ 534162 w 3529108"/>
                  <a:gd name="connsiteY90" fmla="*/ 321564 h 523494"/>
                  <a:gd name="connsiteX91" fmla="*/ 576262 w 3529108"/>
                  <a:gd name="connsiteY91" fmla="*/ 321564 h 523494"/>
                  <a:gd name="connsiteX92" fmla="*/ 576262 w 3529108"/>
                  <a:gd name="connsiteY92" fmla="*/ 327565 h 523494"/>
                  <a:gd name="connsiteX93" fmla="*/ 590931 w 3529108"/>
                  <a:gd name="connsiteY93" fmla="*/ 327565 h 523494"/>
                  <a:gd name="connsiteX94" fmla="*/ 590931 w 3529108"/>
                  <a:gd name="connsiteY94" fmla="*/ 333661 h 523494"/>
                  <a:gd name="connsiteX95" fmla="*/ 620458 w 3529108"/>
                  <a:gd name="connsiteY95" fmla="*/ 333661 h 523494"/>
                  <a:gd name="connsiteX96" fmla="*/ 620458 w 3529108"/>
                  <a:gd name="connsiteY96" fmla="*/ 339757 h 523494"/>
                  <a:gd name="connsiteX97" fmla="*/ 622554 w 3529108"/>
                  <a:gd name="connsiteY97" fmla="*/ 339757 h 523494"/>
                  <a:gd name="connsiteX98" fmla="*/ 622554 w 3529108"/>
                  <a:gd name="connsiteY98" fmla="*/ 345758 h 523494"/>
                  <a:gd name="connsiteX99" fmla="*/ 645604 w 3529108"/>
                  <a:gd name="connsiteY99" fmla="*/ 345758 h 523494"/>
                  <a:gd name="connsiteX100" fmla="*/ 645604 w 3529108"/>
                  <a:gd name="connsiteY100" fmla="*/ 351854 h 523494"/>
                  <a:gd name="connsiteX101" fmla="*/ 658273 w 3529108"/>
                  <a:gd name="connsiteY101" fmla="*/ 351854 h 523494"/>
                  <a:gd name="connsiteX102" fmla="*/ 658273 w 3529108"/>
                  <a:gd name="connsiteY102" fmla="*/ 357950 h 523494"/>
                  <a:gd name="connsiteX103" fmla="*/ 693991 w 3529108"/>
                  <a:gd name="connsiteY103" fmla="*/ 357950 h 523494"/>
                  <a:gd name="connsiteX104" fmla="*/ 693991 w 3529108"/>
                  <a:gd name="connsiteY104" fmla="*/ 364046 h 523494"/>
                  <a:gd name="connsiteX105" fmla="*/ 809720 w 3529108"/>
                  <a:gd name="connsiteY105" fmla="*/ 364046 h 523494"/>
                  <a:gd name="connsiteX106" fmla="*/ 809720 w 3529108"/>
                  <a:gd name="connsiteY106" fmla="*/ 370047 h 523494"/>
                  <a:gd name="connsiteX107" fmla="*/ 847534 w 3529108"/>
                  <a:gd name="connsiteY107" fmla="*/ 370047 h 523494"/>
                  <a:gd name="connsiteX108" fmla="*/ 847534 w 3529108"/>
                  <a:gd name="connsiteY108" fmla="*/ 376238 h 523494"/>
                  <a:gd name="connsiteX109" fmla="*/ 900112 w 3529108"/>
                  <a:gd name="connsiteY109" fmla="*/ 376238 h 523494"/>
                  <a:gd name="connsiteX110" fmla="*/ 900112 w 3529108"/>
                  <a:gd name="connsiteY110" fmla="*/ 382334 h 523494"/>
                  <a:gd name="connsiteX111" fmla="*/ 919067 w 3529108"/>
                  <a:gd name="connsiteY111" fmla="*/ 382334 h 523494"/>
                  <a:gd name="connsiteX112" fmla="*/ 919067 w 3529108"/>
                  <a:gd name="connsiteY112" fmla="*/ 388430 h 523494"/>
                  <a:gd name="connsiteX113" fmla="*/ 929545 w 3529108"/>
                  <a:gd name="connsiteY113" fmla="*/ 388430 h 523494"/>
                  <a:gd name="connsiteX114" fmla="*/ 929545 w 3529108"/>
                  <a:gd name="connsiteY114" fmla="*/ 394621 h 523494"/>
                  <a:gd name="connsiteX115" fmla="*/ 963263 w 3529108"/>
                  <a:gd name="connsiteY115" fmla="*/ 394621 h 523494"/>
                  <a:gd name="connsiteX116" fmla="*/ 963263 w 3529108"/>
                  <a:gd name="connsiteY116" fmla="*/ 400717 h 523494"/>
                  <a:gd name="connsiteX117" fmla="*/ 969550 w 3529108"/>
                  <a:gd name="connsiteY117" fmla="*/ 400717 h 523494"/>
                  <a:gd name="connsiteX118" fmla="*/ 969550 w 3529108"/>
                  <a:gd name="connsiteY118" fmla="*/ 406813 h 523494"/>
                  <a:gd name="connsiteX119" fmla="*/ 984218 w 3529108"/>
                  <a:gd name="connsiteY119" fmla="*/ 406813 h 523494"/>
                  <a:gd name="connsiteX120" fmla="*/ 984218 w 3529108"/>
                  <a:gd name="connsiteY120" fmla="*/ 412909 h 523494"/>
                  <a:gd name="connsiteX121" fmla="*/ 996886 w 3529108"/>
                  <a:gd name="connsiteY121" fmla="*/ 412909 h 523494"/>
                  <a:gd name="connsiteX122" fmla="*/ 996886 w 3529108"/>
                  <a:gd name="connsiteY122" fmla="*/ 419100 h 523494"/>
                  <a:gd name="connsiteX123" fmla="*/ 1022128 w 3529108"/>
                  <a:gd name="connsiteY123" fmla="*/ 419100 h 523494"/>
                  <a:gd name="connsiteX124" fmla="*/ 1022128 w 3529108"/>
                  <a:gd name="connsiteY124" fmla="*/ 425196 h 523494"/>
                  <a:gd name="connsiteX125" fmla="*/ 1251394 w 3529108"/>
                  <a:gd name="connsiteY125" fmla="*/ 425196 h 523494"/>
                  <a:gd name="connsiteX126" fmla="*/ 1251394 w 3529108"/>
                  <a:gd name="connsiteY126" fmla="*/ 431388 h 523494"/>
                  <a:gd name="connsiteX127" fmla="*/ 1364932 w 3529108"/>
                  <a:gd name="connsiteY127" fmla="*/ 431388 h 523494"/>
                  <a:gd name="connsiteX128" fmla="*/ 1364932 w 3529108"/>
                  <a:gd name="connsiteY128" fmla="*/ 437579 h 523494"/>
                  <a:gd name="connsiteX129" fmla="*/ 1634109 w 3529108"/>
                  <a:gd name="connsiteY129" fmla="*/ 437579 h 523494"/>
                  <a:gd name="connsiteX130" fmla="*/ 1634109 w 3529108"/>
                  <a:gd name="connsiteY130" fmla="*/ 443865 h 523494"/>
                  <a:gd name="connsiteX131" fmla="*/ 1707737 w 3529108"/>
                  <a:gd name="connsiteY131" fmla="*/ 443865 h 523494"/>
                  <a:gd name="connsiteX132" fmla="*/ 1707737 w 3529108"/>
                  <a:gd name="connsiteY132" fmla="*/ 450152 h 523494"/>
                  <a:gd name="connsiteX133" fmla="*/ 1787652 w 3529108"/>
                  <a:gd name="connsiteY133" fmla="*/ 450152 h 523494"/>
                  <a:gd name="connsiteX134" fmla="*/ 1787652 w 3529108"/>
                  <a:gd name="connsiteY134" fmla="*/ 456438 h 523494"/>
                  <a:gd name="connsiteX135" fmla="*/ 1949577 w 3529108"/>
                  <a:gd name="connsiteY135" fmla="*/ 456438 h 523494"/>
                  <a:gd name="connsiteX136" fmla="*/ 1949577 w 3529108"/>
                  <a:gd name="connsiteY136" fmla="*/ 462915 h 523494"/>
                  <a:gd name="connsiteX137" fmla="*/ 1966436 w 3529108"/>
                  <a:gd name="connsiteY137" fmla="*/ 462915 h 523494"/>
                  <a:gd name="connsiteX138" fmla="*/ 1966436 w 3529108"/>
                  <a:gd name="connsiteY138" fmla="*/ 469297 h 523494"/>
                  <a:gd name="connsiteX139" fmla="*/ 2084260 w 3529108"/>
                  <a:gd name="connsiteY139" fmla="*/ 469297 h 523494"/>
                  <a:gd name="connsiteX140" fmla="*/ 2084260 w 3529108"/>
                  <a:gd name="connsiteY140" fmla="*/ 475774 h 523494"/>
                  <a:gd name="connsiteX141" fmla="*/ 2176748 w 3529108"/>
                  <a:gd name="connsiteY141" fmla="*/ 475774 h 523494"/>
                  <a:gd name="connsiteX142" fmla="*/ 2176748 w 3529108"/>
                  <a:gd name="connsiteY142" fmla="*/ 482156 h 523494"/>
                  <a:gd name="connsiteX143" fmla="*/ 2195703 w 3529108"/>
                  <a:gd name="connsiteY143" fmla="*/ 482156 h 523494"/>
                  <a:gd name="connsiteX144" fmla="*/ 2195703 w 3529108"/>
                  <a:gd name="connsiteY144" fmla="*/ 488633 h 523494"/>
                  <a:gd name="connsiteX145" fmla="*/ 3049524 w 3529108"/>
                  <a:gd name="connsiteY145" fmla="*/ 488633 h 523494"/>
                  <a:gd name="connsiteX146" fmla="*/ 3049524 w 3529108"/>
                  <a:gd name="connsiteY146" fmla="*/ 523494 h 523494"/>
                  <a:gd name="connsiteX147" fmla="*/ 3529108 w 3529108"/>
                  <a:gd name="connsiteY147" fmla="*/ 523494 h 523494"/>
                  <a:gd name="connsiteX0" fmla="*/ 0 w 3510153"/>
                  <a:gd name="connsiteY0" fmla="*/ 0 h 511302"/>
                  <a:gd name="connsiteX1" fmla="*/ 0 w 3510153"/>
                  <a:gd name="connsiteY1" fmla="*/ 6001 h 511302"/>
                  <a:gd name="connsiteX2" fmla="*/ 12573 w 3510153"/>
                  <a:gd name="connsiteY2" fmla="*/ 6001 h 511302"/>
                  <a:gd name="connsiteX3" fmla="*/ 12573 w 3510153"/>
                  <a:gd name="connsiteY3" fmla="*/ 12097 h 511302"/>
                  <a:gd name="connsiteX4" fmla="*/ 18859 w 3510153"/>
                  <a:gd name="connsiteY4" fmla="*/ 12097 h 511302"/>
                  <a:gd name="connsiteX5" fmla="*/ 18859 w 3510153"/>
                  <a:gd name="connsiteY5" fmla="*/ 24194 h 511302"/>
                  <a:gd name="connsiteX6" fmla="*/ 23050 w 3510153"/>
                  <a:gd name="connsiteY6" fmla="*/ 24194 h 511302"/>
                  <a:gd name="connsiteX7" fmla="*/ 23050 w 3510153"/>
                  <a:gd name="connsiteY7" fmla="*/ 30290 h 511302"/>
                  <a:gd name="connsiteX8" fmla="*/ 35718 w 3510153"/>
                  <a:gd name="connsiteY8" fmla="*/ 30290 h 511302"/>
                  <a:gd name="connsiteX9" fmla="*/ 35718 w 3510153"/>
                  <a:gd name="connsiteY9" fmla="*/ 36386 h 511302"/>
                  <a:gd name="connsiteX10" fmla="*/ 50387 w 3510153"/>
                  <a:gd name="connsiteY10" fmla="*/ 36386 h 511302"/>
                  <a:gd name="connsiteX11" fmla="*/ 50387 w 3510153"/>
                  <a:gd name="connsiteY11" fmla="*/ 42387 h 511302"/>
                  <a:gd name="connsiteX12" fmla="*/ 54673 w 3510153"/>
                  <a:gd name="connsiteY12" fmla="*/ 42387 h 511302"/>
                  <a:gd name="connsiteX13" fmla="*/ 54673 w 3510153"/>
                  <a:gd name="connsiteY13" fmla="*/ 48483 h 511302"/>
                  <a:gd name="connsiteX14" fmla="*/ 65150 w 3510153"/>
                  <a:gd name="connsiteY14" fmla="*/ 48483 h 511302"/>
                  <a:gd name="connsiteX15" fmla="*/ 65150 w 3510153"/>
                  <a:gd name="connsiteY15" fmla="*/ 54579 h 511302"/>
                  <a:gd name="connsiteX16" fmla="*/ 73533 w 3510153"/>
                  <a:gd name="connsiteY16" fmla="*/ 54579 h 511302"/>
                  <a:gd name="connsiteX17" fmla="*/ 73533 w 3510153"/>
                  <a:gd name="connsiteY17" fmla="*/ 60675 h 511302"/>
                  <a:gd name="connsiteX18" fmla="*/ 88296 w 3510153"/>
                  <a:gd name="connsiteY18" fmla="*/ 60675 h 511302"/>
                  <a:gd name="connsiteX19" fmla="*/ 88296 w 3510153"/>
                  <a:gd name="connsiteY19" fmla="*/ 66675 h 511302"/>
                  <a:gd name="connsiteX20" fmla="*/ 92487 w 3510153"/>
                  <a:gd name="connsiteY20" fmla="*/ 66675 h 511302"/>
                  <a:gd name="connsiteX21" fmla="*/ 92487 w 3510153"/>
                  <a:gd name="connsiteY21" fmla="*/ 72771 h 511302"/>
                  <a:gd name="connsiteX22" fmla="*/ 96678 w 3510153"/>
                  <a:gd name="connsiteY22" fmla="*/ 72771 h 511302"/>
                  <a:gd name="connsiteX23" fmla="*/ 96678 w 3510153"/>
                  <a:gd name="connsiteY23" fmla="*/ 78867 h 511302"/>
                  <a:gd name="connsiteX24" fmla="*/ 109347 w 3510153"/>
                  <a:gd name="connsiteY24" fmla="*/ 78867 h 511302"/>
                  <a:gd name="connsiteX25" fmla="*/ 109347 w 3510153"/>
                  <a:gd name="connsiteY25" fmla="*/ 84868 h 511302"/>
                  <a:gd name="connsiteX26" fmla="*/ 138779 w 3510153"/>
                  <a:gd name="connsiteY26" fmla="*/ 84868 h 511302"/>
                  <a:gd name="connsiteX27" fmla="*/ 138779 w 3510153"/>
                  <a:gd name="connsiteY27" fmla="*/ 90964 h 511302"/>
                  <a:gd name="connsiteX28" fmla="*/ 147161 w 3510153"/>
                  <a:gd name="connsiteY28" fmla="*/ 90964 h 511302"/>
                  <a:gd name="connsiteX29" fmla="*/ 147161 w 3510153"/>
                  <a:gd name="connsiteY29" fmla="*/ 97060 h 511302"/>
                  <a:gd name="connsiteX30" fmla="*/ 149256 w 3510153"/>
                  <a:gd name="connsiteY30" fmla="*/ 97060 h 511302"/>
                  <a:gd name="connsiteX31" fmla="*/ 149256 w 3510153"/>
                  <a:gd name="connsiteY31" fmla="*/ 103061 h 511302"/>
                  <a:gd name="connsiteX32" fmla="*/ 164020 w 3510153"/>
                  <a:gd name="connsiteY32" fmla="*/ 103061 h 511302"/>
                  <a:gd name="connsiteX33" fmla="*/ 164020 w 3510153"/>
                  <a:gd name="connsiteY33" fmla="*/ 115253 h 511302"/>
                  <a:gd name="connsiteX34" fmla="*/ 166116 w 3510153"/>
                  <a:gd name="connsiteY34" fmla="*/ 115253 h 511302"/>
                  <a:gd name="connsiteX35" fmla="*/ 166116 w 3510153"/>
                  <a:gd name="connsiteY35" fmla="*/ 121254 h 511302"/>
                  <a:gd name="connsiteX36" fmla="*/ 172402 w 3510153"/>
                  <a:gd name="connsiteY36" fmla="*/ 121254 h 511302"/>
                  <a:gd name="connsiteX37" fmla="*/ 172402 w 3510153"/>
                  <a:gd name="connsiteY37" fmla="*/ 127350 h 511302"/>
                  <a:gd name="connsiteX38" fmla="*/ 176593 w 3510153"/>
                  <a:gd name="connsiteY38" fmla="*/ 127350 h 511302"/>
                  <a:gd name="connsiteX39" fmla="*/ 176593 w 3510153"/>
                  <a:gd name="connsiteY39" fmla="*/ 133446 h 511302"/>
                  <a:gd name="connsiteX40" fmla="*/ 193452 w 3510153"/>
                  <a:gd name="connsiteY40" fmla="*/ 133446 h 511302"/>
                  <a:gd name="connsiteX41" fmla="*/ 193452 w 3510153"/>
                  <a:gd name="connsiteY41" fmla="*/ 145542 h 511302"/>
                  <a:gd name="connsiteX42" fmla="*/ 197643 w 3510153"/>
                  <a:gd name="connsiteY42" fmla="*/ 145542 h 511302"/>
                  <a:gd name="connsiteX43" fmla="*/ 197643 w 3510153"/>
                  <a:gd name="connsiteY43" fmla="*/ 151638 h 511302"/>
                  <a:gd name="connsiteX44" fmla="*/ 220789 w 3510153"/>
                  <a:gd name="connsiteY44" fmla="*/ 151638 h 511302"/>
                  <a:gd name="connsiteX45" fmla="*/ 220789 w 3510153"/>
                  <a:gd name="connsiteY45" fmla="*/ 157734 h 511302"/>
                  <a:gd name="connsiteX46" fmla="*/ 224980 w 3510153"/>
                  <a:gd name="connsiteY46" fmla="*/ 157734 h 511302"/>
                  <a:gd name="connsiteX47" fmla="*/ 224980 w 3510153"/>
                  <a:gd name="connsiteY47" fmla="*/ 163735 h 511302"/>
                  <a:gd name="connsiteX48" fmla="*/ 231267 w 3510153"/>
                  <a:gd name="connsiteY48" fmla="*/ 163735 h 511302"/>
                  <a:gd name="connsiteX49" fmla="*/ 231267 w 3510153"/>
                  <a:gd name="connsiteY49" fmla="*/ 175927 h 511302"/>
                  <a:gd name="connsiteX50" fmla="*/ 250221 w 3510153"/>
                  <a:gd name="connsiteY50" fmla="*/ 175927 h 511302"/>
                  <a:gd name="connsiteX51" fmla="*/ 250221 w 3510153"/>
                  <a:gd name="connsiteY51" fmla="*/ 181928 h 511302"/>
                  <a:gd name="connsiteX52" fmla="*/ 258603 w 3510153"/>
                  <a:gd name="connsiteY52" fmla="*/ 181928 h 511302"/>
                  <a:gd name="connsiteX53" fmla="*/ 258603 w 3510153"/>
                  <a:gd name="connsiteY53" fmla="*/ 188024 h 511302"/>
                  <a:gd name="connsiteX54" fmla="*/ 271272 w 3510153"/>
                  <a:gd name="connsiteY54" fmla="*/ 188024 h 511302"/>
                  <a:gd name="connsiteX55" fmla="*/ 271272 w 3510153"/>
                  <a:gd name="connsiteY55" fmla="*/ 194120 h 511302"/>
                  <a:gd name="connsiteX56" fmla="*/ 288131 w 3510153"/>
                  <a:gd name="connsiteY56" fmla="*/ 194120 h 511302"/>
                  <a:gd name="connsiteX57" fmla="*/ 288131 w 3510153"/>
                  <a:gd name="connsiteY57" fmla="*/ 200121 h 511302"/>
                  <a:gd name="connsiteX58" fmla="*/ 315468 w 3510153"/>
                  <a:gd name="connsiteY58" fmla="*/ 200121 h 511302"/>
                  <a:gd name="connsiteX59" fmla="*/ 315468 w 3510153"/>
                  <a:gd name="connsiteY59" fmla="*/ 206217 h 511302"/>
                  <a:gd name="connsiteX60" fmla="*/ 317563 w 3510153"/>
                  <a:gd name="connsiteY60" fmla="*/ 206217 h 511302"/>
                  <a:gd name="connsiteX61" fmla="*/ 317563 w 3510153"/>
                  <a:gd name="connsiteY61" fmla="*/ 212313 h 511302"/>
                  <a:gd name="connsiteX62" fmla="*/ 328040 w 3510153"/>
                  <a:gd name="connsiteY62" fmla="*/ 212313 h 511302"/>
                  <a:gd name="connsiteX63" fmla="*/ 328040 w 3510153"/>
                  <a:gd name="connsiteY63" fmla="*/ 218313 h 511302"/>
                  <a:gd name="connsiteX64" fmla="*/ 334327 w 3510153"/>
                  <a:gd name="connsiteY64" fmla="*/ 218313 h 511302"/>
                  <a:gd name="connsiteX65" fmla="*/ 334327 w 3510153"/>
                  <a:gd name="connsiteY65" fmla="*/ 230505 h 511302"/>
                  <a:gd name="connsiteX66" fmla="*/ 342804 w 3510153"/>
                  <a:gd name="connsiteY66" fmla="*/ 230505 h 511302"/>
                  <a:gd name="connsiteX67" fmla="*/ 342804 w 3510153"/>
                  <a:gd name="connsiteY67" fmla="*/ 236506 h 511302"/>
                  <a:gd name="connsiteX68" fmla="*/ 349091 w 3510153"/>
                  <a:gd name="connsiteY68" fmla="*/ 236506 h 511302"/>
                  <a:gd name="connsiteX69" fmla="*/ 349091 w 3510153"/>
                  <a:gd name="connsiteY69" fmla="*/ 248698 h 511302"/>
                  <a:gd name="connsiteX70" fmla="*/ 351186 w 3510153"/>
                  <a:gd name="connsiteY70" fmla="*/ 248698 h 511302"/>
                  <a:gd name="connsiteX71" fmla="*/ 351186 w 3510153"/>
                  <a:gd name="connsiteY71" fmla="*/ 254794 h 511302"/>
                  <a:gd name="connsiteX72" fmla="*/ 363759 w 3510153"/>
                  <a:gd name="connsiteY72" fmla="*/ 254794 h 511302"/>
                  <a:gd name="connsiteX73" fmla="*/ 363759 w 3510153"/>
                  <a:gd name="connsiteY73" fmla="*/ 260795 h 511302"/>
                  <a:gd name="connsiteX74" fmla="*/ 386905 w 3510153"/>
                  <a:gd name="connsiteY74" fmla="*/ 260795 h 511302"/>
                  <a:gd name="connsiteX75" fmla="*/ 386905 w 3510153"/>
                  <a:gd name="connsiteY75" fmla="*/ 266891 h 511302"/>
                  <a:gd name="connsiteX76" fmla="*/ 393287 w 3510153"/>
                  <a:gd name="connsiteY76" fmla="*/ 266891 h 511302"/>
                  <a:gd name="connsiteX77" fmla="*/ 393287 w 3510153"/>
                  <a:gd name="connsiteY77" fmla="*/ 272987 h 511302"/>
                  <a:gd name="connsiteX78" fmla="*/ 401669 w 3510153"/>
                  <a:gd name="connsiteY78" fmla="*/ 272987 h 511302"/>
                  <a:gd name="connsiteX79" fmla="*/ 401669 w 3510153"/>
                  <a:gd name="connsiteY79" fmla="*/ 278988 h 511302"/>
                  <a:gd name="connsiteX80" fmla="*/ 410051 w 3510153"/>
                  <a:gd name="connsiteY80" fmla="*/ 278988 h 511302"/>
                  <a:gd name="connsiteX81" fmla="*/ 410051 w 3510153"/>
                  <a:gd name="connsiteY81" fmla="*/ 285084 h 511302"/>
                  <a:gd name="connsiteX82" fmla="*/ 414242 w 3510153"/>
                  <a:gd name="connsiteY82" fmla="*/ 285084 h 511302"/>
                  <a:gd name="connsiteX83" fmla="*/ 414242 w 3510153"/>
                  <a:gd name="connsiteY83" fmla="*/ 291180 h 511302"/>
                  <a:gd name="connsiteX84" fmla="*/ 487870 w 3510153"/>
                  <a:gd name="connsiteY84" fmla="*/ 291180 h 511302"/>
                  <a:gd name="connsiteX85" fmla="*/ 487870 w 3510153"/>
                  <a:gd name="connsiteY85" fmla="*/ 297180 h 511302"/>
                  <a:gd name="connsiteX86" fmla="*/ 508920 w 3510153"/>
                  <a:gd name="connsiteY86" fmla="*/ 297180 h 511302"/>
                  <a:gd name="connsiteX87" fmla="*/ 508920 w 3510153"/>
                  <a:gd name="connsiteY87" fmla="*/ 303276 h 511302"/>
                  <a:gd name="connsiteX88" fmla="*/ 515207 w 3510153"/>
                  <a:gd name="connsiteY88" fmla="*/ 303276 h 511302"/>
                  <a:gd name="connsiteX89" fmla="*/ 515207 w 3510153"/>
                  <a:gd name="connsiteY89" fmla="*/ 309372 h 511302"/>
                  <a:gd name="connsiteX90" fmla="*/ 557307 w 3510153"/>
                  <a:gd name="connsiteY90" fmla="*/ 309372 h 511302"/>
                  <a:gd name="connsiteX91" fmla="*/ 557307 w 3510153"/>
                  <a:gd name="connsiteY91" fmla="*/ 315373 h 511302"/>
                  <a:gd name="connsiteX92" fmla="*/ 571976 w 3510153"/>
                  <a:gd name="connsiteY92" fmla="*/ 315373 h 511302"/>
                  <a:gd name="connsiteX93" fmla="*/ 571976 w 3510153"/>
                  <a:gd name="connsiteY93" fmla="*/ 321469 h 511302"/>
                  <a:gd name="connsiteX94" fmla="*/ 601503 w 3510153"/>
                  <a:gd name="connsiteY94" fmla="*/ 321469 h 511302"/>
                  <a:gd name="connsiteX95" fmla="*/ 601503 w 3510153"/>
                  <a:gd name="connsiteY95" fmla="*/ 327565 h 511302"/>
                  <a:gd name="connsiteX96" fmla="*/ 603599 w 3510153"/>
                  <a:gd name="connsiteY96" fmla="*/ 327565 h 511302"/>
                  <a:gd name="connsiteX97" fmla="*/ 603599 w 3510153"/>
                  <a:gd name="connsiteY97" fmla="*/ 333566 h 511302"/>
                  <a:gd name="connsiteX98" fmla="*/ 626649 w 3510153"/>
                  <a:gd name="connsiteY98" fmla="*/ 333566 h 511302"/>
                  <a:gd name="connsiteX99" fmla="*/ 626649 w 3510153"/>
                  <a:gd name="connsiteY99" fmla="*/ 339662 h 511302"/>
                  <a:gd name="connsiteX100" fmla="*/ 639318 w 3510153"/>
                  <a:gd name="connsiteY100" fmla="*/ 339662 h 511302"/>
                  <a:gd name="connsiteX101" fmla="*/ 639318 w 3510153"/>
                  <a:gd name="connsiteY101" fmla="*/ 345758 h 511302"/>
                  <a:gd name="connsiteX102" fmla="*/ 675036 w 3510153"/>
                  <a:gd name="connsiteY102" fmla="*/ 345758 h 511302"/>
                  <a:gd name="connsiteX103" fmla="*/ 675036 w 3510153"/>
                  <a:gd name="connsiteY103" fmla="*/ 351854 h 511302"/>
                  <a:gd name="connsiteX104" fmla="*/ 790765 w 3510153"/>
                  <a:gd name="connsiteY104" fmla="*/ 351854 h 511302"/>
                  <a:gd name="connsiteX105" fmla="*/ 790765 w 3510153"/>
                  <a:gd name="connsiteY105" fmla="*/ 357855 h 511302"/>
                  <a:gd name="connsiteX106" fmla="*/ 828579 w 3510153"/>
                  <a:gd name="connsiteY106" fmla="*/ 357855 h 511302"/>
                  <a:gd name="connsiteX107" fmla="*/ 828579 w 3510153"/>
                  <a:gd name="connsiteY107" fmla="*/ 364046 h 511302"/>
                  <a:gd name="connsiteX108" fmla="*/ 881157 w 3510153"/>
                  <a:gd name="connsiteY108" fmla="*/ 364046 h 511302"/>
                  <a:gd name="connsiteX109" fmla="*/ 881157 w 3510153"/>
                  <a:gd name="connsiteY109" fmla="*/ 370142 h 511302"/>
                  <a:gd name="connsiteX110" fmla="*/ 900112 w 3510153"/>
                  <a:gd name="connsiteY110" fmla="*/ 370142 h 511302"/>
                  <a:gd name="connsiteX111" fmla="*/ 900112 w 3510153"/>
                  <a:gd name="connsiteY111" fmla="*/ 376238 h 511302"/>
                  <a:gd name="connsiteX112" fmla="*/ 910590 w 3510153"/>
                  <a:gd name="connsiteY112" fmla="*/ 376238 h 511302"/>
                  <a:gd name="connsiteX113" fmla="*/ 910590 w 3510153"/>
                  <a:gd name="connsiteY113" fmla="*/ 382429 h 511302"/>
                  <a:gd name="connsiteX114" fmla="*/ 944308 w 3510153"/>
                  <a:gd name="connsiteY114" fmla="*/ 382429 h 511302"/>
                  <a:gd name="connsiteX115" fmla="*/ 944308 w 3510153"/>
                  <a:gd name="connsiteY115" fmla="*/ 388525 h 511302"/>
                  <a:gd name="connsiteX116" fmla="*/ 950595 w 3510153"/>
                  <a:gd name="connsiteY116" fmla="*/ 388525 h 511302"/>
                  <a:gd name="connsiteX117" fmla="*/ 950595 w 3510153"/>
                  <a:gd name="connsiteY117" fmla="*/ 394621 h 511302"/>
                  <a:gd name="connsiteX118" fmla="*/ 965263 w 3510153"/>
                  <a:gd name="connsiteY118" fmla="*/ 394621 h 511302"/>
                  <a:gd name="connsiteX119" fmla="*/ 965263 w 3510153"/>
                  <a:gd name="connsiteY119" fmla="*/ 400717 h 511302"/>
                  <a:gd name="connsiteX120" fmla="*/ 977931 w 3510153"/>
                  <a:gd name="connsiteY120" fmla="*/ 400717 h 511302"/>
                  <a:gd name="connsiteX121" fmla="*/ 977931 w 3510153"/>
                  <a:gd name="connsiteY121" fmla="*/ 406908 h 511302"/>
                  <a:gd name="connsiteX122" fmla="*/ 1003173 w 3510153"/>
                  <a:gd name="connsiteY122" fmla="*/ 406908 h 511302"/>
                  <a:gd name="connsiteX123" fmla="*/ 1003173 w 3510153"/>
                  <a:gd name="connsiteY123" fmla="*/ 413004 h 511302"/>
                  <a:gd name="connsiteX124" fmla="*/ 1232439 w 3510153"/>
                  <a:gd name="connsiteY124" fmla="*/ 413004 h 511302"/>
                  <a:gd name="connsiteX125" fmla="*/ 1232439 w 3510153"/>
                  <a:gd name="connsiteY125" fmla="*/ 419196 h 511302"/>
                  <a:gd name="connsiteX126" fmla="*/ 1345977 w 3510153"/>
                  <a:gd name="connsiteY126" fmla="*/ 419196 h 511302"/>
                  <a:gd name="connsiteX127" fmla="*/ 1345977 w 3510153"/>
                  <a:gd name="connsiteY127" fmla="*/ 425387 h 511302"/>
                  <a:gd name="connsiteX128" fmla="*/ 1615154 w 3510153"/>
                  <a:gd name="connsiteY128" fmla="*/ 425387 h 511302"/>
                  <a:gd name="connsiteX129" fmla="*/ 1615154 w 3510153"/>
                  <a:gd name="connsiteY129" fmla="*/ 431673 h 511302"/>
                  <a:gd name="connsiteX130" fmla="*/ 1688782 w 3510153"/>
                  <a:gd name="connsiteY130" fmla="*/ 431673 h 511302"/>
                  <a:gd name="connsiteX131" fmla="*/ 1688782 w 3510153"/>
                  <a:gd name="connsiteY131" fmla="*/ 437960 h 511302"/>
                  <a:gd name="connsiteX132" fmla="*/ 1768697 w 3510153"/>
                  <a:gd name="connsiteY132" fmla="*/ 437960 h 511302"/>
                  <a:gd name="connsiteX133" fmla="*/ 1768697 w 3510153"/>
                  <a:gd name="connsiteY133" fmla="*/ 444246 h 511302"/>
                  <a:gd name="connsiteX134" fmla="*/ 1930622 w 3510153"/>
                  <a:gd name="connsiteY134" fmla="*/ 444246 h 511302"/>
                  <a:gd name="connsiteX135" fmla="*/ 1930622 w 3510153"/>
                  <a:gd name="connsiteY135" fmla="*/ 450723 h 511302"/>
                  <a:gd name="connsiteX136" fmla="*/ 1947481 w 3510153"/>
                  <a:gd name="connsiteY136" fmla="*/ 450723 h 511302"/>
                  <a:gd name="connsiteX137" fmla="*/ 1947481 w 3510153"/>
                  <a:gd name="connsiteY137" fmla="*/ 457105 h 511302"/>
                  <a:gd name="connsiteX138" fmla="*/ 2065305 w 3510153"/>
                  <a:gd name="connsiteY138" fmla="*/ 457105 h 511302"/>
                  <a:gd name="connsiteX139" fmla="*/ 2065305 w 3510153"/>
                  <a:gd name="connsiteY139" fmla="*/ 463582 h 511302"/>
                  <a:gd name="connsiteX140" fmla="*/ 2157793 w 3510153"/>
                  <a:gd name="connsiteY140" fmla="*/ 463582 h 511302"/>
                  <a:gd name="connsiteX141" fmla="*/ 2157793 w 3510153"/>
                  <a:gd name="connsiteY141" fmla="*/ 469964 h 511302"/>
                  <a:gd name="connsiteX142" fmla="*/ 2176748 w 3510153"/>
                  <a:gd name="connsiteY142" fmla="*/ 469964 h 511302"/>
                  <a:gd name="connsiteX143" fmla="*/ 2176748 w 3510153"/>
                  <a:gd name="connsiteY143" fmla="*/ 476441 h 511302"/>
                  <a:gd name="connsiteX144" fmla="*/ 3030569 w 3510153"/>
                  <a:gd name="connsiteY144" fmla="*/ 476441 h 511302"/>
                  <a:gd name="connsiteX145" fmla="*/ 3030569 w 3510153"/>
                  <a:gd name="connsiteY145" fmla="*/ 511302 h 511302"/>
                  <a:gd name="connsiteX146" fmla="*/ 3510153 w 3510153"/>
                  <a:gd name="connsiteY146" fmla="*/ 511302 h 511302"/>
                  <a:gd name="connsiteX0" fmla="*/ 0 w 3510153"/>
                  <a:gd name="connsiteY0" fmla="*/ 0 h 511302"/>
                  <a:gd name="connsiteX1" fmla="*/ 12573 w 3510153"/>
                  <a:gd name="connsiteY1" fmla="*/ 6001 h 511302"/>
                  <a:gd name="connsiteX2" fmla="*/ 12573 w 3510153"/>
                  <a:gd name="connsiteY2" fmla="*/ 12097 h 511302"/>
                  <a:gd name="connsiteX3" fmla="*/ 18859 w 3510153"/>
                  <a:gd name="connsiteY3" fmla="*/ 12097 h 511302"/>
                  <a:gd name="connsiteX4" fmla="*/ 18859 w 3510153"/>
                  <a:gd name="connsiteY4" fmla="*/ 24194 h 511302"/>
                  <a:gd name="connsiteX5" fmla="*/ 23050 w 3510153"/>
                  <a:gd name="connsiteY5" fmla="*/ 24194 h 511302"/>
                  <a:gd name="connsiteX6" fmla="*/ 23050 w 3510153"/>
                  <a:gd name="connsiteY6" fmla="*/ 30290 h 511302"/>
                  <a:gd name="connsiteX7" fmla="*/ 35718 w 3510153"/>
                  <a:gd name="connsiteY7" fmla="*/ 30290 h 511302"/>
                  <a:gd name="connsiteX8" fmla="*/ 35718 w 3510153"/>
                  <a:gd name="connsiteY8" fmla="*/ 36386 h 511302"/>
                  <a:gd name="connsiteX9" fmla="*/ 50387 w 3510153"/>
                  <a:gd name="connsiteY9" fmla="*/ 36386 h 511302"/>
                  <a:gd name="connsiteX10" fmla="*/ 50387 w 3510153"/>
                  <a:gd name="connsiteY10" fmla="*/ 42387 h 511302"/>
                  <a:gd name="connsiteX11" fmla="*/ 54673 w 3510153"/>
                  <a:gd name="connsiteY11" fmla="*/ 42387 h 511302"/>
                  <a:gd name="connsiteX12" fmla="*/ 54673 w 3510153"/>
                  <a:gd name="connsiteY12" fmla="*/ 48483 h 511302"/>
                  <a:gd name="connsiteX13" fmla="*/ 65150 w 3510153"/>
                  <a:gd name="connsiteY13" fmla="*/ 48483 h 511302"/>
                  <a:gd name="connsiteX14" fmla="*/ 65150 w 3510153"/>
                  <a:gd name="connsiteY14" fmla="*/ 54579 h 511302"/>
                  <a:gd name="connsiteX15" fmla="*/ 73533 w 3510153"/>
                  <a:gd name="connsiteY15" fmla="*/ 54579 h 511302"/>
                  <a:gd name="connsiteX16" fmla="*/ 73533 w 3510153"/>
                  <a:gd name="connsiteY16" fmla="*/ 60675 h 511302"/>
                  <a:gd name="connsiteX17" fmla="*/ 88296 w 3510153"/>
                  <a:gd name="connsiteY17" fmla="*/ 60675 h 511302"/>
                  <a:gd name="connsiteX18" fmla="*/ 88296 w 3510153"/>
                  <a:gd name="connsiteY18" fmla="*/ 66675 h 511302"/>
                  <a:gd name="connsiteX19" fmla="*/ 92487 w 3510153"/>
                  <a:gd name="connsiteY19" fmla="*/ 66675 h 511302"/>
                  <a:gd name="connsiteX20" fmla="*/ 92487 w 3510153"/>
                  <a:gd name="connsiteY20" fmla="*/ 72771 h 511302"/>
                  <a:gd name="connsiteX21" fmla="*/ 96678 w 3510153"/>
                  <a:gd name="connsiteY21" fmla="*/ 72771 h 511302"/>
                  <a:gd name="connsiteX22" fmla="*/ 96678 w 3510153"/>
                  <a:gd name="connsiteY22" fmla="*/ 78867 h 511302"/>
                  <a:gd name="connsiteX23" fmla="*/ 109347 w 3510153"/>
                  <a:gd name="connsiteY23" fmla="*/ 78867 h 511302"/>
                  <a:gd name="connsiteX24" fmla="*/ 109347 w 3510153"/>
                  <a:gd name="connsiteY24" fmla="*/ 84868 h 511302"/>
                  <a:gd name="connsiteX25" fmla="*/ 138779 w 3510153"/>
                  <a:gd name="connsiteY25" fmla="*/ 84868 h 511302"/>
                  <a:gd name="connsiteX26" fmla="*/ 138779 w 3510153"/>
                  <a:gd name="connsiteY26" fmla="*/ 90964 h 511302"/>
                  <a:gd name="connsiteX27" fmla="*/ 147161 w 3510153"/>
                  <a:gd name="connsiteY27" fmla="*/ 90964 h 511302"/>
                  <a:gd name="connsiteX28" fmla="*/ 147161 w 3510153"/>
                  <a:gd name="connsiteY28" fmla="*/ 97060 h 511302"/>
                  <a:gd name="connsiteX29" fmla="*/ 149256 w 3510153"/>
                  <a:gd name="connsiteY29" fmla="*/ 97060 h 511302"/>
                  <a:gd name="connsiteX30" fmla="*/ 149256 w 3510153"/>
                  <a:gd name="connsiteY30" fmla="*/ 103061 h 511302"/>
                  <a:gd name="connsiteX31" fmla="*/ 164020 w 3510153"/>
                  <a:gd name="connsiteY31" fmla="*/ 103061 h 511302"/>
                  <a:gd name="connsiteX32" fmla="*/ 164020 w 3510153"/>
                  <a:gd name="connsiteY32" fmla="*/ 115253 h 511302"/>
                  <a:gd name="connsiteX33" fmla="*/ 166116 w 3510153"/>
                  <a:gd name="connsiteY33" fmla="*/ 115253 h 511302"/>
                  <a:gd name="connsiteX34" fmla="*/ 166116 w 3510153"/>
                  <a:gd name="connsiteY34" fmla="*/ 121254 h 511302"/>
                  <a:gd name="connsiteX35" fmla="*/ 172402 w 3510153"/>
                  <a:gd name="connsiteY35" fmla="*/ 121254 h 511302"/>
                  <a:gd name="connsiteX36" fmla="*/ 172402 w 3510153"/>
                  <a:gd name="connsiteY36" fmla="*/ 127350 h 511302"/>
                  <a:gd name="connsiteX37" fmla="*/ 176593 w 3510153"/>
                  <a:gd name="connsiteY37" fmla="*/ 127350 h 511302"/>
                  <a:gd name="connsiteX38" fmla="*/ 176593 w 3510153"/>
                  <a:gd name="connsiteY38" fmla="*/ 133446 h 511302"/>
                  <a:gd name="connsiteX39" fmla="*/ 193452 w 3510153"/>
                  <a:gd name="connsiteY39" fmla="*/ 133446 h 511302"/>
                  <a:gd name="connsiteX40" fmla="*/ 193452 w 3510153"/>
                  <a:gd name="connsiteY40" fmla="*/ 145542 h 511302"/>
                  <a:gd name="connsiteX41" fmla="*/ 197643 w 3510153"/>
                  <a:gd name="connsiteY41" fmla="*/ 145542 h 511302"/>
                  <a:gd name="connsiteX42" fmla="*/ 197643 w 3510153"/>
                  <a:gd name="connsiteY42" fmla="*/ 151638 h 511302"/>
                  <a:gd name="connsiteX43" fmla="*/ 220789 w 3510153"/>
                  <a:gd name="connsiteY43" fmla="*/ 151638 h 511302"/>
                  <a:gd name="connsiteX44" fmla="*/ 220789 w 3510153"/>
                  <a:gd name="connsiteY44" fmla="*/ 157734 h 511302"/>
                  <a:gd name="connsiteX45" fmla="*/ 224980 w 3510153"/>
                  <a:gd name="connsiteY45" fmla="*/ 157734 h 511302"/>
                  <a:gd name="connsiteX46" fmla="*/ 224980 w 3510153"/>
                  <a:gd name="connsiteY46" fmla="*/ 163735 h 511302"/>
                  <a:gd name="connsiteX47" fmla="*/ 231267 w 3510153"/>
                  <a:gd name="connsiteY47" fmla="*/ 163735 h 511302"/>
                  <a:gd name="connsiteX48" fmla="*/ 231267 w 3510153"/>
                  <a:gd name="connsiteY48" fmla="*/ 175927 h 511302"/>
                  <a:gd name="connsiteX49" fmla="*/ 250221 w 3510153"/>
                  <a:gd name="connsiteY49" fmla="*/ 175927 h 511302"/>
                  <a:gd name="connsiteX50" fmla="*/ 250221 w 3510153"/>
                  <a:gd name="connsiteY50" fmla="*/ 181928 h 511302"/>
                  <a:gd name="connsiteX51" fmla="*/ 258603 w 3510153"/>
                  <a:gd name="connsiteY51" fmla="*/ 181928 h 511302"/>
                  <a:gd name="connsiteX52" fmla="*/ 258603 w 3510153"/>
                  <a:gd name="connsiteY52" fmla="*/ 188024 h 511302"/>
                  <a:gd name="connsiteX53" fmla="*/ 271272 w 3510153"/>
                  <a:gd name="connsiteY53" fmla="*/ 188024 h 511302"/>
                  <a:gd name="connsiteX54" fmla="*/ 271272 w 3510153"/>
                  <a:gd name="connsiteY54" fmla="*/ 194120 h 511302"/>
                  <a:gd name="connsiteX55" fmla="*/ 288131 w 3510153"/>
                  <a:gd name="connsiteY55" fmla="*/ 194120 h 511302"/>
                  <a:gd name="connsiteX56" fmla="*/ 288131 w 3510153"/>
                  <a:gd name="connsiteY56" fmla="*/ 200121 h 511302"/>
                  <a:gd name="connsiteX57" fmla="*/ 315468 w 3510153"/>
                  <a:gd name="connsiteY57" fmla="*/ 200121 h 511302"/>
                  <a:gd name="connsiteX58" fmla="*/ 315468 w 3510153"/>
                  <a:gd name="connsiteY58" fmla="*/ 206217 h 511302"/>
                  <a:gd name="connsiteX59" fmla="*/ 317563 w 3510153"/>
                  <a:gd name="connsiteY59" fmla="*/ 206217 h 511302"/>
                  <a:gd name="connsiteX60" fmla="*/ 317563 w 3510153"/>
                  <a:gd name="connsiteY60" fmla="*/ 212313 h 511302"/>
                  <a:gd name="connsiteX61" fmla="*/ 328040 w 3510153"/>
                  <a:gd name="connsiteY61" fmla="*/ 212313 h 511302"/>
                  <a:gd name="connsiteX62" fmla="*/ 328040 w 3510153"/>
                  <a:gd name="connsiteY62" fmla="*/ 218313 h 511302"/>
                  <a:gd name="connsiteX63" fmla="*/ 334327 w 3510153"/>
                  <a:gd name="connsiteY63" fmla="*/ 218313 h 511302"/>
                  <a:gd name="connsiteX64" fmla="*/ 334327 w 3510153"/>
                  <a:gd name="connsiteY64" fmla="*/ 230505 h 511302"/>
                  <a:gd name="connsiteX65" fmla="*/ 342804 w 3510153"/>
                  <a:gd name="connsiteY65" fmla="*/ 230505 h 511302"/>
                  <a:gd name="connsiteX66" fmla="*/ 342804 w 3510153"/>
                  <a:gd name="connsiteY66" fmla="*/ 236506 h 511302"/>
                  <a:gd name="connsiteX67" fmla="*/ 349091 w 3510153"/>
                  <a:gd name="connsiteY67" fmla="*/ 236506 h 511302"/>
                  <a:gd name="connsiteX68" fmla="*/ 349091 w 3510153"/>
                  <a:gd name="connsiteY68" fmla="*/ 248698 h 511302"/>
                  <a:gd name="connsiteX69" fmla="*/ 351186 w 3510153"/>
                  <a:gd name="connsiteY69" fmla="*/ 248698 h 511302"/>
                  <a:gd name="connsiteX70" fmla="*/ 351186 w 3510153"/>
                  <a:gd name="connsiteY70" fmla="*/ 254794 h 511302"/>
                  <a:gd name="connsiteX71" fmla="*/ 363759 w 3510153"/>
                  <a:gd name="connsiteY71" fmla="*/ 254794 h 511302"/>
                  <a:gd name="connsiteX72" fmla="*/ 363759 w 3510153"/>
                  <a:gd name="connsiteY72" fmla="*/ 260795 h 511302"/>
                  <a:gd name="connsiteX73" fmla="*/ 386905 w 3510153"/>
                  <a:gd name="connsiteY73" fmla="*/ 260795 h 511302"/>
                  <a:gd name="connsiteX74" fmla="*/ 386905 w 3510153"/>
                  <a:gd name="connsiteY74" fmla="*/ 266891 h 511302"/>
                  <a:gd name="connsiteX75" fmla="*/ 393287 w 3510153"/>
                  <a:gd name="connsiteY75" fmla="*/ 266891 h 511302"/>
                  <a:gd name="connsiteX76" fmla="*/ 393287 w 3510153"/>
                  <a:gd name="connsiteY76" fmla="*/ 272987 h 511302"/>
                  <a:gd name="connsiteX77" fmla="*/ 401669 w 3510153"/>
                  <a:gd name="connsiteY77" fmla="*/ 272987 h 511302"/>
                  <a:gd name="connsiteX78" fmla="*/ 401669 w 3510153"/>
                  <a:gd name="connsiteY78" fmla="*/ 278988 h 511302"/>
                  <a:gd name="connsiteX79" fmla="*/ 410051 w 3510153"/>
                  <a:gd name="connsiteY79" fmla="*/ 278988 h 511302"/>
                  <a:gd name="connsiteX80" fmla="*/ 410051 w 3510153"/>
                  <a:gd name="connsiteY80" fmla="*/ 285084 h 511302"/>
                  <a:gd name="connsiteX81" fmla="*/ 414242 w 3510153"/>
                  <a:gd name="connsiteY81" fmla="*/ 285084 h 511302"/>
                  <a:gd name="connsiteX82" fmla="*/ 414242 w 3510153"/>
                  <a:gd name="connsiteY82" fmla="*/ 291180 h 511302"/>
                  <a:gd name="connsiteX83" fmla="*/ 487870 w 3510153"/>
                  <a:gd name="connsiteY83" fmla="*/ 291180 h 511302"/>
                  <a:gd name="connsiteX84" fmla="*/ 487870 w 3510153"/>
                  <a:gd name="connsiteY84" fmla="*/ 297180 h 511302"/>
                  <a:gd name="connsiteX85" fmla="*/ 508920 w 3510153"/>
                  <a:gd name="connsiteY85" fmla="*/ 297180 h 511302"/>
                  <a:gd name="connsiteX86" fmla="*/ 508920 w 3510153"/>
                  <a:gd name="connsiteY86" fmla="*/ 303276 h 511302"/>
                  <a:gd name="connsiteX87" fmla="*/ 515207 w 3510153"/>
                  <a:gd name="connsiteY87" fmla="*/ 303276 h 511302"/>
                  <a:gd name="connsiteX88" fmla="*/ 515207 w 3510153"/>
                  <a:gd name="connsiteY88" fmla="*/ 309372 h 511302"/>
                  <a:gd name="connsiteX89" fmla="*/ 557307 w 3510153"/>
                  <a:gd name="connsiteY89" fmla="*/ 309372 h 511302"/>
                  <a:gd name="connsiteX90" fmla="*/ 557307 w 3510153"/>
                  <a:gd name="connsiteY90" fmla="*/ 315373 h 511302"/>
                  <a:gd name="connsiteX91" fmla="*/ 571976 w 3510153"/>
                  <a:gd name="connsiteY91" fmla="*/ 315373 h 511302"/>
                  <a:gd name="connsiteX92" fmla="*/ 571976 w 3510153"/>
                  <a:gd name="connsiteY92" fmla="*/ 321469 h 511302"/>
                  <a:gd name="connsiteX93" fmla="*/ 601503 w 3510153"/>
                  <a:gd name="connsiteY93" fmla="*/ 321469 h 511302"/>
                  <a:gd name="connsiteX94" fmla="*/ 601503 w 3510153"/>
                  <a:gd name="connsiteY94" fmla="*/ 327565 h 511302"/>
                  <a:gd name="connsiteX95" fmla="*/ 603599 w 3510153"/>
                  <a:gd name="connsiteY95" fmla="*/ 327565 h 511302"/>
                  <a:gd name="connsiteX96" fmla="*/ 603599 w 3510153"/>
                  <a:gd name="connsiteY96" fmla="*/ 333566 h 511302"/>
                  <a:gd name="connsiteX97" fmla="*/ 626649 w 3510153"/>
                  <a:gd name="connsiteY97" fmla="*/ 333566 h 511302"/>
                  <a:gd name="connsiteX98" fmla="*/ 626649 w 3510153"/>
                  <a:gd name="connsiteY98" fmla="*/ 339662 h 511302"/>
                  <a:gd name="connsiteX99" fmla="*/ 639318 w 3510153"/>
                  <a:gd name="connsiteY99" fmla="*/ 339662 h 511302"/>
                  <a:gd name="connsiteX100" fmla="*/ 639318 w 3510153"/>
                  <a:gd name="connsiteY100" fmla="*/ 345758 h 511302"/>
                  <a:gd name="connsiteX101" fmla="*/ 675036 w 3510153"/>
                  <a:gd name="connsiteY101" fmla="*/ 345758 h 511302"/>
                  <a:gd name="connsiteX102" fmla="*/ 675036 w 3510153"/>
                  <a:gd name="connsiteY102" fmla="*/ 351854 h 511302"/>
                  <a:gd name="connsiteX103" fmla="*/ 790765 w 3510153"/>
                  <a:gd name="connsiteY103" fmla="*/ 351854 h 511302"/>
                  <a:gd name="connsiteX104" fmla="*/ 790765 w 3510153"/>
                  <a:gd name="connsiteY104" fmla="*/ 357855 h 511302"/>
                  <a:gd name="connsiteX105" fmla="*/ 828579 w 3510153"/>
                  <a:gd name="connsiteY105" fmla="*/ 357855 h 511302"/>
                  <a:gd name="connsiteX106" fmla="*/ 828579 w 3510153"/>
                  <a:gd name="connsiteY106" fmla="*/ 364046 h 511302"/>
                  <a:gd name="connsiteX107" fmla="*/ 881157 w 3510153"/>
                  <a:gd name="connsiteY107" fmla="*/ 364046 h 511302"/>
                  <a:gd name="connsiteX108" fmla="*/ 881157 w 3510153"/>
                  <a:gd name="connsiteY108" fmla="*/ 370142 h 511302"/>
                  <a:gd name="connsiteX109" fmla="*/ 900112 w 3510153"/>
                  <a:gd name="connsiteY109" fmla="*/ 370142 h 511302"/>
                  <a:gd name="connsiteX110" fmla="*/ 900112 w 3510153"/>
                  <a:gd name="connsiteY110" fmla="*/ 376238 h 511302"/>
                  <a:gd name="connsiteX111" fmla="*/ 910590 w 3510153"/>
                  <a:gd name="connsiteY111" fmla="*/ 376238 h 511302"/>
                  <a:gd name="connsiteX112" fmla="*/ 910590 w 3510153"/>
                  <a:gd name="connsiteY112" fmla="*/ 382429 h 511302"/>
                  <a:gd name="connsiteX113" fmla="*/ 944308 w 3510153"/>
                  <a:gd name="connsiteY113" fmla="*/ 382429 h 511302"/>
                  <a:gd name="connsiteX114" fmla="*/ 944308 w 3510153"/>
                  <a:gd name="connsiteY114" fmla="*/ 388525 h 511302"/>
                  <a:gd name="connsiteX115" fmla="*/ 950595 w 3510153"/>
                  <a:gd name="connsiteY115" fmla="*/ 388525 h 511302"/>
                  <a:gd name="connsiteX116" fmla="*/ 950595 w 3510153"/>
                  <a:gd name="connsiteY116" fmla="*/ 394621 h 511302"/>
                  <a:gd name="connsiteX117" fmla="*/ 965263 w 3510153"/>
                  <a:gd name="connsiteY117" fmla="*/ 394621 h 511302"/>
                  <a:gd name="connsiteX118" fmla="*/ 965263 w 3510153"/>
                  <a:gd name="connsiteY118" fmla="*/ 400717 h 511302"/>
                  <a:gd name="connsiteX119" fmla="*/ 977931 w 3510153"/>
                  <a:gd name="connsiteY119" fmla="*/ 400717 h 511302"/>
                  <a:gd name="connsiteX120" fmla="*/ 977931 w 3510153"/>
                  <a:gd name="connsiteY120" fmla="*/ 406908 h 511302"/>
                  <a:gd name="connsiteX121" fmla="*/ 1003173 w 3510153"/>
                  <a:gd name="connsiteY121" fmla="*/ 406908 h 511302"/>
                  <a:gd name="connsiteX122" fmla="*/ 1003173 w 3510153"/>
                  <a:gd name="connsiteY122" fmla="*/ 413004 h 511302"/>
                  <a:gd name="connsiteX123" fmla="*/ 1232439 w 3510153"/>
                  <a:gd name="connsiteY123" fmla="*/ 413004 h 511302"/>
                  <a:gd name="connsiteX124" fmla="*/ 1232439 w 3510153"/>
                  <a:gd name="connsiteY124" fmla="*/ 419196 h 511302"/>
                  <a:gd name="connsiteX125" fmla="*/ 1345977 w 3510153"/>
                  <a:gd name="connsiteY125" fmla="*/ 419196 h 511302"/>
                  <a:gd name="connsiteX126" fmla="*/ 1345977 w 3510153"/>
                  <a:gd name="connsiteY126" fmla="*/ 425387 h 511302"/>
                  <a:gd name="connsiteX127" fmla="*/ 1615154 w 3510153"/>
                  <a:gd name="connsiteY127" fmla="*/ 425387 h 511302"/>
                  <a:gd name="connsiteX128" fmla="*/ 1615154 w 3510153"/>
                  <a:gd name="connsiteY128" fmla="*/ 431673 h 511302"/>
                  <a:gd name="connsiteX129" fmla="*/ 1688782 w 3510153"/>
                  <a:gd name="connsiteY129" fmla="*/ 431673 h 511302"/>
                  <a:gd name="connsiteX130" fmla="*/ 1688782 w 3510153"/>
                  <a:gd name="connsiteY130" fmla="*/ 437960 h 511302"/>
                  <a:gd name="connsiteX131" fmla="*/ 1768697 w 3510153"/>
                  <a:gd name="connsiteY131" fmla="*/ 437960 h 511302"/>
                  <a:gd name="connsiteX132" fmla="*/ 1768697 w 3510153"/>
                  <a:gd name="connsiteY132" fmla="*/ 444246 h 511302"/>
                  <a:gd name="connsiteX133" fmla="*/ 1930622 w 3510153"/>
                  <a:gd name="connsiteY133" fmla="*/ 444246 h 511302"/>
                  <a:gd name="connsiteX134" fmla="*/ 1930622 w 3510153"/>
                  <a:gd name="connsiteY134" fmla="*/ 450723 h 511302"/>
                  <a:gd name="connsiteX135" fmla="*/ 1947481 w 3510153"/>
                  <a:gd name="connsiteY135" fmla="*/ 450723 h 511302"/>
                  <a:gd name="connsiteX136" fmla="*/ 1947481 w 3510153"/>
                  <a:gd name="connsiteY136" fmla="*/ 457105 h 511302"/>
                  <a:gd name="connsiteX137" fmla="*/ 2065305 w 3510153"/>
                  <a:gd name="connsiteY137" fmla="*/ 457105 h 511302"/>
                  <a:gd name="connsiteX138" fmla="*/ 2065305 w 3510153"/>
                  <a:gd name="connsiteY138" fmla="*/ 463582 h 511302"/>
                  <a:gd name="connsiteX139" fmla="*/ 2157793 w 3510153"/>
                  <a:gd name="connsiteY139" fmla="*/ 463582 h 511302"/>
                  <a:gd name="connsiteX140" fmla="*/ 2157793 w 3510153"/>
                  <a:gd name="connsiteY140" fmla="*/ 469964 h 511302"/>
                  <a:gd name="connsiteX141" fmla="*/ 2176748 w 3510153"/>
                  <a:gd name="connsiteY141" fmla="*/ 469964 h 511302"/>
                  <a:gd name="connsiteX142" fmla="*/ 2176748 w 3510153"/>
                  <a:gd name="connsiteY142" fmla="*/ 476441 h 511302"/>
                  <a:gd name="connsiteX143" fmla="*/ 3030569 w 3510153"/>
                  <a:gd name="connsiteY143" fmla="*/ 476441 h 511302"/>
                  <a:gd name="connsiteX144" fmla="*/ 3030569 w 3510153"/>
                  <a:gd name="connsiteY144" fmla="*/ 511302 h 511302"/>
                  <a:gd name="connsiteX145" fmla="*/ 3510153 w 3510153"/>
                  <a:gd name="connsiteY145" fmla="*/ 511302 h 511302"/>
                  <a:gd name="connsiteX0" fmla="*/ 0 w 3497580"/>
                  <a:gd name="connsiteY0" fmla="*/ 0 h 505301"/>
                  <a:gd name="connsiteX1" fmla="*/ 0 w 3497580"/>
                  <a:gd name="connsiteY1" fmla="*/ 6096 h 505301"/>
                  <a:gd name="connsiteX2" fmla="*/ 6286 w 3497580"/>
                  <a:gd name="connsiteY2" fmla="*/ 6096 h 505301"/>
                  <a:gd name="connsiteX3" fmla="*/ 6286 w 3497580"/>
                  <a:gd name="connsiteY3" fmla="*/ 18193 h 505301"/>
                  <a:gd name="connsiteX4" fmla="*/ 10477 w 3497580"/>
                  <a:gd name="connsiteY4" fmla="*/ 18193 h 505301"/>
                  <a:gd name="connsiteX5" fmla="*/ 10477 w 3497580"/>
                  <a:gd name="connsiteY5" fmla="*/ 24289 h 505301"/>
                  <a:gd name="connsiteX6" fmla="*/ 23145 w 3497580"/>
                  <a:gd name="connsiteY6" fmla="*/ 24289 h 505301"/>
                  <a:gd name="connsiteX7" fmla="*/ 23145 w 3497580"/>
                  <a:gd name="connsiteY7" fmla="*/ 30385 h 505301"/>
                  <a:gd name="connsiteX8" fmla="*/ 37814 w 3497580"/>
                  <a:gd name="connsiteY8" fmla="*/ 30385 h 505301"/>
                  <a:gd name="connsiteX9" fmla="*/ 37814 w 3497580"/>
                  <a:gd name="connsiteY9" fmla="*/ 36386 h 505301"/>
                  <a:gd name="connsiteX10" fmla="*/ 42100 w 3497580"/>
                  <a:gd name="connsiteY10" fmla="*/ 36386 h 505301"/>
                  <a:gd name="connsiteX11" fmla="*/ 42100 w 3497580"/>
                  <a:gd name="connsiteY11" fmla="*/ 42482 h 505301"/>
                  <a:gd name="connsiteX12" fmla="*/ 52577 w 3497580"/>
                  <a:gd name="connsiteY12" fmla="*/ 42482 h 505301"/>
                  <a:gd name="connsiteX13" fmla="*/ 52577 w 3497580"/>
                  <a:gd name="connsiteY13" fmla="*/ 48578 h 505301"/>
                  <a:gd name="connsiteX14" fmla="*/ 60960 w 3497580"/>
                  <a:gd name="connsiteY14" fmla="*/ 48578 h 505301"/>
                  <a:gd name="connsiteX15" fmla="*/ 60960 w 3497580"/>
                  <a:gd name="connsiteY15" fmla="*/ 54674 h 505301"/>
                  <a:gd name="connsiteX16" fmla="*/ 75723 w 3497580"/>
                  <a:gd name="connsiteY16" fmla="*/ 54674 h 505301"/>
                  <a:gd name="connsiteX17" fmla="*/ 75723 w 3497580"/>
                  <a:gd name="connsiteY17" fmla="*/ 60674 h 505301"/>
                  <a:gd name="connsiteX18" fmla="*/ 79914 w 3497580"/>
                  <a:gd name="connsiteY18" fmla="*/ 60674 h 505301"/>
                  <a:gd name="connsiteX19" fmla="*/ 79914 w 3497580"/>
                  <a:gd name="connsiteY19" fmla="*/ 66770 h 505301"/>
                  <a:gd name="connsiteX20" fmla="*/ 84105 w 3497580"/>
                  <a:gd name="connsiteY20" fmla="*/ 66770 h 505301"/>
                  <a:gd name="connsiteX21" fmla="*/ 84105 w 3497580"/>
                  <a:gd name="connsiteY21" fmla="*/ 72866 h 505301"/>
                  <a:gd name="connsiteX22" fmla="*/ 96774 w 3497580"/>
                  <a:gd name="connsiteY22" fmla="*/ 72866 h 505301"/>
                  <a:gd name="connsiteX23" fmla="*/ 96774 w 3497580"/>
                  <a:gd name="connsiteY23" fmla="*/ 78867 h 505301"/>
                  <a:gd name="connsiteX24" fmla="*/ 126206 w 3497580"/>
                  <a:gd name="connsiteY24" fmla="*/ 78867 h 505301"/>
                  <a:gd name="connsiteX25" fmla="*/ 126206 w 3497580"/>
                  <a:gd name="connsiteY25" fmla="*/ 84963 h 505301"/>
                  <a:gd name="connsiteX26" fmla="*/ 134588 w 3497580"/>
                  <a:gd name="connsiteY26" fmla="*/ 84963 h 505301"/>
                  <a:gd name="connsiteX27" fmla="*/ 134588 w 3497580"/>
                  <a:gd name="connsiteY27" fmla="*/ 91059 h 505301"/>
                  <a:gd name="connsiteX28" fmla="*/ 136683 w 3497580"/>
                  <a:gd name="connsiteY28" fmla="*/ 91059 h 505301"/>
                  <a:gd name="connsiteX29" fmla="*/ 136683 w 3497580"/>
                  <a:gd name="connsiteY29" fmla="*/ 97060 h 505301"/>
                  <a:gd name="connsiteX30" fmla="*/ 151447 w 3497580"/>
                  <a:gd name="connsiteY30" fmla="*/ 97060 h 505301"/>
                  <a:gd name="connsiteX31" fmla="*/ 151447 w 3497580"/>
                  <a:gd name="connsiteY31" fmla="*/ 109252 h 505301"/>
                  <a:gd name="connsiteX32" fmla="*/ 153543 w 3497580"/>
                  <a:gd name="connsiteY32" fmla="*/ 109252 h 505301"/>
                  <a:gd name="connsiteX33" fmla="*/ 153543 w 3497580"/>
                  <a:gd name="connsiteY33" fmla="*/ 115253 h 505301"/>
                  <a:gd name="connsiteX34" fmla="*/ 159829 w 3497580"/>
                  <a:gd name="connsiteY34" fmla="*/ 115253 h 505301"/>
                  <a:gd name="connsiteX35" fmla="*/ 159829 w 3497580"/>
                  <a:gd name="connsiteY35" fmla="*/ 121349 h 505301"/>
                  <a:gd name="connsiteX36" fmla="*/ 164020 w 3497580"/>
                  <a:gd name="connsiteY36" fmla="*/ 121349 h 505301"/>
                  <a:gd name="connsiteX37" fmla="*/ 164020 w 3497580"/>
                  <a:gd name="connsiteY37" fmla="*/ 127445 h 505301"/>
                  <a:gd name="connsiteX38" fmla="*/ 180879 w 3497580"/>
                  <a:gd name="connsiteY38" fmla="*/ 127445 h 505301"/>
                  <a:gd name="connsiteX39" fmla="*/ 180879 w 3497580"/>
                  <a:gd name="connsiteY39" fmla="*/ 139541 h 505301"/>
                  <a:gd name="connsiteX40" fmla="*/ 185070 w 3497580"/>
                  <a:gd name="connsiteY40" fmla="*/ 139541 h 505301"/>
                  <a:gd name="connsiteX41" fmla="*/ 185070 w 3497580"/>
                  <a:gd name="connsiteY41" fmla="*/ 145637 h 505301"/>
                  <a:gd name="connsiteX42" fmla="*/ 208216 w 3497580"/>
                  <a:gd name="connsiteY42" fmla="*/ 145637 h 505301"/>
                  <a:gd name="connsiteX43" fmla="*/ 208216 w 3497580"/>
                  <a:gd name="connsiteY43" fmla="*/ 151733 h 505301"/>
                  <a:gd name="connsiteX44" fmla="*/ 212407 w 3497580"/>
                  <a:gd name="connsiteY44" fmla="*/ 151733 h 505301"/>
                  <a:gd name="connsiteX45" fmla="*/ 212407 w 3497580"/>
                  <a:gd name="connsiteY45" fmla="*/ 157734 h 505301"/>
                  <a:gd name="connsiteX46" fmla="*/ 218694 w 3497580"/>
                  <a:gd name="connsiteY46" fmla="*/ 157734 h 505301"/>
                  <a:gd name="connsiteX47" fmla="*/ 218694 w 3497580"/>
                  <a:gd name="connsiteY47" fmla="*/ 169926 h 505301"/>
                  <a:gd name="connsiteX48" fmla="*/ 237648 w 3497580"/>
                  <a:gd name="connsiteY48" fmla="*/ 169926 h 505301"/>
                  <a:gd name="connsiteX49" fmla="*/ 237648 w 3497580"/>
                  <a:gd name="connsiteY49" fmla="*/ 175927 h 505301"/>
                  <a:gd name="connsiteX50" fmla="*/ 246030 w 3497580"/>
                  <a:gd name="connsiteY50" fmla="*/ 175927 h 505301"/>
                  <a:gd name="connsiteX51" fmla="*/ 246030 w 3497580"/>
                  <a:gd name="connsiteY51" fmla="*/ 182023 h 505301"/>
                  <a:gd name="connsiteX52" fmla="*/ 258699 w 3497580"/>
                  <a:gd name="connsiteY52" fmla="*/ 182023 h 505301"/>
                  <a:gd name="connsiteX53" fmla="*/ 258699 w 3497580"/>
                  <a:gd name="connsiteY53" fmla="*/ 188119 h 505301"/>
                  <a:gd name="connsiteX54" fmla="*/ 275558 w 3497580"/>
                  <a:gd name="connsiteY54" fmla="*/ 188119 h 505301"/>
                  <a:gd name="connsiteX55" fmla="*/ 275558 w 3497580"/>
                  <a:gd name="connsiteY55" fmla="*/ 194120 h 505301"/>
                  <a:gd name="connsiteX56" fmla="*/ 302895 w 3497580"/>
                  <a:gd name="connsiteY56" fmla="*/ 194120 h 505301"/>
                  <a:gd name="connsiteX57" fmla="*/ 302895 w 3497580"/>
                  <a:gd name="connsiteY57" fmla="*/ 200216 h 505301"/>
                  <a:gd name="connsiteX58" fmla="*/ 304990 w 3497580"/>
                  <a:gd name="connsiteY58" fmla="*/ 200216 h 505301"/>
                  <a:gd name="connsiteX59" fmla="*/ 304990 w 3497580"/>
                  <a:gd name="connsiteY59" fmla="*/ 206312 h 505301"/>
                  <a:gd name="connsiteX60" fmla="*/ 315467 w 3497580"/>
                  <a:gd name="connsiteY60" fmla="*/ 206312 h 505301"/>
                  <a:gd name="connsiteX61" fmla="*/ 315467 w 3497580"/>
                  <a:gd name="connsiteY61" fmla="*/ 212312 h 505301"/>
                  <a:gd name="connsiteX62" fmla="*/ 321754 w 3497580"/>
                  <a:gd name="connsiteY62" fmla="*/ 212312 h 505301"/>
                  <a:gd name="connsiteX63" fmla="*/ 321754 w 3497580"/>
                  <a:gd name="connsiteY63" fmla="*/ 224504 h 505301"/>
                  <a:gd name="connsiteX64" fmla="*/ 330231 w 3497580"/>
                  <a:gd name="connsiteY64" fmla="*/ 224504 h 505301"/>
                  <a:gd name="connsiteX65" fmla="*/ 330231 w 3497580"/>
                  <a:gd name="connsiteY65" fmla="*/ 230505 h 505301"/>
                  <a:gd name="connsiteX66" fmla="*/ 336518 w 3497580"/>
                  <a:gd name="connsiteY66" fmla="*/ 230505 h 505301"/>
                  <a:gd name="connsiteX67" fmla="*/ 336518 w 3497580"/>
                  <a:gd name="connsiteY67" fmla="*/ 242697 h 505301"/>
                  <a:gd name="connsiteX68" fmla="*/ 338613 w 3497580"/>
                  <a:gd name="connsiteY68" fmla="*/ 242697 h 505301"/>
                  <a:gd name="connsiteX69" fmla="*/ 338613 w 3497580"/>
                  <a:gd name="connsiteY69" fmla="*/ 248793 h 505301"/>
                  <a:gd name="connsiteX70" fmla="*/ 351186 w 3497580"/>
                  <a:gd name="connsiteY70" fmla="*/ 248793 h 505301"/>
                  <a:gd name="connsiteX71" fmla="*/ 351186 w 3497580"/>
                  <a:gd name="connsiteY71" fmla="*/ 254794 h 505301"/>
                  <a:gd name="connsiteX72" fmla="*/ 374332 w 3497580"/>
                  <a:gd name="connsiteY72" fmla="*/ 254794 h 505301"/>
                  <a:gd name="connsiteX73" fmla="*/ 374332 w 3497580"/>
                  <a:gd name="connsiteY73" fmla="*/ 260890 h 505301"/>
                  <a:gd name="connsiteX74" fmla="*/ 380714 w 3497580"/>
                  <a:gd name="connsiteY74" fmla="*/ 260890 h 505301"/>
                  <a:gd name="connsiteX75" fmla="*/ 380714 w 3497580"/>
                  <a:gd name="connsiteY75" fmla="*/ 266986 h 505301"/>
                  <a:gd name="connsiteX76" fmla="*/ 389096 w 3497580"/>
                  <a:gd name="connsiteY76" fmla="*/ 266986 h 505301"/>
                  <a:gd name="connsiteX77" fmla="*/ 389096 w 3497580"/>
                  <a:gd name="connsiteY77" fmla="*/ 272987 h 505301"/>
                  <a:gd name="connsiteX78" fmla="*/ 397478 w 3497580"/>
                  <a:gd name="connsiteY78" fmla="*/ 272987 h 505301"/>
                  <a:gd name="connsiteX79" fmla="*/ 397478 w 3497580"/>
                  <a:gd name="connsiteY79" fmla="*/ 279083 h 505301"/>
                  <a:gd name="connsiteX80" fmla="*/ 401669 w 3497580"/>
                  <a:gd name="connsiteY80" fmla="*/ 279083 h 505301"/>
                  <a:gd name="connsiteX81" fmla="*/ 401669 w 3497580"/>
                  <a:gd name="connsiteY81" fmla="*/ 285179 h 505301"/>
                  <a:gd name="connsiteX82" fmla="*/ 475297 w 3497580"/>
                  <a:gd name="connsiteY82" fmla="*/ 285179 h 505301"/>
                  <a:gd name="connsiteX83" fmla="*/ 475297 w 3497580"/>
                  <a:gd name="connsiteY83" fmla="*/ 291179 h 505301"/>
                  <a:gd name="connsiteX84" fmla="*/ 496347 w 3497580"/>
                  <a:gd name="connsiteY84" fmla="*/ 291179 h 505301"/>
                  <a:gd name="connsiteX85" fmla="*/ 496347 w 3497580"/>
                  <a:gd name="connsiteY85" fmla="*/ 297275 h 505301"/>
                  <a:gd name="connsiteX86" fmla="*/ 502634 w 3497580"/>
                  <a:gd name="connsiteY86" fmla="*/ 297275 h 505301"/>
                  <a:gd name="connsiteX87" fmla="*/ 502634 w 3497580"/>
                  <a:gd name="connsiteY87" fmla="*/ 303371 h 505301"/>
                  <a:gd name="connsiteX88" fmla="*/ 544734 w 3497580"/>
                  <a:gd name="connsiteY88" fmla="*/ 303371 h 505301"/>
                  <a:gd name="connsiteX89" fmla="*/ 544734 w 3497580"/>
                  <a:gd name="connsiteY89" fmla="*/ 309372 h 505301"/>
                  <a:gd name="connsiteX90" fmla="*/ 559403 w 3497580"/>
                  <a:gd name="connsiteY90" fmla="*/ 309372 h 505301"/>
                  <a:gd name="connsiteX91" fmla="*/ 559403 w 3497580"/>
                  <a:gd name="connsiteY91" fmla="*/ 315468 h 505301"/>
                  <a:gd name="connsiteX92" fmla="*/ 588930 w 3497580"/>
                  <a:gd name="connsiteY92" fmla="*/ 315468 h 505301"/>
                  <a:gd name="connsiteX93" fmla="*/ 588930 w 3497580"/>
                  <a:gd name="connsiteY93" fmla="*/ 321564 h 505301"/>
                  <a:gd name="connsiteX94" fmla="*/ 591026 w 3497580"/>
                  <a:gd name="connsiteY94" fmla="*/ 321564 h 505301"/>
                  <a:gd name="connsiteX95" fmla="*/ 591026 w 3497580"/>
                  <a:gd name="connsiteY95" fmla="*/ 327565 h 505301"/>
                  <a:gd name="connsiteX96" fmla="*/ 614076 w 3497580"/>
                  <a:gd name="connsiteY96" fmla="*/ 327565 h 505301"/>
                  <a:gd name="connsiteX97" fmla="*/ 614076 w 3497580"/>
                  <a:gd name="connsiteY97" fmla="*/ 333661 h 505301"/>
                  <a:gd name="connsiteX98" fmla="*/ 626745 w 3497580"/>
                  <a:gd name="connsiteY98" fmla="*/ 333661 h 505301"/>
                  <a:gd name="connsiteX99" fmla="*/ 626745 w 3497580"/>
                  <a:gd name="connsiteY99" fmla="*/ 339757 h 505301"/>
                  <a:gd name="connsiteX100" fmla="*/ 662463 w 3497580"/>
                  <a:gd name="connsiteY100" fmla="*/ 339757 h 505301"/>
                  <a:gd name="connsiteX101" fmla="*/ 662463 w 3497580"/>
                  <a:gd name="connsiteY101" fmla="*/ 345853 h 505301"/>
                  <a:gd name="connsiteX102" fmla="*/ 778192 w 3497580"/>
                  <a:gd name="connsiteY102" fmla="*/ 345853 h 505301"/>
                  <a:gd name="connsiteX103" fmla="*/ 778192 w 3497580"/>
                  <a:gd name="connsiteY103" fmla="*/ 351854 h 505301"/>
                  <a:gd name="connsiteX104" fmla="*/ 816006 w 3497580"/>
                  <a:gd name="connsiteY104" fmla="*/ 351854 h 505301"/>
                  <a:gd name="connsiteX105" fmla="*/ 816006 w 3497580"/>
                  <a:gd name="connsiteY105" fmla="*/ 358045 h 505301"/>
                  <a:gd name="connsiteX106" fmla="*/ 868584 w 3497580"/>
                  <a:gd name="connsiteY106" fmla="*/ 358045 h 505301"/>
                  <a:gd name="connsiteX107" fmla="*/ 868584 w 3497580"/>
                  <a:gd name="connsiteY107" fmla="*/ 364141 h 505301"/>
                  <a:gd name="connsiteX108" fmla="*/ 887539 w 3497580"/>
                  <a:gd name="connsiteY108" fmla="*/ 364141 h 505301"/>
                  <a:gd name="connsiteX109" fmla="*/ 887539 w 3497580"/>
                  <a:gd name="connsiteY109" fmla="*/ 370237 h 505301"/>
                  <a:gd name="connsiteX110" fmla="*/ 898017 w 3497580"/>
                  <a:gd name="connsiteY110" fmla="*/ 370237 h 505301"/>
                  <a:gd name="connsiteX111" fmla="*/ 898017 w 3497580"/>
                  <a:gd name="connsiteY111" fmla="*/ 376428 h 505301"/>
                  <a:gd name="connsiteX112" fmla="*/ 931735 w 3497580"/>
                  <a:gd name="connsiteY112" fmla="*/ 376428 h 505301"/>
                  <a:gd name="connsiteX113" fmla="*/ 931735 w 3497580"/>
                  <a:gd name="connsiteY113" fmla="*/ 382524 h 505301"/>
                  <a:gd name="connsiteX114" fmla="*/ 938022 w 3497580"/>
                  <a:gd name="connsiteY114" fmla="*/ 382524 h 505301"/>
                  <a:gd name="connsiteX115" fmla="*/ 938022 w 3497580"/>
                  <a:gd name="connsiteY115" fmla="*/ 388620 h 505301"/>
                  <a:gd name="connsiteX116" fmla="*/ 952690 w 3497580"/>
                  <a:gd name="connsiteY116" fmla="*/ 388620 h 505301"/>
                  <a:gd name="connsiteX117" fmla="*/ 952690 w 3497580"/>
                  <a:gd name="connsiteY117" fmla="*/ 394716 h 505301"/>
                  <a:gd name="connsiteX118" fmla="*/ 965358 w 3497580"/>
                  <a:gd name="connsiteY118" fmla="*/ 394716 h 505301"/>
                  <a:gd name="connsiteX119" fmla="*/ 965358 w 3497580"/>
                  <a:gd name="connsiteY119" fmla="*/ 400907 h 505301"/>
                  <a:gd name="connsiteX120" fmla="*/ 990600 w 3497580"/>
                  <a:gd name="connsiteY120" fmla="*/ 400907 h 505301"/>
                  <a:gd name="connsiteX121" fmla="*/ 990600 w 3497580"/>
                  <a:gd name="connsiteY121" fmla="*/ 407003 h 505301"/>
                  <a:gd name="connsiteX122" fmla="*/ 1219866 w 3497580"/>
                  <a:gd name="connsiteY122" fmla="*/ 407003 h 505301"/>
                  <a:gd name="connsiteX123" fmla="*/ 1219866 w 3497580"/>
                  <a:gd name="connsiteY123" fmla="*/ 413195 h 505301"/>
                  <a:gd name="connsiteX124" fmla="*/ 1333404 w 3497580"/>
                  <a:gd name="connsiteY124" fmla="*/ 413195 h 505301"/>
                  <a:gd name="connsiteX125" fmla="*/ 1333404 w 3497580"/>
                  <a:gd name="connsiteY125" fmla="*/ 419386 h 505301"/>
                  <a:gd name="connsiteX126" fmla="*/ 1602581 w 3497580"/>
                  <a:gd name="connsiteY126" fmla="*/ 419386 h 505301"/>
                  <a:gd name="connsiteX127" fmla="*/ 1602581 w 3497580"/>
                  <a:gd name="connsiteY127" fmla="*/ 425672 h 505301"/>
                  <a:gd name="connsiteX128" fmla="*/ 1676209 w 3497580"/>
                  <a:gd name="connsiteY128" fmla="*/ 425672 h 505301"/>
                  <a:gd name="connsiteX129" fmla="*/ 1676209 w 3497580"/>
                  <a:gd name="connsiteY129" fmla="*/ 431959 h 505301"/>
                  <a:gd name="connsiteX130" fmla="*/ 1756124 w 3497580"/>
                  <a:gd name="connsiteY130" fmla="*/ 431959 h 505301"/>
                  <a:gd name="connsiteX131" fmla="*/ 1756124 w 3497580"/>
                  <a:gd name="connsiteY131" fmla="*/ 438245 h 505301"/>
                  <a:gd name="connsiteX132" fmla="*/ 1918049 w 3497580"/>
                  <a:gd name="connsiteY132" fmla="*/ 438245 h 505301"/>
                  <a:gd name="connsiteX133" fmla="*/ 1918049 w 3497580"/>
                  <a:gd name="connsiteY133" fmla="*/ 444722 h 505301"/>
                  <a:gd name="connsiteX134" fmla="*/ 1934908 w 3497580"/>
                  <a:gd name="connsiteY134" fmla="*/ 444722 h 505301"/>
                  <a:gd name="connsiteX135" fmla="*/ 1934908 w 3497580"/>
                  <a:gd name="connsiteY135" fmla="*/ 451104 h 505301"/>
                  <a:gd name="connsiteX136" fmla="*/ 2052732 w 3497580"/>
                  <a:gd name="connsiteY136" fmla="*/ 451104 h 505301"/>
                  <a:gd name="connsiteX137" fmla="*/ 2052732 w 3497580"/>
                  <a:gd name="connsiteY137" fmla="*/ 457581 h 505301"/>
                  <a:gd name="connsiteX138" fmla="*/ 2145220 w 3497580"/>
                  <a:gd name="connsiteY138" fmla="*/ 457581 h 505301"/>
                  <a:gd name="connsiteX139" fmla="*/ 2145220 w 3497580"/>
                  <a:gd name="connsiteY139" fmla="*/ 463963 h 505301"/>
                  <a:gd name="connsiteX140" fmla="*/ 2164175 w 3497580"/>
                  <a:gd name="connsiteY140" fmla="*/ 463963 h 505301"/>
                  <a:gd name="connsiteX141" fmla="*/ 2164175 w 3497580"/>
                  <a:gd name="connsiteY141" fmla="*/ 470440 h 505301"/>
                  <a:gd name="connsiteX142" fmla="*/ 3017996 w 3497580"/>
                  <a:gd name="connsiteY142" fmla="*/ 470440 h 505301"/>
                  <a:gd name="connsiteX143" fmla="*/ 3017996 w 3497580"/>
                  <a:gd name="connsiteY143" fmla="*/ 505301 h 505301"/>
                  <a:gd name="connsiteX144" fmla="*/ 3497580 w 3497580"/>
                  <a:gd name="connsiteY144" fmla="*/ 505301 h 505301"/>
                  <a:gd name="connsiteX0" fmla="*/ 0 w 3497580"/>
                  <a:gd name="connsiteY0" fmla="*/ 0 h 505301"/>
                  <a:gd name="connsiteX1" fmla="*/ 6286 w 3497580"/>
                  <a:gd name="connsiteY1" fmla="*/ 6096 h 505301"/>
                  <a:gd name="connsiteX2" fmla="*/ 6286 w 3497580"/>
                  <a:gd name="connsiteY2" fmla="*/ 18193 h 505301"/>
                  <a:gd name="connsiteX3" fmla="*/ 10477 w 3497580"/>
                  <a:gd name="connsiteY3" fmla="*/ 18193 h 505301"/>
                  <a:gd name="connsiteX4" fmla="*/ 10477 w 3497580"/>
                  <a:gd name="connsiteY4" fmla="*/ 24289 h 505301"/>
                  <a:gd name="connsiteX5" fmla="*/ 23145 w 3497580"/>
                  <a:gd name="connsiteY5" fmla="*/ 24289 h 505301"/>
                  <a:gd name="connsiteX6" fmla="*/ 23145 w 3497580"/>
                  <a:gd name="connsiteY6" fmla="*/ 30385 h 505301"/>
                  <a:gd name="connsiteX7" fmla="*/ 37814 w 3497580"/>
                  <a:gd name="connsiteY7" fmla="*/ 30385 h 505301"/>
                  <a:gd name="connsiteX8" fmla="*/ 37814 w 3497580"/>
                  <a:gd name="connsiteY8" fmla="*/ 36386 h 505301"/>
                  <a:gd name="connsiteX9" fmla="*/ 42100 w 3497580"/>
                  <a:gd name="connsiteY9" fmla="*/ 36386 h 505301"/>
                  <a:gd name="connsiteX10" fmla="*/ 42100 w 3497580"/>
                  <a:gd name="connsiteY10" fmla="*/ 42482 h 505301"/>
                  <a:gd name="connsiteX11" fmla="*/ 52577 w 3497580"/>
                  <a:gd name="connsiteY11" fmla="*/ 42482 h 505301"/>
                  <a:gd name="connsiteX12" fmla="*/ 52577 w 3497580"/>
                  <a:gd name="connsiteY12" fmla="*/ 48578 h 505301"/>
                  <a:gd name="connsiteX13" fmla="*/ 60960 w 3497580"/>
                  <a:gd name="connsiteY13" fmla="*/ 48578 h 505301"/>
                  <a:gd name="connsiteX14" fmla="*/ 60960 w 3497580"/>
                  <a:gd name="connsiteY14" fmla="*/ 54674 h 505301"/>
                  <a:gd name="connsiteX15" fmla="*/ 75723 w 3497580"/>
                  <a:gd name="connsiteY15" fmla="*/ 54674 h 505301"/>
                  <a:gd name="connsiteX16" fmla="*/ 75723 w 3497580"/>
                  <a:gd name="connsiteY16" fmla="*/ 60674 h 505301"/>
                  <a:gd name="connsiteX17" fmla="*/ 79914 w 3497580"/>
                  <a:gd name="connsiteY17" fmla="*/ 60674 h 505301"/>
                  <a:gd name="connsiteX18" fmla="*/ 79914 w 3497580"/>
                  <a:gd name="connsiteY18" fmla="*/ 66770 h 505301"/>
                  <a:gd name="connsiteX19" fmla="*/ 84105 w 3497580"/>
                  <a:gd name="connsiteY19" fmla="*/ 66770 h 505301"/>
                  <a:gd name="connsiteX20" fmla="*/ 84105 w 3497580"/>
                  <a:gd name="connsiteY20" fmla="*/ 72866 h 505301"/>
                  <a:gd name="connsiteX21" fmla="*/ 96774 w 3497580"/>
                  <a:gd name="connsiteY21" fmla="*/ 72866 h 505301"/>
                  <a:gd name="connsiteX22" fmla="*/ 96774 w 3497580"/>
                  <a:gd name="connsiteY22" fmla="*/ 78867 h 505301"/>
                  <a:gd name="connsiteX23" fmla="*/ 126206 w 3497580"/>
                  <a:gd name="connsiteY23" fmla="*/ 78867 h 505301"/>
                  <a:gd name="connsiteX24" fmla="*/ 126206 w 3497580"/>
                  <a:gd name="connsiteY24" fmla="*/ 84963 h 505301"/>
                  <a:gd name="connsiteX25" fmla="*/ 134588 w 3497580"/>
                  <a:gd name="connsiteY25" fmla="*/ 84963 h 505301"/>
                  <a:gd name="connsiteX26" fmla="*/ 134588 w 3497580"/>
                  <a:gd name="connsiteY26" fmla="*/ 91059 h 505301"/>
                  <a:gd name="connsiteX27" fmla="*/ 136683 w 3497580"/>
                  <a:gd name="connsiteY27" fmla="*/ 91059 h 505301"/>
                  <a:gd name="connsiteX28" fmla="*/ 136683 w 3497580"/>
                  <a:gd name="connsiteY28" fmla="*/ 97060 h 505301"/>
                  <a:gd name="connsiteX29" fmla="*/ 151447 w 3497580"/>
                  <a:gd name="connsiteY29" fmla="*/ 97060 h 505301"/>
                  <a:gd name="connsiteX30" fmla="*/ 151447 w 3497580"/>
                  <a:gd name="connsiteY30" fmla="*/ 109252 h 505301"/>
                  <a:gd name="connsiteX31" fmla="*/ 153543 w 3497580"/>
                  <a:gd name="connsiteY31" fmla="*/ 109252 h 505301"/>
                  <a:gd name="connsiteX32" fmla="*/ 153543 w 3497580"/>
                  <a:gd name="connsiteY32" fmla="*/ 115253 h 505301"/>
                  <a:gd name="connsiteX33" fmla="*/ 159829 w 3497580"/>
                  <a:gd name="connsiteY33" fmla="*/ 115253 h 505301"/>
                  <a:gd name="connsiteX34" fmla="*/ 159829 w 3497580"/>
                  <a:gd name="connsiteY34" fmla="*/ 121349 h 505301"/>
                  <a:gd name="connsiteX35" fmla="*/ 164020 w 3497580"/>
                  <a:gd name="connsiteY35" fmla="*/ 121349 h 505301"/>
                  <a:gd name="connsiteX36" fmla="*/ 164020 w 3497580"/>
                  <a:gd name="connsiteY36" fmla="*/ 127445 h 505301"/>
                  <a:gd name="connsiteX37" fmla="*/ 180879 w 3497580"/>
                  <a:gd name="connsiteY37" fmla="*/ 127445 h 505301"/>
                  <a:gd name="connsiteX38" fmla="*/ 180879 w 3497580"/>
                  <a:gd name="connsiteY38" fmla="*/ 139541 h 505301"/>
                  <a:gd name="connsiteX39" fmla="*/ 185070 w 3497580"/>
                  <a:gd name="connsiteY39" fmla="*/ 139541 h 505301"/>
                  <a:gd name="connsiteX40" fmla="*/ 185070 w 3497580"/>
                  <a:gd name="connsiteY40" fmla="*/ 145637 h 505301"/>
                  <a:gd name="connsiteX41" fmla="*/ 208216 w 3497580"/>
                  <a:gd name="connsiteY41" fmla="*/ 145637 h 505301"/>
                  <a:gd name="connsiteX42" fmla="*/ 208216 w 3497580"/>
                  <a:gd name="connsiteY42" fmla="*/ 151733 h 505301"/>
                  <a:gd name="connsiteX43" fmla="*/ 212407 w 3497580"/>
                  <a:gd name="connsiteY43" fmla="*/ 151733 h 505301"/>
                  <a:gd name="connsiteX44" fmla="*/ 212407 w 3497580"/>
                  <a:gd name="connsiteY44" fmla="*/ 157734 h 505301"/>
                  <a:gd name="connsiteX45" fmla="*/ 218694 w 3497580"/>
                  <a:gd name="connsiteY45" fmla="*/ 157734 h 505301"/>
                  <a:gd name="connsiteX46" fmla="*/ 218694 w 3497580"/>
                  <a:gd name="connsiteY46" fmla="*/ 169926 h 505301"/>
                  <a:gd name="connsiteX47" fmla="*/ 237648 w 3497580"/>
                  <a:gd name="connsiteY47" fmla="*/ 169926 h 505301"/>
                  <a:gd name="connsiteX48" fmla="*/ 237648 w 3497580"/>
                  <a:gd name="connsiteY48" fmla="*/ 175927 h 505301"/>
                  <a:gd name="connsiteX49" fmla="*/ 246030 w 3497580"/>
                  <a:gd name="connsiteY49" fmla="*/ 175927 h 505301"/>
                  <a:gd name="connsiteX50" fmla="*/ 246030 w 3497580"/>
                  <a:gd name="connsiteY50" fmla="*/ 182023 h 505301"/>
                  <a:gd name="connsiteX51" fmla="*/ 258699 w 3497580"/>
                  <a:gd name="connsiteY51" fmla="*/ 182023 h 505301"/>
                  <a:gd name="connsiteX52" fmla="*/ 258699 w 3497580"/>
                  <a:gd name="connsiteY52" fmla="*/ 188119 h 505301"/>
                  <a:gd name="connsiteX53" fmla="*/ 275558 w 3497580"/>
                  <a:gd name="connsiteY53" fmla="*/ 188119 h 505301"/>
                  <a:gd name="connsiteX54" fmla="*/ 275558 w 3497580"/>
                  <a:gd name="connsiteY54" fmla="*/ 194120 h 505301"/>
                  <a:gd name="connsiteX55" fmla="*/ 302895 w 3497580"/>
                  <a:gd name="connsiteY55" fmla="*/ 194120 h 505301"/>
                  <a:gd name="connsiteX56" fmla="*/ 302895 w 3497580"/>
                  <a:gd name="connsiteY56" fmla="*/ 200216 h 505301"/>
                  <a:gd name="connsiteX57" fmla="*/ 304990 w 3497580"/>
                  <a:gd name="connsiteY57" fmla="*/ 200216 h 505301"/>
                  <a:gd name="connsiteX58" fmla="*/ 304990 w 3497580"/>
                  <a:gd name="connsiteY58" fmla="*/ 206312 h 505301"/>
                  <a:gd name="connsiteX59" fmla="*/ 315467 w 3497580"/>
                  <a:gd name="connsiteY59" fmla="*/ 206312 h 505301"/>
                  <a:gd name="connsiteX60" fmla="*/ 315467 w 3497580"/>
                  <a:gd name="connsiteY60" fmla="*/ 212312 h 505301"/>
                  <a:gd name="connsiteX61" fmla="*/ 321754 w 3497580"/>
                  <a:gd name="connsiteY61" fmla="*/ 212312 h 505301"/>
                  <a:gd name="connsiteX62" fmla="*/ 321754 w 3497580"/>
                  <a:gd name="connsiteY62" fmla="*/ 224504 h 505301"/>
                  <a:gd name="connsiteX63" fmla="*/ 330231 w 3497580"/>
                  <a:gd name="connsiteY63" fmla="*/ 224504 h 505301"/>
                  <a:gd name="connsiteX64" fmla="*/ 330231 w 3497580"/>
                  <a:gd name="connsiteY64" fmla="*/ 230505 h 505301"/>
                  <a:gd name="connsiteX65" fmla="*/ 336518 w 3497580"/>
                  <a:gd name="connsiteY65" fmla="*/ 230505 h 505301"/>
                  <a:gd name="connsiteX66" fmla="*/ 336518 w 3497580"/>
                  <a:gd name="connsiteY66" fmla="*/ 242697 h 505301"/>
                  <a:gd name="connsiteX67" fmla="*/ 338613 w 3497580"/>
                  <a:gd name="connsiteY67" fmla="*/ 242697 h 505301"/>
                  <a:gd name="connsiteX68" fmla="*/ 338613 w 3497580"/>
                  <a:gd name="connsiteY68" fmla="*/ 248793 h 505301"/>
                  <a:gd name="connsiteX69" fmla="*/ 351186 w 3497580"/>
                  <a:gd name="connsiteY69" fmla="*/ 248793 h 505301"/>
                  <a:gd name="connsiteX70" fmla="*/ 351186 w 3497580"/>
                  <a:gd name="connsiteY70" fmla="*/ 254794 h 505301"/>
                  <a:gd name="connsiteX71" fmla="*/ 374332 w 3497580"/>
                  <a:gd name="connsiteY71" fmla="*/ 254794 h 505301"/>
                  <a:gd name="connsiteX72" fmla="*/ 374332 w 3497580"/>
                  <a:gd name="connsiteY72" fmla="*/ 260890 h 505301"/>
                  <a:gd name="connsiteX73" fmla="*/ 380714 w 3497580"/>
                  <a:gd name="connsiteY73" fmla="*/ 260890 h 505301"/>
                  <a:gd name="connsiteX74" fmla="*/ 380714 w 3497580"/>
                  <a:gd name="connsiteY74" fmla="*/ 266986 h 505301"/>
                  <a:gd name="connsiteX75" fmla="*/ 389096 w 3497580"/>
                  <a:gd name="connsiteY75" fmla="*/ 266986 h 505301"/>
                  <a:gd name="connsiteX76" fmla="*/ 389096 w 3497580"/>
                  <a:gd name="connsiteY76" fmla="*/ 272987 h 505301"/>
                  <a:gd name="connsiteX77" fmla="*/ 397478 w 3497580"/>
                  <a:gd name="connsiteY77" fmla="*/ 272987 h 505301"/>
                  <a:gd name="connsiteX78" fmla="*/ 397478 w 3497580"/>
                  <a:gd name="connsiteY78" fmla="*/ 279083 h 505301"/>
                  <a:gd name="connsiteX79" fmla="*/ 401669 w 3497580"/>
                  <a:gd name="connsiteY79" fmla="*/ 279083 h 505301"/>
                  <a:gd name="connsiteX80" fmla="*/ 401669 w 3497580"/>
                  <a:gd name="connsiteY80" fmla="*/ 285179 h 505301"/>
                  <a:gd name="connsiteX81" fmla="*/ 475297 w 3497580"/>
                  <a:gd name="connsiteY81" fmla="*/ 285179 h 505301"/>
                  <a:gd name="connsiteX82" fmla="*/ 475297 w 3497580"/>
                  <a:gd name="connsiteY82" fmla="*/ 291179 h 505301"/>
                  <a:gd name="connsiteX83" fmla="*/ 496347 w 3497580"/>
                  <a:gd name="connsiteY83" fmla="*/ 291179 h 505301"/>
                  <a:gd name="connsiteX84" fmla="*/ 496347 w 3497580"/>
                  <a:gd name="connsiteY84" fmla="*/ 297275 h 505301"/>
                  <a:gd name="connsiteX85" fmla="*/ 502634 w 3497580"/>
                  <a:gd name="connsiteY85" fmla="*/ 297275 h 505301"/>
                  <a:gd name="connsiteX86" fmla="*/ 502634 w 3497580"/>
                  <a:gd name="connsiteY86" fmla="*/ 303371 h 505301"/>
                  <a:gd name="connsiteX87" fmla="*/ 544734 w 3497580"/>
                  <a:gd name="connsiteY87" fmla="*/ 303371 h 505301"/>
                  <a:gd name="connsiteX88" fmla="*/ 544734 w 3497580"/>
                  <a:gd name="connsiteY88" fmla="*/ 309372 h 505301"/>
                  <a:gd name="connsiteX89" fmla="*/ 559403 w 3497580"/>
                  <a:gd name="connsiteY89" fmla="*/ 309372 h 505301"/>
                  <a:gd name="connsiteX90" fmla="*/ 559403 w 3497580"/>
                  <a:gd name="connsiteY90" fmla="*/ 315468 h 505301"/>
                  <a:gd name="connsiteX91" fmla="*/ 588930 w 3497580"/>
                  <a:gd name="connsiteY91" fmla="*/ 315468 h 505301"/>
                  <a:gd name="connsiteX92" fmla="*/ 588930 w 3497580"/>
                  <a:gd name="connsiteY92" fmla="*/ 321564 h 505301"/>
                  <a:gd name="connsiteX93" fmla="*/ 591026 w 3497580"/>
                  <a:gd name="connsiteY93" fmla="*/ 321564 h 505301"/>
                  <a:gd name="connsiteX94" fmla="*/ 591026 w 3497580"/>
                  <a:gd name="connsiteY94" fmla="*/ 327565 h 505301"/>
                  <a:gd name="connsiteX95" fmla="*/ 614076 w 3497580"/>
                  <a:gd name="connsiteY95" fmla="*/ 327565 h 505301"/>
                  <a:gd name="connsiteX96" fmla="*/ 614076 w 3497580"/>
                  <a:gd name="connsiteY96" fmla="*/ 333661 h 505301"/>
                  <a:gd name="connsiteX97" fmla="*/ 626745 w 3497580"/>
                  <a:gd name="connsiteY97" fmla="*/ 333661 h 505301"/>
                  <a:gd name="connsiteX98" fmla="*/ 626745 w 3497580"/>
                  <a:gd name="connsiteY98" fmla="*/ 339757 h 505301"/>
                  <a:gd name="connsiteX99" fmla="*/ 662463 w 3497580"/>
                  <a:gd name="connsiteY99" fmla="*/ 339757 h 505301"/>
                  <a:gd name="connsiteX100" fmla="*/ 662463 w 3497580"/>
                  <a:gd name="connsiteY100" fmla="*/ 345853 h 505301"/>
                  <a:gd name="connsiteX101" fmla="*/ 778192 w 3497580"/>
                  <a:gd name="connsiteY101" fmla="*/ 345853 h 505301"/>
                  <a:gd name="connsiteX102" fmla="*/ 778192 w 3497580"/>
                  <a:gd name="connsiteY102" fmla="*/ 351854 h 505301"/>
                  <a:gd name="connsiteX103" fmla="*/ 816006 w 3497580"/>
                  <a:gd name="connsiteY103" fmla="*/ 351854 h 505301"/>
                  <a:gd name="connsiteX104" fmla="*/ 816006 w 3497580"/>
                  <a:gd name="connsiteY104" fmla="*/ 358045 h 505301"/>
                  <a:gd name="connsiteX105" fmla="*/ 868584 w 3497580"/>
                  <a:gd name="connsiteY105" fmla="*/ 358045 h 505301"/>
                  <a:gd name="connsiteX106" fmla="*/ 868584 w 3497580"/>
                  <a:gd name="connsiteY106" fmla="*/ 364141 h 505301"/>
                  <a:gd name="connsiteX107" fmla="*/ 887539 w 3497580"/>
                  <a:gd name="connsiteY107" fmla="*/ 364141 h 505301"/>
                  <a:gd name="connsiteX108" fmla="*/ 887539 w 3497580"/>
                  <a:gd name="connsiteY108" fmla="*/ 370237 h 505301"/>
                  <a:gd name="connsiteX109" fmla="*/ 898017 w 3497580"/>
                  <a:gd name="connsiteY109" fmla="*/ 370237 h 505301"/>
                  <a:gd name="connsiteX110" fmla="*/ 898017 w 3497580"/>
                  <a:gd name="connsiteY110" fmla="*/ 376428 h 505301"/>
                  <a:gd name="connsiteX111" fmla="*/ 931735 w 3497580"/>
                  <a:gd name="connsiteY111" fmla="*/ 376428 h 505301"/>
                  <a:gd name="connsiteX112" fmla="*/ 931735 w 3497580"/>
                  <a:gd name="connsiteY112" fmla="*/ 382524 h 505301"/>
                  <a:gd name="connsiteX113" fmla="*/ 938022 w 3497580"/>
                  <a:gd name="connsiteY113" fmla="*/ 382524 h 505301"/>
                  <a:gd name="connsiteX114" fmla="*/ 938022 w 3497580"/>
                  <a:gd name="connsiteY114" fmla="*/ 388620 h 505301"/>
                  <a:gd name="connsiteX115" fmla="*/ 952690 w 3497580"/>
                  <a:gd name="connsiteY115" fmla="*/ 388620 h 505301"/>
                  <a:gd name="connsiteX116" fmla="*/ 952690 w 3497580"/>
                  <a:gd name="connsiteY116" fmla="*/ 394716 h 505301"/>
                  <a:gd name="connsiteX117" fmla="*/ 965358 w 3497580"/>
                  <a:gd name="connsiteY117" fmla="*/ 394716 h 505301"/>
                  <a:gd name="connsiteX118" fmla="*/ 965358 w 3497580"/>
                  <a:gd name="connsiteY118" fmla="*/ 400907 h 505301"/>
                  <a:gd name="connsiteX119" fmla="*/ 990600 w 3497580"/>
                  <a:gd name="connsiteY119" fmla="*/ 400907 h 505301"/>
                  <a:gd name="connsiteX120" fmla="*/ 990600 w 3497580"/>
                  <a:gd name="connsiteY120" fmla="*/ 407003 h 505301"/>
                  <a:gd name="connsiteX121" fmla="*/ 1219866 w 3497580"/>
                  <a:gd name="connsiteY121" fmla="*/ 407003 h 505301"/>
                  <a:gd name="connsiteX122" fmla="*/ 1219866 w 3497580"/>
                  <a:gd name="connsiteY122" fmla="*/ 413195 h 505301"/>
                  <a:gd name="connsiteX123" fmla="*/ 1333404 w 3497580"/>
                  <a:gd name="connsiteY123" fmla="*/ 413195 h 505301"/>
                  <a:gd name="connsiteX124" fmla="*/ 1333404 w 3497580"/>
                  <a:gd name="connsiteY124" fmla="*/ 419386 h 505301"/>
                  <a:gd name="connsiteX125" fmla="*/ 1602581 w 3497580"/>
                  <a:gd name="connsiteY125" fmla="*/ 419386 h 505301"/>
                  <a:gd name="connsiteX126" fmla="*/ 1602581 w 3497580"/>
                  <a:gd name="connsiteY126" fmla="*/ 425672 h 505301"/>
                  <a:gd name="connsiteX127" fmla="*/ 1676209 w 3497580"/>
                  <a:gd name="connsiteY127" fmla="*/ 425672 h 505301"/>
                  <a:gd name="connsiteX128" fmla="*/ 1676209 w 3497580"/>
                  <a:gd name="connsiteY128" fmla="*/ 431959 h 505301"/>
                  <a:gd name="connsiteX129" fmla="*/ 1756124 w 3497580"/>
                  <a:gd name="connsiteY129" fmla="*/ 431959 h 505301"/>
                  <a:gd name="connsiteX130" fmla="*/ 1756124 w 3497580"/>
                  <a:gd name="connsiteY130" fmla="*/ 438245 h 505301"/>
                  <a:gd name="connsiteX131" fmla="*/ 1918049 w 3497580"/>
                  <a:gd name="connsiteY131" fmla="*/ 438245 h 505301"/>
                  <a:gd name="connsiteX132" fmla="*/ 1918049 w 3497580"/>
                  <a:gd name="connsiteY132" fmla="*/ 444722 h 505301"/>
                  <a:gd name="connsiteX133" fmla="*/ 1934908 w 3497580"/>
                  <a:gd name="connsiteY133" fmla="*/ 444722 h 505301"/>
                  <a:gd name="connsiteX134" fmla="*/ 1934908 w 3497580"/>
                  <a:gd name="connsiteY134" fmla="*/ 451104 h 505301"/>
                  <a:gd name="connsiteX135" fmla="*/ 2052732 w 3497580"/>
                  <a:gd name="connsiteY135" fmla="*/ 451104 h 505301"/>
                  <a:gd name="connsiteX136" fmla="*/ 2052732 w 3497580"/>
                  <a:gd name="connsiteY136" fmla="*/ 457581 h 505301"/>
                  <a:gd name="connsiteX137" fmla="*/ 2145220 w 3497580"/>
                  <a:gd name="connsiteY137" fmla="*/ 457581 h 505301"/>
                  <a:gd name="connsiteX138" fmla="*/ 2145220 w 3497580"/>
                  <a:gd name="connsiteY138" fmla="*/ 463963 h 505301"/>
                  <a:gd name="connsiteX139" fmla="*/ 2164175 w 3497580"/>
                  <a:gd name="connsiteY139" fmla="*/ 463963 h 505301"/>
                  <a:gd name="connsiteX140" fmla="*/ 2164175 w 3497580"/>
                  <a:gd name="connsiteY140" fmla="*/ 470440 h 505301"/>
                  <a:gd name="connsiteX141" fmla="*/ 3017996 w 3497580"/>
                  <a:gd name="connsiteY141" fmla="*/ 470440 h 505301"/>
                  <a:gd name="connsiteX142" fmla="*/ 3017996 w 3497580"/>
                  <a:gd name="connsiteY142" fmla="*/ 505301 h 505301"/>
                  <a:gd name="connsiteX143" fmla="*/ 3497580 w 3497580"/>
                  <a:gd name="connsiteY143" fmla="*/ 505301 h 505301"/>
                  <a:gd name="connsiteX0" fmla="*/ 0 w 3497580"/>
                  <a:gd name="connsiteY0" fmla="*/ 0 h 505301"/>
                  <a:gd name="connsiteX1" fmla="*/ 6286 w 3497580"/>
                  <a:gd name="connsiteY1" fmla="*/ 18193 h 505301"/>
                  <a:gd name="connsiteX2" fmla="*/ 10477 w 3497580"/>
                  <a:gd name="connsiteY2" fmla="*/ 18193 h 505301"/>
                  <a:gd name="connsiteX3" fmla="*/ 10477 w 3497580"/>
                  <a:gd name="connsiteY3" fmla="*/ 24289 h 505301"/>
                  <a:gd name="connsiteX4" fmla="*/ 23145 w 3497580"/>
                  <a:gd name="connsiteY4" fmla="*/ 24289 h 505301"/>
                  <a:gd name="connsiteX5" fmla="*/ 23145 w 3497580"/>
                  <a:gd name="connsiteY5" fmla="*/ 30385 h 505301"/>
                  <a:gd name="connsiteX6" fmla="*/ 37814 w 3497580"/>
                  <a:gd name="connsiteY6" fmla="*/ 30385 h 505301"/>
                  <a:gd name="connsiteX7" fmla="*/ 37814 w 3497580"/>
                  <a:gd name="connsiteY7" fmla="*/ 36386 h 505301"/>
                  <a:gd name="connsiteX8" fmla="*/ 42100 w 3497580"/>
                  <a:gd name="connsiteY8" fmla="*/ 36386 h 505301"/>
                  <a:gd name="connsiteX9" fmla="*/ 42100 w 3497580"/>
                  <a:gd name="connsiteY9" fmla="*/ 42482 h 505301"/>
                  <a:gd name="connsiteX10" fmla="*/ 52577 w 3497580"/>
                  <a:gd name="connsiteY10" fmla="*/ 42482 h 505301"/>
                  <a:gd name="connsiteX11" fmla="*/ 52577 w 3497580"/>
                  <a:gd name="connsiteY11" fmla="*/ 48578 h 505301"/>
                  <a:gd name="connsiteX12" fmla="*/ 60960 w 3497580"/>
                  <a:gd name="connsiteY12" fmla="*/ 48578 h 505301"/>
                  <a:gd name="connsiteX13" fmla="*/ 60960 w 3497580"/>
                  <a:gd name="connsiteY13" fmla="*/ 54674 h 505301"/>
                  <a:gd name="connsiteX14" fmla="*/ 75723 w 3497580"/>
                  <a:gd name="connsiteY14" fmla="*/ 54674 h 505301"/>
                  <a:gd name="connsiteX15" fmla="*/ 75723 w 3497580"/>
                  <a:gd name="connsiteY15" fmla="*/ 60674 h 505301"/>
                  <a:gd name="connsiteX16" fmla="*/ 79914 w 3497580"/>
                  <a:gd name="connsiteY16" fmla="*/ 60674 h 505301"/>
                  <a:gd name="connsiteX17" fmla="*/ 79914 w 3497580"/>
                  <a:gd name="connsiteY17" fmla="*/ 66770 h 505301"/>
                  <a:gd name="connsiteX18" fmla="*/ 84105 w 3497580"/>
                  <a:gd name="connsiteY18" fmla="*/ 66770 h 505301"/>
                  <a:gd name="connsiteX19" fmla="*/ 84105 w 3497580"/>
                  <a:gd name="connsiteY19" fmla="*/ 72866 h 505301"/>
                  <a:gd name="connsiteX20" fmla="*/ 96774 w 3497580"/>
                  <a:gd name="connsiteY20" fmla="*/ 72866 h 505301"/>
                  <a:gd name="connsiteX21" fmla="*/ 96774 w 3497580"/>
                  <a:gd name="connsiteY21" fmla="*/ 78867 h 505301"/>
                  <a:gd name="connsiteX22" fmla="*/ 126206 w 3497580"/>
                  <a:gd name="connsiteY22" fmla="*/ 78867 h 505301"/>
                  <a:gd name="connsiteX23" fmla="*/ 126206 w 3497580"/>
                  <a:gd name="connsiteY23" fmla="*/ 84963 h 505301"/>
                  <a:gd name="connsiteX24" fmla="*/ 134588 w 3497580"/>
                  <a:gd name="connsiteY24" fmla="*/ 84963 h 505301"/>
                  <a:gd name="connsiteX25" fmla="*/ 134588 w 3497580"/>
                  <a:gd name="connsiteY25" fmla="*/ 91059 h 505301"/>
                  <a:gd name="connsiteX26" fmla="*/ 136683 w 3497580"/>
                  <a:gd name="connsiteY26" fmla="*/ 91059 h 505301"/>
                  <a:gd name="connsiteX27" fmla="*/ 136683 w 3497580"/>
                  <a:gd name="connsiteY27" fmla="*/ 97060 h 505301"/>
                  <a:gd name="connsiteX28" fmla="*/ 151447 w 3497580"/>
                  <a:gd name="connsiteY28" fmla="*/ 97060 h 505301"/>
                  <a:gd name="connsiteX29" fmla="*/ 151447 w 3497580"/>
                  <a:gd name="connsiteY29" fmla="*/ 109252 h 505301"/>
                  <a:gd name="connsiteX30" fmla="*/ 153543 w 3497580"/>
                  <a:gd name="connsiteY30" fmla="*/ 109252 h 505301"/>
                  <a:gd name="connsiteX31" fmla="*/ 153543 w 3497580"/>
                  <a:gd name="connsiteY31" fmla="*/ 115253 h 505301"/>
                  <a:gd name="connsiteX32" fmla="*/ 159829 w 3497580"/>
                  <a:gd name="connsiteY32" fmla="*/ 115253 h 505301"/>
                  <a:gd name="connsiteX33" fmla="*/ 159829 w 3497580"/>
                  <a:gd name="connsiteY33" fmla="*/ 121349 h 505301"/>
                  <a:gd name="connsiteX34" fmla="*/ 164020 w 3497580"/>
                  <a:gd name="connsiteY34" fmla="*/ 121349 h 505301"/>
                  <a:gd name="connsiteX35" fmla="*/ 164020 w 3497580"/>
                  <a:gd name="connsiteY35" fmla="*/ 127445 h 505301"/>
                  <a:gd name="connsiteX36" fmla="*/ 180879 w 3497580"/>
                  <a:gd name="connsiteY36" fmla="*/ 127445 h 505301"/>
                  <a:gd name="connsiteX37" fmla="*/ 180879 w 3497580"/>
                  <a:gd name="connsiteY37" fmla="*/ 139541 h 505301"/>
                  <a:gd name="connsiteX38" fmla="*/ 185070 w 3497580"/>
                  <a:gd name="connsiteY38" fmla="*/ 139541 h 505301"/>
                  <a:gd name="connsiteX39" fmla="*/ 185070 w 3497580"/>
                  <a:gd name="connsiteY39" fmla="*/ 145637 h 505301"/>
                  <a:gd name="connsiteX40" fmla="*/ 208216 w 3497580"/>
                  <a:gd name="connsiteY40" fmla="*/ 145637 h 505301"/>
                  <a:gd name="connsiteX41" fmla="*/ 208216 w 3497580"/>
                  <a:gd name="connsiteY41" fmla="*/ 151733 h 505301"/>
                  <a:gd name="connsiteX42" fmla="*/ 212407 w 3497580"/>
                  <a:gd name="connsiteY42" fmla="*/ 151733 h 505301"/>
                  <a:gd name="connsiteX43" fmla="*/ 212407 w 3497580"/>
                  <a:gd name="connsiteY43" fmla="*/ 157734 h 505301"/>
                  <a:gd name="connsiteX44" fmla="*/ 218694 w 3497580"/>
                  <a:gd name="connsiteY44" fmla="*/ 157734 h 505301"/>
                  <a:gd name="connsiteX45" fmla="*/ 218694 w 3497580"/>
                  <a:gd name="connsiteY45" fmla="*/ 169926 h 505301"/>
                  <a:gd name="connsiteX46" fmla="*/ 237648 w 3497580"/>
                  <a:gd name="connsiteY46" fmla="*/ 169926 h 505301"/>
                  <a:gd name="connsiteX47" fmla="*/ 237648 w 3497580"/>
                  <a:gd name="connsiteY47" fmla="*/ 175927 h 505301"/>
                  <a:gd name="connsiteX48" fmla="*/ 246030 w 3497580"/>
                  <a:gd name="connsiteY48" fmla="*/ 175927 h 505301"/>
                  <a:gd name="connsiteX49" fmla="*/ 246030 w 3497580"/>
                  <a:gd name="connsiteY49" fmla="*/ 182023 h 505301"/>
                  <a:gd name="connsiteX50" fmla="*/ 258699 w 3497580"/>
                  <a:gd name="connsiteY50" fmla="*/ 182023 h 505301"/>
                  <a:gd name="connsiteX51" fmla="*/ 258699 w 3497580"/>
                  <a:gd name="connsiteY51" fmla="*/ 188119 h 505301"/>
                  <a:gd name="connsiteX52" fmla="*/ 275558 w 3497580"/>
                  <a:gd name="connsiteY52" fmla="*/ 188119 h 505301"/>
                  <a:gd name="connsiteX53" fmla="*/ 275558 w 3497580"/>
                  <a:gd name="connsiteY53" fmla="*/ 194120 h 505301"/>
                  <a:gd name="connsiteX54" fmla="*/ 302895 w 3497580"/>
                  <a:gd name="connsiteY54" fmla="*/ 194120 h 505301"/>
                  <a:gd name="connsiteX55" fmla="*/ 302895 w 3497580"/>
                  <a:gd name="connsiteY55" fmla="*/ 200216 h 505301"/>
                  <a:gd name="connsiteX56" fmla="*/ 304990 w 3497580"/>
                  <a:gd name="connsiteY56" fmla="*/ 200216 h 505301"/>
                  <a:gd name="connsiteX57" fmla="*/ 304990 w 3497580"/>
                  <a:gd name="connsiteY57" fmla="*/ 206312 h 505301"/>
                  <a:gd name="connsiteX58" fmla="*/ 315467 w 3497580"/>
                  <a:gd name="connsiteY58" fmla="*/ 206312 h 505301"/>
                  <a:gd name="connsiteX59" fmla="*/ 315467 w 3497580"/>
                  <a:gd name="connsiteY59" fmla="*/ 212312 h 505301"/>
                  <a:gd name="connsiteX60" fmla="*/ 321754 w 3497580"/>
                  <a:gd name="connsiteY60" fmla="*/ 212312 h 505301"/>
                  <a:gd name="connsiteX61" fmla="*/ 321754 w 3497580"/>
                  <a:gd name="connsiteY61" fmla="*/ 224504 h 505301"/>
                  <a:gd name="connsiteX62" fmla="*/ 330231 w 3497580"/>
                  <a:gd name="connsiteY62" fmla="*/ 224504 h 505301"/>
                  <a:gd name="connsiteX63" fmla="*/ 330231 w 3497580"/>
                  <a:gd name="connsiteY63" fmla="*/ 230505 h 505301"/>
                  <a:gd name="connsiteX64" fmla="*/ 336518 w 3497580"/>
                  <a:gd name="connsiteY64" fmla="*/ 230505 h 505301"/>
                  <a:gd name="connsiteX65" fmla="*/ 336518 w 3497580"/>
                  <a:gd name="connsiteY65" fmla="*/ 242697 h 505301"/>
                  <a:gd name="connsiteX66" fmla="*/ 338613 w 3497580"/>
                  <a:gd name="connsiteY66" fmla="*/ 242697 h 505301"/>
                  <a:gd name="connsiteX67" fmla="*/ 338613 w 3497580"/>
                  <a:gd name="connsiteY67" fmla="*/ 248793 h 505301"/>
                  <a:gd name="connsiteX68" fmla="*/ 351186 w 3497580"/>
                  <a:gd name="connsiteY68" fmla="*/ 248793 h 505301"/>
                  <a:gd name="connsiteX69" fmla="*/ 351186 w 3497580"/>
                  <a:gd name="connsiteY69" fmla="*/ 254794 h 505301"/>
                  <a:gd name="connsiteX70" fmla="*/ 374332 w 3497580"/>
                  <a:gd name="connsiteY70" fmla="*/ 254794 h 505301"/>
                  <a:gd name="connsiteX71" fmla="*/ 374332 w 3497580"/>
                  <a:gd name="connsiteY71" fmla="*/ 260890 h 505301"/>
                  <a:gd name="connsiteX72" fmla="*/ 380714 w 3497580"/>
                  <a:gd name="connsiteY72" fmla="*/ 260890 h 505301"/>
                  <a:gd name="connsiteX73" fmla="*/ 380714 w 3497580"/>
                  <a:gd name="connsiteY73" fmla="*/ 266986 h 505301"/>
                  <a:gd name="connsiteX74" fmla="*/ 389096 w 3497580"/>
                  <a:gd name="connsiteY74" fmla="*/ 266986 h 505301"/>
                  <a:gd name="connsiteX75" fmla="*/ 389096 w 3497580"/>
                  <a:gd name="connsiteY75" fmla="*/ 272987 h 505301"/>
                  <a:gd name="connsiteX76" fmla="*/ 397478 w 3497580"/>
                  <a:gd name="connsiteY76" fmla="*/ 272987 h 505301"/>
                  <a:gd name="connsiteX77" fmla="*/ 397478 w 3497580"/>
                  <a:gd name="connsiteY77" fmla="*/ 279083 h 505301"/>
                  <a:gd name="connsiteX78" fmla="*/ 401669 w 3497580"/>
                  <a:gd name="connsiteY78" fmla="*/ 279083 h 505301"/>
                  <a:gd name="connsiteX79" fmla="*/ 401669 w 3497580"/>
                  <a:gd name="connsiteY79" fmla="*/ 285179 h 505301"/>
                  <a:gd name="connsiteX80" fmla="*/ 475297 w 3497580"/>
                  <a:gd name="connsiteY80" fmla="*/ 285179 h 505301"/>
                  <a:gd name="connsiteX81" fmla="*/ 475297 w 3497580"/>
                  <a:gd name="connsiteY81" fmla="*/ 291179 h 505301"/>
                  <a:gd name="connsiteX82" fmla="*/ 496347 w 3497580"/>
                  <a:gd name="connsiteY82" fmla="*/ 291179 h 505301"/>
                  <a:gd name="connsiteX83" fmla="*/ 496347 w 3497580"/>
                  <a:gd name="connsiteY83" fmla="*/ 297275 h 505301"/>
                  <a:gd name="connsiteX84" fmla="*/ 502634 w 3497580"/>
                  <a:gd name="connsiteY84" fmla="*/ 297275 h 505301"/>
                  <a:gd name="connsiteX85" fmla="*/ 502634 w 3497580"/>
                  <a:gd name="connsiteY85" fmla="*/ 303371 h 505301"/>
                  <a:gd name="connsiteX86" fmla="*/ 544734 w 3497580"/>
                  <a:gd name="connsiteY86" fmla="*/ 303371 h 505301"/>
                  <a:gd name="connsiteX87" fmla="*/ 544734 w 3497580"/>
                  <a:gd name="connsiteY87" fmla="*/ 309372 h 505301"/>
                  <a:gd name="connsiteX88" fmla="*/ 559403 w 3497580"/>
                  <a:gd name="connsiteY88" fmla="*/ 309372 h 505301"/>
                  <a:gd name="connsiteX89" fmla="*/ 559403 w 3497580"/>
                  <a:gd name="connsiteY89" fmla="*/ 315468 h 505301"/>
                  <a:gd name="connsiteX90" fmla="*/ 588930 w 3497580"/>
                  <a:gd name="connsiteY90" fmla="*/ 315468 h 505301"/>
                  <a:gd name="connsiteX91" fmla="*/ 588930 w 3497580"/>
                  <a:gd name="connsiteY91" fmla="*/ 321564 h 505301"/>
                  <a:gd name="connsiteX92" fmla="*/ 591026 w 3497580"/>
                  <a:gd name="connsiteY92" fmla="*/ 321564 h 505301"/>
                  <a:gd name="connsiteX93" fmla="*/ 591026 w 3497580"/>
                  <a:gd name="connsiteY93" fmla="*/ 327565 h 505301"/>
                  <a:gd name="connsiteX94" fmla="*/ 614076 w 3497580"/>
                  <a:gd name="connsiteY94" fmla="*/ 327565 h 505301"/>
                  <a:gd name="connsiteX95" fmla="*/ 614076 w 3497580"/>
                  <a:gd name="connsiteY95" fmla="*/ 333661 h 505301"/>
                  <a:gd name="connsiteX96" fmla="*/ 626745 w 3497580"/>
                  <a:gd name="connsiteY96" fmla="*/ 333661 h 505301"/>
                  <a:gd name="connsiteX97" fmla="*/ 626745 w 3497580"/>
                  <a:gd name="connsiteY97" fmla="*/ 339757 h 505301"/>
                  <a:gd name="connsiteX98" fmla="*/ 662463 w 3497580"/>
                  <a:gd name="connsiteY98" fmla="*/ 339757 h 505301"/>
                  <a:gd name="connsiteX99" fmla="*/ 662463 w 3497580"/>
                  <a:gd name="connsiteY99" fmla="*/ 345853 h 505301"/>
                  <a:gd name="connsiteX100" fmla="*/ 778192 w 3497580"/>
                  <a:gd name="connsiteY100" fmla="*/ 345853 h 505301"/>
                  <a:gd name="connsiteX101" fmla="*/ 778192 w 3497580"/>
                  <a:gd name="connsiteY101" fmla="*/ 351854 h 505301"/>
                  <a:gd name="connsiteX102" fmla="*/ 816006 w 3497580"/>
                  <a:gd name="connsiteY102" fmla="*/ 351854 h 505301"/>
                  <a:gd name="connsiteX103" fmla="*/ 816006 w 3497580"/>
                  <a:gd name="connsiteY103" fmla="*/ 358045 h 505301"/>
                  <a:gd name="connsiteX104" fmla="*/ 868584 w 3497580"/>
                  <a:gd name="connsiteY104" fmla="*/ 358045 h 505301"/>
                  <a:gd name="connsiteX105" fmla="*/ 868584 w 3497580"/>
                  <a:gd name="connsiteY105" fmla="*/ 364141 h 505301"/>
                  <a:gd name="connsiteX106" fmla="*/ 887539 w 3497580"/>
                  <a:gd name="connsiteY106" fmla="*/ 364141 h 505301"/>
                  <a:gd name="connsiteX107" fmla="*/ 887539 w 3497580"/>
                  <a:gd name="connsiteY107" fmla="*/ 370237 h 505301"/>
                  <a:gd name="connsiteX108" fmla="*/ 898017 w 3497580"/>
                  <a:gd name="connsiteY108" fmla="*/ 370237 h 505301"/>
                  <a:gd name="connsiteX109" fmla="*/ 898017 w 3497580"/>
                  <a:gd name="connsiteY109" fmla="*/ 376428 h 505301"/>
                  <a:gd name="connsiteX110" fmla="*/ 931735 w 3497580"/>
                  <a:gd name="connsiteY110" fmla="*/ 376428 h 505301"/>
                  <a:gd name="connsiteX111" fmla="*/ 931735 w 3497580"/>
                  <a:gd name="connsiteY111" fmla="*/ 382524 h 505301"/>
                  <a:gd name="connsiteX112" fmla="*/ 938022 w 3497580"/>
                  <a:gd name="connsiteY112" fmla="*/ 382524 h 505301"/>
                  <a:gd name="connsiteX113" fmla="*/ 938022 w 3497580"/>
                  <a:gd name="connsiteY113" fmla="*/ 388620 h 505301"/>
                  <a:gd name="connsiteX114" fmla="*/ 952690 w 3497580"/>
                  <a:gd name="connsiteY114" fmla="*/ 388620 h 505301"/>
                  <a:gd name="connsiteX115" fmla="*/ 952690 w 3497580"/>
                  <a:gd name="connsiteY115" fmla="*/ 394716 h 505301"/>
                  <a:gd name="connsiteX116" fmla="*/ 965358 w 3497580"/>
                  <a:gd name="connsiteY116" fmla="*/ 394716 h 505301"/>
                  <a:gd name="connsiteX117" fmla="*/ 965358 w 3497580"/>
                  <a:gd name="connsiteY117" fmla="*/ 400907 h 505301"/>
                  <a:gd name="connsiteX118" fmla="*/ 990600 w 3497580"/>
                  <a:gd name="connsiteY118" fmla="*/ 400907 h 505301"/>
                  <a:gd name="connsiteX119" fmla="*/ 990600 w 3497580"/>
                  <a:gd name="connsiteY119" fmla="*/ 407003 h 505301"/>
                  <a:gd name="connsiteX120" fmla="*/ 1219866 w 3497580"/>
                  <a:gd name="connsiteY120" fmla="*/ 407003 h 505301"/>
                  <a:gd name="connsiteX121" fmla="*/ 1219866 w 3497580"/>
                  <a:gd name="connsiteY121" fmla="*/ 413195 h 505301"/>
                  <a:gd name="connsiteX122" fmla="*/ 1333404 w 3497580"/>
                  <a:gd name="connsiteY122" fmla="*/ 413195 h 505301"/>
                  <a:gd name="connsiteX123" fmla="*/ 1333404 w 3497580"/>
                  <a:gd name="connsiteY123" fmla="*/ 419386 h 505301"/>
                  <a:gd name="connsiteX124" fmla="*/ 1602581 w 3497580"/>
                  <a:gd name="connsiteY124" fmla="*/ 419386 h 505301"/>
                  <a:gd name="connsiteX125" fmla="*/ 1602581 w 3497580"/>
                  <a:gd name="connsiteY125" fmla="*/ 425672 h 505301"/>
                  <a:gd name="connsiteX126" fmla="*/ 1676209 w 3497580"/>
                  <a:gd name="connsiteY126" fmla="*/ 425672 h 505301"/>
                  <a:gd name="connsiteX127" fmla="*/ 1676209 w 3497580"/>
                  <a:gd name="connsiteY127" fmla="*/ 431959 h 505301"/>
                  <a:gd name="connsiteX128" fmla="*/ 1756124 w 3497580"/>
                  <a:gd name="connsiteY128" fmla="*/ 431959 h 505301"/>
                  <a:gd name="connsiteX129" fmla="*/ 1756124 w 3497580"/>
                  <a:gd name="connsiteY129" fmla="*/ 438245 h 505301"/>
                  <a:gd name="connsiteX130" fmla="*/ 1918049 w 3497580"/>
                  <a:gd name="connsiteY130" fmla="*/ 438245 h 505301"/>
                  <a:gd name="connsiteX131" fmla="*/ 1918049 w 3497580"/>
                  <a:gd name="connsiteY131" fmla="*/ 444722 h 505301"/>
                  <a:gd name="connsiteX132" fmla="*/ 1934908 w 3497580"/>
                  <a:gd name="connsiteY132" fmla="*/ 444722 h 505301"/>
                  <a:gd name="connsiteX133" fmla="*/ 1934908 w 3497580"/>
                  <a:gd name="connsiteY133" fmla="*/ 451104 h 505301"/>
                  <a:gd name="connsiteX134" fmla="*/ 2052732 w 3497580"/>
                  <a:gd name="connsiteY134" fmla="*/ 451104 h 505301"/>
                  <a:gd name="connsiteX135" fmla="*/ 2052732 w 3497580"/>
                  <a:gd name="connsiteY135" fmla="*/ 457581 h 505301"/>
                  <a:gd name="connsiteX136" fmla="*/ 2145220 w 3497580"/>
                  <a:gd name="connsiteY136" fmla="*/ 457581 h 505301"/>
                  <a:gd name="connsiteX137" fmla="*/ 2145220 w 3497580"/>
                  <a:gd name="connsiteY137" fmla="*/ 463963 h 505301"/>
                  <a:gd name="connsiteX138" fmla="*/ 2164175 w 3497580"/>
                  <a:gd name="connsiteY138" fmla="*/ 463963 h 505301"/>
                  <a:gd name="connsiteX139" fmla="*/ 2164175 w 3497580"/>
                  <a:gd name="connsiteY139" fmla="*/ 470440 h 505301"/>
                  <a:gd name="connsiteX140" fmla="*/ 3017996 w 3497580"/>
                  <a:gd name="connsiteY140" fmla="*/ 470440 h 505301"/>
                  <a:gd name="connsiteX141" fmla="*/ 3017996 w 3497580"/>
                  <a:gd name="connsiteY141" fmla="*/ 505301 h 505301"/>
                  <a:gd name="connsiteX142" fmla="*/ 3497580 w 3497580"/>
                  <a:gd name="connsiteY142" fmla="*/ 505301 h 505301"/>
                  <a:gd name="connsiteX0" fmla="*/ 0 w 3491294"/>
                  <a:gd name="connsiteY0" fmla="*/ 0 h 487108"/>
                  <a:gd name="connsiteX1" fmla="*/ 4191 w 3491294"/>
                  <a:gd name="connsiteY1" fmla="*/ 0 h 487108"/>
                  <a:gd name="connsiteX2" fmla="*/ 4191 w 3491294"/>
                  <a:gd name="connsiteY2" fmla="*/ 6096 h 487108"/>
                  <a:gd name="connsiteX3" fmla="*/ 16859 w 3491294"/>
                  <a:gd name="connsiteY3" fmla="*/ 6096 h 487108"/>
                  <a:gd name="connsiteX4" fmla="*/ 16859 w 3491294"/>
                  <a:gd name="connsiteY4" fmla="*/ 12192 h 487108"/>
                  <a:gd name="connsiteX5" fmla="*/ 31528 w 3491294"/>
                  <a:gd name="connsiteY5" fmla="*/ 12192 h 487108"/>
                  <a:gd name="connsiteX6" fmla="*/ 31528 w 3491294"/>
                  <a:gd name="connsiteY6" fmla="*/ 18193 h 487108"/>
                  <a:gd name="connsiteX7" fmla="*/ 35814 w 3491294"/>
                  <a:gd name="connsiteY7" fmla="*/ 18193 h 487108"/>
                  <a:gd name="connsiteX8" fmla="*/ 35814 w 3491294"/>
                  <a:gd name="connsiteY8" fmla="*/ 24289 h 487108"/>
                  <a:gd name="connsiteX9" fmla="*/ 46291 w 3491294"/>
                  <a:gd name="connsiteY9" fmla="*/ 24289 h 487108"/>
                  <a:gd name="connsiteX10" fmla="*/ 46291 w 3491294"/>
                  <a:gd name="connsiteY10" fmla="*/ 30385 h 487108"/>
                  <a:gd name="connsiteX11" fmla="*/ 54674 w 3491294"/>
                  <a:gd name="connsiteY11" fmla="*/ 30385 h 487108"/>
                  <a:gd name="connsiteX12" fmla="*/ 54674 w 3491294"/>
                  <a:gd name="connsiteY12" fmla="*/ 36481 h 487108"/>
                  <a:gd name="connsiteX13" fmla="*/ 69437 w 3491294"/>
                  <a:gd name="connsiteY13" fmla="*/ 36481 h 487108"/>
                  <a:gd name="connsiteX14" fmla="*/ 69437 w 3491294"/>
                  <a:gd name="connsiteY14" fmla="*/ 42481 h 487108"/>
                  <a:gd name="connsiteX15" fmla="*/ 73628 w 3491294"/>
                  <a:gd name="connsiteY15" fmla="*/ 42481 h 487108"/>
                  <a:gd name="connsiteX16" fmla="*/ 73628 w 3491294"/>
                  <a:gd name="connsiteY16" fmla="*/ 48577 h 487108"/>
                  <a:gd name="connsiteX17" fmla="*/ 77819 w 3491294"/>
                  <a:gd name="connsiteY17" fmla="*/ 48577 h 487108"/>
                  <a:gd name="connsiteX18" fmla="*/ 77819 w 3491294"/>
                  <a:gd name="connsiteY18" fmla="*/ 54673 h 487108"/>
                  <a:gd name="connsiteX19" fmla="*/ 90488 w 3491294"/>
                  <a:gd name="connsiteY19" fmla="*/ 54673 h 487108"/>
                  <a:gd name="connsiteX20" fmla="*/ 90488 w 3491294"/>
                  <a:gd name="connsiteY20" fmla="*/ 60674 h 487108"/>
                  <a:gd name="connsiteX21" fmla="*/ 119920 w 3491294"/>
                  <a:gd name="connsiteY21" fmla="*/ 60674 h 487108"/>
                  <a:gd name="connsiteX22" fmla="*/ 119920 w 3491294"/>
                  <a:gd name="connsiteY22" fmla="*/ 66770 h 487108"/>
                  <a:gd name="connsiteX23" fmla="*/ 128302 w 3491294"/>
                  <a:gd name="connsiteY23" fmla="*/ 66770 h 487108"/>
                  <a:gd name="connsiteX24" fmla="*/ 128302 w 3491294"/>
                  <a:gd name="connsiteY24" fmla="*/ 72866 h 487108"/>
                  <a:gd name="connsiteX25" fmla="*/ 130397 w 3491294"/>
                  <a:gd name="connsiteY25" fmla="*/ 72866 h 487108"/>
                  <a:gd name="connsiteX26" fmla="*/ 130397 w 3491294"/>
                  <a:gd name="connsiteY26" fmla="*/ 78867 h 487108"/>
                  <a:gd name="connsiteX27" fmla="*/ 145161 w 3491294"/>
                  <a:gd name="connsiteY27" fmla="*/ 78867 h 487108"/>
                  <a:gd name="connsiteX28" fmla="*/ 145161 w 3491294"/>
                  <a:gd name="connsiteY28" fmla="*/ 91059 h 487108"/>
                  <a:gd name="connsiteX29" fmla="*/ 147257 w 3491294"/>
                  <a:gd name="connsiteY29" fmla="*/ 91059 h 487108"/>
                  <a:gd name="connsiteX30" fmla="*/ 147257 w 3491294"/>
                  <a:gd name="connsiteY30" fmla="*/ 97060 h 487108"/>
                  <a:gd name="connsiteX31" fmla="*/ 153543 w 3491294"/>
                  <a:gd name="connsiteY31" fmla="*/ 97060 h 487108"/>
                  <a:gd name="connsiteX32" fmla="*/ 153543 w 3491294"/>
                  <a:gd name="connsiteY32" fmla="*/ 103156 h 487108"/>
                  <a:gd name="connsiteX33" fmla="*/ 157734 w 3491294"/>
                  <a:gd name="connsiteY33" fmla="*/ 103156 h 487108"/>
                  <a:gd name="connsiteX34" fmla="*/ 157734 w 3491294"/>
                  <a:gd name="connsiteY34" fmla="*/ 109252 h 487108"/>
                  <a:gd name="connsiteX35" fmla="*/ 174593 w 3491294"/>
                  <a:gd name="connsiteY35" fmla="*/ 109252 h 487108"/>
                  <a:gd name="connsiteX36" fmla="*/ 174593 w 3491294"/>
                  <a:gd name="connsiteY36" fmla="*/ 121348 h 487108"/>
                  <a:gd name="connsiteX37" fmla="*/ 178784 w 3491294"/>
                  <a:gd name="connsiteY37" fmla="*/ 121348 h 487108"/>
                  <a:gd name="connsiteX38" fmla="*/ 178784 w 3491294"/>
                  <a:gd name="connsiteY38" fmla="*/ 127444 h 487108"/>
                  <a:gd name="connsiteX39" fmla="*/ 201930 w 3491294"/>
                  <a:gd name="connsiteY39" fmla="*/ 127444 h 487108"/>
                  <a:gd name="connsiteX40" fmla="*/ 201930 w 3491294"/>
                  <a:gd name="connsiteY40" fmla="*/ 133540 h 487108"/>
                  <a:gd name="connsiteX41" fmla="*/ 206121 w 3491294"/>
                  <a:gd name="connsiteY41" fmla="*/ 133540 h 487108"/>
                  <a:gd name="connsiteX42" fmla="*/ 206121 w 3491294"/>
                  <a:gd name="connsiteY42" fmla="*/ 139541 h 487108"/>
                  <a:gd name="connsiteX43" fmla="*/ 212408 w 3491294"/>
                  <a:gd name="connsiteY43" fmla="*/ 139541 h 487108"/>
                  <a:gd name="connsiteX44" fmla="*/ 212408 w 3491294"/>
                  <a:gd name="connsiteY44" fmla="*/ 151733 h 487108"/>
                  <a:gd name="connsiteX45" fmla="*/ 231362 w 3491294"/>
                  <a:gd name="connsiteY45" fmla="*/ 151733 h 487108"/>
                  <a:gd name="connsiteX46" fmla="*/ 231362 w 3491294"/>
                  <a:gd name="connsiteY46" fmla="*/ 157734 h 487108"/>
                  <a:gd name="connsiteX47" fmla="*/ 239744 w 3491294"/>
                  <a:gd name="connsiteY47" fmla="*/ 157734 h 487108"/>
                  <a:gd name="connsiteX48" fmla="*/ 239744 w 3491294"/>
                  <a:gd name="connsiteY48" fmla="*/ 163830 h 487108"/>
                  <a:gd name="connsiteX49" fmla="*/ 252413 w 3491294"/>
                  <a:gd name="connsiteY49" fmla="*/ 163830 h 487108"/>
                  <a:gd name="connsiteX50" fmla="*/ 252413 w 3491294"/>
                  <a:gd name="connsiteY50" fmla="*/ 169926 h 487108"/>
                  <a:gd name="connsiteX51" fmla="*/ 269272 w 3491294"/>
                  <a:gd name="connsiteY51" fmla="*/ 169926 h 487108"/>
                  <a:gd name="connsiteX52" fmla="*/ 269272 w 3491294"/>
                  <a:gd name="connsiteY52" fmla="*/ 175927 h 487108"/>
                  <a:gd name="connsiteX53" fmla="*/ 296609 w 3491294"/>
                  <a:gd name="connsiteY53" fmla="*/ 175927 h 487108"/>
                  <a:gd name="connsiteX54" fmla="*/ 296609 w 3491294"/>
                  <a:gd name="connsiteY54" fmla="*/ 182023 h 487108"/>
                  <a:gd name="connsiteX55" fmla="*/ 298704 w 3491294"/>
                  <a:gd name="connsiteY55" fmla="*/ 182023 h 487108"/>
                  <a:gd name="connsiteX56" fmla="*/ 298704 w 3491294"/>
                  <a:gd name="connsiteY56" fmla="*/ 188119 h 487108"/>
                  <a:gd name="connsiteX57" fmla="*/ 309181 w 3491294"/>
                  <a:gd name="connsiteY57" fmla="*/ 188119 h 487108"/>
                  <a:gd name="connsiteX58" fmla="*/ 309181 w 3491294"/>
                  <a:gd name="connsiteY58" fmla="*/ 194119 h 487108"/>
                  <a:gd name="connsiteX59" fmla="*/ 315468 w 3491294"/>
                  <a:gd name="connsiteY59" fmla="*/ 194119 h 487108"/>
                  <a:gd name="connsiteX60" fmla="*/ 315468 w 3491294"/>
                  <a:gd name="connsiteY60" fmla="*/ 206311 h 487108"/>
                  <a:gd name="connsiteX61" fmla="*/ 323945 w 3491294"/>
                  <a:gd name="connsiteY61" fmla="*/ 206311 h 487108"/>
                  <a:gd name="connsiteX62" fmla="*/ 323945 w 3491294"/>
                  <a:gd name="connsiteY62" fmla="*/ 212312 h 487108"/>
                  <a:gd name="connsiteX63" fmla="*/ 330232 w 3491294"/>
                  <a:gd name="connsiteY63" fmla="*/ 212312 h 487108"/>
                  <a:gd name="connsiteX64" fmla="*/ 330232 w 3491294"/>
                  <a:gd name="connsiteY64" fmla="*/ 224504 h 487108"/>
                  <a:gd name="connsiteX65" fmla="*/ 332327 w 3491294"/>
                  <a:gd name="connsiteY65" fmla="*/ 224504 h 487108"/>
                  <a:gd name="connsiteX66" fmla="*/ 332327 w 3491294"/>
                  <a:gd name="connsiteY66" fmla="*/ 230600 h 487108"/>
                  <a:gd name="connsiteX67" fmla="*/ 344900 w 3491294"/>
                  <a:gd name="connsiteY67" fmla="*/ 230600 h 487108"/>
                  <a:gd name="connsiteX68" fmla="*/ 344900 w 3491294"/>
                  <a:gd name="connsiteY68" fmla="*/ 236601 h 487108"/>
                  <a:gd name="connsiteX69" fmla="*/ 368046 w 3491294"/>
                  <a:gd name="connsiteY69" fmla="*/ 236601 h 487108"/>
                  <a:gd name="connsiteX70" fmla="*/ 368046 w 3491294"/>
                  <a:gd name="connsiteY70" fmla="*/ 242697 h 487108"/>
                  <a:gd name="connsiteX71" fmla="*/ 374428 w 3491294"/>
                  <a:gd name="connsiteY71" fmla="*/ 242697 h 487108"/>
                  <a:gd name="connsiteX72" fmla="*/ 374428 w 3491294"/>
                  <a:gd name="connsiteY72" fmla="*/ 248793 h 487108"/>
                  <a:gd name="connsiteX73" fmla="*/ 382810 w 3491294"/>
                  <a:gd name="connsiteY73" fmla="*/ 248793 h 487108"/>
                  <a:gd name="connsiteX74" fmla="*/ 382810 w 3491294"/>
                  <a:gd name="connsiteY74" fmla="*/ 254794 h 487108"/>
                  <a:gd name="connsiteX75" fmla="*/ 391192 w 3491294"/>
                  <a:gd name="connsiteY75" fmla="*/ 254794 h 487108"/>
                  <a:gd name="connsiteX76" fmla="*/ 391192 w 3491294"/>
                  <a:gd name="connsiteY76" fmla="*/ 260890 h 487108"/>
                  <a:gd name="connsiteX77" fmla="*/ 395383 w 3491294"/>
                  <a:gd name="connsiteY77" fmla="*/ 260890 h 487108"/>
                  <a:gd name="connsiteX78" fmla="*/ 395383 w 3491294"/>
                  <a:gd name="connsiteY78" fmla="*/ 266986 h 487108"/>
                  <a:gd name="connsiteX79" fmla="*/ 469011 w 3491294"/>
                  <a:gd name="connsiteY79" fmla="*/ 266986 h 487108"/>
                  <a:gd name="connsiteX80" fmla="*/ 469011 w 3491294"/>
                  <a:gd name="connsiteY80" fmla="*/ 272986 h 487108"/>
                  <a:gd name="connsiteX81" fmla="*/ 490061 w 3491294"/>
                  <a:gd name="connsiteY81" fmla="*/ 272986 h 487108"/>
                  <a:gd name="connsiteX82" fmla="*/ 490061 w 3491294"/>
                  <a:gd name="connsiteY82" fmla="*/ 279082 h 487108"/>
                  <a:gd name="connsiteX83" fmla="*/ 496348 w 3491294"/>
                  <a:gd name="connsiteY83" fmla="*/ 279082 h 487108"/>
                  <a:gd name="connsiteX84" fmla="*/ 496348 w 3491294"/>
                  <a:gd name="connsiteY84" fmla="*/ 285178 h 487108"/>
                  <a:gd name="connsiteX85" fmla="*/ 538448 w 3491294"/>
                  <a:gd name="connsiteY85" fmla="*/ 285178 h 487108"/>
                  <a:gd name="connsiteX86" fmla="*/ 538448 w 3491294"/>
                  <a:gd name="connsiteY86" fmla="*/ 291179 h 487108"/>
                  <a:gd name="connsiteX87" fmla="*/ 553117 w 3491294"/>
                  <a:gd name="connsiteY87" fmla="*/ 291179 h 487108"/>
                  <a:gd name="connsiteX88" fmla="*/ 553117 w 3491294"/>
                  <a:gd name="connsiteY88" fmla="*/ 297275 h 487108"/>
                  <a:gd name="connsiteX89" fmla="*/ 582644 w 3491294"/>
                  <a:gd name="connsiteY89" fmla="*/ 297275 h 487108"/>
                  <a:gd name="connsiteX90" fmla="*/ 582644 w 3491294"/>
                  <a:gd name="connsiteY90" fmla="*/ 303371 h 487108"/>
                  <a:gd name="connsiteX91" fmla="*/ 584740 w 3491294"/>
                  <a:gd name="connsiteY91" fmla="*/ 303371 h 487108"/>
                  <a:gd name="connsiteX92" fmla="*/ 584740 w 3491294"/>
                  <a:gd name="connsiteY92" fmla="*/ 309372 h 487108"/>
                  <a:gd name="connsiteX93" fmla="*/ 607790 w 3491294"/>
                  <a:gd name="connsiteY93" fmla="*/ 309372 h 487108"/>
                  <a:gd name="connsiteX94" fmla="*/ 607790 w 3491294"/>
                  <a:gd name="connsiteY94" fmla="*/ 315468 h 487108"/>
                  <a:gd name="connsiteX95" fmla="*/ 620459 w 3491294"/>
                  <a:gd name="connsiteY95" fmla="*/ 315468 h 487108"/>
                  <a:gd name="connsiteX96" fmla="*/ 620459 w 3491294"/>
                  <a:gd name="connsiteY96" fmla="*/ 321564 h 487108"/>
                  <a:gd name="connsiteX97" fmla="*/ 656177 w 3491294"/>
                  <a:gd name="connsiteY97" fmla="*/ 321564 h 487108"/>
                  <a:gd name="connsiteX98" fmla="*/ 656177 w 3491294"/>
                  <a:gd name="connsiteY98" fmla="*/ 327660 h 487108"/>
                  <a:gd name="connsiteX99" fmla="*/ 771906 w 3491294"/>
                  <a:gd name="connsiteY99" fmla="*/ 327660 h 487108"/>
                  <a:gd name="connsiteX100" fmla="*/ 771906 w 3491294"/>
                  <a:gd name="connsiteY100" fmla="*/ 333661 h 487108"/>
                  <a:gd name="connsiteX101" fmla="*/ 809720 w 3491294"/>
                  <a:gd name="connsiteY101" fmla="*/ 333661 h 487108"/>
                  <a:gd name="connsiteX102" fmla="*/ 809720 w 3491294"/>
                  <a:gd name="connsiteY102" fmla="*/ 339852 h 487108"/>
                  <a:gd name="connsiteX103" fmla="*/ 862298 w 3491294"/>
                  <a:gd name="connsiteY103" fmla="*/ 339852 h 487108"/>
                  <a:gd name="connsiteX104" fmla="*/ 862298 w 3491294"/>
                  <a:gd name="connsiteY104" fmla="*/ 345948 h 487108"/>
                  <a:gd name="connsiteX105" fmla="*/ 881253 w 3491294"/>
                  <a:gd name="connsiteY105" fmla="*/ 345948 h 487108"/>
                  <a:gd name="connsiteX106" fmla="*/ 881253 w 3491294"/>
                  <a:gd name="connsiteY106" fmla="*/ 352044 h 487108"/>
                  <a:gd name="connsiteX107" fmla="*/ 891731 w 3491294"/>
                  <a:gd name="connsiteY107" fmla="*/ 352044 h 487108"/>
                  <a:gd name="connsiteX108" fmla="*/ 891731 w 3491294"/>
                  <a:gd name="connsiteY108" fmla="*/ 358235 h 487108"/>
                  <a:gd name="connsiteX109" fmla="*/ 925449 w 3491294"/>
                  <a:gd name="connsiteY109" fmla="*/ 358235 h 487108"/>
                  <a:gd name="connsiteX110" fmla="*/ 925449 w 3491294"/>
                  <a:gd name="connsiteY110" fmla="*/ 364331 h 487108"/>
                  <a:gd name="connsiteX111" fmla="*/ 931736 w 3491294"/>
                  <a:gd name="connsiteY111" fmla="*/ 364331 h 487108"/>
                  <a:gd name="connsiteX112" fmla="*/ 931736 w 3491294"/>
                  <a:gd name="connsiteY112" fmla="*/ 370427 h 487108"/>
                  <a:gd name="connsiteX113" fmla="*/ 946404 w 3491294"/>
                  <a:gd name="connsiteY113" fmla="*/ 370427 h 487108"/>
                  <a:gd name="connsiteX114" fmla="*/ 946404 w 3491294"/>
                  <a:gd name="connsiteY114" fmla="*/ 376523 h 487108"/>
                  <a:gd name="connsiteX115" fmla="*/ 959072 w 3491294"/>
                  <a:gd name="connsiteY115" fmla="*/ 376523 h 487108"/>
                  <a:gd name="connsiteX116" fmla="*/ 959072 w 3491294"/>
                  <a:gd name="connsiteY116" fmla="*/ 382714 h 487108"/>
                  <a:gd name="connsiteX117" fmla="*/ 984314 w 3491294"/>
                  <a:gd name="connsiteY117" fmla="*/ 382714 h 487108"/>
                  <a:gd name="connsiteX118" fmla="*/ 984314 w 3491294"/>
                  <a:gd name="connsiteY118" fmla="*/ 388810 h 487108"/>
                  <a:gd name="connsiteX119" fmla="*/ 1213580 w 3491294"/>
                  <a:gd name="connsiteY119" fmla="*/ 388810 h 487108"/>
                  <a:gd name="connsiteX120" fmla="*/ 1213580 w 3491294"/>
                  <a:gd name="connsiteY120" fmla="*/ 395002 h 487108"/>
                  <a:gd name="connsiteX121" fmla="*/ 1327118 w 3491294"/>
                  <a:gd name="connsiteY121" fmla="*/ 395002 h 487108"/>
                  <a:gd name="connsiteX122" fmla="*/ 1327118 w 3491294"/>
                  <a:gd name="connsiteY122" fmla="*/ 401193 h 487108"/>
                  <a:gd name="connsiteX123" fmla="*/ 1596295 w 3491294"/>
                  <a:gd name="connsiteY123" fmla="*/ 401193 h 487108"/>
                  <a:gd name="connsiteX124" fmla="*/ 1596295 w 3491294"/>
                  <a:gd name="connsiteY124" fmla="*/ 407479 h 487108"/>
                  <a:gd name="connsiteX125" fmla="*/ 1669923 w 3491294"/>
                  <a:gd name="connsiteY125" fmla="*/ 407479 h 487108"/>
                  <a:gd name="connsiteX126" fmla="*/ 1669923 w 3491294"/>
                  <a:gd name="connsiteY126" fmla="*/ 413766 h 487108"/>
                  <a:gd name="connsiteX127" fmla="*/ 1749838 w 3491294"/>
                  <a:gd name="connsiteY127" fmla="*/ 413766 h 487108"/>
                  <a:gd name="connsiteX128" fmla="*/ 1749838 w 3491294"/>
                  <a:gd name="connsiteY128" fmla="*/ 420052 h 487108"/>
                  <a:gd name="connsiteX129" fmla="*/ 1911763 w 3491294"/>
                  <a:gd name="connsiteY129" fmla="*/ 420052 h 487108"/>
                  <a:gd name="connsiteX130" fmla="*/ 1911763 w 3491294"/>
                  <a:gd name="connsiteY130" fmla="*/ 426529 h 487108"/>
                  <a:gd name="connsiteX131" fmla="*/ 1928622 w 3491294"/>
                  <a:gd name="connsiteY131" fmla="*/ 426529 h 487108"/>
                  <a:gd name="connsiteX132" fmla="*/ 1928622 w 3491294"/>
                  <a:gd name="connsiteY132" fmla="*/ 432911 h 487108"/>
                  <a:gd name="connsiteX133" fmla="*/ 2046446 w 3491294"/>
                  <a:gd name="connsiteY133" fmla="*/ 432911 h 487108"/>
                  <a:gd name="connsiteX134" fmla="*/ 2046446 w 3491294"/>
                  <a:gd name="connsiteY134" fmla="*/ 439388 h 487108"/>
                  <a:gd name="connsiteX135" fmla="*/ 2138934 w 3491294"/>
                  <a:gd name="connsiteY135" fmla="*/ 439388 h 487108"/>
                  <a:gd name="connsiteX136" fmla="*/ 2138934 w 3491294"/>
                  <a:gd name="connsiteY136" fmla="*/ 445770 h 487108"/>
                  <a:gd name="connsiteX137" fmla="*/ 2157889 w 3491294"/>
                  <a:gd name="connsiteY137" fmla="*/ 445770 h 487108"/>
                  <a:gd name="connsiteX138" fmla="*/ 2157889 w 3491294"/>
                  <a:gd name="connsiteY138" fmla="*/ 452247 h 487108"/>
                  <a:gd name="connsiteX139" fmla="*/ 3011710 w 3491294"/>
                  <a:gd name="connsiteY139" fmla="*/ 452247 h 487108"/>
                  <a:gd name="connsiteX140" fmla="*/ 3011710 w 3491294"/>
                  <a:gd name="connsiteY140" fmla="*/ 487108 h 487108"/>
                  <a:gd name="connsiteX141" fmla="*/ 3491294 w 3491294"/>
                  <a:gd name="connsiteY141" fmla="*/ 487108 h 487108"/>
                  <a:gd name="connsiteX0" fmla="*/ 0 w 3491294"/>
                  <a:gd name="connsiteY0" fmla="*/ 0 h 487108"/>
                  <a:gd name="connsiteX1" fmla="*/ 4191 w 3491294"/>
                  <a:gd name="connsiteY1" fmla="*/ 0 h 487108"/>
                  <a:gd name="connsiteX2" fmla="*/ 16859 w 3491294"/>
                  <a:gd name="connsiteY2" fmla="*/ 6096 h 487108"/>
                  <a:gd name="connsiteX3" fmla="*/ 16859 w 3491294"/>
                  <a:gd name="connsiteY3" fmla="*/ 12192 h 487108"/>
                  <a:gd name="connsiteX4" fmla="*/ 31528 w 3491294"/>
                  <a:gd name="connsiteY4" fmla="*/ 12192 h 487108"/>
                  <a:gd name="connsiteX5" fmla="*/ 31528 w 3491294"/>
                  <a:gd name="connsiteY5" fmla="*/ 18193 h 487108"/>
                  <a:gd name="connsiteX6" fmla="*/ 35814 w 3491294"/>
                  <a:gd name="connsiteY6" fmla="*/ 18193 h 487108"/>
                  <a:gd name="connsiteX7" fmla="*/ 35814 w 3491294"/>
                  <a:gd name="connsiteY7" fmla="*/ 24289 h 487108"/>
                  <a:gd name="connsiteX8" fmla="*/ 46291 w 3491294"/>
                  <a:gd name="connsiteY8" fmla="*/ 24289 h 487108"/>
                  <a:gd name="connsiteX9" fmla="*/ 46291 w 3491294"/>
                  <a:gd name="connsiteY9" fmla="*/ 30385 h 487108"/>
                  <a:gd name="connsiteX10" fmla="*/ 54674 w 3491294"/>
                  <a:gd name="connsiteY10" fmla="*/ 30385 h 487108"/>
                  <a:gd name="connsiteX11" fmla="*/ 54674 w 3491294"/>
                  <a:gd name="connsiteY11" fmla="*/ 36481 h 487108"/>
                  <a:gd name="connsiteX12" fmla="*/ 69437 w 3491294"/>
                  <a:gd name="connsiteY12" fmla="*/ 36481 h 487108"/>
                  <a:gd name="connsiteX13" fmla="*/ 69437 w 3491294"/>
                  <a:gd name="connsiteY13" fmla="*/ 42481 h 487108"/>
                  <a:gd name="connsiteX14" fmla="*/ 73628 w 3491294"/>
                  <a:gd name="connsiteY14" fmla="*/ 42481 h 487108"/>
                  <a:gd name="connsiteX15" fmla="*/ 73628 w 3491294"/>
                  <a:gd name="connsiteY15" fmla="*/ 48577 h 487108"/>
                  <a:gd name="connsiteX16" fmla="*/ 77819 w 3491294"/>
                  <a:gd name="connsiteY16" fmla="*/ 48577 h 487108"/>
                  <a:gd name="connsiteX17" fmla="*/ 77819 w 3491294"/>
                  <a:gd name="connsiteY17" fmla="*/ 54673 h 487108"/>
                  <a:gd name="connsiteX18" fmla="*/ 90488 w 3491294"/>
                  <a:gd name="connsiteY18" fmla="*/ 54673 h 487108"/>
                  <a:gd name="connsiteX19" fmla="*/ 90488 w 3491294"/>
                  <a:gd name="connsiteY19" fmla="*/ 60674 h 487108"/>
                  <a:gd name="connsiteX20" fmla="*/ 119920 w 3491294"/>
                  <a:gd name="connsiteY20" fmla="*/ 60674 h 487108"/>
                  <a:gd name="connsiteX21" fmla="*/ 119920 w 3491294"/>
                  <a:gd name="connsiteY21" fmla="*/ 66770 h 487108"/>
                  <a:gd name="connsiteX22" fmla="*/ 128302 w 3491294"/>
                  <a:gd name="connsiteY22" fmla="*/ 66770 h 487108"/>
                  <a:gd name="connsiteX23" fmla="*/ 128302 w 3491294"/>
                  <a:gd name="connsiteY23" fmla="*/ 72866 h 487108"/>
                  <a:gd name="connsiteX24" fmla="*/ 130397 w 3491294"/>
                  <a:gd name="connsiteY24" fmla="*/ 72866 h 487108"/>
                  <a:gd name="connsiteX25" fmla="*/ 130397 w 3491294"/>
                  <a:gd name="connsiteY25" fmla="*/ 78867 h 487108"/>
                  <a:gd name="connsiteX26" fmla="*/ 145161 w 3491294"/>
                  <a:gd name="connsiteY26" fmla="*/ 78867 h 487108"/>
                  <a:gd name="connsiteX27" fmla="*/ 145161 w 3491294"/>
                  <a:gd name="connsiteY27" fmla="*/ 91059 h 487108"/>
                  <a:gd name="connsiteX28" fmla="*/ 147257 w 3491294"/>
                  <a:gd name="connsiteY28" fmla="*/ 91059 h 487108"/>
                  <a:gd name="connsiteX29" fmla="*/ 147257 w 3491294"/>
                  <a:gd name="connsiteY29" fmla="*/ 97060 h 487108"/>
                  <a:gd name="connsiteX30" fmla="*/ 153543 w 3491294"/>
                  <a:gd name="connsiteY30" fmla="*/ 97060 h 487108"/>
                  <a:gd name="connsiteX31" fmla="*/ 153543 w 3491294"/>
                  <a:gd name="connsiteY31" fmla="*/ 103156 h 487108"/>
                  <a:gd name="connsiteX32" fmla="*/ 157734 w 3491294"/>
                  <a:gd name="connsiteY32" fmla="*/ 103156 h 487108"/>
                  <a:gd name="connsiteX33" fmla="*/ 157734 w 3491294"/>
                  <a:gd name="connsiteY33" fmla="*/ 109252 h 487108"/>
                  <a:gd name="connsiteX34" fmla="*/ 174593 w 3491294"/>
                  <a:gd name="connsiteY34" fmla="*/ 109252 h 487108"/>
                  <a:gd name="connsiteX35" fmla="*/ 174593 w 3491294"/>
                  <a:gd name="connsiteY35" fmla="*/ 121348 h 487108"/>
                  <a:gd name="connsiteX36" fmla="*/ 178784 w 3491294"/>
                  <a:gd name="connsiteY36" fmla="*/ 121348 h 487108"/>
                  <a:gd name="connsiteX37" fmla="*/ 178784 w 3491294"/>
                  <a:gd name="connsiteY37" fmla="*/ 127444 h 487108"/>
                  <a:gd name="connsiteX38" fmla="*/ 201930 w 3491294"/>
                  <a:gd name="connsiteY38" fmla="*/ 127444 h 487108"/>
                  <a:gd name="connsiteX39" fmla="*/ 201930 w 3491294"/>
                  <a:gd name="connsiteY39" fmla="*/ 133540 h 487108"/>
                  <a:gd name="connsiteX40" fmla="*/ 206121 w 3491294"/>
                  <a:gd name="connsiteY40" fmla="*/ 133540 h 487108"/>
                  <a:gd name="connsiteX41" fmla="*/ 206121 w 3491294"/>
                  <a:gd name="connsiteY41" fmla="*/ 139541 h 487108"/>
                  <a:gd name="connsiteX42" fmla="*/ 212408 w 3491294"/>
                  <a:gd name="connsiteY42" fmla="*/ 139541 h 487108"/>
                  <a:gd name="connsiteX43" fmla="*/ 212408 w 3491294"/>
                  <a:gd name="connsiteY43" fmla="*/ 151733 h 487108"/>
                  <a:gd name="connsiteX44" fmla="*/ 231362 w 3491294"/>
                  <a:gd name="connsiteY44" fmla="*/ 151733 h 487108"/>
                  <a:gd name="connsiteX45" fmla="*/ 231362 w 3491294"/>
                  <a:gd name="connsiteY45" fmla="*/ 157734 h 487108"/>
                  <a:gd name="connsiteX46" fmla="*/ 239744 w 3491294"/>
                  <a:gd name="connsiteY46" fmla="*/ 157734 h 487108"/>
                  <a:gd name="connsiteX47" fmla="*/ 239744 w 3491294"/>
                  <a:gd name="connsiteY47" fmla="*/ 163830 h 487108"/>
                  <a:gd name="connsiteX48" fmla="*/ 252413 w 3491294"/>
                  <a:gd name="connsiteY48" fmla="*/ 163830 h 487108"/>
                  <a:gd name="connsiteX49" fmla="*/ 252413 w 3491294"/>
                  <a:gd name="connsiteY49" fmla="*/ 169926 h 487108"/>
                  <a:gd name="connsiteX50" fmla="*/ 269272 w 3491294"/>
                  <a:gd name="connsiteY50" fmla="*/ 169926 h 487108"/>
                  <a:gd name="connsiteX51" fmla="*/ 269272 w 3491294"/>
                  <a:gd name="connsiteY51" fmla="*/ 175927 h 487108"/>
                  <a:gd name="connsiteX52" fmla="*/ 296609 w 3491294"/>
                  <a:gd name="connsiteY52" fmla="*/ 175927 h 487108"/>
                  <a:gd name="connsiteX53" fmla="*/ 296609 w 3491294"/>
                  <a:gd name="connsiteY53" fmla="*/ 182023 h 487108"/>
                  <a:gd name="connsiteX54" fmla="*/ 298704 w 3491294"/>
                  <a:gd name="connsiteY54" fmla="*/ 182023 h 487108"/>
                  <a:gd name="connsiteX55" fmla="*/ 298704 w 3491294"/>
                  <a:gd name="connsiteY55" fmla="*/ 188119 h 487108"/>
                  <a:gd name="connsiteX56" fmla="*/ 309181 w 3491294"/>
                  <a:gd name="connsiteY56" fmla="*/ 188119 h 487108"/>
                  <a:gd name="connsiteX57" fmla="*/ 309181 w 3491294"/>
                  <a:gd name="connsiteY57" fmla="*/ 194119 h 487108"/>
                  <a:gd name="connsiteX58" fmla="*/ 315468 w 3491294"/>
                  <a:gd name="connsiteY58" fmla="*/ 194119 h 487108"/>
                  <a:gd name="connsiteX59" fmla="*/ 315468 w 3491294"/>
                  <a:gd name="connsiteY59" fmla="*/ 206311 h 487108"/>
                  <a:gd name="connsiteX60" fmla="*/ 323945 w 3491294"/>
                  <a:gd name="connsiteY60" fmla="*/ 206311 h 487108"/>
                  <a:gd name="connsiteX61" fmla="*/ 323945 w 3491294"/>
                  <a:gd name="connsiteY61" fmla="*/ 212312 h 487108"/>
                  <a:gd name="connsiteX62" fmla="*/ 330232 w 3491294"/>
                  <a:gd name="connsiteY62" fmla="*/ 212312 h 487108"/>
                  <a:gd name="connsiteX63" fmla="*/ 330232 w 3491294"/>
                  <a:gd name="connsiteY63" fmla="*/ 224504 h 487108"/>
                  <a:gd name="connsiteX64" fmla="*/ 332327 w 3491294"/>
                  <a:gd name="connsiteY64" fmla="*/ 224504 h 487108"/>
                  <a:gd name="connsiteX65" fmla="*/ 332327 w 3491294"/>
                  <a:gd name="connsiteY65" fmla="*/ 230600 h 487108"/>
                  <a:gd name="connsiteX66" fmla="*/ 344900 w 3491294"/>
                  <a:gd name="connsiteY66" fmla="*/ 230600 h 487108"/>
                  <a:gd name="connsiteX67" fmla="*/ 344900 w 3491294"/>
                  <a:gd name="connsiteY67" fmla="*/ 236601 h 487108"/>
                  <a:gd name="connsiteX68" fmla="*/ 368046 w 3491294"/>
                  <a:gd name="connsiteY68" fmla="*/ 236601 h 487108"/>
                  <a:gd name="connsiteX69" fmla="*/ 368046 w 3491294"/>
                  <a:gd name="connsiteY69" fmla="*/ 242697 h 487108"/>
                  <a:gd name="connsiteX70" fmla="*/ 374428 w 3491294"/>
                  <a:gd name="connsiteY70" fmla="*/ 242697 h 487108"/>
                  <a:gd name="connsiteX71" fmla="*/ 374428 w 3491294"/>
                  <a:gd name="connsiteY71" fmla="*/ 248793 h 487108"/>
                  <a:gd name="connsiteX72" fmla="*/ 382810 w 3491294"/>
                  <a:gd name="connsiteY72" fmla="*/ 248793 h 487108"/>
                  <a:gd name="connsiteX73" fmla="*/ 382810 w 3491294"/>
                  <a:gd name="connsiteY73" fmla="*/ 254794 h 487108"/>
                  <a:gd name="connsiteX74" fmla="*/ 391192 w 3491294"/>
                  <a:gd name="connsiteY74" fmla="*/ 254794 h 487108"/>
                  <a:gd name="connsiteX75" fmla="*/ 391192 w 3491294"/>
                  <a:gd name="connsiteY75" fmla="*/ 260890 h 487108"/>
                  <a:gd name="connsiteX76" fmla="*/ 395383 w 3491294"/>
                  <a:gd name="connsiteY76" fmla="*/ 260890 h 487108"/>
                  <a:gd name="connsiteX77" fmla="*/ 395383 w 3491294"/>
                  <a:gd name="connsiteY77" fmla="*/ 266986 h 487108"/>
                  <a:gd name="connsiteX78" fmla="*/ 469011 w 3491294"/>
                  <a:gd name="connsiteY78" fmla="*/ 266986 h 487108"/>
                  <a:gd name="connsiteX79" fmla="*/ 469011 w 3491294"/>
                  <a:gd name="connsiteY79" fmla="*/ 272986 h 487108"/>
                  <a:gd name="connsiteX80" fmla="*/ 490061 w 3491294"/>
                  <a:gd name="connsiteY80" fmla="*/ 272986 h 487108"/>
                  <a:gd name="connsiteX81" fmla="*/ 490061 w 3491294"/>
                  <a:gd name="connsiteY81" fmla="*/ 279082 h 487108"/>
                  <a:gd name="connsiteX82" fmla="*/ 496348 w 3491294"/>
                  <a:gd name="connsiteY82" fmla="*/ 279082 h 487108"/>
                  <a:gd name="connsiteX83" fmla="*/ 496348 w 3491294"/>
                  <a:gd name="connsiteY83" fmla="*/ 285178 h 487108"/>
                  <a:gd name="connsiteX84" fmla="*/ 538448 w 3491294"/>
                  <a:gd name="connsiteY84" fmla="*/ 285178 h 487108"/>
                  <a:gd name="connsiteX85" fmla="*/ 538448 w 3491294"/>
                  <a:gd name="connsiteY85" fmla="*/ 291179 h 487108"/>
                  <a:gd name="connsiteX86" fmla="*/ 553117 w 3491294"/>
                  <a:gd name="connsiteY86" fmla="*/ 291179 h 487108"/>
                  <a:gd name="connsiteX87" fmla="*/ 553117 w 3491294"/>
                  <a:gd name="connsiteY87" fmla="*/ 297275 h 487108"/>
                  <a:gd name="connsiteX88" fmla="*/ 582644 w 3491294"/>
                  <a:gd name="connsiteY88" fmla="*/ 297275 h 487108"/>
                  <a:gd name="connsiteX89" fmla="*/ 582644 w 3491294"/>
                  <a:gd name="connsiteY89" fmla="*/ 303371 h 487108"/>
                  <a:gd name="connsiteX90" fmla="*/ 584740 w 3491294"/>
                  <a:gd name="connsiteY90" fmla="*/ 303371 h 487108"/>
                  <a:gd name="connsiteX91" fmla="*/ 584740 w 3491294"/>
                  <a:gd name="connsiteY91" fmla="*/ 309372 h 487108"/>
                  <a:gd name="connsiteX92" fmla="*/ 607790 w 3491294"/>
                  <a:gd name="connsiteY92" fmla="*/ 309372 h 487108"/>
                  <a:gd name="connsiteX93" fmla="*/ 607790 w 3491294"/>
                  <a:gd name="connsiteY93" fmla="*/ 315468 h 487108"/>
                  <a:gd name="connsiteX94" fmla="*/ 620459 w 3491294"/>
                  <a:gd name="connsiteY94" fmla="*/ 315468 h 487108"/>
                  <a:gd name="connsiteX95" fmla="*/ 620459 w 3491294"/>
                  <a:gd name="connsiteY95" fmla="*/ 321564 h 487108"/>
                  <a:gd name="connsiteX96" fmla="*/ 656177 w 3491294"/>
                  <a:gd name="connsiteY96" fmla="*/ 321564 h 487108"/>
                  <a:gd name="connsiteX97" fmla="*/ 656177 w 3491294"/>
                  <a:gd name="connsiteY97" fmla="*/ 327660 h 487108"/>
                  <a:gd name="connsiteX98" fmla="*/ 771906 w 3491294"/>
                  <a:gd name="connsiteY98" fmla="*/ 327660 h 487108"/>
                  <a:gd name="connsiteX99" fmla="*/ 771906 w 3491294"/>
                  <a:gd name="connsiteY99" fmla="*/ 333661 h 487108"/>
                  <a:gd name="connsiteX100" fmla="*/ 809720 w 3491294"/>
                  <a:gd name="connsiteY100" fmla="*/ 333661 h 487108"/>
                  <a:gd name="connsiteX101" fmla="*/ 809720 w 3491294"/>
                  <a:gd name="connsiteY101" fmla="*/ 339852 h 487108"/>
                  <a:gd name="connsiteX102" fmla="*/ 862298 w 3491294"/>
                  <a:gd name="connsiteY102" fmla="*/ 339852 h 487108"/>
                  <a:gd name="connsiteX103" fmla="*/ 862298 w 3491294"/>
                  <a:gd name="connsiteY103" fmla="*/ 345948 h 487108"/>
                  <a:gd name="connsiteX104" fmla="*/ 881253 w 3491294"/>
                  <a:gd name="connsiteY104" fmla="*/ 345948 h 487108"/>
                  <a:gd name="connsiteX105" fmla="*/ 881253 w 3491294"/>
                  <a:gd name="connsiteY105" fmla="*/ 352044 h 487108"/>
                  <a:gd name="connsiteX106" fmla="*/ 891731 w 3491294"/>
                  <a:gd name="connsiteY106" fmla="*/ 352044 h 487108"/>
                  <a:gd name="connsiteX107" fmla="*/ 891731 w 3491294"/>
                  <a:gd name="connsiteY107" fmla="*/ 358235 h 487108"/>
                  <a:gd name="connsiteX108" fmla="*/ 925449 w 3491294"/>
                  <a:gd name="connsiteY108" fmla="*/ 358235 h 487108"/>
                  <a:gd name="connsiteX109" fmla="*/ 925449 w 3491294"/>
                  <a:gd name="connsiteY109" fmla="*/ 364331 h 487108"/>
                  <a:gd name="connsiteX110" fmla="*/ 931736 w 3491294"/>
                  <a:gd name="connsiteY110" fmla="*/ 364331 h 487108"/>
                  <a:gd name="connsiteX111" fmla="*/ 931736 w 3491294"/>
                  <a:gd name="connsiteY111" fmla="*/ 370427 h 487108"/>
                  <a:gd name="connsiteX112" fmla="*/ 946404 w 3491294"/>
                  <a:gd name="connsiteY112" fmla="*/ 370427 h 487108"/>
                  <a:gd name="connsiteX113" fmla="*/ 946404 w 3491294"/>
                  <a:gd name="connsiteY113" fmla="*/ 376523 h 487108"/>
                  <a:gd name="connsiteX114" fmla="*/ 959072 w 3491294"/>
                  <a:gd name="connsiteY114" fmla="*/ 376523 h 487108"/>
                  <a:gd name="connsiteX115" fmla="*/ 959072 w 3491294"/>
                  <a:gd name="connsiteY115" fmla="*/ 382714 h 487108"/>
                  <a:gd name="connsiteX116" fmla="*/ 984314 w 3491294"/>
                  <a:gd name="connsiteY116" fmla="*/ 382714 h 487108"/>
                  <a:gd name="connsiteX117" fmla="*/ 984314 w 3491294"/>
                  <a:gd name="connsiteY117" fmla="*/ 388810 h 487108"/>
                  <a:gd name="connsiteX118" fmla="*/ 1213580 w 3491294"/>
                  <a:gd name="connsiteY118" fmla="*/ 388810 h 487108"/>
                  <a:gd name="connsiteX119" fmla="*/ 1213580 w 3491294"/>
                  <a:gd name="connsiteY119" fmla="*/ 395002 h 487108"/>
                  <a:gd name="connsiteX120" fmla="*/ 1327118 w 3491294"/>
                  <a:gd name="connsiteY120" fmla="*/ 395002 h 487108"/>
                  <a:gd name="connsiteX121" fmla="*/ 1327118 w 3491294"/>
                  <a:gd name="connsiteY121" fmla="*/ 401193 h 487108"/>
                  <a:gd name="connsiteX122" fmla="*/ 1596295 w 3491294"/>
                  <a:gd name="connsiteY122" fmla="*/ 401193 h 487108"/>
                  <a:gd name="connsiteX123" fmla="*/ 1596295 w 3491294"/>
                  <a:gd name="connsiteY123" fmla="*/ 407479 h 487108"/>
                  <a:gd name="connsiteX124" fmla="*/ 1669923 w 3491294"/>
                  <a:gd name="connsiteY124" fmla="*/ 407479 h 487108"/>
                  <a:gd name="connsiteX125" fmla="*/ 1669923 w 3491294"/>
                  <a:gd name="connsiteY125" fmla="*/ 413766 h 487108"/>
                  <a:gd name="connsiteX126" fmla="*/ 1749838 w 3491294"/>
                  <a:gd name="connsiteY126" fmla="*/ 413766 h 487108"/>
                  <a:gd name="connsiteX127" fmla="*/ 1749838 w 3491294"/>
                  <a:gd name="connsiteY127" fmla="*/ 420052 h 487108"/>
                  <a:gd name="connsiteX128" fmla="*/ 1911763 w 3491294"/>
                  <a:gd name="connsiteY128" fmla="*/ 420052 h 487108"/>
                  <a:gd name="connsiteX129" fmla="*/ 1911763 w 3491294"/>
                  <a:gd name="connsiteY129" fmla="*/ 426529 h 487108"/>
                  <a:gd name="connsiteX130" fmla="*/ 1928622 w 3491294"/>
                  <a:gd name="connsiteY130" fmla="*/ 426529 h 487108"/>
                  <a:gd name="connsiteX131" fmla="*/ 1928622 w 3491294"/>
                  <a:gd name="connsiteY131" fmla="*/ 432911 h 487108"/>
                  <a:gd name="connsiteX132" fmla="*/ 2046446 w 3491294"/>
                  <a:gd name="connsiteY132" fmla="*/ 432911 h 487108"/>
                  <a:gd name="connsiteX133" fmla="*/ 2046446 w 3491294"/>
                  <a:gd name="connsiteY133" fmla="*/ 439388 h 487108"/>
                  <a:gd name="connsiteX134" fmla="*/ 2138934 w 3491294"/>
                  <a:gd name="connsiteY134" fmla="*/ 439388 h 487108"/>
                  <a:gd name="connsiteX135" fmla="*/ 2138934 w 3491294"/>
                  <a:gd name="connsiteY135" fmla="*/ 445770 h 487108"/>
                  <a:gd name="connsiteX136" fmla="*/ 2157889 w 3491294"/>
                  <a:gd name="connsiteY136" fmla="*/ 445770 h 487108"/>
                  <a:gd name="connsiteX137" fmla="*/ 2157889 w 3491294"/>
                  <a:gd name="connsiteY137" fmla="*/ 452247 h 487108"/>
                  <a:gd name="connsiteX138" fmla="*/ 3011710 w 3491294"/>
                  <a:gd name="connsiteY138" fmla="*/ 452247 h 487108"/>
                  <a:gd name="connsiteX139" fmla="*/ 3011710 w 3491294"/>
                  <a:gd name="connsiteY139" fmla="*/ 487108 h 487108"/>
                  <a:gd name="connsiteX140" fmla="*/ 3491294 w 3491294"/>
                  <a:gd name="connsiteY140" fmla="*/ 487108 h 487108"/>
                  <a:gd name="connsiteX0" fmla="*/ 0 w 3491294"/>
                  <a:gd name="connsiteY0" fmla="*/ 0 h 487108"/>
                  <a:gd name="connsiteX1" fmla="*/ 16859 w 3491294"/>
                  <a:gd name="connsiteY1" fmla="*/ 6096 h 487108"/>
                  <a:gd name="connsiteX2" fmla="*/ 16859 w 3491294"/>
                  <a:gd name="connsiteY2" fmla="*/ 12192 h 487108"/>
                  <a:gd name="connsiteX3" fmla="*/ 31528 w 3491294"/>
                  <a:gd name="connsiteY3" fmla="*/ 12192 h 487108"/>
                  <a:gd name="connsiteX4" fmla="*/ 31528 w 3491294"/>
                  <a:gd name="connsiteY4" fmla="*/ 18193 h 487108"/>
                  <a:gd name="connsiteX5" fmla="*/ 35814 w 3491294"/>
                  <a:gd name="connsiteY5" fmla="*/ 18193 h 487108"/>
                  <a:gd name="connsiteX6" fmla="*/ 35814 w 3491294"/>
                  <a:gd name="connsiteY6" fmla="*/ 24289 h 487108"/>
                  <a:gd name="connsiteX7" fmla="*/ 46291 w 3491294"/>
                  <a:gd name="connsiteY7" fmla="*/ 24289 h 487108"/>
                  <a:gd name="connsiteX8" fmla="*/ 46291 w 3491294"/>
                  <a:gd name="connsiteY8" fmla="*/ 30385 h 487108"/>
                  <a:gd name="connsiteX9" fmla="*/ 54674 w 3491294"/>
                  <a:gd name="connsiteY9" fmla="*/ 30385 h 487108"/>
                  <a:gd name="connsiteX10" fmla="*/ 54674 w 3491294"/>
                  <a:gd name="connsiteY10" fmla="*/ 36481 h 487108"/>
                  <a:gd name="connsiteX11" fmla="*/ 69437 w 3491294"/>
                  <a:gd name="connsiteY11" fmla="*/ 36481 h 487108"/>
                  <a:gd name="connsiteX12" fmla="*/ 69437 w 3491294"/>
                  <a:gd name="connsiteY12" fmla="*/ 42481 h 487108"/>
                  <a:gd name="connsiteX13" fmla="*/ 73628 w 3491294"/>
                  <a:gd name="connsiteY13" fmla="*/ 42481 h 487108"/>
                  <a:gd name="connsiteX14" fmla="*/ 73628 w 3491294"/>
                  <a:gd name="connsiteY14" fmla="*/ 48577 h 487108"/>
                  <a:gd name="connsiteX15" fmla="*/ 77819 w 3491294"/>
                  <a:gd name="connsiteY15" fmla="*/ 48577 h 487108"/>
                  <a:gd name="connsiteX16" fmla="*/ 77819 w 3491294"/>
                  <a:gd name="connsiteY16" fmla="*/ 54673 h 487108"/>
                  <a:gd name="connsiteX17" fmla="*/ 90488 w 3491294"/>
                  <a:gd name="connsiteY17" fmla="*/ 54673 h 487108"/>
                  <a:gd name="connsiteX18" fmla="*/ 90488 w 3491294"/>
                  <a:gd name="connsiteY18" fmla="*/ 60674 h 487108"/>
                  <a:gd name="connsiteX19" fmla="*/ 119920 w 3491294"/>
                  <a:gd name="connsiteY19" fmla="*/ 60674 h 487108"/>
                  <a:gd name="connsiteX20" fmla="*/ 119920 w 3491294"/>
                  <a:gd name="connsiteY20" fmla="*/ 66770 h 487108"/>
                  <a:gd name="connsiteX21" fmla="*/ 128302 w 3491294"/>
                  <a:gd name="connsiteY21" fmla="*/ 66770 h 487108"/>
                  <a:gd name="connsiteX22" fmla="*/ 128302 w 3491294"/>
                  <a:gd name="connsiteY22" fmla="*/ 72866 h 487108"/>
                  <a:gd name="connsiteX23" fmla="*/ 130397 w 3491294"/>
                  <a:gd name="connsiteY23" fmla="*/ 72866 h 487108"/>
                  <a:gd name="connsiteX24" fmla="*/ 130397 w 3491294"/>
                  <a:gd name="connsiteY24" fmla="*/ 78867 h 487108"/>
                  <a:gd name="connsiteX25" fmla="*/ 145161 w 3491294"/>
                  <a:gd name="connsiteY25" fmla="*/ 78867 h 487108"/>
                  <a:gd name="connsiteX26" fmla="*/ 145161 w 3491294"/>
                  <a:gd name="connsiteY26" fmla="*/ 91059 h 487108"/>
                  <a:gd name="connsiteX27" fmla="*/ 147257 w 3491294"/>
                  <a:gd name="connsiteY27" fmla="*/ 91059 h 487108"/>
                  <a:gd name="connsiteX28" fmla="*/ 147257 w 3491294"/>
                  <a:gd name="connsiteY28" fmla="*/ 97060 h 487108"/>
                  <a:gd name="connsiteX29" fmla="*/ 153543 w 3491294"/>
                  <a:gd name="connsiteY29" fmla="*/ 97060 h 487108"/>
                  <a:gd name="connsiteX30" fmla="*/ 153543 w 3491294"/>
                  <a:gd name="connsiteY30" fmla="*/ 103156 h 487108"/>
                  <a:gd name="connsiteX31" fmla="*/ 157734 w 3491294"/>
                  <a:gd name="connsiteY31" fmla="*/ 103156 h 487108"/>
                  <a:gd name="connsiteX32" fmla="*/ 157734 w 3491294"/>
                  <a:gd name="connsiteY32" fmla="*/ 109252 h 487108"/>
                  <a:gd name="connsiteX33" fmla="*/ 174593 w 3491294"/>
                  <a:gd name="connsiteY33" fmla="*/ 109252 h 487108"/>
                  <a:gd name="connsiteX34" fmla="*/ 174593 w 3491294"/>
                  <a:gd name="connsiteY34" fmla="*/ 121348 h 487108"/>
                  <a:gd name="connsiteX35" fmla="*/ 178784 w 3491294"/>
                  <a:gd name="connsiteY35" fmla="*/ 121348 h 487108"/>
                  <a:gd name="connsiteX36" fmla="*/ 178784 w 3491294"/>
                  <a:gd name="connsiteY36" fmla="*/ 127444 h 487108"/>
                  <a:gd name="connsiteX37" fmla="*/ 201930 w 3491294"/>
                  <a:gd name="connsiteY37" fmla="*/ 127444 h 487108"/>
                  <a:gd name="connsiteX38" fmla="*/ 201930 w 3491294"/>
                  <a:gd name="connsiteY38" fmla="*/ 133540 h 487108"/>
                  <a:gd name="connsiteX39" fmla="*/ 206121 w 3491294"/>
                  <a:gd name="connsiteY39" fmla="*/ 133540 h 487108"/>
                  <a:gd name="connsiteX40" fmla="*/ 206121 w 3491294"/>
                  <a:gd name="connsiteY40" fmla="*/ 139541 h 487108"/>
                  <a:gd name="connsiteX41" fmla="*/ 212408 w 3491294"/>
                  <a:gd name="connsiteY41" fmla="*/ 139541 h 487108"/>
                  <a:gd name="connsiteX42" fmla="*/ 212408 w 3491294"/>
                  <a:gd name="connsiteY42" fmla="*/ 151733 h 487108"/>
                  <a:gd name="connsiteX43" fmla="*/ 231362 w 3491294"/>
                  <a:gd name="connsiteY43" fmla="*/ 151733 h 487108"/>
                  <a:gd name="connsiteX44" fmla="*/ 231362 w 3491294"/>
                  <a:gd name="connsiteY44" fmla="*/ 157734 h 487108"/>
                  <a:gd name="connsiteX45" fmla="*/ 239744 w 3491294"/>
                  <a:gd name="connsiteY45" fmla="*/ 157734 h 487108"/>
                  <a:gd name="connsiteX46" fmla="*/ 239744 w 3491294"/>
                  <a:gd name="connsiteY46" fmla="*/ 163830 h 487108"/>
                  <a:gd name="connsiteX47" fmla="*/ 252413 w 3491294"/>
                  <a:gd name="connsiteY47" fmla="*/ 163830 h 487108"/>
                  <a:gd name="connsiteX48" fmla="*/ 252413 w 3491294"/>
                  <a:gd name="connsiteY48" fmla="*/ 169926 h 487108"/>
                  <a:gd name="connsiteX49" fmla="*/ 269272 w 3491294"/>
                  <a:gd name="connsiteY49" fmla="*/ 169926 h 487108"/>
                  <a:gd name="connsiteX50" fmla="*/ 269272 w 3491294"/>
                  <a:gd name="connsiteY50" fmla="*/ 175927 h 487108"/>
                  <a:gd name="connsiteX51" fmla="*/ 296609 w 3491294"/>
                  <a:gd name="connsiteY51" fmla="*/ 175927 h 487108"/>
                  <a:gd name="connsiteX52" fmla="*/ 296609 w 3491294"/>
                  <a:gd name="connsiteY52" fmla="*/ 182023 h 487108"/>
                  <a:gd name="connsiteX53" fmla="*/ 298704 w 3491294"/>
                  <a:gd name="connsiteY53" fmla="*/ 182023 h 487108"/>
                  <a:gd name="connsiteX54" fmla="*/ 298704 w 3491294"/>
                  <a:gd name="connsiteY54" fmla="*/ 188119 h 487108"/>
                  <a:gd name="connsiteX55" fmla="*/ 309181 w 3491294"/>
                  <a:gd name="connsiteY55" fmla="*/ 188119 h 487108"/>
                  <a:gd name="connsiteX56" fmla="*/ 309181 w 3491294"/>
                  <a:gd name="connsiteY56" fmla="*/ 194119 h 487108"/>
                  <a:gd name="connsiteX57" fmla="*/ 315468 w 3491294"/>
                  <a:gd name="connsiteY57" fmla="*/ 194119 h 487108"/>
                  <a:gd name="connsiteX58" fmla="*/ 315468 w 3491294"/>
                  <a:gd name="connsiteY58" fmla="*/ 206311 h 487108"/>
                  <a:gd name="connsiteX59" fmla="*/ 323945 w 3491294"/>
                  <a:gd name="connsiteY59" fmla="*/ 206311 h 487108"/>
                  <a:gd name="connsiteX60" fmla="*/ 323945 w 3491294"/>
                  <a:gd name="connsiteY60" fmla="*/ 212312 h 487108"/>
                  <a:gd name="connsiteX61" fmla="*/ 330232 w 3491294"/>
                  <a:gd name="connsiteY61" fmla="*/ 212312 h 487108"/>
                  <a:gd name="connsiteX62" fmla="*/ 330232 w 3491294"/>
                  <a:gd name="connsiteY62" fmla="*/ 224504 h 487108"/>
                  <a:gd name="connsiteX63" fmla="*/ 332327 w 3491294"/>
                  <a:gd name="connsiteY63" fmla="*/ 224504 h 487108"/>
                  <a:gd name="connsiteX64" fmla="*/ 332327 w 3491294"/>
                  <a:gd name="connsiteY64" fmla="*/ 230600 h 487108"/>
                  <a:gd name="connsiteX65" fmla="*/ 344900 w 3491294"/>
                  <a:gd name="connsiteY65" fmla="*/ 230600 h 487108"/>
                  <a:gd name="connsiteX66" fmla="*/ 344900 w 3491294"/>
                  <a:gd name="connsiteY66" fmla="*/ 236601 h 487108"/>
                  <a:gd name="connsiteX67" fmla="*/ 368046 w 3491294"/>
                  <a:gd name="connsiteY67" fmla="*/ 236601 h 487108"/>
                  <a:gd name="connsiteX68" fmla="*/ 368046 w 3491294"/>
                  <a:gd name="connsiteY68" fmla="*/ 242697 h 487108"/>
                  <a:gd name="connsiteX69" fmla="*/ 374428 w 3491294"/>
                  <a:gd name="connsiteY69" fmla="*/ 242697 h 487108"/>
                  <a:gd name="connsiteX70" fmla="*/ 374428 w 3491294"/>
                  <a:gd name="connsiteY70" fmla="*/ 248793 h 487108"/>
                  <a:gd name="connsiteX71" fmla="*/ 382810 w 3491294"/>
                  <a:gd name="connsiteY71" fmla="*/ 248793 h 487108"/>
                  <a:gd name="connsiteX72" fmla="*/ 382810 w 3491294"/>
                  <a:gd name="connsiteY72" fmla="*/ 254794 h 487108"/>
                  <a:gd name="connsiteX73" fmla="*/ 391192 w 3491294"/>
                  <a:gd name="connsiteY73" fmla="*/ 254794 h 487108"/>
                  <a:gd name="connsiteX74" fmla="*/ 391192 w 3491294"/>
                  <a:gd name="connsiteY74" fmla="*/ 260890 h 487108"/>
                  <a:gd name="connsiteX75" fmla="*/ 395383 w 3491294"/>
                  <a:gd name="connsiteY75" fmla="*/ 260890 h 487108"/>
                  <a:gd name="connsiteX76" fmla="*/ 395383 w 3491294"/>
                  <a:gd name="connsiteY76" fmla="*/ 266986 h 487108"/>
                  <a:gd name="connsiteX77" fmla="*/ 469011 w 3491294"/>
                  <a:gd name="connsiteY77" fmla="*/ 266986 h 487108"/>
                  <a:gd name="connsiteX78" fmla="*/ 469011 w 3491294"/>
                  <a:gd name="connsiteY78" fmla="*/ 272986 h 487108"/>
                  <a:gd name="connsiteX79" fmla="*/ 490061 w 3491294"/>
                  <a:gd name="connsiteY79" fmla="*/ 272986 h 487108"/>
                  <a:gd name="connsiteX80" fmla="*/ 490061 w 3491294"/>
                  <a:gd name="connsiteY80" fmla="*/ 279082 h 487108"/>
                  <a:gd name="connsiteX81" fmla="*/ 496348 w 3491294"/>
                  <a:gd name="connsiteY81" fmla="*/ 279082 h 487108"/>
                  <a:gd name="connsiteX82" fmla="*/ 496348 w 3491294"/>
                  <a:gd name="connsiteY82" fmla="*/ 285178 h 487108"/>
                  <a:gd name="connsiteX83" fmla="*/ 538448 w 3491294"/>
                  <a:gd name="connsiteY83" fmla="*/ 285178 h 487108"/>
                  <a:gd name="connsiteX84" fmla="*/ 538448 w 3491294"/>
                  <a:gd name="connsiteY84" fmla="*/ 291179 h 487108"/>
                  <a:gd name="connsiteX85" fmla="*/ 553117 w 3491294"/>
                  <a:gd name="connsiteY85" fmla="*/ 291179 h 487108"/>
                  <a:gd name="connsiteX86" fmla="*/ 553117 w 3491294"/>
                  <a:gd name="connsiteY86" fmla="*/ 297275 h 487108"/>
                  <a:gd name="connsiteX87" fmla="*/ 582644 w 3491294"/>
                  <a:gd name="connsiteY87" fmla="*/ 297275 h 487108"/>
                  <a:gd name="connsiteX88" fmla="*/ 582644 w 3491294"/>
                  <a:gd name="connsiteY88" fmla="*/ 303371 h 487108"/>
                  <a:gd name="connsiteX89" fmla="*/ 584740 w 3491294"/>
                  <a:gd name="connsiteY89" fmla="*/ 303371 h 487108"/>
                  <a:gd name="connsiteX90" fmla="*/ 584740 w 3491294"/>
                  <a:gd name="connsiteY90" fmla="*/ 309372 h 487108"/>
                  <a:gd name="connsiteX91" fmla="*/ 607790 w 3491294"/>
                  <a:gd name="connsiteY91" fmla="*/ 309372 h 487108"/>
                  <a:gd name="connsiteX92" fmla="*/ 607790 w 3491294"/>
                  <a:gd name="connsiteY92" fmla="*/ 315468 h 487108"/>
                  <a:gd name="connsiteX93" fmla="*/ 620459 w 3491294"/>
                  <a:gd name="connsiteY93" fmla="*/ 315468 h 487108"/>
                  <a:gd name="connsiteX94" fmla="*/ 620459 w 3491294"/>
                  <a:gd name="connsiteY94" fmla="*/ 321564 h 487108"/>
                  <a:gd name="connsiteX95" fmla="*/ 656177 w 3491294"/>
                  <a:gd name="connsiteY95" fmla="*/ 321564 h 487108"/>
                  <a:gd name="connsiteX96" fmla="*/ 656177 w 3491294"/>
                  <a:gd name="connsiteY96" fmla="*/ 327660 h 487108"/>
                  <a:gd name="connsiteX97" fmla="*/ 771906 w 3491294"/>
                  <a:gd name="connsiteY97" fmla="*/ 327660 h 487108"/>
                  <a:gd name="connsiteX98" fmla="*/ 771906 w 3491294"/>
                  <a:gd name="connsiteY98" fmla="*/ 333661 h 487108"/>
                  <a:gd name="connsiteX99" fmla="*/ 809720 w 3491294"/>
                  <a:gd name="connsiteY99" fmla="*/ 333661 h 487108"/>
                  <a:gd name="connsiteX100" fmla="*/ 809720 w 3491294"/>
                  <a:gd name="connsiteY100" fmla="*/ 339852 h 487108"/>
                  <a:gd name="connsiteX101" fmla="*/ 862298 w 3491294"/>
                  <a:gd name="connsiteY101" fmla="*/ 339852 h 487108"/>
                  <a:gd name="connsiteX102" fmla="*/ 862298 w 3491294"/>
                  <a:gd name="connsiteY102" fmla="*/ 345948 h 487108"/>
                  <a:gd name="connsiteX103" fmla="*/ 881253 w 3491294"/>
                  <a:gd name="connsiteY103" fmla="*/ 345948 h 487108"/>
                  <a:gd name="connsiteX104" fmla="*/ 881253 w 3491294"/>
                  <a:gd name="connsiteY104" fmla="*/ 352044 h 487108"/>
                  <a:gd name="connsiteX105" fmla="*/ 891731 w 3491294"/>
                  <a:gd name="connsiteY105" fmla="*/ 352044 h 487108"/>
                  <a:gd name="connsiteX106" fmla="*/ 891731 w 3491294"/>
                  <a:gd name="connsiteY106" fmla="*/ 358235 h 487108"/>
                  <a:gd name="connsiteX107" fmla="*/ 925449 w 3491294"/>
                  <a:gd name="connsiteY107" fmla="*/ 358235 h 487108"/>
                  <a:gd name="connsiteX108" fmla="*/ 925449 w 3491294"/>
                  <a:gd name="connsiteY108" fmla="*/ 364331 h 487108"/>
                  <a:gd name="connsiteX109" fmla="*/ 931736 w 3491294"/>
                  <a:gd name="connsiteY109" fmla="*/ 364331 h 487108"/>
                  <a:gd name="connsiteX110" fmla="*/ 931736 w 3491294"/>
                  <a:gd name="connsiteY110" fmla="*/ 370427 h 487108"/>
                  <a:gd name="connsiteX111" fmla="*/ 946404 w 3491294"/>
                  <a:gd name="connsiteY111" fmla="*/ 370427 h 487108"/>
                  <a:gd name="connsiteX112" fmla="*/ 946404 w 3491294"/>
                  <a:gd name="connsiteY112" fmla="*/ 376523 h 487108"/>
                  <a:gd name="connsiteX113" fmla="*/ 959072 w 3491294"/>
                  <a:gd name="connsiteY113" fmla="*/ 376523 h 487108"/>
                  <a:gd name="connsiteX114" fmla="*/ 959072 w 3491294"/>
                  <a:gd name="connsiteY114" fmla="*/ 382714 h 487108"/>
                  <a:gd name="connsiteX115" fmla="*/ 984314 w 3491294"/>
                  <a:gd name="connsiteY115" fmla="*/ 382714 h 487108"/>
                  <a:gd name="connsiteX116" fmla="*/ 984314 w 3491294"/>
                  <a:gd name="connsiteY116" fmla="*/ 388810 h 487108"/>
                  <a:gd name="connsiteX117" fmla="*/ 1213580 w 3491294"/>
                  <a:gd name="connsiteY117" fmla="*/ 388810 h 487108"/>
                  <a:gd name="connsiteX118" fmla="*/ 1213580 w 3491294"/>
                  <a:gd name="connsiteY118" fmla="*/ 395002 h 487108"/>
                  <a:gd name="connsiteX119" fmla="*/ 1327118 w 3491294"/>
                  <a:gd name="connsiteY119" fmla="*/ 395002 h 487108"/>
                  <a:gd name="connsiteX120" fmla="*/ 1327118 w 3491294"/>
                  <a:gd name="connsiteY120" fmla="*/ 401193 h 487108"/>
                  <a:gd name="connsiteX121" fmla="*/ 1596295 w 3491294"/>
                  <a:gd name="connsiteY121" fmla="*/ 401193 h 487108"/>
                  <a:gd name="connsiteX122" fmla="*/ 1596295 w 3491294"/>
                  <a:gd name="connsiteY122" fmla="*/ 407479 h 487108"/>
                  <a:gd name="connsiteX123" fmla="*/ 1669923 w 3491294"/>
                  <a:gd name="connsiteY123" fmla="*/ 407479 h 487108"/>
                  <a:gd name="connsiteX124" fmla="*/ 1669923 w 3491294"/>
                  <a:gd name="connsiteY124" fmla="*/ 413766 h 487108"/>
                  <a:gd name="connsiteX125" fmla="*/ 1749838 w 3491294"/>
                  <a:gd name="connsiteY125" fmla="*/ 413766 h 487108"/>
                  <a:gd name="connsiteX126" fmla="*/ 1749838 w 3491294"/>
                  <a:gd name="connsiteY126" fmla="*/ 420052 h 487108"/>
                  <a:gd name="connsiteX127" fmla="*/ 1911763 w 3491294"/>
                  <a:gd name="connsiteY127" fmla="*/ 420052 h 487108"/>
                  <a:gd name="connsiteX128" fmla="*/ 1911763 w 3491294"/>
                  <a:gd name="connsiteY128" fmla="*/ 426529 h 487108"/>
                  <a:gd name="connsiteX129" fmla="*/ 1928622 w 3491294"/>
                  <a:gd name="connsiteY129" fmla="*/ 426529 h 487108"/>
                  <a:gd name="connsiteX130" fmla="*/ 1928622 w 3491294"/>
                  <a:gd name="connsiteY130" fmla="*/ 432911 h 487108"/>
                  <a:gd name="connsiteX131" fmla="*/ 2046446 w 3491294"/>
                  <a:gd name="connsiteY131" fmla="*/ 432911 h 487108"/>
                  <a:gd name="connsiteX132" fmla="*/ 2046446 w 3491294"/>
                  <a:gd name="connsiteY132" fmla="*/ 439388 h 487108"/>
                  <a:gd name="connsiteX133" fmla="*/ 2138934 w 3491294"/>
                  <a:gd name="connsiteY133" fmla="*/ 439388 h 487108"/>
                  <a:gd name="connsiteX134" fmla="*/ 2138934 w 3491294"/>
                  <a:gd name="connsiteY134" fmla="*/ 445770 h 487108"/>
                  <a:gd name="connsiteX135" fmla="*/ 2157889 w 3491294"/>
                  <a:gd name="connsiteY135" fmla="*/ 445770 h 487108"/>
                  <a:gd name="connsiteX136" fmla="*/ 2157889 w 3491294"/>
                  <a:gd name="connsiteY136" fmla="*/ 452247 h 487108"/>
                  <a:gd name="connsiteX137" fmla="*/ 3011710 w 3491294"/>
                  <a:gd name="connsiteY137" fmla="*/ 452247 h 487108"/>
                  <a:gd name="connsiteX138" fmla="*/ 3011710 w 3491294"/>
                  <a:gd name="connsiteY138" fmla="*/ 487108 h 487108"/>
                  <a:gd name="connsiteX139" fmla="*/ 3491294 w 3491294"/>
                  <a:gd name="connsiteY139" fmla="*/ 487108 h 487108"/>
                  <a:gd name="connsiteX0" fmla="*/ 0 w 3474435"/>
                  <a:gd name="connsiteY0" fmla="*/ 0 h 481012"/>
                  <a:gd name="connsiteX1" fmla="*/ 0 w 3474435"/>
                  <a:gd name="connsiteY1" fmla="*/ 6096 h 481012"/>
                  <a:gd name="connsiteX2" fmla="*/ 14669 w 3474435"/>
                  <a:gd name="connsiteY2" fmla="*/ 6096 h 481012"/>
                  <a:gd name="connsiteX3" fmla="*/ 14669 w 3474435"/>
                  <a:gd name="connsiteY3" fmla="*/ 12097 h 481012"/>
                  <a:gd name="connsiteX4" fmla="*/ 18955 w 3474435"/>
                  <a:gd name="connsiteY4" fmla="*/ 12097 h 481012"/>
                  <a:gd name="connsiteX5" fmla="*/ 18955 w 3474435"/>
                  <a:gd name="connsiteY5" fmla="*/ 18193 h 481012"/>
                  <a:gd name="connsiteX6" fmla="*/ 29432 w 3474435"/>
                  <a:gd name="connsiteY6" fmla="*/ 18193 h 481012"/>
                  <a:gd name="connsiteX7" fmla="*/ 29432 w 3474435"/>
                  <a:gd name="connsiteY7" fmla="*/ 24289 h 481012"/>
                  <a:gd name="connsiteX8" fmla="*/ 37815 w 3474435"/>
                  <a:gd name="connsiteY8" fmla="*/ 24289 h 481012"/>
                  <a:gd name="connsiteX9" fmla="*/ 37815 w 3474435"/>
                  <a:gd name="connsiteY9" fmla="*/ 30385 h 481012"/>
                  <a:gd name="connsiteX10" fmla="*/ 52578 w 3474435"/>
                  <a:gd name="connsiteY10" fmla="*/ 30385 h 481012"/>
                  <a:gd name="connsiteX11" fmla="*/ 52578 w 3474435"/>
                  <a:gd name="connsiteY11" fmla="*/ 36385 h 481012"/>
                  <a:gd name="connsiteX12" fmla="*/ 56769 w 3474435"/>
                  <a:gd name="connsiteY12" fmla="*/ 36385 h 481012"/>
                  <a:gd name="connsiteX13" fmla="*/ 56769 w 3474435"/>
                  <a:gd name="connsiteY13" fmla="*/ 42481 h 481012"/>
                  <a:gd name="connsiteX14" fmla="*/ 60960 w 3474435"/>
                  <a:gd name="connsiteY14" fmla="*/ 42481 h 481012"/>
                  <a:gd name="connsiteX15" fmla="*/ 60960 w 3474435"/>
                  <a:gd name="connsiteY15" fmla="*/ 48577 h 481012"/>
                  <a:gd name="connsiteX16" fmla="*/ 73629 w 3474435"/>
                  <a:gd name="connsiteY16" fmla="*/ 48577 h 481012"/>
                  <a:gd name="connsiteX17" fmla="*/ 73629 w 3474435"/>
                  <a:gd name="connsiteY17" fmla="*/ 54578 h 481012"/>
                  <a:gd name="connsiteX18" fmla="*/ 103061 w 3474435"/>
                  <a:gd name="connsiteY18" fmla="*/ 54578 h 481012"/>
                  <a:gd name="connsiteX19" fmla="*/ 103061 w 3474435"/>
                  <a:gd name="connsiteY19" fmla="*/ 60674 h 481012"/>
                  <a:gd name="connsiteX20" fmla="*/ 111443 w 3474435"/>
                  <a:gd name="connsiteY20" fmla="*/ 60674 h 481012"/>
                  <a:gd name="connsiteX21" fmla="*/ 111443 w 3474435"/>
                  <a:gd name="connsiteY21" fmla="*/ 66770 h 481012"/>
                  <a:gd name="connsiteX22" fmla="*/ 113538 w 3474435"/>
                  <a:gd name="connsiteY22" fmla="*/ 66770 h 481012"/>
                  <a:gd name="connsiteX23" fmla="*/ 113538 w 3474435"/>
                  <a:gd name="connsiteY23" fmla="*/ 72771 h 481012"/>
                  <a:gd name="connsiteX24" fmla="*/ 128302 w 3474435"/>
                  <a:gd name="connsiteY24" fmla="*/ 72771 h 481012"/>
                  <a:gd name="connsiteX25" fmla="*/ 128302 w 3474435"/>
                  <a:gd name="connsiteY25" fmla="*/ 84963 h 481012"/>
                  <a:gd name="connsiteX26" fmla="*/ 130398 w 3474435"/>
                  <a:gd name="connsiteY26" fmla="*/ 84963 h 481012"/>
                  <a:gd name="connsiteX27" fmla="*/ 130398 w 3474435"/>
                  <a:gd name="connsiteY27" fmla="*/ 90964 h 481012"/>
                  <a:gd name="connsiteX28" fmla="*/ 136684 w 3474435"/>
                  <a:gd name="connsiteY28" fmla="*/ 90964 h 481012"/>
                  <a:gd name="connsiteX29" fmla="*/ 136684 w 3474435"/>
                  <a:gd name="connsiteY29" fmla="*/ 97060 h 481012"/>
                  <a:gd name="connsiteX30" fmla="*/ 140875 w 3474435"/>
                  <a:gd name="connsiteY30" fmla="*/ 97060 h 481012"/>
                  <a:gd name="connsiteX31" fmla="*/ 140875 w 3474435"/>
                  <a:gd name="connsiteY31" fmla="*/ 103156 h 481012"/>
                  <a:gd name="connsiteX32" fmla="*/ 157734 w 3474435"/>
                  <a:gd name="connsiteY32" fmla="*/ 103156 h 481012"/>
                  <a:gd name="connsiteX33" fmla="*/ 157734 w 3474435"/>
                  <a:gd name="connsiteY33" fmla="*/ 115252 h 481012"/>
                  <a:gd name="connsiteX34" fmla="*/ 161925 w 3474435"/>
                  <a:gd name="connsiteY34" fmla="*/ 115252 h 481012"/>
                  <a:gd name="connsiteX35" fmla="*/ 161925 w 3474435"/>
                  <a:gd name="connsiteY35" fmla="*/ 121348 h 481012"/>
                  <a:gd name="connsiteX36" fmla="*/ 185071 w 3474435"/>
                  <a:gd name="connsiteY36" fmla="*/ 121348 h 481012"/>
                  <a:gd name="connsiteX37" fmla="*/ 185071 w 3474435"/>
                  <a:gd name="connsiteY37" fmla="*/ 127444 h 481012"/>
                  <a:gd name="connsiteX38" fmla="*/ 189262 w 3474435"/>
                  <a:gd name="connsiteY38" fmla="*/ 127444 h 481012"/>
                  <a:gd name="connsiteX39" fmla="*/ 189262 w 3474435"/>
                  <a:gd name="connsiteY39" fmla="*/ 133445 h 481012"/>
                  <a:gd name="connsiteX40" fmla="*/ 195549 w 3474435"/>
                  <a:gd name="connsiteY40" fmla="*/ 133445 h 481012"/>
                  <a:gd name="connsiteX41" fmla="*/ 195549 w 3474435"/>
                  <a:gd name="connsiteY41" fmla="*/ 145637 h 481012"/>
                  <a:gd name="connsiteX42" fmla="*/ 214503 w 3474435"/>
                  <a:gd name="connsiteY42" fmla="*/ 145637 h 481012"/>
                  <a:gd name="connsiteX43" fmla="*/ 214503 w 3474435"/>
                  <a:gd name="connsiteY43" fmla="*/ 151638 h 481012"/>
                  <a:gd name="connsiteX44" fmla="*/ 222885 w 3474435"/>
                  <a:gd name="connsiteY44" fmla="*/ 151638 h 481012"/>
                  <a:gd name="connsiteX45" fmla="*/ 222885 w 3474435"/>
                  <a:gd name="connsiteY45" fmla="*/ 157734 h 481012"/>
                  <a:gd name="connsiteX46" fmla="*/ 235554 w 3474435"/>
                  <a:gd name="connsiteY46" fmla="*/ 157734 h 481012"/>
                  <a:gd name="connsiteX47" fmla="*/ 235554 w 3474435"/>
                  <a:gd name="connsiteY47" fmla="*/ 163830 h 481012"/>
                  <a:gd name="connsiteX48" fmla="*/ 252413 w 3474435"/>
                  <a:gd name="connsiteY48" fmla="*/ 163830 h 481012"/>
                  <a:gd name="connsiteX49" fmla="*/ 252413 w 3474435"/>
                  <a:gd name="connsiteY49" fmla="*/ 169831 h 481012"/>
                  <a:gd name="connsiteX50" fmla="*/ 279750 w 3474435"/>
                  <a:gd name="connsiteY50" fmla="*/ 169831 h 481012"/>
                  <a:gd name="connsiteX51" fmla="*/ 279750 w 3474435"/>
                  <a:gd name="connsiteY51" fmla="*/ 175927 h 481012"/>
                  <a:gd name="connsiteX52" fmla="*/ 281845 w 3474435"/>
                  <a:gd name="connsiteY52" fmla="*/ 175927 h 481012"/>
                  <a:gd name="connsiteX53" fmla="*/ 281845 w 3474435"/>
                  <a:gd name="connsiteY53" fmla="*/ 182023 h 481012"/>
                  <a:gd name="connsiteX54" fmla="*/ 292322 w 3474435"/>
                  <a:gd name="connsiteY54" fmla="*/ 182023 h 481012"/>
                  <a:gd name="connsiteX55" fmla="*/ 292322 w 3474435"/>
                  <a:gd name="connsiteY55" fmla="*/ 188023 h 481012"/>
                  <a:gd name="connsiteX56" fmla="*/ 298609 w 3474435"/>
                  <a:gd name="connsiteY56" fmla="*/ 188023 h 481012"/>
                  <a:gd name="connsiteX57" fmla="*/ 298609 w 3474435"/>
                  <a:gd name="connsiteY57" fmla="*/ 200215 h 481012"/>
                  <a:gd name="connsiteX58" fmla="*/ 307086 w 3474435"/>
                  <a:gd name="connsiteY58" fmla="*/ 200215 h 481012"/>
                  <a:gd name="connsiteX59" fmla="*/ 307086 w 3474435"/>
                  <a:gd name="connsiteY59" fmla="*/ 206216 h 481012"/>
                  <a:gd name="connsiteX60" fmla="*/ 313373 w 3474435"/>
                  <a:gd name="connsiteY60" fmla="*/ 206216 h 481012"/>
                  <a:gd name="connsiteX61" fmla="*/ 313373 w 3474435"/>
                  <a:gd name="connsiteY61" fmla="*/ 218408 h 481012"/>
                  <a:gd name="connsiteX62" fmla="*/ 315468 w 3474435"/>
                  <a:gd name="connsiteY62" fmla="*/ 218408 h 481012"/>
                  <a:gd name="connsiteX63" fmla="*/ 315468 w 3474435"/>
                  <a:gd name="connsiteY63" fmla="*/ 224504 h 481012"/>
                  <a:gd name="connsiteX64" fmla="*/ 328041 w 3474435"/>
                  <a:gd name="connsiteY64" fmla="*/ 224504 h 481012"/>
                  <a:gd name="connsiteX65" fmla="*/ 328041 w 3474435"/>
                  <a:gd name="connsiteY65" fmla="*/ 230505 h 481012"/>
                  <a:gd name="connsiteX66" fmla="*/ 351187 w 3474435"/>
                  <a:gd name="connsiteY66" fmla="*/ 230505 h 481012"/>
                  <a:gd name="connsiteX67" fmla="*/ 351187 w 3474435"/>
                  <a:gd name="connsiteY67" fmla="*/ 236601 h 481012"/>
                  <a:gd name="connsiteX68" fmla="*/ 357569 w 3474435"/>
                  <a:gd name="connsiteY68" fmla="*/ 236601 h 481012"/>
                  <a:gd name="connsiteX69" fmla="*/ 357569 w 3474435"/>
                  <a:gd name="connsiteY69" fmla="*/ 242697 h 481012"/>
                  <a:gd name="connsiteX70" fmla="*/ 365951 w 3474435"/>
                  <a:gd name="connsiteY70" fmla="*/ 242697 h 481012"/>
                  <a:gd name="connsiteX71" fmla="*/ 365951 w 3474435"/>
                  <a:gd name="connsiteY71" fmla="*/ 248698 h 481012"/>
                  <a:gd name="connsiteX72" fmla="*/ 374333 w 3474435"/>
                  <a:gd name="connsiteY72" fmla="*/ 248698 h 481012"/>
                  <a:gd name="connsiteX73" fmla="*/ 374333 w 3474435"/>
                  <a:gd name="connsiteY73" fmla="*/ 254794 h 481012"/>
                  <a:gd name="connsiteX74" fmla="*/ 378524 w 3474435"/>
                  <a:gd name="connsiteY74" fmla="*/ 254794 h 481012"/>
                  <a:gd name="connsiteX75" fmla="*/ 378524 w 3474435"/>
                  <a:gd name="connsiteY75" fmla="*/ 260890 h 481012"/>
                  <a:gd name="connsiteX76" fmla="*/ 452152 w 3474435"/>
                  <a:gd name="connsiteY76" fmla="*/ 260890 h 481012"/>
                  <a:gd name="connsiteX77" fmla="*/ 452152 w 3474435"/>
                  <a:gd name="connsiteY77" fmla="*/ 266890 h 481012"/>
                  <a:gd name="connsiteX78" fmla="*/ 473202 w 3474435"/>
                  <a:gd name="connsiteY78" fmla="*/ 266890 h 481012"/>
                  <a:gd name="connsiteX79" fmla="*/ 473202 w 3474435"/>
                  <a:gd name="connsiteY79" fmla="*/ 272986 h 481012"/>
                  <a:gd name="connsiteX80" fmla="*/ 479489 w 3474435"/>
                  <a:gd name="connsiteY80" fmla="*/ 272986 h 481012"/>
                  <a:gd name="connsiteX81" fmla="*/ 479489 w 3474435"/>
                  <a:gd name="connsiteY81" fmla="*/ 279082 h 481012"/>
                  <a:gd name="connsiteX82" fmla="*/ 521589 w 3474435"/>
                  <a:gd name="connsiteY82" fmla="*/ 279082 h 481012"/>
                  <a:gd name="connsiteX83" fmla="*/ 521589 w 3474435"/>
                  <a:gd name="connsiteY83" fmla="*/ 285083 h 481012"/>
                  <a:gd name="connsiteX84" fmla="*/ 536258 w 3474435"/>
                  <a:gd name="connsiteY84" fmla="*/ 285083 h 481012"/>
                  <a:gd name="connsiteX85" fmla="*/ 536258 w 3474435"/>
                  <a:gd name="connsiteY85" fmla="*/ 291179 h 481012"/>
                  <a:gd name="connsiteX86" fmla="*/ 565785 w 3474435"/>
                  <a:gd name="connsiteY86" fmla="*/ 291179 h 481012"/>
                  <a:gd name="connsiteX87" fmla="*/ 565785 w 3474435"/>
                  <a:gd name="connsiteY87" fmla="*/ 297275 h 481012"/>
                  <a:gd name="connsiteX88" fmla="*/ 567881 w 3474435"/>
                  <a:gd name="connsiteY88" fmla="*/ 297275 h 481012"/>
                  <a:gd name="connsiteX89" fmla="*/ 567881 w 3474435"/>
                  <a:gd name="connsiteY89" fmla="*/ 303276 h 481012"/>
                  <a:gd name="connsiteX90" fmla="*/ 590931 w 3474435"/>
                  <a:gd name="connsiteY90" fmla="*/ 303276 h 481012"/>
                  <a:gd name="connsiteX91" fmla="*/ 590931 w 3474435"/>
                  <a:gd name="connsiteY91" fmla="*/ 309372 h 481012"/>
                  <a:gd name="connsiteX92" fmla="*/ 603600 w 3474435"/>
                  <a:gd name="connsiteY92" fmla="*/ 309372 h 481012"/>
                  <a:gd name="connsiteX93" fmla="*/ 603600 w 3474435"/>
                  <a:gd name="connsiteY93" fmla="*/ 315468 h 481012"/>
                  <a:gd name="connsiteX94" fmla="*/ 639318 w 3474435"/>
                  <a:gd name="connsiteY94" fmla="*/ 315468 h 481012"/>
                  <a:gd name="connsiteX95" fmla="*/ 639318 w 3474435"/>
                  <a:gd name="connsiteY95" fmla="*/ 321564 h 481012"/>
                  <a:gd name="connsiteX96" fmla="*/ 755047 w 3474435"/>
                  <a:gd name="connsiteY96" fmla="*/ 321564 h 481012"/>
                  <a:gd name="connsiteX97" fmla="*/ 755047 w 3474435"/>
                  <a:gd name="connsiteY97" fmla="*/ 327565 h 481012"/>
                  <a:gd name="connsiteX98" fmla="*/ 792861 w 3474435"/>
                  <a:gd name="connsiteY98" fmla="*/ 327565 h 481012"/>
                  <a:gd name="connsiteX99" fmla="*/ 792861 w 3474435"/>
                  <a:gd name="connsiteY99" fmla="*/ 333756 h 481012"/>
                  <a:gd name="connsiteX100" fmla="*/ 845439 w 3474435"/>
                  <a:gd name="connsiteY100" fmla="*/ 333756 h 481012"/>
                  <a:gd name="connsiteX101" fmla="*/ 845439 w 3474435"/>
                  <a:gd name="connsiteY101" fmla="*/ 339852 h 481012"/>
                  <a:gd name="connsiteX102" fmla="*/ 864394 w 3474435"/>
                  <a:gd name="connsiteY102" fmla="*/ 339852 h 481012"/>
                  <a:gd name="connsiteX103" fmla="*/ 864394 w 3474435"/>
                  <a:gd name="connsiteY103" fmla="*/ 345948 h 481012"/>
                  <a:gd name="connsiteX104" fmla="*/ 874872 w 3474435"/>
                  <a:gd name="connsiteY104" fmla="*/ 345948 h 481012"/>
                  <a:gd name="connsiteX105" fmla="*/ 874872 w 3474435"/>
                  <a:gd name="connsiteY105" fmla="*/ 352139 h 481012"/>
                  <a:gd name="connsiteX106" fmla="*/ 908590 w 3474435"/>
                  <a:gd name="connsiteY106" fmla="*/ 352139 h 481012"/>
                  <a:gd name="connsiteX107" fmla="*/ 908590 w 3474435"/>
                  <a:gd name="connsiteY107" fmla="*/ 358235 h 481012"/>
                  <a:gd name="connsiteX108" fmla="*/ 914877 w 3474435"/>
                  <a:gd name="connsiteY108" fmla="*/ 358235 h 481012"/>
                  <a:gd name="connsiteX109" fmla="*/ 914877 w 3474435"/>
                  <a:gd name="connsiteY109" fmla="*/ 364331 h 481012"/>
                  <a:gd name="connsiteX110" fmla="*/ 929545 w 3474435"/>
                  <a:gd name="connsiteY110" fmla="*/ 364331 h 481012"/>
                  <a:gd name="connsiteX111" fmla="*/ 929545 w 3474435"/>
                  <a:gd name="connsiteY111" fmla="*/ 370427 h 481012"/>
                  <a:gd name="connsiteX112" fmla="*/ 942213 w 3474435"/>
                  <a:gd name="connsiteY112" fmla="*/ 370427 h 481012"/>
                  <a:gd name="connsiteX113" fmla="*/ 942213 w 3474435"/>
                  <a:gd name="connsiteY113" fmla="*/ 376618 h 481012"/>
                  <a:gd name="connsiteX114" fmla="*/ 967455 w 3474435"/>
                  <a:gd name="connsiteY114" fmla="*/ 376618 h 481012"/>
                  <a:gd name="connsiteX115" fmla="*/ 967455 w 3474435"/>
                  <a:gd name="connsiteY115" fmla="*/ 382714 h 481012"/>
                  <a:gd name="connsiteX116" fmla="*/ 1196721 w 3474435"/>
                  <a:gd name="connsiteY116" fmla="*/ 382714 h 481012"/>
                  <a:gd name="connsiteX117" fmla="*/ 1196721 w 3474435"/>
                  <a:gd name="connsiteY117" fmla="*/ 388906 h 481012"/>
                  <a:gd name="connsiteX118" fmla="*/ 1310259 w 3474435"/>
                  <a:gd name="connsiteY118" fmla="*/ 388906 h 481012"/>
                  <a:gd name="connsiteX119" fmla="*/ 1310259 w 3474435"/>
                  <a:gd name="connsiteY119" fmla="*/ 395097 h 481012"/>
                  <a:gd name="connsiteX120" fmla="*/ 1579436 w 3474435"/>
                  <a:gd name="connsiteY120" fmla="*/ 395097 h 481012"/>
                  <a:gd name="connsiteX121" fmla="*/ 1579436 w 3474435"/>
                  <a:gd name="connsiteY121" fmla="*/ 401383 h 481012"/>
                  <a:gd name="connsiteX122" fmla="*/ 1653064 w 3474435"/>
                  <a:gd name="connsiteY122" fmla="*/ 401383 h 481012"/>
                  <a:gd name="connsiteX123" fmla="*/ 1653064 w 3474435"/>
                  <a:gd name="connsiteY123" fmla="*/ 407670 h 481012"/>
                  <a:gd name="connsiteX124" fmla="*/ 1732979 w 3474435"/>
                  <a:gd name="connsiteY124" fmla="*/ 407670 h 481012"/>
                  <a:gd name="connsiteX125" fmla="*/ 1732979 w 3474435"/>
                  <a:gd name="connsiteY125" fmla="*/ 413956 h 481012"/>
                  <a:gd name="connsiteX126" fmla="*/ 1894904 w 3474435"/>
                  <a:gd name="connsiteY126" fmla="*/ 413956 h 481012"/>
                  <a:gd name="connsiteX127" fmla="*/ 1894904 w 3474435"/>
                  <a:gd name="connsiteY127" fmla="*/ 420433 h 481012"/>
                  <a:gd name="connsiteX128" fmla="*/ 1911763 w 3474435"/>
                  <a:gd name="connsiteY128" fmla="*/ 420433 h 481012"/>
                  <a:gd name="connsiteX129" fmla="*/ 1911763 w 3474435"/>
                  <a:gd name="connsiteY129" fmla="*/ 426815 h 481012"/>
                  <a:gd name="connsiteX130" fmla="*/ 2029587 w 3474435"/>
                  <a:gd name="connsiteY130" fmla="*/ 426815 h 481012"/>
                  <a:gd name="connsiteX131" fmla="*/ 2029587 w 3474435"/>
                  <a:gd name="connsiteY131" fmla="*/ 433292 h 481012"/>
                  <a:gd name="connsiteX132" fmla="*/ 2122075 w 3474435"/>
                  <a:gd name="connsiteY132" fmla="*/ 433292 h 481012"/>
                  <a:gd name="connsiteX133" fmla="*/ 2122075 w 3474435"/>
                  <a:gd name="connsiteY133" fmla="*/ 439674 h 481012"/>
                  <a:gd name="connsiteX134" fmla="*/ 2141030 w 3474435"/>
                  <a:gd name="connsiteY134" fmla="*/ 439674 h 481012"/>
                  <a:gd name="connsiteX135" fmla="*/ 2141030 w 3474435"/>
                  <a:gd name="connsiteY135" fmla="*/ 446151 h 481012"/>
                  <a:gd name="connsiteX136" fmla="*/ 2994851 w 3474435"/>
                  <a:gd name="connsiteY136" fmla="*/ 446151 h 481012"/>
                  <a:gd name="connsiteX137" fmla="*/ 2994851 w 3474435"/>
                  <a:gd name="connsiteY137" fmla="*/ 481012 h 481012"/>
                  <a:gd name="connsiteX138" fmla="*/ 3474435 w 3474435"/>
                  <a:gd name="connsiteY138" fmla="*/ 481012 h 481012"/>
                  <a:gd name="connsiteX0" fmla="*/ 0 w 3474435"/>
                  <a:gd name="connsiteY0" fmla="*/ 0 h 474916"/>
                  <a:gd name="connsiteX1" fmla="*/ 14669 w 3474435"/>
                  <a:gd name="connsiteY1" fmla="*/ 0 h 474916"/>
                  <a:gd name="connsiteX2" fmla="*/ 14669 w 3474435"/>
                  <a:gd name="connsiteY2" fmla="*/ 6001 h 474916"/>
                  <a:gd name="connsiteX3" fmla="*/ 18955 w 3474435"/>
                  <a:gd name="connsiteY3" fmla="*/ 6001 h 474916"/>
                  <a:gd name="connsiteX4" fmla="*/ 18955 w 3474435"/>
                  <a:gd name="connsiteY4" fmla="*/ 12097 h 474916"/>
                  <a:gd name="connsiteX5" fmla="*/ 29432 w 3474435"/>
                  <a:gd name="connsiteY5" fmla="*/ 12097 h 474916"/>
                  <a:gd name="connsiteX6" fmla="*/ 29432 w 3474435"/>
                  <a:gd name="connsiteY6" fmla="*/ 18193 h 474916"/>
                  <a:gd name="connsiteX7" fmla="*/ 37815 w 3474435"/>
                  <a:gd name="connsiteY7" fmla="*/ 18193 h 474916"/>
                  <a:gd name="connsiteX8" fmla="*/ 37815 w 3474435"/>
                  <a:gd name="connsiteY8" fmla="*/ 24289 h 474916"/>
                  <a:gd name="connsiteX9" fmla="*/ 52578 w 3474435"/>
                  <a:gd name="connsiteY9" fmla="*/ 24289 h 474916"/>
                  <a:gd name="connsiteX10" fmla="*/ 52578 w 3474435"/>
                  <a:gd name="connsiteY10" fmla="*/ 30289 h 474916"/>
                  <a:gd name="connsiteX11" fmla="*/ 56769 w 3474435"/>
                  <a:gd name="connsiteY11" fmla="*/ 30289 h 474916"/>
                  <a:gd name="connsiteX12" fmla="*/ 56769 w 3474435"/>
                  <a:gd name="connsiteY12" fmla="*/ 36385 h 474916"/>
                  <a:gd name="connsiteX13" fmla="*/ 60960 w 3474435"/>
                  <a:gd name="connsiteY13" fmla="*/ 36385 h 474916"/>
                  <a:gd name="connsiteX14" fmla="*/ 60960 w 3474435"/>
                  <a:gd name="connsiteY14" fmla="*/ 42481 h 474916"/>
                  <a:gd name="connsiteX15" fmla="*/ 73629 w 3474435"/>
                  <a:gd name="connsiteY15" fmla="*/ 42481 h 474916"/>
                  <a:gd name="connsiteX16" fmla="*/ 73629 w 3474435"/>
                  <a:gd name="connsiteY16" fmla="*/ 48482 h 474916"/>
                  <a:gd name="connsiteX17" fmla="*/ 103061 w 3474435"/>
                  <a:gd name="connsiteY17" fmla="*/ 48482 h 474916"/>
                  <a:gd name="connsiteX18" fmla="*/ 103061 w 3474435"/>
                  <a:gd name="connsiteY18" fmla="*/ 54578 h 474916"/>
                  <a:gd name="connsiteX19" fmla="*/ 111443 w 3474435"/>
                  <a:gd name="connsiteY19" fmla="*/ 54578 h 474916"/>
                  <a:gd name="connsiteX20" fmla="*/ 111443 w 3474435"/>
                  <a:gd name="connsiteY20" fmla="*/ 60674 h 474916"/>
                  <a:gd name="connsiteX21" fmla="*/ 113538 w 3474435"/>
                  <a:gd name="connsiteY21" fmla="*/ 60674 h 474916"/>
                  <a:gd name="connsiteX22" fmla="*/ 113538 w 3474435"/>
                  <a:gd name="connsiteY22" fmla="*/ 66675 h 474916"/>
                  <a:gd name="connsiteX23" fmla="*/ 128302 w 3474435"/>
                  <a:gd name="connsiteY23" fmla="*/ 66675 h 474916"/>
                  <a:gd name="connsiteX24" fmla="*/ 128302 w 3474435"/>
                  <a:gd name="connsiteY24" fmla="*/ 78867 h 474916"/>
                  <a:gd name="connsiteX25" fmla="*/ 130398 w 3474435"/>
                  <a:gd name="connsiteY25" fmla="*/ 78867 h 474916"/>
                  <a:gd name="connsiteX26" fmla="*/ 130398 w 3474435"/>
                  <a:gd name="connsiteY26" fmla="*/ 84868 h 474916"/>
                  <a:gd name="connsiteX27" fmla="*/ 136684 w 3474435"/>
                  <a:gd name="connsiteY27" fmla="*/ 84868 h 474916"/>
                  <a:gd name="connsiteX28" fmla="*/ 136684 w 3474435"/>
                  <a:gd name="connsiteY28" fmla="*/ 90964 h 474916"/>
                  <a:gd name="connsiteX29" fmla="*/ 140875 w 3474435"/>
                  <a:gd name="connsiteY29" fmla="*/ 90964 h 474916"/>
                  <a:gd name="connsiteX30" fmla="*/ 140875 w 3474435"/>
                  <a:gd name="connsiteY30" fmla="*/ 97060 h 474916"/>
                  <a:gd name="connsiteX31" fmla="*/ 157734 w 3474435"/>
                  <a:gd name="connsiteY31" fmla="*/ 97060 h 474916"/>
                  <a:gd name="connsiteX32" fmla="*/ 157734 w 3474435"/>
                  <a:gd name="connsiteY32" fmla="*/ 109156 h 474916"/>
                  <a:gd name="connsiteX33" fmla="*/ 161925 w 3474435"/>
                  <a:gd name="connsiteY33" fmla="*/ 109156 h 474916"/>
                  <a:gd name="connsiteX34" fmla="*/ 161925 w 3474435"/>
                  <a:gd name="connsiteY34" fmla="*/ 115252 h 474916"/>
                  <a:gd name="connsiteX35" fmla="*/ 185071 w 3474435"/>
                  <a:gd name="connsiteY35" fmla="*/ 115252 h 474916"/>
                  <a:gd name="connsiteX36" fmla="*/ 185071 w 3474435"/>
                  <a:gd name="connsiteY36" fmla="*/ 121348 h 474916"/>
                  <a:gd name="connsiteX37" fmla="*/ 189262 w 3474435"/>
                  <a:gd name="connsiteY37" fmla="*/ 121348 h 474916"/>
                  <a:gd name="connsiteX38" fmla="*/ 189262 w 3474435"/>
                  <a:gd name="connsiteY38" fmla="*/ 127349 h 474916"/>
                  <a:gd name="connsiteX39" fmla="*/ 195549 w 3474435"/>
                  <a:gd name="connsiteY39" fmla="*/ 127349 h 474916"/>
                  <a:gd name="connsiteX40" fmla="*/ 195549 w 3474435"/>
                  <a:gd name="connsiteY40" fmla="*/ 139541 h 474916"/>
                  <a:gd name="connsiteX41" fmla="*/ 214503 w 3474435"/>
                  <a:gd name="connsiteY41" fmla="*/ 139541 h 474916"/>
                  <a:gd name="connsiteX42" fmla="*/ 214503 w 3474435"/>
                  <a:gd name="connsiteY42" fmla="*/ 145542 h 474916"/>
                  <a:gd name="connsiteX43" fmla="*/ 222885 w 3474435"/>
                  <a:gd name="connsiteY43" fmla="*/ 145542 h 474916"/>
                  <a:gd name="connsiteX44" fmla="*/ 222885 w 3474435"/>
                  <a:gd name="connsiteY44" fmla="*/ 151638 h 474916"/>
                  <a:gd name="connsiteX45" fmla="*/ 235554 w 3474435"/>
                  <a:gd name="connsiteY45" fmla="*/ 151638 h 474916"/>
                  <a:gd name="connsiteX46" fmla="*/ 235554 w 3474435"/>
                  <a:gd name="connsiteY46" fmla="*/ 157734 h 474916"/>
                  <a:gd name="connsiteX47" fmla="*/ 252413 w 3474435"/>
                  <a:gd name="connsiteY47" fmla="*/ 157734 h 474916"/>
                  <a:gd name="connsiteX48" fmla="*/ 252413 w 3474435"/>
                  <a:gd name="connsiteY48" fmla="*/ 163735 h 474916"/>
                  <a:gd name="connsiteX49" fmla="*/ 279750 w 3474435"/>
                  <a:gd name="connsiteY49" fmla="*/ 163735 h 474916"/>
                  <a:gd name="connsiteX50" fmla="*/ 279750 w 3474435"/>
                  <a:gd name="connsiteY50" fmla="*/ 169831 h 474916"/>
                  <a:gd name="connsiteX51" fmla="*/ 281845 w 3474435"/>
                  <a:gd name="connsiteY51" fmla="*/ 169831 h 474916"/>
                  <a:gd name="connsiteX52" fmla="*/ 281845 w 3474435"/>
                  <a:gd name="connsiteY52" fmla="*/ 175927 h 474916"/>
                  <a:gd name="connsiteX53" fmla="*/ 292322 w 3474435"/>
                  <a:gd name="connsiteY53" fmla="*/ 175927 h 474916"/>
                  <a:gd name="connsiteX54" fmla="*/ 292322 w 3474435"/>
                  <a:gd name="connsiteY54" fmla="*/ 181927 h 474916"/>
                  <a:gd name="connsiteX55" fmla="*/ 298609 w 3474435"/>
                  <a:gd name="connsiteY55" fmla="*/ 181927 h 474916"/>
                  <a:gd name="connsiteX56" fmla="*/ 298609 w 3474435"/>
                  <a:gd name="connsiteY56" fmla="*/ 194119 h 474916"/>
                  <a:gd name="connsiteX57" fmla="*/ 307086 w 3474435"/>
                  <a:gd name="connsiteY57" fmla="*/ 194119 h 474916"/>
                  <a:gd name="connsiteX58" fmla="*/ 307086 w 3474435"/>
                  <a:gd name="connsiteY58" fmla="*/ 200120 h 474916"/>
                  <a:gd name="connsiteX59" fmla="*/ 313373 w 3474435"/>
                  <a:gd name="connsiteY59" fmla="*/ 200120 h 474916"/>
                  <a:gd name="connsiteX60" fmla="*/ 313373 w 3474435"/>
                  <a:gd name="connsiteY60" fmla="*/ 212312 h 474916"/>
                  <a:gd name="connsiteX61" fmla="*/ 315468 w 3474435"/>
                  <a:gd name="connsiteY61" fmla="*/ 212312 h 474916"/>
                  <a:gd name="connsiteX62" fmla="*/ 315468 w 3474435"/>
                  <a:gd name="connsiteY62" fmla="*/ 218408 h 474916"/>
                  <a:gd name="connsiteX63" fmla="*/ 328041 w 3474435"/>
                  <a:gd name="connsiteY63" fmla="*/ 218408 h 474916"/>
                  <a:gd name="connsiteX64" fmla="*/ 328041 w 3474435"/>
                  <a:gd name="connsiteY64" fmla="*/ 224409 h 474916"/>
                  <a:gd name="connsiteX65" fmla="*/ 351187 w 3474435"/>
                  <a:gd name="connsiteY65" fmla="*/ 224409 h 474916"/>
                  <a:gd name="connsiteX66" fmla="*/ 351187 w 3474435"/>
                  <a:gd name="connsiteY66" fmla="*/ 230505 h 474916"/>
                  <a:gd name="connsiteX67" fmla="*/ 357569 w 3474435"/>
                  <a:gd name="connsiteY67" fmla="*/ 230505 h 474916"/>
                  <a:gd name="connsiteX68" fmla="*/ 357569 w 3474435"/>
                  <a:gd name="connsiteY68" fmla="*/ 236601 h 474916"/>
                  <a:gd name="connsiteX69" fmla="*/ 365951 w 3474435"/>
                  <a:gd name="connsiteY69" fmla="*/ 236601 h 474916"/>
                  <a:gd name="connsiteX70" fmla="*/ 365951 w 3474435"/>
                  <a:gd name="connsiteY70" fmla="*/ 242602 h 474916"/>
                  <a:gd name="connsiteX71" fmla="*/ 374333 w 3474435"/>
                  <a:gd name="connsiteY71" fmla="*/ 242602 h 474916"/>
                  <a:gd name="connsiteX72" fmla="*/ 374333 w 3474435"/>
                  <a:gd name="connsiteY72" fmla="*/ 248698 h 474916"/>
                  <a:gd name="connsiteX73" fmla="*/ 378524 w 3474435"/>
                  <a:gd name="connsiteY73" fmla="*/ 248698 h 474916"/>
                  <a:gd name="connsiteX74" fmla="*/ 378524 w 3474435"/>
                  <a:gd name="connsiteY74" fmla="*/ 254794 h 474916"/>
                  <a:gd name="connsiteX75" fmla="*/ 452152 w 3474435"/>
                  <a:gd name="connsiteY75" fmla="*/ 254794 h 474916"/>
                  <a:gd name="connsiteX76" fmla="*/ 452152 w 3474435"/>
                  <a:gd name="connsiteY76" fmla="*/ 260794 h 474916"/>
                  <a:gd name="connsiteX77" fmla="*/ 473202 w 3474435"/>
                  <a:gd name="connsiteY77" fmla="*/ 260794 h 474916"/>
                  <a:gd name="connsiteX78" fmla="*/ 473202 w 3474435"/>
                  <a:gd name="connsiteY78" fmla="*/ 266890 h 474916"/>
                  <a:gd name="connsiteX79" fmla="*/ 479489 w 3474435"/>
                  <a:gd name="connsiteY79" fmla="*/ 266890 h 474916"/>
                  <a:gd name="connsiteX80" fmla="*/ 479489 w 3474435"/>
                  <a:gd name="connsiteY80" fmla="*/ 272986 h 474916"/>
                  <a:gd name="connsiteX81" fmla="*/ 521589 w 3474435"/>
                  <a:gd name="connsiteY81" fmla="*/ 272986 h 474916"/>
                  <a:gd name="connsiteX82" fmla="*/ 521589 w 3474435"/>
                  <a:gd name="connsiteY82" fmla="*/ 278987 h 474916"/>
                  <a:gd name="connsiteX83" fmla="*/ 536258 w 3474435"/>
                  <a:gd name="connsiteY83" fmla="*/ 278987 h 474916"/>
                  <a:gd name="connsiteX84" fmla="*/ 536258 w 3474435"/>
                  <a:gd name="connsiteY84" fmla="*/ 285083 h 474916"/>
                  <a:gd name="connsiteX85" fmla="*/ 565785 w 3474435"/>
                  <a:gd name="connsiteY85" fmla="*/ 285083 h 474916"/>
                  <a:gd name="connsiteX86" fmla="*/ 565785 w 3474435"/>
                  <a:gd name="connsiteY86" fmla="*/ 291179 h 474916"/>
                  <a:gd name="connsiteX87" fmla="*/ 567881 w 3474435"/>
                  <a:gd name="connsiteY87" fmla="*/ 291179 h 474916"/>
                  <a:gd name="connsiteX88" fmla="*/ 567881 w 3474435"/>
                  <a:gd name="connsiteY88" fmla="*/ 297180 h 474916"/>
                  <a:gd name="connsiteX89" fmla="*/ 590931 w 3474435"/>
                  <a:gd name="connsiteY89" fmla="*/ 297180 h 474916"/>
                  <a:gd name="connsiteX90" fmla="*/ 590931 w 3474435"/>
                  <a:gd name="connsiteY90" fmla="*/ 303276 h 474916"/>
                  <a:gd name="connsiteX91" fmla="*/ 603600 w 3474435"/>
                  <a:gd name="connsiteY91" fmla="*/ 303276 h 474916"/>
                  <a:gd name="connsiteX92" fmla="*/ 603600 w 3474435"/>
                  <a:gd name="connsiteY92" fmla="*/ 309372 h 474916"/>
                  <a:gd name="connsiteX93" fmla="*/ 639318 w 3474435"/>
                  <a:gd name="connsiteY93" fmla="*/ 309372 h 474916"/>
                  <a:gd name="connsiteX94" fmla="*/ 639318 w 3474435"/>
                  <a:gd name="connsiteY94" fmla="*/ 315468 h 474916"/>
                  <a:gd name="connsiteX95" fmla="*/ 755047 w 3474435"/>
                  <a:gd name="connsiteY95" fmla="*/ 315468 h 474916"/>
                  <a:gd name="connsiteX96" fmla="*/ 755047 w 3474435"/>
                  <a:gd name="connsiteY96" fmla="*/ 321469 h 474916"/>
                  <a:gd name="connsiteX97" fmla="*/ 792861 w 3474435"/>
                  <a:gd name="connsiteY97" fmla="*/ 321469 h 474916"/>
                  <a:gd name="connsiteX98" fmla="*/ 792861 w 3474435"/>
                  <a:gd name="connsiteY98" fmla="*/ 327660 h 474916"/>
                  <a:gd name="connsiteX99" fmla="*/ 845439 w 3474435"/>
                  <a:gd name="connsiteY99" fmla="*/ 327660 h 474916"/>
                  <a:gd name="connsiteX100" fmla="*/ 845439 w 3474435"/>
                  <a:gd name="connsiteY100" fmla="*/ 333756 h 474916"/>
                  <a:gd name="connsiteX101" fmla="*/ 864394 w 3474435"/>
                  <a:gd name="connsiteY101" fmla="*/ 333756 h 474916"/>
                  <a:gd name="connsiteX102" fmla="*/ 864394 w 3474435"/>
                  <a:gd name="connsiteY102" fmla="*/ 339852 h 474916"/>
                  <a:gd name="connsiteX103" fmla="*/ 874872 w 3474435"/>
                  <a:gd name="connsiteY103" fmla="*/ 339852 h 474916"/>
                  <a:gd name="connsiteX104" fmla="*/ 874872 w 3474435"/>
                  <a:gd name="connsiteY104" fmla="*/ 346043 h 474916"/>
                  <a:gd name="connsiteX105" fmla="*/ 908590 w 3474435"/>
                  <a:gd name="connsiteY105" fmla="*/ 346043 h 474916"/>
                  <a:gd name="connsiteX106" fmla="*/ 908590 w 3474435"/>
                  <a:gd name="connsiteY106" fmla="*/ 352139 h 474916"/>
                  <a:gd name="connsiteX107" fmla="*/ 914877 w 3474435"/>
                  <a:gd name="connsiteY107" fmla="*/ 352139 h 474916"/>
                  <a:gd name="connsiteX108" fmla="*/ 914877 w 3474435"/>
                  <a:gd name="connsiteY108" fmla="*/ 358235 h 474916"/>
                  <a:gd name="connsiteX109" fmla="*/ 929545 w 3474435"/>
                  <a:gd name="connsiteY109" fmla="*/ 358235 h 474916"/>
                  <a:gd name="connsiteX110" fmla="*/ 929545 w 3474435"/>
                  <a:gd name="connsiteY110" fmla="*/ 364331 h 474916"/>
                  <a:gd name="connsiteX111" fmla="*/ 942213 w 3474435"/>
                  <a:gd name="connsiteY111" fmla="*/ 364331 h 474916"/>
                  <a:gd name="connsiteX112" fmla="*/ 942213 w 3474435"/>
                  <a:gd name="connsiteY112" fmla="*/ 370522 h 474916"/>
                  <a:gd name="connsiteX113" fmla="*/ 967455 w 3474435"/>
                  <a:gd name="connsiteY113" fmla="*/ 370522 h 474916"/>
                  <a:gd name="connsiteX114" fmla="*/ 967455 w 3474435"/>
                  <a:gd name="connsiteY114" fmla="*/ 376618 h 474916"/>
                  <a:gd name="connsiteX115" fmla="*/ 1196721 w 3474435"/>
                  <a:gd name="connsiteY115" fmla="*/ 376618 h 474916"/>
                  <a:gd name="connsiteX116" fmla="*/ 1196721 w 3474435"/>
                  <a:gd name="connsiteY116" fmla="*/ 382810 h 474916"/>
                  <a:gd name="connsiteX117" fmla="*/ 1310259 w 3474435"/>
                  <a:gd name="connsiteY117" fmla="*/ 382810 h 474916"/>
                  <a:gd name="connsiteX118" fmla="*/ 1310259 w 3474435"/>
                  <a:gd name="connsiteY118" fmla="*/ 389001 h 474916"/>
                  <a:gd name="connsiteX119" fmla="*/ 1579436 w 3474435"/>
                  <a:gd name="connsiteY119" fmla="*/ 389001 h 474916"/>
                  <a:gd name="connsiteX120" fmla="*/ 1579436 w 3474435"/>
                  <a:gd name="connsiteY120" fmla="*/ 395287 h 474916"/>
                  <a:gd name="connsiteX121" fmla="*/ 1653064 w 3474435"/>
                  <a:gd name="connsiteY121" fmla="*/ 395287 h 474916"/>
                  <a:gd name="connsiteX122" fmla="*/ 1653064 w 3474435"/>
                  <a:gd name="connsiteY122" fmla="*/ 401574 h 474916"/>
                  <a:gd name="connsiteX123" fmla="*/ 1732979 w 3474435"/>
                  <a:gd name="connsiteY123" fmla="*/ 401574 h 474916"/>
                  <a:gd name="connsiteX124" fmla="*/ 1732979 w 3474435"/>
                  <a:gd name="connsiteY124" fmla="*/ 407860 h 474916"/>
                  <a:gd name="connsiteX125" fmla="*/ 1894904 w 3474435"/>
                  <a:gd name="connsiteY125" fmla="*/ 407860 h 474916"/>
                  <a:gd name="connsiteX126" fmla="*/ 1894904 w 3474435"/>
                  <a:gd name="connsiteY126" fmla="*/ 414337 h 474916"/>
                  <a:gd name="connsiteX127" fmla="*/ 1911763 w 3474435"/>
                  <a:gd name="connsiteY127" fmla="*/ 414337 h 474916"/>
                  <a:gd name="connsiteX128" fmla="*/ 1911763 w 3474435"/>
                  <a:gd name="connsiteY128" fmla="*/ 420719 h 474916"/>
                  <a:gd name="connsiteX129" fmla="*/ 2029587 w 3474435"/>
                  <a:gd name="connsiteY129" fmla="*/ 420719 h 474916"/>
                  <a:gd name="connsiteX130" fmla="*/ 2029587 w 3474435"/>
                  <a:gd name="connsiteY130" fmla="*/ 427196 h 474916"/>
                  <a:gd name="connsiteX131" fmla="*/ 2122075 w 3474435"/>
                  <a:gd name="connsiteY131" fmla="*/ 427196 h 474916"/>
                  <a:gd name="connsiteX132" fmla="*/ 2122075 w 3474435"/>
                  <a:gd name="connsiteY132" fmla="*/ 433578 h 474916"/>
                  <a:gd name="connsiteX133" fmla="*/ 2141030 w 3474435"/>
                  <a:gd name="connsiteY133" fmla="*/ 433578 h 474916"/>
                  <a:gd name="connsiteX134" fmla="*/ 2141030 w 3474435"/>
                  <a:gd name="connsiteY134" fmla="*/ 440055 h 474916"/>
                  <a:gd name="connsiteX135" fmla="*/ 2994851 w 3474435"/>
                  <a:gd name="connsiteY135" fmla="*/ 440055 h 474916"/>
                  <a:gd name="connsiteX136" fmla="*/ 2994851 w 3474435"/>
                  <a:gd name="connsiteY136" fmla="*/ 474916 h 474916"/>
                  <a:gd name="connsiteX137" fmla="*/ 3474435 w 3474435"/>
                  <a:gd name="connsiteY137" fmla="*/ 474916 h 474916"/>
                  <a:gd name="connsiteX0" fmla="*/ 0 w 3474435"/>
                  <a:gd name="connsiteY0" fmla="*/ 0 h 474916"/>
                  <a:gd name="connsiteX1" fmla="*/ 14669 w 3474435"/>
                  <a:gd name="connsiteY1" fmla="*/ 6001 h 474916"/>
                  <a:gd name="connsiteX2" fmla="*/ 18955 w 3474435"/>
                  <a:gd name="connsiteY2" fmla="*/ 6001 h 474916"/>
                  <a:gd name="connsiteX3" fmla="*/ 18955 w 3474435"/>
                  <a:gd name="connsiteY3" fmla="*/ 12097 h 474916"/>
                  <a:gd name="connsiteX4" fmla="*/ 29432 w 3474435"/>
                  <a:gd name="connsiteY4" fmla="*/ 12097 h 474916"/>
                  <a:gd name="connsiteX5" fmla="*/ 29432 w 3474435"/>
                  <a:gd name="connsiteY5" fmla="*/ 18193 h 474916"/>
                  <a:gd name="connsiteX6" fmla="*/ 37815 w 3474435"/>
                  <a:gd name="connsiteY6" fmla="*/ 18193 h 474916"/>
                  <a:gd name="connsiteX7" fmla="*/ 37815 w 3474435"/>
                  <a:gd name="connsiteY7" fmla="*/ 24289 h 474916"/>
                  <a:gd name="connsiteX8" fmla="*/ 52578 w 3474435"/>
                  <a:gd name="connsiteY8" fmla="*/ 24289 h 474916"/>
                  <a:gd name="connsiteX9" fmla="*/ 52578 w 3474435"/>
                  <a:gd name="connsiteY9" fmla="*/ 30289 h 474916"/>
                  <a:gd name="connsiteX10" fmla="*/ 56769 w 3474435"/>
                  <a:gd name="connsiteY10" fmla="*/ 30289 h 474916"/>
                  <a:gd name="connsiteX11" fmla="*/ 56769 w 3474435"/>
                  <a:gd name="connsiteY11" fmla="*/ 36385 h 474916"/>
                  <a:gd name="connsiteX12" fmla="*/ 60960 w 3474435"/>
                  <a:gd name="connsiteY12" fmla="*/ 36385 h 474916"/>
                  <a:gd name="connsiteX13" fmla="*/ 60960 w 3474435"/>
                  <a:gd name="connsiteY13" fmla="*/ 42481 h 474916"/>
                  <a:gd name="connsiteX14" fmla="*/ 73629 w 3474435"/>
                  <a:gd name="connsiteY14" fmla="*/ 42481 h 474916"/>
                  <a:gd name="connsiteX15" fmla="*/ 73629 w 3474435"/>
                  <a:gd name="connsiteY15" fmla="*/ 48482 h 474916"/>
                  <a:gd name="connsiteX16" fmla="*/ 103061 w 3474435"/>
                  <a:gd name="connsiteY16" fmla="*/ 48482 h 474916"/>
                  <a:gd name="connsiteX17" fmla="*/ 103061 w 3474435"/>
                  <a:gd name="connsiteY17" fmla="*/ 54578 h 474916"/>
                  <a:gd name="connsiteX18" fmla="*/ 111443 w 3474435"/>
                  <a:gd name="connsiteY18" fmla="*/ 54578 h 474916"/>
                  <a:gd name="connsiteX19" fmla="*/ 111443 w 3474435"/>
                  <a:gd name="connsiteY19" fmla="*/ 60674 h 474916"/>
                  <a:gd name="connsiteX20" fmla="*/ 113538 w 3474435"/>
                  <a:gd name="connsiteY20" fmla="*/ 60674 h 474916"/>
                  <a:gd name="connsiteX21" fmla="*/ 113538 w 3474435"/>
                  <a:gd name="connsiteY21" fmla="*/ 66675 h 474916"/>
                  <a:gd name="connsiteX22" fmla="*/ 128302 w 3474435"/>
                  <a:gd name="connsiteY22" fmla="*/ 66675 h 474916"/>
                  <a:gd name="connsiteX23" fmla="*/ 128302 w 3474435"/>
                  <a:gd name="connsiteY23" fmla="*/ 78867 h 474916"/>
                  <a:gd name="connsiteX24" fmla="*/ 130398 w 3474435"/>
                  <a:gd name="connsiteY24" fmla="*/ 78867 h 474916"/>
                  <a:gd name="connsiteX25" fmla="*/ 130398 w 3474435"/>
                  <a:gd name="connsiteY25" fmla="*/ 84868 h 474916"/>
                  <a:gd name="connsiteX26" fmla="*/ 136684 w 3474435"/>
                  <a:gd name="connsiteY26" fmla="*/ 84868 h 474916"/>
                  <a:gd name="connsiteX27" fmla="*/ 136684 w 3474435"/>
                  <a:gd name="connsiteY27" fmla="*/ 90964 h 474916"/>
                  <a:gd name="connsiteX28" fmla="*/ 140875 w 3474435"/>
                  <a:gd name="connsiteY28" fmla="*/ 90964 h 474916"/>
                  <a:gd name="connsiteX29" fmla="*/ 140875 w 3474435"/>
                  <a:gd name="connsiteY29" fmla="*/ 97060 h 474916"/>
                  <a:gd name="connsiteX30" fmla="*/ 157734 w 3474435"/>
                  <a:gd name="connsiteY30" fmla="*/ 97060 h 474916"/>
                  <a:gd name="connsiteX31" fmla="*/ 157734 w 3474435"/>
                  <a:gd name="connsiteY31" fmla="*/ 109156 h 474916"/>
                  <a:gd name="connsiteX32" fmla="*/ 161925 w 3474435"/>
                  <a:gd name="connsiteY32" fmla="*/ 109156 h 474916"/>
                  <a:gd name="connsiteX33" fmla="*/ 161925 w 3474435"/>
                  <a:gd name="connsiteY33" fmla="*/ 115252 h 474916"/>
                  <a:gd name="connsiteX34" fmla="*/ 185071 w 3474435"/>
                  <a:gd name="connsiteY34" fmla="*/ 115252 h 474916"/>
                  <a:gd name="connsiteX35" fmla="*/ 185071 w 3474435"/>
                  <a:gd name="connsiteY35" fmla="*/ 121348 h 474916"/>
                  <a:gd name="connsiteX36" fmla="*/ 189262 w 3474435"/>
                  <a:gd name="connsiteY36" fmla="*/ 121348 h 474916"/>
                  <a:gd name="connsiteX37" fmla="*/ 189262 w 3474435"/>
                  <a:gd name="connsiteY37" fmla="*/ 127349 h 474916"/>
                  <a:gd name="connsiteX38" fmla="*/ 195549 w 3474435"/>
                  <a:gd name="connsiteY38" fmla="*/ 127349 h 474916"/>
                  <a:gd name="connsiteX39" fmla="*/ 195549 w 3474435"/>
                  <a:gd name="connsiteY39" fmla="*/ 139541 h 474916"/>
                  <a:gd name="connsiteX40" fmla="*/ 214503 w 3474435"/>
                  <a:gd name="connsiteY40" fmla="*/ 139541 h 474916"/>
                  <a:gd name="connsiteX41" fmla="*/ 214503 w 3474435"/>
                  <a:gd name="connsiteY41" fmla="*/ 145542 h 474916"/>
                  <a:gd name="connsiteX42" fmla="*/ 222885 w 3474435"/>
                  <a:gd name="connsiteY42" fmla="*/ 145542 h 474916"/>
                  <a:gd name="connsiteX43" fmla="*/ 222885 w 3474435"/>
                  <a:gd name="connsiteY43" fmla="*/ 151638 h 474916"/>
                  <a:gd name="connsiteX44" fmla="*/ 235554 w 3474435"/>
                  <a:gd name="connsiteY44" fmla="*/ 151638 h 474916"/>
                  <a:gd name="connsiteX45" fmla="*/ 235554 w 3474435"/>
                  <a:gd name="connsiteY45" fmla="*/ 157734 h 474916"/>
                  <a:gd name="connsiteX46" fmla="*/ 252413 w 3474435"/>
                  <a:gd name="connsiteY46" fmla="*/ 157734 h 474916"/>
                  <a:gd name="connsiteX47" fmla="*/ 252413 w 3474435"/>
                  <a:gd name="connsiteY47" fmla="*/ 163735 h 474916"/>
                  <a:gd name="connsiteX48" fmla="*/ 279750 w 3474435"/>
                  <a:gd name="connsiteY48" fmla="*/ 163735 h 474916"/>
                  <a:gd name="connsiteX49" fmla="*/ 279750 w 3474435"/>
                  <a:gd name="connsiteY49" fmla="*/ 169831 h 474916"/>
                  <a:gd name="connsiteX50" fmla="*/ 281845 w 3474435"/>
                  <a:gd name="connsiteY50" fmla="*/ 169831 h 474916"/>
                  <a:gd name="connsiteX51" fmla="*/ 281845 w 3474435"/>
                  <a:gd name="connsiteY51" fmla="*/ 175927 h 474916"/>
                  <a:gd name="connsiteX52" fmla="*/ 292322 w 3474435"/>
                  <a:gd name="connsiteY52" fmla="*/ 175927 h 474916"/>
                  <a:gd name="connsiteX53" fmla="*/ 292322 w 3474435"/>
                  <a:gd name="connsiteY53" fmla="*/ 181927 h 474916"/>
                  <a:gd name="connsiteX54" fmla="*/ 298609 w 3474435"/>
                  <a:gd name="connsiteY54" fmla="*/ 181927 h 474916"/>
                  <a:gd name="connsiteX55" fmla="*/ 298609 w 3474435"/>
                  <a:gd name="connsiteY55" fmla="*/ 194119 h 474916"/>
                  <a:gd name="connsiteX56" fmla="*/ 307086 w 3474435"/>
                  <a:gd name="connsiteY56" fmla="*/ 194119 h 474916"/>
                  <a:gd name="connsiteX57" fmla="*/ 307086 w 3474435"/>
                  <a:gd name="connsiteY57" fmla="*/ 200120 h 474916"/>
                  <a:gd name="connsiteX58" fmla="*/ 313373 w 3474435"/>
                  <a:gd name="connsiteY58" fmla="*/ 200120 h 474916"/>
                  <a:gd name="connsiteX59" fmla="*/ 313373 w 3474435"/>
                  <a:gd name="connsiteY59" fmla="*/ 212312 h 474916"/>
                  <a:gd name="connsiteX60" fmla="*/ 315468 w 3474435"/>
                  <a:gd name="connsiteY60" fmla="*/ 212312 h 474916"/>
                  <a:gd name="connsiteX61" fmla="*/ 315468 w 3474435"/>
                  <a:gd name="connsiteY61" fmla="*/ 218408 h 474916"/>
                  <a:gd name="connsiteX62" fmla="*/ 328041 w 3474435"/>
                  <a:gd name="connsiteY62" fmla="*/ 218408 h 474916"/>
                  <a:gd name="connsiteX63" fmla="*/ 328041 w 3474435"/>
                  <a:gd name="connsiteY63" fmla="*/ 224409 h 474916"/>
                  <a:gd name="connsiteX64" fmla="*/ 351187 w 3474435"/>
                  <a:gd name="connsiteY64" fmla="*/ 224409 h 474916"/>
                  <a:gd name="connsiteX65" fmla="*/ 351187 w 3474435"/>
                  <a:gd name="connsiteY65" fmla="*/ 230505 h 474916"/>
                  <a:gd name="connsiteX66" fmla="*/ 357569 w 3474435"/>
                  <a:gd name="connsiteY66" fmla="*/ 230505 h 474916"/>
                  <a:gd name="connsiteX67" fmla="*/ 357569 w 3474435"/>
                  <a:gd name="connsiteY67" fmla="*/ 236601 h 474916"/>
                  <a:gd name="connsiteX68" fmla="*/ 365951 w 3474435"/>
                  <a:gd name="connsiteY68" fmla="*/ 236601 h 474916"/>
                  <a:gd name="connsiteX69" fmla="*/ 365951 w 3474435"/>
                  <a:gd name="connsiteY69" fmla="*/ 242602 h 474916"/>
                  <a:gd name="connsiteX70" fmla="*/ 374333 w 3474435"/>
                  <a:gd name="connsiteY70" fmla="*/ 242602 h 474916"/>
                  <a:gd name="connsiteX71" fmla="*/ 374333 w 3474435"/>
                  <a:gd name="connsiteY71" fmla="*/ 248698 h 474916"/>
                  <a:gd name="connsiteX72" fmla="*/ 378524 w 3474435"/>
                  <a:gd name="connsiteY72" fmla="*/ 248698 h 474916"/>
                  <a:gd name="connsiteX73" fmla="*/ 378524 w 3474435"/>
                  <a:gd name="connsiteY73" fmla="*/ 254794 h 474916"/>
                  <a:gd name="connsiteX74" fmla="*/ 452152 w 3474435"/>
                  <a:gd name="connsiteY74" fmla="*/ 254794 h 474916"/>
                  <a:gd name="connsiteX75" fmla="*/ 452152 w 3474435"/>
                  <a:gd name="connsiteY75" fmla="*/ 260794 h 474916"/>
                  <a:gd name="connsiteX76" fmla="*/ 473202 w 3474435"/>
                  <a:gd name="connsiteY76" fmla="*/ 260794 h 474916"/>
                  <a:gd name="connsiteX77" fmla="*/ 473202 w 3474435"/>
                  <a:gd name="connsiteY77" fmla="*/ 266890 h 474916"/>
                  <a:gd name="connsiteX78" fmla="*/ 479489 w 3474435"/>
                  <a:gd name="connsiteY78" fmla="*/ 266890 h 474916"/>
                  <a:gd name="connsiteX79" fmla="*/ 479489 w 3474435"/>
                  <a:gd name="connsiteY79" fmla="*/ 272986 h 474916"/>
                  <a:gd name="connsiteX80" fmla="*/ 521589 w 3474435"/>
                  <a:gd name="connsiteY80" fmla="*/ 272986 h 474916"/>
                  <a:gd name="connsiteX81" fmla="*/ 521589 w 3474435"/>
                  <a:gd name="connsiteY81" fmla="*/ 278987 h 474916"/>
                  <a:gd name="connsiteX82" fmla="*/ 536258 w 3474435"/>
                  <a:gd name="connsiteY82" fmla="*/ 278987 h 474916"/>
                  <a:gd name="connsiteX83" fmla="*/ 536258 w 3474435"/>
                  <a:gd name="connsiteY83" fmla="*/ 285083 h 474916"/>
                  <a:gd name="connsiteX84" fmla="*/ 565785 w 3474435"/>
                  <a:gd name="connsiteY84" fmla="*/ 285083 h 474916"/>
                  <a:gd name="connsiteX85" fmla="*/ 565785 w 3474435"/>
                  <a:gd name="connsiteY85" fmla="*/ 291179 h 474916"/>
                  <a:gd name="connsiteX86" fmla="*/ 567881 w 3474435"/>
                  <a:gd name="connsiteY86" fmla="*/ 291179 h 474916"/>
                  <a:gd name="connsiteX87" fmla="*/ 567881 w 3474435"/>
                  <a:gd name="connsiteY87" fmla="*/ 297180 h 474916"/>
                  <a:gd name="connsiteX88" fmla="*/ 590931 w 3474435"/>
                  <a:gd name="connsiteY88" fmla="*/ 297180 h 474916"/>
                  <a:gd name="connsiteX89" fmla="*/ 590931 w 3474435"/>
                  <a:gd name="connsiteY89" fmla="*/ 303276 h 474916"/>
                  <a:gd name="connsiteX90" fmla="*/ 603600 w 3474435"/>
                  <a:gd name="connsiteY90" fmla="*/ 303276 h 474916"/>
                  <a:gd name="connsiteX91" fmla="*/ 603600 w 3474435"/>
                  <a:gd name="connsiteY91" fmla="*/ 309372 h 474916"/>
                  <a:gd name="connsiteX92" fmla="*/ 639318 w 3474435"/>
                  <a:gd name="connsiteY92" fmla="*/ 309372 h 474916"/>
                  <a:gd name="connsiteX93" fmla="*/ 639318 w 3474435"/>
                  <a:gd name="connsiteY93" fmla="*/ 315468 h 474916"/>
                  <a:gd name="connsiteX94" fmla="*/ 755047 w 3474435"/>
                  <a:gd name="connsiteY94" fmla="*/ 315468 h 474916"/>
                  <a:gd name="connsiteX95" fmla="*/ 755047 w 3474435"/>
                  <a:gd name="connsiteY95" fmla="*/ 321469 h 474916"/>
                  <a:gd name="connsiteX96" fmla="*/ 792861 w 3474435"/>
                  <a:gd name="connsiteY96" fmla="*/ 321469 h 474916"/>
                  <a:gd name="connsiteX97" fmla="*/ 792861 w 3474435"/>
                  <a:gd name="connsiteY97" fmla="*/ 327660 h 474916"/>
                  <a:gd name="connsiteX98" fmla="*/ 845439 w 3474435"/>
                  <a:gd name="connsiteY98" fmla="*/ 327660 h 474916"/>
                  <a:gd name="connsiteX99" fmla="*/ 845439 w 3474435"/>
                  <a:gd name="connsiteY99" fmla="*/ 333756 h 474916"/>
                  <a:gd name="connsiteX100" fmla="*/ 864394 w 3474435"/>
                  <a:gd name="connsiteY100" fmla="*/ 333756 h 474916"/>
                  <a:gd name="connsiteX101" fmla="*/ 864394 w 3474435"/>
                  <a:gd name="connsiteY101" fmla="*/ 339852 h 474916"/>
                  <a:gd name="connsiteX102" fmla="*/ 874872 w 3474435"/>
                  <a:gd name="connsiteY102" fmla="*/ 339852 h 474916"/>
                  <a:gd name="connsiteX103" fmla="*/ 874872 w 3474435"/>
                  <a:gd name="connsiteY103" fmla="*/ 346043 h 474916"/>
                  <a:gd name="connsiteX104" fmla="*/ 908590 w 3474435"/>
                  <a:gd name="connsiteY104" fmla="*/ 346043 h 474916"/>
                  <a:gd name="connsiteX105" fmla="*/ 908590 w 3474435"/>
                  <a:gd name="connsiteY105" fmla="*/ 352139 h 474916"/>
                  <a:gd name="connsiteX106" fmla="*/ 914877 w 3474435"/>
                  <a:gd name="connsiteY106" fmla="*/ 352139 h 474916"/>
                  <a:gd name="connsiteX107" fmla="*/ 914877 w 3474435"/>
                  <a:gd name="connsiteY107" fmla="*/ 358235 h 474916"/>
                  <a:gd name="connsiteX108" fmla="*/ 929545 w 3474435"/>
                  <a:gd name="connsiteY108" fmla="*/ 358235 h 474916"/>
                  <a:gd name="connsiteX109" fmla="*/ 929545 w 3474435"/>
                  <a:gd name="connsiteY109" fmla="*/ 364331 h 474916"/>
                  <a:gd name="connsiteX110" fmla="*/ 942213 w 3474435"/>
                  <a:gd name="connsiteY110" fmla="*/ 364331 h 474916"/>
                  <a:gd name="connsiteX111" fmla="*/ 942213 w 3474435"/>
                  <a:gd name="connsiteY111" fmla="*/ 370522 h 474916"/>
                  <a:gd name="connsiteX112" fmla="*/ 967455 w 3474435"/>
                  <a:gd name="connsiteY112" fmla="*/ 370522 h 474916"/>
                  <a:gd name="connsiteX113" fmla="*/ 967455 w 3474435"/>
                  <a:gd name="connsiteY113" fmla="*/ 376618 h 474916"/>
                  <a:gd name="connsiteX114" fmla="*/ 1196721 w 3474435"/>
                  <a:gd name="connsiteY114" fmla="*/ 376618 h 474916"/>
                  <a:gd name="connsiteX115" fmla="*/ 1196721 w 3474435"/>
                  <a:gd name="connsiteY115" fmla="*/ 382810 h 474916"/>
                  <a:gd name="connsiteX116" fmla="*/ 1310259 w 3474435"/>
                  <a:gd name="connsiteY116" fmla="*/ 382810 h 474916"/>
                  <a:gd name="connsiteX117" fmla="*/ 1310259 w 3474435"/>
                  <a:gd name="connsiteY117" fmla="*/ 389001 h 474916"/>
                  <a:gd name="connsiteX118" fmla="*/ 1579436 w 3474435"/>
                  <a:gd name="connsiteY118" fmla="*/ 389001 h 474916"/>
                  <a:gd name="connsiteX119" fmla="*/ 1579436 w 3474435"/>
                  <a:gd name="connsiteY119" fmla="*/ 395287 h 474916"/>
                  <a:gd name="connsiteX120" fmla="*/ 1653064 w 3474435"/>
                  <a:gd name="connsiteY120" fmla="*/ 395287 h 474916"/>
                  <a:gd name="connsiteX121" fmla="*/ 1653064 w 3474435"/>
                  <a:gd name="connsiteY121" fmla="*/ 401574 h 474916"/>
                  <a:gd name="connsiteX122" fmla="*/ 1732979 w 3474435"/>
                  <a:gd name="connsiteY122" fmla="*/ 401574 h 474916"/>
                  <a:gd name="connsiteX123" fmla="*/ 1732979 w 3474435"/>
                  <a:gd name="connsiteY123" fmla="*/ 407860 h 474916"/>
                  <a:gd name="connsiteX124" fmla="*/ 1894904 w 3474435"/>
                  <a:gd name="connsiteY124" fmla="*/ 407860 h 474916"/>
                  <a:gd name="connsiteX125" fmla="*/ 1894904 w 3474435"/>
                  <a:gd name="connsiteY125" fmla="*/ 414337 h 474916"/>
                  <a:gd name="connsiteX126" fmla="*/ 1911763 w 3474435"/>
                  <a:gd name="connsiteY126" fmla="*/ 414337 h 474916"/>
                  <a:gd name="connsiteX127" fmla="*/ 1911763 w 3474435"/>
                  <a:gd name="connsiteY127" fmla="*/ 420719 h 474916"/>
                  <a:gd name="connsiteX128" fmla="*/ 2029587 w 3474435"/>
                  <a:gd name="connsiteY128" fmla="*/ 420719 h 474916"/>
                  <a:gd name="connsiteX129" fmla="*/ 2029587 w 3474435"/>
                  <a:gd name="connsiteY129" fmla="*/ 427196 h 474916"/>
                  <a:gd name="connsiteX130" fmla="*/ 2122075 w 3474435"/>
                  <a:gd name="connsiteY130" fmla="*/ 427196 h 474916"/>
                  <a:gd name="connsiteX131" fmla="*/ 2122075 w 3474435"/>
                  <a:gd name="connsiteY131" fmla="*/ 433578 h 474916"/>
                  <a:gd name="connsiteX132" fmla="*/ 2141030 w 3474435"/>
                  <a:gd name="connsiteY132" fmla="*/ 433578 h 474916"/>
                  <a:gd name="connsiteX133" fmla="*/ 2141030 w 3474435"/>
                  <a:gd name="connsiteY133" fmla="*/ 440055 h 474916"/>
                  <a:gd name="connsiteX134" fmla="*/ 2994851 w 3474435"/>
                  <a:gd name="connsiteY134" fmla="*/ 440055 h 474916"/>
                  <a:gd name="connsiteX135" fmla="*/ 2994851 w 3474435"/>
                  <a:gd name="connsiteY135" fmla="*/ 474916 h 474916"/>
                  <a:gd name="connsiteX136" fmla="*/ 3474435 w 3474435"/>
                  <a:gd name="connsiteY136" fmla="*/ 474916 h 474916"/>
                  <a:gd name="connsiteX0" fmla="*/ 0 w 3459766"/>
                  <a:gd name="connsiteY0" fmla="*/ 0 h 468915"/>
                  <a:gd name="connsiteX1" fmla="*/ 4286 w 3459766"/>
                  <a:gd name="connsiteY1" fmla="*/ 0 h 468915"/>
                  <a:gd name="connsiteX2" fmla="*/ 4286 w 3459766"/>
                  <a:gd name="connsiteY2" fmla="*/ 6096 h 468915"/>
                  <a:gd name="connsiteX3" fmla="*/ 14763 w 3459766"/>
                  <a:gd name="connsiteY3" fmla="*/ 6096 h 468915"/>
                  <a:gd name="connsiteX4" fmla="*/ 14763 w 3459766"/>
                  <a:gd name="connsiteY4" fmla="*/ 12192 h 468915"/>
                  <a:gd name="connsiteX5" fmla="*/ 23146 w 3459766"/>
                  <a:gd name="connsiteY5" fmla="*/ 12192 h 468915"/>
                  <a:gd name="connsiteX6" fmla="*/ 23146 w 3459766"/>
                  <a:gd name="connsiteY6" fmla="*/ 18288 h 468915"/>
                  <a:gd name="connsiteX7" fmla="*/ 37909 w 3459766"/>
                  <a:gd name="connsiteY7" fmla="*/ 18288 h 468915"/>
                  <a:gd name="connsiteX8" fmla="*/ 37909 w 3459766"/>
                  <a:gd name="connsiteY8" fmla="*/ 24288 h 468915"/>
                  <a:gd name="connsiteX9" fmla="*/ 42100 w 3459766"/>
                  <a:gd name="connsiteY9" fmla="*/ 24288 h 468915"/>
                  <a:gd name="connsiteX10" fmla="*/ 42100 w 3459766"/>
                  <a:gd name="connsiteY10" fmla="*/ 30384 h 468915"/>
                  <a:gd name="connsiteX11" fmla="*/ 46291 w 3459766"/>
                  <a:gd name="connsiteY11" fmla="*/ 30384 h 468915"/>
                  <a:gd name="connsiteX12" fmla="*/ 46291 w 3459766"/>
                  <a:gd name="connsiteY12" fmla="*/ 36480 h 468915"/>
                  <a:gd name="connsiteX13" fmla="*/ 58960 w 3459766"/>
                  <a:gd name="connsiteY13" fmla="*/ 36480 h 468915"/>
                  <a:gd name="connsiteX14" fmla="*/ 58960 w 3459766"/>
                  <a:gd name="connsiteY14" fmla="*/ 42481 h 468915"/>
                  <a:gd name="connsiteX15" fmla="*/ 88392 w 3459766"/>
                  <a:gd name="connsiteY15" fmla="*/ 42481 h 468915"/>
                  <a:gd name="connsiteX16" fmla="*/ 88392 w 3459766"/>
                  <a:gd name="connsiteY16" fmla="*/ 48577 h 468915"/>
                  <a:gd name="connsiteX17" fmla="*/ 96774 w 3459766"/>
                  <a:gd name="connsiteY17" fmla="*/ 48577 h 468915"/>
                  <a:gd name="connsiteX18" fmla="*/ 96774 w 3459766"/>
                  <a:gd name="connsiteY18" fmla="*/ 54673 h 468915"/>
                  <a:gd name="connsiteX19" fmla="*/ 98869 w 3459766"/>
                  <a:gd name="connsiteY19" fmla="*/ 54673 h 468915"/>
                  <a:gd name="connsiteX20" fmla="*/ 98869 w 3459766"/>
                  <a:gd name="connsiteY20" fmla="*/ 60674 h 468915"/>
                  <a:gd name="connsiteX21" fmla="*/ 113633 w 3459766"/>
                  <a:gd name="connsiteY21" fmla="*/ 60674 h 468915"/>
                  <a:gd name="connsiteX22" fmla="*/ 113633 w 3459766"/>
                  <a:gd name="connsiteY22" fmla="*/ 72866 h 468915"/>
                  <a:gd name="connsiteX23" fmla="*/ 115729 w 3459766"/>
                  <a:gd name="connsiteY23" fmla="*/ 72866 h 468915"/>
                  <a:gd name="connsiteX24" fmla="*/ 115729 w 3459766"/>
                  <a:gd name="connsiteY24" fmla="*/ 78867 h 468915"/>
                  <a:gd name="connsiteX25" fmla="*/ 122015 w 3459766"/>
                  <a:gd name="connsiteY25" fmla="*/ 78867 h 468915"/>
                  <a:gd name="connsiteX26" fmla="*/ 122015 w 3459766"/>
                  <a:gd name="connsiteY26" fmla="*/ 84963 h 468915"/>
                  <a:gd name="connsiteX27" fmla="*/ 126206 w 3459766"/>
                  <a:gd name="connsiteY27" fmla="*/ 84963 h 468915"/>
                  <a:gd name="connsiteX28" fmla="*/ 126206 w 3459766"/>
                  <a:gd name="connsiteY28" fmla="*/ 91059 h 468915"/>
                  <a:gd name="connsiteX29" fmla="*/ 143065 w 3459766"/>
                  <a:gd name="connsiteY29" fmla="*/ 91059 h 468915"/>
                  <a:gd name="connsiteX30" fmla="*/ 143065 w 3459766"/>
                  <a:gd name="connsiteY30" fmla="*/ 103155 h 468915"/>
                  <a:gd name="connsiteX31" fmla="*/ 147256 w 3459766"/>
                  <a:gd name="connsiteY31" fmla="*/ 103155 h 468915"/>
                  <a:gd name="connsiteX32" fmla="*/ 147256 w 3459766"/>
                  <a:gd name="connsiteY32" fmla="*/ 109251 h 468915"/>
                  <a:gd name="connsiteX33" fmla="*/ 170402 w 3459766"/>
                  <a:gd name="connsiteY33" fmla="*/ 109251 h 468915"/>
                  <a:gd name="connsiteX34" fmla="*/ 170402 w 3459766"/>
                  <a:gd name="connsiteY34" fmla="*/ 115347 h 468915"/>
                  <a:gd name="connsiteX35" fmla="*/ 174593 w 3459766"/>
                  <a:gd name="connsiteY35" fmla="*/ 115347 h 468915"/>
                  <a:gd name="connsiteX36" fmla="*/ 174593 w 3459766"/>
                  <a:gd name="connsiteY36" fmla="*/ 121348 h 468915"/>
                  <a:gd name="connsiteX37" fmla="*/ 180880 w 3459766"/>
                  <a:gd name="connsiteY37" fmla="*/ 121348 h 468915"/>
                  <a:gd name="connsiteX38" fmla="*/ 180880 w 3459766"/>
                  <a:gd name="connsiteY38" fmla="*/ 133540 h 468915"/>
                  <a:gd name="connsiteX39" fmla="*/ 199834 w 3459766"/>
                  <a:gd name="connsiteY39" fmla="*/ 133540 h 468915"/>
                  <a:gd name="connsiteX40" fmla="*/ 199834 w 3459766"/>
                  <a:gd name="connsiteY40" fmla="*/ 139541 h 468915"/>
                  <a:gd name="connsiteX41" fmla="*/ 208216 w 3459766"/>
                  <a:gd name="connsiteY41" fmla="*/ 139541 h 468915"/>
                  <a:gd name="connsiteX42" fmla="*/ 208216 w 3459766"/>
                  <a:gd name="connsiteY42" fmla="*/ 145637 h 468915"/>
                  <a:gd name="connsiteX43" fmla="*/ 220885 w 3459766"/>
                  <a:gd name="connsiteY43" fmla="*/ 145637 h 468915"/>
                  <a:gd name="connsiteX44" fmla="*/ 220885 w 3459766"/>
                  <a:gd name="connsiteY44" fmla="*/ 151733 h 468915"/>
                  <a:gd name="connsiteX45" fmla="*/ 237744 w 3459766"/>
                  <a:gd name="connsiteY45" fmla="*/ 151733 h 468915"/>
                  <a:gd name="connsiteX46" fmla="*/ 237744 w 3459766"/>
                  <a:gd name="connsiteY46" fmla="*/ 157734 h 468915"/>
                  <a:gd name="connsiteX47" fmla="*/ 265081 w 3459766"/>
                  <a:gd name="connsiteY47" fmla="*/ 157734 h 468915"/>
                  <a:gd name="connsiteX48" fmla="*/ 265081 w 3459766"/>
                  <a:gd name="connsiteY48" fmla="*/ 163830 h 468915"/>
                  <a:gd name="connsiteX49" fmla="*/ 267176 w 3459766"/>
                  <a:gd name="connsiteY49" fmla="*/ 163830 h 468915"/>
                  <a:gd name="connsiteX50" fmla="*/ 267176 w 3459766"/>
                  <a:gd name="connsiteY50" fmla="*/ 169926 h 468915"/>
                  <a:gd name="connsiteX51" fmla="*/ 277653 w 3459766"/>
                  <a:gd name="connsiteY51" fmla="*/ 169926 h 468915"/>
                  <a:gd name="connsiteX52" fmla="*/ 277653 w 3459766"/>
                  <a:gd name="connsiteY52" fmla="*/ 175926 h 468915"/>
                  <a:gd name="connsiteX53" fmla="*/ 283940 w 3459766"/>
                  <a:gd name="connsiteY53" fmla="*/ 175926 h 468915"/>
                  <a:gd name="connsiteX54" fmla="*/ 283940 w 3459766"/>
                  <a:gd name="connsiteY54" fmla="*/ 188118 h 468915"/>
                  <a:gd name="connsiteX55" fmla="*/ 292417 w 3459766"/>
                  <a:gd name="connsiteY55" fmla="*/ 188118 h 468915"/>
                  <a:gd name="connsiteX56" fmla="*/ 292417 w 3459766"/>
                  <a:gd name="connsiteY56" fmla="*/ 194119 h 468915"/>
                  <a:gd name="connsiteX57" fmla="*/ 298704 w 3459766"/>
                  <a:gd name="connsiteY57" fmla="*/ 194119 h 468915"/>
                  <a:gd name="connsiteX58" fmla="*/ 298704 w 3459766"/>
                  <a:gd name="connsiteY58" fmla="*/ 206311 h 468915"/>
                  <a:gd name="connsiteX59" fmla="*/ 300799 w 3459766"/>
                  <a:gd name="connsiteY59" fmla="*/ 206311 h 468915"/>
                  <a:gd name="connsiteX60" fmla="*/ 300799 w 3459766"/>
                  <a:gd name="connsiteY60" fmla="*/ 212407 h 468915"/>
                  <a:gd name="connsiteX61" fmla="*/ 313372 w 3459766"/>
                  <a:gd name="connsiteY61" fmla="*/ 212407 h 468915"/>
                  <a:gd name="connsiteX62" fmla="*/ 313372 w 3459766"/>
                  <a:gd name="connsiteY62" fmla="*/ 218408 h 468915"/>
                  <a:gd name="connsiteX63" fmla="*/ 336518 w 3459766"/>
                  <a:gd name="connsiteY63" fmla="*/ 218408 h 468915"/>
                  <a:gd name="connsiteX64" fmla="*/ 336518 w 3459766"/>
                  <a:gd name="connsiteY64" fmla="*/ 224504 h 468915"/>
                  <a:gd name="connsiteX65" fmla="*/ 342900 w 3459766"/>
                  <a:gd name="connsiteY65" fmla="*/ 224504 h 468915"/>
                  <a:gd name="connsiteX66" fmla="*/ 342900 w 3459766"/>
                  <a:gd name="connsiteY66" fmla="*/ 230600 h 468915"/>
                  <a:gd name="connsiteX67" fmla="*/ 351282 w 3459766"/>
                  <a:gd name="connsiteY67" fmla="*/ 230600 h 468915"/>
                  <a:gd name="connsiteX68" fmla="*/ 351282 w 3459766"/>
                  <a:gd name="connsiteY68" fmla="*/ 236601 h 468915"/>
                  <a:gd name="connsiteX69" fmla="*/ 359664 w 3459766"/>
                  <a:gd name="connsiteY69" fmla="*/ 236601 h 468915"/>
                  <a:gd name="connsiteX70" fmla="*/ 359664 w 3459766"/>
                  <a:gd name="connsiteY70" fmla="*/ 242697 h 468915"/>
                  <a:gd name="connsiteX71" fmla="*/ 363855 w 3459766"/>
                  <a:gd name="connsiteY71" fmla="*/ 242697 h 468915"/>
                  <a:gd name="connsiteX72" fmla="*/ 363855 w 3459766"/>
                  <a:gd name="connsiteY72" fmla="*/ 248793 h 468915"/>
                  <a:gd name="connsiteX73" fmla="*/ 437483 w 3459766"/>
                  <a:gd name="connsiteY73" fmla="*/ 248793 h 468915"/>
                  <a:gd name="connsiteX74" fmla="*/ 437483 w 3459766"/>
                  <a:gd name="connsiteY74" fmla="*/ 254793 h 468915"/>
                  <a:gd name="connsiteX75" fmla="*/ 458533 w 3459766"/>
                  <a:gd name="connsiteY75" fmla="*/ 254793 h 468915"/>
                  <a:gd name="connsiteX76" fmla="*/ 458533 w 3459766"/>
                  <a:gd name="connsiteY76" fmla="*/ 260889 h 468915"/>
                  <a:gd name="connsiteX77" fmla="*/ 464820 w 3459766"/>
                  <a:gd name="connsiteY77" fmla="*/ 260889 h 468915"/>
                  <a:gd name="connsiteX78" fmla="*/ 464820 w 3459766"/>
                  <a:gd name="connsiteY78" fmla="*/ 266985 h 468915"/>
                  <a:gd name="connsiteX79" fmla="*/ 506920 w 3459766"/>
                  <a:gd name="connsiteY79" fmla="*/ 266985 h 468915"/>
                  <a:gd name="connsiteX80" fmla="*/ 506920 w 3459766"/>
                  <a:gd name="connsiteY80" fmla="*/ 272986 h 468915"/>
                  <a:gd name="connsiteX81" fmla="*/ 521589 w 3459766"/>
                  <a:gd name="connsiteY81" fmla="*/ 272986 h 468915"/>
                  <a:gd name="connsiteX82" fmla="*/ 521589 w 3459766"/>
                  <a:gd name="connsiteY82" fmla="*/ 279082 h 468915"/>
                  <a:gd name="connsiteX83" fmla="*/ 551116 w 3459766"/>
                  <a:gd name="connsiteY83" fmla="*/ 279082 h 468915"/>
                  <a:gd name="connsiteX84" fmla="*/ 551116 w 3459766"/>
                  <a:gd name="connsiteY84" fmla="*/ 285178 h 468915"/>
                  <a:gd name="connsiteX85" fmla="*/ 553212 w 3459766"/>
                  <a:gd name="connsiteY85" fmla="*/ 285178 h 468915"/>
                  <a:gd name="connsiteX86" fmla="*/ 553212 w 3459766"/>
                  <a:gd name="connsiteY86" fmla="*/ 291179 h 468915"/>
                  <a:gd name="connsiteX87" fmla="*/ 576262 w 3459766"/>
                  <a:gd name="connsiteY87" fmla="*/ 291179 h 468915"/>
                  <a:gd name="connsiteX88" fmla="*/ 576262 w 3459766"/>
                  <a:gd name="connsiteY88" fmla="*/ 297275 h 468915"/>
                  <a:gd name="connsiteX89" fmla="*/ 588931 w 3459766"/>
                  <a:gd name="connsiteY89" fmla="*/ 297275 h 468915"/>
                  <a:gd name="connsiteX90" fmla="*/ 588931 w 3459766"/>
                  <a:gd name="connsiteY90" fmla="*/ 303371 h 468915"/>
                  <a:gd name="connsiteX91" fmla="*/ 624649 w 3459766"/>
                  <a:gd name="connsiteY91" fmla="*/ 303371 h 468915"/>
                  <a:gd name="connsiteX92" fmla="*/ 624649 w 3459766"/>
                  <a:gd name="connsiteY92" fmla="*/ 309467 h 468915"/>
                  <a:gd name="connsiteX93" fmla="*/ 740378 w 3459766"/>
                  <a:gd name="connsiteY93" fmla="*/ 309467 h 468915"/>
                  <a:gd name="connsiteX94" fmla="*/ 740378 w 3459766"/>
                  <a:gd name="connsiteY94" fmla="*/ 315468 h 468915"/>
                  <a:gd name="connsiteX95" fmla="*/ 778192 w 3459766"/>
                  <a:gd name="connsiteY95" fmla="*/ 315468 h 468915"/>
                  <a:gd name="connsiteX96" fmla="*/ 778192 w 3459766"/>
                  <a:gd name="connsiteY96" fmla="*/ 321659 h 468915"/>
                  <a:gd name="connsiteX97" fmla="*/ 830770 w 3459766"/>
                  <a:gd name="connsiteY97" fmla="*/ 321659 h 468915"/>
                  <a:gd name="connsiteX98" fmla="*/ 830770 w 3459766"/>
                  <a:gd name="connsiteY98" fmla="*/ 327755 h 468915"/>
                  <a:gd name="connsiteX99" fmla="*/ 849725 w 3459766"/>
                  <a:gd name="connsiteY99" fmla="*/ 327755 h 468915"/>
                  <a:gd name="connsiteX100" fmla="*/ 849725 w 3459766"/>
                  <a:gd name="connsiteY100" fmla="*/ 333851 h 468915"/>
                  <a:gd name="connsiteX101" fmla="*/ 860203 w 3459766"/>
                  <a:gd name="connsiteY101" fmla="*/ 333851 h 468915"/>
                  <a:gd name="connsiteX102" fmla="*/ 860203 w 3459766"/>
                  <a:gd name="connsiteY102" fmla="*/ 340042 h 468915"/>
                  <a:gd name="connsiteX103" fmla="*/ 893921 w 3459766"/>
                  <a:gd name="connsiteY103" fmla="*/ 340042 h 468915"/>
                  <a:gd name="connsiteX104" fmla="*/ 893921 w 3459766"/>
                  <a:gd name="connsiteY104" fmla="*/ 346138 h 468915"/>
                  <a:gd name="connsiteX105" fmla="*/ 900208 w 3459766"/>
                  <a:gd name="connsiteY105" fmla="*/ 346138 h 468915"/>
                  <a:gd name="connsiteX106" fmla="*/ 900208 w 3459766"/>
                  <a:gd name="connsiteY106" fmla="*/ 352234 h 468915"/>
                  <a:gd name="connsiteX107" fmla="*/ 914876 w 3459766"/>
                  <a:gd name="connsiteY107" fmla="*/ 352234 h 468915"/>
                  <a:gd name="connsiteX108" fmla="*/ 914876 w 3459766"/>
                  <a:gd name="connsiteY108" fmla="*/ 358330 h 468915"/>
                  <a:gd name="connsiteX109" fmla="*/ 927544 w 3459766"/>
                  <a:gd name="connsiteY109" fmla="*/ 358330 h 468915"/>
                  <a:gd name="connsiteX110" fmla="*/ 927544 w 3459766"/>
                  <a:gd name="connsiteY110" fmla="*/ 364521 h 468915"/>
                  <a:gd name="connsiteX111" fmla="*/ 952786 w 3459766"/>
                  <a:gd name="connsiteY111" fmla="*/ 364521 h 468915"/>
                  <a:gd name="connsiteX112" fmla="*/ 952786 w 3459766"/>
                  <a:gd name="connsiteY112" fmla="*/ 370617 h 468915"/>
                  <a:gd name="connsiteX113" fmla="*/ 1182052 w 3459766"/>
                  <a:gd name="connsiteY113" fmla="*/ 370617 h 468915"/>
                  <a:gd name="connsiteX114" fmla="*/ 1182052 w 3459766"/>
                  <a:gd name="connsiteY114" fmla="*/ 376809 h 468915"/>
                  <a:gd name="connsiteX115" fmla="*/ 1295590 w 3459766"/>
                  <a:gd name="connsiteY115" fmla="*/ 376809 h 468915"/>
                  <a:gd name="connsiteX116" fmla="*/ 1295590 w 3459766"/>
                  <a:gd name="connsiteY116" fmla="*/ 383000 h 468915"/>
                  <a:gd name="connsiteX117" fmla="*/ 1564767 w 3459766"/>
                  <a:gd name="connsiteY117" fmla="*/ 383000 h 468915"/>
                  <a:gd name="connsiteX118" fmla="*/ 1564767 w 3459766"/>
                  <a:gd name="connsiteY118" fmla="*/ 389286 h 468915"/>
                  <a:gd name="connsiteX119" fmla="*/ 1638395 w 3459766"/>
                  <a:gd name="connsiteY119" fmla="*/ 389286 h 468915"/>
                  <a:gd name="connsiteX120" fmla="*/ 1638395 w 3459766"/>
                  <a:gd name="connsiteY120" fmla="*/ 395573 h 468915"/>
                  <a:gd name="connsiteX121" fmla="*/ 1718310 w 3459766"/>
                  <a:gd name="connsiteY121" fmla="*/ 395573 h 468915"/>
                  <a:gd name="connsiteX122" fmla="*/ 1718310 w 3459766"/>
                  <a:gd name="connsiteY122" fmla="*/ 401859 h 468915"/>
                  <a:gd name="connsiteX123" fmla="*/ 1880235 w 3459766"/>
                  <a:gd name="connsiteY123" fmla="*/ 401859 h 468915"/>
                  <a:gd name="connsiteX124" fmla="*/ 1880235 w 3459766"/>
                  <a:gd name="connsiteY124" fmla="*/ 408336 h 468915"/>
                  <a:gd name="connsiteX125" fmla="*/ 1897094 w 3459766"/>
                  <a:gd name="connsiteY125" fmla="*/ 408336 h 468915"/>
                  <a:gd name="connsiteX126" fmla="*/ 1897094 w 3459766"/>
                  <a:gd name="connsiteY126" fmla="*/ 414718 h 468915"/>
                  <a:gd name="connsiteX127" fmla="*/ 2014918 w 3459766"/>
                  <a:gd name="connsiteY127" fmla="*/ 414718 h 468915"/>
                  <a:gd name="connsiteX128" fmla="*/ 2014918 w 3459766"/>
                  <a:gd name="connsiteY128" fmla="*/ 421195 h 468915"/>
                  <a:gd name="connsiteX129" fmla="*/ 2107406 w 3459766"/>
                  <a:gd name="connsiteY129" fmla="*/ 421195 h 468915"/>
                  <a:gd name="connsiteX130" fmla="*/ 2107406 w 3459766"/>
                  <a:gd name="connsiteY130" fmla="*/ 427577 h 468915"/>
                  <a:gd name="connsiteX131" fmla="*/ 2126361 w 3459766"/>
                  <a:gd name="connsiteY131" fmla="*/ 427577 h 468915"/>
                  <a:gd name="connsiteX132" fmla="*/ 2126361 w 3459766"/>
                  <a:gd name="connsiteY132" fmla="*/ 434054 h 468915"/>
                  <a:gd name="connsiteX133" fmla="*/ 2980182 w 3459766"/>
                  <a:gd name="connsiteY133" fmla="*/ 434054 h 468915"/>
                  <a:gd name="connsiteX134" fmla="*/ 2980182 w 3459766"/>
                  <a:gd name="connsiteY134" fmla="*/ 468915 h 468915"/>
                  <a:gd name="connsiteX135" fmla="*/ 3459766 w 3459766"/>
                  <a:gd name="connsiteY135" fmla="*/ 468915 h 468915"/>
                  <a:gd name="connsiteX0" fmla="*/ 0 w 3455480"/>
                  <a:gd name="connsiteY0" fmla="*/ 0 h 468915"/>
                  <a:gd name="connsiteX1" fmla="*/ 0 w 3455480"/>
                  <a:gd name="connsiteY1" fmla="*/ 6096 h 468915"/>
                  <a:gd name="connsiteX2" fmla="*/ 10477 w 3455480"/>
                  <a:gd name="connsiteY2" fmla="*/ 6096 h 468915"/>
                  <a:gd name="connsiteX3" fmla="*/ 10477 w 3455480"/>
                  <a:gd name="connsiteY3" fmla="*/ 12192 h 468915"/>
                  <a:gd name="connsiteX4" fmla="*/ 18860 w 3455480"/>
                  <a:gd name="connsiteY4" fmla="*/ 12192 h 468915"/>
                  <a:gd name="connsiteX5" fmla="*/ 18860 w 3455480"/>
                  <a:gd name="connsiteY5" fmla="*/ 18288 h 468915"/>
                  <a:gd name="connsiteX6" fmla="*/ 33623 w 3455480"/>
                  <a:gd name="connsiteY6" fmla="*/ 18288 h 468915"/>
                  <a:gd name="connsiteX7" fmla="*/ 33623 w 3455480"/>
                  <a:gd name="connsiteY7" fmla="*/ 24288 h 468915"/>
                  <a:gd name="connsiteX8" fmla="*/ 37814 w 3455480"/>
                  <a:gd name="connsiteY8" fmla="*/ 24288 h 468915"/>
                  <a:gd name="connsiteX9" fmla="*/ 37814 w 3455480"/>
                  <a:gd name="connsiteY9" fmla="*/ 30384 h 468915"/>
                  <a:gd name="connsiteX10" fmla="*/ 42005 w 3455480"/>
                  <a:gd name="connsiteY10" fmla="*/ 30384 h 468915"/>
                  <a:gd name="connsiteX11" fmla="*/ 42005 w 3455480"/>
                  <a:gd name="connsiteY11" fmla="*/ 36480 h 468915"/>
                  <a:gd name="connsiteX12" fmla="*/ 54674 w 3455480"/>
                  <a:gd name="connsiteY12" fmla="*/ 36480 h 468915"/>
                  <a:gd name="connsiteX13" fmla="*/ 54674 w 3455480"/>
                  <a:gd name="connsiteY13" fmla="*/ 42481 h 468915"/>
                  <a:gd name="connsiteX14" fmla="*/ 84106 w 3455480"/>
                  <a:gd name="connsiteY14" fmla="*/ 42481 h 468915"/>
                  <a:gd name="connsiteX15" fmla="*/ 84106 w 3455480"/>
                  <a:gd name="connsiteY15" fmla="*/ 48577 h 468915"/>
                  <a:gd name="connsiteX16" fmla="*/ 92488 w 3455480"/>
                  <a:gd name="connsiteY16" fmla="*/ 48577 h 468915"/>
                  <a:gd name="connsiteX17" fmla="*/ 92488 w 3455480"/>
                  <a:gd name="connsiteY17" fmla="*/ 54673 h 468915"/>
                  <a:gd name="connsiteX18" fmla="*/ 94583 w 3455480"/>
                  <a:gd name="connsiteY18" fmla="*/ 54673 h 468915"/>
                  <a:gd name="connsiteX19" fmla="*/ 94583 w 3455480"/>
                  <a:gd name="connsiteY19" fmla="*/ 60674 h 468915"/>
                  <a:gd name="connsiteX20" fmla="*/ 109347 w 3455480"/>
                  <a:gd name="connsiteY20" fmla="*/ 60674 h 468915"/>
                  <a:gd name="connsiteX21" fmla="*/ 109347 w 3455480"/>
                  <a:gd name="connsiteY21" fmla="*/ 72866 h 468915"/>
                  <a:gd name="connsiteX22" fmla="*/ 111443 w 3455480"/>
                  <a:gd name="connsiteY22" fmla="*/ 72866 h 468915"/>
                  <a:gd name="connsiteX23" fmla="*/ 111443 w 3455480"/>
                  <a:gd name="connsiteY23" fmla="*/ 78867 h 468915"/>
                  <a:gd name="connsiteX24" fmla="*/ 117729 w 3455480"/>
                  <a:gd name="connsiteY24" fmla="*/ 78867 h 468915"/>
                  <a:gd name="connsiteX25" fmla="*/ 117729 w 3455480"/>
                  <a:gd name="connsiteY25" fmla="*/ 84963 h 468915"/>
                  <a:gd name="connsiteX26" fmla="*/ 121920 w 3455480"/>
                  <a:gd name="connsiteY26" fmla="*/ 84963 h 468915"/>
                  <a:gd name="connsiteX27" fmla="*/ 121920 w 3455480"/>
                  <a:gd name="connsiteY27" fmla="*/ 91059 h 468915"/>
                  <a:gd name="connsiteX28" fmla="*/ 138779 w 3455480"/>
                  <a:gd name="connsiteY28" fmla="*/ 91059 h 468915"/>
                  <a:gd name="connsiteX29" fmla="*/ 138779 w 3455480"/>
                  <a:gd name="connsiteY29" fmla="*/ 103155 h 468915"/>
                  <a:gd name="connsiteX30" fmla="*/ 142970 w 3455480"/>
                  <a:gd name="connsiteY30" fmla="*/ 103155 h 468915"/>
                  <a:gd name="connsiteX31" fmla="*/ 142970 w 3455480"/>
                  <a:gd name="connsiteY31" fmla="*/ 109251 h 468915"/>
                  <a:gd name="connsiteX32" fmla="*/ 166116 w 3455480"/>
                  <a:gd name="connsiteY32" fmla="*/ 109251 h 468915"/>
                  <a:gd name="connsiteX33" fmla="*/ 166116 w 3455480"/>
                  <a:gd name="connsiteY33" fmla="*/ 115347 h 468915"/>
                  <a:gd name="connsiteX34" fmla="*/ 170307 w 3455480"/>
                  <a:gd name="connsiteY34" fmla="*/ 115347 h 468915"/>
                  <a:gd name="connsiteX35" fmla="*/ 170307 w 3455480"/>
                  <a:gd name="connsiteY35" fmla="*/ 121348 h 468915"/>
                  <a:gd name="connsiteX36" fmla="*/ 176594 w 3455480"/>
                  <a:gd name="connsiteY36" fmla="*/ 121348 h 468915"/>
                  <a:gd name="connsiteX37" fmla="*/ 176594 w 3455480"/>
                  <a:gd name="connsiteY37" fmla="*/ 133540 h 468915"/>
                  <a:gd name="connsiteX38" fmla="*/ 195548 w 3455480"/>
                  <a:gd name="connsiteY38" fmla="*/ 133540 h 468915"/>
                  <a:gd name="connsiteX39" fmla="*/ 195548 w 3455480"/>
                  <a:gd name="connsiteY39" fmla="*/ 139541 h 468915"/>
                  <a:gd name="connsiteX40" fmla="*/ 203930 w 3455480"/>
                  <a:gd name="connsiteY40" fmla="*/ 139541 h 468915"/>
                  <a:gd name="connsiteX41" fmla="*/ 203930 w 3455480"/>
                  <a:gd name="connsiteY41" fmla="*/ 145637 h 468915"/>
                  <a:gd name="connsiteX42" fmla="*/ 216599 w 3455480"/>
                  <a:gd name="connsiteY42" fmla="*/ 145637 h 468915"/>
                  <a:gd name="connsiteX43" fmla="*/ 216599 w 3455480"/>
                  <a:gd name="connsiteY43" fmla="*/ 151733 h 468915"/>
                  <a:gd name="connsiteX44" fmla="*/ 233458 w 3455480"/>
                  <a:gd name="connsiteY44" fmla="*/ 151733 h 468915"/>
                  <a:gd name="connsiteX45" fmla="*/ 233458 w 3455480"/>
                  <a:gd name="connsiteY45" fmla="*/ 157734 h 468915"/>
                  <a:gd name="connsiteX46" fmla="*/ 260795 w 3455480"/>
                  <a:gd name="connsiteY46" fmla="*/ 157734 h 468915"/>
                  <a:gd name="connsiteX47" fmla="*/ 260795 w 3455480"/>
                  <a:gd name="connsiteY47" fmla="*/ 163830 h 468915"/>
                  <a:gd name="connsiteX48" fmla="*/ 262890 w 3455480"/>
                  <a:gd name="connsiteY48" fmla="*/ 163830 h 468915"/>
                  <a:gd name="connsiteX49" fmla="*/ 262890 w 3455480"/>
                  <a:gd name="connsiteY49" fmla="*/ 169926 h 468915"/>
                  <a:gd name="connsiteX50" fmla="*/ 273367 w 3455480"/>
                  <a:gd name="connsiteY50" fmla="*/ 169926 h 468915"/>
                  <a:gd name="connsiteX51" fmla="*/ 273367 w 3455480"/>
                  <a:gd name="connsiteY51" fmla="*/ 175926 h 468915"/>
                  <a:gd name="connsiteX52" fmla="*/ 279654 w 3455480"/>
                  <a:gd name="connsiteY52" fmla="*/ 175926 h 468915"/>
                  <a:gd name="connsiteX53" fmla="*/ 279654 w 3455480"/>
                  <a:gd name="connsiteY53" fmla="*/ 188118 h 468915"/>
                  <a:gd name="connsiteX54" fmla="*/ 288131 w 3455480"/>
                  <a:gd name="connsiteY54" fmla="*/ 188118 h 468915"/>
                  <a:gd name="connsiteX55" fmla="*/ 288131 w 3455480"/>
                  <a:gd name="connsiteY55" fmla="*/ 194119 h 468915"/>
                  <a:gd name="connsiteX56" fmla="*/ 294418 w 3455480"/>
                  <a:gd name="connsiteY56" fmla="*/ 194119 h 468915"/>
                  <a:gd name="connsiteX57" fmla="*/ 294418 w 3455480"/>
                  <a:gd name="connsiteY57" fmla="*/ 206311 h 468915"/>
                  <a:gd name="connsiteX58" fmla="*/ 296513 w 3455480"/>
                  <a:gd name="connsiteY58" fmla="*/ 206311 h 468915"/>
                  <a:gd name="connsiteX59" fmla="*/ 296513 w 3455480"/>
                  <a:gd name="connsiteY59" fmla="*/ 212407 h 468915"/>
                  <a:gd name="connsiteX60" fmla="*/ 309086 w 3455480"/>
                  <a:gd name="connsiteY60" fmla="*/ 212407 h 468915"/>
                  <a:gd name="connsiteX61" fmla="*/ 309086 w 3455480"/>
                  <a:gd name="connsiteY61" fmla="*/ 218408 h 468915"/>
                  <a:gd name="connsiteX62" fmla="*/ 332232 w 3455480"/>
                  <a:gd name="connsiteY62" fmla="*/ 218408 h 468915"/>
                  <a:gd name="connsiteX63" fmla="*/ 332232 w 3455480"/>
                  <a:gd name="connsiteY63" fmla="*/ 224504 h 468915"/>
                  <a:gd name="connsiteX64" fmla="*/ 338614 w 3455480"/>
                  <a:gd name="connsiteY64" fmla="*/ 224504 h 468915"/>
                  <a:gd name="connsiteX65" fmla="*/ 338614 w 3455480"/>
                  <a:gd name="connsiteY65" fmla="*/ 230600 h 468915"/>
                  <a:gd name="connsiteX66" fmla="*/ 346996 w 3455480"/>
                  <a:gd name="connsiteY66" fmla="*/ 230600 h 468915"/>
                  <a:gd name="connsiteX67" fmla="*/ 346996 w 3455480"/>
                  <a:gd name="connsiteY67" fmla="*/ 236601 h 468915"/>
                  <a:gd name="connsiteX68" fmla="*/ 355378 w 3455480"/>
                  <a:gd name="connsiteY68" fmla="*/ 236601 h 468915"/>
                  <a:gd name="connsiteX69" fmla="*/ 355378 w 3455480"/>
                  <a:gd name="connsiteY69" fmla="*/ 242697 h 468915"/>
                  <a:gd name="connsiteX70" fmla="*/ 359569 w 3455480"/>
                  <a:gd name="connsiteY70" fmla="*/ 242697 h 468915"/>
                  <a:gd name="connsiteX71" fmla="*/ 359569 w 3455480"/>
                  <a:gd name="connsiteY71" fmla="*/ 248793 h 468915"/>
                  <a:gd name="connsiteX72" fmla="*/ 433197 w 3455480"/>
                  <a:gd name="connsiteY72" fmla="*/ 248793 h 468915"/>
                  <a:gd name="connsiteX73" fmla="*/ 433197 w 3455480"/>
                  <a:gd name="connsiteY73" fmla="*/ 254793 h 468915"/>
                  <a:gd name="connsiteX74" fmla="*/ 454247 w 3455480"/>
                  <a:gd name="connsiteY74" fmla="*/ 254793 h 468915"/>
                  <a:gd name="connsiteX75" fmla="*/ 454247 w 3455480"/>
                  <a:gd name="connsiteY75" fmla="*/ 260889 h 468915"/>
                  <a:gd name="connsiteX76" fmla="*/ 460534 w 3455480"/>
                  <a:gd name="connsiteY76" fmla="*/ 260889 h 468915"/>
                  <a:gd name="connsiteX77" fmla="*/ 460534 w 3455480"/>
                  <a:gd name="connsiteY77" fmla="*/ 266985 h 468915"/>
                  <a:gd name="connsiteX78" fmla="*/ 502634 w 3455480"/>
                  <a:gd name="connsiteY78" fmla="*/ 266985 h 468915"/>
                  <a:gd name="connsiteX79" fmla="*/ 502634 w 3455480"/>
                  <a:gd name="connsiteY79" fmla="*/ 272986 h 468915"/>
                  <a:gd name="connsiteX80" fmla="*/ 517303 w 3455480"/>
                  <a:gd name="connsiteY80" fmla="*/ 272986 h 468915"/>
                  <a:gd name="connsiteX81" fmla="*/ 517303 w 3455480"/>
                  <a:gd name="connsiteY81" fmla="*/ 279082 h 468915"/>
                  <a:gd name="connsiteX82" fmla="*/ 546830 w 3455480"/>
                  <a:gd name="connsiteY82" fmla="*/ 279082 h 468915"/>
                  <a:gd name="connsiteX83" fmla="*/ 546830 w 3455480"/>
                  <a:gd name="connsiteY83" fmla="*/ 285178 h 468915"/>
                  <a:gd name="connsiteX84" fmla="*/ 548926 w 3455480"/>
                  <a:gd name="connsiteY84" fmla="*/ 285178 h 468915"/>
                  <a:gd name="connsiteX85" fmla="*/ 548926 w 3455480"/>
                  <a:gd name="connsiteY85" fmla="*/ 291179 h 468915"/>
                  <a:gd name="connsiteX86" fmla="*/ 571976 w 3455480"/>
                  <a:gd name="connsiteY86" fmla="*/ 291179 h 468915"/>
                  <a:gd name="connsiteX87" fmla="*/ 571976 w 3455480"/>
                  <a:gd name="connsiteY87" fmla="*/ 297275 h 468915"/>
                  <a:gd name="connsiteX88" fmla="*/ 584645 w 3455480"/>
                  <a:gd name="connsiteY88" fmla="*/ 297275 h 468915"/>
                  <a:gd name="connsiteX89" fmla="*/ 584645 w 3455480"/>
                  <a:gd name="connsiteY89" fmla="*/ 303371 h 468915"/>
                  <a:gd name="connsiteX90" fmla="*/ 620363 w 3455480"/>
                  <a:gd name="connsiteY90" fmla="*/ 303371 h 468915"/>
                  <a:gd name="connsiteX91" fmla="*/ 620363 w 3455480"/>
                  <a:gd name="connsiteY91" fmla="*/ 309467 h 468915"/>
                  <a:gd name="connsiteX92" fmla="*/ 736092 w 3455480"/>
                  <a:gd name="connsiteY92" fmla="*/ 309467 h 468915"/>
                  <a:gd name="connsiteX93" fmla="*/ 736092 w 3455480"/>
                  <a:gd name="connsiteY93" fmla="*/ 315468 h 468915"/>
                  <a:gd name="connsiteX94" fmla="*/ 773906 w 3455480"/>
                  <a:gd name="connsiteY94" fmla="*/ 315468 h 468915"/>
                  <a:gd name="connsiteX95" fmla="*/ 773906 w 3455480"/>
                  <a:gd name="connsiteY95" fmla="*/ 321659 h 468915"/>
                  <a:gd name="connsiteX96" fmla="*/ 826484 w 3455480"/>
                  <a:gd name="connsiteY96" fmla="*/ 321659 h 468915"/>
                  <a:gd name="connsiteX97" fmla="*/ 826484 w 3455480"/>
                  <a:gd name="connsiteY97" fmla="*/ 327755 h 468915"/>
                  <a:gd name="connsiteX98" fmla="*/ 845439 w 3455480"/>
                  <a:gd name="connsiteY98" fmla="*/ 327755 h 468915"/>
                  <a:gd name="connsiteX99" fmla="*/ 845439 w 3455480"/>
                  <a:gd name="connsiteY99" fmla="*/ 333851 h 468915"/>
                  <a:gd name="connsiteX100" fmla="*/ 855917 w 3455480"/>
                  <a:gd name="connsiteY100" fmla="*/ 333851 h 468915"/>
                  <a:gd name="connsiteX101" fmla="*/ 855917 w 3455480"/>
                  <a:gd name="connsiteY101" fmla="*/ 340042 h 468915"/>
                  <a:gd name="connsiteX102" fmla="*/ 889635 w 3455480"/>
                  <a:gd name="connsiteY102" fmla="*/ 340042 h 468915"/>
                  <a:gd name="connsiteX103" fmla="*/ 889635 w 3455480"/>
                  <a:gd name="connsiteY103" fmla="*/ 346138 h 468915"/>
                  <a:gd name="connsiteX104" fmla="*/ 895922 w 3455480"/>
                  <a:gd name="connsiteY104" fmla="*/ 346138 h 468915"/>
                  <a:gd name="connsiteX105" fmla="*/ 895922 w 3455480"/>
                  <a:gd name="connsiteY105" fmla="*/ 352234 h 468915"/>
                  <a:gd name="connsiteX106" fmla="*/ 910590 w 3455480"/>
                  <a:gd name="connsiteY106" fmla="*/ 352234 h 468915"/>
                  <a:gd name="connsiteX107" fmla="*/ 910590 w 3455480"/>
                  <a:gd name="connsiteY107" fmla="*/ 358330 h 468915"/>
                  <a:gd name="connsiteX108" fmla="*/ 923258 w 3455480"/>
                  <a:gd name="connsiteY108" fmla="*/ 358330 h 468915"/>
                  <a:gd name="connsiteX109" fmla="*/ 923258 w 3455480"/>
                  <a:gd name="connsiteY109" fmla="*/ 364521 h 468915"/>
                  <a:gd name="connsiteX110" fmla="*/ 948500 w 3455480"/>
                  <a:gd name="connsiteY110" fmla="*/ 364521 h 468915"/>
                  <a:gd name="connsiteX111" fmla="*/ 948500 w 3455480"/>
                  <a:gd name="connsiteY111" fmla="*/ 370617 h 468915"/>
                  <a:gd name="connsiteX112" fmla="*/ 1177766 w 3455480"/>
                  <a:gd name="connsiteY112" fmla="*/ 370617 h 468915"/>
                  <a:gd name="connsiteX113" fmla="*/ 1177766 w 3455480"/>
                  <a:gd name="connsiteY113" fmla="*/ 376809 h 468915"/>
                  <a:gd name="connsiteX114" fmla="*/ 1291304 w 3455480"/>
                  <a:gd name="connsiteY114" fmla="*/ 376809 h 468915"/>
                  <a:gd name="connsiteX115" fmla="*/ 1291304 w 3455480"/>
                  <a:gd name="connsiteY115" fmla="*/ 383000 h 468915"/>
                  <a:gd name="connsiteX116" fmla="*/ 1560481 w 3455480"/>
                  <a:gd name="connsiteY116" fmla="*/ 383000 h 468915"/>
                  <a:gd name="connsiteX117" fmla="*/ 1560481 w 3455480"/>
                  <a:gd name="connsiteY117" fmla="*/ 389286 h 468915"/>
                  <a:gd name="connsiteX118" fmla="*/ 1634109 w 3455480"/>
                  <a:gd name="connsiteY118" fmla="*/ 389286 h 468915"/>
                  <a:gd name="connsiteX119" fmla="*/ 1634109 w 3455480"/>
                  <a:gd name="connsiteY119" fmla="*/ 395573 h 468915"/>
                  <a:gd name="connsiteX120" fmla="*/ 1714024 w 3455480"/>
                  <a:gd name="connsiteY120" fmla="*/ 395573 h 468915"/>
                  <a:gd name="connsiteX121" fmla="*/ 1714024 w 3455480"/>
                  <a:gd name="connsiteY121" fmla="*/ 401859 h 468915"/>
                  <a:gd name="connsiteX122" fmla="*/ 1875949 w 3455480"/>
                  <a:gd name="connsiteY122" fmla="*/ 401859 h 468915"/>
                  <a:gd name="connsiteX123" fmla="*/ 1875949 w 3455480"/>
                  <a:gd name="connsiteY123" fmla="*/ 408336 h 468915"/>
                  <a:gd name="connsiteX124" fmla="*/ 1892808 w 3455480"/>
                  <a:gd name="connsiteY124" fmla="*/ 408336 h 468915"/>
                  <a:gd name="connsiteX125" fmla="*/ 1892808 w 3455480"/>
                  <a:gd name="connsiteY125" fmla="*/ 414718 h 468915"/>
                  <a:gd name="connsiteX126" fmla="*/ 2010632 w 3455480"/>
                  <a:gd name="connsiteY126" fmla="*/ 414718 h 468915"/>
                  <a:gd name="connsiteX127" fmla="*/ 2010632 w 3455480"/>
                  <a:gd name="connsiteY127" fmla="*/ 421195 h 468915"/>
                  <a:gd name="connsiteX128" fmla="*/ 2103120 w 3455480"/>
                  <a:gd name="connsiteY128" fmla="*/ 421195 h 468915"/>
                  <a:gd name="connsiteX129" fmla="*/ 2103120 w 3455480"/>
                  <a:gd name="connsiteY129" fmla="*/ 427577 h 468915"/>
                  <a:gd name="connsiteX130" fmla="*/ 2122075 w 3455480"/>
                  <a:gd name="connsiteY130" fmla="*/ 427577 h 468915"/>
                  <a:gd name="connsiteX131" fmla="*/ 2122075 w 3455480"/>
                  <a:gd name="connsiteY131" fmla="*/ 434054 h 468915"/>
                  <a:gd name="connsiteX132" fmla="*/ 2975896 w 3455480"/>
                  <a:gd name="connsiteY132" fmla="*/ 434054 h 468915"/>
                  <a:gd name="connsiteX133" fmla="*/ 2975896 w 3455480"/>
                  <a:gd name="connsiteY133" fmla="*/ 468915 h 468915"/>
                  <a:gd name="connsiteX134" fmla="*/ 3455480 w 3455480"/>
                  <a:gd name="connsiteY134" fmla="*/ 468915 h 468915"/>
                  <a:gd name="connsiteX0" fmla="*/ 0 w 3455480"/>
                  <a:gd name="connsiteY0" fmla="*/ 0 h 468915"/>
                  <a:gd name="connsiteX1" fmla="*/ 0 w 3455480"/>
                  <a:gd name="connsiteY1" fmla="*/ 6096 h 468915"/>
                  <a:gd name="connsiteX2" fmla="*/ 10477 w 3455480"/>
                  <a:gd name="connsiteY2" fmla="*/ 12192 h 468915"/>
                  <a:gd name="connsiteX3" fmla="*/ 18860 w 3455480"/>
                  <a:gd name="connsiteY3" fmla="*/ 12192 h 468915"/>
                  <a:gd name="connsiteX4" fmla="*/ 18860 w 3455480"/>
                  <a:gd name="connsiteY4" fmla="*/ 18288 h 468915"/>
                  <a:gd name="connsiteX5" fmla="*/ 33623 w 3455480"/>
                  <a:gd name="connsiteY5" fmla="*/ 18288 h 468915"/>
                  <a:gd name="connsiteX6" fmla="*/ 33623 w 3455480"/>
                  <a:gd name="connsiteY6" fmla="*/ 24288 h 468915"/>
                  <a:gd name="connsiteX7" fmla="*/ 37814 w 3455480"/>
                  <a:gd name="connsiteY7" fmla="*/ 24288 h 468915"/>
                  <a:gd name="connsiteX8" fmla="*/ 37814 w 3455480"/>
                  <a:gd name="connsiteY8" fmla="*/ 30384 h 468915"/>
                  <a:gd name="connsiteX9" fmla="*/ 42005 w 3455480"/>
                  <a:gd name="connsiteY9" fmla="*/ 30384 h 468915"/>
                  <a:gd name="connsiteX10" fmla="*/ 42005 w 3455480"/>
                  <a:gd name="connsiteY10" fmla="*/ 36480 h 468915"/>
                  <a:gd name="connsiteX11" fmla="*/ 54674 w 3455480"/>
                  <a:gd name="connsiteY11" fmla="*/ 36480 h 468915"/>
                  <a:gd name="connsiteX12" fmla="*/ 54674 w 3455480"/>
                  <a:gd name="connsiteY12" fmla="*/ 42481 h 468915"/>
                  <a:gd name="connsiteX13" fmla="*/ 84106 w 3455480"/>
                  <a:gd name="connsiteY13" fmla="*/ 42481 h 468915"/>
                  <a:gd name="connsiteX14" fmla="*/ 84106 w 3455480"/>
                  <a:gd name="connsiteY14" fmla="*/ 48577 h 468915"/>
                  <a:gd name="connsiteX15" fmla="*/ 92488 w 3455480"/>
                  <a:gd name="connsiteY15" fmla="*/ 48577 h 468915"/>
                  <a:gd name="connsiteX16" fmla="*/ 92488 w 3455480"/>
                  <a:gd name="connsiteY16" fmla="*/ 54673 h 468915"/>
                  <a:gd name="connsiteX17" fmla="*/ 94583 w 3455480"/>
                  <a:gd name="connsiteY17" fmla="*/ 54673 h 468915"/>
                  <a:gd name="connsiteX18" fmla="*/ 94583 w 3455480"/>
                  <a:gd name="connsiteY18" fmla="*/ 60674 h 468915"/>
                  <a:gd name="connsiteX19" fmla="*/ 109347 w 3455480"/>
                  <a:gd name="connsiteY19" fmla="*/ 60674 h 468915"/>
                  <a:gd name="connsiteX20" fmla="*/ 109347 w 3455480"/>
                  <a:gd name="connsiteY20" fmla="*/ 72866 h 468915"/>
                  <a:gd name="connsiteX21" fmla="*/ 111443 w 3455480"/>
                  <a:gd name="connsiteY21" fmla="*/ 72866 h 468915"/>
                  <a:gd name="connsiteX22" fmla="*/ 111443 w 3455480"/>
                  <a:gd name="connsiteY22" fmla="*/ 78867 h 468915"/>
                  <a:gd name="connsiteX23" fmla="*/ 117729 w 3455480"/>
                  <a:gd name="connsiteY23" fmla="*/ 78867 h 468915"/>
                  <a:gd name="connsiteX24" fmla="*/ 117729 w 3455480"/>
                  <a:gd name="connsiteY24" fmla="*/ 84963 h 468915"/>
                  <a:gd name="connsiteX25" fmla="*/ 121920 w 3455480"/>
                  <a:gd name="connsiteY25" fmla="*/ 84963 h 468915"/>
                  <a:gd name="connsiteX26" fmla="*/ 121920 w 3455480"/>
                  <a:gd name="connsiteY26" fmla="*/ 91059 h 468915"/>
                  <a:gd name="connsiteX27" fmla="*/ 138779 w 3455480"/>
                  <a:gd name="connsiteY27" fmla="*/ 91059 h 468915"/>
                  <a:gd name="connsiteX28" fmla="*/ 138779 w 3455480"/>
                  <a:gd name="connsiteY28" fmla="*/ 103155 h 468915"/>
                  <a:gd name="connsiteX29" fmla="*/ 142970 w 3455480"/>
                  <a:gd name="connsiteY29" fmla="*/ 103155 h 468915"/>
                  <a:gd name="connsiteX30" fmla="*/ 142970 w 3455480"/>
                  <a:gd name="connsiteY30" fmla="*/ 109251 h 468915"/>
                  <a:gd name="connsiteX31" fmla="*/ 166116 w 3455480"/>
                  <a:gd name="connsiteY31" fmla="*/ 109251 h 468915"/>
                  <a:gd name="connsiteX32" fmla="*/ 166116 w 3455480"/>
                  <a:gd name="connsiteY32" fmla="*/ 115347 h 468915"/>
                  <a:gd name="connsiteX33" fmla="*/ 170307 w 3455480"/>
                  <a:gd name="connsiteY33" fmla="*/ 115347 h 468915"/>
                  <a:gd name="connsiteX34" fmla="*/ 170307 w 3455480"/>
                  <a:gd name="connsiteY34" fmla="*/ 121348 h 468915"/>
                  <a:gd name="connsiteX35" fmla="*/ 176594 w 3455480"/>
                  <a:gd name="connsiteY35" fmla="*/ 121348 h 468915"/>
                  <a:gd name="connsiteX36" fmla="*/ 176594 w 3455480"/>
                  <a:gd name="connsiteY36" fmla="*/ 133540 h 468915"/>
                  <a:gd name="connsiteX37" fmla="*/ 195548 w 3455480"/>
                  <a:gd name="connsiteY37" fmla="*/ 133540 h 468915"/>
                  <a:gd name="connsiteX38" fmla="*/ 195548 w 3455480"/>
                  <a:gd name="connsiteY38" fmla="*/ 139541 h 468915"/>
                  <a:gd name="connsiteX39" fmla="*/ 203930 w 3455480"/>
                  <a:gd name="connsiteY39" fmla="*/ 139541 h 468915"/>
                  <a:gd name="connsiteX40" fmla="*/ 203930 w 3455480"/>
                  <a:gd name="connsiteY40" fmla="*/ 145637 h 468915"/>
                  <a:gd name="connsiteX41" fmla="*/ 216599 w 3455480"/>
                  <a:gd name="connsiteY41" fmla="*/ 145637 h 468915"/>
                  <a:gd name="connsiteX42" fmla="*/ 216599 w 3455480"/>
                  <a:gd name="connsiteY42" fmla="*/ 151733 h 468915"/>
                  <a:gd name="connsiteX43" fmla="*/ 233458 w 3455480"/>
                  <a:gd name="connsiteY43" fmla="*/ 151733 h 468915"/>
                  <a:gd name="connsiteX44" fmla="*/ 233458 w 3455480"/>
                  <a:gd name="connsiteY44" fmla="*/ 157734 h 468915"/>
                  <a:gd name="connsiteX45" fmla="*/ 260795 w 3455480"/>
                  <a:gd name="connsiteY45" fmla="*/ 157734 h 468915"/>
                  <a:gd name="connsiteX46" fmla="*/ 260795 w 3455480"/>
                  <a:gd name="connsiteY46" fmla="*/ 163830 h 468915"/>
                  <a:gd name="connsiteX47" fmla="*/ 262890 w 3455480"/>
                  <a:gd name="connsiteY47" fmla="*/ 163830 h 468915"/>
                  <a:gd name="connsiteX48" fmla="*/ 262890 w 3455480"/>
                  <a:gd name="connsiteY48" fmla="*/ 169926 h 468915"/>
                  <a:gd name="connsiteX49" fmla="*/ 273367 w 3455480"/>
                  <a:gd name="connsiteY49" fmla="*/ 169926 h 468915"/>
                  <a:gd name="connsiteX50" fmla="*/ 273367 w 3455480"/>
                  <a:gd name="connsiteY50" fmla="*/ 175926 h 468915"/>
                  <a:gd name="connsiteX51" fmla="*/ 279654 w 3455480"/>
                  <a:gd name="connsiteY51" fmla="*/ 175926 h 468915"/>
                  <a:gd name="connsiteX52" fmla="*/ 279654 w 3455480"/>
                  <a:gd name="connsiteY52" fmla="*/ 188118 h 468915"/>
                  <a:gd name="connsiteX53" fmla="*/ 288131 w 3455480"/>
                  <a:gd name="connsiteY53" fmla="*/ 188118 h 468915"/>
                  <a:gd name="connsiteX54" fmla="*/ 288131 w 3455480"/>
                  <a:gd name="connsiteY54" fmla="*/ 194119 h 468915"/>
                  <a:gd name="connsiteX55" fmla="*/ 294418 w 3455480"/>
                  <a:gd name="connsiteY55" fmla="*/ 194119 h 468915"/>
                  <a:gd name="connsiteX56" fmla="*/ 294418 w 3455480"/>
                  <a:gd name="connsiteY56" fmla="*/ 206311 h 468915"/>
                  <a:gd name="connsiteX57" fmla="*/ 296513 w 3455480"/>
                  <a:gd name="connsiteY57" fmla="*/ 206311 h 468915"/>
                  <a:gd name="connsiteX58" fmla="*/ 296513 w 3455480"/>
                  <a:gd name="connsiteY58" fmla="*/ 212407 h 468915"/>
                  <a:gd name="connsiteX59" fmla="*/ 309086 w 3455480"/>
                  <a:gd name="connsiteY59" fmla="*/ 212407 h 468915"/>
                  <a:gd name="connsiteX60" fmla="*/ 309086 w 3455480"/>
                  <a:gd name="connsiteY60" fmla="*/ 218408 h 468915"/>
                  <a:gd name="connsiteX61" fmla="*/ 332232 w 3455480"/>
                  <a:gd name="connsiteY61" fmla="*/ 218408 h 468915"/>
                  <a:gd name="connsiteX62" fmla="*/ 332232 w 3455480"/>
                  <a:gd name="connsiteY62" fmla="*/ 224504 h 468915"/>
                  <a:gd name="connsiteX63" fmla="*/ 338614 w 3455480"/>
                  <a:gd name="connsiteY63" fmla="*/ 224504 h 468915"/>
                  <a:gd name="connsiteX64" fmla="*/ 338614 w 3455480"/>
                  <a:gd name="connsiteY64" fmla="*/ 230600 h 468915"/>
                  <a:gd name="connsiteX65" fmla="*/ 346996 w 3455480"/>
                  <a:gd name="connsiteY65" fmla="*/ 230600 h 468915"/>
                  <a:gd name="connsiteX66" fmla="*/ 346996 w 3455480"/>
                  <a:gd name="connsiteY66" fmla="*/ 236601 h 468915"/>
                  <a:gd name="connsiteX67" fmla="*/ 355378 w 3455480"/>
                  <a:gd name="connsiteY67" fmla="*/ 236601 h 468915"/>
                  <a:gd name="connsiteX68" fmla="*/ 355378 w 3455480"/>
                  <a:gd name="connsiteY68" fmla="*/ 242697 h 468915"/>
                  <a:gd name="connsiteX69" fmla="*/ 359569 w 3455480"/>
                  <a:gd name="connsiteY69" fmla="*/ 242697 h 468915"/>
                  <a:gd name="connsiteX70" fmla="*/ 359569 w 3455480"/>
                  <a:gd name="connsiteY70" fmla="*/ 248793 h 468915"/>
                  <a:gd name="connsiteX71" fmla="*/ 433197 w 3455480"/>
                  <a:gd name="connsiteY71" fmla="*/ 248793 h 468915"/>
                  <a:gd name="connsiteX72" fmla="*/ 433197 w 3455480"/>
                  <a:gd name="connsiteY72" fmla="*/ 254793 h 468915"/>
                  <a:gd name="connsiteX73" fmla="*/ 454247 w 3455480"/>
                  <a:gd name="connsiteY73" fmla="*/ 254793 h 468915"/>
                  <a:gd name="connsiteX74" fmla="*/ 454247 w 3455480"/>
                  <a:gd name="connsiteY74" fmla="*/ 260889 h 468915"/>
                  <a:gd name="connsiteX75" fmla="*/ 460534 w 3455480"/>
                  <a:gd name="connsiteY75" fmla="*/ 260889 h 468915"/>
                  <a:gd name="connsiteX76" fmla="*/ 460534 w 3455480"/>
                  <a:gd name="connsiteY76" fmla="*/ 266985 h 468915"/>
                  <a:gd name="connsiteX77" fmla="*/ 502634 w 3455480"/>
                  <a:gd name="connsiteY77" fmla="*/ 266985 h 468915"/>
                  <a:gd name="connsiteX78" fmla="*/ 502634 w 3455480"/>
                  <a:gd name="connsiteY78" fmla="*/ 272986 h 468915"/>
                  <a:gd name="connsiteX79" fmla="*/ 517303 w 3455480"/>
                  <a:gd name="connsiteY79" fmla="*/ 272986 h 468915"/>
                  <a:gd name="connsiteX80" fmla="*/ 517303 w 3455480"/>
                  <a:gd name="connsiteY80" fmla="*/ 279082 h 468915"/>
                  <a:gd name="connsiteX81" fmla="*/ 546830 w 3455480"/>
                  <a:gd name="connsiteY81" fmla="*/ 279082 h 468915"/>
                  <a:gd name="connsiteX82" fmla="*/ 546830 w 3455480"/>
                  <a:gd name="connsiteY82" fmla="*/ 285178 h 468915"/>
                  <a:gd name="connsiteX83" fmla="*/ 548926 w 3455480"/>
                  <a:gd name="connsiteY83" fmla="*/ 285178 h 468915"/>
                  <a:gd name="connsiteX84" fmla="*/ 548926 w 3455480"/>
                  <a:gd name="connsiteY84" fmla="*/ 291179 h 468915"/>
                  <a:gd name="connsiteX85" fmla="*/ 571976 w 3455480"/>
                  <a:gd name="connsiteY85" fmla="*/ 291179 h 468915"/>
                  <a:gd name="connsiteX86" fmla="*/ 571976 w 3455480"/>
                  <a:gd name="connsiteY86" fmla="*/ 297275 h 468915"/>
                  <a:gd name="connsiteX87" fmla="*/ 584645 w 3455480"/>
                  <a:gd name="connsiteY87" fmla="*/ 297275 h 468915"/>
                  <a:gd name="connsiteX88" fmla="*/ 584645 w 3455480"/>
                  <a:gd name="connsiteY88" fmla="*/ 303371 h 468915"/>
                  <a:gd name="connsiteX89" fmla="*/ 620363 w 3455480"/>
                  <a:gd name="connsiteY89" fmla="*/ 303371 h 468915"/>
                  <a:gd name="connsiteX90" fmla="*/ 620363 w 3455480"/>
                  <a:gd name="connsiteY90" fmla="*/ 309467 h 468915"/>
                  <a:gd name="connsiteX91" fmla="*/ 736092 w 3455480"/>
                  <a:gd name="connsiteY91" fmla="*/ 309467 h 468915"/>
                  <a:gd name="connsiteX92" fmla="*/ 736092 w 3455480"/>
                  <a:gd name="connsiteY92" fmla="*/ 315468 h 468915"/>
                  <a:gd name="connsiteX93" fmla="*/ 773906 w 3455480"/>
                  <a:gd name="connsiteY93" fmla="*/ 315468 h 468915"/>
                  <a:gd name="connsiteX94" fmla="*/ 773906 w 3455480"/>
                  <a:gd name="connsiteY94" fmla="*/ 321659 h 468915"/>
                  <a:gd name="connsiteX95" fmla="*/ 826484 w 3455480"/>
                  <a:gd name="connsiteY95" fmla="*/ 321659 h 468915"/>
                  <a:gd name="connsiteX96" fmla="*/ 826484 w 3455480"/>
                  <a:gd name="connsiteY96" fmla="*/ 327755 h 468915"/>
                  <a:gd name="connsiteX97" fmla="*/ 845439 w 3455480"/>
                  <a:gd name="connsiteY97" fmla="*/ 327755 h 468915"/>
                  <a:gd name="connsiteX98" fmla="*/ 845439 w 3455480"/>
                  <a:gd name="connsiteY98" fmla="*/ 333851 h 468915"/>
                  <a:gd name="connsiteX99" fmla="*/ 855917 w 3455480"/>
                  <a:gd name="connsiteY99" fmla="*/ 333851 h 468915"/>
                  <a:gd name="connsiteX100" fmla="*/ 855917 w 3455480"/>
                  <a:gd name="connsiteY100" fmla="*/ 340042 h 468915"/>
                  <a:gd name="connsiteX101" fmla="*/ 889635 w 3455480"/>
                  <a:gd name="connsiteY101" fmla="*/ 340042 h 468915"/>
                  <a:gd name="connsiteX102" fmla="*/ 889635 w 3455480"/>
                  <a:gd name="connsiteY102" fmla="*/ 346138 h 468915"/>
                  <a:gd name="connsiteX103" fmla="*/ 895922 w 3455480"/>
                  <a:gd name="connsiteY103" fmla="*/ 346138 h 468915"/>
                  <a:gd name="connsiteX104" fmla="*/ 895922 w 3455480"/>
                  <a:gd name="connsiteY104" fmla="*/ 352234 h 468915"/>
                  <a:gd name="connsiteX105" fmla="*/ 910590 w 3455480"/>
                  <a:gd name="connsiteY105" fmla="*/ 352234 h 468915"/>
                  <a:gd name="connsiteX106" fmla="*/ 910590 w 3455480"/>
                  <a:gd name="connsiteY106" fmla="*/ 358330 h 468915"/>
                  <a:gd name="connsiteX107" fmla="*/ 923258 w 3455480"/>
                  <a:gd name="connsiteY107" fmla="*/ 358330 h 468915"/>
                  <a:gd name="connsiteX108" fmla="*/ 923258 w 3455480"/>
                  <a:gd name="connsiteY108" fmla="*/ 364521 h 468915"/>
                  <a:gd name="connsiteX109" fmla="*/ 948500 w 3455480"/>
                  <a:gd name="connsiteY109" fmla="*/ 364521 h 468915"/>
                  <a:gd name="connsiteX110" fmla="*/ 948500 w 3455480"/>
                  <a:gd name="connsiteY110" fmla="*/ 370617 h 468915"/>
                  <a:gd name="connsiteX111" fmla="*/ 1177766 w 3455480"/>
                  <a:gd name="connsiteY111" fmla="*/ 370617 h 468915"/>
                  <a:gd name="connsiteX112" fmla="*/ 1177766 w 3455480"/>
                  <a:gd name="connsiteY112" fmla="*/ 376809 h 468915"/>
                  <a:gd name="connsiteX113" fmla="*/ 1291304 w 3455480"/>
                  <a:gd name="connsiteY113" fmla="*/ 376809 h 468915"/>
                  <a:gd name="connsiteX114" fmla="*/ 1291304 w 3455480"/>
                  <a:gd name="connsiteY114" fmla="*/ 383000 h 468915"/>
                  <a:gd name="connsiteX115" fmla="*/ 1560481 w 3455480"/>
                  <a:gd name="connsiteY115" fmla="*/ 383000 h 468915"/>
                  <a:gd name="connsiteX116" fmla="*/ 1560481 w 3455480"/>
                  <a:gd name="connsiteY116" fmla="*/ 389286 h 468915"/>
                  <a:gd name="connsiteX117" fmla="*/ 1634109 w 3455480"/>
                  <a:gd name="connsiteY117" fmla="*/ 389286 h 468915"/>
                  <a:gd name="connsiteX118" fmla="*/ 1634109 w 3455480"/>
                  <a:gd name="connsiteY118" fmla="*/ 395573 h 468915"/>
                  <a:gd name="connsiteX119" fmla="*/ 1714024 w 3455480"/>
                  <a:gd name="connsiteY119" fmla="*/ 395573 h 468915"/>
                  <a:gd name="connsiteX120" fmla="*/ 1714024 w 3455480"/>
                  <a:gd name="connsiteY120" fmla="*/ 401859 h 468915"/>
                  <a:gd name="connsiteX121" fmla="*/ 1875949 w 3455480"/>
                  <a:gd name="connsiteY121" fmla="*/ 401859 h 468915"/>
                  <a:gd name="connsiteX122" fmla="*/ 1875949 w 3455480"/>
                  <a:gd name="connsiteY122" fmla="*/ 408336 h 468915"/>
                  <a:gd name="connsiteX123" fmla="*/ 1892808 w 3455480"/>
                  <a:gd name="connsiteY123" fmla="*/ 408336 h 468915"/>
                  <a:gd name="connsiteX124" fmla="*/ 1892808 w 3455480"/>
                  <a:gd name="connsiteY124" fmla="*/ 414718 h 468915"/>
                  <a:gd name="connsiteX125" fmla="*/ 2010632 w 3455480"/>
                  <a:gd name="connsiteY125" fmla="*/ 414718 h 468915"/>
                  <a:gd name="connsiteX126" fmla="*/ 2010632 w 3455480"/>
                  <a:gd name="connsiteY126" fmla="*/ 421195 h 468915"/>
                  <a:gd name="connsiteX127" fmla="*/ 2103120 w 3455480"/>
                  <a:gd name="connsiteY127" fmla="*/ 421195 h 468915"/>
                  <a:gd name="connsiteX128" fmla="*/ 2103120 w 3455480"/>
                  <a:gd name="connsiteY128" fmla="*/ 427577 h 468915"/>
                  <a:gd name="connsiteX129" fmla="*/ 2122075 w 3455480"/>
                  <a:gd name="connsiteY129" fmla="*/ 427577 h 468915"/>
                  <a:gd name="connsiteX130" fmla="*/ 2122075 w 3455480"/>
                  <a:gd name="connsiteY130" fmla="*/ 434054 h 468915"/>
                  <a:gd name="connsiteX131" fmla="*/ 2975896 w 3455480"/>
                  <a:gd name="connsiteY131" fmla="*/ 434054 h 468915"/>
                  <a:gd name="connsiteX132" fmla="*/ 2975896 w 3455480"/>
                  <a:gd name="connsiteY132" fmla="*/ 468915 h 468915"/>
                  <a:gd name="connsiteX133" fmla="*/ 3455480 w 3455480"/>
                  <a:gd name="connsiteY133" fmla="*/ 468915 h 468915"/>
                  <a:gd name="connsiteX0" fmla="*/ 0 w 3455480"/>
                  <a:gd name="connsiteY0" fmla="*/ 0 h 468915"/>
                  <a:gd name="connsiteX1" fmla="*/ 10477 w 3455480"/>
                  <a:gd name="connsiteY1" fmla="*/ 12192 h 468915"/>
                  <a:gd name="connsiteX2" fmla="*/ 18860 w 3455480"/>
                  <a:gd name="connsiteY2" fmla="*/ 12192 h 468915"/>
                  <a:gd name="connsiteX3" fmla="*/ 18860 w 3455480"/>
                  <a:gd name="connsiteY3" fmla="*/ 18288 h 468915"/>
                  <a:gd name="connsiteX4" fmla="*/ 33623 w 3455480"/>
                  <a:gd name="connsiteY4" fmla="*/ 18288 h 468915"/>
                  <a:gd name="connsiteX5" fmla="*/ 33623 w 3455480"/>
                  <a:gd name="connsiteY5" fmla="*/ 24288 h 468915"/>
                  <a:gd name="connsiteX6" fmla="*/ 37814 w 3455480"/>
                  <a:gd name="connsiteY6" fmla="*/ 24288 h 468915"/>
                  <a:gd name="connsiteX7" fmla="*/ 37814 w 3455480"/>
                  <a:gd name="connsiteY7" fmla="*/ 30384 h 468915"/>
                  <a:gd name="connsiteX8" fmla="*/ 42005 w 3455480"/>
                  <a:gd name="connsiteY8" fmla="*/ 30384 h 468915"/>
                  <a:gd name="connsiteX9" fmla="*/ 42005 w 3455480"/>
                  <a:gd name="connsiteY9" fmla="*/ 36480 h 468915"/>
                  <a:gd name="connsiteX10" fmla="*/ 54674 w 3455480"/>
                  <a:gd name="connsiteY10" fmla="*/ 36480 h 468915"/>
                  <a:gd name="connsiteX11" fmla="*/ 54674 w 3455480"/>
                  <a:gd name="connsiteY11" fmla="*/ 42481 h 468915"/>
                  <a:gd name="connsiteX12" fmla="*/ 84106 w 3455480"/>
                  <a:gd name="connsiteY12" fmla="*/ 42481 h 468915"/>
                  <a:gd name="connsiteX13" fmla="*/ 84106 w 3455480"/>
                  <a:gd name="connsiteY13" fmla="*/ 48577 h 468915"/>
                  <a:gd name="connsiteX14" fmla="*/ 92488 w 3455480"/>
                  <a:gd name="connsiteY14" fmla="*/ 48577 h 468915"/>
                  <a:gd name="connsiteX15" fmla="*/ 92488 w 3455480"/>
                  <a:gd name="connsiteY15" fmla="*/ 54673 h 468915"/>
                  <a:gd name="connsiteX16" fmla="*/ 94583 w 3455480"/>
                  <a:gd name="connsiteY16" fmla="*/ 54673 h 468915"/>
                  <a:gd name="connsiteX17" fmla="*/ 94583 w 3455480"/>
                  <a:gd name="connsiteY17" fmla="*/ 60674 h 468915"/>
                  <a:gd name="connsiteX18" fmla="*/ 109347 w 3455480"/>
                  <a:gd name="connsiteY18" fmla="*/ 60674 h 468915"/>
                  <a:gd name="connsiteX19" fmla="*/ 109347 w 3455480"/>
                  <a:gd name="connsiteY19" fmla="*/ 72866 h 468915"/>
                  <a:gd name="connsiteX20" fmla="*/ 111443 w 3455480"/>
                  <a:gd name="connsiteY20" fmla="*/ 72866 h 468915"/>
                  <a:gd name="connsiteX21" fmla="*/ 111443 w 3455480"/>
                  <a:gd name="connsiteY21" fmla="*/ 78867 h 468915"/>
                  <a:gd name="connsiteX22" fmla="*/ 117729 w 3455480"/>
                  <a:gd name="connsiteY22" fmla="*/ 78867 h 468915"/>
                  <a:gd name="connsiteX23" fmla="*/ 117729 w 3455480"/>
                  <a:gd name="connsiteY23" fmla="*/ 84963 h 468915"/>
                  <a:gd name="connsiteX24" fmla="*/ 121920 w 3455480"/>
                  <a:gd name="connsiteY24" fmla="*/ 84963 h 468915"/>
                  <a:gd name="connsiteX25" fmla="*/ 121920 w 3455480"/>
                  <a:gd name="connsiteY25" fmla="*/ 91059 h 468915"/>
                  <a:gd name="connsiteX26" fmla="*/ 138779 w 3455480"/>
                  <a:gd name="connsiteY26" fmla="*/ 91059 h 468915"/>
                  <a:gd name="connsiteX27" fmla="*/ 138779 w 3455480"/>
                  <a:gd name="connsiteY27" fmla="*/ 103155 h 468915"/>
                  <a:gd name="connsiteX28" fmla="*/ 142970 w 3455480"/>
                  <a:gd name="connsiteY28" fmla="*/ 103155 h 468915"/>
                  <a:gd name="connsiteX29" fmla="*/ 142970 w 3455480"/>
                  <a:gd name="connsiteY29" fmla="*/ 109251 h 468915"/>
                  <a:gd name="connsiteX30" fmla="*/ 166116 w 3455480"/>
                  <a:gd name="connsiteY30" fmla="*/ 109251 h 468915"/>
                  <a:gd name="connsiteX31" fmla="*/ 166116 w 3455480"/>
                  <a:gd name="connsiteY31" fmla="*/ 115347 h 468915"/>
                  <a:gd name="connsiteX32" fmla="*/ 170307 w 3455480"/>
                  <a:gd name="connsiteY32" fmla="*/ 115347 h 468915"/>
                  <a:gd name="connsiteX33" fmla="*/ 170307 w 3455480"/>
                  <a:gd name="connsiteY33" fmla="*/ 121348 h 468915"/>
                  <a:gd name="connsiteX34" fmla="*/ 176594 w 3455480"/>
                  <a:gd name="connsiteY34" fmla="*/ 121348 h 468915"/>
                  <a:gd name="connsiteX35" fmla="*/ 176594 w 3455480"/>
                  <a:gd name="connsiteY35" fmla="*/ 133540 h 468915"/>
                  <a:gd name="connsiteX36" fmla="*/ 195548 w 3455480"/>
                  <a:gd name="connsiteY36" fmla="*/ 133540 h 468915"/>
                  <a:gd name="connsiteX37" fmla="*/ 195548 w 3455480"/>
                  <a:gd name="connsiteY37" fmla="*/ 139541 h 468915"/>
                  <a:gd name="connsiteX38" fmla="*/ 203930 w 3455480"/>
                  <a:gd name="connsiteY38" fmla="*/ 139541 h 468915"/>
                  <a:gd name="connsiteX39" fmla="*/ 203930 w 3455480"/>
                  <a:gd name="connsiteY39" fmla="*/ 145637 h 468915"/>
                  <a:gd name="connsiteX40" fmla="*/ 216599 w 3455480"/>
                  <a:gd name="connsiteY40" fmla="*/ 145637 h 468915"/>
                  <a:gd name="connsiteX41" fmla="*/ 216599 w 3455480"/>
                  <a:gd name="connsiteY41" fmla="*/ 151733 h 468915"/>
                  <a:gd name="connsiteX42" fmla="*/ 233458 w 3455480"/>
                  <a:gd name="connsiteY42" fmla="*/ 151733 h 468915"/>
                  <a:gd name="connsiteX43" fmla="*/ 233458 w 3455480"/>
                  <a:gd name="connsiteY43" fmla="*/ 157734 h 468915"/>
                  <a:gd name="connsiteX44" fmla="*/ 260795 w 3455480"/>
                  <a:gd name="connsiteY44" fmla="*/ 157734 h 468915"/>
                  <a:gd name="connsiteX45" fmla="*/ 260795 w 3455480"/>
                  <a:gd name="connsiteY45" fmla="*/ 163830 h 468915"/>
                  <a:gd name="connsiteX46" fmla="*/ 262890 w 3455480"/>
                  <a:gd name="connsiteY46" fmla="*/ 163830 h 468915"/>
                  <a:gd name="connsiteX47" fmla="*/ 262890 w 3455480"/>
                  <a:gd name="connsiteY47" fmla="*/ 169926 h 468915"/>
                  <a:gd name="connsiteX48" fmla="*/ 273367 w 3455480"/>
                  <a:gd name="connsiteY48" fmla="*/ 169926 h 468915"/>
                  <a:gd name="connsiteX49" fmla="*/ 273367 w 3455480"/>
                  <a:gd name="connsiteY49" fmla="*/ 175926 h 468915"/>
                  <a:gd name="connsiteX50" fmla="*/ 279654 w 3455480"/>
                  <a:gd name="connsiteY50" fmla="*/ 175926 h 468915"/>
                  <a:gd name="connsiteX51" fmla="*/ 279654 w 3455480"/>
                  <a:gd name="connsiteY51" fmla="*/ 188118 h 468915"/>
                  <a:gd name="connsiteX52" fmla="*/ 288131 w 3455480"/>
                  <a:gd name="connsiteY52" fmla="*/ 188118 h 468915"/>
                  <a:gd name="connsiteX53" fmla="*/ 288131 w 3455480"/>
                  <a:gd name="connsiteY53" fmla="*/ 194119 h 468915"/>
                  <a:gd name="connsiteX54" fmla="*/ 294418 w 3455480"/>
                  <a:gd name="connsiteY54" fmla="*/ 194119 h 468915"/>
                  <a:gd name="connsiteX55" fmla="*/ 294418 w 3455480"/>
                  <a:gd name="connsiteY55" fmla="*/ 206311 h 468915"/>
                  <a:gd name="connsiteX56" fmla="*/ 296513 w 3455480"/>
                  <a:gd name="connsiteY56" fmla="*/ 206311 h 468915"/>
                  <a:gd name="connsiteX57" fmla="*/ 296513 w 3455480"/>
                  <a:gd name="connsiteY57" fmla="*/ 212407 h 468915"/>
                  <a:gd name="connsiteX58" fmla="*/ 309086 w 3455480"/>
                  <a:gd name="connsiteY58" fmla="*/ 212407 h 468915"/>
                  <a:gd name="connsiteX59" fmla="*/ 309086 w 3455480"/>
                  <a:gd name="connsiteY59" fmla="*/ 218408 h 468915"/>
                  <a:gd name="connsiteX60" fmla="*/ 332232 w 3455480"/>
                  <a:gd name="connsiteY60" fmla="*/ 218408 h 468915"/>
                  <a:gd name="connsiteX61" fmla="*/ 332232 w 3455480"/>
                  <a:gd name="connsiteY61" fmla="*/ 224504 h 468915"/>
                  <a:gd name="connsiteX62" fmla="*/ 338614 w 3455480"/>
                  <a:gd name="connsiteY62" fmla="*/ 224504 h 468915"/>
                  <a:gd name="connsiteX63" fmla="*/ 338614 w 3455480"/>
                  <a:gd name="connsiteY63" fmla="*/ 230600 h 468915"/>
                  <a:gd name="connsiteX64" fmla="*/ 346996 w 3455480"/>
                  <a:gd name="connsiteY64" fmla="*/ 230600 h 468915"/>
                  <a:gd name="connsiteX65" fmla="*/ 346996 w 3455480"/>
                  <a:gd name="connsiteY65" fmla="*/ 236601 h 468915"/>
                  <a:gd name="connsiteX66" fmla="*/ 355378 w 3455480"/>
                  <a:gd name="connsiteY66" fmla="*/ 236601 h 468915"/>
                  <a:gd name="connsiteX67" fmla="*/ 355378 w 3455480"/>
                  <a:gd name="connsiteY67" fmla="*/ 242697 h 468915"/>
                  <a:gd name="connsiteX68" fmla="*/ 359569 w 3455480"/>
                  <a:gd name="connsiteY68" fmla="*/ 242697 h 468915"/>
                  <a:gd name="connsiteX69" fmla="*/ 359569 w 3455480"/>
                  <a:gd name="connsiteY69" fmla="*/ 248793 h 468915"/>
                  <a:gd name="connsiteX70" fmla="*/ 433197 w 3455480"/>
                  <a:gd name="connsiteY70" fmla="*/ 248793 h 468915"/>
                  <a:gd name="connsiteX71" fmla="*/ 433197 w 3455480"/>
                  <a:gd name="connsiteY71" fmla="*/ 254793 h 468915"/>
                  <a:gd name="connsiteX72" fmla="*/ 454247 w 3455480"/>
                  <a:gd name="connsiteY72" fmla="*/ 254793 h 468915"/>
                  <a:gd name="connsiteX73" fmla="*/ 454247 w 3455480"/>
                  <a:gd name="connsiteY73" fmla="*/ 260889 h 468915"/>
                  <a:gd name="connsiteX74" fmla="*/ 460534 w 3455480"/>
                  <a:gd name="connsiteY74" fmla="*/ 260889 h 468915"/>
                  <a:gd name="connsiteX75" fmla="*/ 460534 w 3455480"/>
                  <a:gd name="connsiteY75" fmla="*/ 266985 h 468915"/>
                  <a:gd name="connsiteX76" fmla="*/ 502634 w 3455480"/>
                  <a:gd name="connsiteY76" fmla="*/ 266985 h 468915"/>
                  <a:gd name="connsiteX77" fmla="*/ 502634 w 3455480"/>
                  <a:gd name="connsiteY77" fmla="*/ 272986 h 468915"/>
                  <a:gd name="connsiteX78" fmla="*/ 517303 w 3455480"/>
                  <a:gd name="connsiteY78" fmla="*/ 272986 h 468915"/>
                  <a:gd name="connsiteX79" fmla="*/ 517303 w 3455480"/>
                  <a:gd name="connsiteY79" fmla="*/ 279082 h 468915"/>
                  <a:gd name="connsiteX80" fmla="*/ 546830 w 3455480"/>
                  <a:gd name="connsiteY80" fmla="*/ 279082 h 468915"/>
                  <a:gd name="connsiteX81" fmla="*/ 546830 w 3455480"/>
                  <a:gd name="connsiteY81" fmla="*/ 285178 h 468915"/>
                  <a:gd name="connsiteX82" fmla="*/ 548926 w 3455480"/>
                  <a:gd name="connsiteY82" fmla="*/ 285178 h 468915"/>
                  <a:gd name="connsiteX83" fmla="*/ 548926 w 3455480"/>
                  <a:gd name="connsiteY83" fmla="*/ 291179 h 468915"/>
                  <a:gd name="connsiteX84" fmla="*/ 571976 w 3455480"/>
                  <a:gd name="connsiteY84" fmla="*/ 291179 h 468915"/>
                  <a:gd name="connsiteX85" fmla="*/ 571976 w 3455480"/>
                  <a:gd name="connsiteY85" fmla="*/ 297275 h 468915"/>
                  <a:gd name="connsiteX86" fmla="*/ 584645 w 3455480"/>
                  <a:gd name="connsiteY86" fmla="*/ 297275 h 468915"/>
                  <a:gd name="connsiteX87" fmla="*/ 584645 w 3455480"/>
                  <a:gd name="connsiteY87" fmla="*/ 303371 h 468915"/>
                  <a:gd name="connsiteX88" fmla="*/ 620363 w 3455480"/>
                  <a:gd name="connsiteY88" fmla="*/ 303371 h 468915"/>
                  <a:gd name="connsiteX89" fmla="*/ 620363 w 3455480"/>
                  <a:gd name="connsiteY89" fmla="*/ 309467 h 468915"/>
                  <a:gd name="connsiteX90" fmla="*/ 736092 w 3455480"/>
                  <a:gd name="connsiteY90" fmla="*/ 309467 h 468915"/>
                  <a:gd name="connsiteX91" fmla="*/ 736092 w 3455480"/>
                  <a:gd name="connsiteY91" fmla="*/ 315468 h 468915"/>
                  <a:gd name="connsiteX92" fmla="*/ 773906 w 3455480"/>
                  <a:gd name="connsiteY92" fmla="*/ 315468 h 468915"/>
                  <a:gd name="connsiteX93" fmla="*/ 773906 w 3455480"/>
                  <a:gd name="connsiteY93" fmla="*/ 321659 h 468915"/>
                  <a:gd name="connsiteX94" fmla="*/ 826484 w 3455480"/>
                  <a:gd name="connsiteY94" fmla="*/ 321659 h 468915"/>
                  <a:gd name="connsiteX95" fmla="*/ 826484 w 3455480"/>
                  <a:gd name="connsiteY95" fmla="*/ 327755 h 468915"/>
                  <a:gd name="connsiteX96" fmla="*/ 845439 w 3455480"/>
                  <a:gd name="connsiteY96" fmla="*/ 327755 h 468915"/>
                  <a:gd name="connsiteX97" fmla="*/ 845439 w 3455480"/>
                  <a:gd name="connsiteY97" fmla="*/ 333851 h 468915"/>
                  <a:gd name="connsiteX98" fmla="*/ 855917 w 3455480"/>
                  <a:gd name="connsiteY98" fmla="*/ 333851 h 468915"/>
                  <a:gd name="connsiteX99" fmla="*/ 855917 w 3455480"/>
                  <a:gd name="connsiteY99" fmla="*/ 340042 h 468915"/>
                  <a:gd name="connsiteX100" fmla="*/ 889635 w 3455480"/>
                  <a:gd name="connsiteY100" fmla="*/ 340042 h 468915"/>
                  <a:gd name="connsiteX101" fmla="*/ 889635 w 3455480"/>
                  <a:gd name="connsiteY101" fmla="*/ 346138 h 468915"/>
                  <a:gd name="connsiteX102" fmla="*/ 895922 w 3455480"/>
                  <a:gd name="connsiteY102" fmla="*/ 346138 h 468915"/>
                  <a:gd name="connsiteX103" fmla="*/ 895922 w 3455480"/>
                  <a:gd name="connsiteY103" fmla="*/ 352234 h 468915"/>
                  <a:gd name="connsiteX104" fmla="*/ 910590 w 3455480"/>
                  <a:gd name="connsiteY104" fmla="*/ 352234 h 468915"/>
                  <a:gd name="connsiteX105" fmla="*/ 910590 w 3455480"/>
                  <a:gd name="connsiteY105" fmla="*/ 358330 h 468915"/>
                  <a:gd name="connsiteX106" fmla="*/ 923258 w 3455480"/>
                  <a:gd name="connsiteY106" fmla="*/ 358330 h 468915"/>
                  <a:gd name="connsiteX107" fmla="*/ 923258 w 3455480"/>
                  <a:gd name="connsiteY107" fmla="*/ 364521 h 468915"/>
                  <a:gd name="connsiteX108" fmla="*/ 948500 w 3455480"/>
                  <a:gd name="connsiteY108" fmla="*/ 364521 h 468915"/>
                  <a:gd name="connsiteX109" fmla="*/ 948500 w 3455480"/>
                  <a:gd name="connsiteY109" fmla="*/ 370617 h 468915"/>
                  <a:gd name="connsiteX110" fmla="*/ 1177766 w 3455480"/>
                  <a:gd name="connsiteY110" fmla="*/ 370617 h 468915"/>
                  <a:gd name="connsiteX111" fmla="*/ 1177766 w 3455480"/>
                  <a:gd name="connsiteY111" fmla="*/ 376809 h 468915"/>
                  <a:gd name="connsiteX112" fmla="*/ 1291304 w 3455480"/>
                  <a:gd name="connsiteY112" fmla="*/ 376809 h 468915"/>
                  <a:gd name="connsiteX113" fmla="*/ 1291304 w 3455480"/>
                  <a:gd name="connsiteY113" fmla="*/ 383000 h 468915"/>
                  <a:gd name="connsiteX114" fmla="*/ 1560481 w 3455480"/>
                  <a:gd name="connsiteY114" fmla="*/ 383000 h 468915"/>
                  <a:gd name="connsiteX115" fmla="*/ 1560481 w 3455480"/>
                  <a:gd name="connsiteY115" fmla="*/ 389286 h 468915"/>
                  <a:gd name="connsiteX116" fmla="*/ 1634109 w 3455480"/>
                  <a:gd name="connsiteY116" fmla="*/ 389286 h 468915"/>
                  <a:gd name="connsiteX117" fmla="*/ 1634109 w 3455480"/>
                  <a:gd name="connsiteY117" fmla="*/ 395573 h 468915"/>
                  <a:gd name="connsiteX118" fmla="*/ 1714024 w 3455480"/>
                  <a:gd name="connsiteY118" fmla="*/ 395573 h 468915"/>
                  <a:gd name="connsiteX119" fmla="*/ 1714024 w 3455480"/>
                  <a:gd name="connsiteY119" fmla="*/ 401859 h 468915"/>
                  <a:gd name="connsiteX120" fmla="*/ 1875949 w 3455480"/>
                  <a:gd name="connsiteY120" fmla="*/ 401859 h 468915"/>
                  <a:gd name="connsiteX121" fmla="*/ 1875949 w 3455480"/>
                  <a:gd name="connsiteY121" fmla="*/ 408336 h 468915"/>
                  <a:gd name="connsiteX122" fmla="*/ 1892808 w 3455480"/>
                  <a:gd name="connsiteY122" fmla="*/ 408336 h 468915"/>
                  <a:gd name="connsiteX123" fmla="*/ 1892808 w 3455480"/>
                  <a:gd name="connsiteY123" fmla="*/ 414718 h 468915"/>
                  <a:gd name="connsiteX124" fmla="*/ 2010632 w 3455480"/>
                  <a:gd name="connsiteY124" fmla="*/ 414718 h 468915"/>
                  <a:gd name="connsiteX125" fmla="*/ 2010632 w 3455480"/>
                  <a:gd name="connsiteY125" fmla="*/ 421195 h 468915"/>
                  <a:gd name="connsiteX126" fmla="*/ 2103120 w 3455480"/>
                  <a:gd name="connsiteY126" fmla="*/ 421195 h 468915"/>
                  <a:gd name="connsiteX127" fmla="*/ 2103120 w 3455480"/>
                  <a:gd name="connsiteY127" fmla="*/ 427577 h 468915"/>
                  <a:gd name="connsiteX128" fmla="*/ 2122075 w 3455480"/>
                  <a:gd name="connsiteY128" fmla="*/ 427577 h 468915"/>
                  <a:gd name="connsiteX129" fmla="*/ 2122075 w 3455480"/>
                  <a:gd name="connsiteY129" fmla="*/ 434054 h 468915"/>
                  <a:gd name="connsiteX130" fmla="*/ 2975896 w 3455480"/>
                  <a:gd name="connsiteY130" fmla="*/ 434054 h 468915"/>
                  <a:gd name="connsiteX131" fmla="*/ 2975896 w 3455480"/>
                  <a:gd name="connsiteY131" fmla="*/ 468915 h 468915"/>
                  <a:gd name="connsiteX132" fmla="*/ 3455480 w 3455480"/>
                  <a:gd name="connsiteY132" fmla="*/ 468915 h 468915"/>
                  <a:gd name="connsiteX0" fmla="*/ 0 w 3445003"/>
                  <a:gd name="connsiteY0" fmla="*/ 0 h 456723"/>
                  <a:gd name="connsiteX1" fmla="*/ 8383 w 3445003"/>
                  <a:gd name="connsiteY1" fmla="*/ 0 h 456723"/>
                  <a:gd name="connsiteX2" fmla="*/ 8383 w 3445003"/>
                  <a:gd name="connsiteY2" fmla="*/ 6096 h 456723"/>
                  <a:gd name="connsiteX3" fmla="*/ 23146 w 3445003"/>
                  <a:gd name="connsiteY3" fmla="*/ 6096 h 456723"/>
                  <a:gd name="connsiteX4" fmla="*/ 23146 w 3445003"/>
                  <a:gd name="connsiteY4" fmla="*/ 12096 h 456723"/>
                  <a:gd name="connsiteX5" fmla="*/ 27337 w 3445003"/>
                  <a:gd name="connsiteY5" fmla="*/ 12096 h 456723"/>
                  <a:gd name="connsiteX6" fmla="*/ 27337 w 3445003"/>
                  <a:gd name="connsiteY6" fmla="*/ 18192 h 456723"/>
                  <a:gd name="connsiteX7" fmla="*/ 31528 w 3445003"/>
                  <a:gd name="connsiteY7" fmla="*/ 18192 h 456723"/>
                  <a:gd name="connsiteX8" fmla="*/ 31528 w 3445003"/>
                  <a:gd name="connsiteY8" fmla="*/ 24288 h 456723"/>
                  <a:gd name="connsiteX9" fmla="*/ 44197 w 3445003"/>
                  <a:gd name="connsiteY9" fmla="*/ 24288 h 456723"/>
                  <a:gd name="connsiteX10" fmla="*/ 44197 w 3445003"/>
                  <a:gd name="connsiteY10" fmla="*/ 30289 h 456723"/>
                  <a:gd name="connsiteX11" fmla="*/ 73629 w 3445003"/>
                  <a:gd name="connsiteY11" fmla="*/ 30289 h 456723"/>
                  <a:gd name="connsiteX12" fmla="*/ 73629 w 3445003"/>
                  <a:gd name="connsiteY12" fmla="*/ 36385 h 456723"/>
                  <a:gd name="connsiteX13" fmla="*/ 82011 w 3445003"/>
                  <a:gd name="connsiteY13" fmla="*/ 36385 h 456723"/>
                  <a:gd name="connsiteX14" fmla="*/ 82011 w 3445003"/>
                  <a:gd name="connsiteY14" fmla="*/ 42481 h 456723"/>
                  <a:gd name="connsiteX15" fmla="*/ 84106 w 3445003"/>
                  <a:gd name="connsiteY15" fmla="*/ 42481 h 456723"/>
                  <a:gd name="connsiteX16" fmla="*/ 84106 w 3445003"/>
                  <a:gd name="connsiteY16" fmla="*/ 48482 h 456723"/>
                  <a:gd name="connsiteX17" fmla="*/ 98870 w 3445003"/>
                  <a:gd name="connsiteY17" fmla="*/ 48482 h 456723"/>
                  <a:gd name="connsiteX18" fmla="*/ 98870 w 3445003"/>
                  <a:gd name="connsiteY18" fmla="*/ 60674 h 456723"/>
                  <a:gd name="connsiteX19" fmla="*/ 100966 w 3445003"/>
                  <a:gd name="connsiteY19" fmla="*/ 60674 h 456723"/>
                  <a:gd name="connsiteX20" fmla="*/ 100966 w 3445003"/>
                  <a:gd name="connsiteY20" fmla="*/ 66675 h 456723"/>
                  <a:gd name="connsiteX21" fmla="*/ 107252 w 3445003"/>
                  <a:gd name="connsiteY21" fmla="*/ 66675 h 456723"/>
                  <a:gd name="connsiteX22" fmla="*/ 107252 w 3445003"/>
                  <a:gd name="connsiteY22" fmla="*/ 72771 h 456723"/>
                  <a:gd name="connsiteX23" fmla="*/ 111443 w 3445003"/>
                  <a:gd name="connsiteY23" fmla="*/ 72771 h 456723"/>
                  <a:gd name="connsiteX24" fmla="*/ 111443 w 3445003"/>
                  <a:gd name="connsiteY24" fmla="*/ 78867 h 456723"/>
                  <a:gd name="connsiteX25" fmla="*/ 128302 w 3445003"/>
                  <a:gd name="connsiteY25" fmla="*/ 78867 h 456723"/>
                  <a:gd name="connsiteX26" fmla="*/ 128302 w 3445003"/>
                  <a:gd name="connsiteY26" fmla="*/ 90963 h 456723"/>
                  <a:gd name="connsiteX27" fmla="*/ 132493 w 3445003"/>
                  <a:gd name="connsiteY27" fmla="*/ 90963 h 456723"/>
                  <a:gd name="connsiteX28" fmla="*/ 132493 w 3445003"/>
                  <a:gd name="connsiteY28" fmla="*/ 97059 h 456723"/>
                  <a:gd name="connsiteX29" fmla="*/ 155639 w 3445003"/>
                  <a:gd name="connsiteY29" fmla="*/ 97059 h 456723"/>
                  <a:gd name="connsiteX30" fmla="*/ 155639 w 3445003"/>
                  <a:gd name="connsiteY30" fmla="*/ 103155 h 456723"/>
                  <a:gd name="connsiteX31" fmla="*/ 159830 w 3445003"/>
                  <a:gd name="connsiteY31" fmla="*/ 103155 h 456723"/>
                  <a:gd name="connsiteX32" fmla="*/ 159830 w 3445003"/>
                  <a:gd name="connsiteY32" fmla="*/ 109156 h 456723"/>
                  <a:gd name="connsiteX33" fmla="*/ 166117 w 3445003"/>
                  <a:gd name="connsiteY33" fmla="*/ 109156 h 456723"/>
                  <a:gd name="connsiteX34" fmla="*/ 166117 w 3445003"/>
                  <a:gd name="connsiteY34" fmla="*/ 121348 h 456723"/>
                  <a:gd name="connsiteX35" fmla="*/ 185071 w 3445003"/>
                  <a:gd name="connsiteY35" fmla="*/ 121348 h 456723"/>
                  <a:gd name="connsiteX36" fmla="*/ 185071 w 3445003"/>
                  <a:gd name="connsiteY36" fmla="*/ 127349 h 456723"/>
                  <a:gd name="connsiteX37" fmla="*/ 193453 w 3445003"/>
                  <a:gd name="connsiteY37" fmla="*/ 127349 h 456723"/>
                  <a:gd name="connsiteX38" fmla="*/ 193453 w 3445003"/>
                  <a:gd name="connsiteY38" fmla="*/ 133445 h 456723"/>
                  <a:gd name="connsiteX39" fmla="*/ 206122 w 3445003"/>
                  <a:gd name="connsiteY39" fmla="*/ 133445 h 456723"/>
                  <a:gd name="connsiteX40" fmla="*/ 206122 w 3445003"/>
                  <a:gd name="connsiteY40" fmla="*/ 139541 h 456723"/>
                  <a:gd name="connsiteX41" fmla="*/ 222981 w 3445003"/>
                  <a:gd name="connsiteY41" fmla="*/ 139541 h 456723"/>
                  <a:gd name="connsiteX42" fmla="*/ 222981 w 3445003"/>
                  <a:gd name="connsiteY42" fmla="*/ 145542 h 456723"/>
                  <a:gd name="connsiteX43" fmla="*/ 250318 w 3445003"/>
                  <a:gd name="connsiteY43" fmla="*/ 145542 h 456723"/>
                  <a:gd name="connsiteX44" fmla="*/ 250318 w 3445003"/>
                  <a:gd name="connsiteY44" fmla="*/ 151638 h 456723"/>
                  <a:gd name="connsiteX45" fmla="*/ 252413 w 3445003"/>
                  <a:gd name="connsiteY45" fmla="*/ 151638 h 456723"/>
                  <a:gd name="connsiteX46" fmla="*/ 252413 w 3445003"/>
                  <a:gd name="connsiteY46" fmla="*/ 157734 h 456723"/>
                  <a:gd name="connsiteX47" fmla="*/ 262890 w 3445003"/>
                  <a:gd name="connsiteY47" fmla="*/ 157734 h 456723"/>
                  <a:gd name="connsiteX48" fmla="*/ 262890 w 3445003"/>
                  <a:gd name="connsiteY48" fmla="*/ 163734 h 456723"/>
                  <a:gd name="connsiteX49" fmla="*/ 269177 w 3445003"/>
                  <a:gd name="connsiteY49" fmla="*/ 163734 h 456723"/>
                  <a:gd name="connsiteX50" fmla="*/ 269177 w 3445003"/>
                  <a:gd name="connsiteY50" fmla="*/ 175926 h 456723"/>
                  <a:gd name="connsiteX51" fmla="*/ 277654 w 3445003"/>
                  <a:gd name="connsiteY51" fmla="*/ 175926 h 456723"/>
                  <a:gd name="connsiteX52" fmla="*/ 277654 w 3445003"/>
                  <a:gd name="connsiteY52" fmla="*/ 181927 h 456723"/>
                  <a:gd name="connsiteX53" fmla="*/ 283941 w 3445003"/>
                  <a:gd name="connsiteY53" fmla="*/ 181927 h 456723"/>
                  <a:gd name="connsiteX54" fmla="*/ 283941 w 3445003"/>
                  <a:gd name="connsiteY54" fmla="*/ 194119 h 456723"/>
                  <a:gd name="connsiteX55" fmla="*/ 286036 w 3445003"/>
                  <a:gd name="connsiteY55" fmla="*/ 194119 h 456723"/>
                  <a:gd name="connsiteX56" fmla="*/ 286036 w 3445003"/>
                  <a:gd name="connsiteY56" fmla="*/ 200215 h 456723"/>
                  <a:gd name="connsiteX57" fmla="*/ 298609 w 3445003"/>
                  <a:gd name="connsiteY57" fmla="*/ 200215 h 456723"/>
                  <a:gd name="connsiteX58" fmla="*/ 298609 w 3445003"/>
                  <a:gd name="connsiteY58" fmla="*/ 206216 h 456723"/>
                  <a:gd name="connsiteX59" fmla="*/ 321755 w 3445003"/>
                  <a:gd name="connsiteY59" fmla="*/ 206216 h 456723"/>
                  <a:gd name="connsiteX60" fmla="*/ 321755 w 3445003"/>
                  <a:gd name="connsiteY60" fmla="*/ 212312 h 456723"/>
                  <a:gd name="connsiteX61" fmla="*/ 328137 w 3445003"/>
                  <a:gd name="connsiteY61" fmla="*/ 212312 h 456723"/>
                  <a:gd name="connsiteX62" fmla="*/ 328137 w 3445003"/>
                  <a:gd name="connsiteY62" fmla="*/ 218408 h 456723"/>
                  <a:gd name="connsiteX63" fmla="*/ 336519 w 3445003"/>
                  <a:gd name="connsiteY63" fmla="*/ 218408 h 456723"/>
                  <a:gd name="connsiteX64" fmla="*/ 336519 w 3445003"/>
                  <a:gd name="connsiteY64" fmla="*/ 224409 h 456723"/>
                  <a:gd name="connsiteX65" fmla="*/ 344901 w 3445003"/>
                  <a:gd name="connsiteY65" fmla="*/ 224409 h 456723"/>
                  <a:gd name="connsiteX66" fmla="*/ 344901 w 3445003"/>
                  <a:gd name="connsiteY66" fmla="*/ 230505 h 456723"/>
                  <a:gd name="connsiteX67" fmla="*/ 349092 w 3445003"/>
                  <a:gd name="connsiteY67" fmla="*/ 230505 h 456723"/>
                  <a:gd name="connsiteX68" fmla="*/ 349092 w 3445003"/>
                  <a:gd name="connsiteY68" fmla="*/ 236601 h 456723"/>
                  <a:gd name="connsiteX69" fmla="*/ 422720 w 3445003"/>
                  <a:gd name="connsiteY69" fmla="*/ 236601 h 456723"/>
                  <a:gd name="connsiteX70" fmla="*/ 422720 w 3445003"/>
                  <a:gd name="connsiteY70" fmla="*/ 242601 h 456723"/>
                  <a:gd name="connsiteX71" fmla="*/ 443770 w 3445003"/>
                  <a:gd name="connsiteY71" fmla="*/ 242601 h 456723"/>
                  <a:gd name="connsiteX72" fmla="*/ 443770 w 3445003"/>
                  <a:gd name="connsiteY72" fmla="*/ 248697 h 456723"/>
                  <a:gd name="connsiteX73" fmla="*/ 450057 w 3445003"/>
                  <a:gd name="connsiteY73" fmla="*/ 248697 h 456723"/>
                  <a:gd name="connsiteX74" fmla="*/ 450057 w 3445003"/>
                  <a:gd name="connsiteY74" fmla="*/ 254793 h 456723"/>
                  <a:gd name="connsiteX75" fmla="*/ 492157 w 3445003"/>
                  <a:gd name="connsiteY75" fmla="*/ 254793 h 456723"/>
                  <a:gd name="connsiteX76" fmla="*/ 492157 w 3445003"/>
                  <a:gd name="connsiteY76" fmla="*/ 260794 h 456723"/>
                  <a:gd name="connsiteX77" fmla="*/ 506826 w 3445003"/>
                  <a:gd name="connsiteY77" fmla="*/ 260794 h 456723"/>
                  <a:gd name="connsiteX78" fmla="*/ 506826 w 3445003"/>
                  <a:gd name="connsiteY78" fmla="*/ 266890 h 456723"/>
                  <a:gd name="connsiteX79" fmla="*/ 536353 w 3445003"/>
                  <a:gd name="connsiteY79" fmla="*/ 266890 h 456723"/>
                  <a:gd name="connsiteX80" fmla="*/ 536353 w 3445003"/>
                  <a:gd name="connsiteY80" fmla="*/ 272986 h 456723"/>
                  <a:gd name="connsiteX81" fmla="*/ 538449 w 3445003"/>
                  <a:gd name="connsiteY81" fmla="*/ 272986 h 456723"/>
                  <a:gd name="connsiteX82" fmla="*/ 538449 w 3445003"/>
                  <a:gd name="connsiteY82" fmla="*/ 278987 h 456723"/>
                  <a:gd name="connsiteX83" fmla="*/ 561499 w 3445003"/>
                  <a:gd name="connsiteY83" fmla="*/ 278987 h 456723"/>
                  <a:gd name="connsiteX84" fmla="*/ 561499 w 3445003"/>
                  <a:gd name="connsiteY84" fmla="*/ 285083 h 456723"/>
                  <a:gd name="connsiteX85" fmla="*/ 574168 w 3445003"/>
                  <a:gd name="connsiteY85" fmla="*/ 285083 h 456723"/>
                  <a:gd name="connsiteX86" fmla="*/ 574168 w 3445003"/>
                  <a:gd name="connsiteY86" fmla="*/ 291179 h 456723"/>
                  <a:gd name="connsiteX87" fmla="*/ 609886 w 3445003"/>
                  <a:gd name="connsiteY87" fmla="*/ 291179 h 456723"/>
                  <a:gd name="connsiteX88" fmla="*/ 609886 w 3445003"/>
                  <a:gd name="connsiteY88" fmla="*/ 297275 h 456723"/>
                  <a:gd name="connsiteX89" fmla="*/ 725615 w 3445003"/>
                  <a:gd name="connsiteY89" fmla="*/ 297275 h 456723"/>
                  <a:gd name="connsiteX90" fmla="*/ 725615 w 3445003"/>
                  <a:gd name="connsiteY90" fmla="*/ 303276 h 456723"/>
                  <a:gd name="connsiteX91" fmla="*/ 763429 w 3445003"/>
                  <a:gd name="connsiteY91" fmla="*/ 303276 h 456723"/>
                  <a:gd name="connsiteX92" fmla="*/ 763429 w 3445003"/>
                  <a:gd name="connsiteY92" fmla="*/ 309467 h 456723"/>
                  <a:gd name="connsiteX93" fmla="*/ 816007 w 3445003"/>
                  <a:gd name="connsiteY93" fmla="*/ 309467 h 456723"/>
                  <a:gd name="connsiteX94" fmla="*/ 816007 w 3445003"/>
                  <a:gd name="connsiteY94" fmla="*/ 315563 h 456723"/>
                  <a:gd name="connsiteX95" fmla="*/ 834962 w 3445003"/>
                  <a:gd name="connsiteY95" fmla="*/ 315563 h 456723"/>
                  <a:gd name="connsiteX96" fmla="*/ 834962 w 3445003"/>
                  <a:gd name="connsiteY96" fmla="*/ 321659 h 456723"/>
                  <a:gd name="connsiteX97" fmla="*/ 845440 w 3445003"/>
                  <a:gd name="connsiteY97" fmla="*/ 321659 h 456723"/>
                  <a:gd name="connsiteX98" fmla="*/ 845440 w 3445003"/>
                  <a:gd name="connsiteY98" fmla="*/ 327850 h 456723"/>
                  <a:gd name="connsiteX99" fmla="*/ 879158 w 3445003"/>
                  <a:gd name="connsiteY99" fmla="*/ 327850 h 456723"/>
                  <a:gd name="connsiteX100" fmla="*/ 879158 w 3445003"/>
                  <a:gd name="connsiteY100" fmla="*/ 333946 h 456723"/>
                  <a:gd name="connsiteX101" fmla="*/ 885445 w 3445003"/>
                  <a:gd name="connsiteY101" fmla="*/ 333946 h 456723"/>
                  <a:gd name="connsiteX102" fmla="*/ 885445 w 3445003"/>
                  <a:gd name="connsiteY102" fmla="*/ 340042 h 456723"/>
                  <a:gd name="connsiteX103" fmla="*/ 900113 w 3445003"/>
                  <a:gd name="connsiteY103" fmla="*/ 340042 h 456723"/>
                  <a:gd name="connsiteX104" fmla="*/ 900113 w 3445003"/>
                  <a:gd name="connsiteY104" fmla="*/ 346138 h 456723"/>
                  <a:gd name="connsiteX105" fmla="*/ 912781 w 3445003"/>
                  <a:gd name="connsiteY105" fmla="*/ 346138 h 456723"/>
                  <a:gd name="connsiteX106" fmla="*/ 912781 w 3445003"/>
                  <a:gd name="connsiteY106" fmla="*/ 352329 h 456723"/>
                  <a:gd name="connsiteX107" fmla="*/ 938023 w 3445003"/>
                  <a:gd name="connsiteY107" fmla="*/ 352329 h 456723"/>
                  <a:gd name="connsiteX108" fmla="*/ 938023 w 3445003"/>
                  <a:gd name="connsiteY108" fmla="*/ 358425 h 456723"/>
                  <a:gd name="connsiteX109" fmla="*/ 1167289 w 3445003"/>
                  <a:gd name="connsiteY109" fmla="*/ 358425 h 456723"/>
                  <a:gd name="connsiteX110" fmla="*/ 1167289 w 3445003"/>
                  <a:gd name="connsiteY110" fmla="*/ 364617 h 456723"/>
                  <a:gd name="connsiteX111" fmla="*/ 1280827 w 3445003"/>
                  <a:gd name="connsiteY111" fmla="*/ 364617 h 456723"/>
                  <a:gd name="connsiteX112" fmla="*/ 1280827 w 3445003"/>
                  <a:gd name="connsiteY112" fmla="*/ 370808 h 456723"/>
                  <a:gd name="connsiteX113" fmla="*/ 1550004 w 3445003"/>
                  <a:gd name="connsiteY113" fmla="*/ 370808 h 456723"/>
                  <a:gd name="connsiteX114" fmla="*/ 1550004 w 3445003"/>
                  <a:gd name="connsiteY114" fmla="*/ 377094 h 456723"/>
                  <a:gd name="connsiteX115" fmla="*/ 1623632 w 3445003"/>
                  <a:gd name="connsiteY115" fmla="*/ 377094 h 456723"/>
                  <a:gd name="connsiteX116" fmla="*/ 1623632 w 3445003"/>
                  <a:gd name="connsiteY116" fmla="*/ 383381 h 456723"/>
                  <a:gd name="connsiteX117" fmla="*/ 1703547 w 3445003"/>
                  <a:gd name="connsiteY117" fmla="*/ 383381 h 456723"/>
                  <a:gd name="connsiteX118" fmla="*/ 1703547 w 3445003"/>
                  <a:gd name="connsiteY118" fmla="*/ 389667 h 456723"/>
                  <a:gd name="connsiteX119" fmla="*/ 1865472 w 3445003"/>
                  <a:gd name="connsiteY119" fmla="*/ 389667 h 456723"/>
                  <a:gd name="connsiteX120" fmla="*/ 1865472 w 3445003"/>
                  <a:gd name="connsiteY120" fmla="*/ 396144 h 456723"/>
                  <a:gd name="connsiteX121" fmla="*/ 1882331 w 3445003"/>
                  <a:gd name="connsiteY121" fmla="*/ 396144 h 456723"/>
                  <a:gd name="connsiteX122" fmla="*/ 1882331 w 3445003"/>
                  <a:gd name="connsiteY122" fmla="*/ 402526 h 456723"/>
                  <a:gd name="connsiteX123" fmla="*/ 2000155 w 3445003"/>
                  <a:gd name="connsiteY123" fmla="*/ 402526 h 456723"/>
                  <a:gd name="connsiteX124" fmla="*/ 2000155 w 3445003"/>
                  <a:gd name="connsiteY124" fmla="*/ 409003 h 456723"/>
                  <a:gd name="connsiteX125" fmla="*/ 2092643 w 3445003"/>
                  <a:gd name="connsiteY125" fmla="*/ 409003 h 456723"/>
                  <a:gd name="connsiteX126" fmla="*/ 2092643 w 3445003"/>
                  <a:gd name="connsiteY126" fmla="*/ 415385 h 456723"/>
                  <a:gd name="connsiteX127" fmla="*/ 2111598 w 3445003"/>
                  <a:gd name="connsiteY127" fmla="*/ 415385 h 456723"/>
                  <a:gd name="connsiteX128" fmla="*/ 2111598 w 3445003"/>
                  <a:gd name="connsiteY128" fmla="*/ 421862 h 456723"/>
                  <a:gd name="connsiteX129" fmla="*/ 2965419 w 3445003"/>
                  <a:gd name="connsiteY129" fmla="*/ 421862 h 456723"/>
                  <a:gd name="connsiteX130" fmla="*/ 2965419 w 3445003"/>
                  <a:gd name="connsiteY130" fmla="*/ 456723 h 456723"/>
                  <a:gd name="connsiteX131" fmla="*/ 3445003 w 3445003"/>
                  <a:gd name="connsiteY131" fmla="*/ 456723 h 456723"/>
                  <a:gd name="connsiteX0" fmla="*/ 0 w 3445003"/>
                  <a:gd name="connsiteY0" fmla="*/ 0 h 456723"/>
                  <a:gd name="connsiteX1" fmla="*/ 8383 w 3445003"/>
                  <a:gd name="connsiteY1" fmla="*/ 6096 h 456723"/>
                  <a:gd name="connsiteX2" fmla="*/ 23146 w 3445003"/>
                  <a:gd name="connsiteY2" fmla="*/ 6096 h 456723"/>
                  <a:gd name="connsiteX3" fmla="*/ 23146 w 3445003"/>
                  <a:gd name="connsiteY3" fmla="*/ 12096 h 456723"/>
                  <a:gd name="connsiteX4" fmla="*/ 27337 w 3445003"/>
                  <a:gd name="connsiteY4" fmla="*/ 12096 h 456723"/>
                  <a:gd name="connsiteX5" fmla="*/ 27337 w 3445003"/>
                  <a:gd name="connsiteY5" fmla="*/ 18192 h 456723"/>
                  <a:gd name="connsiteX6" fmla="*/ 31528 w 3445003"/>
                  <a:gd name="connsiteY6" fmla="*/ 18192 h 456723"/>
                  <a:gd name="connsiteX7" fmla="*/ 31528 w 3445003"/>
                  <a:gd name="connsiteY7" fmla="*/ 24288 h 456723"/>
                  <a:gd name="connsiteX8" fmla="*/ 44197 w 3445003"/>
                  <a:gd name="connsiteY8" fmla="*/ 24288 h 456723"/>
                  <a:gd name="connsiteX9" fmla="*/ 44197 w 3445003"/>
                  <a:gd name="connsiteY9" fmla="*/ 30289 h 456723"/>
                  <a:gd name="connsiteX10" fmla="*/ 73629 w 3445003"/>
                  <a:gd name="connsiteY10" fmla="*/ 30289 h 456723"/>
                  <a:gd name="connsiteX11" fmla="*/ 73629 w 3445003"/>
                  <a:gd name="connsiteY11" fmla="*/ 36385 h 456723"/>
                  <a:gd name="connsiteX12" fmla="*/ 82011 w 3445003"/>
                  <a:gd name="connsiteY12" fmla="*/ 36385 h 456723"/>
                  <a:gd name="connsiteX13" fmla="*/ 82011 w 3445003"/>
                  <a:gd name="connsiteY13" fmla="*/ 42481 h 456723"/>
                  <a:gd name="connsiteX14" fmla="*/ 84106 w 3445003"/>
                  <a:gd name="connsiteY14" fmla="*/ 42481 h 456723"/>
                  <a:gd name="connsiteX15" fmla="*/ 84106 w 3445003"/>
                  <a:gd name="connsiteY15" fmla="*/ 48482 h 456723"/>
                  <a:gd name="connsiteX16" fmla="*/ 98870 w 3445003"/>
                  <a:gd name="connsiteY16" fmla="*/ 48482 h 456723"/>
                  <a:gd name="connsiteX17" fmla="*/ 98870 w 3445003"/>
                  <a:gd name="connsiteY17" fmla="*/ 60674 h 456723"/>
                  <a:gd name="connsiteX18" fmla="*/ 100966 w 3445003"/>
                  <a:gd name="connsiteY18" fmla="*/ 60674 h 456723"/>
                  <a:gd name="connsiteX19" fmla="*/ 100966 w 3445003"/>
                  <a:gd name="connsiteY19" fmla="*/ 66675 h 456723"/>
                  <a:gd name="connsiteX20" fmla="*/ 107252 w 3445003"/>
                  <a:gd name="connsiteY20" fmla="*/ 66675 h 456723"/>
                  <a:gd name="connsiteX21" fmla="*/ 107252 w 3445003"/>
                  <a:gd name="connsiteY21" fmla="*/ 72771 h 456723"/>
                  <a:gd name="connsiteX22" fmla="*/ 111443 w 3445003"/>
                  <a:gd name="connsiteY22" fmla="*/ 72771 h 456723"/>
                  <a:gd name="connsiteX23" fmla="*/ 111443 w 3445003"/>
                  <a:gd name="connsiteY23" fmla="*/ 78867 h 456723"/>
                  <a:gd name="connsiteX24" fmla="*/ 128302 w 3445003"/>
                  <a:gd name="connsiteY24" fmla="*/ 78867 h 456723"/>
                  <a:gd name="connsiteX25" fmla="*/ 128302 w 3445003"/>
                  <a:gd name="connsiteY25" fmla="*/ 90963 h 456723"/>
                  <a:gd name="connsiteX26" fmla="*/ 132493 w 3445003"/>
                  <a:gd name="connsiteY26" fmla="*/ 90963 h 456723"/>
                  <a:gd name="connsiteX27" fmla="*/ 132493 w 3445003"/>
                  <a:gd name="connsiteY27" fmla="*/ 97059 h 456723"/>
                  <a:gd name="connsiteX28" fmla="*/ 155639 w 3445003"/>
                  <a:gd name="connsiteY28" fmla="*/ 97059 h 456723"/>
                  <a:gd name="connsiteX29" fmla="*/ 155639 w 3445003"/>
                  <a:gd name="connsiteY29" fmla="*/ 103155 h 456723"/>
                  <a:gd name="connsiteX30" fmla="*/ 159830 w 3445003"/>
                  <a:gd name="connsiteY30" fmla="*/ 103155 h 456723"/>
                  <a:gd name="connsiteX31" fmla="*/ 159830 w 3445003"/>
                  <a:gd name="connsiteY31" fmla="*/ 109156 h 456723"/>
                  <a:gd name="connsiteX32" fmla="*/ 166117 w 3445003"/>
                  <a:gd name="connsiteY32" fmla="*/ 109156 h 456723"/>
                  <a:gd name="connsiteX33" fmla="*/ 166117 w 3445003"/>
                  <a:gd name="connsiteY33" fmla="*/ 121348 h 456723"/>
                  <a:gd name="connsiteX34" fmla="*/ 185071 w 3445003"/>
                  <a:gd name="connsiteY34" fmla="*/ 121348 h 456723"/>
                  <a:gd name="connsiteX35" fmla="*/ 185071 w 3445003"/>
                  <a:gd name="connsiteY35" fmla="*/ 127349 h 456723"/>
                  <a:gd name="connsiteX36" fmla="*/ 193453 w 3445003"/>
                  <a:gd name="connsiteY36" fmla="*/ 127349 h 456723"/>
                  <a:gd name="connsiteX37" fmla="*/ 193453 w 3445003"/>
                  <a:gd name="connsiteY37" fmla="*/ 133445 h 456723"/>
                  <a:gd name="connsiteX38" fmla="*/ 206122 w 3445003"/>
                  <a:gd name="connsiteY38" fmla="*/ 133445 h 456723"/>
                  <a:gd name="connsiteX39" fmla="*/ 206122 w 3445003"/>
                  <a:gd name="connsiteY39" fmla="*/ 139541 h 456723"/>
                  <a:gd name="connsiteX40" fmla="*/ 222981 w 3445003"/>
                  <a:gd name="connsiteY40" fmla="*/ 139541 h 456723"/>
                  <a:gd name="connsiteX41" fmla="*/ 222981 w 3445003"/>
                  <a:gd name="connsiteY41" fmla="*/ 145542 h 456723"/>
                  <a:gd name="connsiteX42" fmla="*/ 250318 w 3445003"/>
                  <a:gd name="connsiteY42" fmla="*/ 145542 h 456723"/>
                  <a:gd name="connsiteX43" fmla="*/ 250318 w 3445003"/>
                  <a:gd name="connsiteY43" fmla="*/ 151638 h 456723"/>
                  <a:gd name="connsiteX44" fmla="*/ 252413 w 3445003"/>
                  <a:gd name="connsiteY44" fmla="*/ 151638 h 456723"/>
                  <a:gd name="connsiteX45" fmla="*/ 252413 w 3445003"/>
                  <a:gd name="connsiteY45" fmla="*/ 157734 h 456723"/>
                  <a:gd name="connsiteX46" fmla="*/ 262890 w 3445003"/>
                  <a:gd name="connsiteY46" fmla="*/ 157734 h 456723"/>
                  <a:gd name="connsiteX47" fmla="*/ 262890 w 3445003"/>
                  <a:gd name="connsiteY47" fmla="*/ 163734 h 456723"/>
                  <a:gd name="connsiteX48" fmla="*/ 269177 w 3445003"/>
                  <a:gd name="connsiteY48" fmla="*/ 163734 h 456723"/>
                  <a:gd name="connsiteX49" fmla="*/ 269177 w 3445003"/>
                  <a:gd name="connsiteY49" fmla="*/ 175926 h 456723"/>
                  <a:gd name="connsiteX50" fmla="*/ 277654 w 3445003"/>
                  <a:gd name="connsiteY50" fmla="*/ 175926 h 456723"/>
                  <a:gd name="connsiteX51" fmla="*/ 277654 w 3445003"/>
                  <a:gd name="connsiteY51" fmla="*/ 181927 h 456723"/>
                  <a:gd name="connsiteX52" fmla="*/ 283941 w 3445003"/>
                  <a:gd name="connsiteY52" fmla="*/ 181927 h 456723"/>
                  <a:gd name="connsiteX53" fmla="*/ 283941 w 3445003"/>
                  <a:gd name="connsiteY53" fmla="*/ 194119 h 456723"/>
                  <a:gd name="connsiteX54" fmla="*/ 286036 w 3445003"/>
                  <a:gd name="connsiteY54" fmla="*/ 194119 h 456723"/>
                  <a:gd name="connsiteX55" fmla="*/ 286036 w 3445003"/>
                  <a:gd name="connsiteY55" fmla="*/ 200215 h 456723"/>
                  <a:gd name="connsiteX56" fmla="*/ 298609 w 3445003"/>
                  <a:gd name="connsiteY56" fmla="*/ 200215 h 456723"/>
                  <a:gd name="connsiteX57" fmla="*/ 298609 w 3445003"/>
                  <a:gd name="connsiteY57" fmla="*/ 206216 h 456723"/>
                  <a:gd name="connsiteX58" fmla="*/ 321755 w 3445003"/>
                  <a:gd name="connsiteY58" fmla="*/ 206216 h 456723"/>
                  <a:gd name="connsiteX59" fmla="*/ 321755 w 3445003"/>
                  <a:gd name="connsiteY59" fmla="*/ 212312 h 456723"/>
                  <a:gd name="connsiteX60" fmla="*/ 328137 w 3445003"/>
                  <a:gd name="connsiteY60" fmla="*/ 212312 h 456723"/>
                  <a:gd name="connsiteX61" fmla="*/ 328137 w 3445003"/>
                  <a:gd name="connsiteY61" fmla="*/ 218408 h 456723"/>
                  <a:gd name="connsiteX62" fmla="*/ 336519 w 3445003"/>
                  <a:gd name="connsiteY62" fmla="*/ 218408 h 456723"/>
                  <a:gd name="connsiteX63" fmla="*/ 336519 w 3445003"/>
                  <a:gd name="connsiteY63" fmla="*/ 224409 h 456723"/>
                  <a:gd name="connsiteX64" fmla="*/ 344901 w 3445003"/>
                  <a:gd name="connsiteY64" fmla="*/ 224409 h 456723"/>
                  <a:gd name="connsiteX65" fmla="*/ 344901 w 3445003"/>
                  <a:gd name="connsiteY65" fmla="*/ 230505 h 456723"/>
                  <a:gd name="connsiteX66" fmla="*/ 349092 w 3445003"/>
                  <a:gd name="connsiteY66" fmla="*/ 230505 h 456723"/>
                  <a:gd name="connsiteX67" fmla="*/ 349092 w 3445003"/>
                  <a:gd name="connsiteY67" fmla="*/ 236601 h 456723"/>
                  <a:gd name="connsiteX68" fmla="*/ 422720 w 3445003"/>
                  <a:gd name="connsiteY68" fmla="*/ 236601 h 456723"/>
                  <a:gd name="connsiteX69" fmla="*/ 422720 w 3445003"/>
                  <a:gd name="connsiteY69" fmla="*/ 242601 h 456723"/>
                  <a:gd name="connsiteX70" fmla="*/ 443770 w 3445003"/>
                  <a:gd name="connsiteY70" fmla="*/ 242601 h 456723"/>
                  <a:gd name="connsiteX71" fmla="*/ 443770 w 3445003"/>
                  <a:gd name="connsiteY71" fmla="*/ 248697 h 456723"/>
                  <a:gd name="connsiteX72" fmla="*/ 450057 w 3445003"/>
                  <a:gd name="connsiteY72" fmla="*/ 248697 h 456723"/>
                  <a:gd name="connsiteX73" fmla="*/ 450057 w 3445003"/>
                  <a:gd name="connsiteY73" fmla="*/ 254793 h 456723"/>
                  <a:gd name="connsiteX74" fmla="*/ 492157 w 3445003"/>
                  <a:gd name="connsiteY74" fmla="*/ 254793 h 456723"/>
                  <a:gd name="connsiteX75" fmla="*/ 492157 w 3445003"/>
                  <a:gd name="connsiteY75" fmla="*/ 260794 h 456723"/>
                  <a:gd name="connsiteX76" fmla="*/ 506826 w 3445003"/>
                  <a:gd name="connsiteY76" fmla="*/ 260794 h 456723"/>
                  <a:gd name="connsiteX77" fmla="*/ 506826 w 3445003"/>
                  <a:gd name="connsiteY77" fmla="*/ 266890 h 456723"/>
                  <a:gd name="connsiteX78" fmla="*/ 536353 w 3445003"/>
                  <a:gd name="connsiteY78" fmla="*/ 266890 h 456723"/>
                  <a:gd name="connsiteX79" fmla="*/ 536353 w 3445003"/>
                  <a:gd name="connsiteY79" fmla="*/ 272986 h 456723"/>
                  <a:gd name="connsiteX80" fmla="*/ 538449 w 3445003"/>
                  <a:gd name="connsiteY80" fmla="*/ 272986 h 456723"/>
                  <a:gd name="connsiteX81" fmla="*/ 538449 w 3445003"/>
                  <a:gd name="connsiteY81" fmla="*/ 278987 h 456723"/>
                  <a:gd name="connsiteX82" fmla="*/ 561499 w 3445003"/>
                  <a:gd name="connsiteY82" fmla="*/ 278987 h 456723"/>
                  <a:gd name="connsiteX83" fmla="*/ 561499 w 3445003"/>
                  <a:gd name="connsiteY83" fmla="*/ 285083 h 456723"/>
                  <a:gd name="connsiteX84" fmla="*/ 574168 w 3445003"/>
                  <a:gd name="connsiteY84" fmla="*/ 285083 h 456723"/>
                  <a:gd name="connsiteX85" fmla="*/ 574168 w 3445003"/>
                  <a:gd name="connsiteY85" fmla="*/ 291179 h 456723"/>
                  <a:gd name="connsiteX86" fmla="*/ 609886 w 3445003"/>
                  <a:gd name="connsiteY86" fmla="*/ 291179 h 456723"/>
                  <a:gd name="connsiteX87" fmla="*/ 609886 w 3445003"/>
                  <a:gd name="connsiteY87" fmla="*/ 297275 h 456723"/>
                  <a:gd name="connsiteX88" fmla="*/ 725615 w 3445003"/>
                  <a:gd name="connsiteY88" fmla="*/ 297275 h 456723"/>
                  <a:gd name="connsiteX89" fmla="*/ 725615 w 3445003"/>
                  <a:gd name="connsiteY89" fmla="*/ 303276 h 456723"/>
                  <a:gd name="connsiteX90" fmla="*/ 763429 w 3445003"/>
                  <a:gd name="connsiteY90" fmla="*/ 303276 h 456723"/>
                  <a:gd name="connsiteX91" fmla="*/ 763429 w 3445003"/>
                  <a:gd name="connsiteY91" fmla="*/ 309467 h 456723"/>
                  <a:gd name="connsiteX92" fmla="*/ 816007 w 3445003"/>
                  <a:gd name="connsiteY92" fmla="*/ 309467 h 456723"/>
                  <a:gd name="connsiteX93" fmla="*/ 816007 w 3445003"/>
                  <a:gd name="connsiteY93" fmla="*/ 315563 h 456723"/>
                  <a:gd name="connsiteX94" fmla="*/ 834962 w 3445003"/>
                  <a:gd name="connsiteY94" fmla="*/ 315563 h 456723"/>
                  <a:gd name="connsiteX95" fmla="*/ 834962 w 3445003"/>
                  <a:gd name="connsiteY95" fmla="*/ 321659 h 456723"/>
                  <a:gd name="connsiteX96" fmla="*/ 845440 w 3445003"/>
                  <a:gd name="connsiteY96" fmla="*/ 321659 h 456723"/>
                  <a:gd name="connsiteX97" fmla="*/ 845440 w 3445003"/>
                  <a:gd name="connsiteY97" fmla="*/ 327850 h 456723"/>
                  <a:gd name="connsiteX98" fmla="*/ 879158 w 3445003"/>
                  <a:gd name="connsiteY98" fmla="*/ 327850 h 456723"/>
                  <a:gd name="connsiteX99" fmla="*/ 879158 w 3445003"/>
                  <a:gd name="connsiteY99" fmla="*/ 333946 h 456723"/>
                  <a:gd name="connsiteX100" fmla="*/ 885445 w 3445003"/>
                  <a:gd name="connsiteY100" fmla="*/ 333946 h 456723"/>
                  <a:gd name="connsiteX101" fmla="*/ 885445 w 3445003"/>
                  <a:gd name="connsiteY101" fmla="*/ 340042 h 456723"/>
                  <a:gd name="connsiteX102" fmla="*/ 900113 w 3445003"/>
                  <a:gd name="connsiteY102" fmla="*/ 340042 h 456723"/>
                  <a:gd name="connsiteX103" fmla="*/ 900113 w 3445003"/>
                  <a:gd name="connsiteY103" fmla="*/ 346138 h 456723"/>
                  <a:gd name="connsiteX104" fmla="*/ 912781 w 3445003"/>
                  <a:gd name="connsiteY104" fmla="*/ 346138 h 456723"/>
                  <a:gd name="connsiteX105" fmla="*/ 912781 w 3445003"/>
                  <a:gd name="connsiteY105" fmla="*/ 352329 h 456723"/>
                  <a:gd name="connsiteX106" fmla="*/ 938023 w 3445003"/>
                  <a:gd name="connsiteY106" fmla="*/ 352329 h 456723"/>
                  <a:gd name="connsiteX107" fmla="*/ 938023 w 3445003"/>
                  <a:gd name="connsiteY107" fmla="*/ 358425 h 456723"/>
                  <a:gd name="connsiteX108" fmla="*/ 1167289 w 3445003"/>
                  <a:gd name="connsiteY108" fmla="*/ 358425 h 456723"/>
                  <a:gd name="connsiteX109" fmla="*/ 1167289 w 3445003"/>
                  <a:gd name="connsiteY109" fmla="*/ 364617 h 456723"/>
                  <a:gd name="connsiteX110" fmla="*/ 1280827 w 3445003"/>
                  <a:gd name="connsiteY110" fmla="*/ 364617 h 456723"/>
                  <a:gd name="connsiteX111" fmla="*/ 1280827 w 3445003"/>
                  <a:gd name="connsiteY111" fmla="*/ 370808 h 456723"/>
                  <a:gd name="connsiteX112" fmla="*/ 1550004 w 3445003"/>
                  <a:gd name="connsiteY112" fmla="*/ 370808 h 456723"/>
                  <a:gd name="connsiteX113" fmla="*/ 1550004 w 3445003"/>
                  <a:gd name="connsiteY113" fmla="*/ 377094 h 456723"/>
                  <a:gd name="connsiteX114" fmla="*/ 1623632 w 3445003"/>
                  <a:gd name="connsiteY114" fmla="*/ 377094 h 456723"/>
                  <a:gd name="connsiteX115" fmla="*/ 1623632 w 3445003"/>
                  <a:gd name="connsiteY115" fmla="*/ 383381 h 456723"/>
                  <a:gd name="connsiteX116" fmla="*/ 1703547 w 3445003"/>
                  <a:gd name="connsiteY116" fmla="*/ 383381 h 456723"/>
                  <a:gd name="connsiteX117" fmla="*/ 1703547 w 3445003"/>
                  <a:gd name="connsiteY117" fmla="*/ 389667 h 456723"/>
                  <a:gd name="connsiteX118" fmla="*/ 1865472 w 3445003"/>
                  <a:gd name="connsiteY118" fmla="*/ 389667 h 456723"/>
                  <a:gd name="connsiteX119" fmla="*/ 1865472 w 3445003"/>
                  <a:gd name="connsiteY119" fmla="*/ 396144 h 456723"/>
                  <a:gd name="connsiteX120" fmla="*/ 1882331 w 3445003"/>
                  <a:gd name="connsiteY120" fmla="*/ 396144 h 456723"/>
                  <a:gd name="connsiteX121" fmla="*/ 1882331 w 3445003"/>
                  <a:gd name="connsiteY121" fmla="*/ 402526 h 456723"/>
                  <a:gd name="connsiteX122" fmla="*/ 2000155 w 3445003"/>
                  <a:gd name="connsiteY122" fmla="*/ 402526 h 456723"/>
                  <a:gd name="connsiteX123" fmla="*/ 2000155 w 3445003"/>
                  <a:gd name="connsiteY123" fmla="*/ 409003 h 456723"/>
                  <a:gd name="connsiteX124" fmla="*/ 2092643 w 3445003"/>
                  <a:gd name="connsiteY124" fmla="*/ 409003 h 456723"/>
                  <a:gd name="connsiteX125" fmla="*/ 2092643 w 3445003"/>
                  <a:gd name="connsiteY125" fmla="*/ 415385 h 456723"/>
                  <a:gd name="connsiteX126" fmla="*/ 2111598 w 3445003"/>
                  <a:gd name="connsiteY126" fmla="*/ 415385 h 456723"/>
                  <a:gd name="connsiteX127" fmla="*/ 2111598 w 3445003"/>
                  <a:gd name="connsiteY127" fmla="*/ 421862 h 456723"/>
                  <a:gd name="connsiteX128" fmla="*/ 2965419 w 3445003"/>
                  <a:gd name="connsiteY128" fmla="*/ 421862 h 456723"/>
                  <a:gd name="connsiteX129" fmla="*/ 2965419 w 3445003"/>
                  <a:gd name="connsiteY129" fmla="*/ 456723 h 456723"/>
                  <a:gd name="connsiteX130" fmla="*/ 3445003 w 3445003"/>
                  <a:gd name="connsiteY130" fmla="*/ 456723 h 456723"/>
                  <a:gd name="connsiteX0" fmla="*/ 0 w 3436620"/>
                  <a:gd name="connsiteY0" fmla="*/ 0 h 450627"/>
                  <a:gd name="connsiteX1" fmla="*/ 14763 w 3436620"/>
                  <a:gd name="connsiteY1" fmla="*/ 0 h 450627"/>
                  <a:gd name="connsiteX2" fmla="*/ 14763 w 3436620"/>
                  <a:gd name="connsiteY2" fmla="*/ 6000 h 450627"/>
                  <a:gd name="connsiteX3" fmla="*/ 18954 w 3436620"/>
                  <a:gd name="connsiteY3" fmla="*/ 6000 h 450627"/>
                  <a:gd name="connsiteX4" fmla="*/ 18954 w 3436620"/>
                  <a:gd name="connsiteY4" fmla="*/ 12096 h 450627"/>
                  <a:gd name="connsiteX5" fmla="*/ 23145 w 3436620"/>
                  <a:gd name="connsiteY5" fmla="*/ 12096 h 450627"/>
                  <a:gd name="connsiteX6" fmla="*/ 23145 w 3436620"/>
                  <a:gd name="connsiteY6" fmla="*/ 18192 h 450627"/>
                  <a:gd name="connsiteX7" fmla="*/ 35814 w 3436620"/>
                  <a:gd name="connsiteY7" fmla="*/ 18192 h 450627"/>
                  <a:gd name="connsiteX8" fmla="*/ 35814 w 3436620"/>
                  <a:gd name="connsiteY8" fmla="*/ 24193 h 450627"/>
                  <a:gd name="connsiteX9" fmla="*/ 65246 w 3436620"/>
                  <a:gd name="connsiteY9" fmla="*/ 24193 h 450627"/>
                  <a:gd name="connsiteX10" fmla="*/ 65246 w 3436620"/>
                  <a:gd name="connsiteY10" fmla="*/ 30289 h 450627"/>
                  <a:gd name="connsiteX11" fmla="*/ 73628 w 3436620"/>
                  <a:gd name="connsiteY11" fmla="*/ 30289 h 450627"/>
                  <a:gd name="connsiteX12" fmla="*/ 73628 w 3436620"/>
                  <a:gd name="connsiteY12" fmla="*/ 36385 h 450627"/>
                  <a:gd name="connsiteX13" fmla="*/ 75723 w 3436620"/>
                  <a:gd name="connsiteY13" fmla="*/ 36385 h 450627"/>
                  <a:gd name="connsiteX14" fmla="*/ 75723 w 3436620"/>
                  <a:gd name="connsiteY14" fmla="*/ 42386 h 450627"/>
                  <a:gd name="connsiteX15" fmla="*/ 90487 w 3436620"/>
                  <a:gd name="connsiteY15" fmla="*/ 42386 h 450627"/>
                  <a:gd name="connsiteX16" fmla="*/ 90487 w 3436620"/>
                  <a:gd name="connsiteY16" fmla="*/ 54578 h 450627"/>
                  <a:gd name="connsiteX17" fmla="*/ 92583 w 3436620"/>
                  <a:gd name="connsiteY17" fmla="*/ 54578 h 450627"/>
                  <a:gd name="connsiteX18" fmla="*/ 92583 w 3436620"/>
                  <a:gd name="connsiteY18" fmla="*/ 60579 h 450627"/>
                  <a:gd name="connsiteX19" fmla="*/ 98869 w 3436620"/>
                  <a:gd name="connsiteY19" fmla="*/ 60579 h 450627"/>
                  <a:gd name="connsiteX20" fmla="*/ 98869 w 3436620"/>
                  <a:gd name="connsiteY20" fmla="*/ 66675 h 450627"/>
                  <a:gd name="connsiteX21" fmla="*/ 103060 w 3436620"/>
                  <a:gd name="connsiteY21" fmla="*/ 66675 h 450627"/>
                  <a:gd name="connsiteX22" fmla="*/ 103060 w 3436620"/>
                  <a:gd name="connsiteY22" fmla="*/ 72771 h 450627"/>
                  <a:gd name="connsiteX23" fmla="*/ 119919 w 3436620"/>
                  <a:gd name="connsiteY23" fmla="*/ 72771 h 450627"/>
                  <a:gd name="connsiteX24" fmla="*/ 119919 w 3436620"/>
                  <a:gd name="connsiteY24" fmla="*/ 84867 h 450627"/>
                  <a:gd name="connsiteX25" fmla="*/ 124110 w 3436620"/>
                  <a:gd name="connsiteY25" fmla="*/ 84867 h 450627"/>
                  <a:gd name="connsiteX26" fmla="*/ 124110 w 3436620"/>
                  <a:gd name="connsiteY26" fmla="*/ 90963 h 450627"/>
                  <a:gd name="connsiteX27" fmla="*/ 147256 w 3436620"/>
                  <a:gd name="connsiteY27" fmla="*/ 90963 h 450627"/>
                  <a:gd name="connsiteX28" fmla="*/ 147256 w 3436620"/>
                  <a:gd name="connsiteY28" fmla="*/ 97059 h 450627"/>
                  <a:gd name="connsiteX29" fmla="*/ 151447 w 3436620"/>
                  <a:gd name="connsiteY29" fmla="*/ 97059 h 450627"/>
                  <a:gd name="connsiteX30" fmla="*/ 151447 w 3436620"/>
                  <a:gd name="connsiteY30" fmla="*/ 103060 h 450627"/>
                  <a:gd name="connsiteX31" fmla="*/ 157734 w 3436620"/>
                  <a:gd name="connsiteY31" fmla="*/ 103060 h 450627"/>
                  <a:gd name="connsiteX32" fmla="*/ 157734 w 3436620"/>
                  <a:gd name="connsiteY32" fmla="*/ 115252 h 450627"/>
                  <a:gd name="connsiteX33" fmla="*/ 176688 w 3436620"/>
                  <a:gd name="connsiteY33" fmla="*/ 115252 h 450627"/>
                  <a:gd name="connsiteX34" fmla="*/ 176688 w 3436620"/>
                  <a:gd name="connsiteY34" fmla="*/ 121253 h 450627"/>
                  <a:gd name="connsiteX35" fmla="*/ 185070 w 3436620"/>
                  <a:gd name="connsiteY35" fmla="*/ 121253 h 450627"/>
                  <a:gd name="connsiteX36" fmla="*/ 185070 w 3436620"/>
                  <a:gd name="connsiteY36" fmla="*/ 127349 h 450627"/>
                  <a:gd name="connsiteX37" fmla="*/ 197739 w 3436620"/>
                  <a:gd name="connsiteY37" fmla="*/ 127349 h 450627"/>
                  <a:gd name="connsiteX38" fmla="*/ 197739 w 3436620"/>
                  <a:gd name="connsiteY38" fmla="*/ 133445 h 450627"/>
                  <a:gd name="connsiteX39" fmla="*/ 214598 w 3436620"/>
                  <a:gd name="connsiteY39" fmla="*/ 133445 h 450627"/>
                  <a:gd name="connsiteX40" fmla="*/ 214598 w 3436620"/>
                  <a:gd name="connsiteY40" fmla="*/ 139446 h 450627"/>
                  <a:gd name="connsiteX41" fmla="*/ 241935 w 3436620"/>
                  <a:gd name="connsiteY41" fmla="*/ 139446 h 450627"/>
                  <a:gd name="connsiteX42" fmla="*/ 241935 w 3436620"/>
                  <a:gd name="connsiteY42" fmla="*/ 145542 h 450627"/>
                  <a:gd name="connsiteX43" fmla="*/ 244030 w 3436620"/>
                  <a:gd name="connsiteY43" fmla="*/ 145542 h 450627"/>
                  <a:gd name="connsiteX44" fmla="*/ 244030 w 3436620"/>
                  <a:gd name="connsiteY44" fmla="*/ 151638 h 450627"/>
                  <a:gd name="connsiteX45" fmla="*/ 254507 w 3436620"/>
                  <a:gd name="connsiteY45" fmla="*/ 151638 h 450627"/>
                  <a:gd name="connsiteX46" fmla="*/ 254507 w 3436620"/>
                  <a:gd name="connsiteY46" fmla="*/ 157638 h 450627"/>
                  <a:gd name="connsiteX47" fmla="*/ 260794 w 3436620"/>
                  <a:gd name="connsiteY47" fmla="*/ 157638 h 450627"/>
                  <a:gd name="connsiteX48" fmla="*/ 260794 w 3436620"/>
                  <a:gd name="connsiteY48" fmla="*/ 169830 h 450627"/>
                  <a:gd name="connsiteX49" fmla="*/ 269271 w 3436620"/>
                  <a:gd name="connsiteY49" fmla="*/ 169830 h 450627"/>
                  <a:gd name="connsiteX50" fmla="*/ 269271 w 3436620"/>
                  <a:gd name="connsiteY50" fmla="*/ 175831 h 450627"/>
                  <a:gd name="connsiteX51" fmla="*/ 275558 w 3436620"/>
                  <a:gd name="connsiteY51" fmla="*/ 175831 h 450627"/>
                  <a:gd name="connsiteX52" fmla="*/ 275558 w 3436620"/>
                  <a:gd name="connsiteY52" fmla="*/ 188023 h 450627"/>
                  <a:gd name="connsiteX53" fmla="*/ 277653 w 3436620"/>
                  <a:gd name="connsiteY53" fmla="*/ 188023 h 450627"/>
                  <a:gd name="connsiteX54" fmla="*/ 277653 w 3436620"/>
                  <a:gd name="connsiteY54" fmla="*/ 194119 h 450627"/>
                  <a:gd name="connsiteX55" fmla="*/ 290226 w 3436620"/>
                  <a:gd name="connsiteY55" fmla="*/ 194119 h 450627"/>
                  <a:gd name="connsiteX56" fmla="*/ 290226 w 3436620"/>
                  <a:gd name="connsiteY56" fmla="*/ 200120 h 450627"/>
                  <a:gd name="connsiteX57" fmla="*/ 313372 w 3436620"/>
                  <a:gd name="connsiteY57" fmla="*/ 200120 h 450627"/>
                  <a:gd name="connsiteX58" fmla="*/ 313372 w 3436620"/>
                  <a:gd name="connsiteY58" fmla="*/ 206216 h 450627"/>
                  <a:gd name="connsiteX59" fmla="*/ 319754 w 3436620"/>
                  <a:gd name="connsiteY59" fmla="*/ 206216 h 450627"/>
                  <a:gd name="connsiteX60" fmla="*/ 319754 w 3436620"/>
                  <a:gd name="connsiteY60" fmla="*/ 212312 h 450627"/>
                  <a:gd name="connsiteX61" fmla="*/ 328136 w 3436620"/>
                  <a:gd name="connsiteY61" fmla="*/ 212312 h 450627"/>
                  <a:gd name="connsiteX62" fmla="*/ 328136 w 3436620"/>
                  <a:gd name="connsiteY62" fmla="*/ 218313 h 450627"/>
                  <a:gd name="connsiteX63" fmla="*/ 336518 w 3436620"/>
                  <a:gd name="connsiteY63" fmla="*/ 218313 h 450627"/>
                  <a:gd name="connsiteX64" fmla="*/ 336518 w 3436620"/>
                  <a:gd name="connsiteY64" fmla="*/ 224409 h 450627"/>
                  <a:gd name="connsiteX65" fmla="*/ 340709 w 3436620"/>
                  <a:gd name="connsiteY65" fmla="*/ 224409 h 450627"/>
                  <a:gd name="connsiteX66" fmla="*/ 340709 w 3436620"/>
                  <a:gd name="connsiteY66" fmla="*/ 230505 h 450627"/>
                  <a:gd name="connsiteX67" fmla="*/ 414337 w 3436620"/>
                  <a:gd name="connsiteY67" fmla="*/ 230505 h 450627"/>
                  <a:gd name="connsiteX68" fmla="*/ 414337 w 3436620"/>
                  <a:gd name="connsiteY68" fmla="*/ 236505 h 450627"/>
                  <a:gd name="connsiteX69" fmla="*/ 435387 w 3436620"/>
                  <a:gd name="connsiteY69" fmla="*/ 236505 h 450627"/>
                  <a:gd name="connsiteX70" fmla="*/ 435387 w 3436620"/>
                  <a:gd name="connsiteY70" fmla="*/ 242601 h 450627"/>
                  <a:gd name="connsiteX71" fmla="*/ 441674 w 3436620"/>
                  <a:gd name="connsiteY71" fmla="*/ 242601 h 450627"/>
                  <a:gd name="connsiteX72" fmla="*/ 441674 w 3436620"/>
                  <a:gd name="connsiteY72" fmla="*/ 248697 h 450627"/>
                  <a:gd name="connsiteX73" fmla="*/ 483774 w 3436620"/>
                  <a:gd name="connsiteY73" fmla="*/ 248697 h 450627"/>
                  <a:gd name="connsiteX74" fmla="*/ 483774 w 3436620"/>
                  <a:gd name="connsiteY74" fmla="*/ 254698 h 450627"/>
                  <a:gd name="connsiteX75" fmla="*/ 498443 w 3436620"/>
                  <a:gd name="connsiteY75" fmla="*/ 254698 h 450627"/>
                  <a:gd name="connsiteX76" fmla="*/ 498443 w 3436620"/>
                  <a:gd name="connsiteY76" fmla="*/ 260794 h 450627"/>
                  <a:gd name="connsiteX77" fmla="*/ 527970 w 3436620"/>
                  <a:gd name="connsiteY77" fmla="*/ 260794 h 450627"/>
                  <a:gd name="connsiteX78" fmla="*/ 527970 w 3436620"/>
                  <a:gd name="connsiteY78" fmla="*/ 266890 h 450627"/>
                  <a:gd name="connsiteX79" fmla="*/ 530066 w 3436620"/>
                  <a:gd name="connsiteY79" fmla="*/ 266890 h 450627"/>
                  <a:gd name="connsiteX80" fmla="*/ 530066 w 3436620"/>
                  <a:gd name="connsiteY80" fmla="*/ 272891 h 450627"/>
                  <a:gd name="connsiteX81" fmla="*/ 553116 w 3436620"/>
                  <a:gd name="connsiteY81" fmla="*/ 272891 h 450627"/>
                  <a:gd name="connsiteX82" fmla="*/ 553116 w 3436620"/>
                  <a:gd name="connsiteY82" fmla="*/ 278987 h 450627"/>
                  <a:gd name="connsiteX83" fmla="*/ 565785 w 3436620"/>
                  <a:gd name="connsiteY83" fmla="*/ 278987 h 450627"/>
                  <a:gd name="connsiteX84" fmla="*/ 565785 w 3436620"/>
                  <a:gd name="connsiteY84" fmla="*/ 285083 h 450627"/>
                  <a:gd name="connsiteX85" fmla="*/ 601503 w 3436620"/>
                  <a:gd name="connsiteY85" fmla="*/ 285083 h 450627"/>
                  <a:gd name="connsiteX86" fmla="*/ 601503 w 3436620"/>
                  <a:gd name="connsiteY86" fmla="*/ 291179 h 450627"/>
                  <a:gd name="connsiteX87" fmla="*/ 717232 w 3436620"/>
                  <a:gd name="connsiteY87" fmla="*/ 291179 h 450627"/>
                  <a:gd name="connsiteX88" fmla="*/ 717232 w 3436620"/>
                  <a:gd name="connsiteY88" fmla="*/ 297180 h 450627"/>
                  <a:gd name="connsiteX89" fmla="*/ 755046 w 3436620"/>
                  <a:gd name="connsiteY89" fmla="*/ 297180 h 450627"/>
                  <a:gd name="connsiteX90" fmla="*/ 755046 w 3436620"/>
                  <a:gd name="connsiteY90" fmla="*/ 303371 h 450627"/>
                  <a:gd name="connsiteX91" fmla="*/ 807624 w 3436620"/>
                  <a:gd name="connsiteY91" fmla="*/ 303371 h 450627"/>
                  <a:gd name="connsiteX92" fmla="*/ 807624 w 3436620"/>
                  <a:gd name="connsiteY92" fmla="*/ 309467 h 450627"/>
                  <a:gd name="connsiteX93" fmla="*/ 826579 w 3436620"/>
                  <a:gd name="connsiteY93" fmla="*/ 309467 h 450627"/>
                  <a:gd name="connsiteX94" fmla="*/ 826579 w 3436620"/>
                  <a:gd name="connsiteY94" fmla="*/ 315563 h 450627"/>
                  <a:gd name="connsiteX95" fmla="*/ 837057 w 3436620"/>
                  <a:gd name="connsiteY95" fmla="*/ 315563 h 450627"/>
                  <a:gd name="connsiteX96" fmla="*/ 837057 w 3436620"/>
                  <a:gd name="connsiteY96" fmla="*/ 321754 h 450627"/>
                  <a:gd name="connsiteX97" fmla="*/ 870775 w 3436620"/>
                  <a:gd name="connsiteY97" fmla="*/ 321754 h 450627"/>
                  <a:gd name="connsiteX98" fmla="*/ 870775 w 3436620"/>
                  <a:gd name="connsiteY98" fmla="*/ 327850 h 450627"/>
                  <a:gd name="connsiteX99" fmla="*/ 877062 w 3436620"/>
                  <a:gd name="connsiteY99" fmla="*/ 327850 h 450627"/>
                  <a:gd name="connsiteX100" fmla="*/ 877062 w 3436620"/>
                  <a:gd name="connsiteY100" fmla="*/ 333946 h 450627"/>
                  <a:gd name="connsiteX101" fmla="*/ 891730 w 3436620"/>
                  <a:gd name="connsiteY101" fmla="*/ 333946 h 450627"/>
                  <a:gd name="connsiteX102" fmla="*/ 891730 w 3436620"/>
                  <a:gd name="connsiteY102" fmla="*/ 340042 h 450627"/>
                  <a:gd name="connsiteX103" fmla="*/ 904398 w 3436620"/>
                  <a:gd name="connsiteY103" fmla="*/ 340042 h 450627"/>
                  <a:gd name="connsiteX104" fmla="*/ 904398 w 3436620"/>
                  <a:gd name="connsiteY104" fmla="*/ 346233 h 450627"/>
                  <a:gd name="connsiteX105" fmla="*/ 929640 w 3436620"/>
                  <a:gd name="connsiteY105" fmla="*/ 346233 h 450627"/>
                  <a:gd name="connsiteX106" fmla="*/ 929640 w 3436620"/>
                  <a:gd name="connsiteY106" fmla="*/ 352329 h 450627"/>
                  <a:gd name="connsiteX107" fmla="*/ 1158906 w 3436620"/>
                  <a:gd name="connsiteY107" fmla="*/ 352329 h 450627"/>
                  <a:gd name="connsiteX108" fmla="*/ 1158906 w 3436620"/>
                  <a:gd name="connsiteY108" fmla="*/ 358521 h 450627"/>
                  <a:gd name="connsiteX109" fmla="*/ 1272444 w 3436620"/>
                  <a:gd name="connsiteY109" fmla="*/ 358521 h 450627"/>
                  <a:gd name="connsiteX110" fmla="*/ 1272444 w 3436620"/>
                  <a:gd name="connsiteY110" fmla="*/ 364712 h 450627"/>
                  <a:gd name="connsiteX111" fmla="*/ 1541621 w 3436620"/>
                  <a:gd name="connsiteY111" fmla="*/ 364712 h 450627"/>
                  <a:gd name="connsiteX112" fmla="*/ 1541621 w 3436620"/>
                  <a:gd name="connsiteY112" fmla="*/ 370998 h 450627"/>
                  <a:gd name="connsiteX113" fmla="*/ 1615249 w 3436620"/>
                  <a:gd name="connsiteY113" fmla="*/ 370998 h 450627"/>
                  <a:gd name="connsiteX114" fmla="*/ 1615249 w 3436620"/>
                  <a:gd name="connsiteY114" fmla="*/ 377285 h 450627"/>
                  <a:gd name="connsiteX115" fmla="*/ 1695164 w 3436620"/>
                  <a:gd name="connsiteY115" fmla="*/ 377285 h 450627"/>
                  <a:gd name="connsiteX116" fmla="*/ 1695164 w 3436620"/>
                  <a:gd name="connsiteY116" fmla="*/ 383571 h 450627"/>
                  <a:gd name="connsiteX117" fmla="*/ 1857089 w 3436620"/>
                  <a:gd name="connsiteY117" fmla="*/ 383571 h 450627"/>
                  <a:gd name="connsiteX118" fmla="*/ 1857089 w 3436620"/>
                  <a:gd name="connsiteY118" fmla="*/ 390048 h 450627"/>
                  <a:gd name="connsiteX119" fmla="*/ 1873948 w 3436620"/>
                  <a:gd name="connsiteY119" fmla="*/ 390048 h 450627"/>
                  <a:gd name="connsiteX120" fmla="*/ 1873948 w 3436620"/>
                  <a:gd name="connsiteY120" fmla="*/ 396430 h 450627"/>
                  <a:gd name="connsiteX121" fmla="*/ 1991772 w 3436620"/>
                  <a:gd name="connsiteY121" fmla="*/ 396430 h 450627"/>
                  <a:gd name="connsiteX122" fmla="*/ 1991772 w 3436620"/>
                  <a:gd name="connsiteY122" fmla="*/ 402907 h 450627"/>
                  <a:gd name="connsiteX123" fmla="*/ 2084260 w 3436620"/>
                  <a:gd name="connsiteY123" fmla="*/ 402907 h 450627"/>
                  <a:gd name="connsiteX124" fmla="*/ 2084260 w 3436620"/>
                  <a:gd name="connsiteY124" fmla="*/ 409289 h 450627"/>
                  <a:gd name="connsiteX125" fmla="*/ 2103215 w 3436620"/>
                  <a:gd name="connsiteY125" fmla="*/ 409289 h 450627"/>
                  <a:gd name="connsiteX126" fmla="*/ 2103215 w 3436620"/>
                  <a:gd name="connsiteY126" fmla="*/ 415766 h 450627"/>
                  <a:gd name="connsiteX127" fmla="*/ 2957036 w 3436620"/>
                  <a:gd name="connsiteY127" fmla="*/ 415766 h 450627"/>
                  <a:gd name="connsiteX128" fmla="*/ 2957036 w 3436620"/>
                  <a:gd name="connsiteY128" fmla="*/ 450627 h 450627"/>
                  <a:gd name="connsiteX129" fmla="*/ 3436620 w 3436620"/>
                  <a:gd name="connsiteY129" fmla="*/ 450627 h 450627"/>
                  <a:gd name="connsiteX0" fmla="*/ 0 w 3421857"/>
                  <a:gd name="connsiteY0" fmla="*/ 0 h 450627"/>
                  <a:gd name="connsiteX1" fmla="*/ 0 w 3421857"/>
                  <a:gd name="connsiteY1" fmla="*/ 6000 h 450627"/>
                  <a:gd name="connsiteX2" fmla="*/ 4191 w 3421857"/>
                  <a:gd name="connsiteY2" fmla="*/ 6000 h 450627"/>
                  <a:gd name="connsiteX3" fmla="*/ 4191 w 3421857"/>
                  <a:gd name="connsiteY3" fmla="*/ 12096 h 450627"/>
                  <a:gd name="connsiteX4" fmla="*/ 8382 w 3421857"/>
                  <a:gd name="connsiteY4" fmla="*/ 12096 h 450627"/>
                  <a:gd name="connsiteX5" fmla="*/ 8382 w 3421857"/>
                  <a:gd name="connsiteY5" fmla="*/ 18192 h 450627"/>
                  <a:gd name="connsiteX6" fmla="*/ 21051 w 3421857"/>
                  <a:gd name="connsiteY6" fmla="*/ 18192 h 450627"/>
                  <a:gd name="connsiteX7" fmla="*/ 21051 w 3421857"/>
                  <a:gd name="connsiteY7" fmla="*/ 24193 h 450627"/>
                  <a:gd name="connsiteX8" fmla="*/ 50483 w 3421857"/>
                  <a:gd name="connsiteY8" fmla="*/ 24193 h 450627"/>
                  <a:gd name="connsiteX9" fmla="*/ 50483 w 3421857"/>
                  <a:gd name="connsiteY9" fmla="*/ 30289 h 450627"/>
                  <a:gd name="connsiteX10" fmla="*/ 58865 w 3421857"/>
                  <a:gd name="connsiteY10" fmla="*/ 30289 h 450627"/>
                  <a:gd name="connsiteX11" fmla="*/ 58865 w 3421857"/>
                  <a:gd name="connsiteY11" fmla="*/ 36385 h 450627"/>
                  <a:gd name="connsiteX12" fmla="*/ 60960 w 3421857"/>
                  <a:gd name="connsiteY12" fmla="*/ 36385 h 450627"/>
                  <a:gd name="connsiteX13" fmla="*/ 60960 w 3421857"/>
                  <a:gd name="connsiteY13" fmla="*/ 42386 h 450627"/>
                  <a:gd name="connsiteX14" fmla="*/ 75724 w 3421857"/>
                  <a:gd name="connsiteY14" fmla="*/ 42386 h 450627"/>
                  <a:gd name="connsiteX15" fmla="*/ 75724 w 3421857"/>
                  <a:gd name="connsiteY15" fmla="*/ 54578 h 450627"/>
                  <a:gd name="connsiteX16" fmla="*/ 77820 w 3421857"/>
                  <a:gd name="connsiteY16" fmla="*/ 54578 h 450627"/>
                  <a:gd name="connsiteX17" fmla="*/ 77820 w 3421857"/>
                  <a:gd name="connsiteY17" fmla="*/ 60579 h 450627"/>
                  <a:gd name="connsiteX18" fmla="*/ 84106 w 3421857"/>
                  <a:gd name="connsiteY18" fmla="*/ 60579 h 450627"/>
                  <a:gd name="connsiteX19" fmla="*/ 84106 w 3421857"/>
                  <a:gd name="connsiteY19" fmla="*/ 66675 h 450627"/>
                  <a:gd name="connsiteX20" fmla="*/ 88297 w 3421857"/>
                  <a:gd name="connsiteY20" fmla="*/ 66675 h 450627"/>
                  <a:gd name="connsiteX21" fmla="*/ 88297 w 3421857"/>
                  <a:gd name="connsiteY21" fmla="*/ 72771 h 450627"/>
                  <a:gd name="connsiteX22" fmla="*/ 105156 w 3421857"/>
                  <a:gd name="connsiteY22" fmla="*/ 72771 h 450627"/>
                  <a:gd name="connsiteX23" fmla="*/ 105156 w 3421857"/>
                  <a:gd name="connsiteY23" fmla="*/ 84867 h 450627"/>
                  <a:gd name="connsiteX24" fmla="*/ 109347 w 3421857"/>
                  <a:gd name="connsiteY24" fmla="*/ 84867 h 450627"/>
                  <a:gd name="connsiteX25" fmla="*/ 109347 w 3421857"/>
                  <a:gd name="connsiteY25" fmla="*/ 90963 h 450627"/>
                  <a:gd name="connsiteX26" fmla="*/ 132493 w 3421857"/>
                  <a:gd name="connsiteY26" fmla="*/ 90963 h 450627"/>
                  <a:gd name="connsiteX27" fmla="*/ 132493 w 3421857"/>
                  <a:gd name="connsiteY27" fmla="*/ 97059 h 450627"/>
                  <a:gd name="connsiteX28" fmla="*/ 136684 w 3421857"/>
                  <a:gd name="connsiteY28" fmla="*/ 97059 h 450627"/>
                  <a:gd name="connsiteX29" fmla="*/ 136684 w 3421857"/>
                  <a:gd name="connsiteY29" fmla="*/ 103060 h 450627"/>
                  <a:gd name="connsiteX30" fmla="*/ 142971 w 3421857"/>
                  <a:gd name="connsiteY30" fmla="*/ 103060 h 450627"/>
                  <a:gd name="connsiteX31" fmla="*/ 142971 w 3421857"/>
                  <a:gd name="connsiteY31" fmla="*/ 115252 h 450627"/>
                  <a:gd name="connsiteX32" fmla="*/ 161925 w 3421857"/>
                  <a:gd name="connsiteY32" fmla="*/ 115252 h 450627"/>
                  <a:gd name="connsiteX33" fmla="*/ 161925 w 3421857"/>
                  <a:gd name="connsiteY33" fmla="*/ 121253 h 450627"/>
                  <a:gd name="connsiteX34" fmla="*/ 170307 w 3421857"/>
                  <a:gd name="connsiteY34" fmla="*/ 121253 h 450627"/>
                  <a:gd name="connsiteX35" fmla="*/ 170307 w 3421857"/>
                  <a:gd name="connsiteY35" fmla="*/ 127349 h 450627"/>
                  <a:gd name="connsiteX36" fmla="*/ 182976 w 3421857"/>
                  <a:gd name="connsiteY36" fmla="*/ 127349 h 450627"/>
                  <a:gd name="connsiteX37" fmla="*/ 182976 w 3421857"/>
                  <a:gd name="connsiteY37" fmla="*/ 133445 h 450627"/>
                  <a:gd name="connsiteX38" fmla="*/ 199835 w 3421857"/>
                  <a:gd name="connsiteY38" fmla="*/ 133445 h 450627"/>
                  <a:gd name="connsiteX39" fmla="*/ 199835 w 3421857"/>
                  <a:gd name="connsiteY39" fmla="*/ 139446 h 450627"/>
                  <a:gd name="connsiteX40" fmla="*/ 227172 w 3421857"/>
                  <a:gd name="connsiteY40" fmla="*/ 139446 h 450627"/>
                  <a:gd name="connsiteX41" fmla="*/ 227172 w 3421857"/>
                  <a:gd name="connsiteY41" fmla="*/ 145542 h 450627"/>
                  <a:gd name="connsiteX42" fmla="*/ 229267 w 3421857"/>
                  <a:gd name="connsiteY42" fmla="*/ 145542 h 450627"/>
                  <a:gd name="connsiteX43" fmla="*/ 229267 w 3421857"/>
                  <a:gd name="connsiteY43" fmla="*/ 151638 h 450627"/>
                  <a:gd name="connsiteX44" fmla="*/ 239744 w 3421857"/>
                  <a:gd name="connsiteY44" fmla="*/ 151638 h 450627"/>
                  <a:gd name="connsiteX45" fmla="*/ 239744 w 3421857"/>
                  <a:gd name="connsiteY45" fmla="*/ 157638 h 450627"/>
                  <a:gd name="connsiteX46" fmla="*/ 246031 w 3421857"/>
                  <a:gd name="connsiteY46" fmla="*/ 157638 h 450627"/>
                  <a:gd name="connsiteX47" fmla="*/ 246031 w 3421857"/>
                  <a:gd name="connsiteY47" fmla="*/ 169830 h 450627"/>
                  <a:gd name="connsiteX48" fmla="*/ 254508 w 3421857"/>
                  <a:gd name="connsiteY48" fmla="*/ 169830 h 450627"/>
                  <a:gd name="connsiteX49" fmla="*/ 254508 w 3421857"/>
                  <a:gd name="connsiteY49" fmla="*/ 175831 h 450627"/>
                  <a:gd name="connsiteX50" fmla="*/ 260795 w 3421857"/>
                  <a:gd name="connsiteY50" fmla="*/ 175831 h 450627"/>
                  <a:gd name="connsiteX51" fmla="*/ 260795 w 3421857"/>
                  <a:gd name="connsiteY51" fmla="*/ 188023 h 450627"/>
                  <a:gd name="connsiteX52" fmla="*/ 262890 w 3421857"/>
                  <a:gd name="connsiteY52" fmla="*/ 188023 h 450627"/>
                  <a:gd name="connsiteX53" fmla="*/ 262890 w 3421857"/>
                  <a:gd name="connsiteY53" fmla="*/ 194119 h 450627"/>
                  <a:gd name="connsiteX54" fmla="*/ 275463 w 3421857"/>
                  <a:gd name="connsiteY54" fmla="*/ 194119 h 450627"/>
                  <a:gd name="connsiteX55" fmla="*/ 275463 w 3421857"/>
                  <a:gd name="connsiteY55" fmla="*/ 200120 h 450627"/>
                  <a:gd name="connsiteX56" fmla="*/ 298609 w 3421857"/>
                  <a:gd name="connsiteY56" fmla="*/ 200120 h 450627"/>
                  <a:gd name="connsiteX57" fmla="*/ 298609 w 3421857"/>
                  <a:gd name="connsiteY57" fmla="*/ 206216 h 450627"/>
                  <a:gd name="connsiteX58" fmla="*/ 304991 w 3421857"/>
                  <a:gd name="connsiteY58" fmla="*/ 206216 h 450627"/>
                  <a:gd name="connsiteX59" fmla="*/ 304991 w 3421857"/>
                  <a:gd name="connsiteY59" fmla="*/ 212312 h 450627"/>
                  <a:gd name="connsiteX60" fmla="*/ 313373 w 3421857"/>
                  <a:gd name="connsiteY60" fmla="*/ 212312 h 450627"/>
                  <a:gd name="connsiteX61" fmla="*/ 313373 w 3421857"/>
                  <a:gd name="connsiteY61" fmla="*/ 218313 h 450627"/>
                  <a:gd name="connsiteX62" fmla="*/ 321755 w 3421857"/>
                  <a:gd name="connsiteY62" fmla="*/ 218313 h 450627"/>
                  <a:gd name="connsiteX63" fmla="*/ 321755 w 3421857"/>
                  <a:gd name="connsiteY63" fmla="*/ 224409 h 450627"/>
                  <a:gd name="connsiteX64" fmla="*/ 325946 w 3421857"/>
                  <a:gd name="connsiteY64" fmla="*/ 224409 h 450627"/>
                  <a:gd name="connsiteX65" fmla="*/ 325946 w 3421857"/>
                  <a:gd name="connsiteY65" fmla="*/ 230505 h 450627"/>
                  <a:gd name="connsiteX66" fmla="*/ 399574 w 3421857"/>
                  <a:gd name="connsiteY66" fmla="*/ 230505 h 450627"/>
                  <a:gd name="connsiteX67" fmla="*/ 399574 w 3421857"/>
                  <a:gd name="connsiteY67" fmla="*/ 236505 h 450627"/>
                  <a:gd name="connsiteX68" fmla="*/ 420624 w 3421857"/>
                  <a:gd name="connsiteY68" fmla="*/ 236505 h 450627"/>
                  <a:gd name="connsiteX69" fmla="*/ 420624 w 3421857"/>
                  <a:gd name="connsiteY69" fmla="*/ 242601 h 450627"/>
                  <a:gd name="connsiteX70" fmla="*/ 426911 w 3421857"/>
                  <a:gd name="connsiteY70" fmla="*/ 242601 h 450627"/>
                  <a:gd name="connsiteX71" fmla="*/ 426911 w 3421857"/>
                  <a:gd name="connsiteY71" fmla="*/ 248697 h 450627"/>
                  <a:gd name="connsiteX72" fmla="*/ 469011 w 3421857"/>
                  <a:gd name="connsiteY72" fmla="*/ 248697 h 450627"/>
                  <a:gd name="connsiteX73" fmla="*/ 469011 w 3421857"/>
                  <a:gd name="connsiteY73" fmla="*/ 254698 h 450627"/>
                  <a:gd name="connsiteX74" fmla="*/ 483680 w 3421857"/>
                  <a:gd name="connsiteY74" fmla="*/ 254698 h 450627"/>
                  <a:gd name="connsiteX75" fmla="*/ 483680 w 3421857"/>
                  <a:gd name="connsiteY75" fmla="*/ 260794 h 450627"/>
                  <a:gd name="connsiteX76" fmla="*/ 513207 w 3421857"/>
                  <a:gd name="connsiteY76" fmla="*/ 260794 h 450627"/>
                  <a:gd name="connsiteX77" fmla="*/ 513207 w 3421857"/>
                  <a:gd name="connsiteY77" fmla="*/ 266890 h 450627"/>
                  <a:gd name="connsiteX78" fmla="*/ 515303 w 3421857"/>
                  <a:gd name="connsiteY78" fmla="*/ 266890 h 450627"/>
                  <a:gd name="connsiteX79" fmla="*/ 515303 w 3421857"/>
                  <a:gd name="connsiteY79" fmla="*/ 272891 h 450627"/>
                  <a:gd name="connsiteX80" fmla="*/ 538353 w 3421857"/>
                  <a:gd name="connsiteY80" fmla="*/ 272891 h 450627"/>
                  <a:gd name="connsiteX81" fmla="*/ 538353 w 3421857"/>
                  <a:gd name="connsiteY81" fmla="*/ 278987 h 450627"/>
                  <a:gd name="connsiteX82" fmla="*/ 551022 w 3421857"/>
                  <a:gd name="connsiteY82" fmla="*/ 278987 h 450627"/>
                  <a:gd name="connsiteX83" fmla="*/ 551022 w 3421857"/>
                  <a:gd name="connsiteY83" fmla="*/ 285083 h 450627"/>
                  <a:gd name="connsiteX84" fmla="*/ 586740 w 3421857"/>
                  <a:gd name="connsiteY84" fmla="*/ 285083 h 450627"/>
                  <a:gd name="connsiteX85" fmla="*/ 586740 w 3421857"/>
                  <a:gd name="connsiteY85" fmla="*/ 291179 h 450627"/>
                  <a:gd name="connsiteX86" fmla="*/ 702469 w 3421857"/>
                  <a:gd name="connsiteY86" fmla="*/ 291179 h 450627"/>
                  <a:gd name="connsiteX87" fmla="*/ 702469 w 3421857"/>
                  <a:gd name="connsiteY87" fmla="*/ 297180 h 450627"/>
                  <a:gd name="connsiteX88" fmla="*/ 740283 w 3421857"/>
                  <a:gd name="connsiteY88" fmla="*/ 297180 h 450627"/>
                  <a:gd name="connsiteX89" fmla="*/ 740283 w 3421857"/>
                  <a:gd name="connsiteY89" fmla="*/ 303371 h 450627"/>
                  <a:gd name="connsiteX90" fmla="*/ 792861 w 3421857"/>
                  <a:gd name="connsiteY90" fmla="*/ 303371 h 450627"/>
                  <a:gd name="connsiteX91" fmla="*/ 792861 w 3421857"/>
                  <a:gd name="connsiteY91" fmla="*/ 309467 h 450627"/>
                  <a:gd name="connsiteX92" fmla="*/ 811816 w 3421857"/>
                  <a:gd name="connsiteY92" fmla="*/ 309467 h 450627"/>
                  <a:gd name="connsiteX93" fmla="*/ 811816 w 3421857"/>
                  <a:gd name="connsiteY93" fmla="*/ 315563 h 450627"/>
                  <a:gd name="connsiteX94" fmla="*/ 822294 w 3421857"/>
                  <a:gd name="connsiteY94" fmla="*/ 315563 h 450627"/>
                  <a:gd name="connsiteX95" fmla="*/ 822294 w 3421857"/>
                  <a:gd name="connsiteY95" fmla="*/ 321754 h 450627"/>
                  <a:gd name="connsiteX96" fmla="*/ 856012 w 3421857"/>
                  <a:gd name="connsiteY96" fmla="*/ 321754 h 450627"/>
                  <a:gd name="connsiteX97" fmla="*/ 856012 w 3421857"/>
                  <a:gd name="connsiteY97" fmla="*/ 327850 h 450627"/>
                  <a:gd name="connsiteX98" fmla="*/ 862299 w 3421857"/>
                  <a:gd name="connsiteY98" fmla="*/ 327850 h 450627"/>
                  <a:gd name="connsiteX99" fmla="*/ 862299 w 3421857"/>
                  <a:gd name="connsiteY99" fmla="*/ 333946 h 450627"/>
                  <a:gd name="connsiteX100" fmla="*/ 876967 w 3421857"/>
                  <a:gd name="connsiteY100" fmla="*/ 333946 h 450627"/>
                  <a:gd name="connsiteX101" fmla="*/ 876967 w 3421857"/>
                  <a:gd name="connsiteY101" fmla="*/ 340042 h 450627"/>
                  <a:gd name="connsiteX102" fmla="*/ 889635 w 3421857"/>
                  <a:gd name="connsiteY102" fmla="*/ 340042 h 450627"/>
                  <a:gd name="connsiteX103" fmla="*/ 889635 w 3421857"/>
                  <a:gd name="connsiteY103" fmla="*/ 346233 h 450627"/>
                  <a:gd name="connsiteX104" fmla="*/ 914877 w 3421857"/>
                  <a:gd name="connsiteY104" fmla="*/ 346233 h 450627"/>
                  <a:gd name="connsiteX105" fmla="*/ 914877 w 3421857"/>
                  <a:gd name="connsiteY105" fmla="*/ 352329 h 450627"/>
                  <a:gd name="connsiteX106" fmla="*/ 1144143 w 3421857"/>
                  <a:gd name="connsiteY106" fmla="*/ 352329 h 450627"/>
                  <a:gd name="connsiteX107" fmla="*/ 1144143 w 3421857"/>
                  <a:gd name="connsiteY107" fmla="*/ 358521 h 450627"/>
                  <a:gd name="connsiteX108" fmla="*/ 1257681 w 3421857"/>
                  <a:gd name="connsiteY108" fmla="*/ 358521 h 450627"/>
                  <a:gd name="connsiteX109" fmla="*/ 1257681 w 3421857"/>
                  <a:gd name="connsiteY109" fmla="*/ 364712 h 450627"/>
                  <a:gd name="connsiteX110" fmla="*/ 1526858 w 3421857"/>
                  <a:gd name="connsiteY110" fmla="*/ 364712 h 450627"/>
                  <a:gd name="connsiteX111" fmla="*/ 1526858 w 3421857"/>
                  <a:gd name="connsiteY111" fmla="*/ 370998 h 450627"/>
                  <a:gd name="connsiteX112" fmla="*/ 1600486 w 3421857"/>
                  <a:gd name="connsiteY112" fmla="*/ 370998 h 450627"/>
                  <a:gd name="connsiteX113" fmla="*/ 1600486 w 3421857"/>
                  <a:gd name="connsiteY113" fmla="*/ 377285 h 450627"/>
                  <a:gd name="connsiteX114" fmla="*/ 1680401 w 3421857"/>
                  <a:gd name="connsiteY114" fmla="*/ 377285 h 450627"/>
                  <a:gd name="connsiteX115" fmla="*/ 1680401 w 3421857"/>
                  <a:gd name="connsiteY115" fmla="*/ 383571 h 450627"/>
                  <a:gd name="connsiteX116" fmla="*/ 1842326 w 3421857"/>
                  <a:gd name="connsiteY116" fmla="*/ 383571 h 450627"/>
                  <a:gd name="connsiteX117" fmla="*/ 1842326 w 3421857"/>
                  <a:gd name="connsiteY117" fmla="*/ 390048 h 450627"/>
                  <a:gd name="connsiteX118" fmla="*/ 1859185 w 3421857"/>
                  <a:gd name="connsiteY118" fmla="*/ 390048 h 450627"/>
                  <a:gd name="connsiteX119" fmla="*/ 1859185 w 3421857"/>
                  <a:gd name="connsiteY119" fmla="*/ 396430 h 450627"/>
                  <a:gd name="connsiteX120" fmla="*/ 1977009 w 3421857"/>
                  <a:gd name="connsiteY120" fmla="*/ 396430 h 450627"/>
                  <a:gd name="connsiteX121" fmla="*/ 1977009 w 3421857"/>
                  <a:gd name="connsiteY121" fmla="*/ 402907 h 450627"/>
                  <a:gd name="connsiteX122" fmla="*/ 2069497 w 3421857"/>
                  <a:gd name="connsiteY122" fmla="*/ 402907 h 450627"/>
                  <a:gd name="connsiteX123" fmla="*/ 2069497 w 3421857"/>
                  <a:gd name="connsiteY123" fmla="*/ 409289 h 450627"/>
                  <a:gd name="connsiteX124" fmla="*/ 2088452 w 3421857"/>
                  <a:gd name="connsiteY124" fmla="*/ 409289 h 450627"/>
                  <a:gd name="connsiteX125" fmla="*/ 2088452 w 3421857"/>
                  <a:gd name="connsiteY125" fmla="*/ 415766 h 450627"/>
                  <a:gd name="connsiteX126" fmla="*/ 2942273 w 3421857"/>
                  <a:gd name="connsiteY126" fmla="*/ 415766 h 450627"/>
                  <a:gd name="connsiteX127" fmla="*/ 2942273 w 3421857"/>
                  <a:gd name="connsiteY127" fmla="*/ 450627 h 450627"/>
                  <a:gd name="connsiteX128" fmla="*/ 3421857 w 3421857"/>
                  <a:gd name="connsiteY128" fmla="*/ 450627 h 450627"/>
                  <a:gd name="connsiteX0" fmla="*/ 0 w 3421857"/>
                  <a:gd name="connsiteY0" fmla="*/ 0 h 450627"/>
                  <a:gd name="connsiteX1" fmla="*/ 0 w 3421857"/>
                  <a:gd name="connsiteY1" fmla="*/ 6000 h 450627"/>
                  <a:gd name="connsiteX2" fmla="*/ 4191 w 3421857"/>
                  <a:gd name="connsiteY2" fmla="*/ 12096 h 450627"/>
                  <a:gd name="connsiteX3" fmla="*/ 8382 w 3421857"/>
                  <a:gd name="connsiteY3" fmla="*/ 12096 h 450627"/>
                  <a:gd name="connsiteX4" fmla="*/ 8382 w 3421857"/>
                  <a:gd name="connsiteY4" fmla="*/ 18192 h 450627"/>
                  <a:gd name="connsiteX5" fmla="*/ 21051 w 3421857"/>
                  <a:gd name="connsiteY5" fmla="*/ 18192 h 450627"/>
                  <a:gd name="connsiteX6" fmla="*/ 21051 w 3421857"/>
                  <a:gd name="connsiteY6" fmla="*/ 24193 h 450627"/>
                  <a:gd name="connsiteX7" fmla="*/ 50483 w 3421857"/>
                  <a:gd name="connsiteY7" fmla="*/ 24193 h 450627"/>
                  <a:gd name="connsiteX8" fmla="*/ 50483 w 3421857"/>
                  <a:gd name="connsiteY8" fmla="*/ 30289 h 450627"/>
                  <a:gd name="connsiteX9" fmla="*/ 58865 w 3421857"/>
                  <a:gd name="connsiteY9" fmla="*/ 30289 h 450627"/>
                  <a:gd name="connsiteX10" fmla="*/ 58865 w 3421857"/>
                  <a:gd name="connsiteY10" fmla="*/ 36385 h 450627"/>
                  <a:gd name="connsiteX11" fmla="*/ 60960 w 3421857"/>
                  <a:gd name="connsiteY11" fmla="*/ 36385 h 450627"/>
                  <a:gd name="connsiteX12" fmla="*/ 60960 w 3421857"/>
                  <a:gd name="connsiteY12" fmla="*/ 42386 h 450627"/>
                  <a:gd name="connsiteX13" fmla="*/ 75724 w 3421857"/>
                  <a:gd name="connsiteY13" fmla="*/ 42386 h 450627"/>
                  <a:gd name="connsiteX14" fmla="*/ 75724 w 3421857"/>
                  <a:gd name="connsiteY14" fmla="*/ 54578 h 450627"/>
                  <a:gd name="connsiteX15" fmla="*/ 77820 w 3421857"/>
                  <a:gd name="connsiteY15" fmla="*/ 54578 h 450627"/>
                  <a:gd name="connsiteX16" fmla="*/ 77820 w 3421857"/>
                  <a:gd name="connsiteY16" fmla="*/ 60579 h 450627"/>
                  <a:gd name="connsiteX17" fmla="*/ 84106 w 3421857"/>
                  <a:gd name="connsiteY17" fmla="*/ 60579 h 450627"/>
                  <a:gd name="connsiteX18" fmla="*/ 84106 w 3421857"/>
                  <a:gd name="connsiteY18" fmla="*/ 66675 h 450627"/>
                  <a:gd name="connsiteX19" fmla="*/ 88297 w 3421857"/>
                  <a:gd name="connsiteY19" fmla="*/ 66675 h 450627"/>
                  <a:gd name="connsiteX20" fmla="*/ 88297 w 3421857"/>
                  <a:gd name="connsiteY20" fmla="*/ 72771 h 450627"/>
                  <a:gd name="connsiteX21" fmla="*/ 105156 w 3421857"/>
                  <a:gd name="connsiteY21" fmla="*/ 72771 h 450627"/>
                  <a:gd name="connsiteX22" fmla="*/ 105156 w 3421857"/>
                  <a:gd name="connsiteY22" fmla="*/ 84867 h 450627"/>
                  <a:gd name="connsiteX23" fmla="*/ 109347 w 3421857"/>
                  <a:gd name="connsiteY23" fmla="*/ 84867 h 450627"/>
                  <a:gd name="connsiteX24" fmla="*/ 109347 w 3421857"/>
                  <a:gd name="connsiteY24" fmla="*/ 90963 h 450627"/>
                  <a:gd name="connsiteX25" fmla="*/ 132493 w 3421857"/>
                  <a:gd name="connsiteY25" fmla="*/ 90963 h 450627"/>
                  <a:gd name="connsiteX26" fmla="*/ 132493 w 3421857"/>
                  <a:gd name="connsiteY26" fmla="*/ 97059 h 450627"/>
                  <a:gd name="connsiteX27" fmla="*/ 136684 w 3421857"/>
                  <a:gd name="connsiteY27" fmla="*/ 97059 h 450627"/>
                  <a:gd name="connsiteX28" fmla="*/ 136684 w 3421857"/>
                  <a:gd name="connsiteY28" fmla="*/ 103060 h 450627"/>
                  <a:gd name="connsiteX29" fmla="*/ 142971 w 3421857"/>
                  <a:gd name="connsiteY29" fmla="*/ 103060 h 450627"/>
                  <a:gd name="connsiteX30" fmla="*/ 142971 w 3421857"/>
                  <a:gd name="connsiteY30" fmla="*/ 115252 h 450627"/>
                  <a:gd name="connsiteX31" fmla="*/ 161925 w 3421857"/>
                  <a:gd name="connsiteY31" fmla="*/ 115252 h 450627"/>
                  <a:gd name="connsiteX32" fmla="*/ 161925 w 3421857"/>
                  <a:gd name="connsiteY32" fmla="*/ 121253 h 450627"/>
                  <a:gd name="connsiteX33" fmla="*/ 170307 w 3421857"/>
                  <a:gd name="connsiteY33" fmla="*/ 121253 h 450627"/>
                  <a:gd name="connsiteX34" fmla="*/ 170307 w 3421857"/>
                  <a:gd name="connsiteY34" fmla="*/ 127349 h 450627"/>
                  <a:gd name="connsiteX35" fmla="*/ 182976 w 3421857"/>
                  <a:gd name="connsiteY35" fmla="*/ 127349 h 450627"/>
                  <a:gd name="connsiteX36" fmla="*/ 182976 w 3421857"/>
                  <a:gd name="connsiteY36" fmla="*/ 133445 h 450627"/>
                  <a:gd name="connsiteX37" fmla="*/ 199835 w 3421857"/>
                  <a:gd name="connsiteY37" fmla="*/ 133445 h 450627"/>
                  <a:gd name="connsiteX38" fmla="*/ 199835 w 3421857"/>
                  <a:gd name="connsiteY38" fmla="*/ 139446 h 450627"/>
                  <a:gd name="connsiteX39" fmla="*/ 227172 w 3421857"/>
                  <a:gd name="connsiteY39" fmla="*/ 139446 h 450627"/>
                  <a:gd name="connsiteX40" fmla="*/ 227172 w 3421857"/>
                  <a:gd name="connsiteY40" fmla="*/ 145542 h 450627"/>
                  <a:gd name="connsiteX41" fmla="*/ 229267 w 3421857"/>
                  <a:gd name="connsiteY41" fmla="*/ 145542 h 450627"/>
                  <a:gd name="connsiteX42" fmla="*/ 229267 w 3421857"/>
                  <a:gd name="connsiteY42" fmla="*/ 151638 h 450627"/>
                  <a:gd name="connsiteX43" fmla="*/ 239744 w 3421857"/>
                  <a:gd name="connsiteY43" fmla="*/ 151638 h 450627"/>
                  <a:gd name="connsiteX44" fmla="*/ 239744 w 3421857"/>
                  <a:gd name="connsiteY44" fmla="*/ 157638 h 450627"/>
                  <a:gd name="connsiteX45" fmla="*/ 246031 w 3421857"/>
                  <a:gd name="connsiteY45" fmla="*/ 157638 h 450627"/>
                  <a:gd name="connsiteX46" fmla="*/ 246031 w 3421857"/>
                  <a:gd name="connsiteY46" fmla="*/ 169830 h 450627"/>
                  <a:gd name="connsiteX47" fmla="*/ 254508 w 3421857"/>
                  <a:gd name="connsiteY47" fmla="*/ 169830 h 450627"/>
                  <a:gd name="connsiteX48" fmla="*/ 254508 w 3421857"/>
                  <a:gd name="connsiteY48" fmla="*/ 175831 h 450627"/>
                  <a:gd name="connsiteX49" fmla="*/ 260795 w 3421857"/>
                  <a:gd name="connsiteY49" fmla="*/ 175831 h 450627"/>
                  <a:gd name="connsiteX50" fmla="*/ 260795 w 3421857"/>
                  <a:gd name="connsiteY50" fmla="*/ 188023 h 450627"/>
                  <a:gd name="connsiteX51" fmla="*/ 262890 w 3421857"/>
                  <a:gd name="connsiteY51" fmla="*/ 188023 h 450627"/>
                  <a:gd name="connsiteX52" fmla="*/ 262890 w 3421857"/>
                  <a:gd name="connsiteY52" fmla="*/ 194119 h 450627"/>
                  <a:gd name="connsiteX53" fmla="*/ 275463 w 3421857"/>
                  <a:gd name="connsiteY53" fmla="*/ 194119 h 450627"/>
                  <a:gd name="connsiteX54" fmla="*/ 275463 w 3421857"/>
                  <a:gd name="connsiteY54" fmla="*/ 200120 h 450627"/>
                  <a:gd name="connsiteX55" fmla="*/ 298609 w 3421857"/>
                  <a:gd name="connsiteY55" fmla="*/ 200120 h 450627"/>
                  <a:gd name="connsiteX56" fmla="*/ 298609 w 3421857"/>
                  <a:gd name="connsiteY56" fmla="*/ 206216 h 450627"/>
                  <a:gd name="connsiteX57" fmla="*/ 304991 w 3421857"/>
                  <a:gd name="connsiteY57" fmla="*/ 206216 h 450627"/>
                  <a:gd name="connsiteX58" fmla="*/ 304991 w 3421857"/>
                  <a:gd name="connsiteY58" fmla="*/ 212312 h 450627"/>
                  <a:gd name="connsiteX59" fmla="*/ 313373 w 3421857"/>
                  <a:gd name="connsiteY59" fmla="*/ 212312 h 450627"/>
                  <a:gd name="connsiteX60" fmla="*/ 313373 w 3421857"/>
                  <a:gd name="connsiteY60" fmla="*/ 218313 h 450627"/>
                  <a:gd name="connsiteX61" fmla="*/ 321755 w 3421857"/>
                  <a:gd name="connsiteY61" fmla="*/ 218313 h 450627"/>
                  <a:gd name="connsiteX62" fmla="*/ 321755 w 3421857"/>
                  <a:gd name="connsiteY62" fmla="*/ 224409 h 450627"/>
                  <a:gd name="connsiteX63" fmla="*/ 325946 w 3421857"/>
                  <a:gd name="connsiteY63" fmla="*/ 224409 h 450627"/>
                  <a:gd name="connsiteX64" fmla="*/ 325946 w 3421857"/>
                  <a:gd name="connsiteY64" fmla="*/ 230505 h 450627"/>
                  <a:gd name="connsiteX65" fmla="*/ 399574 w 3421857"/>
                  <a:gd name="connsiteY65" fmla="*/ 230505 h 450627"/>
                  <a:gd name="connsiteX66" fmla="*/ 399574 w 3421857"/>
                  <a:gd name="connsiteY66" fmla="*/ 236505 h 450627"/>
                  <a:gd name="connsiteX67" fmla="*/ 420624 w 3421857"/>
                  <a:gd name="connsiteY67" fmla="*/ 236505 h 450627"/>
                  <a:gd name="connsiteX68" fmla="*/ 420624 w 3421857"/>
                  <a:gd name="connsiteY68" fmla="*/ 242601 h 450627"/>
                  <a:gd name="connsiteX69" fmla="*/ 426911 w 3421857"/>
                  <a:gd name="connsiteY69" fmla="*/ 242601 h 450627"/>
                  <a:gd name="connsiteX70" fmla="*/ 426911 w 3421857"/>
                  <a:gd name="connsiteY70" fmla="*/ 248697 h 450627"/>
                  <a:gd name="connsiteX71" fmla="*/ 469011 w 3421857"/>
                  <a:gd name="connsiteY71" fmla="*/ 248697 h 450627"/>
                  <a:gd name="connsiteX72" fmla="*/ 469011 w 3421857"/>
                  <a:gd name="connsiteY72" fmla="*/ 254698 h 450627"/>
                  <a:gd name="connsiteX73" fmla="*/ 483680 w 3421857"/>
                  <a:gd name="connsiteY73" fmla="*/ 254698 h 450627"/>
                  <a:gd name="connsiteX74" fmla="*/ 483680 w 3421857"/>
                  <a:gd name="connsiteY74" fmla="*/ 260794 h 450627"/>
                  <a:gd name="connsiteX75" fmla="*/ 513207 w 3421857"/>
                  <a:gd name="connsiteY75" fmla="*/ 260794 h 450627"/>
                  <a:gd name="connsiteX76" fmla="*/ 513207 w 3421857"/>
                  <a:gd name="connsiteY76" fmla="*/ 266890 h 450627"/>
                  <a:gd name="connsiteX77" fmla="*/ 515303 w 3421857"/>
                  <a:gd name="connsiteY77" fmla="*/ 266890 h 450627"/>
                  <a:gd name="connsiteX78" fmla="*/ 515303 w 3421857"/>
                  <a:gd name="connsiteY78" fmla="*/ 272891 h 450627"/>
                  <a:gd name="connsiteX79" fmla="*/ 538353 w 3421857"/>
                  <a:gd name="connsiteY79" fmla="*/ 272891 h 450627"/>
                  <a:gd name="connsiteX80" fmla="*/ 538353 w 3421857"/>
                  <a:gd name="connsiteY80" fmla="*/ 278987 h 450627"/>
                  <a:gd name="connsiteX81" fmla="*/ 551022 w 3421857"/>
                  <a:gd name="connsiteY81" fmla="*/ 278987 h 450627"/>
                  <a:gd name="connsiteX82" fmla="*/ 551022 w 3421857"/>
                  <a:gd name="connsiteY82" fmla="*/ 285083 h 450627"/>
                  <a:gd name="connsiteX83" fmla="*/ 586740 w 3421857"/>
                  <a:gd name="connsiteY83" fmla="*/ 285083 h 450627"/>
                  <a:gd name="connsiteX84" fmla="*/ 586740 w 3421857"/>
                  <a:gd name="connsiteY84" fmla="*/ 291179 h 450627"/>
                  <a:gd name="connsiteX85" fmla="*/ 702469 w 3421857"/>
                  <a:gd name="connsiteY85" fmla="*/ 291179 h 450627"/>
                  <a:gd name="connsiteX86" fmla="*/ 702469 w 3421857"/>
                  <a:gd name="connsiteY86" fmla="*/ 297180 h 450627"/>
                  <a:gd name="connsiteX87" fmla="*/ 740283 w 3421857"/>
                  <a:gd name="connsiteY87" fmla="*/ 297180 h 450627"/>
                  <a:gd name="connsiteX88" fmla="*/ 740283 w 3421857"/>
                  <a:gd name="connsiteY88" fmla="*/ 303371 h 450627"/>
                  <a:gd name="connsiteX89" fmla="*/ 792861 w 3421857"/>
                  <a:gd name="connsiteY89" fmla="*/ 303371 h 450627"/>
                  <a:gd name="connsiteX90" fmla="*/ 792861 w 3421857"/>
                  <a:gd name="connsiteY90" fmla="*/ 309467 h 450627"/>
                  <a:gd name="connsiteX91" fmla="*/ 811816 w 3421857"/>
                  <a:gd name="connsiteY91" fmla="*/ 309467 h 450627"/>
                  <a:gd name="connsiteX92" fmla="*/ 811816 w 3421857"/>
                  <a:gd name="connsiteY92" fmla="*/ 315563 h 450627"/>
                  <a:gd name="connsiteX93" fmla="*/ 822294 w 3421857"/>
                  <a:gd name="connsiteY93" fmla="*/ 315563 h 450627"/>
                  <a:gd name="connsiteX94" fmla="*/ 822294 w 3421857"/>
                  <a:gd name="connsiteY94" fmla="*/ 321754 h 450627"/>
                  <a:gd name="connsiteX95" fmla="*/ 856012 w 3421857"/>
                  <a:gd name="connsiteY95" fmla="*/ 321754 h 450627"/>
                  <a:gd name="connsiteX96" fmla="*/ 856012 w 3421857"/>
                  <a:gd name="connsiteY96" fmla="*/ 327850 h 450627"/>
                  <a:gd name="connsiteX97" fmla="*/ 862299 w 3421857"/>
                  <a:gd name="connsiteY97" fmla="*/ 327850 h 450627"/>
                  <a:gd name="connsiteX98" fmla="*/ 862299 w 3421857"/>
                  <a:gd name="connsiteY98" fmla="*/ 333946 h 450627"/>
                  <a:gd name="connsiteX99" fmla="*/ 876967 w 3421857"/>
                  <a:gd name="connsiteY99" fmla="*/ 333946 h 450627"/>
                  <a:gd name="connsiteX100" fmla="*/ 876967 w 3421857"/>
                  <a:gd name="connsiteY100" fmla="*/ 340042 h 450627"/>
                  <a:gd name="connsiteX101" fmla="*/ 889635 w 3421857"/>
                  <a:gd name="connsiteY101" fmla="*/ 340042 h 450627"/>
                  <a:gd name="connsiteX102" fmla="*/ 889635 w 3421857"/>
                  <a:gd name="connsiteY102" fmla="*/ 346233 h 450627"/>
                  <a:gd name="connsiteX103" fmla="*/ 914877 w 3421857"/>
                  <a:gd name="connsiteY103" fmla="*/ 346233 h 450627"/>
                  <a:gd name="connsiteX104" fmla="*/ 914877 w 3421857"/>
                  <a:gd name="connsiteY104" fmla="*/ 352329 h 450627"/>
                  <a:gd name="connsiteX105" fmla="*/ 1144143 w 3421857"/>
                  <a:gd name="connsiteY105" fmla="*/ 352329 h 450627"/>
                  <a:gd name="connsiteX106" fmla="*/ 1144143 w 3421857"/>
                  <a:gd name="connsiteY106" fmla="*/ 358521 h 450627"/>
                  <a:gd name="connsiteX107" fmla="*/ 1257681 w 3421857"/>
                  <a:gd name="connsiteY107" fmla="*/ 358521 h 450627"/>
                  <a:gd name="connsiteX108" fmla="*/ 1257681 w 3421857"/>
                  <a:gd name="connsiteY108" fmla="*/ 364712 h 450627"/>
                  <a:gd name="connsiteX109" fmla="*/ 1526858 w 3421857"/>
                  <a:gd name="connsiteY109" fmla="*/ 364712 h 450627"/>
                  <a:gd name="connsiteX110" fmla="*/ 1526858 w 3421857"/>
                  <a:gd name="connsiteY110" fmla="*/ 370998 h 450627"/>
                  <a:gd name="connsiteX111" fmla="*/ 1600486 w 3421857"/>
                  <a:gd name="connsiteY111" fmla="*/ 370998 h 450627"/>
                  <a:gd name="connsiteX112" fmla="*/ 1600486 w 3421857"/>
                  <a:gd name="connsiteY112" fmla="*/ 377285 h 450627"/>
                  <a:gd name="connsiteX113" fmla="*/ 1680401 w 3421857"/>
                  <a:gd name="connsiteY113" fmla="*/ 377285 h 450627"/>
                  <a:gd name="connsiteX114" fmla="*/ 1680401 w 3421857"/>
                  <a:gd name="connsiteY114" fmla="*/ 383571 h 450627"/>
                  <a:gd name="connsiteX115" fmla="*/ 1842326 w 3421857"/>
                  <a:gd name="connsiteY115" fmla="*/ 383571 h 450627"/>
                  <a:gd name="connsiteX116" fmla="*/ 1842326 w 3421857"/>
                  <a:gd name="connsiteY116" fmla="*/ 390048 h 450627"/>
                  <a:gd name="connsiteX117" fmla="*/ 1859185 w 3421857"/>
                  <a:gd name="connsiteY117" fmla="*/ 390048 h 450627"/>
                  <a:gd name="connsiteX118" fmla="*/ 1859185 w 3421857"/>
                  <a:gd name="connsiteY118" fmla="*/ 396430 h 450627"/>
                  <a:gd name="connsiteX119" fmla="*/ 1977009 w 3421857"/>
                  <a:gd name="connsiteY119" fmla="*/ 396430 h 450627"/>
                  <a:gd name="connsiteX120" fmla="*/ 1977009 w 3421857"/>
                  <a:gd name="connsiteY120" fmla="*/ 402907 h 450627"/>
                  <a:gd name="connsiteX121" fmla="*/ 2069497 w 3421857"/>
                  <a:gd name="connsiteY121" fmla="*/ 402907 h 450627"/>
                  <a:gd name="connsiteX122" fmla="*/ 2069497 w 3421857"/>
                  <a:gd name="connsiteY122" fmla="*/ 409289 h 450627"/>
                  <a:gd name="connsiteX123" fmla="*/ 2088452 w 3421857"/>
                  <a:gd name="connsiteY123" fmla="*/ 409289 h 450627"/>
                  <a:gd name="connsiteX124" fmla="*/ 2088452 w 3421857"/>
                  <a:gd name="connsiteY124" fmla="*/ 415766 h 450627"/>
                  <a:gd name="connsiteX125" fmla="*/ 2942273 w 3421857"/>
                  <a:gd name="connsiteY125" fmla="*/ 415766 h 450627"/>
                  <a:gd name="connsiteX126" fmla="*/ 2942273 w 3421857"/>
                  <a:gd name="connsiteY126" fmla="*/ 450627 h 450627"/>
                  <a:gd name="connsiteX127" fmla="*/ 3421857 w 3421857"/>
                  <a:gd name="connsiteY127" fmla="*/ 450627 h 450627"/>
                  <a:gd name="connsiteX0" fmla="*/ 0 w 3421857"/>
                  <a:gd name="connsiteY0" fmla="*/ 0 h 450627"/>
                  <a:gd name="connsiteX1" fmla="*/ 4191 w 3421857"/>
                  <a:gd name="connsiteY1" fmla="*/ 12096 h 450627"/>
                  <a:gd name="connsiteX2" fmla="*/ 8382 w 3421857"/>
                  <a:gd name="connsiteY2" fmla="*/ 12096 h 450627"/>
                  <a:gd name="connsiteX3" fmla="*/ 8382 w 3421857"/>
                  <a:gd name="connsiteY3" fmla="*/ 18192 h 450627"/>
                  <a:gd name="connsiteX4" fmla="*/ 21051 w 3421857"/>
                  <a:gd name="connsiteY4" fmla="*/ 18192 h 450627"/>
                  <a:gd name="connsiteX5" fmla="*/ 21051 w 3421857"/>
                  <a:gd name="connsiteY5" fmla="*/ 24193 h 450627"/>
                  <a:gd name="connsiteX6" fmla="*/ 50483 w 3421857"/>
                  <a:gd name="connsiteY6" fmla="*/ 24193 h 450627"/>
                  <a:gd name="connsiteX7" fmla="*/ 50483 w 3421857"/>
                  <a:gd name="connsiteY7" fmla="*/ 30289 h 450627"/>
                  <a:gd name="connsiteX8" fmla="*/ 58865 w 3421857"/>
                  <a:gd name="connsiteY8" fmla="*/ 30289 h 450627"/>
                  <a:gd name="connsiteX9" fmla="*/ 58865 w 3421857"/>
                  <a:gd name="connsiteY9" fmla="*/ 36385 h 450627"/>
                  <a:gd name="connsiteX10" fmla="*/ 60960 w 3421857"/>
                  <a:gd name="connsiteY10" fmla="*/ 36385 h 450627"/>
                  <a:gd name="connsiteX11" fmla="*/ 60960 w 3421857"/>
                  <a:gd name="connsiteY11" fmla="*/ 42386 h 450627"/>
                  <a:gd name="connsiteX12" fmla="*/ 75724 w 3421857"/>
                  <a:gd name="connsiteY12" fmla="*/ 42386 h 450627"/>
                  <a:gd name="connsiteX13" fmla="*/ 75724 w 3421857"/>
                  <a:gd name="connsiteY13" fmla="*/ 54578 h 450627"/>
                  <a:gd name="connsiteX14" fmla="*/ 77820 w 3421857"/>
                  <a:gd name="connsiteY14" fmla="*/ 54578 h 450627"/>
                  <a:gd name="connsiteX15" fmla="*/ 77820 w 3421857"/>
                  <a:gd name="connsiteY15" fmla="*/ 60579 h 450627"/>
                  <a:gd name="connsiteX16" fmla="*/ 84106 w 3421857"/>
                  <a:gd name="connsiteY16" fmla="*/ 60579 h 450627"/>
                  <a:gd name="connsiteX17" fmla="*/ 84106 w 3421857"/>
                  <a:gd name="connsiteY17" fmla="*/ 66675 h 450627"/>
                  <a:gd name="connsiteX18" fmla="*/ 88297 w 3421857"/>
                  <a:gd name="connsiteY18" fmla="*/ 66675 h 450627"/>
                  <a:gd name="connsiteX19" fmla="*/ 88297 w 3421857"/>
                  <a:gd name="connsiteY19" fmla="*/ 72771 h 450627"/>
                  <a:gd name="connsiteX20" fmla="*/ 105156 w 3421857"/>
                  <a:gd name="connsiteY20" fmla="*/ 72771 h 450627"/>
                  <a:gd name="connsiteX21" fmla="*/ 105156 w 3421857"/>
                  <a:gd name="connsiteY21" fmla="*/ 84867 h 450627"/>
                  <a:gd name="connsiteX22" fmla="*/ 109347 w 3421857"/>
                  <a:gd name="connsiteY22" fmla="*/ 84867 h 450627"/>
                  <a:gd name="connsiteX23" fmla="*/ 109347 w 3421857"/>
                  <a:gd name="connsiteY23" fmla="*/ 90963 h 450627"/>
                  <a:gd name="connsiteX24" fmla="*/ 132493 w 3421857"/>
                  <a:gd name="connsiteY24" fmla="*/ 90963 h 450627"/>
                  <a:gd name="connsiteX25" fmla="*/ 132493 w 3421857"/>
                  <a:gd name="connsiteY25" fmla="*/ 97059 h 450627"/>
                  <a:gd name="connsiteX26" fmla="*/ 136684 w 3421857"/>
                  <a:gd name="connsiteY26" fmla="*/ 97059 h 450627"/>
                  <a:gd name="connsiteX27" fmla="*/ 136684 w 3421857"/>
                  <a:gd name="connsiteY27" fmla="*/ 103060 h 450627"/>
                  <a:gd name="connsiteX28" fmla="*/ 142971 w 3421857"/>
                  <a:gd name="connsiteY28" fmla="*/ 103060 h 450627"/>
                  <a:gd name="connsiteX29" fmla="*/ 142971 w 3421857"/>
                  <a:gd name="connsiteY29" fmla="*/ 115252 h 450627"/>
                  <a:gd name="connsiteX30" fmla="*/ 161925 w 3421857"/>
                  <a:gd name="connsiteY30" fmla="*/ 115252 h 450627"/>
                  <a:gd name="connsiteX31" fmla="*/ 161925 w 3421857"/>
                  <a:gd name="connsiteY31" fmla="*/ 121253 h 450627"/>
                  <a:gd name="connsiteX32" fmla="*/ 170307 w 3421857"/>
                  <a:gd name="connsiteY32" fmla="*/ 121253 h 450627"/>
                  <a:gd name="connsiteX33" fmla="*/ 170307 w 3421857"/>
                  <a:gd name="connsiteY33" fmla="*/ 127349 h 450627"/>
                  <a:gd name="connsiteX34" fmla="*/ 182976 w 3421857"/>
                  <a:gd name="connsiteY34" fmla="*/ 127349 h 450627"/>
                  <a:gd name="connsiteX35" fmla="*/ 182976 w 3421857"/>
                  <a:gd name="connsiteY35" fmla="*/ 133445 h 450627"/>
                  <a:gd name="connsiteX36" fmla="*/ 199835 w 3421857"/>
                  <a:gd name="connsiteY36" fmla="*/ 133445 h 450627"/>
                  <a:gd name="connsiteX37" fmla="*/ 199835 w 3421857"/>
                  <a:gd name="connsiteY37" fmla="*/ 139446 h 450627"/>
                  <a:gd name="connsiteX38" fmla="*/ 227172 w 3421857"/>
                  <a:gd name="connsiteY38" fmla="*/ 139446 h 450627"/>
                  <a:gd name="connsiteX39" fmla="*/ 227172 w 3421857"/>
                  <a:gd name="connsiteY39" fmla="*/ 145542 h 450627"/>
                  <a:gd name="connsiteX40" fmla="*/ 229267 w 3421857"/>
                  <a:gd name="connsiteY40" fmla="*/ 145542 h 450627"/>
                  <a:gd name="connsiteX41" fmla="*/ 229267 w 3421857"/>
                  <a:gd name="connsiteY41" fmla="*/ 151638 h 450627"/>
                  <a:gd name="connsiteX42" fmla="*/ 239744 w 3421857"/>
                  <a:gd name="connsiteY42" fmla="*/ 151638 h 450627"/>
                  <a:gd name="connsiteX43" fmla="*/ 239744 w 3421857"/>
                  <a:gd name="connsiteY43" fmla="*/ 157638 h 450627"/>
                  <a:gd name="connsiteX44" fmla="*/ 246031 w 3421857"/>
                  <a:gd name="connsiteY44" fmla="*/ 157638 h 450627"/>
                  <a:gd name="connsiteX45" fmla="*/ 246031 w 3421857"/>
                  <a:gd name="connsiteY45" fmla="*/ 169830 h 450627"/>
                  <a:gd name="connsiteX46" fmla="*/ 254508 w 3421857"/>
                  <a:gd name="connsiteY46" fmla="*/ 169830 h 450627"/>
                  <a:gd name="connsiteX47" fmla="*/ 254508 w 3421857"/>
                  <a:gd name="connsiteY47" fmla="*/ 175831 h 450627"/>
                  <a:gd name="connsiteX48" fmla="*/ 260795 w 3421857"/>
                  <a:gd name="connsiteY48" fmla="*/ 175831 h 450627"/>
                  <a:gd name="connsiteX49" fmla="*/ 260795 w 3421857"/>
                  <a:gd name="connsiteY49" fmla="*/ 188023 h 450627"/>
                  <a:gd name="connsiteX50" fmla="*/ 262890 w 3421857"/>
                  <a:gd name="connsiteY50" fmla="*/ 188023 h 450627"/>
                  <a:gd name="connsiteX51" fmla="*/ 262890 w 3421857"/>
                  <a:gd name="connsiteY51" fmla="*/ 194119 h 450627"/>
                  <a:gd name="connsiteX52" fmla="*/ 275463 w 3421857"/>
                  <a:gd name="connsiteY52" fmla="*/ 194119 h 450627"/>
                  <a:gd name="connsiteX53" fmla="*/ 275463 w 3421857"/>
                  <a:gd name="connsiteY53" fmla="*/ 200120 h 450627"/>
                  <a:gd name="connsiteX54" fmla="*/ 298609 w 3421857"/>
                  <a:gd name="connsiteY54" fmla="*/ 200120 h 450627"/>
                  <a:gd name="connsiteX55" fmla="*/ 298609 w 3421857"/>
                  <a:gd name="connsiteY55" fmla="*/ 206216 h 450627"/>
                  <a:gd name="connsiteX56" fmla="*/ 304991 w 3421857"/>
                  <a:gd name="connsiteY56" fmla="*/ 206216 h 450627"/>
                  <a:gd name="connsiteX57" fmla="*/ 304991 w 3421857"/>
                  <a:gd name="connsiteY57" fmla="*/ 212312 h 450627"/>
                  <a:gd name="connsiteX58" fmla="*/ 313373 w 3421857"/>
                  <a:gd name="connsiteY58" fmla="*/ 212312 h 450627"/>
                  <a:gd name="connsiteX59" fmla="*/ 313373 w 3421857"/>
                  <a:gd name="connsiteY59" fmla="*/ 218313 h 450627"/>
                  <a:gd name="connsiteX60" fmla="*/ 321755 w 3421857"/>
                  <a:gd name="connsiteY60" fmla="*/ 218313 h 450627"/>
                  <a:gd name="connsiteX61" fmla="*/ 321755 w 3421857"/>
                  <a:gd name="connsiteY61" fmla="*/ 224409 h 450627"/>
                  <a:gd name="connsiteX62" fmla="*/ 325946 w 3421857"/>
                  <a:gd name="connsiteY62" fmla="*/ 224409 h 450627"/>
                  <a:gd name="connsiteX63" fmla="*/ 325946 w 3421857"/>
                  <a:gd name="connsiteY63" fmla="*/ 230505 h 450627"/>
                  <a:gd name="connsiteX64" fmla="*/ 399574 w 3421857"/>
                  <a:gd name="connsiteY64" fmla="*/ 230505 h 450627"/>
                  <a:gd name="connsiteX65" fmla="*/ 399574 w 3421857"/>
                  <a:gd name="connsiteY65" fmla="*/ 236505 h 450627"/>
                  <a:gd name="connsiteX66" fmla="*/ 420624 w 3421857"/>
                  <a:gd name="connsiteY66" fmla="*/ 236505 h 450627"/>
                  <a:gd name="connsiteX67" fmla="*/ 420624 w 3421857"/>
                  <a:gd name="connsiteY67" fmla="*/ 242601 h 450627"/>
                  <a:gd name="connsiteX68" fmla="*/ 426911 w 3421857"/>
                  <a:gd name="connsiteY68" fmla="*/ 242601 h 450627"/>
                  <a:gd name="connsiteX69" fmla="*/ 426911 w 3421857"/>
                  <a:gd name="connsiteY69" fmla="*/ 248697 h 450627"/>
                  <a:gd name="connsiteX70" fmla="*/ 469011 w 3421857"/>
                  <a:gd name="connsiteY70" fmla="*/ 248697 h 450627"/>
                  <a:gd name="connsiteX71" fmla="*/ 469011 w 3421857"/>
                  <a:gd name="connsiteY71" fmla="*/ 254698 h 450627"/>
                  <a:gd name="connsiteX72" fmla="*/ 483680 w 3421857"/>
                  <a:gd name="connsiteY72" fmla="*/ 254698 h 450627"/>
                  <a:gd name="connsiteX73" fmla="*/ 483680 w 3421857"/>
                  <a:gd name="connsiteY73" fmla="*/ 260794 h 450627"/>
                  <a:gd name="connsiteX74" fmla="*/ 513207 w 3421857"/>
                  <a:gd name="connsiteY74" fmla="*/ 260794 h 450627"/>
                  <a:gd name="connsiteX75" fmla="*/ 513207 w 3421857"/>
                  <a:gd name="connsiteY75" fmla="*/ 266890 h 450627"/>
                  <a:gd name="connsiteX76" fmla="*/ 515303 w 3421857"/>
                  <a:gd name="connsiteY76" fmla="*/ 266890 h 450627"/>
                  <a:gd name="connsiteX77" fmla="*/ 515303 w 3421857"/>
                  <a:gd name="connsiteY77" fmla="*/ 272891 h 450627"/>
                  <a:gd name="connsiteX78" fmla="*/ 538353 w 3421857"/>
                  <a:gd name="connsiteY78" fmla="*/ 272891 h 450627"/>
                  <a:gd name="connsiteX79" fmla="*/ 538353 w 3421857"/>
                  <a:gd name="connsiteY79" fmla="*/ 278987 h 450627"/>
                  <a:gd name="connsiteX80" fmla="*/ 551022 w 3421857"/>
                  <a:gd name="connsiteY80" fmla="*/ 278987 h 450627"/>
                  <a:gd name="connsiteX81" fmla="*/ 551022 w 3421857"/>
                  <a:gd name="connsiteY81" fmla="*/ 285083 h 450627"/>
                  <a:gd name="connsiteX82" fmla="*/ 586740 w 3421857"/>
                  <a:gd name="connsiteY82" fmla="*/ 285083 h 450627"/>
                  <a:gd name="connsiteX83" fmla="*/ 586740 w 3421857"/>
                  <a:gd name="connsiteY83" fmla="*/ 291179 h 450627"/>
                  <a:gd name="connsiteX84" fmla="*/ 702469 w 3421857"/>
                  <a:gd name="connsiteY84" fmla="*/ 291179 h 450627"/>
                  <a:gd name="connsiteX85" fmla="*/ 702469 w 3421857"/>
                  <a:gd name="connsiteY85" fmla="*/ 297180 h 450627"/>
                  <a:gd name="connsiteX86" fmla="*/ 740283 w 3421857"/>
                  <a:gd name="connsiteY86" fmla="*/ 297180 h 450627"/>
                  <a:gd name="connsiteX87" fmla="*/ 740283 w 3421857"/>
                  <a:gd name="connsiteY87" fmla="*/ 303371 h 450627"/>
                  <a:gd name="connsiteX88" fmla="*/ 792861 w 3421857"/>
                  <a:gd name="connsiteY88" fmla="*/ 303371 h 450627"/>
                  <a:gd name="connsiteX89" fmla="*/ 792861 w 3421857"/>
                  <a:gd name="connsiteY89" fmla="*/ 309467 h 450627"/>
                  <a:gd name="connsiteX90" fmla="*/ 811816 w 3421857"/>
                  <a:gd name="connsiteY90" fmla="*/ 309467 h 450627"/>
                  <a:gd name="connsiteX91" fmla="*/ 811816 w 3421857"/>
                  <a:gd name="connsiteY91" fmla="*/ 315563 h 450627"/>
                  <a:gd name="connsiteX92" fmla="*/ 822294 w 3421857"/>
                  <a:gd name="connsiteY92" fmla="*/ 315563 h 450627"/>
                  <a:gd name="connsiteX93" fmla="*/ 822294 w 3421857"/>
                  <a:gd name="connsiteY93" fmla="*/ 321754 h 450627"/>
                  <a:gd name="connsiteX94" fmla="*/ 856012 w 3421857"/>
                  <a:gd name="connsiteY94" fmla="*/ 321754 h 450627"/>
                  <a:gd name="connsiteX95" fmla="*/ 856012 w 3421857"/>
                  <a:gd name="connsiteY95" fmla="*/ 327850 h 450627"/>
                  <a:gd name="connsiteX96" fmla="*/ 862299 w 3421857"/>
                  <a:gd name="connsiteY96" fmla="*/ 327850 h 450627"/>
                  <a:gd name="connsiteX97" fmla="*/ 862299 w 3421857"/>
                  <a:gd name="connsiteY97" fmla="*/ 333946 h 450627"/>
                  <a:gd name="connsiteX98" fmla="*/ 876967 w 3421857"/>
                  <a:gd name="connsiteY98" fmla="*/ 333946 h 450627"/>
                  <a:gd name="connsiteX99" fmla="*/ 876967 w 3421857"/>
                  <a:gd name="connsiteY99" fmla="*/ 340042 h 450627"/>
                  <a:gd name="connsiteX100" fmla="*/ 889635 w 3421857"/>
                  <a:gd name="connsiteY100" fmla="*/ 340042 h 450627"/>
                  <a:gd name="connsiteX101" fmla="*/ 889635 w 3421857"/>
                  <a:gd name="connsiteY101" fmla="*/ 346233 h 450627"/>
                  <a:gd name="connsiteX102" fmla="*/ 914877 w 3421857"/>
                  <a:gd name="connsiteY102" fmla="*/ 346233 h 450627"/>
                  <a:gd name="connsiteX103" fmla="*/ 914877 w 3421857"/>
                  <a:gd name="connsiteY103" fmla="*/ 352329 h 450627"/>
                  <a:gd name="connsiteX104" fmla="*/ 1144143 w 3421857"/>
                  <a:gd name="connsiteY104" fmla="*/ 352329 h 450627"/>
                  <a:gd name="connsiteX105" fmla="*/ 1144143 w 3421857"/>
                  <a:gd name="connsiteY105" fmla="*/ 358521 h 450627"/>
                  <a:gd name="connsiteX106" fmla="*/ 1257681 w 3421857"/>
                  <a:gd name="connsiteY106" fmla="*/ 358521 h 450627"/>
                  <a:gd name="connsiteX107" fmla="*/ 1257681 w 3421857"/>
                  <a:gd name="connsiteY107" fmla="*/ 364712 h 450627"/>
                  <a:gd name="connsiteX108" fmla="*/ 1526858 w 3421857"/>
                  <a:gd name="connsiteY108" fmla="*/ 364712 h 450627"/>
                  <a:gd name="connsiteX109" fmla="*/ 1526858 w 3421857"/>
                  <a:gd name="connsiteY109" fmla="*/ 370998 h 450627"/>
                  <a:gd name="connsiteX110" fmla="*/ 1600486 w 3421857"/>
                  <a:gd name="connsiteY110" fmla="*/ 370998 h 450627"/>
                  <a:gd name="connsiteX111" fmla="*/ 1600486 w 3421857"/>
                  <a:gd name="connsiteY111" fmla="*/ 377285 h 450627"/>
                  <a:gd name="connsiteX112" fmla="*/ 1680401 w 3421857"/>
                  <a:gd name="connsiteY112" fmla="*/ 377285 h 450627"/>
                  <a:gd name="connsiteX113" fmla="*/ 1680401 w 3421857"/>
                  <a:gd name="connsiteY113" fmla="*/ 383571 h 450627"/>
                  <a:gd name="connsiteX114" fmla="*/ 1842326 w 3421857"/>
                  <a:gd name="connsiteY114" fmla="*/ 383571 h 450627"/>
                  <a:gd name="connsiteX115" fmla="*/ 1842326 w 3421857"/>
                  <a:gd name="connsiteY115" fmla="*/ 390048 h 450627"/>
                  <a:gd name="connsiteX116" fmla="*/ 1859185 w 3421857"/>
                  <a:gd name="connsiteY116" fmla="*/ 390048 h 450627"/>
                  <a:gd name="connsiteX117" fmla="*/ 1859185 w 3421857"/>
                  <a:gd name="connsiteY117" fmla="*/ 396430 h 450627"/>
                  <a:gd name="connsiteX118" fmla="*/ 1977009 w 3421857"/>
                  <a:gd name="connsiteY118" fmla="*/ 396430 h 450627"/>
                  <a:gd name="connsiteX119" fmla="*/ 1977009 w 3421857"/>
                  <a:gd name="connsiteY119" fmla="*/ 402907 h 450627"/>
                  <a:gd name="connsiteX120" fmla="*/ 2069497 w 3421857"/>
                  <a:gd name="connsiteY120" fmla="*/ 402907 h 450627"/>
                  <a:gd name="connsiteX121" fmla="*/ 2069497 w 3421857"/>
                  <a:gd name="connsiteY121" fmla="*/ 409289 h 450627"/>
                  <a:gd name="connsiteX122" fmla="*/ 2088452 w 3421857"/>
                  <a:gd name="connsiteY122" fmla="*/ 409289 h 450627"/>
                  <a:gd name="connsiteX123" fmla="*/ 2088452 w 3421857"/>
                  <a:gd name="connsiteY123" fmla="*/ 415766 h 450627"/>
                  <a:gd name="connsiteX124" fmla="*/ 2942273 w 3421857"/>
                  <a:gd name="connsiteY124" fmla="*/ 415766 h 450627"/>
                  <a:gd name="connsiteX125" fmla="*/ 2942273 w 3421857"/>
                  <a:gd name="connsiteY125" fmla="*/ 450627 h 450627"/>
                  <a:gd name="connsiteX126" fmla="*/ 3421857 w 3421857"/>
                  <a:gd name="connsiteY126" fmla="*/ 450627 h 450627"/>
                  <a:gd name="connsiteX0" fmla="*/ 0 w 3417666"/>
                  <a:gd name="connsiteY0" fmla="*/ 0 h 438531"/>
                  <a:gd name="connsiteX1" fmla="*/ 4191 w 3417666"/>
                  <a:gd name="connsiteY1" fmla="*/ 0 h 438531"/>
                  <a:gd name="connsiteX2" fmla="*/ 4191 w 3417666"/>
                  <a:gd name="connsiteY2" fmla="*/ 6096 h 438531"/>
                  <a:gd name="connsiteX3" fmla="*/ 16860 w 3417666"/>
                  <a:gd name="connsiteY3" fmla="*/ 6096 h 438531"/>
                  <a:gd name="connsiteX4" fmla="*/ 16860 w 3417666"/>
                  <a:gd name="connsiteY4" fmla="*/ 12097 h 438531"/>
                  <a:gd name="connsiteX5" fmla="*/ 46292 w 3417666"/>
                  <a:gd name="connsiteY5" fmla="*/ 12097 h 438531"/>
                  <a:gd name="connsiteX6" fmla="*/ 46292 w 3417666"/>
                  <a:gd name="connsiteY6" fmla="*/ 18193 h 438531"/>
                  <a:gd name="connsiteX7" fmla="*/ 54674 w 3417666"/>
                  <a:gd name="connsiteY7" fmla="*/ 18193 h 438531"/>
                  <a:gd name="connsiteX8" fmla="*/ 54674 w 3417666"/>
                  <a:gd name="connsiteY8" fmla="*/ 24289 h 438531"/>
                  <a:gd name="connsiteX9" fmla="*/ 56769 w 3417666"/>
                  <a:gd name="connsiteY9" fmla="*/ 24289 h 438531"/>
                  <a:gd name="connsiteX10" fmla="*/ 56769 w 3417666"/>
                  <a:gd name="connsiteY10" fmla="*/ 30290 h 438531"/>
                  <a:gd name="connsiteX11" fmla="*/ 71533 w 3417666"/>
                  <a:gd name="connsiteY11" fmla="*/ 30290 h 438531"/>
                  <a:gd name="connsiteX12" fmla="*/ 71533 w 3417666"/>
                  <a:gd name="connsiteY12" fmla="*/ 42482 h 438531"/>
                  <a:gd name="connsiteX13" fmla="*/ 73629 w 3417666"/>
                  <a:gd name="connsiteY13" fmla="*/ 42482 h 438531"/>
                  <a:gd name="connsiteX14" fmla="*/ 73629 w 3417666"/>
                  <a:gd name="connsiteY14" fmla="*/ 48483 h 438531"/>
                  <a:gd name="connsiteX15" fmla="*/ 79915 w 3417666"/>
                  <a:gd name="connsiteY15" fmla="*/ 48483 h 438531"/>
                  <a:gd name="connsiteX16" fmla="*/ 79915 w 3417666"/>
                  <a:gd name="connsiteY16" fmla="*/ 54579 h 438531"/>
                  <a:gd name="connsiteX17" fmla="*/ 84106 w 3417666"/>
                  <a:gd name="connsiteY17" fmla="*/ 54579 h 438531"/>
                  <a:gd name="connsiteX18" fmla="*/ 84106 w 3417666"/>
                  <a:gd name="connsiteY18" fmla="*/ 60675 h 438531"/>
                  <a:gd name="connsiteX19" fmla="*/ 100965 w 3417666"/>
                  <a:gd name="connsiteY19" fmla="*/ 60675 h 438531"/>
                  <a:gd name="connsiteX20" fmla="*/ 100965 w 3417666"/>
                  <a:gd name="connsiteY20" fmla="*/ 72771 h 438531"/>
                  <a:gd name="connsiteX21" fmla="*/ 105156 w 3417666"/>
                  <a:gd name="connsiteY21" fmla="*/ 72771 h 438531"/>
                  <a:gd name="connsiteX22" fmla="*/ 105156 w 3417666"/>
                  <a:gd name="connsiteY22" fmla="*/ 78867 h 438531"/>
                  <a:gd name="connsiteX23" fmla="*/ 128302 w 3417666"/>
                  <a:gd name="connsiteY23" fmla="*/ 78867 h 438531"/>
                  <a:gd name="connsiteX24" fmla="*/ 128302 w 3417666"/>
                  <a:gd name="connsiteY24" fmla="*/ 84963 h 438531"/>
                  <a:gd name="connsiteX25" fmla="*/ 132493 w 3417666"/>
                  <a:gd name="connsiteY25" fmla="*/ 84963 h 438531"/>
                  <a:gd name="connsiteX26" fmla="*/ 132493 w 3417666"/>
                  <a:gd name="connsiteY26" fmla="*/ 90964 h 438531"/>
                  <a:gd name="connsiteX27" fmla="*/ 138780 w 3417666"/>
                  <a:gd name="connsiteY27" fmla="*/ 90964 h 438531"/>
                  <a:gd name="connsiteX28" fmla="*/ 138780 w 3417666"/>
                  <a:gd name="connsiteY28" fmla="*/ 103156 h 438531"/>
                  <a:gd name="connsiteX29" fmla="*/ 157734 w 3417666"/>
                  <a:gd name="connsiteY29" fmla="*/ 103156 h 438531"/>
                  <a:gd name="connsiteX30" fmla="*/ 157734 w 3417666"/>
                  <a:gd name="connsiteY30" fmla="*/ 109157 h 438531"/>
                  <a:gd name="connsiteX31" fmla="*/ 166116 w 3417666"/>
                  <a:gd name="connsiteY31" fmla="*/ 109157 h 438531"/>
                  <a:gd name="connsiteX32" fmla="*/ 166116 w 3417666"/>
                  <a:gd name="connsiteY32" fmla="*/ 115253 h 438531"/>
                  <a:gd name="connsiteX33" fmla="*/ 178785 w 3417666"/>
                  <a:gd name="connsiteY33" fmla="*/ 115253 h 438531"/>
                  <a:gd name="connsiteX34" fmla="*/ 178785 w 3417666"/>
                  <a:gd name="connsiteY34" fmla="*/ 121349 h 438531"/>
                  <a:gd name="connsiteX35" fmla="*/ 195644 w 3417666"/>
                  <a:gd name="connsiteY35" fmla="*/ 121349 h 438531"/>
                  <a:gd name="connsiteX36" fmla="*/ 195644 w 3417666"/>
                  <a:gd name="connsiteY36" fmla="*/ 127350 h 438531"/>
                  <a:gd name="connsiteX37" fmla="*/ 222981 w 3417666"/>
                  <a:gd name="connsiteY37" fmla="*/ 127350 h 438531"/>
                  <a:gd name="connsiteX38" fmla="*/ 222981 w 3417666"/>
                  <a:gd name="connsiteY38" fmla="*/ 133446 h 438531"/>
                  <a:gd name="connsiteX39" fmla="*/ 225076 w 3417666"/>
                  <a:gd name="connsiteY39" fmla="*/ 133446 h 438531"/>
                  <a:gd name="connsiteX40" fmla="*/ 225076 w 3417666"/>
                  <a:gd name="connsiteY40" fmla="*/ 139542 h 438531"/>
                  <a:gd name="connsiteX41" fmla="*/ 235553 w 3417666"/>
                  <a:gd name="connsiteY41" fmla="*/ 139542 h 438531"/>
                  <a:gd name="connsiteX42" fmla="*/ 235553 w 3417666"/>
                  <a:gd name="connsiteY42" fmla="*/ 145542 h 438531"/>
                  <a:gd name="connsiteX43" fmla="*/ 241840 w 3417666"/>
                  <a:gd name="connsiteY43" fmla="*/ 145542 h 438531"/>
                  <a:gd name="connsiteX44" fmla="*/ 241840 w 3417666"/>
                  <a:gd name="connsiteY44" fmla="*/ 157734 h 438531"/>
                  <a:gd name="connsiteX45" fmla="*/ 250317 w 3417666"/>
                  <a:gd name="connsiteY45" fmla="*/ 157734 h 438531"/>
                  <a:gd name="connsiteX46" fmla="*/ 250317 w 3417666"/>
                  <a:gd name="connsiteY46" fmla="*/ 163735 h 438531"/>
                  <a:gd name="connsiteX47" fmla="*/ 256604 w 3417666"/>
                  <a:gd name="connsiteY47" fmla="*/ 163735 h 438531"/>
                  <a:gd name="connsiteX48" fmla="*/ 256604 w 3417666"/>
                  <a:gd name="connsiteY48" fmla="*/ 175927 h 438531"/>
                  <a:gd name="connsiteX49" fmla="*/ 258699 w 3417666"/>
                  <a:gd name="connsiteY49" fmla="*/ 175927 h 438531"/>
                  <a:gd name="connsiteX50" fmla="*/ 258699 w 3417666"/>
                  <a:gd name="connsiteY50" fmla="*/ 182023 h 438531"/>
                  <a:gd name="connsiteX51" fmla="*/ 271272 w 3417666"/>
                  <a:gd name="connsiteY51" fmla="*/ 182023 h 438531"/>
                  <a:gd name="connsiteX52" fmla="*/ 271272 w 3417666"/>
                  <a:gd name="connsiteY52" fmla="*/ 188024 h 438531"/>
                  <a:gd name="connsiteX53" fmla="*/ 294418 w 3417666"/>
                  <a:gd name="connsiteY53" fmla="*/ 188024 h 438531"/>
                  <a:gd name="connsiteX54" fmla="*/ 294418 w 3417666"/>
                  <a:gd name="connsiteY54" fmla="*/ 194120 h 438531"/>
                  <a:gd name="connsiteX55" fmla="*/ 300800 w 3417666"/>
                  <a:gd name="connsiteY55" fmla="*/ 194120 h 438531"/>
                  <a:gd name="connsiteX56" fmla="*/ 300800 w 3417666"/>
                  <a:gd name="connsiteY56" fmla="*/ 200216 h 438531"/>
                  <a:gd name="connsiteX57" fmla="*/ 309182 w 3417666"/>
                  <a:gd name="connsiteY57" fmla="*/ 200216 h 438531"/>
                  <a:gd name="connsiteX58" fmla="*/ 309182 w 3417666"/>
                  <a:gd name="connsiteY58" fmla="*/ 206217 h 438531"/>
                  <a:gd name="connsiteX59" fmla="*/ 317564 w 3417666"/>
                  <a:gd name="connsiteY59" fmla="*/ 206217 h 438531"/>
                  <a:gd name="connsiteX60" fmla="*/ 317564 w 3417666"/>
                  <a:gd name="connsiteY60" fmla="*/ 212313 h 438531"/>
                  <a:gd name="connsiteX61" fmla="*/ 321755 w 3417666"/>
                  <a:gd name="connsiteY61" fmla="*/ 212313 h 438531"/>
                  <a:gd name="connsiteX62" fmla="*/ 321755 w 3417666"/>
                  <a:gd name="connsiteY62" fmla="*/ 218409 h 438531"/>
                  <a:gd name="connsiteX63" fmla="*/ 395383 w 3417666"/>
                  <a:gd name="connsiteY63" fmla="*/ 218409 h 438531"/>
                  <a:gd name="connsiteX64" fmla="*/ 395383 w 3417666"/>
                  <a:gd name="connsiteY64" fmla="*/ 224409 h 438531"/>
                  <a:gd name="connsiteX65" fmla="*/ 416433 w 3417666"/>
                  <a:gd name="connsiteY65" fmla="*/ 224409 h 438531"/>
                  <a:gd name="connsiteX66" fmla="*/ 416433 w 3417666"/>
                  <a:gd name="connsiteY66" fmla="*/ 230505 h 438531"/>
                  <a:gd name="connsiteX67" fmla="*/ 422720 w 3417666"/>
                  <a:gd name="connsiteY67" fmla="*/ 230505 h 438531"/>
                  <a:gd name="connsiteX68" fmla="*/ 422720 w 3417666"/>
                  <a:gd name="connsiteY68" fmla="*/ 236601 h 438531"/>
                  <a:gd name="connsiteX69" fmla="*/ 464820 w 3417666"/>
                  <a:gd name="connsiteY69" fmla="*/ 236601 h 438531"/>
                  <a:gd name="connsiteX70" fmla="*/ 464820 w 3417666"/>
                  <a:gd name="connsiteY70" fmla="*/ 242602 h 438531"/>
                  <a:gd name="connsiteX71" fmla="*/ 479489 w 3417666"/>
                  <a:gd name="connsiteY71" fmla="*/ 242602 h 438531"/>
                  <a:gd name="connsiteX72" fmla="*/ 479489 w 3417666"/>
                  <a:gd name="connsiteY72" fmla="*/ 248698 h 438531"/>
                  <a:gd name="connsiteX73" fmla="*/ 509016 w 3417666"/>
                  <a:gd name="connsiteY73" fmla="*/ 248698 h 438531"/>
                  <a:gd name="connsiteX74" fmla="*/ 509016 w 3417666"/>
                  <a:gd name="connsiteY74" fmla="*/ 254794 h 438531"/>
                  <a:gd name="connsiteX75" fmla="*/ 511112 w 3417666"/>
                  <a:gd name="connsiteY75" fmla="*/ 254794 h 438531"/>
                  <a:gd name="connsiteX76" fmla="*/ 511112 w 3417666"/>
                  <a:gd name="connsiteY76" fmla="*/ 260795 h 438531"/>
                  <a:gd name="connsiteX77" fmla="*/ 534162 w 3417666"/>
                  <a:gd name="connsiteY77" fmla="*/ 260795 h 438531"/>
                  <a:gd name="connsiteX78" fmla="*/ 534162 w 3417666"/>
                  <a:gd name="connsiteY78" fmla="*/ 266891 h 438531"/>
                  <a:gd name="connsiteX79" fmla="*/ 546831 w 3417666"/>
                  <a:gd name="connsiteY79" fmla="*/ 266891 h 438531"/>
                  <a:gd name="connsiteX80" fmla="*/ 546831 w 3417666"/>
                  <a:gd name="connsiteY80" fmla="*/ 272987 h 438531"/>
                  <a:gd name="connsiteX81" fmla="*/ 582549 w 3417666"/>
                  <a:gd name="connsiteY81" fmla="*/ 272987 h 438531"/>
                  <a:gd name="connsiteX82" fmla="*/ 582549 w 3417666"/>
                  <a:gd name="connsiteY82" fmla="*/ 279083 h 438531"/>
                  <a:gd name="connsiteX83" fmla="*/ 698278 w 3417666"/>
                  <a:gd name="connsiteY83" fmla="*/ 279083 h 438531"/>
                  <a:gd name="connsiteX84" fmla="*/ 698278 w 3417666"/>
                  <a:gd name="connsiteY84" fmla="*/ 285084 h 438531"/>
                  <a:gd name="connsiteX85" fmla="*/ 736092 w 3417666"/>
                  <a:gd name="connsiteY85" fmla="*/ 285084 h 438531"/>
                  <a:gd name="connsiteX86" fmla="*/ 736092 w 3417666"/>
                  <a:gd name="connsiteY86" fmla="*/ 291275 h 438531"/>
                  <a:gd name="connsiteX87" fmla="*/ 788670 w 3417666"/>
                  <a:gd name="connsiteY87" fmla="*/ 291275 h 438531"/>
                  <a:gd name="connsiteX88" fmla="*/ 788670 w 3417666"/>
                  <a:gd name="connsiteY88" fmla="*/ 297371 h 438531"/>
                  <a:gd name="connsiteX89" fmla="*/ 807625 w 3417666"/>
                  <a:gd name="connsiteY89" fmla="*/ 297371 h 438531"/>
                  <a:gd name="connsiteX90" fmla="*/ 807625 w 3417666"/>
                  <a:gd name="connsiteY90" fmla="*/ 303467 h 438531"/>
                  <a:gd name="connsiteX91" fmla="*/ 818103 w 3417666"/>
                  <a:gd name="connsiteY91" fmla="*/ 303467 h 438531"/>
                  <a:gd name="connsiteX92" fmla="*/ 818103 w 3417666"/>
                  <a:gd name="connsiteY92" fmla="*/ 309658 h 438531"/>
                  <a:gd name="connsiteX93" fmla="*/ 851821 w 3417666"/>
                  <a:gd name="connsiteY93" fmla="*/ 309658 h 438531"/>
                  <a:gd name="connsiteX94" fmla="*/ 851821 w 3417666"/>
                  <a:gd name="connsiteY94" fmla="*/ 315754 h 438531"/>
                  <a:gd name="connsiteX95" fmla="*/ 858108 w 3417666"/>
                  <a:gd name="connsiteY95" fmla="*/ 315754 h 438531"/>
                  <a:gd name="connsiteX96" fmla="*/ 858108 w 3417666"/>
                  <a:gd name="connsiteY96" fmla="*/ 321850 h 438531"/>
                  <a:gd name="connsiteX97" fmla="*/ 872776 w 3417666"/>
                  <a:gd name="connsiteY97" fmla="*/ 321850 h 438531"/>
                  <a:gd name="connsiteX98" fmla="*/ 872776 w 3417666"/>
                  <a:gd name="connsiteY98" fmla="*/ 327946 h 438531"/>
                  <a:gd name="connsiteX99" fmla="*/ 885444 w 3417666"/>
                  <a:gd name="connsiteY99" fmla="*/ 327946 h 438531"/>
                  <a:gd name="connsiteX100" fmla="*/ 885444 w 3417666"/>
                  <a:gd name="connsiteY100" fmla="*/ 334137 h 438531"/>
                  <a:gd name="connsiteX101" fmla="*/ 910686 w 3417666"/>
                  <a:gd name="connsiteY101" fmla="*/ 334137 h 438531"/>
                  <a:gd name="connsiteX102" fmla="*/ 910686 w 3417666"/>
                  <a:gd name="connsiteY102" fmla="*/ 340233 h 438531"/>
                  <a:gd name="connsiteX103" fmla="*/ 1139952 w 3417666"/>
                  <a:gd name="connsiteY103" fmla="*/ 340233 h 438531"/>
                  <a:gd name="connsiteX104" fmla="*/ 1139952 w 3417666"/>
                  <a:gd name="connsiteY104" fmla="*/ 346425 h 438531"/>
                  <a:gd name="connsiteX105" fmla="*/ 1253490 w 3417666"/>
                  <a:gd name="connsiteY105" fmla="*/ 346425 h 438531"/>
                  <a:gd name="connsiteX106" fmla="*/ 1253490 w 3417666"/>
                  <a:gd name="connsiteY106" fmla="*/ 352616 h 438531"/>
                  <a:gd name="connsiteX107" fmla="*/ 1522667 w 3417666"/>
                  <a:gd name="connsiteY107" fmla="*/ 352616 h 438531"/>
                  <a:gd name="connsiteX108" fmla="*/ 1522667 w 3417666"/>
                  <a:gd name="connsiteY108" fmla="*/ 358902 h 438531"/>
                  <a:gd name="connsiteX109" fmla="*/ 1596295 w 3417666"/>
                  <a:gd name="connsiteY109" fmla="*/ 358902 h 438531"/>
                  <a:gd name="connsiteX110" fmla="*/ 1596295 w 3417666"/>
                  <a:gd name="connsiteY110" fmla="*/ 365189 h 438531"/>
                  <a:gd name="connsiteX111" fmla="*/ 1676210 w 3417666"/>
                  <a:gd name="connsiteY111" fmla="*/ 365189 h 438531"/>
                  <a:gd name="connsiteX112" fmla="*/ 1676210 w 3417666"/>
                  <a:gd name="connsiteY112" fmla="*/ 371475 h 438531"/>
                  <a:gd name="connsiteX113" fmla="*/ 1838135 w 3417666"/>
                  <a:gd name="connsiteY113" fmla="*/ 371475 h 438531"/>
                  <a:gd name="connsiteX114" fmla="*/ 1838135 w 3417666"/>
                  <a:gd name="connsiteY114" fmla="*/ 377952 h 438531"/>
                  <a:gd name="connsiteX115" fmla="*/ 1854994 w 3417666"/>
                  <a:gd name="connsiteY115" fmla="*/ 377952 h 438531"/>
                  <a:gd name="connsiteX116" fmla="*/ 1854994 w 3417666"/>
                  <a:gd name="connsiteY116" fmla="*/ 384334 h 438531"/>
                  <a:gd name="connsiteX117" fmla="*/ 1972818 w 3417666"/>
                  <a:gd name="connsiteY117" fmla="*/ 384334 h 438531"/>
                  <a:gd name="connsiteX118" fmla="*/ 1972818 w 3417666"/>
                  <a:gd name="connsiteY118" fmla="*/ 390811 h 438531"/>
                  <a:gd name="connsiteX119" fmla="*/ 2065306 w 3417666"/>
                  <a:gd name="connsiteY119" fmla="*/ 390811 h 438531"/>
                  <a:gd name="connsiteX120" fmla="*/ 2065306 w 3417666"/>
                  <a:gd name="connsiteY120" fmla="*/ 397193 h 438531"/>
                  <a:gd name="connsiteX121" fmla="*/ 2084261 w 3417666"/>
                  <a:gd name="connsiteY121" fmla="*/ 397193 h 438531"/>
                  <a:gd name="connsiteX122" fmla="*/ 2084261 w 3417666"/>
                  <a:gd name="connsiteY122" fmla="*/ 403670 h 438531"/>
                  <a:gd name="connsiteX123" fmla="*/ 2938082 w 3417666"/>
                  <a:gd name="connsiteY123" fmla="*/ 403670 h 438531"/>
                  <a:gd name="connsiteX124" fmla="*/ 2938082 w 3417666"/>
                  <a:gd name="connsiteY124" fmla="*/ 438531 h 438531"/>
                  <a:gd name="connsiteX125" fmla="*/ 3417666 w 3417666"/>
                  <a:gd name="connsiteY125" fmla="*/ 438531 h 438531"/>
                  <a:gd name="connsiteX0" fmla="*/ 0 w 3417666"/>
                  <a:gd name="connsiteY0" fmla="*/ 0 h 438531"/>
                  <a:gd name="connsiteX1" fmla="*/ 4191 w 3417666"/>
                  <a:gd name="connsiteY1" fmla="*/ 0 h 438531"/>
                  <a:gd name="connsiteX2" fmla="*/ 16860 w 3417666"/>
                  <a:gd name="connsiteY2" fmla="*/ 6096 h 438531"/>
                  <a:gd name="connsiteX3" fmla="*/ 16860 w 3417666"/>
                  <a:gd name="connsiteY3" fmla="*/ 12097 h 438531"/>
                  <a:gd name="connsiteX4" fmla="*/ 46292 w 3417666"/>
                  <a:gd name="connsiteY4" fmla="*/ 12097 h 438531"/>
                  <a:gd name="connsiteX5" fmla="*/ 46292 w 3417666"/>
                  <a:gd name="connsiteY5" fmla="*/ 18193 h 438531"/>
                  <a:gd name="connsiteX6" fmla="*/ 54674 w 3417666"/>
                  <a:gd name="connsiteY6" fmla="*/ 18193 h 438531"/>
                  <a:gd name="connsiteX7" fmla="*/ 54674 w 3417666"/>
                  <a:gd name="connsiteY7" fmla="*/ 24289 h 438531"/>
                  <a:gd name="connsiteX8" fmla="*/ 56769 w 3417666"/>
                  <a:gd name="connsiteY8" fmla="*/ 24289 h 438531"/>
                  <a:gd name="connsiteX9" fmla="*/ 56769 w 3417666"/>
                  <a:gd name="connsiteY9" fmla="*/ 30290 h 438531"/>
                  <a:gd name="connsiteX10" fmla="*/ 71533 w 3417666"/>
                  <a:gd name="connsiteY10" fmla="*/ 30290 h 438531"/>
                  <a:gd name="connsiteX11" fmla="*/ 71533 w 3417666"/>
                  <a:gd name="connsiteY11" fmla="*/ 42482 h 438531"/>
                  <a:gd name="connsiteX12" fmla="*/ 73629 w 3417666"/>
                  <a:gd name="connsiteY12" fmla="*/ 42482 h 438531"/>
                  <a:gd name="connsiteX13" fmla="*/ 73629 w 3417666"/>
                  <a:gd name="connsiteY13" fmla="*/ 48483 h 438531"/>
                  <a:gd name="connsiteX14" fmla="*/ 79915 w 3417666"/>
                  <a:gd name="connsiteY14" fmla="*/ 48483 h 438531"/>
                  <a:gd name="connsiteX15" fmla="*/ 79915 w 3417666"/>
                  <a:gd name="connsiteY15" fmla="*/ 54579 h 438531"/>
                  <a:gd name="connsiteX16" fmla="*/ 84106 w 3417666"/>
                  <a:gd name="connsiteY16" fmla="*/ 54579 h 438531"/>
                  <a:gd name="connsiteX17" fmla="*/ 84106 w 3417666"/>
                  <a:gd name="connsiteY17" fmla="*/ 60675 h 438531"/>
                  <a:gd name="connsiteX18" fmla="*/ 100965 w 3417666"/>
                  <a:gd name="connsiteY18" fmla="*/ 60675 h 438531"/>
                  <a:gd name="connsiteX19" fmla="*/ 100965 w 3417666"/>
                  <a:gd name="connsiteY19" fmla="*/ 72771 h 438531"/>
                  <a:gd name="connsiteX20" fmla="*/ 105156 w 3417666"/>
                  <a:gd name="connsiteY20" fmla="*/ 72771 h 438531"/>
                  <a:gd name="connsiteX21" fmla="*/ 105156 w 3417666"/>
                  <a:gd name="connsiteY21" fmla="*/ 78867 h 438531"/>
                  <a:gd name="connsiteX22" fmla="*/ 128302 w 3417666"/>
                  <a:gd name="connsiteY22" fmla="*/ 78867 h 438531"/>
                  <a:gd name="connsiteX23" fmla="*/ 128302 w 3417666"/>
                  <a:gd name="connsiteY23" fmla="*/ 84963 h 438531"/>
                  <a:gd name="connsiteX24" fmla="*/ 132493 w 3417666"/>
                  <a:gd name="connsiteY24" fmla="*/ 84963 h 438531"/>
                  <a:gd name="connsiteX25" fmla="*/ 132493 w 3417666"/>
                  <a:gd name="connsiteY25" fmla="*/ 90964 h 438531"/>
                  <a:gd name="connsiteX26" fmla="*/ 138780 w 3417666"/>
                  <a:gd name="connsiteY26" fmla="*/ 90964 h 438531"/>
                  <a:gd name="connsiteX27" fmla="*/ 138780 w 3417666"/>
                  <a:gd name="connsiteY27" fmla="*/ 103156 h 438531"/>
                  <a:gd name="connsiteX28" fmla="*/ 157734 w 3417666"/>
                  <a:gd name="connsiteY28" fmla="*/ 103156 h 438531"/>
                  <a:gd name="connsiteX29" fmla="*/ 157734 w 3417666"/>
                  <a:gd name="connsiteY29" fmla="*/ 109157 h 438531"/>
                  <a:gd name="connsiteX30" fmla="*/ 166116 w 3417666"/>
                  <a:gd name="connsiteY30" fmla="*/ 109157 h 438531"/>
                  <a:gd name="connsiteX31" fmla="*/ 166116 w 3417666"/>
                  <a:gd name="connsiteY31" fmla="*/ 115253 h 438531"/>
                  <a:gd name="connsiteX32" fmla="*/ 178785 w 3417666"/>
                  <a:gd name="connsiteY32" fmla="*/ 115253 h 438531"/>
                  <a:gd name="connsiteX33" fmla="*/ 178785 w 3417666"/>
                  <a:gd name="connsiteY33" fmla="*/ 121349 h 438531"/>
                  <a:gd name="connsiteX34" fmla="*/ 195644 w 3417666"/>
                  <a:gd name="connsiteY34" fmla="*/ 121349 h 438531"/>
                  <a:gd name="connsiteX35" fmla="*/ 195644 w 3417666"/>
                  <a:gd name="connsiteY35" fmla="*/ 127350 h 438531"/>
                  <a:gd name="connsiteX36" fmla="*/ 222981 w 3417666"/>
                  <a:gd name="connsiteY36" fmla="*/ 127350 h 438531"/>
                  <a:gd name="connsiteX37" fmla="*/ 222981 w 3417666"/>
                  <a:gd name="connsiteY37" fmla="*/ 133446 h 438531"/>
                  <a:gd name="connsiteX38" fmla="*/ 225076 w 3417666"/>
                  <a:gd name="connsiteY38" fmla="*/ 133446 h 438531"/>
                  <a:gd name="connsiteX39" fmla="*/ 225076 w 3417666"/>
                  <a:gd name="connsiteY39" fmla="*/ 139542 h 438531"/>
                  <a:gd name="connsiteX40" fmla="*/ 235553 w 3417666"/>
                  <a:gd name="connsiteY40" fmla="*/ 139542 h 438531"/>
                  <a:gd name="connsiteX41" fmla="*/ 235553 w 3417666"/>
                  <a:gd name="connsiteY41" fmla="*/ 145542 h 438531"/>
                  <a:gd name="connsiteX42" fmla="*/ 241840 w 3417666"/>
                  <a:gd name="connsiteY42" fmla="*/ 145542 h 438531"/>
                  <a:gd name="connsiteX43" fmla="*/ 241840 w 3417666"/>
                  <a:gd name="connsiteY43" fmla="*/ 157734 h 438531"/>
                  <a:gd name="connsiteX44" fmla="*/ 250317 w 3417666"/>
                  <a:gd name="connsiteY44" fmla="*/ 157734 h 438531"/>
                  <a:gd name="connsiteX45" fmla="*/ 250317 w 3417666"/>
                  <a:gd name="connsiteY45" fmla="*/ 163735 h 438531"/>
                  <a:gd name="connsiteX46" fmla="*/ 256604 w 3417666"/>
                  <a:gd name="connsiteY46" fmla="*/ 163735 h 438531"/>
                  <a:gd name="connsiteX47" fmla="*/ 256604 w 3417666"/>
                  <a:gd name="connsiteY47" fmla="*/ 175927 h 438531"/>
                  <a:gd name="connsiteX48" fmla="*/ 258699 w 3417666"/>
                  <a:gd name="connsiteY48" fmla="*/ 175927 h 438531"/>
                  <a:gd name="connsiteX49" fmla="*/ 258699 w 3417666"/>
                  <a:gd name="connsiteY49" fmla="*/ 182023 h 438531"/>
                  <a:gd name="connsiteX50" fmla="*/ 271272 w 3417666"/>
                  <a:gd name="connsiteY50" fmla="*/ 182023 h 438531"/>
                  <a:gd name="connsiteX51" fmla="*/ 271272 w 3417666"/>
                  <a:gd name="connsiteY51" fmla="*/ 188024 h 438531"/>
                  <a:gd name="connsiteX52" fmla="*/ 294418 w 3417666"/>
                  <a:gd name="connsiteY52" fmla="*/ 188024 h 438531"/>
                  <a:gd name="connsiteX53" fmla="*/ 294418 w 3417666"/>
                  <a:gd name="connsiteY53" fmla="*/ 194120 h 438531"/>
                  <a:gd name="connsiteX54" fmla="*/ 300800 w 3417666"/>
                  <a:gd name="connsiteY54" fmla="*/ 194120 h 438531"/>
                  <a:gd name="connsiteX55" fmla="*/ 300800 w 3417666"/>
                  <a:gd name="connsiteY55" fmla="*/ 200216 h 438531"/>
                  <a:gd name="connsiteX56" fmla="*/ 309182 w 3417666"/>
                  <a:gd name="connsiteY56" fmla="*/ 200216 h 438531"/>
                  <a:gd name="connsiteX57" fmla="*/ 309182 w 3417666"/>
                  <a:gd name="connsiteY57" fmla="*/ 206217 h 438531"/>
                  <a:gd name="connsiteX58" fmla="*/ 317564 w 3417666"/>
                  <a:gd name="connsiteY58" fmla="*/ 206217 h 438531"/>
                  <a:gd name="connsiteX59" fmla="*/ 317564 w 3417666"/>
                  <a:gd name="connsiteY59" fmla="*/ 212313 h 438531"/>
                  <a:gd name="connsiteX60" fmla="*/ 321755 w 3417666"/>
                  <a:gd name="connsiteY60" fmla="*/ 212313 h 438531"/>
                  <a:gd name="connsiteX61" fmla="*/ 321755 w 3417666"/>
                  <a:gd name="connsiteY61" fmla="*/ 218409 h 438531"/>
                  <a:gd name="connsiteX62" fmla="*/ 395383 w 3417666"/>
                  <a:gd name="connsiteY62" fmla="*/ 218409 h 438531"/>
                  <a:gd name="connsiteX63" fmla="*/ 395383 w 3417666"/>
                  <a:gd name="connsiteY63" fmla="*/ 224409 h 438531"/>
                  <a:gd name="connsiteX64" fmla="*/ 416433 w 3417666"/>
                  <a:gd name="connsiteY64" fmla="*/ 224409 h 438531"/>
                  <a:gd name="connsiteX65" fmla="*/ 416433 w 3417666"/>
                  <a:gd name="connsiteY65" fmla="*/ 230505 h 438531"/>
                  <a:gd name="connsiteX66" fmla="*/ 422720 w 3417666"/>
                  <a:gd name="connsiteY66" fmla="*/ 230505 h 438531"/>
                  <a:gd name="connsiteX67" fmla="*/ 422720 w 3417666"/>
                  <a:gd name="connsiteY67" fmla="*/ 236601 h 438531"/>
                  <a:gd name="connsiteX68" fmla="*/ 464820 w 3417666"/>
                  <a:gd name="connsiteY68" fmla="*/ 236601 h 438531"/>
                  <a:gd name="connsiteX69" fmla="*/ 464820 w 3417666"/>
                  <a:gd name="connsiteY69" fmla="*/ 242602 h 438531"/>
                  <a:gd name="connsiteX70" fmla="*/ 479489 w 3417666"/>
                  <a:gd name="connsiteY70" fmla="*/ 242602 h 438531"/>
                  <a:gd name="connsiteX71" fmla="*/ 479489 w 3417666"/>
                  <a:gd name="connsiteY71" fmla="*/ 248698 h 438531"/>
                  <a:gd name="connsiteX72" fmla="*/ 509016 w 3417666"/>
                  <a:gd name="connsiteY72" fmla="*/ 248698 h 438531"/>
                  <a:gd name="connsiteX73" fmla="*/ 509016 w 3417666"/>
                  <a:gd name="connsiteY73" fmla="*/ 254794 h 438531"/>
                  <a:gd name="connsiteX74" fmla="*/ 511112 w 3417666"/>
                  <a:gd name="connsiteY74" fmla="*/ 254794 h 438531"/>
                  <a:gd name="connsiteX75" fmla="*/ 511112 w 3417666"/>
                  <a:gd name="connsiteY75" fmla="*/ 260795 h 438531"/>
                  <a:gd name="connsiteX76" fmla="*/ 534162 w 3417666"/>
                  <a:gd name="connsiteY76" fmla="*/ 260795 h 438531"/>
                  <a:gd name="connsiteX77" fmla="*/ 534162 w 3417666"/>
                  <a:gd name="connsiteY77" fmla="*/ 266891 h 438531"/>
                  <a:gd name="connsiteX78" fmla="*/ 546831 w 3417666"/>
                  <a:gd name="connsiteY78" fmla="*/ 266891 h 438531"/>
                  <a:gd name="connsiteX79" fmla="*/ 546831 w 3417666"/>
                  <a:gd name="connsiteY79" fmla="*/ 272987 h 438531"/>
                  <a:gd name="connsiteX80" fmla="*/ 582549 w 3417666"/>
                  <a:gd name="connsiteY80" fmla="*/ 272987 h 438531"/>
                  <a:gd name="connsiteX81" fmla="*/ 582549 w 3417666"/>
                  <a:gd name="connsiteY81" fmla="*/ 279083 h 438531"/>
                  <a:gd name="connsiteX82" fmla="*/ 698278 w 3417666"/>
                  <a:gd name="connsiteY82" fmla="*/ 279083 h 438531"/>
                  <a:gd name="connsiteX83" fmla="*/ 698278 w 3417666"/>
                  <a:gd name="connsiteY83" fmla="*/ 285084 h 438531"/>
                  <a:gd name="connsiteX84" fmla="*/ 736092 w 3417666"/>
                  <a:gd name="connsiteY84" fmla="*/ 285084 h 438531"/>
                  <a:gd name="connsiteX85" fmla="*/ 736092 w 3417666"/>
                  <a:gd name="connsiteY85" fmla="*/ 291275 h 438531"/>
                  <a:gd name="connsiteX86" fmla="*/ 788670 w 3417666"/>
                  <a:gd name="connsiteY86" fmla="*/ 291275 h 438531"/>
                  <a:gd name="connsiteX87" fmla="*/ 788670 w 3417666"/>
                  <a:gd name="connsiteY87" fmla="*/ 297371 h 438531"/>
                  <a:gd name="connsiteX88" fmla="*/ 807625 w 3417666"/>
                  <a:gd name="connsiteY88" fmla="*/ 297371 h 438531"/>
                  <a:gd name="connsiteX89" fmla="*/ 807625 w 3417666"/>
                  <a:gd name="connsiteY89" fmla="*/ 303467 h 438531"/>
                  <a:gd name="connsiteX90" fmla="*/ 818103 w 3417666"/>
                  <a:gd name="connsiteY90" fmla="*/ 303467 h 438531"/>
                  <a:gd name="connsiteX91" fmla="*/ 818103 w 3417666"/>
                  <a:gd name="connsiteY91" fmla="*/ 309658 h 438531"/>
                  <a:gd name="connsiteX92" fmla="*/ 851821 w 3417666"/>
                  <a:gd name="connsiteY92" fmla="*/ 309658 h 438531"/>
                  <a:gd name="connsiteX93" fmla="*/ 851821 w 3417666"/>
                  <a:gd name="connsiteY93" fmla="*/ 315754 h 438531"/>
                  <a:gd name="connsiteX94" fmla="*/ 858108 w 3417666"/>
                  <a:gd name="connsiteY94" fmla="*/ 315754 h 438531"/>
                  <a:gd name="connsiteX95" fmla="*/ 858108 w 3417666"/>
                  <a:gd name="connsiteY95" fmla="*/ 321850 h 438531"/>
                  <a:gd name="connsiteX96" fmla="*/ 872776 w 3417666"/>
                  <a:gd name="connsiteY96" fmla="*/ 321850 h 438531"/>
                  <a:gd name="connsiteX97" fmla="*/ 872776 w 3417666"/>
                  <a:gd name="connsiteY97" fmla="*/ 327946 h 438531"/>
                  <a:gd name="connsiteX98" fmla="*/ 885444 w 3417666"/>
                  <a:gd name="connsiteY98" fmla="*/ 327946 h 438531"/>
                  <a:gd name="connsiteX99" fmla="*/ 885444 w 3417666"/>
                  <a:gd name="connsiteY99" fmla="*/ 334137 h 438531"/>
                  <a:gd name="connsiteX100" fmla="*/ 910686 w 3417666"/>
                  <a:gd name="connsiteY100" fmla="*/ 334137 h 438531"/>
                  <a:gd name="connsiteX101" fmla="*/ 910686 w 3417666"/>
                  <a:gd name="connsiteY101" fmla="*/ 340233 h 438531"/>
                  <a:gd name="connsiteX102" fmla="*/ 1139952 w 3417666"/>
                  <a:gd name="connsiteY102" fmla="*/ 340233 h 438531"/>
                  <a:gd name="connsiteX103" fmla="*/ 1139952 w 3417666"/>
                  <a:gd name="connsiteY103" fmla="*/ 346425 h 438531"/>
                  <a:gd name="connsiteX104" fmla="*/ 1253490 w 3417666"/>
                  <a:gd name="connsiteY104" fmla="*/ 346425 h 438531"/>
                  <a:gd name="connsiteX105" fmla="*/ 1253490 w 3417666"/>
                  <a:gd name="connsiteY105" fmla="*/ 352616 h 438531"/>
                  <a:gd name="connsiteX106" fmla="*/ 1522667 w 3417666"/>
                  <a:gd name="connsiteY106" fmla="*/ 352616 h 438531"/>
                  <a:gd name="connsiteX107" fmla="*/ 1522667 w 3417666"/>
                  <a:gd name="connsiteY107" fmla="*/ 358902 h 438531"/>
                  <a:gd name="connsiteX108" fmla="*/ 1596295 w 3417666"/>
                  <a:gd name="connsiteY108" fmla="*/ 358902 h 438531"/>
                  <a:gd name="connsiteX109" fmla="*/ 1596295 w 3417666"/>
                  <a:gd name="connsiteY109" fmla="*/ 365189 h 438531"/>
                  <a:gd name="connsiteX110" fmla="*/ 1676210 w 3417666"/>
                  <a:gd name="connsiteY110" fmla="*/ 365189 h 438531"/>
                  <a:gd name="connsiteX111" fmla="*/ 1676210 w 3417666"/>
                  <a:gd name="connsiteY111" fmla="*/ 371475 h 438531"/>
                  <a:gd name="connsiteX112" fmla="*/ 1838135 w 3417666"/>
                  <a:gd name="connsiteY112" fmla="*/ 371475 h 438531"/>
                  <a:gd name="connsiteX113" fmla="*/ 1838135 w 3417666"/>
                  <a:gd name="connsiteY113" fmla="*/ 377952 h 438531"/>
                  <a:gd name="connsiteX114" fmla="*/ 1854994 w 3417666"/>
                  <a:gd name="connsiteY114" fmla="*/ 377952 h 438531"/>
                  <a:gd name="connsiteX115" fmla="*/ 1854994 w 3417666"/>
                  <a:gd name="connsiteY115" fmla="*/ 384334 h 438531"/>
                  <a:gd name="connsiteX116" fmla="*/ 1972818 w 3417666"/>
                  <a:gd name="connsiteY116" fmla="*/ 384334 h 438531"/>
                  <a:gd name="connsiteX117" fmla="*/ 1972818 w 3417666"/>
                  <a:gd name="connsiteY117" fmla="*/ 390811 h 438531"/>
                  <a:gd name="connsiteX118" fmla="*/ 2065306 w 3417666"/>
                  <a:gd name="connsiteY118" fmla="*/ 390811 h 438531"/>
                  <a:gd name="connsiteX119" fmla="*/ 2065306 w 3417666"/>
                  <a:gd name="connsiteY119" fmla="*/ 397193 h 438531"/>
                  <a:gd name="connsiteX120" fmla="*/ 2084261 w 3417666"/>
                  <a:gd name="connsiteY120" fmla="*/ 397193 h 438531"/>
                  <a:gd name="connsiteX121" fmla="*/ 2084261 w 3417666"/>
                  <a:gd name="connsiteY121" fmla="*/ 403670 h 438531"/>
                  <a:gd name="connsiteX122" fmla="*/ 2938082 w 3417666"/>
                  <a:gd name="connsiteY122" fmla="*/ 403670 h 438531"/>
                  <a:gd name="connsiteX123" fmla="*/ 2938082 w 3417666"/>
                  <a:gd name="connsiteY123" fmla="*/ 438531 h 438531"/>
                  <a:gd name="connsiteX124" fmla="*/ 3417666 w 3417666"/>
                  <a:gd name="connsiteY124" fmla="*/ 438531 h 438531"/>
                  <a:gd name="connsiteX0" fmla="*/ 0 w 3417666"/>
                  <a:gd name="connsiteY0" fmla="*/ 0 h 438531"/>
                  <a:gd name="connsiteX1" fmla="*/ 16860 w 3417666"/>
                  <a:gd name="connsiteY1" fmla="*/ 6096 h 438531"/>
                  <a:gd name="connsiteX2" fmla="*/ 16860 w 3417666"/>
                  <a:gd name="connsiteY2" fmla="*/ 12097 h 438531"/>
                  <a:gd name="connsiteX3" fmla="*/ 46292 w 3417666"/>
                  <a:gd name="connsiteY3" fmla="*/ 12097 h 438531"/>
                  <a:gd name="connsiteX4" fmla="*/ 46292 w 3417666"/>
                  <a:gd name="connsiteY4" fmla="*/ 18193 h 438531"/>
                  <a:gd name="connsiteX5" fmla="*/ 54674 w 3417666"/>
                  <a:gd name="connsiteY5" fmla="*/ 18193 h 438531"/>
                  <a:gd name="connsiteX6" fmla="*/ 54674 w 3417666"/>
                  <a:gd name="connsiteY6" fmla="*/ 24289 h 438531"/>
                  <a:gd name="connsiteX7" fmla="*/ 56769 w 3417666"/>
                  <a:gd name="connsiteY7" fmla="*/ 24289 h 438531"/>
                  <a:gd name="connsiteX8" fmla="*/ 56769 w 3417666"/>
                  <a:gd name="connsiteY8" fmla="*/ 30290 h 438531"/>
                  <a:gd name="connsiteX9" fmla="*/ 71533 w 3417666"/>
                  <a:gd name="connsiteY9" fmla="*/ 30290 h 438531"/>
                  <a:gd name="connsiteX10" fmla="*/ 71533 w 3417666"/>
                  <a:gd name="connsiteY10" fmla="*/ 42482 h 438531"/>
                  <a:gd name="connsiteX11" fmla="*/ 73629 w 3417666"/>
                  <a:gd name="connsiteY11" fmla="*/ 42482 h 438531"/>
                  <a:gd name="connsiteX12" fmla="*/ 73629 w 3417666"/>
                  <a:gd name="connsiteY12" fmla="*/ 48483 h 438531"/>
                  <a:gd name="connsiteX13" fmla="*/ 79915 w 3417666"/>
                  <a:gd name="connsiteY13" fmla="*/ 48483 h 438531"/>
                  <a:gd name="connsiteX14" fmla="*/ 79915 w 3417666"/>
                  <a:gd name="connsiteY14" fmla="*/ 54579 h 438531"/>
                  <a:gd name="connsiteX15" fmla="*/ 84106 w 3417666"/>
                  <a:gd name="connsiteY15" fmla="*/ 54579 h 438531"/>
                  <a:gd name="connsiteX16" fmla="*/ 84106 w 3417666"/>
                  <a:gd name="connsiteY16" fmla="*/ 60675 h 438531"/>
                  <a:gd name="connsiteX17" fmla="*/ 100965 w 3417666"/>
                  <a:gd name="connsiteY17" fmla="*/ 60675 h 438531"/>
                  <a:gd name="connsiteX18" fmla="*/ 100965 w 3417666"/>
                  <a:gd name="connsiteY18" fmla="*/ 72771 h 438531"/>
                  <a:gd name="connsiteX19" fmla="*/ 105156 w 3417666"/>
                  <a:gd name="connsiteY19" fmla="*/ 72771 h 438531"/>
                  <a:gd name="connsiteX20" fmla="*/ 105156 w 3417666"/>
                  <a:gd name="connsiteY20" fmla="*/ 78867 h 438531"/>
                  <a:gd name="connsiteX21" fmla="*/ 128302 w 3417666"/>
                  <a:gd name="connsiteY21" fmla="*/ 78867 h 438531"/>
                  <a:gd name="connsiteX22" fmla="*/ 128302 w 3417666"/>
                  <a:gd name="connsiteY22" fmla="*/ 84963 h 438531"/>
                  <a:gd name="connsiteX23" fmla="*/ 132493 w 3417666"/>
                  <a:gd name="connsiteY23" fmla="*/ 84963 h 438531"/>
                  <a:gd name="connsiteX24" fmla="*/ 132493 w 3417666"/>
                  <a:gd name="connsiteY24" fmla="*/ 90964 h 438531"/>
                  <a:gd name="connsiteX25" fmla="*/ 138780 w 3417666"/>
                  <a:gd name="connsiteY25" fmla="*/ 90964 h 438531"/>
                  <a:gd name="connsiteX26" fmla="*/ 138780 w 3417666"/>
                  <a:gd name="connsiteY26" fmla="*/ 103156 h 438531"/>
                  <a:gd name="connsiteX27" fmla="*/ 157734 w 3417666"/>
                  <a:gd name="connsiteY27" fmla="*/ 103156 h 438531"/>
                  <a:gd name="connsiteX28" fmla="*/ 157734 w 3417666"/>
                  <a:gd name="connsiteY28" fmla="*/ 109157 h 438531"/>
                  <a:gd name="connsiteX29" fmla="*/ 166116 w 3417666"/>
                  <a:gd name="connsiteY29" fmla="*/ 109157 h 438531"/>
                  <a:gd name="connsiteX30" fmla="*/ 166116 w 3417666"/>
                  <a:gd name="connsiteY30" fmla="*/ 115253 h 438531"/>
                  <a:gd name="connsiteX31" fmla="*/ 178785 w 3417666"/>
                  <a:gd name="connsiteY31" fmla="*/ 115253 h 438531"/>
                  <a:gd name="connsiteX32" fmla="*/ 178785 w 3417666"/>
                  <a:gd name="connsiteY32" fmla="*/ 121349 h 438531"/>
                  <a:gd name="connsiteX33" fmla="*/ 195644 w 3417666"/>
                  <a:gd name="connsiteY33" fmla="*/ 121349 h 438531"/>
                  <a:gd name="connsiteX34" fmla="*/ 195644 w 3417666"/>
                  <a:gd name="connsiteY34" fmla="*/ 127350 h 438531"/>
                  <a:gd name="connsiteX35" fmla="*/ 222981 w 3417666"/>
                  <a:gd name="connsiteY35" fmla="*/ 127350 h 438531"/>
                  <a:gd name="connsiteX36" fmla="*/ 222981 w 3417666"/>
                  <a:gd name="connsiteY36" fmla="*/ 133446 h 438531"/>
                  <a:gd name="connsiteX37" fmla="*/ 225076 w 3417666"/>
                  <a:gd name="connsiteY37" fmla="*/ 133446 h 438531"/>
                  <a:gd name="connsiteX38" fmla="*/ 225076 w 3417666"/>
                  <a:gd name="connsiteY38" fmla="*/ 139542 h 438531"/>
                  <a:gd name="connsiteX39" fmla="*/ 235553 w 3417666"/>
                  <a:gd name="connsiteY39" fmla="*/ 139542 h 438531"/>
                  <a:gd name="connsiteX40" fmla="*/ 235553 w 3417666"/>
                  <a:gd name="connsiteY40" fmla="*/ 145542 h 438531"/>
                  <a:gd name="connsiteX41" fmla="*/ 241840 w 3417666"/>
                  <a:gd name="connsiteY41" fmla="*/ 145542 h 438531"/>
                  <a:gd name="connsiteX42" fmla="*/ 241840 w 3417666"/>
                  <a:gd name="connsiteY42" fmla="*/ 157734 h 438531"/>
                  <a:gd name="connsiteX43" fmla="*/ 250317 w 3417666"/>
                  <a:gd name="connsiteY43" fmla="*/ 157734 h 438531"/>
                  <a:gd name="connsiteX44" fmla="*/ 250317 w 3417666"/>
                  <a:gd name="connsiteY44" fmla="*/ 163735 h 438531"/>
                  <a:gd name="connsiteX45" fmla="*/ 256604 w 3417666"/>
                  <a:gd name="connsiteY45" fmla="*/ 163735 h 438531"/>
                  <a:gd name="connsiteX46" fmla="*/ 256604 w 3417666"/>
                  <a:gd name="connsiteY46" fmla="*/ 175927 h 438531"/>
                  <a:gd name="connsiteX47" fmla="*/ 258699 w 3417666"/>
                  <a:gd name="connsiteY47" fmla="*/ 175927 h 438531"/>
                  <a:gd name="connsiteX48" fmla="*/ 258699 w 3417666"/>
                  <a:gd name="connsiteY48" fmla="*/ 182023 h 438531"/>
                  <a:gd name="connsiteX49" fmla="*/ 271272 w 3417666"/>
                  <a:gd name="connsiteY49" fmla="*/ 182023 h 438531"/>
                  <a:gd name="connsiteX50" fmla="*/ 271272 w 3417666"/>
                  <a:gd name="connsiteY50" fmla="*/ 188024 h 438531"/>
                  <a:gd name="connsiteX51" fmla="*/ 294418 w 3417666"/>
                  <a:gd name="connsiteY51" fmla="*/ 188024 h 438531"/>
                  <a:gd name="connsiteX52" fmla="*/ 294418 w 3417666"/>
                  <a:gd name="connsiteY52" fmla="*/ 194120 h 438531"/>
                  <a:gd name="connsiteX53" fmla="*/ 300800 w 3417666"/>
                  <a:gd name="connsiteY53" fmla="*/ 194120 h 438531"/>
                  <a:gd name="connsiteX54" fmla="*/ 300800 w 3417666"/>
                  <a:gd name="connsiteY54" fmla="*/ 200216 h 438531"/>
                  <a:gd name="connsiteX55" fmla="*/ 309182 w 3417666"/>
                  <a:gd name="connsiteY55" fmla="*/ 200216 h 438531"/>
                  <a:gd name="connsiteX56" fmla="*/ 309182 w 3417666"/>
                  <a:gd name="connsiteY56" fmla="*/ 206217 h 438531"/>
                  <a:gd name="connsiteX57" fmla="*/ 317564 w 3417666"/>
                  <a:gd name="connsiteY57" fmla="*/ 206217 h 438531"/>
                  <a:gd name="connsiteX58" fmla="*/ 317564 w 3417666"/>
                  <a:gd name="connsiteY58" fmla="*/ 212313 h 438531"/>
                  <a:gd name="connsiteX59" fmla="*/ 321755 w 3417666"/>
                  <a:gd name="connsiteY59" fmla="*/ 212313 h 438531"/>
                  <a:gd name="connsiteX60" fmla="*/ 321755 w 3417666"/>
                  <a:gd name="connsiteY60" fmla="*/ 218409 h 438531"/>
                  <a:gd name="connsiteX61" fmla="*/ 395383 w 3417666"/>
                  <a:gd name="connsiteY61" fmla="*/ 218409 h 438531"/>
                  <a:gd name="connsiteX62" fmla="*/ 395383 w 3417666"/>
                  <a:gd name="connsiteY62" fmla="*/ 224409 h 438531"/>
                  <a:gd name="connsiteX63" fmla="*/ 416433 w 3417666"/>
                  <a:gd name="connsiteY63" fmla="*/ 224409 h 438531"/>
                  <a:gd name="connsiteX64" fmla="*/ 416433 w 3417666"/>
                  <a:gd name="connsiteY64" fmla="*/ 230505 h 438531"/>
                  <a:gd name="connsiteX65" fmla="*/ 422720 w 3417666"/>
                  <a:gd name="connsiteY65" fmla="*/ 230505 h 438531"/>
                  <a:gd name="connsiteX66" fmla="*/ 422720 w 3417666"/>
                  <a:gd name="connsiteY66" fmla="*/ 236601 h 438531"/>
                  <a:gd name="connsiteX67" fmla="*/ 464820 w 3417666"/>
                  <a:gd name="connsiteY67" fmla="*/ 236601 h 438531"/>
                  <a:gd name="connsiteX68" fmla="*/ 464820 w 3417666"/>
                  <a:gd name="connsiteY68" fmla="*/ 242602 h 438531"/>
                  <a:gd name="connsiteX69" fmla="*/ 479489 w 3417666"/>
                  <a:gd name="connsiteY69" fmla="*/ 242602 h 438531"/>
                  <a:gd name="connsiteX70" fmla="*/ 479489 w 3417666"/>
                  <a:gd name="connsiteY70" fmla="*/ 248698 h 438531"/>
                  <a:gd name="connsiteX71" fmla="*/ 509016 w 3417666"/>
                  <a:gd name="connsiteY71" fmla="*/ 248698 h 438531"/>
                  <a:gd name="connsiteX72" fmla="*/ 509016 w 3417666"/>
                  <a:gd name="connsiteY72" fmla="*/ 254794 h 438531"/>
                  <a:gd name="connsiteX73" fmla="*/ 511112 w 3417666"/>
                  <a:gd name="connsiteY73" fmla="*/ 254794 h 438531"/>
                  <a:gd name="connsiteX74" fmla="*/ 511112 w 3417666"/>
                  <a:gd name="connsiteY74" fmla="*/ 260795 h 438531"/>
                  <a:gd name="connsiteX75" fmla="*/ 534162 w 3417666"/>
                  <a:gd name="connsiteY75" fmla="*/ 260795 h 438531"/>
                  <a:gd name="connsiteX76" fmla="*/ 534162 w 3417666"/>
                  <a:gd name="connsiteY76" fmla="*/ 266891 h 438531"/>
                  <a:gd name="connsiteX77" fmla="*/ 546831 w 3417666"/>
                  <a:gd name="connsiteY77" fmla="*/ 266891 h 438531"/>
                  <a:gd name="connsiteX78" fmla="*/ 546831 w 3417666"/>
                  <a:gd name="connsiteY78" fmla="*/ 272987 h 438531"/>
                  <a:gd name="connsiteX79" fmla="*/ 582549 w 3417666"/>
                  <a:gd name="connsiteY79" fmla="*/ 272987 h 438531"/>
                  <a:gd name="connsiteX80" fmla="*/ 582549 w 3417666"/>
                  <a:gd name="connsiteY80" fmla="*/ 279083 h 438531"/>
                  <a:gd name="connsiteX81" fmla="*/ 698278 w 3417666"/>
                  <a:gd name="connsiteY81" fmla="*/ 279083 h 438531"/>
                  <a:gd name="connsiteX82" fmla="*/ 698278 w 3417666"/>
                  <a:gd name="connsiteY82" fmla="*/ 285084 h 438531"/>
                  <a:gd name="connsiteX83" fmla="*/ 736092 w 3417666"/>
                  <a:gd name="connsiteY83" fmla="*/ 285084 h 438531"/>
                  <a:gd name="connsiteX84" fmla="*/ 736092 w 3417666"/>
                  <a:gd name="connsiteY84" fmla="*/ 291275 h 438531"/>
                  <a:gd name="connsiteX85" fmla="*/ 788670 w 3417666"/>
                  <a:gd name="connsiteY85" fmla="*/ 291275 h 438531"/>
                  <a:gd name="connsiteX86" fmla="*/ 788670 w 3417666"/>
                  <a:gd name="connsiteY86" fmla="*/ 297371 h 438531"/>
                  <a:gd name="connsiteX87" fmla="*/ 807625 w 3417666"/>
                  <a:gd name="connsiteY87" fmla="*/ 297371 h 438531"/>
                  <a:gd name="connsiteX88" fmla="*/ 807625 w 3417666"/>
                  <a:gd name="connsiteY88" fmla="*/ 303467 h 438531"/>
                  <a:gd name="connsiteX89" fmla="*/ 818103 w 3417666"/>
                  <a:gd name="connsiteY89" fmla="*/ 303467 h 438531"/>
                  <a:gd name="connsiteX90" fmla="*/ 818103 w 3417666"/>
                  <a:gd name="connsiteY90" fmla="*/ 309658 h 438531"/>
                  <a:gd name="connsiteX91" fmla="*/ 851821 w 3417666"/>
                  <a:gd name="connsiteY91" fmla="*/ 309658 h 438531"/>
                  <a:gd name="connsiteX92" fmla="*/ 851821 w 3417666"/>
                  <a:gd name="connsiteY92" fmla="*/ 315754 h 438531"/>
                  <a:gd name="connsiteX93" fmla="*/ 858108 w 3417666"/>
                  <a:gd name="connsiteY93" fmla="*/ 315754 h 438531"/>
                  <a:gd name="connsiteX94" fmla="*/ 858108 w 3417666"/>
                  <a:gd name="connsiteY94" fmla="*/ 321850 h 438531"/>
                  <a:gd name="connsiteX95" fmla="*/ 872776 w 3417666"/>
                  <a:gd name="connsiteY95" fmla="*/ 321850 h 438531"/>
                  <a:gd name="connsiteX96" fmla="*/ 872776 w 3417666"/>
                  <a:gd name="connsiteY96" fmla="*/ 327946 h 438531"/>
                  <a:gd name="connsiteX97" fmla="*/ 885444 w 3417666"/>
                  <a:gd name="connsiteY97" fmla="*/ 327946 h 438531"/>
                  <a:gd name="connsiteX98" fmla="*/ 885444 w 3417666"/>
                  <a:gd name="connsiteY98" fmla="*/ 334137 h 438531"/>
                  <a:gd name="connsiteX99" fmla="*/ 910686 w 3417666"/>
                  <a:gd name="connsiteY99" fmla="*/ 334137 h 438531"/>
                  <a:gd name="connsiteX100" fmla="*/ 910686 w 3417666"/>
                  <a:gd name="connsiteY100" fmla="*/ 340233 h 438531"/>
                  <a:gd name="connsiteX101" fmla="*/ 1139952 w 3417666"/>
                  <a:gd name="connsiteY101" fmla="*/ 340233 h 438531"/>
                  <a:gd name="connsiteX102" fmla="*/ 1139952 w 3417666"/>
                  <a:gd name="connsiteY102" fmla="*/ 346425 h 438531"/>
                  <a:gd name="connsiteX103" fmla="*/ 1253490 w 3417666"/>
                  <a:gd name="connsiteY103" fmla="*/ 346425 h 438531"/>
                  <a:gd name="connsiteX104" fmla="*/ 1253490 w 3417666"/>
                  <a:gd name="connsiteY104" fmla="*/ 352616 h 438531"/>
                  <a:gd name="connsiteX105" fmla="*/ 1522667 w 3417666"/>
                  <a:gd name="connsiteY105" fmla="*/ 352616 h 438531"/>
                  <a:gd name="connsiteX106" fmla="*/ 1522667 w 3417666"/>
                  <a:gd name="connsiteY106" fmla="*/ 358902 h 438531"/>
                  <a:gd name="connsiteX107" fmla="*/ 1596295 w 3417666"/>
                  <a:gd name="connsiteY107" fmla="*/ 358902 h 438531"/>
                  <a:gd name="connsiteX108" fmla="*/ 1596295 w 3417666"/>
                  <a:gd name="connsiteY108" fmla="*/ 365189 h 438531"/>
                  <a:gd name="connsiteX109" fmla="*/ 1676210 w 3417666"/>
                  <a:gd name="connsiteY109" fmla="*/ 365189 h 438531"/>
                  <a:gd name="connsiteX110" fmla="*/ 1676210 w 3417666"/>
                  <a:gd name="connsiteY110" fmla="*/ 371475 h 438531"/>
                  <a:gd name="connsiteX111" fmla="*/ 1838135 w 3417666"/>
                  <a:gd name="connsiteY111" fmla="*/ 371475 h 438531"/>
                  <a:gd name="connsiteX112" fmla="*/ 1838135 w 3417666"/>
                  <a:gd name="connsiteY112" fmla="*/ 377952 h 438531"/>
                  <a:gd name="connsiteX113" fmla="*/ 1854994 w 3417666"/>
                  <a:gd name="connsiteY113" fmla="*/ 377952 h 438531"/>
                  <a:gd name="connsiteX114" fmla="*/ 1854994 w 3417666"/>
                  <a:gd name="connsiteY114" fmla="*/ 384334 h 438531"/>
                  <a:gd name="connsiteX115" fmla="*/ 1972818 w 3417666"/>
                  <a:gd name="connsiteY115" fmla="*/ 384334 h 438531"/>
                  <a:gd name="connsiteX116" fmla="*/ 1972818 w 3417666"/>
                  <a:gd name="connsiteY116" fmla="*/ 390811 h 438531"/>
                  <a:gd name="connsiteX117" fmla="*/ 2065306 w 3417666"/>
                  <a:gd name="connsiteY117" fmla="*/ 390811 h 438531"/>
                  <a:gd name="connsiteX118" fmla="*/ 2065306 w 3417666"/>
                  <a:gd name="connsiteY118" fmla="*/ 397193 h 438531"/>
                  <a:gd name="connsiteX119" fmla="*/ 2084261 w 3417666"/>
                  <a:gd name="connsiteY119" fmla="*/ 397193 h 438531"/>
                  <a:gd name="connsiteX120" fmla="*/ 2084261 w 3417666"/>
                  <a:gd name="connsiteY120" fmla="*/ 403670 h 438531"/>
                  <a:gd name="connsiteX121" fmla="*/ 2938082 w 3417666"/>
                  <a:gd name="connsiteY121" fmla="*/ 403670 h 438531"/>
                  <a:gd name="connsiteX122" fmla="*/ 2938082 w 3417666"/>
                  <a:gd name="connsiteY122" fmla="*/ 438531 h 438531"/>
                  <a:gd name="connsiteX123" fmla="*/ 3417666 w 3417666"/>
                  <a:gd name="connsiteY123" fmla="*/ 438531 h 438531"/>
                  <a:gd name="connsiteX0" fmla="*/ 0 w 3400806"/>
                  <a:gd name="connsiteY0" fmla="*/ 0 h 432435"/>
                  <a:gd name="connsiteX1" fmla="*/ 0 w 3400806"/>
                  <a:gd name="connsiteY1" fmla="*/ 6001 h 432435"/>
                  <a:gd name="connsiteX2" fmla="*/ 29432 w 3400806"/>
                  <a:gd name="connsiteY2" fmla="*/ 6001 h 432435"/>
                  <a:gd name="connsiteX3" fmla="*/ 29432 w 3400806"/>
                  <a:gd name="connsiteY3" fmla="*/ 12097 h 432435"/>
                  <a:gd name="connsiteX4" fmla="*/ 37814 w 3400806"/>
                  <a:gd name="connsiteY4" fmla="*/ 12097 h 432435"/>
                  <a:gd name="connsiteX5" fmla="*/ 37814 w 3400806"/>
                  <a:gd name="connsiteY5" fmla="*/ 18193 h 432435"/>
                  <a:gd name="connsiteX6" fmla="*/ 39909 w 3400806"/>
                  <a:gd name="connsiteY6" fmla="*/ 18193 h 432435"/>
                  <a:gd name="connsiteX7" fmla="*/ 39909 w 3400806"/>
                  <a:gd name="connsiteY7" fmla="*/ 24194 h 432435"/>
                  <a:gd name="connsiteX8" fmla="*/ 54673 w 3400806"/>
                  <a:gd name="connsiteY8" fmla="*/ 24194 h 432435"/>
                  <a:gd name="connsiteX9" fmla="*/ 54673 w 3400806"/>
                  <a:gd name="connsiteY9" fmla="*/ 36386 h 432435"/>
                  <a:gd name="connsiteX10" fmla="*/ 56769 w 3400806"/>
                  <a:gd name="connsiteY10" fmla="*/ 36386 h 432435"/>
                  <a:gd name="connsiteX11" fmla="*/ 56769 w 3400806"/>
                  <a:gd name="connsiteY11" fmla="*/ 42387 h 432435"/>
                  <a:gd name="connsiteX12" fmla="*/ 63055 w 3400806"/>
                  <a:gd name="connsiteY12" fmla="*/ 42387 h 432435"/>
                  <a:gd name="connsiteX13" fmla="*/ 63055 w 3400806"/>
                  <a:gd name="connsiteY13" fmla="*/ 48483 h 432435"/>
                  <a:gd name="connsiteX14" fmla="*/ 67246 w 3400806"/>
                  <a:gd name="connsiteY14" fmla="*/ 48483 h 432435"/>
                  <a:gd name="connsiteX15" fmla="*/ 67246 w 3400806"/>
                  <a:gd name="connsiteY15" fmla="*/ 54579 h 432435"/>
                  <a:gd name="connsiteX16" fmla="*/ 84105 w 3400806"/>
                  <a:gd name="connsiteY16" fmla="*/ 54579 h 432435"/>
                  <a:gd name="connsiteX17" fmla="*/ 84105 w 3400806"/>
                  <a:gd name="connsiteY17" fmla="*/ 66675 h 432435"/>
                  <a:gd name="connsiteX18" fmla="*/ 88296 w 3400806"/>
                  <a:gd name="connsiteY18" fmla="*/ 66675 h 432435"/>
                  <a:gd name="connsiteX19" fmla="*/ 88296 w 3400806"/>
                  <a:gd name="connsiteY19" fmla="*/ 72771 h 432435"/>
                  <a:gd name="connsiteX20" fmla="*/ 111442 w 3400806"/>
                  <a:gd name="connsiteY20" fmla="*/ 72771 h 432435"/>
                  <a:gd name="connsiteX21" fmla="*/ 111442 w 3400806"/>
                  <a:gd name="connsiteY21" fmla="*/ 78867 h 432435"/>
                  <a:gd name="connsiteX22" fmla="*/ 115633 w 3400806"/>
                  <a:gd name="connsiteY22" fmla="*/ 78867 h 432435"/>
                  <a:gd name="connsiteX23" fmla="*/ 115633 w 3400806"/>
                  <a:gd name="connsiteY23" fmla="*/ 84868 h 432435"/>
                  <a:gd name="connsiteX24" fmla="*/ 121920 w 3400806"/>
                  <a:gd name="connsiteY24" fmla="*/ 84868 h 432435"/>
                  <a:gd name="connsiteX25" fmla="*/ 121920 w 3400806"/>
                  <a:gd name="connsiteY25" fmla="*/ 97060 h 432435"/>
                  <a:gd name="connsiteX26" fmla="*/ 140874 w 3400806"/>
                  <a:gd name="connsiteY26" fmla="*/ 97060 h 432435"/>
                  <a:gd name="connsiteX27" fmla="*/ 140874 w 3400806"/>
                  <a:gd name="connsiteY27" fmla="*/ 103061 h 432435"/>
                  <a:gd name="connsiteX28" fmla="*/ 149256 w 3400806"/>
                  <a:gd name="connsiteY28" fmla="*/ 103061 h 432435"/>
                  <a:gd name="connsiteX29" fmla="*/ 149256 w 3400806"/>
                  <a:gd name="connsiteY29" fmla="*/ 109157 h 432435"/>
                  <a:gd name="connsiteX30" fmla="*/ 161925 w 3400806"/>
                  <a:gd name="connsiteY30" fmla="*/ 109157 h 432435"/>
                  <a:gd name="connsiteX31" fmla="*/ 161925 w 3400806"/>
                  <a:gd name="connsiteY31" fmla="*/ 115253 h 432435"/>
                  <a:gd name="connsiteX32" fmla="*/ 178784 w 3400806"/>
                  <a:gd name="connsiteY32" fmla="*/ 115253 h 432435"/>
                  <a:gd name="connsiteX33" fmla="*/ 178784 w 3400806"/>
                  <a:gd name="connsiteY33" fmla="*/ 121254 h 432435"/>
                  <a:gd name="connsiteX34" fmla="*/ 206121 w 3400806"/>
                  <a:gd name="connsiteY34" fmla="*/ 121254 h 432435"/>
                  <a:gd name="connsiteX35" fmla="*/ 206121 w 3400806"/>
                  <a:gd name="connsiteY35" fmla="*/ 127350 h 432435"/>
                  <a:gd name="connsiteX36" fmla="*/ 208216 w 3400806"/>
                  <a:gd name="connsiteY36" fmla="*/ 127350 h 432435"/>
                  <a:gd name="connsiteX37" fmla="*/ 208216 w 3400806"/>
                  <a:gd name="connsiteY37" fmla="*/ 133446 h 432435"/>
                  <a:gd name="connsiteX38" fmla="*/ 218693 w 3400806"/>
                  <a:gd name="connsiteY38" fmla="*/ 133446 h 432435"/>
                  <a:gd name="connsiteX39" fmla="*/ 218693 w 3400806"/>
                  <a:gd name="connsiteY39" fmla="*/ 139446 h 432435"/>
                  <a:gd name="connsiteX40" fmla="*/ 224980 w 3400806"/>
                  <a:gd name="connsiteY40" fmla="*/ 139446 h 432435"/>
                  <a:gd name="connsiteX41" fmla="*/ 224980 w 3400806"/>
                  <a:gd name="connsiteY41" fmla="*/ 151638 h 432435"/>
                  <a:gd name="connsiteX42" fmla="*/ 233457 w 3400806"/>
                  <a:gd name="connsiteY42" fmla="*/ 151638 h 432435"/>
                  <a:gd name="connsiteX43" fmla="*/ 233457 w 3400806"/>
                  <a:gd name="connsiteY43" fmla="*/ 157639 h 432435"/>
                  <a:gd name="connsiteX44" fmla="*/ 239744 w 3400806"/>
                  <a:gd name="connsiteY44" fmla="*/ 157639 h 432435"/>
                  <a:gd name="connsiteX45" fmla="*/ 239744 w 3400806"/>
                  <a:gd name="connsiteY45" fmla="*/ 169831 h 432435"/>
                  <a:gd name="connsiteX46" fmla="*/ 241839 w 3400806"/>
                  <a:gd name="connsiteY46" fmla="*/ 169831 h 432435"/>
                  <a:gd name="connsiteX47" fmla="*/ 241839 w 3400806"/>
                  <a:gd name="connsiteY47" fmla="*/ 175927 h 432435"/>
                  <a:gd name="connsiteX48" fmla="*/ 254412 w 3400806"/>
                  <a:gd name="connsiteY48" fmla="*/ 175927 h 432435"/>
                  <a:gd name="connsiteX49" fmla="*/ 254412 w 3400806"/>
                  <a:gd name="connsiteY49" fmla="*/ 181928 h 432435"/>
                  <a:gd name="connsiteX50" fmla="*/ 277558 w 3400806"/>
                  <a:gd name="connsiteY50" fmla="*/ 181928 h 432435"/>
                  <a:gd name="connsiteX51" fmla="*/ 277558 w 3400806"/>
                  <a:gd name="connsiteY51" fmla="*/ 188024 h 432435"/>
                  <a:gd name="connsiteX52" fmla="*/ 283940 w 3400806"/>
                  <a:gd name="connsiteY52" fmla="*/ 188024 h 432435"/>
                  <a:gd name="connsiteX53" fmla="*/ 283940 w 3400806"/>
                  <a:gd name="connsiteY53" fmla="*/ 194120 h 432435"/>
                  <a:gd name="connsiteX54" fmla="*/ 292322 w 3400806"/>
                  <a:gd name="connsiteY54" fmla="*/ 194120 h 432435"/>
                  <a:gd name="connsiteX55" fmla="*/ 292322 w 3400806"/>
                  <a:gd name="connsiteY55" fmla="*/ 200121 h 432435"/>
                  <a:gd name="connsiteX56" fmla="*/ 300704 w 3400806"/>
                  <a:gd name="connsiteY56" fmla="*/ 200121 h 432435"/>
                  <a:gd name="connsiteX57" fmla="*/ 300704 w 3400806"/>
                  <a:gd name="connsiteY57" fmla="*/ 206217 h 432435"/>
                  <a:gd name="connsiteX58" fmla="*/ 304895 w 3400806"/>
                  <a:gd name="connsiteY58" fmla="*/ 206217 h 432435"/>
                  <a:gd name="connsiteX59" fmla="*/ 304895 w 3400806"/>
                  <a:gd name="connsiteY59" fmla="*/ 212313 h 432435"/>
                  <a:gd name="connsiteX60" fmla="*/ 378523 w 3400806"/>
                  <a:gd name="connsiteY60" fmla="*/ 212313 h 432435"/>
                  <a:gd name="connsiteX61" fmla="*/ 378523 w 3400806"/>
                  <a:gd name="connsiteY61" fmla="*/ 218313 h 432435"/>
                  <a:gd name="connsiteX62" fmla="*/ 399573 w 3400806"/>
                  <a:gd name="connsiteY62" fmla="*/ 218313 h 432435"/>
                  <a:gd name="connsiteX63" fmla="*/ 399573 w 3400806"/>
                  <a:gd name="connsiteY63" fmla="*/ 224409 h 432435"/>
                  <a:gd name="connsiteX64" fmla="*/ 405860 w 3400806"/>
                  <a:gd name="connsiteY64" fmla="*/ 224409 h 432435"/>
                  <a:gd name="connsiteX65" fmla="*/ 405860 w 3400806"/>
                  <a:gd name="connsiteY65" fmla="*/ 230505 h 432435"/>
                  <a:gd name="connsiteX66" fmla="*/ 447960 w 3400806"/>
                  <a:gd name="connsiteY66" fmla="*/ 230505 h 432435"/>
                  <a:gd name="connsiteX67" fmla="*/ 447960 w 3400806"/>
                  <a:gd name="connsiteY67" fmla="*/ 236506 h 432435"/>
                  <a:gd name="connsiteX68" fmla="*/ 462629 w 3400806"/>
                  <a:gd name="connsiteY68" fmla="*/ 236506 h 432435"/>
                  <a:gd name="connsiteX69" fmla="*/ 462629 w 3400806"/>
                  <a:gd name="connsiteY69" fmla="*/ 242602 h 432435"/>
                  <a:gd name="connsiteX70" fmla="*/ 492156 w 3400806"/>
                  <a:gd name="connsiteY70" fmla="*/ 242602 h 432435"/>
                  <a:gd name="connsiteX71" fmla="*/ 492156 w 3400806"/>
                  <a:gd name="connsiteY71" fmla="*/ 248698 h 432435"/>
                  <a:gd name="connsiteX72" fmla="*/ 494252 w 3400806"/>
                  <a:gd name="connsiteY72" fmla="*/ 248698 h 432435"/>
                  <a:gd name="connsiteX73" fmla="*/ 494252 w 3400806"/>
                  <a:gd name="connsiteY73" fmla="*/ 254699 h 432435"/>
                  <a:gd name="connsiteX74" fmla="*/ 517302 w 3400806"/>
                  <a:gd name="connsiteY74" fmla="*/ 254699 h 432435"/>
                  <a:gd name="connsiteX75" fmla="*/ 517302 w 3400806"/>
                  <a:gd name="connsiteY75" fmla="*/ 260795 h 432435"/>
                  <a:gd name="connsiteX76" fmla="*/ 529971 w 3400806"/>
                  <a:gd name="connsiteY76" fmla="*/ 260795 h 432435"/>
                  <a:gd name="connsiteX77" fmla="*/ 529971 w 3400806"/>
                  <a:gd name="connsiteY77" fmla="*/ 266891 h 432435"/>
                  <a:gd name="connsiteX78" fmla="*/ 565689 w 3400806"/>
                  <a:gd name="connsiteY78" fmla="*/ 266891 h 432435"/>
                  <a:gd name="connsiteX79" fmla="*/ 565689 w 3400806"/>
                  <a:gd name="connsiteY79" fmla="*/ 272987 h 432435"/>
                  <a:gd name="connsiteX80" fmla="*/ 681418 w 3400806"/>
                  <a:gd name="connsiteY80" fmla="*/ 272987 h 432435"/>
                  <a:gd name="connsiteX81" fmla="*/ 681418 w 3400806"/>
                  <a:gd name="connsiteY81" fmla="*/ 278988 h 432435"/>
                  <a:gd name="connsiteX82" fmla="*/ 719232 w 3400806"/>
                  <a:gd name="connsiteY82" fmla="*/ 278988 h 432435"/>
                  <a:gd name="connsiteX83" fmla="*/ 719232 w 3400806"/>
                  <a:gd name="connsiteY83" fmla="*/ 285179 h 432435"/>
                  <a:gd name="connsiteX84" fmla="*/ 771810 w 3400806"/>
                  <a:gd name="connsiteY84" fmla="*/ 285179 h 432435"/>
                  <a:gd name="connsiteX85" fmla="*/ 771810 w 3400806"/>
                  <a:gd name="connsiteY85" fmla="*/ 291275 h 432435"/>
                  <a:gd name="connsiteX86" fmla="*/ 790765 w 3400806"/>
                  <a:gd name="connsiteY86" fmla="*/ 291275 h 432435"/>
                  <a:gd name="connsiteX87" fmla="*/ 790765 w 3400806"/>
                  <a:gd name="connsiteY87" fmla="*/ 297371 h 432435"/>
                  <a:gd name="connsiteX88" fmla="*/ 801243 w 3400806"/>
                  <a:gd name="connsiteY88" fmla="*/ 297371 h 432435"/>
                  <a:gd name="connsiteX89" fmla="*/ 801243 w 3400806"/>
                  <a:gd name="connsiteY89" fmla="*/ 303562 h 432435"/>
                  <a:gd name="connsiteX90" fmla="*/ 834961 w 3400806"/>
                  <a:gd name="connsiteY90" fmla="*/ 303562 h 432435"/>
                  <a:gd name="connsiteX91" fmla="*/ 834961 w 3400806"/>
                  <a:gd name="connsiteY91" fmla="*/ 309658 h 432435"/>
                  <a:gd name="connsiteX92" fmla="*/ 841248 w 3400806"/>
                  <a:gd name="connsiteY92" fmla="*/ 309658 h 432435"/>
                  <a:gd name="connsiteX93" fmla="*/ 841248 w 3400806"/>
                  <a:gd name="connsiteY93" fmla="*/ 315754 h 432435"/>
                  <a:gd name="connsiteX94" fmla="*/ 855916 w 3400806"/>
                  <a:gd name="connsiteY94" fmla="*/ 315754 h 432435"/>
                  <a:gd name="connsiteX95" fmla="*/ 855916 w 3400806"/>
                  <a:gd name="connsiteY95" fmla="*/ 321850 h 432435"/>
                  <a:gd name="connsiteX96" fmla="*/ 868584 w 3400806"/>
                  <a:gd name="connsiteY96" fmla="*/ 321850 h 432435"/>
                  <a:gd name="connsiteX97" fmla="*/ 868584 w 3400806"/>
                  <a:gd name="connsiteY97" fmla="*/ 328041 h 432435"/>
                  <a:gd name="connsiteX98" fmla="*/ 893826 w 3400806"/>
                  <a:gd name="connsiteY98" fmla="*/ 328041 h 432435"/>
                  <a:gd name="connsiteX99" fmla="*/ 893826 w 3400806"/>
                  <a:gd name="connsiteY99" fmla="*/ 334137 h 432435"/>
                  <a:gd name="connsiteX100" fmla="*/ 1123092 w 3400806"/>
                  <a:gd name="connsiteY100" fmla="*/ 334137 h 432435"/>
                  <a:gd name="connsiteX101" fmla="*/ 1123092 w 3400806"/>
                  <a:gd name="connsiteY101" fmla="*/ 340329 h 432435"/>
                  <a:gd name="connsiteX102" fmla="*/ 1236630 w 3400806"/>
                  <a:gd name="connsiteY102" fmla="*/ 340329 h 432435"/>
                  <a:gd name="connsiteX103" fmla="*/ 1236630 w 3400806"/>
                  <a:gd name="connsiteY103" fmla="*/ 346520 h 432435"/>
                  <a:gd name="connsiteX104" fmla="*/ 1505807 w 3400806"/>
                  <a:gd name="connsiteY104" fmla="*/ 346520 h 432435"/>
                  <a:gd name="connsiteX105" fmla="*/ 1505807 w 3400806"/>
                  <a:gd name="connsiteY105" fmla="*/ 352806 h 432435"/>
                  <a:gd name="connsiteX106" fmla="*/ 1579435 w 3400806"/>
                  <a:gd name="connsiteY106" fmla="*/ 352806 h 432435"/>
                  <a:gd name="connsiteX107" fmla="*/ 1579435 w 3400806"/>
                  <a:gd name="connsiteY107" fmla="*/ 359093 h 432435"/>
                  <a:gd name="connsiteX108" fmla="*/ 1659350 w 3400806"/>
                  <a:gd name="connsiteY108" fmla="*/ 359093 h 432435"/>
                  <a:gd name="connsiteX109" fmla="*/ 1659350 w 3400806"/>
                  <a:gd name="connsiteY109" fmla="*/ 365379 h 432435"/>
                  <a:gd name="connsiteX110" fmla="*/ 1821275 w 3400806"/>
                  <a:gd name="connsiteY110" fmla="*/ 365379 h 432435"/>
                  <a:gd name="connsiteX111" fmla="*/ 1821275 w 3400806"/>
                  <a:gd name="connsiteY111" fmla="*/ 371856 h 432435"/>
                  <a:gd name="connsiteX112" fmla="*/ 1838134 w 3400806"/>
                  <a:gd name="connsiteY112" fmla="*/ 371856 h 432435"/>
                  <a:gd name="connsiteX113" fmla="*/ 1838134 w 3400806"/>
                  <a:gd name="connsiteY113" fmla="*/ 378238 h 432435"/>
                  <a:gd name="connsiteX114" fmla="*/ 1955958 w 3400806"/>
                  <a:gd name="connsiteY114" fmla="*/ 378238 h 432435"/>
                  <a:gd name="connsiteX115" fmla="*/ 1955958 w 3400806"/>
                  <a:gd name="connsiteY115" fmla="*/ 384715 h 432435"/>
                  <a:gd name="connsiteX116" fmla="*/ 2048446 w 3400806"/>
                  <a:gd name="connsiteY116" fmla="*/ 384715 h 432435"/>
                  <a:gd name="connsiteX117" fmla="*/ 2048446 w 3400806"/>
                  <a:gd name="connsiteY117" fmla="*/ 391097 h 432435"/>
                  <a:gd name="connsiteX118" fmla="*/ 2067401 w 3400806"/>
                  <a:gd name="connsiteY118" fmla="*/ 391097 h 432435"/>
                  <a:gd name="connsiteX119" fmla="*/ 2067401 w 3400806"/>
                  <a:gd name="connsiteY119" fmla="*/ 397574 h 432435"/>
                  <a:gd name="connsiteX120" fmla="*/ 2921222 w 3400806"/>
                  <a:gd name="connsiteY120" fmla="*/ 397574 h 432435"/>
                  <a:gd name="connsiteX121" fmla="*/ 2921222 w 3400806"/>
                  <a:gd name="connsiteY121" fmla="*/ 432435 h 432435"/>
                  <a:gd name="connsiteX122" fmla="*/ 3400806 w 3400806"/>
                  <a:gd name="connsiteY122" fmla="*/ 432435 h 432435"/>
                  <a:gd name="connsiteX0" fmla="*/ 0 w 3400806"/>
                  <a:gd name="connsiteY0" fmla="*/ 0 h 432435"/>
                  <a:gd name="connsiteX1" fmla="*/ 29432 w 3400806"/>
                  <a:gd name="connsiteY1" fmla="*/ 6001 h 432435"/>
                  <a:gd name="connsiteX2" fmla="*/ 29432 w 3400806"/>
                  <a:gd name="connsiteY2" fmla="*/ 12097 h 432435"/>
                  <a:gd name="connsiteX3" fmla="*/ 37814 w 3400806"/>
                  <a:gd name="connsiteY3" fmla="*/ 12097 h 432435"/>
                  <a:gd name="connsiteX4" fmla="*/ 37814 w 3400806"/>
                  <a:gd name="connsiteY4" fmla="*/ 18193 h 432435"/>
                  <a:gd name="connsiteX5" fmla="*/ 39909 w 3400806"/>
                  <a:gd name="connsiteY5" fmla="*/ 18193 h 432435"/>
                  <a:gd name="connsiteX6" fmla="*/ 39909 w 3400806"/>
                  <a:gd name="connsiteY6" fmla="*/ 24194 h 432435"/>
                  <a:gd name="connsiteX7" fmla="*/ 54673 w 3400806"/>
                  <a:gd name="connsiteY7" fmla="*/ 24194 h 432435"/>
                  <a:gd name="connsiteX8" fmla="*/ 54673 w 3400806"/>
                  <a:gd name="connsiteY8" fmla="*/ 36386 h 432435"/>
                  <a:gd name="connsiteX9" fmla="*/ 56769 w 3400806"/>
                  <a:gd name="connsiteY9" fmla="*/ 36386 h 432435"/>
                  <a:gd name="connsiteX10" fmla="*/ 56769 w 3400806"/>
                  <a:gd name="connsiteY10" fmla="*/ 42387 h 432435"/>
                  <a:gd name="connsiteX11" fmla="*/ 63055 w 3400806"/>
                  <a:gd name="connsiteY11" fmla="*/ 42387 h 432435"/>
                  <a:gd name="connsiteX12" fmla="*/ 63055 w 3400806"/>
                  <a:gd name="connsiteY12" fmla="*/ 48483 h 432435"/>
                  <a:gd name="connsiteX13" fmla="*/ 67246 w 3400806"/>
                  <a:gd name="connsiteY13" fmla="*/ 48483 h 432435"/>
                  <a:gd name="connsiteX14" fmla="*/ 67246 w 3400806"/>
                  <a:gd name="connsiteY14" fmla="*/ 54579 h 432435"/>
                  <a:gd name="connsiteX15" fmla="*/ 84105 w 3400806"/>
                  <a:gd name="connsiteY15" fmla="*/ 54579 h 432435"/>
                  <a:gd name="connsiteX16" fmla="*/ 84105 w 3400806"/>
                  <a:gd name="connsiteY16" fmla="*/ 66675 h 432435"/>
                  <a:gd name="connsiteX17" fmla="*/ 88296 w 3400806"/>
                  <a:gd name="connsiteY17" fmla="*/ 66675 h 432435"/>
                  <a:gd name="connsiteX18" fmla="*/ 88296 w 3400806"/>
                  <a:gd name="connsiteY18" fmla="*/ 72771 h 432435"/>
                  <a:gd name="connsiteX19" fmla="*/ 111442 w 3400806"/>
                  <a:gd name="connsiteY19" fmla="*/ 72771 h 432435"/>
                  <a:gd name="connsiteX20" fmla="*/ 111442 w 3400806"/>
                  <a:gd name="connsiteY20" fmla="*/ 78867 h 432435"/>
                  <a:gd name="connsiteX21" fmla="*/ 115633 w 3400806"/>
                  <a:gd name="connsiteY21" fmla="*/ 78867 h 432435"/>
                  <a:gd name="connsiteX22" fmla="*/ 115633 w 3400806"/>
                  <a:gd name="connsiteY22" fmla="*/ 84868 h 432435"/>
                  <a:gd name="connsiteX23" fmla="*/ 121920 w 3400806"/>
                  <a:gd name="connsiteY23" fmla="*/ 84868 h 432435"/>
                  <a:gd name="connsiteX24" fmla="*/ 121920 w 3400806"/>
                  <a:gd name="connsiteY24" fmla="*/ 97060 h 432435"/>
                  <a:gd name="connsiteX25" fmla="*/ 140874 w 3400806"/>
                  <a:gd name="connsiteY25" fmla="*/ 97060 h 432435"/>
                  <a:gd name="connsiteX26" fmla="*/ 140874 w 3400806"/>
                  <a:gd name="connsiteY26" fmla="*/ 103061 h 432435"/>
                  <a:gd name="connsiteX27" fmla="*/ 149256 w 3400806"/>
                  <a:gd name="connsiteY27" fmla="*/ 103061 h 432435"/>
                  <a:gd name="connsiteX28" fmla="*/ 149256 w 3400806"/>
                  <a:gd name="connsiteY28" fmla="*/ 109157 h 432435"/>
                  <a:gd name="connsiteX29" fmla="*/ 161925 w 3400806"/>
                  <a:gd name="connsiteY29" fmla="*/ 109157 h 432435"/>
                  <a:gd name="connsiteX30" fmla="*/ 161925 w 3400806"/>
                  <a:gd name="connsiteY30" fmla="*/ 115253 h 432435"/>
                  <a:gd name="connsiteX31" fmla="*/ 178784 w 3400806"/>
                  <a:gd name="connsiteY31" fmla="*/ 115253 h 432435"/>
                  <a:gd name="connsiteX32" fmla="*/ 178784 w 3400806"/>
                  <a:gd name="connsiteY32" fmla="*/ 121254 h 432435"/>
                  <a:gd name="connsiteX33" fmla="*/ 206121 w 3400806"/>
                  <a:gd name="connsiteY33" fmla="*/ 121254 h 432435"/>
                  <a:gd name="connsiteX34" fmla="*/ 206121 w 3400806"/>
                  <a:gd name="connsiteY34" fmla="*/ 127350 h 432435"/>
                  <a:gd name="connsiteX35" fmla="*/ 208216 w 3400806"/>
                  <a:gd name="connsiteY35" fmla="*/ 127350 h 432435"/>
                  <a:gd name="connsiteX36" fmla="*/ 208216 w 3400806"/>
                  <a:gd name="connsiteY36" fmla="*/ 133446 h 432435"/>
                  <a:gd name="connsiteX37" fmla="*/ 218693 w 3400806"/>
                  <a:gd name="connsiteY37" fmla="*/ 133446 h 432435"/>
                  <a:gd name="connsiteX38" fmla="*/ 218693 w 3400806"/>
                  <a:gd name="connsiteY38" fmla="*/ 139446 h 432435"/>
                  <a:gd name="connsiteX39" fmla="*/ 224980 w 3400806"/>
                  <a:gd name="connsiteY39" fmla="*/ 139446 h 432435"/>
                  <a:gd name="connsiteX40" fmla="*/ 224980 w 3400806"/>
                  <a:gd name="connsiteY40" fmla="*/ 151638 h 432435"/>
                  <a:gd name="connsiteX41" fmla="*/ 233457 w 3400806"/>
                  <a:gd name="connsiteY41" fmla="*/ 151638 h 432435"/>
                  <a:gd name="connsiteX42" fmla="*/ 233457 w 3400806"/>
                  <a:gd name="connsiteY42" fmla="*/ 157639 h 432435"/>
                  <a:gd name="connsiteX43" fmla="*/ 239744 w 3400806"/>
                  <a:gd name="connsiteY43" fmla="*/ 157639 h 432435"/>
                  <a:gd name="connsiteX44" fmla="*/ 239744 w 3400806"/>
                  <a:gd name="connsiteY44" fmla="*/ 169831 h 432435"/>
                  <a:gd name="connsiteX45" fmla="*/ 241839 w 3400806"/>
                  <a:gd name="connsiteY45" fmla="*/ 169831 h 432435"/>
                  <a:gd name="connsiteX46" fmla="*/ 241839 w 3400806"/>
                  <a:gd name="connsiteY46" fmla="*/ 175927 h 432435"/>
                  <a:gd name="connsiteX47" fmla="*/ 254412 w 3400806"/>
                  <a:gd name="connsiteY47" fmla="*/ 175927 h 432435"/>
                  <a:gd name="connsiteX48" fmla="*/ 254412 w 3400806"/>
                  <a:gd name="connsiteY48" fmla="*/ 181928 h 432435"/>
                  <a:gd name="connsiteX49" fmla="*/ 277558 w 3400806"/>
                  <a:gd name="connsiteY49" fmla="*/ 181928 h 432435"/>
                  <a:gd name="connsiteX50" fmla="*/ 277558 w 3400806"/>
                  <a:gd name="connsiteY50" fmla="*/ 188024 h 432435"/>
                  <a:gd name="connsiteX51" fmla="*/ 283940 w 3400806"/>
                  <a:gd name="connsiteY51" fmla="*/ 188024 h 432435"/>
                  <a:gd name="connsiteX52" fmla="*/ 283940 w 3400806"/>
                  <a:gd name="connsiteY52" fmla="*/ 194120 h 432435"/>
                  <a:gd name="connsiteX53" fmla="*/ 292322 w 3400806"/>
                  <a:gd name="connsiteY53" fmla="*/ 194120 h 432435"/>
                  <a:gd name="connsiteX54" fmla="*/ 292322 w 3400806"/>
                  <a:gd name="connsiteY54" fmla="*/ 200121 h 432435"/>
                  <a:gd name="connsiteX55" fmla="*/ 300704 w 3400806"/>
                  <a:gd name="connsiteY55" fmla="*/ 200121 h 432435"/>
                  <a:gd name="connsiteX56" fmla="*/ 300704 w 3400806"/>
                  <a:gd name="connsiteY56" fmla="*/ 206217 h 432435"/>
                  <a:gd name="connsiteX57" fmla="*/ 304895 w 3400806"/>
                  <a:gd name="connsiteY57" fmla="*/ 206217 h 432435"/>
                  <a:gd name="connsiteX58" fmla="*/ 304895 w 3400806"/>
                  <a:gd name="connsiteY58" fmla="*/ 212313 h 432435"/>
                  <a:gd name="connsiteX59" fmla="*/ 378523 w 3400806"/>
                  <a:gd name="connsiteY59" fmla="*/ 212313 h 432435"/>
                  <a:gd name="connsiteX60" fmla="*/ 378523 w 3400806"/>
                  <a:gd name="connsiteY60" fmla="*/ 218313 h 432435"/>
                  <a:gd name="connsiteX61" fmla="*/ 399573 w 3400806"/>
                  <a:gd name="connsiteY61" fmla="*/ 218313 h 432435"/>
                  <a:gd name="connsiteX62" fmla="*/ 399573 w 3400806"/>
                  <a:gd name="connsiteY62" fmla="*/ 224409 h 432435"/>
                  <a:gd name="connsiteX63" fmla="*/ 405860 w 3400806"/>
                  <a:gd name="connsiteY63" fmla="*/ 224409 h 432435"/>
                  <a:gd name="connsiteX64" fmla="*/ 405860 w 3400806"/>
                  <a:gd name="connsiteY64" fmla="*/ 230505 h 432435"/>
                  <a:gd name="connsiteX65" fmla="*/ 447960 w 3400806"/>
                  <a:gd name="connsiteY65" fmla="*/ 230505 h 432435"/>
                  <a:gd name="connsiteX66" fmla="*/ 447960 w 3400806"/>
                  <a:gd name="connsiteY66" fmla="*/ 236506 h 432435"/>
                  <a:gd name="connsiteX67" fmla="*/ 462629 w 3400806"/>
                  <a:gd name="connsiteY67" fmla="*/ 236506 h 432435"/>
                  <a:gd name="connsiteX68" fmla="*/ 462629 w 3400806"/>
                  <a:gd name="connsiteY68" fmla="*/ 242602 h 432435"/>
                  <a:gd name="connsiteX69" fmla="*/ 492156 w 3400806"/>
                  <a:gd name="connsiteY69" fmla="*/ 242602 h 432435"/>
                  <a:gd name="connsiteX70" fmla="*/ 492156 w 3400806"/>
                  <a:gd name="connsiteY70" fmla="*/ 248698 h 432435"/>
                  <a:gd name="connsiteX71" fmla="*/ 494252 w 3400806"/>
                  <a:gd name="connsiteY71" fmla="*/ 248698 h 432435"/>
                  <a:gd name="connsiteX72" fmla="*/ 494252 w 3400806"/>
                  <a:gd name="connsiteY72" fmla="*/ 254699 h 432435"/>
                  <a:gd name="connsiteX73" fmla="*/ 517302 w 3400806"/>
                  <a:gd name="connsiteY73" fmla="*/ 254699 h 432435"/>
                  <a:gd name="connsiteX74" fmla="*/ 517302 w 3400806"/>
                  <a:gd name="connsiteY74" fmla="*/ 260795 h 432435"/>
                  <a:gd name="connsiteX75" fmla="*/ 529971 w 3400806"/>
                  <a:gd name="connsiteY75" fmla="*/ 260795 h 432435"/>
                  <a:gd name="connsiteX76" fmla="*/ 529971 w 3400806"/>
                  <a:gd name="connsiteY76" fmla="*/ 266891 h 432435"/>
                  <a:gd name="connsiteX77" fmla="*/ 565689 w 3400806"/>
                  <a:gd name="connsiteY77" fmla="*/ 266891 h 432435"/>
                  <a:gd name="connsiteX78" fmla="*/ 565689 w 3400806"/>
                  <a:gd name="connsiteY78" fmla="*/ 272987 h 432435"/>
                  <a:gd name="connsiteX79" fmla="*/ 681418 w 3400806"/>
                  <a:gd name="connsiteY79" fmla="*/ 272987 h 432435"/>
                  <a:gd name="connsiteX80" fmla="*/ 681418 w 3400806"/>
                  <a:gd name="connsiteY80" fmla="*/ 278988 h 432435"/>
                  <a:gd name="connsiteX81" fmla="*/ 719232 w 3400806"/>
                  <a:gd name="connsiteY81" fmla="*/ 278988 h 432435"/>
                  <a:gd name="connsiteX82" fmla="*/ 719232 w 3400806"/>
                  <a:gd name="connsiteY82" fmla="*/ 285179 h 432435"/>
                  <a:gd name="connsiteX83" fmla="*/ 771810 w 3400806"/>
                  <a:gd name="connsiteY83" fmla="*/ 285179 h 432435"/>
                  <a:gd name="connsiteX84" fmla="*/ 771810 w 3400806"/>
                  <a:gd name="connsiteY84" fmla="*/ 291275 h 432435"/>
                  <a:gd name="connsiteX85" fmla="*/ 790765 w 3400806"/>
                  <a:gd name="connsiteY85" fmla="*/ 291275 h 432435"/>
                  <a:gd name="connsiteX86" fmla="*/ 790765 w 3400806"/>
                  <a:gd name="connsiteY86" fmla="*/ 297371 h 432435"/>
                  <a:gd name="connsiteX87" fmla="*/ 801243 w 3400806"/>
                  <a:gd name="connsiteY87" fmla="*/ 297371 h 432435"/>
                  <a:gd name="connsiteX88" fmla="*/ 801243 w 3400806"/>
                  <a:gd name="connsiteY88" fmla="*/ 303562 h 432435"/>
                  <a:gd name="connsiteX89" fmla="*/ 834961 w 3400806"/>
                  <a:gd name="connsiteY89" fmla="*/ 303562 h 432435"/>
                  <a:gd name="connsiteX90" fmla="*/ 834961 w 3400806"/>
                  <a:gd name="connsiteY90" fmla="*/ 309658 h 432435"/>
                  <a:gd name="connsiteX91" fmla="*/ 841248 w 3400806"/>
                  <a:gd name="connsiteY91" fmla="*/ 309658 h 432435"/>
                  <a:gd name="connsiteX92" fmla="*/ 841248 w 3400806"/>
                  <a:gd name="connsiteY92" fmla="*/ 315754 h 432435"/>
                  <a:gd name="connsiteX93" fmla="*/ 855916 w 3400806"/>
                  <a:gd name="connsiteY93" fmla="*/ 315754 h 432435"/>
                  <a:gd name="connsiteX94" fmla="*/ 855916 w 3400806"/>
                  <a:gd name="connsiteY94" fmla="*/ 321850 h 432435"/>
                  <a:gd name="connsiteX95" fmla="*/ 868584 w 3400806"/>
                  <a:gd name="connsiteY95" fmla="*/ 321850 h 432435"/>
                  <a:gd name="connsiteX96" fmla="*/ 868584 w 3400806"/>
                  <a:gd name="connsiteY96" fmla="*/ 328041 h 432435"/>
                  <a:gd name="connsiteX97" fmla="*/ 893826 w 3400806"/>
                  <a:gd name="connsiteY97" fmla="*/ 328041 h 432435"/>
                  <a:gd name="connsiteX98" fmla="*/ 893826 w 3400806"/>
                  <a:gd name="connsiteY98" fmla="*/ 334137 h 432435"/>
                  <a:gd name="connsiteX99" fmla="*/ 1123092 w 3400806"/>
                  <a:gd name="connsiteY99" fmla="*/ 334137 h 432435"/>
                  <a:gd name="connsiteX100" fmla="*/ 1123092 w 3400806"/>
                  <a:gd name="connsiteY100" fmla="*/ 340329 h 432435"/>
                  <a:gd name="connsiteX101" fmla="*/ 1236630 w 3400806"/>
                  <a:gd name="connsiteY101" fmla="*/ 340329 h 432435"/>
                  <a:gd name="connsiteX102" fmla="*/ 1236630 w 3400806"/>
                  <a:gd name="connsiteY102" fmla="*/ 346520 h 432435"/>
                  <a:gd name="connsiteX103" fmla="*/ 1505807 w 3400806"/>
                  <a:gd name="connsiteY103" fmla="*/ 346520 h 432435"/>
                  <a:gd name="connsiteX104" fmla="*/ 1505807 w 3400806"/>
                  <a:gd name="connsiteY104" fmla="*/ 352806 h 432435"/>
                  <a:gd name="connsiteX105" fmla="*/ 1579435 w 3400806"/>
                  <a:gd name="connsiteY105" fmla="*/ 352806 h 432435"/>
                  <a:gd name="connsiteX106" fmla="*/ 1579435 w 3400806"/>
                  <a:gd name="connsiteY106" fmla="*/ 359093 h 432435"/>
                  <a:gd name="connsiteX107" fmla="*/ 1659350 w 3400806"/>
                  <a:gd name="connsiteY107" fmla="*/ 359093 h 432435"/>
                  <a:gd name="connsiteX108" fmla="*/ 1659350 w 3400806"/>
                  <a:gd name="connsiteY108" fmla="*/ 365379 h 432435"/>
                  <a:gd name="connsiteX109" fmla="*/ 1821275 w 3400806"/>
                  <a:gd name="connsiteY109" fmla="*/ 365379 h 432435"/>
                  <a:gd name="connsiteX110" fmla="*/ 1821275 w 3400806"/>
                  <a:gd name="connsiteY110" fmla="*/ 371856 h 432435"/>
                  <a:gd name="connsiteX111" fmla="*/ 1838134 w 3400806"/>
                  <a:gd name="connsiteY111" fmla="*/ 371856 h 432435"/>
                  <a:gd name="connsiteX112" fmla="*/ 1838134 w 3400806"/>
                  <a:gd name="connsiteY112" fmla="*/ 378238 h 432435"/>
                  <a:gd name="connsiteX113" fmla="*/ 1955958 w 3400806"/>
                  <a:gd name="connsiteY113" fmla="*/ 378238 h 432435"/>
                  <a:gd name="connsiteX114" fmla="*/ 1955958 w 3400806"/>
                  <a:gd name="connsiteY114" fmla="*/ 384715 h 432435"/>
                  <a:gd name="connsiteX115" fmla="*/ 2048446 w 3400806"/>
                  <a:gd name="connsiteY115" fmla="*/ 384715 h 432435"/>
                  <a:gd name="connsiteX116" fmla="*/ 2048446 w 3400806"/>
                  <a:gd name="connsiteY116" fmla="*/ 391097 h 432435"/>
                  <a:gd name="connsiteX117" fmla="*/ 2067401 w 3400806"/>
                  <a:gd name="connsiteY117" fmla="*/ 391097 h 432435"/>
                  <a:gd name="connsiteX118" fmla="*/ 2067401 w 3400806"/>
                  <a:gd name="connsiteY118" fmla="*/ 397574 h 432435"/>
                  <a:gd name="connsiteX119" fmla="*/ 2921222 w 3400806"/>
                  <a:gd name="connsiteY119" fmla="*/ 397574 h 432435"/>
                  <a:gd name="connsiteX120" fmla="*/ 2921222 w 3400806"/>
                  <a:gd name="connsiteY120" fmla="*/ 432435 h 432435"/>
                  <a:gd name="connsiteX121" fmla="*/ 3400806 w 3400806"/>
                  <a:gd name="connsiteY121" fmla="*/ 432435 h 432435"/>
                  <a:gd name="connsiteX0" fmla="*/ 0 w 3371374"/>
                  <a:gd name="connsiteY0" fmla="*/ 0 h 426434"/>
                  <a:gd name="connsiteX1" fmla="*/ 0 w 3371374"/>
                  <a:gd name="connsiteY1" fmla="*/ 6096 h 426434"/>
                  <a:gd name="connsiteX2" fmla="*/ 8382 w 3371374"/>
                  <a:gd name="connsiteY2" fmla="*/ 6096 h 426434"/>
                  <a:gd name="connsiteX3" fmla="*/ 8382 w 3371374"/>
                  <a:gd name="connsiteY3" fmla="*/ 12192 h 426434"/>
                  <a:gd name="connsiteX4" fmla="*/ 10477 w 3371374"/>
                  <a:gd name="connsiteY4" fmla="*/ 12192 h 426434"/>
                  <a:gd name="connsiteX5" fmla="*/ 10477 w 3371374"/>
                  <a:gd name="connsiteY5" fmla="*/ 18193 h 426434"/>
                  <a:gd name="connsiteX6" fmla="*/ 25241 w 3371374"/>
                  <a:gd name="connsiteY6" fmla="*/ 18193 h 426434"/>
                  <a:gd name="connsiteX7" fmla="*/ 25241 w 3371374"/>
                  <a:gd name="connsiteY7" fmla="*/ 30385 h 426434"/>
                  <a:gd name="connsiteX8" fmla="*/ 27337 w 3371374"/>
                  <a:gd name="connsiteY8" fmla="*/ 30385 h 426434"/>
                  <a:gd name="connsiteX9" fmla="*/ 27337 w 3371374"/>
                  <a:gd name="connsiteY9" fmla="*/ 36386 h 426434"/>
                  <a:gd name="connsiteX10" fmla="*/ 33623 w 3371374"/>
                  <a:gd name="connsiteY10" fmla="*/ 36386 h 426434"/>
                  <a:gd name="connsiteX11" fmla="*/ 33623 w 3371374"/>
                  <a:gd name="connsiteY11" fmla="*/ 42482 h 426434"/>
                  <a:gd name="connsiteX12" fmla="*/ 37814 w 3371374"/>
                  <a:gd name="connsiteY12" fmla="*/ 42482 h 426434"/>
                  <a:gd name="connsiteX13" fmla="*/ 37814 w 3371374"/>
                  <a:gd name="connsiteY13" fmla="*/ 48578 h 426434"/>
                  <a:gd name="connsiteX14" fmla="*/ 54673 w 3371374"/>
                  <a:gd name="connsiteY14" fmla="*/ 48578 h 426434"/>
                  <a:gd name="connsiteX15" fmla="*/ 54673 w 3371374"/>
                  <a:gd name="connsiteY15" fmla="*/ 60674 h 426434"/>
                  <a:gd name="connsiteX16" fmla="*/ 58864 w 3371374"/>
                  <a:gd name="connsiteY16" fmla="*/ 60674 h 426434"/>
                  <a:gd name="connsiteX17" fmla="*/ 58864 w 3371374"/>
                  <a:gd name="connsiteY17" fmla="*/ 66770 h 426434"/>
                  <a:gd name="connsiteX18" fmla="*/ 82010 w 3371374"/>
                  <a:gd name="connsiteY18" fmla="*/ 66770 h 426434"/>
                  <a:gd name="connsiteX19" fmla="*/ 82010 w 3371374"/>
                  <a:gd name="connsiteY19" fmla="*/ 72866 h 426434"/>
                  <a:gd name="connsiteX20" fmla="*/ 86201 w 3371374"/>
                  <a:gd name="connsiteY20" fmla="*/ 72866 h 426434"/>
                  <a:gd name="connsiteX21" fmla="*/ 86201 w 3371374"/>
                  <a:gd name="connsiteY21" fmla="*/ 78867 h 426434"/>
                  <a:gd name="connsiteX22" fmla="*/ 92488 w 3371374"/>
                  <a:gd name="connsiteY22" fmla="*/ 78867 h 426434"/>
                  <a:gd name="connsiteX23" fmla="*/ 92488 w 3371374"/>
                  <a:gd name="connsiteY23" fmla="*/ 91059 h 426434"/>
                  <a:gd name="connsiteX24" fmla="*/ 111442 w 3371374"/>
                  <a:gd name="connsiteY24" fmla="*/ 91059 h 426434"/>
                  <a:gd name="connsiteX25" fmla="*/ 111442 w 3371374"/>
                  <a:gd name="connsiteY25" fmla="*/ 97060 h 426434"/>
                  <a:gd name="connsiteX26" fmla="*/ 119824 w 3371374"/>
                  <a:gd name="connsiteY26" fmla="*/ 97060 h 426434"/>
                  <a:gd name="connsiteX27" fmla="*/ 119824 w 3371374"/>
                  <a:gd name="connsiteY27" fmla="*/ 103156 h 426434"/>
                  <a:gd name="connsiteX28" fmla="*/ 132493 w 3371374"/>
                  <a:gd name="connsiteY28" fmla="*/ 103156 h 426434"/>
                  <a:gd name="connsiteX29" fmla="*/ 132493 w 3371374"/>
                  <a:gd name="connsiteY29" fmla="*/ 109252 h 426434"/>
                  <a:gd name="connsiteX30" fmla="*/ 149352 w 3371374"/>
                  <a:gd name="connsiteY30" fmla="*/ 109252 h 426434"/>
                  <a:gd name="connsiteX31" fmla="*/ 149352 w 3371374"/>
                  <a:gd name="connsiteY31" fmla="*/ 115253 h 426434"/>
                  <a:gd name="connsiteX32" fmla="*/ 176689 w 3371374"/>
                  <a:gd name="connsiteY32" fmla="*/ 115253 h 426434"/>
                  <a:gd name="connsiteX33" fmla="*/ 176689 w 3371374"/>
                  <a:gd name="connsiteY33" fmla="*/ 121349 h 426434"/>
                  <a:gd name="connsiteX34" fmla="*/ 178784 w 3371374"/>
                  <a:gd name="connsiteY34" fmla="*/ 121349 h 426434"/>
                  <a:gd name="connsiteX35" fmla="*/ 178784 w 3371374"/>
                  <a:gd name="connsiteY35" fmla="*/ 127445 h 426434"/>
                  <a:gd name="connsiteX36" fmla="*/ 189261 w 3371374"/>
                  <a:gd name="connsiteY36" fmla="*/ 127445 h 426434"/>
                  <a:gd name="connsiteX37" fmla="*/ 189261 w 3371374"/>
                  <a:gd name="connsiteY37" fmla="*/ 133445 h 426434"/>
                  <a:gd name="connsiteX38" fmla="*/ 195548 w 3371374"/>
                  <a:gd name="connsiteY38" fmla="*/ 133445 h 426434"/>
                  <a:gd name="connsiteX39" fmla="*/ 195548 w 3371374"/>
                  <a:gd name="connsiteY39" fmla="*/ 145637 h 426434"/>
                  <a:gd name="connsiteX40" fmla="*/ 204025 w 3371374"/>
                  <a:gd name="connsiteY40" fmla="*/ 145637 h 426434"/>
                  <a:gd name="connsiteX41" fmla="*/ 204025 w 3371374"/>
                  <a:gd name="connsiteY41" fmla="*/ 151638 h 426434"/>
                  <a:gd name="connsiteX42" fmla="*/ 210312 w 3371374"/>
                  <a:gd name="connsiteY42" fmla="*/ 151638 h 426434"/>
                  <a:gd name="connsiteX43" fmla="*/ 210312 w 3371374"/>
                  <a:gd name="connsiteY43" fmla="*/ 163830 h 426434"/>
                  <a:gd name="connsiteX44" fmla="*/ 212407 w 3371374"/>
                  <a:gd name="connsiteY44" fmla="*/ 163830 h 426434"/>
                  <a:gd name="connsiteX45" fmla="*/ 212407 w 3371374"/>
                  <a:gd name="connsiteY45" fmla="*/ 169926 h 426434"/>
                  <a:gd name="connsiteX46" fmla="*/ 224980 w 3371374"/>
                  <a:gd name="connsiteY46" fmla="*/ 169926 h 426434"/>
                  <a:gd name="connsiteX47" fmla="*/ 224980 w 3371374"/>
                  <a:gd name="connsiteY47" fmla="*/ 175927 h 426434"/>
                  <a:gd name="connsiteX48" fmla="*/ 248126 w 3371374"/>
                  <a:gd name="connsiteY48" fmla="*/ 175927 h 426434"/>
                  <a:gd name="connsiteX49" fmla="*/ 248126 w 3371374"/>
                  <a:gd name="connsiteY49" fmla="*/ 182023 h 426434"/>
                  <a:gd name="connsiteX50" fmla="*/ 254508 w 3371374"/>
                  <a:gd name="connsiteY50" fmla="*/ 182023 h 426434"/>
                  <a:gd name="connsiteX51" fmla="*/ 254508 w 3371374"/>
                  <a:gd name="connsiteY51" fmla="*/ 188119 h 426434"/>
                  <a:gd name="connsiteX52" fmla="*/ 262890 w 3371374"/>
                  <a:gd name="connsiteY52" fmla="*/ 188119 h 426434"/>
                  <a:gd name="connsiteX53" fmla="*/ 262890 w 3371374"/>
                  <a:gd name="connsiteY53" fmla="*/ 194120 h 426434"/>
                  <a:gd name="connsiteX54" fmla="*/ 271272 w 3371374"/>
                  <a:gd name="connsiteY54" fmla="*/ 194120 h 426434"/>
                  <a:gd name="connsiteX55" fmla="*/ 271272 w 3371374"/>
                  <a:gd name="connsiteY55" fmla="*/ 200216 h 426434"/>
                  <a:gd name="connsiteX56" fmla="*/ 275463 w 3371374"/>
                  <a:gd name="connsiteY56" fmla="*/ 200216 h 426434"/>
                  <a:gd name="connsiteX57" fmla="*/ 275463 w 3371374"/>
                  <a:gd name="connsiteY57" fmla="*/ 206312 h 426434"/>
                  <a:gd name="connsiteX58" fmla="*/ 349091 w 3371374"/>
                  <a:gd name="connsiteY58" fmla="*/ 206312 h 426434"/>
                  <a:gd name="connsiteX59" fmla="*/ 349091 w 3371374"/>
                  <a:gd name="connsiteY59" fmla="*/ 212312 h 426434"/>
                  <a:gd name="connsiteX60" fmla="*/ 370141 w 3371374"/>
                  <a:gd name="connsiteY60" fmla="*/ 212312 h 426434"/>
                  <a:gd name="connsiteX61" fmla="*/ 370141 w 3371374"/>
                  <a:gd name="connsiteY61" fmla="*/ 218408 h 426434"/>
                  <a:gd name="connsiteX62" fmla="*/ 376428 w 3371374"/>
                  <a:gd name="connsiteY62" fmla="*/ 218408 h 426434"/>
                  <a:gd name="connsiteX63" fmla="*/ 376428 w 3371374"/>
                  <a:gd name="connsiteY63" fmla="*/ 224504 h 426434"/>
                  <a:gd name="connsiteX64" fmla="*/ 418528 w 3371374"/>
                  <a:gd name="connsiteY64" fmla="*/ 224504 h 426434"/>
                  <a:gd name="connsiteX65" fmla="*/ 418528 w 3371374"/>
                  <a:gd name="connsiteY65" fmla="*/ 230505 h 426434"/>
                  <a:gd name="connsiteX66" fmla="*/ 433197 w 3371374"/>
                  <a:gd name="connsiteY66" fmla="*/ 230505 h 426434"/>
                  <a:gd name="connsiteX67" fmla="*/ 433197 w 3371374"/>
                  <a:gd name="connsiteY67" fmla="*/ 236601 h 426434"/>
                  <a:gd name="connsiteX68" fmla="*/ 462724 w 3371374"/>
                  <a:gd name="connsiteY68" fmla="*/ 236601 h 426434"/>
                  <a:gd name="connsiteX69" fmla="*/ 462724 w 3371374"/>
                  <a:gd name="connsiteY69" fmla="*/ 242697 h 426434"/>
                  <a:gd name="connsiteX70" fmla="*/ 464820 w 3371374"/>
                  <a:gd name="connsiteY70" fmla="*/ 242697 h 426434"/>
                  <a:gd name="connsiteX71" fmla="*/ 464820 w 3371374"/>
                  <a:gd name="connsiteY71" fmla="*/ 248698 h 426434"/>
                  <a:gd name="connsiteX72" fmla="*/ 487870 w 3371374"/>
                  <a:gd name="connsiteY72" fmla="*/ 248698 h 426434"/>
                  <a:gd name="connsiteX73" fmla="*/ 487870 w 3371374"/>
                  <a:gd name="connsiteY73" fmla="*/ 254794 h 426434"/>
                  <a:gd name="connsiteX74" fmla="*/ 500539 w 3371374"/>
                  <a:gd name="connsiteY74" fmla="*/ 254794 h 426434"/>
                  <a:gd name="connsiteX75" fmla="*/ 500539 w 3371374"/>
                  <a:gd name="connsiteY75" fmla="*/ 260890 h 426434"/>
                  <a:gd name="connsiteX76" fmla="*/ 536257 w 3371374"/>
                  <a:gd name="connsiteY76" fmla="*/ 260890 h 426434"/>
                  <a:gd name="connsiteX77" fmla="*/ 536257 w 3371374"/>
                  <a:gd name="connsiteY77" fmla="*/ 266986 h 426434"/>
                  <a:gd name="connsiteX78" fmla="*/ 651986 w 3371374"/>
                  <a:gd name="connsiteY78" fmla="*/ 266986 h 426434"/>
                  <a:gd name="connsiteX79" fmla="*/ 651986 w 3371374"/>
                  <a:gd name="connsiteY79" fmla="*/ 272987 h 426434"/>
                  <a:gd name="connsiteX80" fmla="*/ 689800 w 3371374"/>
                  <a:gd name="connsiteY80" fmla="*/ 272987 h 426434"/>
                  <a:gd name="connsiteX81" fmla="*/ 689800 w 3371374"/>
                  <a:gd name="connsiteY81" fmla="*/ 279178 h 426434"/>
                  <a:gd name="connsiteX82" fmla="*/ 742378 w 3371374"/>
                  <a:gd name="connsiteY82" fmla="*/ 279178 h 426434"/>
                  <a:gd name="connsiteX83" fmla="*/ 742378 w 3371374"/>
                  <a:gd name="connsiteY83" fmla="*/ 285274 h 426434"/>
                  <a:gd name="connsiteX84" fmla="*/ 761333 w 3371374"/>
                  <a:gd name="connsiteY84" fmla="*/ 285274 h 426434"/>
                  <a:gd name="connsiteX85" fmla="*/ 761333 w 3371374"/>
                  <a:gd name="connsiteY85" fmla="*/ 291370 h 426434"/>
                  <a:gd name="connsiteX86" fmla="*/ 771811 w 3371374"/>
                  <a:gd name="connsiteY86" fmla="*/ 291370 h 426434"/>
                  <a:gd name="connsiteX87" fmla="*/ 771811 w 3371374"/>
                  <a:gd name="connsiteY87" fmla="*/ 297561 h 426434"/>
                  <a:gd name="connsiteX88" fmla="*/ 805529 w 3371374"/>
                  <a:gd name="connsiteY88" fmla="*/ 297561 h 426434"/>
                  <a:gd name="connsiteX89" fmla="*/ 805529 w 3371374"/>
                  <a:gd name="connsiteY89" fmla="*/ 303657 h 426434"/>
                  <a:gd name="connsiteX90" fmla="*/ 811816 w 3371374"/>
                  <a:gd name="connsiteY90" fmla="*/ 303657 h 426434"/>
                  <a:gd name="connsiteX91" fmla="*/ 811816 w 3371374"/>
                  <a:gd name="connsiteY91" fmla="*/ 309753 h 426434"/>
                  <a:gd name="connsiteX92" fmla="*/ 826484 w 3371374"/>
                  <a:gd name="connsiteY92" fmla="*/ 309753 h 426434"/>
                  <a:gd name="connsiteX93" fmla="*/ 826484 w 3371374"/>
                  <a:gd name="connsiteY93" fmla="*/ 315849 h 426434"/>
                  <a:gd name="connsiteX94" fmla="*/ 839152 w 3371374"/>
                  <a:gd name="connsiteY94" fmla="*/ 315849 h 426434"/>
                  <a:gd name="connsiteX95" fmla="*/ 839152 w 3371374"/>
                  <a:gd name="connsiteY95" fmla="*/ 322040 h 426434"/>
                  <a:gd name="connsiteX96" fmla="*/ 864394 w 3371374"/>
                  <a:gd name="connsiteY96" fmla="*/ 322040 h 426434"/>
                  <a:gd name="connsiteX97" fmla="*/ 864394 w 3371374"/>
                  <a:gd name="connsiteY97" fmla="*/ 328136 h 426434"/>
                  <a:gd name="connsiteX98" fmla="*/ 1093660 w 3371374"/>
                  <a:gd name="connsiteY98" fmla="*/ 328136 h 426434"/>
                  <a:gd name="connsiteX99" fmla="*/ 1093660 w 3371374"/>
                  <a:gd name="connsiteY99" fmla="*/ 334328 h 426434"/>
                  <a:gd name="connsiteX100" fmla="*/ 1207198 w 3371374"/>
                  <a:gd name="connsiteY100" fmla="*/ 334328 h 426434"/>
                  <a:gd name="connsiteX101" fmla="*/ 1207198 w 3371374"/>
                  <a:gd name="connsiteY101" fmla="*/ 340519 h 426434"/>
                  <a:gd name="connsiteX102" fmla="*/ 1476375 w 3371374"/>
                  <a:gd name="connsiteY102" fmla="*/ 340519 h 426434"/>
                  <a:gd name="connsiteX103" fmla="*/ 1476375 w 3371374"/>
                  <a:gd name="connsiteY103" fmla="*/ 346805 h 426434"/>
                  <a:gd name="connsiteX104" fmla="*/ 1550003 w 3371374"/>
                  <a:gd name="connsiteY104" fmla="*/ 346805 h 426434"/>
                  <a:gd name="connsiteX105" fmla="*/ 1550003 w 3371374"/>
                  <a:gd name="connsiteY105" fmla="*/ 353092 h 426434"/>
                  <a:gd name="connsiteX106" fmla="*/ 1629918 w 3371374"/>
                  <a:gd name="connsiteY106" fmla="*/ 353092 h 426434"/>
                  <a:gd name="connsiteX107" fmla="*/ 1629918 w 3371374"/>
                  <a:gd name="connsiteY107" fmla="*/ 359378 h 426434"/>
                  <a:gd name="connsiteX108" fmla="*/ 1791843 w 3371374"/>
                  <a:gd name="connsiteY108" fmla="*/ 359378 h 426434"/>
                  <a:gd name="connsiteX109" fmla="*/ 1791843 w 3371374"/>
                  <a:gd name="connsiteY109" fmla="*/ 365855 h 426434"/>
                  <a:gd name="connsiteX110" fmla="*/ 1808702 w 3371374"/>
                  <a:gd name="connsiteY110" fmla="*/ 365855 h 426434"/>
                  <a:gd name="connsiteX111" fmla="*/ 1808702 w 3371374"/>
                  <a:gd name="connsiteY111" fmla="*/ 372237 h 426434"/>
                  <a:gd name="connsiteX112" fmla="*/ 1926526 w 3371374"/>
                  <a:gd name="connsiteY112" fmla="*/ 372237 h 426434"/>
                  <a:gd name="connsiteX113" fmla="*/ 1926526 w 3371374"/>
                  <a:gd name="connsiteY113" fmla="*/ 378714 h 426434"/>
                  <a:gd name="connsiteX114" fmla="*/ 2019014 w 3371374"/>
                  <a:gd name="connsiteY114" fmla="*/ 378714 h 426434"/>
                  <a:gd name="connsiteX115" fmla="*/ 2019014 w 3371374"/>
                  <a:gd name="connsiteY115" fmla="*/ 385096 h 426434"/>
                  <a:gd name="connsiteX116" fmla="*/ 2037969 w 3371374"/>
                  <a:gd name="connsiteY116" fmla="*/ 385096 h 426434"/>
                  <a:gd name="connsiteX117" fmla="*/ 2037969 w 3371374"/>
                  <a:gd name="connsiteY117" fmla="*/ 391573 h 426434"/>
                  <a:gd name="connsiteX118" fmla="*/ 2891790 w 3371374"/>
                  <a:gd name="connsiteY118" fmla="*/ 391573 h 426434"/>
                  <a:gd name="connsiteX119" fmla="*/ 2891790 w 3371374"/>
                  <a:gd name="connsiteY119" fmla="*/ 426434 h 426434"/>
                  <a:gd name="connsiteX120" fmla="*/ 3371374 w 3371374"/>
                  <a:gd name="connsiteY120" fmla="*/ 426434 h 426434"/>
                  <a:gd name="connsiteX0" fmla="*/ 0 w 3371374"/>
                  <a:gd name="connsiteY0" fmla="*/ 0 h 426434"/>
                  <a:gd name="connsiteX1" fmla="*/ 0 w 3371374"/>
                  <a:gd name="connsiteY1" fmla="*/ 6096 h 426434"/>
                  <a:gd name="connsiteX2" fmla="*/ 8382 w 3371374"/>
                  <a:gd name="connsiteY2" fmla="*/ 12192 h 426434"/>
                  <a:gd name="connsiteX3" fmla="*/ 10477 w 3371374"/>
                  <a:gd name="connsiteY3" fmla="*/ 12192 h 426434"/>
                  <a:gd name="connsiteX4" fmla="*/ 10477 w 3371374"/>
                  <a:gd name="connsiteY4" fmla="*/ 18193 h 426434"/>
                  <a:gd name="connsiteX5" fmla="*/ 25241 w 3371374"/>
                  <a:gd name="connsiteY5" fmla="*/ 18193 h 426434"/>
                  <a:gd name="connsiteX6" fmla="*/ 25241 w 3371374"/>
                  <a:gd name="connsiteY6" fmla="*/ 30385 h 426434"/>
                  <a:gd name="connsiteX7" fmla="*/ 27337 w 3371374"/>
                  <a:gd name="connsiteY7" fmla="*/ 30385 h 426434"/>
                  <a:gd name="connsiteX8" fmla="*/ 27337 w 3371374"/>
                  <a:gd name="connsiteY8" fmla="*/ 36386 h 426434"/>
                  <a:gd name="connsiteX9" fmla="*/ 33623 w 3371374"/>
                  <a:gd name="connsiteY9" fmla="*/ 36386 h 426434"/>
                  <a:gd name="connsiteX10" fmla="*/ 33623 w 3371374"/>
                  <a:gd name="connsiteY10" fmla="*/ 42482 h 426434"/>
                  <a:gd name="connsiteX11" fmla="*/ 37814 w 3371374"/>
                  <a:gd name="connsiteY11" fmla="*/ 42482 h 426434"/>
                  <a:gd name="connsiteX12" fmla="*/ 37814 w 3371374"/>
                  <a:gd name="connsiteY12" fmla="*/ 48578 h 426434"/>
                  <a:gd name="connsiteX13" fmla="*/ 54673 w 3371374"/>
                  <a:gd name="connsiteY13" fmla="*/ 48578 h 426434"/>
                  <a:gd name="connsiteX14" fmla="*/ 54673 w 3371374"/>
                  <a:gd name="connsiteY14" fmla="*/ 60674 h 426434"/>
                  <a:gd name="connsiteX15" fmla="*/ 58864 w 3371374"/>
                  <a:gd name="connsiteY15" fmla="*/ 60674 h 426434"/>
                  <a:gd name="connsiteX16" fmla="*/ 58864 w 3371374"/>
                  <a:gd name="connsiteY16" fmla="*/ 66770 h 426434"/>
                  <a:gd name="connsiteX17" fmla="*/ 82010 w 3371374"/>
                  <a:gd name="connsiteY17" fmla="*/ 66770 h 426434"/>
                  <a:gd name="connsiteX18" fmla="*/ 82010 w 3371374"/>
                  <a:gd name="connsiteY18" fmla="*/ 72866 h 426434"/>
                  <a:gd name="connsiteX19" fmla="*/ 86201 w 3371374"/>
                  <a:gd name="connsiteY19" fmla="*/ 72866 h 426434"/>
                  <a:gd name="connsiteX20" fmla="*/ 86201 w 3371374"/>
                  <a:gd name="connsiteY20" fmla="*/ 78867 h 426434"/>
                  <a:gd name="connsiteX21" fmla="*/ 92488 w 3371374"/>
                  <a:gd name="connsiteY21" fmla="*/ 78867 h 426434"/>
                  <a:gd name="connsiteX22" fmla="*/ 92488 w 3371374"/>
                  <a:gd name="connsiteY22" fmla="*/ 91059 h 426434"/>
                  <a:gd name="connsiteX23" fmla="*/ 111442 w 3371374"/>
                  <a:gd name="connsiteY23" fmla="*/ 91059 h 426434"/>
                  <a:gd name="connsiteX24" fmla="*/ 111442 w 3371374"/>
                  <a:gd name="connsiteY24" fmla="*/ 97060 h 426434"/>
                  <a:gd name="connsiteX25" fmla="*/ 119824 w 3371374"/>
                  <a:gd name="connsiteY25" fmla="*/ 97060 h 426434"/>
                  <a:gd name="connsiteX26" fmla="*/ 119824 w 3371374"/>
                  <a:gd name="connsiteY26" fmla="*/ 103156 h 426434"/>
                  <a:gd name="connsiteX27" fmla="*/ 132493 w 3371374"/>
                  <a:gd name="connsiteY27" fmla="*/ 103156 h 426434"/>
                  <a:gd name="connsiteX28" fmla="*/ 132493 w 3371374"/>
                  <a:gd name="connsiteY28" fmla="*/ 109252 h 426434"/>
                  <a:gd name="connsiteX29" fmla="*/ 149352 w 3371374"/>
                  <a:gd name="connsiteY29" fmla="*/ 109252 h 426434"/>
                  <a:gd name="connsiteX30" fmla="*/ 149352 w 3371374"/>
                  <a:gd name="connsiteY30" fmla="*/ 115253 h 426434"/>
                  <a:gd name="connsiteX31" fmla="*/ 176689 w 3371374"/>
                  <a:gd name="connsiteY31" fmla="*/ 115253 h 426434"/>
                  <a:gd name="connsiteX32" fmla="*/ 176689 w 3371374"/>
                  <a:gd name="connsiteY32" fmla="*/ 121349 h 426434"/>
                  <a:gd name="connsiteX33" fmla="*/ 178784 w 3371374"/>
                  <a:gd name="connsiteY33" fmla="*/ 121349 h 426434"/>
                  <a:gd name="connsiteX34" fmla="*/ 178784 w 3371374"/>
                  <a:gd name="connsiteY34" fmla="*/ 127445 h 426434"/>
                  <a:gd name="connsiteX35" fmla="*/ 189261 w 3371374"/>
                  <a:gd name="connsiteY35" fmla="*/ 127445 h 426434"/>
                  <a:gd name="connsiteX36" fmla="*/ 189261 w 3371374"/>
                  <a:gd name="connsiteY36" fmla="*/ 133445 h 426434"/>
                  <a:gd name="connsiteX37" fmla="*/ 195548 w 3371374"/>
                  <a:gd name="connsiteY37" fmla="*/ 133445 h 426434"/>
                  <a:gd name="connsiteX38" fmla="*/ 195548 w 3371374"/>
                  <a:gd name="connsiteY38" fmla="*/ 145637 h 426434"/>
                  <a:gd name="connsiteX39" fmla="*/ 204025 w 3371374"/>
                  <a:gd name="connsiteY39" fmla="*/ 145637 h 426434"/>
                  <a:gd name="connsiteX40" fmla="*/ 204025 w 3371374"/>
                  <a:gd name="connsiteY40" fmla="*/ 151638 h 426434"/>
                  <a:gd name="connsiteX41" fmla="*/ 210312 w 3371374"/>
                  <a:gd name="connsiteY41" fmla="*/ 151638 h 426434"/>
                  <a:gd name="connsiteX42" fmla="*/ 210312 w 3371374"/>
                  <a:gd name="connsiteY42" fmla="*/ 163830 h 426434"/>
                  <a:gd name="connsiteX43" fmla="*/ 212407 w 3371374"/>
                  <a:gd name="connsiteY43" fmla="*/ 163830 h 426434"/>
                  <a:gd name="connsiteX44" fmla="*/ 212407 w 3371374"/>
                  <a:gd name="connsiteY44" fmla="*/ 169926 h 426434"/>
                  <a:gd name="connsiteX45" fmla="*/ 224980 w 3371374"/>
                  <a:gd name="connsiteY45" fmla="*/ 169926 h 426434"/>
                  <a:gd name="connsiteX46" fmla="*/ 224980 w 3371374"/>
                  <a:gd name="connsiteY46" fmla="*/ 175927 h 426434"/>
                  <a:gd name="connsiteX47" fmla="*/ 248126 w 3371374"/>
                  <a:gd name="connsiteY47" fmla="*/ 175927 h 426434"/>
                  <a:gd name="connsiteX48" fmla="*/ 248126 w 3371374"/>
                  <a:gd name="connsiteY48" fmla="*/ 182023 h 426434"/>
                  <a:gd name="connsiteX49" fmla="*/ 254508 w 3371374"/>
                  <a:gd name="connsiteY49" fmla="*/ 182023 h 426434"/>
                  <a:gd name="connsiteX50" fmla="*/ 254508 w 3371374"/>
                  <a:gd name="connsiteY50" fmla="*/ 188119 h 426434"/>
                  <a:gd name="connsiteX51" fmla="*/ 262890 w 3371374"/>
                  <a:gd name="connsiteY51" fmla="*/ 188119 h 426434"/>
                  <a:gd name="connsiteX52" fmla="*/ 262890 w 3371374"/>
                  <a:gd name="connsiteY52" fmla="*/ 194120 h 426434"/>
                  <a:gd name="connsiteX53" fmla="*/ 271272 w 3371374"/>
                  <a:gd name="connsiteY53" fmla="*/ 194120 h 426434"/>
                  <a:gd name="connsiteX54" fmla="*/ 271272 w 3371374"/>
                  <a:gd name="connsiteY54" fmla="*/ 200216 h 426434"/>
                  <a:gd name="connsiteX55" fmla="*/ 275463 w 3371374"/>
                  <a:gd name="connsiteY55" fmla="*/ 200216 h 426434"/>
                  <a:gd name="connsiteX56" fmla="*/ 275463 w 3371374"/>
                  <a:gd name="connsiteY56" fmla="*/ 206312 h 426434"/>
                  <a:gd name="connsiteX57" fmla="*/ 349091 w 3371374"/>
                  <a:gd name="connsiteY57" fmla="*/ 206312 h 426434"/>
                  <a:gd name="connsiteX58" fmla="*/ 349091 w 3371374"/>
                  <a:gd name="connsiteY58" fmla="*/ 212312 h 426434"/>
                  <a:gd name="connsiteX59" fmla="*/ 370141 w 3371374"/>
                  <a:gd name="connsiteY59" fmla="*/ 212312 h 426434"/>
                  <a:gd name="connsiteX60" fmla="*/ 370141 w 3371374"/>
                  <a:gd name="connsiteY60" fmla="*/ 218408 h 426434"/>
                  <a:gd name="connsiteX61" fmla="*/ 376428 w 3371374"/>
                  <a:gd name="connsiteY61" fmla="*/ 218408 h 426434"/>
                  <a:gd name="connsiteX62" fmla="*/ 376428 w 3371374"/>
                  <a:gd name="connsiteY62" fmla="*/ 224504 h 426434"/>
                  <a:gd name="connsiteX63" fmla="*/ 418528 w 3371374"/>
                  <a:gd name="connsiteY63" fmla="*/ 224504 h 426434"/>
                  <a:gd name="connsiteX64" fmla="*/ 418528 w 3371374"/>
                  <a:gd name="connsiteY64" fmla="*/ 230505 h 426434"/>
                  <a:gd name="connsiteX65" fmla="*/ 433197 w 3371374"/>
                  <a:gd name="connsiteY65" fmla="*/ 230505 h 426434"/>
                  <a:gd name="connsiteX66" fmla="*/ 433197 w 3371374"/>
                  <a:gd name="connsiteY66" fmla="*/ 236601 h 426434"/>
                  <a:gd name="connsiteX67" fmla="*/ 462724 w 3371374"/>
                  <a:gd name="connsiteY67" fmla="*/ 236601 h 426434"/>
                  <a:gd name="connsiteX68" fmla="*/ 462724 w 3371374"/>
                  <a:gd name="connsiteY68" fmla="*/ 242697 h 426434"/>
                  <a:gd name="connsiteX69" fmla="*/ 464820 w 3371374"/>
                  <a:gd name="connsiteY69" fmla="*/ 242697 h 426434"/>
                  <a:gd name="connsiteX70" fmla="*/ 464820 w 3371374"/>
                  <a:gd name="connsiteY70" fmla="*/ 248698 h 426434"/>
                  <a:gd name="connsiteX71" fmla="*/ 487870 w 3371374"/>
                  <a:gd name="connsiteY71" fmla="*/ 248698 h 426434"/>
                  <a:gd name="connsiteX72" fmla="*/ 487870 w 3371374"/>
                  <a:gd name="connsiteY72" fmla="*/ 254794 h 426434"/>
                  <a:gd name="connsiteX73" fmla="*/ 500539 w 3371374"/>
                  <a:gd name="connsiteY73" fmla="*/ 254794 h 426434"/>
                  <a:gd name="connsiteX74" fmla="*/ 500539 w 3371374"/>
                  <a:gd name="connsiteY74" fmla="*/ 260890 h 426434"/>
                  <a:gd name="connsiteX75" fmla="*/ 536257 w 3371374"/>
                  <a:gd name="connsiteY75" fmla="*/ 260890 h 426434"/>
                  <a:gd name="connsiteX76" fmla="*/ 536257 w 3371374"/>
                  <a:gd name="connsiteY76" fmla="*/ 266986 h 426434"/>
                  <a:gd name="connsiteX77" fmla="*/ 651986 w 3371374"/>
                  <a:gd name="connsiteY77" fmla="*/ 266986 h 426434"/>
                  <a:gd name="connsiteX78" fmla="*/ 651986 w 3371374"/>
                  <a:gd name="connsiteY78" fmla="*/ 272987 h 426434"/>
                  <a:gd name="connsiteX79" fmla="*/ 689800 w 3371374"/>
                  <a:gd name="connsiteY79" fmla="*/ 272987 h 426434"/>
                  <a:gd name="connsiteX80" fmla="*/ 689800 w 3371374"/>
                  <a:gd name="connsiteY80" fmla="*/ 279178 h 426434"/>
                  <a:gd name="connsiteX81" fmla="*/ 742378 w 3371374"/>
                  <a:gd name="connsiteY81" fmla="*/ 279178 h 426434"/>
                  <a:gd name="connsiteX82" fmla="*/ 742378 w 3371374"/>
                  <a:gd name="connsiteY82" fmla="*/ 285274 h 426434"/>
                  <a:gd name="connsiteX83" fmla="*/ 761333 w 3371374"/>
                  <a:gd name="connsiteY83" fmla="*/ 285274 h 426434"/>
                  <a:gd name="connsiteX84" fmla="*/ 761333 w 3371374"/>
                  <a:gd name="connsiteY84" fmla="*/ 291370 h 426434"/>
                  <a:gd name="connsiteX85" fmla="*/ 771811 w 3371374"/>
                  <a:gd name="connsiteY85" fmla="*/ 291370 h 426434"/>
                  <a:gd name="connsiteX86" fmla="*/ 771811 w 3371374"/>
                  <a:gd name="connsiteY86" fmla="*/ 297561 h 426434"/>
                  <a:gd name="connsiteX87" fmla="*/ 805529 w 3371374"/>
                  <a:gd name="connsiteY87" fmla="*/ 297561 h 426434"/>
                  <a:gd name="connsiteX88" fmla="*/ 805529 w 3371374"/>
                  <a:gd name="connsiteY88" fmla="*/ 303657 h 426434"/>
                  <a:gd name="connsiteX89" fmla="*/ 811816 w 3371374"/>
                  <a:gd name="connsiteY89" fmla="*/ 303657 h 426434"/>
                  <a:gd name="connsiteX90" fmla="*/ 811816 w 3371374"/>
                  <a:gd name="connsiteY90" fmla="*/ 309753 h 426434"/>
                  <a:gd name="connsiteX91" fmla="*/ 826484 w 3371374"/>
                  <a:gd name="connsiteY91" fmla="*/ 309753 h 426434"/>
                  <a:gd name="connsiteX92" fmla="*/ 826484 w 3371374"/>
                  <a:gd name="connsiteY92" fmla="*/ 315849 h 426434"/>
                  <a:gd name="connsiteX93" fmla="*/ 839152 w 3371374"/>
                  <a:gd name="connsiteY93" fmla="*/ 315849 h 426434"/>
                  <a:gd name="connsiteX94" fmla="*/ 839152 w 3371374"/>
                  <a:gd name="connsiteY94" fmla="*/ 322040 h 426434"/>
                  <a:gd name="connsiteX95" fmla="*/ 864394 w 3371374"/>
                  <a:gd name="connsiteY95" fmla="*/ 322040 h 426434"/>
                  <a:gd name="connsiteX96" fmla="*/ 864394 w 3371374"/>
                  <a:gd name="connsiteY96" fmla="*/ 328136 h 426434"/>
                  <a:gd name="connsiteX97" fmla="*/ 1093660 w 3371374"/>
                  <a:gd name="connsiteY97" fmla="*/ 328136 h 426434"/>
                  <a:gd name="connsiteX98" fmla="*/ 1093660 w 3371374"/>
                  <a:gd name="connsiteY98" fmla="*/ 334328 h 426434"/>
                  <a:gd name="connsiteX99" fmla="*/ 1207198 w 3371374"/>
                  <a:gd name="connsiteY99" fmla="*/ 334328 h 426434"/>
                  <a:gd name="connsiteX100" fmla="*/ 1207198 w 3371374"/>
                  <a:gd name="connsiteY100" fmla="*/ 340519 h 426434"/>
                  <a:gd name="connsiteX101" fmla="*/ 1476375 w 3371374"/>
                  <a:gd name="connsiteY101" fmla="*/ 340519 h 426434"/>
                  <a:gd name="connsiteX102" fmla="*/ 1476375 w 3371374"/>
                  <a:gd name="connsiteY102" fmla="*/ 346805 h 426434"/>
                  <a:gd name="connsiteX103" fmla="*/ 1550003 w 3371374"/>
                  <a:gd name="connsiteY103" fmla="*/ 346805 h 426434"/>
                  <a:gd name="connsiteX104" fmla="*/ 1550003 w 3371374"/>
                  <a:gd name="connsiteY104" fmla="*/ 353092 h 426434"/>
                  <a:gd name="connsiteX105" fmla="*/ 1629918 w 3371374"/>
                  <a:gd name="connsiteY105" fmla="*/ 353092 h 426434"/>
                  <a:gd name="connsiteX106" fmla="*/ 1629918 w 3371374"/>
                  <a:gd name="connsiteY106" fmla="*/ 359378 h 426434"/>
                  <a:gd name="connsiteX107" fmla="*/ 1791843 w 3371374"/>
                  <a:gd name="connsiteY107" fmla="*/ 359378 h 426434"/>
                  <a:gd name="connsiteX108" fmla="*/ 1791843 w 3371374"/>
                  <a:gd name="connsiteY108" fmla="*/ 365855 h 426434"/>
                  <a:gd name="connsiteX109" fmla="*/ 1808702 w 3371374"/>
                  <a:gd name="connsiteY109" fmla="*/ 365855 h 426434"/>
                  <a:gd name="connsiteX110" fmla="*/ 1808702 w 3371374"/>
                  <a:gd name="connsiteY110" fmla="*/ 372237 h 426434"/>
                  <a:gd name="connsiteX111" fmla="*/ 1926526 w 3371374"/>
                  <a:gd name="connsiteY111" fmla="*/ 372237 h 426434"/>
                  <a:gd name="connsiteX112" fmla="*/ 1926526 w 3371374"/>
                  <a:gd name="connsiteY112" fmla="*/ 378714 h 426434"/>
                  <a:gd name="connsiteX113" fmla="*/ 2019014 w 3371374"/>
                  <a:gd name="connsiteY113" fmla="*/ 378714 h 426434"/>
                  <a:gd name="connsiteX114" fmla="*/ 2019014 w 3371374"/>
                  <a:gd name="connsiteY114" fmla="*/ 385096 h 426434"/>
                  <a:gd name="connsiteX115" fmla="*/ 2037969 w 3371374"/>
                  <a:gd name="connsiteY115" fmla="*/ 385096 h 426434"/>
                  <a:gd name="connsiteX116" fmla="*/ 2037969 w 3371374"/>
                  <a:gd name="connsiteY116" fmla="*/ 391573 h 426434"/>
                  <a:gd name="connsiteX117" fmla="*/ 2891790 w 3371374"/>
                  <a:gd name="connsiteY117" fmla="*/ 391573 h 426434"/>
                  <a:gd name="connsiteX118" fmla="*/ 2891790 w 3371374"/>
                  <a:gd name="connsiteY118" fmla="*/ 426434 h 426434"/>
                  <a:gd name="connsiteX119" fmla="*/ 3371374 w 3371374"/>
                  <a:gd name="connsiteY119" fmla="*/ 426434 h 426434"/>
                  <a:gd name="connsiteX0" fmla="*/ 0 w 3371374"/>
                  <a:gd name="connsiteY0" fmla="*/ 0 h 420338"/>
                  <a:gd name="connsiteX1" fmla="*/ 8382 w 3371374"/>
                  <a:gd name="connsiteY1" fmla="*/ 6096 h 420338"/>
                  <a:gd name="connsiteX2" fmla="*/ 10477 w 3371374"/>
                  <a:gd name="connsiteY2" fmla="*/ 6096 h 420338"/>
                  <a:gd name="connsiteX3" fmla="*/ 10477 w 3371374"/>
                  <a:gd name="connsiteY3" fmla="*/ 12097 h 420338"/>
                  <a:gd name="connsiteX4" fmla="*/ 25241 w 3371374"/>
                  <a:gd name="connsiteY4" fmla="*/ 12097 h 420338"/>
                  <a:gd name="connsiteX5" fmla="*/ 25241 w 3371374"/>
                  <a:gd name="connsiteY5" fmla="*/ 24289 h 420338"/>
                  <a:gd name="connsiteX6" fmla="*/ 27337 w 3371374"/>
                  <a:gd name="connsiteY6" fmla="*/ 24289 h 420338"/>
                  <a:gd name="connsiteX7" fmla="*/ 27337 w 3371374"/>
                  <a:gd name="connsiteY7" fmla="*/ 30290 h 420338"/>
                  <a:gd name="connsiteX8" fmla="*/ 33623 w 3371374"/>
                  <a:gd name="connsiteY8" fmla="*/ 30290 h 420338"/>
                  <a:gd name="connsiteX9" fmla="*/ 33623 w 3371374"/>
                  <a:gd name="connsiteY9" fmla="*/ 36386 h 420338"/>
                  <a:gd name="connsiteX10" fmla="*/ 37814 w 3371374"/>
                  <a:gd name="connsiteY10" fmla="*/ 36386 h 420338"/>
                  <a:gd name="connsiteX11" fmla="*/ 37814 w 3371374"/>
                  <a:gd name="connsiteY11" fmla="*/ 42482 h 420338"/>
                  <a:gd name="connsiteX12" fmla="*/ 54673 w 3371374"/>
                  <a:gd name="connsiteY12" fmla="*/ 42482 h 420338"/>
                  <a:gd name="connsiteX13" fmla="*/ 54673 w 3371374"/>
                  <a:gd name="connsiteY13" fmla="*/ 54578 h 420338"/>
                  <a:gd name="connsiteX14" fmla="*/ 58864 w 3371374"/>
                  <a:gd name="connsiteY14" fmla="*/ 54578 h 420338"/>
                  <a:gd name="connsiteX15" fmla="*/ 58864 w 3371374"/>
                  <a:gd name="connsiteY15" fmla="*/ 60674 h 420338"/>
                  <a:gd name="connsiteX16" fmla="*/ 82010 w 3371374"/>
                  <a:gd name="connsiteY16" fmla="*/ 60674 h 420338"/>
                  <a:gd name="connsiteX17" fmla="*/ 82010 w 3371374"/>
                  <a:gd name="connsiteY17" fmla="*/ 66770 h 420338"/>
                  <a:gd name="connsiteX18" fmla="*/ 86201 w 3371374"/>
                  <a:gd name="connsiteY18" fmla="*/ 66770 h 420338"/>
                  <a:gd name="connsiteX19" fmla="*/ 86201 w 3371374"/>
                  <a:gd name="connsiteY19" fmla="*/ 72771 h 420338"/>
                  <a:gd name="connsiteX20" fmla="*/ 92488 w 3371374"/>
                  <a:gd name="connsiteY20" fmla="*/ 72771 h 420338"/>
                  <a:gd name="connsiteX21" fmla="*/ 92488 w 3371374"/>
                  <a:gd name="connsiteY21" fmla="*/ 84963 h 420338"/>
                  <a:gd name="connsiteX22" fmla="*/ 111442 w 3371374"/>
                  <a:gd name="connsiteY22" fmla="*/ 84963 h 420338"/>
                  <a:gd name="connsiteX23" fmla="*/ 111442 w 3371374"/>
                  <a:gd name="connsiteY23" fmla="*/ 90964 h 420338"/>
                  <a:gd name="connsiteX24" fmla="*/ 119824 w 3371374"/>
                  <a:gd name="connsiteY24" fmla="*/ 90964 h 420338"/>
                  <a:gd name="connsiteX25" fmla="*/ 119824 w 3371374"/>
                  <a:gd name="connsiteY25" fmla="*/ 97060 h 420338"/>
                  <a:gd name="connsiteX26" fmla="*/ 132493 w 3371374"/>
                  <a:gd name="connsiteY26" fmla="*/ 97060 h 420338"/>
                  <a:gd name="connsiteX27" fmla="*/ 132493 w 3371374"/>
                  <a:gd name="connsiteY27" fmla="*/ 103156 h 420338"/>
                  <a:gd name="connsiteX28" fmla="*/ 149352 w 3371374"/>
                  <a:gd name="connsiteY28" fmla="*/ 103156 h 420338"/>
                  <a:gd name="connsiteX29" fmla="*/ 149352 w 3371374"/>
                  <a:gd name="connsiteY29" fmla="*/ 109157 h 420338"/>
                  <a:gd name="connsiteX30" fmla="*/ 176689 w 3371374"/>
                  <a:gd name="connsiteY30" fmla="*/ 109157 h 420338"/>
                  <a:gd name="connsiteX31" fmla="*/ 176689 w 3371374"/>
                  <a:gd name="connsiteY31" fmla="*/ 115253 h 420338"/>
                  <a:gd name="connsiteX32" fmla="*/ 178784 w 3371374"/>
                  <a:gd name="connsiteY32" fmla="*/ 115253 h 420338"/>
                  <a:gd name="connsiteX33" fmla="*/ 178784 w 3371374"/>
                  <a:gd name="connsiteY33" fmla="*/ 121349 h 420338"/>
                  <a:gd name="connsiteX34" fmla="*/ 189261 w 3371374"/>
                  <a:gd name="connsiteY34" fmla="*/ 121349 h 420338"/>
                  <a:gd name="connsiteX35" fmla="*/ 189261 w 3371374"/>
                  <a:gd name="connsiteY35" fmla="*/ 127349 h 420338"/>
                  <a:gd name="connsiteX36" fmla="*/ 195548 w 3371374"/>
                  <a:gd name="connsiteY36" fmla="*/ 127349 h 420338"/>
                  <a:gd name="connsiteX37" fmla="*/ 195548 w 3371374"/>
                  <a:gd name="connsiteY37" fmla="*/ 139541 h 420338"/>
                  <a:gd name="connsiteX38" fmla="*/ 204025 w 3371374"/>
                  <a:gd name="connsiteY38" fmla="*/ 139541 h 420338"/>
                  <a:gd name="connsiteX39" fmla="*/ 204025 w 3371374"/>
                  <a:gd name="connsiteY39" fmla="*/ 145542 h 420338"/>
                  <a:gd name="connsiteX40" fmla="*/ 210312 w 3371374"/>
                  <a:gd name="connsiteY40" fmla="*/ 145542 h 420338"/>
                  <a:gd name="connsiteX41" fmla="*/ 210312 w 3371374"/>
                  <a:gd name="connsiteY41" fmla="*/ 157734 h 420338"/>
                  <a:gd name="connsiteX42" fmla="*/ 212407 w 3371374"/>
                  <a:gd name="connsiteY42" fmla="*/ 157734 h 420338"/>
                  <a:gd name="connsiteX43" fmla="*/ 212407 w 3371374"/>
                  <a:gd name="connsiteY43" fmla="*/ 163830 h 420338"/>
                  <a:gd name="connsiteX44" fmla="*/ 224980 w 3371374"/>
                  <a:gd name="connsiteY44" fmla="*/ 163830 h 420338"/>
                  <a:gd name="connsiteX45" fmla="*/ 224980 w 3371374"/>
                  <a:gd name="connsiteY45" fmla="*/ 169831 h 420338"/>
                  <a:gd name="connsiteX46" fmla="*/ 248126 w 3371374"/>
                  <a:gd name="connsiteY46" fmla="*/ 169831 h 420338"/>
                  <a:gd name="connsiteX47" fmla="*/ 248126 w 3371374"/>
                  <a:gd name="connsiteY47" fmla="*/ 175927 h 420338"/>
                  <a:gd name="connsiteX48" fmla="*/ 254508 w 3371374"/>
                  <a:gd name="connsiteY48" fmla="*/ 175927 h 420338"/>
                  <a:gd name="connsiteX49" fmla="*/ 254508 w 3371374"/>
                  <a:gd name="connsiteY49" fmla="*/ 182023 h 420338"/>
                  <a:gd name="connsiteX50" fmla="*/ 262890 w 3371374"/>
                  <a:gd name="connsiteY50" fmla="*/ 182023 h 420338"/>
                  <a:gd name="connsiteX51" fmla="*/ 262890 w 3371374"/>
                  <a:gd name="connsiteY51" fmla="*/ 188024 h 420338"/>
                  <a:gd name="connsiteX52" fmla="*/ 271272 w 3371374"/>
                  <a:gd name="connsiteY52" fmla="*/ 188024 h 420338"/>
                  <a:gd name="connsiteX53" fmla="*/ 271272 w 3371374"/>
                  <a:gd name="connsiteY53" fmla="*/ 194120 h 420338"/>
                  <a:gd name="connsiteX54" fmla="*/ 275463 w 3371374"/>
                  <a:gd name="connsiteY54" fmla="*/ 194120 h 420338"/>
                  <a:gd name="connsiteX55" fmla="*/ 275463 w 3371374"/>
                  <a:gd name="connsiteY55" fmla="*/ 200216 h 420338"/>
                  <a:gd name="connsiteX56" fmla="*/ 349091 w 3371374"/>
                  <a:gd name="connsiteY56" fmla="*/ 200216 h 420338"/>
                  <a:gd name="connsiteX57" fmla="*/ 349091 w 3371374"/>
                  <a:gd name="connsiteY57" fmla="*/ 206216 h 420338"/>
                  <a:gd name="connsiteX58" fmla="*/ 370141 w 3371374"/>
                  <a:gd name="connsiteY58" fmla="*/ 206216 h 420338"/>
                  <a:gd name="connsiteX59" fmla="*/ 370141 w 3371374"/>
                  <a:gd name="connsiteY59" fmla="*/ 212312 h 420338"/>
                  <a:gd name="connsiteX60" fmla="*/ 376428 w 3371374"/>
                  <a:gd name="connsiteY60" fmla="*/ 212312 h 420338"/>
                  <a:gd name="connsiteX61" fmla="*/ 376428 w 3371374"/>
                  <a:gd name="connsiteY61" fmla="*/ 218408 h 420338"/>
                  <a:gd name="connsiteX62" fmla="*/ 418528 w 3371374"/>
                  <a:gd name="connsiteY62" fmla="*/ 218408 h 420338"/>
                  <a:gd name="connsiteX63" fmla="*/ 418528 w 3371374"/>
                  <a:gd name="connsiteY63" fmla="*/ 224409 h 420338"/>
                  <a:gd name="connsiteX64" fmla="*/ 433197 w 3371374"/>
                  <a:gd name="connsiteY64" fmla="*/ 224409 h 420338"/>
                  <a:gd name="connsiteX65" fmla="*/ 433197 w 3371374"/>
                  <a:gd name="connsiteY65" fmla="*/ 230505 h 420338"/>
                  <a:gd name="connsiteX66" fmla="*/ 462724 w 3371374"/>
                  <a:gd name="connsiteY66" fmla="*/ 230505 h 420338"/>
                  <a:gd name="connsiteX67" fmla="*/ 462724 w 3371374"/>
                  <a:gd name="connsiteY67" fmla="*/ 236601 h 420338"/>
                  <a:gd name="connsiteX68" fmla="*/ 464820 w 3371374"/>
                  <a:gd name="connsiteY68" fmla="*/ 236601 h 420338"/>
                  <a:gd name="connsiteX69" fmla="*/ 464820 w 3371374"/>
                  <a:gd name="connsiteY69" fmla="*/ 242602 h 420338"/>
                  <a:gd name="connsiteX70" fmla="*/ 487870 w 3371374"/>
                  <a:gd name="connsiteY70" fmla="*/ 242602 h 420338"/>
                  <a:gd name="connsiteX71" fmla="*/ 487870 w 3371374"/>
                  <a:gd name="connsiteY71" fmla="*/ 248698 h 420338"/>
                  <a:gd name="connsiteX72" fmla="*/ 500539 w 3371374"/>
                  <a:gd name="connsiteY72" fmla="*/ 248698 h 420338"/>
                  <a:gd name="connsiteX73" fmla="*/ 500539 w 3371374"/>
                  <a:gd name="connsiteY73" fmla="*/ 254794 h 420338"/>
                  <a:gd name="connsiteX74" fmla="*/ 536257 w 3371374"/>
                  <a:gd name="connsiteY74" fmla="*/ 254794 h 420338"/>
                  <a:gd name="connsiteX75" fmla="*/ 536257 w 3371374"/>
                  <a:gd name="connsiteY75" fmla="*/ 260890 h 420338"/>
                  <a:gd name="connsiteX76" fmla="*/ 651986 w 3371374"/>
                  <a:gd name="connsiteY76" fmla="*/ 260890 h 420338"/>
                  <a:gd name="connsiteX77" fmla="*/ 651986 w 3371374"/>
                  <a:gd name="connsiteY77" fmla="*/ 266891 h 420338"/>
                  <a:gd name="connsiteX78" fmla="*/ 689800 w 3371374"/>
                  <a:gd name="connsiteY78" fmla="*/ 266891 h 420338"/>
                  <a:gd name="connsiteX79" fmla="*/ 689800 w 3371374"/>
                  <a:gd name="connsiteY79" fmla="*/ 273082 h 420338"/>
                  <a:gd name="connsiteX80" fmla="*/ 742378 w 3371374"/>
                  <a:gd name="connsiteY80" fmla="*/ 273082 h 420338"/>
                  <a:gd name="connsiteX81" fmla="*/ 742378 w 3371374"/>
                  <a:gd name="connsiteY81" fmla="*/ 279178 h 420338"/>
                  <a:gd name="connsiteX82" fmla="*/ 761333 w 3371374"/>
                  <a:gd name="connsiteY82" fmla="*/ 279178 h 420338"/>
                  <a:gd name="connsiteX83" fmla="*/ 761333 w 3371374"/>
                  <a:gd name="connsiteY83" fmla="*/ 285274 h 420338"/>
                  <a:gd name="connsiteX84" fmla="*/ 771811 w 3371374"/>
                  <a:gd name="connsiteY84" fmla="*/ 285274 h 420338"/>
                  <a:gd name="connsiteX85" fmla="*/ 771811 w 3371374"/>
                  <a:gd name="connsiteY85" fmla="*/ 291465 h 420338"/>
                  <a:gd name="connsiteX86" fmla="*/ 805529 w 3371374"/>
                  <a:gd name="connsiteY86" fmla="*/ 291465 h 420338"/>
                  <a:gd name="connsiteX87" fmla="*/ 805529 w 3371374"/>
                  <a:gd name="connsiteY87" fmla="*/ 297561 h 420338"/>
                  <a:gd name="connsiteX88" fmla="*/ 811816 w 3371374"/>
                  <a:gd name="connsiteY88" fmla="*/ 297561 h 420338"/>
                  <a:gd name="connsiteX89" fmla="*/ 811816 w 3371374"/>
                  <a:gd name="connsiteY89" fmla="*/ 303657 h 420338"/>
                  <a:gd name="connsiteX90" fmla="*/ 826484 w 3371374"/>
                  <a:gd name="connsiteY90" fmla="*/ 303657 h 420338"/>
                  <a:gd name="connsiteX91" fmla="*/ 826484 w 3371374"/>
                  <a:gd name="connsiteY91" fmla="*/ 309753 h 420338"/>
                  <a:gd name="connsiteX92" fmla="*/ 839152 w 3371374"/>
                  <a:gd name="connsiteY92" fmla="*/ 309753 h 420338"/>
                  <a:gd name="connsiteX93" fmla="*/ 839152 w 3371374"/>
                  <a:gd name="connsiteY93" fmla="*/ 315944 h 420338"/>
                  <a:gd name="connsiteX94" fmla="*/ 864394 w 3371374"/>
                  <a:gd name="connsiteY94" fmla="*/ 315944 h 420338"/>
                  <a:gd name="connsiteX95" fmla="*/ 864394 w 3371374"/>
                  <a:gd name="connsiteY95" fmla="*/ 322040 h 420338"/>
                  <a:gd name="connsiteX96" fmla="*/ 1093660 w 3371374"/>
                  <a:gd name="connsiteY96" fmla="*/ 322040 h 420338"/>
                  <a:gd name="connsiteX97" fmla="*/ 1093660 w 3371374"/>
                  <a:gd name="connsiteY97" fmla="*/ 328232 h 420338"/>
                  <a:gd name="connsiteX98" fmla="*/ 1207198 w 3371374"/>
                  <a:gd name="connsiteY98" fmla="*/ 328232 h 420338"/>
                  <a:gd name="connsiteX99" fmla="*/ 1207198 w 3371374"/>
                  <a:gd name="connsiteY99" fmla="*/ 334423 h 420338"/>
                  <a:gd name="connsiteX100" fmla="*/ 1476375 w 3371374"/>
                  <a:gd name="connsiteY100" fmla="*/ 334423 h 420338"/>
                  <a:gd name="connsiteX101" fmla="*/ 1476375 w 3371374"/>
                  <a:gd name="connsiteY101" fmla="*/ 340709 h 420338"/>
                  <a:gd name="connsiteX102" fmla="*/ 1550003 w 3371374"/>
                  <a:gd name="connsiteY102" fmla="*/ 340709 h 420338"/>
                  <a:gd name="connsiteX103" fmla="*/ 1550003 w 3371374"/>
                  <a:gd name="connsiteY103" fmla="*/ 346996 h 420338"/>
                  <a:gd name="connsiteX104" fmla="*/ 1629918 w 3371374"/>
                  <a:gd name="connsiteY104" fmla="*/ 346996 h 420338"/>
                  <a:gd name="connsiteX105" fmla="*/ 1629918 w 3371374"/>
                  <a:gd name="connsiteY105" fmla="*/ 353282 h 420338"/>
                  <a:gd name="connsiteX106" fmla="*/ 1791843 w 3371374"/>
                  <a:gd name="connsiteY106" fmla="*/ 353282 h 420338"/>
                  <a:gd name="connsiteX107" fmla="*/ 1791843 w 3371374"/>
                  <a:gd name="connsiteY107" fmla="*/ 359759 h 420338"/>
                  <a:gd name="connsiteX108" fmla="*/ 1808702 w 3371374"/>
                  <a:gd name="connsiteY108" fmla="*/ 359759 h 420338"/>
                  <a:gd name="connsiteX109" fmla="*/ 1808702 w 3371374"/>
                  <a:gd name="connsiteY109" fmla="*/ 366141 h 420338"/>
                  <a:gd name="connsiteX110" fmla="*/ 1926526 w 3371374"/>
                  <a:gd name="connsiteY110" fmla="*/ 366141 h 420338"/>
                  <a:gd name="connsiteX111" fmla="*/ 1926526 w 3371374"/>
                  <a:gd name="connsiteY111" fmla="*/ 372618 h 420338"/>
                  <a:gd name="connsiteX112" fmla="*/ 2019014 w 3371374"/>
                  <a:gd name="connsiteY112" fmla="*/ 372618 h 420338"/>
                  <a:gd name="connsiteX113" fmla="*/ 2019014 w 3371374"/>
                  <a:gd name="connsiteY113" fmla="*/ 379000 h 420338"/>
                  <a:gd name="connsiteX114" fmla="*/ 2037969 w 3371374"/>
                  <a:gd name="connsiteY114" fmla="*/ 379000 h 420338"/>
                  <a:gd name="connsiteX115" fmla="*/ 2037969 w 3371374"/>
                  <a:gd name="connsiteY115" fmla="*/ 385477 h 420338"/>
                  <a:gd name="connsiteX116" fmla="*/ 2891790 w 3371374"/>
                  <a:gd name="connsiteY116" fmla="*/ 385477 h 420338"/>
                  <a:gd name="connsiteX117" fmla="*/ 2891790 w 3371374"/>
                  <a:gd name="connsiteY117" fmla="*/ 420338 h 420338"/>
                  <a:gd name="connsiteX118" fmla="*/ 3371374 w 3371374"/>
                  <a:gd name="connsiteY118" fmla="*/ 420338 h 420338"/>
                  <a:gd name="connsiteX0" fmla="*/ 0 w 3362992"/>
                  <a:gd name="connsiteY0" fmla="*/ 0 h 414242"/>
                  <a:gd name="connsiteX1" fmla="*/ 2095 w 3362992"/>
                  <a:gd name="connsiteY1" fmla="*/ 0 h 414242"/>
                  <a:gd name="connsiteX2" fmla="*/ 2095 w 3362992"/>
                  <a:gd name="connsiteY2" fmla="*/ 6001 h 414242"/>
                  <a:gd name="connsiteX3" fmla="*/ 16859 w 3362992"/>
                  <a:gd name="connsiteY3" fmla="*/ 6001 h 414242"/>
                  <a:gd name="connsiteX4" fmla="*/ 16859 w 3362992"/>
                  <a:gd name="connsiteY4" fmla="*/ 18193 h 414242"/>
                  <a:gd name="connsiteX5" fmla="*/ 18955 w 3362992"/>
                  <a:gd name="connsiteY5" fmla="*/ 18193 h 414242"/>
                  <a:gd name="connsiteX6" fmla="*/ 18955 w 3362992"/>
                  <a:gd name="connsiteY6" fmla="*/ 24194 h 414242"/>
                  <a:gd name="connsiteX7" fmla="*/ 25241 w 3362992"/>
                  <a:gd name="connsiteY7" fmla="*/ 24194 h 414242"/>
                  <a:gd name="connsiteX8" fmla="*/ 25241 w 3362992"/>
                  <a:gd name="connsiteY8" fmla="*/ 30290 h 414242"/>
                  <a:gd name="connsiteX9" fmla="*/ 29432 w 3362992"/>
                  <a:gd name="connsiteY9" fmla="*/ 30290 h 414242"/>
                  <a:gd name="connsiteX10" fmla="*/ 29432 w 3362992"/>
                  <a:gd name="connsiteY10" fmla="*/ 36386 h 414242"/>
                  <a:gd name="connsiteX11" fmla="*/ 46291 w 3362992"/>
                  <a:gd name="connsiteY11" fmla="*/ 36386 h 414242"/>
                  <a:gd name="connsiteX12" fmla="*/ 46291 w 3362992"/>
                  <a:gd name="connsiteY12" fmla="*/ 48482 h 414242"/>
                  <a:gd name="connsiteX13" fmla="*/ 50482 w 3362992"/>
                  <a:gd name="connsiteY13" fmla="*/ 48482 h 414242"/>
                  <a:gd name="connsiteX14" fmla="*/ 50482 w 3362992"/>
                  <a:gd name="connsiteY14" fmla="*/ 54578 h 414242"/>
                  <a:gd name="connsiteX15" fmla="*/ 73628 w 3362992"/>
                  <a:gd name="connsiteY15" fmla="*/ 54578 h 414242"/>
                  <a:gd name="connsiteX16" fmla="*/ 73628 w 3362992"/>
                  <a:gd name="connsiteY16" fmla="*/ 60674 h 414242"/>
                  <a:gd name="connsiteX17" fmla="*/ 77819 w 3362992"/>
                  <a:gd name="connsiteY17" fmla="*/ 60674 h 414242"/>
                  <a:gd name="connsiteX18" fmla="*/ 77819 w 3362992"/>
                  <a:gd name="connsiteY18" fmla="*/ 66675 h 414242"/>
                  <a:gd name="connsiteX19" fmla="*/ 84106 w 3362992"/>
                  <a:gd name="connsiteY19" fmla="*/ 66675 h 414242"/>
                  <a:gd name="connsiteX20" fmla="*/ 84106 w 3362992"/>
                  <a:gd name="connsiteY20" fmla="*/ 78867 h 414242"/>
                  <a:gd name="connsiteX21" fmla="*/ 103060 w 3362992"/>
                  <a:gd name="connsiteY21" fmla="*/ 78867 h 414242"/>
                  <a:gd name="connsiteX22" fmla="*/ 103060 w 3362992"/>
                  <a:gd name="connsiteY22" fmla="*/ 84868 h 414242"/>
                  <a:gd name="connsiteX23" fmla="*/ 111442 w 3362992"/>
                  <a:gd name="connsiteY23" fmla="*/ 84868 h 414242"/>
                  <a:gd name="connsiteX24" fmla="*/ 111442 w 3362992"/>
                  <a:gd name="connsiteY24" fmla="*/ 90964 h 414242"/>
                  <a:gd name="connsiteX25" fmla="*/ 124111 w 3362992"/>
                  <a:gd name="connsiteY25" fmla="*/ 90964 h 414242"/>
                  <a:gd name="connsiteX26" fmla="*/ 124111 w 3362992"/>
                  <a:gd name="connsiteY26" fmla="*/ 97060 h 414242"/>
                  <a:gd name="connsiteX27" fmla="*/ 140970 w 3362992"/>
                  <a:gd name="connsiteY27" fmla="*/ 97060 h 414242"/>
                  <a:gd name="connsiteX28" fmla="*/ 140970 w 3362992"/>
                  <a:gd name="connsiteY28" fmla="*/ 103061 h 414242"/>
                  <a:gd name="connsiteX29" fmla="*/ 168307 w 3362992"/>
                  <a:gd name="connsiteY29" fmla="*/ 103061 h 414242"/>
                  <a:gd name="connsiteX30" fmla="*/ 168307 w 3362992"/>
                  <a:gd name="connsiteY30" fmla="*/ 109157 h 414242"/>
                  <a:gd name="connsiteX31" fmla="*/ 170402 w 3362992"/>
                  <a:gd name="connsiteY31" fmla="*/ 109157 h 414242"/>
                  <a:gd name="connsiteX32" fmla="*/ 170402 w 3362992"/>
                  <a:gd name="connsiteY32" fmla="*/ 115253 h 414242"/>
                  <a:gd name="connsiteX33" fmla="*/ 180879 w 3362992"/>
                  <a:gd name="connsiteY33" fmla="*/ 115253 h 414242"/>
                  <a:gd name="connsiteX34" fmla="*/ 180879 w 3362992"/>
                  <a:gd name="connsiteY34" fmla="*/ 121253 h 414242"/>
                  <a:gd name="connsiteX35" fmla="*/ 187166 w 3362992"/>
                  <a:gd name="connsiteY35" fmla="*/ 121253 h 414242"/>
                  <a:gd name="connsiteX36" fmla="*/ 187166 w 3362992"/>
                  <a:gd name="connsiteY36" fmla="*/ 133445 h 414242"/>
                  <a:gd name="connsiteX37" fmla="*/ 195643 w 3362992"/>
                  <a:gd name="connsiteY37" fmla="*/ 133445 h 414242"/>
                  <a:gd name="connsiteX38" fmla="*/ 195643 w 3362992"/>
                  <a:gd name="connsiteY38" fmla="*/ 139446 h 414242"/>
                  <a:gd name="connsiteX39" fmla="*/ 201930 w 3362992"/>
                  <a:gd name="connsiteY39" fmla="*/ 139446 h 414242"/>
                  <a:gd name="connsiteX40" fmla="*/ 201930 w 3362992"/>
                  <a:gd name="connsiteY40" fmla="*/ 151638 h 414242"/>
                  <a:gd name="connsiteX41" fmla="*/ 204025 w 3362992"/>
                  <a:gd name="connsiteY41" fmla="*/ 151638 h 414242"/>
                  <a:gd name="connsiteX42" fmla="*/ 204025 w 3362992"/>
                  <a:gd name="connsiteY42" fmla="*/ 157734 h 414242"/>
                  <a:gd name="connsiteX43" fmla="*/ 216598 w 3362992"/>
                  <a:gd name="connsiteY43" fmla="*/ 157734 h 414242"/>
                  <a:gd name="connsiteX44" fmla="*/ 216598 w 3362992"/>
                  <a:gd name="connsiteY44" fmla="*/ 163735 h 414242"/>
                  <a:gd name="connsiteX45" fmla="*/ 239744 w 3362992"/>
                  <a:gd name="connsiteY45" fmla="*/ 163735 h 414242"/>
                  <a:gd name="connsiteX46" fmla="*/ 239744 w 3362992"/>
                  <a:gd name="connsiteY46" fmla="*/ 169831 h 414242"/>
                  <a:gd name="connsiteX47" fmla="*/ 246126 w 3362992"/>
                  <a:gd name="connsiteY47" fmla="*/ 169831 h 414242"/>
                  <a:gd name="connsiteX48" fmla="*/ 246126 w 3362992"/>
                  <a:gd name="connsiteY48" fmla="*/ 175927 h 414242"/>
                  <a:gd name="connsiteX49" fmla="*/ 254508 w 3362992"/>
                  <a:gd name="connsiteY49" fmla="*/ 175927 h 414242"/>
                  <a:gd name="connsiteX50" fmla="*/ 254508 w 3362992"/>
                  <a:gd name="connsiteY50" fmla="*/ 181928 h 414242"/>
                  <a:gd name="connsiteX51" fmla="*/ 262890 w 3362992"/>
                  <a:gd name="connsiteY51" fmla="*/ 181928 h 414242"/>
                  <a:gd name="connsiteX52" fmla="*/ 262890 w 3362992"/>
                  <a:gd name="connsiteY52" fmla="*/ 188024 h 414242"/>
                  <a:gd name="connsiteX53" fmla="*/ 267081 w 3362992"/>
                  <a:gd name="connsiteY53" fmla="*/ 188024 h 414242"/>
                  <a:gd name="connsiteX54" fmla="*/ 267081 w 3362992"/>
                  <a:gd name="connsiteY54" fmla="*/ 194120 h 414242"/>
                  <a:gd name="connsiteX55" fmla="*/ 340709 w 3362992"/>
                  <a:gd name="connsiteY55" fmla="*/ 194120 h 414242"/>
                  <a:gd name="connsiteX56" fmla="*/ 340709 w 3362992"/>
                  <a:gd name="connsiteY56" fmla="*/ 200120 h 414242"/>
                  <a:gd name="connsiteX57" fmla="*/ 361759 w 3362992"/>
                  <a:gd name="connsiteY57" fmla="*/ 200120 h 414242"/>
                  <a:gd name="connsiteX58" fmla="*/ 361759 w 3362992"/>
                  <a:gd name="connsiteY58" fmla="*/ 206216 h 414242"/>
                  <a:gd name="connsiteX59" fmla="*/ 368046 w 3362992"/>
                  <a:gd name="connsiteY59" fmla="*/ 206216 h 414242"/>
                  <a:gd name="connsiteX60" fmla="*/ 368046 w 3362992"/>
                  <a:gd name="connsiteY60" fmla="*/ 212312 h 414242"/>
                  <a:gd name="connsiteX61" fmla="*/ 410146 w 3362992"/>
                  <a:gd name="connsiteY61" fmla="*/ 212312 h 414242"/>
                  <a:gd name="connsiteX62" fmla="*/ 410146 w 3362992"/>
                  <a:gd name="connsiteY62" fmla="*/ 218313 h 414242"/>
                  <a:gd name="connsiteX63" fmla="*/ 424815 w 3362992"/>
                  <a:gd name="connsiteY63" fmla="*/ 218313 h 414242"/>
                  <a:gd name="connsiteX64" fmla="*/ 424815 w 3362992"/>
                  <a:gd name="connsiteY64" fmla="*/ 224409 h 414242"/>
                  <a:gd name="connsiteX65" fmla="*/ 454342 w 3362992"/>
                  <a:gd name="connsiteY65" fmla="*/ 224409 h 414242"/>
                  <a:gd name="connsiteX66" fmla="*/ 454342 w 3362992"/>
                  <a:gd name="connsiteY66" fmla="*/ 230505 h 414242"/>
                  <a:gd name="connsiteX67" fmla="*/ 456438 w 3362992"/>
                  <a:gd name="connsiteY67" fmla="*/ 230505 h 414242"/>
                  <a:gd name="connsiteX68" fmla="*/ 456438 w 3362992"/>
                  <a:gd name="connsiteY68" fmla="*/ 236506 h 414242"/>
                  <a:gd name="connsiteX69" fmla="*/ 479488 w 3362992"/>
                  <a:gd name="connsiteY69" fmla="*/ 236506 h 414242"/>
                  <a:gd name="connsiteX70" fmla="*/ 479488 w 3362992"/>
                  <a:gd name="connsiteY70" fmla="*/ 242602 h 414242"/>
                  <a:gd name="connsiteX71" fmla="*/ 492157 w 3362992"/>
                  <a:gd name="connsiteY71" fmla="*/ 242602 h 414242"/>
                  <a:gd name="connsiteX72" fmla="*/ 492157 w 3362992"/>
                  <a:gd name="connsiteY72" fmla="*/ 248698 h 414242"/>
                  <a:gd name="connsiteX73" fmla="*/ 527875 w 3362992"/>
                  <a:gd name="connsiteY73" fmla="*/ 248698 h 414242"/>
                  <a:gd name="connsiteX74" fmla="*/ 527875 w 3362992"/>
                  <a:gd name="connsiteY74" fmla="*/ 254794 h 414242"/>
                  <a:gd name="connsiteX75" fmla="*/ 643604 w 3362992"/>
                  <a:gd name="connsiteY75" fmla="*/ 254794 h 414242"/>
                  <a:gd name="connsiteX76" fmla="*/ 643604 w 3362992"/>
                  <a:gd name="connsiteY76" fmla="*/ 260795 h 414242"/>
                  <a:gd name="connsiteX77" fmla="*/ 681418 w 3362992"/>
                  <a:gd name="connsiteY77" fmla="*/ 260795 h 414242"/>
                  <a:gd name="connsiteX78" fmla="*/ 681418 w 3362992"/>
                  <a:gd name="connsiteY78" fmla="*/ 266986 h 414242"/>
                  <a:gd name="connsiteX79" fmla="*/ 733996 w 3362992"/>
                  <a:gd name="connsiteY79" fmla="*/ 266986 h 414242"/>
                  <a:gd name="connsiteX80" fmla="*/ 733996 w 3362992"/>
                  <a:gd name="connsiteY80" fmla="*/ 273082 h 414242"/>
                  <a:gd name="connsiteX81" fmla="*/ 752951 w 3362992"/>
                  <a:gd name="connsiteY81" fmla="*/ 273082 h 414242"/>
                  <a:gd name="connsiteX82" fmla="*/ 752951 w 3362992"/>
                  <a:gd name="connsiteY82" fmla="*/ 279178 h 414242"/>
                  <a:gd name="connsiteX83" fmla="*/ 763429 w 3362992"/>
                  <a:gd name="connsiteY83" fmla="*/ 279178 h 414242"/>
                  <a:gd name="connsiteX84" fmla="*/ 763429 w 3362992"/>
                  <a:gd name="connsiteY84" fmla="*/ 285369 h 414242"/>
                  <a:gd name="connsiteX85" fmla="*/ 797147 w 3362992"/>
                  <a:gd name="connsiteY85" fmla="*/ 285369 h 414242"/>
                  <a:gd name="connsiteX86" fmla="*/ 797147 w 3362992"/>
                  <a:gd name="connsiteY86" fmla="*/ 291465 h 414242"/>
                  <a:gd name="connsiteX87" fmla="*/ 803434 w 3362992"/>
                  <a:gd name="connsiteY87" fmla="*/ 291465 h 414242"/>
                  <a:gd name="connsiteX88" fmla="*/ 803434 w 3362992"/>
                  <a:gd name="connsiteY88" fmla="*/ 297561 h 414242"/>
                  <a:gd name="connsiteX89" fmla="*/ 818102 w 3362992"/>
                  <a:gd name="connsiteY89" fmla="*/ 297561 h 414242"/>
                  <a:gd name="connsiteX90" fmla="*/ 818102 w 3362992"/>
                  <a:gd name="connsiteY90" fmla="*/ 303657 h 414242"/>
                  <a:gd name="connsiteX91" fmla="*/ 830770 w 3362992"/>
                  <a:gd name="connsiteY91" fmla="*/ 303657 h 414242"/>
                  <a:gd name="connsiteX92" fmla="*/ 830770 w 3362992"/>
                  <a:gd name="connsiteY92" fmla="*/ 309848 h 414242"/>
                  <a:gd name="connsiteX93" fmla="*/ 856012 w 3362992"/>
                  <a:gd name="connsiteY93" fmla="*/ 309848 h 414242"/>
                  <a:gd name="connsiteX94" fmla="*/ 856012 w 3362992"/>
                  <a:gd name="connsiteY94" fmla="*/ 315944 h 414242"/>
                  <a:gd name="connsiteX95" fmla="*/ 1085278 w 3362992"/>
                  <a:gd name="connsiteY95" fmla="*/ 315944 h 414242"/>
                  <a:gd name="connsiteX96" fmla="*/ 1085278 w 3362992"/>
                  <a:gd name="connsiteY96" fmla="*/ 322136 h 414242"/>
                  <a:gd name="connsiteX97" fmla="*/ 1198816 w 3362992"/>
                  <a:gd name="connsiteY97" fmla="*/ 322136 h 414242"/>
                  <a:gd name="connsiteX98" fmla="*/ 1198816 w 3362992"/>
                  <a:gd name="connsiteY98" fmla="*/ 328327 h 414242"/>
                  <a:gd name="connsiteX99" fmla="*/ 1467993 w 3362992"/>
                  <a:gd name="connsiteY99" fmla="*/ 328327 h 414242"/>
                  <a:gd name="connsiteX100" fmla="*/ 1467993 w 3362992"/>
                  <a:gd name="connsiteY100" fmla="*/ 334613 h 414242"/>
                  <a:gd name="connsiteX101" fmla="*/ 1541621 w 3362992"/>
                  <a:gd name="connsiteY101" fmla="*/ 334613 h 414242"/>
                  <a:gd name="connsiteX102" fmla="*/ 1541621 w 3362992"/>
                  <a:gd name="connsiteY102" fmla="*/ 340900 h 414242"/>
                  <a:gd name="connsiteX103" fmla="*/ 1621536 w 3362992"/>
                  <a:gd name="connsiteY103" fmla="*/ 340900 h 414242"/>
                  <a:gd name="connsiteX104" fmla="*/ 1621536 w 3362992"/>
                  <a:gd name="connsiteY104" fmla="*/ 347186 h 414242"/>
                  <a:gd name="connsiteX105" fmla="*/ 1783461 w 3362992"/>
                  <a:gd name="connsiteY105" fmla="*/ 347186 h 414242"/>
                  <a:gd name="connsiteX106" fmla="*/ 1783461 w 3362992"/>
                  <a:gd name="connsiteY106" fmla="*/ 353663 h 414242"/>
                  <a:gd name="connsiteX107" fmla="*/ 1800320 w 3362992"/>
                  <a:gd name="connsiteY107" fmla="*/ 353663 h 414242"/>
                  <a:gd name="connsiteX108" fmla="*/ 1800320 w 3362992"/>
                  <a:gd name="connsiteY108" fmla="*/ 360045 h 414242"/>
                  <a:gd name="connsiteX109" fmla="*/ 1918144 w 3362992"/>
                  <a:gd name="connsiteY109" fmla="*/ 360045 h 414242"/>
                  <a:gd name="connsiteX110" fmla="*/ 1918144 w 3362992"/>
                  <a:gd name="connsiteY110" fmla="*/ 366522 h 414242"/>
                  <a:gd name="connsiteX111" fmla="*/ 2010632 w 3362992"/>
                  <a:gd name="connsiteY111" fmla="*/ 366522 h 414242"/>
                  <a:gd name="connsiteX112" fmla="*/ 2010632 w 3362992"/>
                  <a:gd name="connsiteY112" fmla="*/ 372904 h 414242"/>
                  <a:gd name="connsiteX113" fmla="*/ 2029587 w 3362992"/>
                  <a:gd name="connsiteY113" fmla="*/ 372904 h 414242"/>
                  <a:gd name="connsiteX114" fmla="*/ 2029587 w 3362992"/>
                  <a:gd name="connsiteY114" fmla="*/ 379381 h 414242"/>
                  <a:gd name="connsiteX115" fmla="*/ 2883408 w 3362992"/>
                  <a:gd name="connsiteY115" fmla="*/ 379381 h 414242"/>
                  <a:gd name="connsiteX116" fmla="*/ 2883408 w 3362992"/>
                  <a:gd name="connsiteY116" fmla="*/ 414242 h 414242"/>
                  <a:gd name="connsiteX117" fmla="*/ 3362992 w 3362992"/>
                  <a:gd name="connsiteY117" fmla="*/ 414242 h 414242"/>
                  <a:gd name="connsiteX0" fmla="*/ 0 w 3362992"/>
                  <a:gd name="connsiteY0" fmla="*/ 0 h 414242"/>
                  <a:gd name="connsiteX1" fmla="*/ 2095 w 3362992"/>
                  <a:gd name="connsiteY1" fmla="*/ 6001 h 414242"/>
                  <a:gd name="connsiteX2" fmla="*/ 16859 w 3362992"/>
                  <a:gd name="connsiteY2" fmla="*/ 6001 h 414242"/>
                  <a:gd name="connsiteX3" fmla="*/ 16859 w 3362992"/>
                  <a:gd name="connsiteY3" fmla="*/ 18193 h 414242"/>
                  <a:gd name="connsiteX4" fmla="*/ 18955 w 3362992"/>
                  <a:gd name="connsiteY4" fmla="*/ 18193 h 414242"/>
                  <a:gd name="connsiteX5" fmla="*/ 18955 w 3362992"/>
                  <a:gd name="connsiteY5" fmla="*/ 24194 h 414242"/>
                  <a:gd name="connsiteX6" fmla="*/ 25241 w 3362992"/>
                  <a:gd name="connsiteY6" fmla="*/ 24194 h 414242"/>
                  <a:gd name="connsiteX7" fmla="*/ 25241 w 3362992"/>
                  <a:gd name="connsiteY7" fmla="*/ 30290 h 414242"/>
                  <a:gd name="connsiteX8" fmla="*/ 29432 w 3362992"/>
                  <a:gd name="connsiteY8" fmla="*/ 30290 h 414242"/>
                  <a:gd name="connsiteX9" fmla="*/ 29432 w 3362992"/>
                  <a:gd name="connsiteY9" fmla="*/ 36386 h 414242"/>
                  <a:gd name="connsiteX10" fmla="*/ 46291 w 3362992"/>
                  <a:gd name="connsiteY10" fmla="*/ 36386 h 414242"/>
                  <a:gd name="connsiteX11" fmla="*/ 46291 w 3362992"/>
                  <a:gd name="connsiteY11" fmla="*/ 48482 h 414242"/>
                  <a:gd name="connsiteX12" fmla="*/ 50482 w 3362992"/>
                  <a:gd name="connsiteY12" fmla="*/ 48482 h 414242"/>
                  <a:gd name="connsiteX13" fmla="*/ 50482 w 3362992"/>
                  <a:gd name="connsiteY13" fmla="*/ 54578 h 414242"/>
                  <a:gd name="connsiteX14" fmla="*/ 73628 w 3362992"/>
                  <a:gd name="connsiteY14" fmla="*/ 54578 h 414242"/>
                  <a:gd name="connsiteX15" fmla="*/ 73628 w 3362992"/>
                  <a:gd name="connsiteY15" fmla="*/ 60674 h 414242"/>
                  <a:gd name="connsiteX16" fmla="*/ 77819 w 3362992"/>
                  <a:gd name="connsiteY16" fmla="*/ 60674 h 414242"/>
                  <a:gd name="connsiteX17" fmla="*/ 77819 w 3362992"/>
                  <a:gd name="connsiteY17" fmla="*/ 66675 h 414242"/>
                  <a:gd name="connsiteX18" fmla="*/ 84106 w 3362992"/>
                  <a:gd name="connsiteY18" fmla="*/ 66675 h 414242"/>
                  <a:gd name="connsiteX19" fmla="*/ 84106 w 3362992"/>
                  <a:gd name="connsiteY19" fmla="*/ 78867 h 414242"/>
                  <a:gd name="connsiteX20" fmla="*/ 103060 w 3362992"/>
                  <a:gd name="connsiteY20" fmla="*/ 78867 h 414242"/>
                  <a:gd name="connsiteX21" fmla="*/ 103060 w 3362992"/>
                  <a:gd name="connsiteY21" fmla="*/ 84868 h 414242"/>
                  <a:gd name="connsiteX22" fmla="*/ 111442 w 3362992"/>
                  <a:gd name="connsiteY22" fmla="*/ 84868 h 414242"/>
                  <a:gd name="connsiteX23" fmla="*/ 111442 w 3362992"/>
                  <a:gd name="connsiteY23" fmla="*/ 90964 h 414242"/>
                  <a:gd name="connsiteX24" fmla="*/ 124111 w 3362992"/>
                  <a:gd name="connsiteY24" fmla="*/ 90964 h 414242"/>
                  <a:gd name="connsiteX25" fmla="*/ 124111 w 3362992"/>
                  <a:gd name="connsiteY25" fmla="*/ 97060 h 414242"/>
                  <a:gd name="connsiteX26" fmla="*/ 140970 w 3362992"/>
                  <a:gd name="connsiteY26" fmla="*/ 97060 h 414242"/>
                  <a:gd name="connsiteX27" fmla="*/ 140970 w 3362992"/>
                  <a:gd name="connsiteY27" fmla="*/ 103061 h 414242"/>
                  <a:gd name="connsiteX28" fmla="*/ 168307 w 3362992"/>
                  <a:gd name="connsiteY28" fmla="*/ 103061 h 414242"/>
                  <a:gd name="connsiteX29" fmla="*/ 168307 w 3362992"/>
                  <a:gd name="connsiteY29" fmla="*/ 109157 h 414242"/>
                  <a:gd name="connsiteX30" fmla="*/ 170402 w 3362992"/>
                  <a:gd name="connsiteY30" fmla="*/ 109157 h 414242"/>
                  <a:gd name="connsiteX31" fmla="*/ 170402 w 3362992"/>
                  <a:gd name="connsiteY31" fmla="*/ 115253 h 414242"/>
                  <a:gd name="connsiteX32" fmla="*/ 180879 w 3362992"/>
                  <a:gd name="connsiteY32" fmla="*/ 115253 h 414242"/>
                  <a:gd name="connsiteX33" fmla="*/ 180879 w 3362992"/>
                  <a:gd name="connsiteY33" fmla="*/ 121253 h 414242"/>
                  <a:gd name="connsiteX34" fmla="*/ 187166 w 3362992"/>
                  <a:gd name="connsiteY34" fmla="*/ 121253 h 414242"/>
                  <a:gd name="connsiteX35" fmla="*/ 187166 w 3362992"/>
                  <a:gd name="connsiteY35" fmla="*/ 133445 h 414242"/>
                  <a:gd name="connsiteX36" fmla="*/ 195643 w 3362992"/>
                  <a:gd name="connsiteY36" fmla="*/ 133445 h 414242"/>
                  <a:gd name="connsiteX37" fmla="*/ 195643 w 3362992"/>
                  <a:gd name="connsiteY37" fmla="*/ 139446 h 414242"/>
                  <a:gd name="connsiteX38" fmla="*/ 201930 w 3362992"/>
                  <a:gd name="connsiteY38" fmla="*/ 139446 h 414242"/>
                  <a:gd name="connsiteX39" fmla="*/ 201930 w 3362992"/>
                  <a:gd name="connsiteY39" fmla="*/ 151638 h 414242"/>
                  <a:gd name="connsiteX40" fmla="*/ 204025 w 3362992"/>
                  <a:gd name="connsiteY40" fmla="*/ 151638 h 414242"/>
                  <a:gd name="connsiteX41" fmla="*/ 204025 w 3362992"/>
                  <a:gd name="connsiteY41" fmla="*/ 157734 h 414242"/>
                  <a:gd name="connsiteX42" fmla="*/ 216598 w 3362992"/>
                  <a:gd name="connsiteY42" fmla="*/ 157734 h 414242"/>
                  <a:gd name="connsiteX43" fmla="*/ 216598 w 3362992"/>
                  <a:gd name="connsiteY43" fmla="*/ 163735 h 414242"/>
                  <a:gd name="connsiteX44" fmla="*/ 239744 w 3362992"/>
                  <a:gd name="connsiteY44" fmla="*/ 163735 h 414242"/>
                  <a:gd name="connsiteX45" fmla="*/ 239744 w 3362992"/>
                  <a:gd name="connsiteY45" fmla="*/ 169831 h 414242"/>
                  <a:gd name="connsiteX46" fmla="*/ 246126 w 3362992"/>
                  <a:gd name="connsiteY46" fmla="*/ 169831 h 414242"/>
                  <a:gd name="connsiteX47" fmla="*/ 246126 w 3362992"/>
                  <a:gd name="connsiteY47" fmla="*/ 175927 h 414242"/>
                  <a:gd name="connsiteX48" fmla="*/ 254508 w 3362992"/>
                  <a:gd name="connsiteY48" fmla="*/ 175927 h 414242"/>
                  <a:gd name="connsiteX49" fmla="*/ 254508 w 3362992"/>
                  <a:gd name="connsiteY49" fmla="*/ 181928 h 414242"/>
                  <a:gd name="connsiteX50" fmla="*/ 262890 w 3362992"/>
                  <a:gd name="connsiteY50" fmla="*/ 181928 h 414242"/>
                  <a:gd name="connsiteX51" fmla="*/ 262890 w 3362992"/>
                  <a:gd name="connsiteY51" fmla="*/ 188024 h 414242"/>
                  <a:gd name="connsiteX52" fmla="*/ 267081 w 3362992"/>
                  <a:gd name="connsiteY52" fmla="*/ 188024 h 414242"/>
                  <a:gd name="connsiteX53" fmla="*/ 267081 w 3362992"/>
                  <a:gd name="connsiteY53" fmla="*/ 194120 h 414242"/>
                  <a:gd name="connsiteX54" fmla="*/ 340709 w 3362992"/>
                  <a:gd name="connsiteY54" fmla="*/ 194120 h 414242"/>
                  <a:gd name="connsiteX55" fmla="*/ 340709 w 3362992"/>
                  <a:gd name="connsiteY55" fmla="*/ 200120 h 414242"/>
                  <a:gd name="connsiteX56" fmla="*/ 361759 w 3362992"/>
                  <a:gd name="connsiteY56" fmla="*/ 200120 h 414242"/>
                  <a:gd name="connsiteX57" fmla="*/ 361759 w 3362992"/>
                  <a:gd name="connsiteY57" fmla="*/ 206216 h 414242"/>
                  <a:gd name="connsiteX58" fmla="*/ 368046 w 3362992"/>
                  <a:gd name="connsiteY58" fmla="*/ 206216 h 414242"/>
                  <a:gd name="connsiteX59" fmla="*/ 368046 w 3362992"/>
                  <a:gd name="connsiteY59" fmla="*/ 212312 h 414242"/>
                  <a:gd name="connsiteX60" fmla="*/ 410146 w 3362992"/>
                  <a:gd name="connsiteY60" fmla="*/ 212312 h 414242"/>
                  <a:gd name="connsiteX61" fmla="*/ 410146 w 3362992"/>
                  <a:gd name="connsiteY61" fmla="*/ 218313 h 414242"/>
                  <a:gd name="connsiteX62" fmla="*/ 424815 w 3362992"/>
                  <a:gd name="connsiteY62" fmla="*/ 218313 h 414242"/>
                  <a:gd name="connsiteX63" fmla="*/ 424815 w 3362992"/>
                  <a:gd name="connsiteY63" fmla="*/ 224409 h 414242"/>
                  <a:gd name="connsiteX64" fmla="*/ 454342 w 3362992"/>
                  <a:gd name="connsiteY64" fmla="*/ 224409 h 414242"/>
                  <a:gd name="connsiteX65" fmla="*/ 454342 w 3362992"/>
                  <a:gd name="connsiteY65" fmla="*/ 230505 h 414242"/>
                  <a:gd name="connsiteX66" fmla="*/ 456438 w 3362992"/>
                  <a:gd name="connsiteY66" fmla="*/ 230505 h 414242"/>
                  <a:gd name="connsiteX67" fmla="*/ 456438 w 3362992"/>
                  <a:gd name="connsiteY67" fmla="*/ 236506 h 414242"/>
                  <a:gd name="connsiteX68" fmla="*/ 479488 w 3362992"/>
                  <a:gd name="connsiteY68" fmla="*/ 236506 h 414242"/>
                  <a:gd name="connsiteX69" fmla="*/ 479488 w 3362992"/>
                  <a:gd name="connsiteY69" fmla="*/ 242602 h 414242"/>
                  <a:gd name="connsiteX70" fmla="*/ 492157 w 3362992"/>
                  <a:gd name="connsiteY70" fmla="*/ 242602 h 414242"/>
                  <a:gd name="connsiteX71" fmla="*/ 492157 w 3362992"/>
                  <a:gd name="connsiteY71" fmla="*/ 248698 h 414242"/>
                  <a:gd name="connsiteX72" fmla="*/ 527875 w 3362992"/>
                  <a:gd name="connsiteY72" fmla="*/ 248698 h 414242"/>
                  <a:gd name="connsiteX73" fmla="*/ 527875 w 3362992"/>
                  <a:gd name="connsiteY73" fmla="*/ 254794 h 414242"/>
                  <a:gd name="connsiteX74" fmla="*/ 643604 w 3362992"/>
                  <a:gd name="connsiteY74" fmla="*/ 254794 h 414242"/>
                  <a:gd name="connsiteX75" fmla="*/ 643604 w 3362992"/>
                  <a:gd name="connsiteY75" fmla="*/ 260795 h 414242"/>
                  <a:gd name="connsiteX76" fmla="*/ 681418 w 3362992"/>
                  <a:gd name="connsiteY76" fmla="*/ 260795 h 414242"/>
                  <a:gd name="connsiteX77" fmla="*/ 681418 w 3362992"/>
                  <a:gd name="connsiteY77" fmla="*/ 266986 h 414242"/>
                  <a:gd name="connsiteX78" fmla="*/ 733996 w 3362992"/>
                  <a:gd name="connsiteY78" fmla="*/ 266986 h 414242"/>
                  <a:gd name="connsiteX79" fmla="*/ 733996 w 3362992"/>
                  <a:gd name="connsiteY79" fmla="*/ 273082 h 414242"/>
                  <a:gd name="connsiteX80" fmla="*/ 752951 w 3362992"/>
                  <a:gd name="connsiteY80" fmla="*/ 273082 h 414242"/>
                  <a:gd name="connsiteX81" fmla="*/ 752951 w 3362992"/>
                  <a:gd name="connsiteY81" fmla="*/ 279178 h 414242"/>
                  <a:gd name="connsiteX82" fmla="*/ 763429 w 3362992"/>
                  <a:gd name="connsiteY82" fmla="*/ 279178 h 414242"/>
                  <a:gd name="connsiteX83" fmla="*/ 763429 w 3362992"/>
                  <a:gd name="connsiteY83" fmla="*/ 285369 h 414242"/>
                  <a:gd name="connsiteX84" fmla="*/ 797147 w 3362992"/>
                  <a:gd name="connsiteY84" fmla="*/ 285369 h 414242"/>
                  <a:gd name="connsiteX85" fmla="*/ 797147 w 3362992"/>
                  <a:gd name="connsiteY85" fmla="*/ 291465 h 414242"/>
                  <a:gd name="connsiteX86" fmla="*/ 803434 w 3362992"/>
                  <a:gd name="connsiteY86" fmla="*/ 291465 h 414242"/>
                  <a:gd name="connsiteX87" fmla="*/ 803434 w 3362992"/>
                  <a:gd name="connsiteY87" fmla="*/ 297561 h 414242"/>
                  <a:gd name="connsiteX88" fmla="*/ 818102 w 3362992"/>
                  <a:gd name="connsiteY88" fmla="*/ 297561 h 414242"/>
                  <a:gd name="connsiteX89" fmla="*/ 818102 w 3362992"/>
                  <a:gd name="connsiteY89" fmla="*/ 303657 h 414242"/>
                  <a:gd name="connsiteX90" fmla="*/ 830770 w 3362992"/>
                  <a:gd name="connsiteY90" fmla="*/ 303657 h 414242"/>
                  <a:gd name="connsiteX91" fmla="*/ 830770 w 3362992"/>
                  <a:gd name="connsiteY91" fmla="*/ 309848 h 414242"/>
                  <a:gd name="connsiteX92" fmla="*/ 856012 w 3362992"/>
                  <a:gd name="connsiteY92" fmla="*/ 309848 h 414242"/>
                  <a:gd name="connsiteX93" fmla="*/ 856012 w 3362992"/>
                  <a:gd name="connsiteY93" fmla="*/ 315944 h 414242"/>
                  <a:gd name="connsiteX94" fmla="*/ 1085278 w 3362992"/>
                  <a:gd name="connsiteY94" fmla="*/ 315944 h 414242"/>
                  <a:gd name="connsiteX95" fmla="*/ 1085278 w 3362992"/>
                  <a:gd name="connsiteY95" fmla="*/ 322136 h 414242"/>
                  <a:gd name="connsiteX96" fmla="*/ 1198816 w 3362992"/>
                  <a:gd name="connsiteY96" fmla="*/ 322136 h 414242"/>
                  <a:gd name="connsiteX97" fmla="*/ 1198816 w 3362992"/>
                  <a:gd name="connsiteY97" fmla="*/ 328327 h 414242"/>
                  <a:gd name="connsiteX98" fmla="*/ 1467993 w 3362992"/>
                  <a:gd name="connsiteY98" fmla="*/ 328327 h 414242"/>
                  <a:gd name="connsiteX99" fmla="*/ 1467993 w 3362992"/>
                  <a:gd name="connsiteY99" fmla="*/ 334613 h 414242"/>
                  <a:gd name="connsiteX100" fmla="*/ 1541621 w 3362992"/>
                  <a:gd name="connsiteY100" fmla="*/ 334613 h 414242"/>
                  <a:gd name="connsiteX101" fmla="*/ 1541621 w 3362992"/>
                  <a:gd name="connsiteY101" fmla="*/ 340900 h 414242"/>
                  <a:gd name="connsiteX102" fmla="*/ 1621536 w 3362992"/>
                  <a:gd name="connsiteY102" fmla="*/ 340900 h 414242"/>
                  <a:gd name="connsiteX103" fmla="*/ 1621536 w 3362992"/>
                  <a:gd name="connsiteY103" fmla="*/ 347186 h 414242"/>
                  <a:gd name="connsiteX104" fmla="*/ 1783461 w 3362992"/>
                  <a:gd name="connsiteY104" fmla="*/ 347186 h 414242"/>
                  <a:gd name="connsiteX105" fmla="*/ 1783461 w 3362992"/>
                  <a:gd name="connsiteY105" fmla="*/ 353663 h 414242"/>
                  <a:gd name="connsiteX106" fmla="*/ 1800320 w 3362992"/>
                  <a:gd name="connsiteY106" fmla="*/ 353663 h 414242"/>
                  <a:gd name="connsiteX107" fmla="*/ 1800320 w 3362992"/>
                  <a:gd name="connsiteY107" fmla="*/ 360045 h 414242"/>
                  <a:gd name="connsiteX108" fmla="*/ 1918144 w 3362992"/>
                  <a:gd name="connsiteY108" fmla="*/ 360045 h 414242"/>
                  <a:gd name="connsiteX109" fmla="*/ 1918144 w 3362992"/>
                  <a:gd name="connsiteY109" fmla="*/ 366522 h 414242"/>
                  <a:gd name="connsiteX110" fmla="*/ 2010632 w 3362992"/>
                  <a:gd name="connsiteY110" fmla="*/ 366522 h 414242"/>
                  <a:gd name="connsiteX111" fmla="*/ 2010632 w 3362992"/>
                  <a:gd name="connsiteY111" fmla="*/ 372904 h 414242"/>
                  <a:gd name="connsiteX112" fmla="*/ 2029587 w 3362992"/>
                  <a:gd name="connsiteY112" fmla="*/ 372904 h 414242"/>
                  <a:gd name="connsiteX113" fmla="*/ 2029587 w 3362992"/>
                  <a:gd name="connsiteY113" fmla="*/ 379381 h 414242"/>
                  <a:gd name="connsiteX114" fmla="*/ 2883408 w 3362992"/>
                  <a:gd name="connsiteY114" fmla="*/ 379381 h 414242"/>
                  <a:gd name="connsiteX115" fmla="*/ 2883408 w 3362992"/>
                  <a:gd name="connsiteY115" fmla="*/ 414242 h 414242"/>
                  <a:gd name="connsiteX116" fmla="*/ 3362992 w 3362992"/>
                  <a:gd name="connsiteY116" fmla="*/ 414242 h 414242"/>
                  <a:gd name="connsiteX0" fmla="*/ 0 w 3362992"/>
                  <a:gd name="connsiteY0" fmla="*/ 0 h 414242"/>
                  <a:gd name="connsiteX1" fmla="*/ 16859 w 3362992"/>
                  <a:gd name="connsiteY1" fmla="*/ 6001 h 414242"/>
                  <a:gd name="connsiteX2" fmla="*/ 16859 w 3362992"/>
                  <a:gd name="connsiteY2" fmla="*/ 18193 h 414242"/>
                  <a:gd name="connsiteX3" fmla="*/ 18955 w 3362992"/>
                  <a:gd name="connsiteY3" fmla="*/ 18193 h 414242"/>
                  <a:gd name="connsiteX4" fmla="*/ 18955 w 3362992"/>
                  <a:gd name="connsiteY4" fmla="*/ 24194 h 414242"/>
                  <a:gd name="connsiteX5" fmla="*/ 25241 w 3362992"/>
                  <a:gd name="connsiteY5" fmla="*/ 24194 h 414242"/>
                  <a:gd name="connsiteX6" fmla="*/ 25241 w 3362992"/>
                  <a:gd name="connsiteY6" fmla="*/ 30290 h 414242"/>
                  <a:gd name="connsiteX7" fmla="*/ 29432 w 3362992"/>
                  <a:gd name="connsiteY7" fmla="*/ 30290 h 414242"/>
                  <a:gd name="connsiteX8" fmla="*/ 29432 w 3362992"/>
                  <a:gd name="connsiteY8" fmla="*/ 36386 h 414242"/>
                  <a:gd name="connsiteX9" fmla="*/ 46291 w 3362992"/>
                  <a:gd name="connsiteY9" fmla="*/ 36386 h 414242"/>
                  <a:gd name="connsiteX10" fmla="*/ 46291 w 3362992"/>
                  <a:gd name="connsiteY10" fmla="*/ 48482 h 414242"/>
                  <a:gd name="connsiteX11" fmla="*/ 50482 w 3362992"/>
                  <a:gd name="connsiteY11" fmla="*/ 48482 h 414242"/>
                  <a:gd name="connsiteX12" fmla="*/ 50482 w 3362992"/>
                  <a:gd name="connsiteY12" fmla="*/ 54578 h 414242"/>
                  <a:gd name="connsiteX13" fmla="*/ 73628 w 3362992"/>
                  <a:gd name="connsiteY13" fmla="*/ 54578 h 414242"/>
                  <a:gd name="connsiteX14" fmla="*/ 73628 w 3362992"/>
                  <a:gd name="connsiteY14" fmla="*/ 60674 h 414242"/>
                  <a:gd name="connsiteX15" fmla="*/ 77819 w 3362992"/>
                  <a:gd name="connsiteY15" fmla="*/ 60674 h 414242"/>
                  <a:gd name="connsiteX16" fmla="*/ 77819 w 3362992"/>
                  <a:gd name="connsiteY16" fmla="*/ 66675 h 414242"/>
                  <a:gd name="connsiteX17" fmla="*/ 84106 w 3362992"/>
                  <a:gd name="connsiteY17" fmla="*/ 66675 h 414242"/>
                  <a:gd name="connsiteX18" fmla="*/ 84106 w 3362992"/>
                  <a:gd name="connsiteY18" fmla="*/ 78867 h 414242"/>
                  <a:gd name="connsiteX19" fmla="*/ 103060 w 3362992"/>
                  <a:gd name="connsiteY19" fmla="*/ 78867 h 414242"/>
                  <a:gd name="connsiteX20" fmla="*/ 103060 w 3362992"/>
                  <a:gd name="connsiteY20" fmla="*/ 84868 h 414242"/>
                  <a:gd name="connsiteX21" fmla="*/ 111442 w 3362992"/>
                  <a:gd name="connsiteY21" fmla="*/ 84868 h 414242"/>
                  <a:gd name="connsiteX22" fmla="*/ 111442 w 3362992"/>
                  <a:gd name="connsiteY22" fmla="*/ 90964 h 414242"/>
                  <a:gd name="connsiteX23" fmla="*/ 124111 w 3362992"/>
                  <a:gd name="connsiteY23" fmla="*/ 90964 h 414242"/>
                  <a:gd name="connsiteX24" fmla="*/ 124111 w 3362992"/>
                  <a:gd name="connsiteY24" fmla="*/ 97060 h 414242"/>
                  <a:gd name="connsiteX25" fmla="*/ 140970 w 3362992"/>
                  <a:gd name="connsiteY25" fmla="*/ 97060 h 414242"/>
                  <a:gd name="connsiteX26" fmla="*/ 140970 w 3362992"/>
                  <a:gd name="connsiteY26" fmla="*/ 103061 h 414242"/>
                  <a:gd name="connsiteX27" fmla="*/ 168307 w 3362992"/>
                  <a:gd name="connsiteY27" fmla="*/ 103061 h 414242"/>
                  <a:gd name="connsiteX28" fmla="*/ 168307 w 3362992"/>
                  <a:gd name="connsiteY28" fmla="*/ 109157 h 414242"/>
                  <a:gd name="connsiteX29" fmla="*/ 170402 w 3362992"/>
                  <a:gd name="connsiteY29" fmla="*/ 109157 h 414242"/>
                  <a:gd name="connsiteX30" fmla="*/ 170402 w 3362992"/>
                  <a:gd name="connsiteY30" fmla="*/ 115253 h 414242"/>
                  <a:gd name="connsiteX31" fmla="*/ 180879 w 3362992"/>
                  <a:gd name="connsiteY31" fmla="*/ 115253 h 414242"/>
                  <a:gd name="connsiteX32" fmla="*/ 180879 w 3362992"/>
                  <a:gd name="connsiteY32" fmla="*/ 121253 h 414242"/>
                  <a:gd name="connsiteX33" fmla="*/ 187166 w 3362992"/>
                  <a:gd name="connsiteY33" fmla="*/ 121253 h 414242"/>
                  <a:gd name="connsiteX34" fmla="*/ 187166 w 3362992"/>
                  <a:gd name="connsiteY34" fmla="*/ 133445 h 414242"/>
                  <a:gd name="connsiteX35" fmla="*/ 195643 w 3362992"/>
                  <a:gd name="connsiteY35" fmla="*/ 133445 h 414242"/>
                  <a:gd name="connsiteX36" fmla="*/ 195643 w 3362992"/>
                  <a:gd name="connsiteY36" fmla="*/ 139446 h 414242"/>
                  <a:gd name="connsiteX37" fmla="*/ 201930 w 3362992"/>
                  <a:gd name="connsiteY37" fmla="*/ 139446 h 414242"/>
                  <a:gd name="connsiteX38" fmla="*/ 201930 w 3362992"/>
                  <a:gd name="connsiteY38" fmla="*/ 151638 h 414242"/>
                  <a:gd name="connsiteX39" fmla="*/ 204025 w 3362992"/>
                  <a:gd name="connsiteY39" fmla="*/ 151638 h 414242"/>
                  <a:gd name="connsiteX40" fmla="*/ 204025 w 3362992"/>
                  <a:gd name="connsiteY40" fmla="*/ 157734 h 414242"/>
                  <a:gd name="connsiteX41" fmla="*/ 216598 w 3362992"/>
                  <a:gd name="connsiteY41" fmla="*/ 157734 h 414242"/>
                  <a:gd name="connsiteX42" fmla="*/ 216598 w 3362992"/>
                  <a:gd name="connsiteY42" fmla="*/ 163735 h 414242"/>
                  <a:gd name="connsiteX43" fmla="*/ 239744 w 3362992"/>
                  <a:gd name="connsiteY43" fmla="*/ 163735 h 414242"/>
                  <a:gd name="connsiteX44" fmla="*/ 239744 w 3362992"/>
                  <a:gd name="connsiteY44" fmla="*/ 169831 h 414242"/>
                  <a:gd name="connsiteX45" fmla="*/ 246126 w 3362992"/>
                  <a:gd name="connsiteY45" fmla="*/ 169831 h 414242"/>
                  <a:gd name="connsiteX46" fmla="*/ 246126 w 3362992"/>
                  <a:gd name="connsiteY46" fmla="*/ 175927 h 414242"/>
                  <a:gd name="connsiteX47" fmla="*/ 254508 w 3362992"/>
                  <a:gd name="connsiteY47" fmla="*/ 175927 h 414242"/>
                  <a:gd name="connsiteX48" fmla="*/ 254508 w 3362992"/>
                  <a:gd name="connsiteY48" fmla="*/ 181928 h 414242"/>
                  <a:gd name="connsiteX49" fmla="*/ 262890 w 3362992"/>
                  <a:gd name="connsiteY49" fmla="*/ 181928 h 414242"/>
                  <a:gd name="connsiteX50" fmla="*/ 262890 w 3362992"/>
                  <a:gd name="connsiteY50" fmla="*/ 188024 h 414242"/>
                  <a:gd name="connsiteX51" fmla="*/ 267081 w 3362992"/>
                  <a:gd name="connsiteY51" fmla="*/ 188024 h 414242"/>
                  <a:gd name="connsiteX52" fmla="*/ 267081 w 3362992"/>
                  <a:gd name="connsiteY52" fmla="*/ 194120 h 414242"/>
                  <a:gd name="connsiteX53" fmla="*/ 340709 w 3362992"/>
                  <a:gd name="connsiteY53" fmla="*/ 194120 h 414242"/>
                  <a:gd name="connsiteX54" fmla="*/ 340709 w 3362992"/>
                  <a:gd name="connsiteY54" fmla="*/ 200120 h 414242"/>
                  <a:gd name="connsiteX55" fmla="*/ 361759 w 3362992"/>
                  <a:gd name="connsiteY55" fmla="*/ 200120 h 414242"/>
                  <a:gd name="connsiteX56" fmla="*/ 361759 w 3362992"/>
                  <a:gd name="connsiteY56" fmla="*/ 206216 h 414242"/>
                  <a:gd name="connsiteX57" fmla="*/ 368046 w 3362992"/>
                  <a:gd name="connsiteY57" fmla="*/ 206216 h 414242"/>
                  <a:gd name="connsiteX58" fmla="*/ 368046 w 3362992"/>
                  <a:gd name="connsiteY58" fmla="*/ 212312 h 414242"/>
                  <a:gd name="connsiteX59" fmla="*/ 410146 w 3362992"/>
                  <a:gd name="connsiteY59" fmla="*/ 212312 h 414242"/>
                  <a:gd name="connsiteX60" fmla="*/ 410146 w 3362992"/>
                  <a:gd name="connsiteY60" fmla="*/ 218313 h 414242"/>
                  <a:gd name="connsiteX61" fmla="*/ 424815 w 3362992"/>
                  <a:gd name="connsiteY61" fmla="*/ 218313 h 414242"/>
                  <a:gd name="connsiteX62" fmla="*/ 424815 w 3362992"/>
                  <a:gd name="connsiteY62" fmla="*/ 224409 h 414242"/>
                  <a:gd name="connsiteX63" fmla="*/ 454342 w 3362992"/>
                  <a:gd name="connsiteY63" fmla="*/ 224409 h 414242"/>
                  <a:gd name="connsiteX64" fmla="*/ 454342 w 3362992"/>
                  <a:gd name="connsiteY64" fmla="*/ 230505 h 414242"/>
                  <a:gd name="connsiteX65" fmla="*/ 456438 w 3362992"/>
                  <a:gd name="connsiteY65" fmla="*/ 230505 h 414242"/>
                  <a:gd name="connsiteX66" fmla="*/ 456438 w 3362992"/>
                  <a:gd name="connsiteY66" fmla="*/ 236506 h 414242"/>
                  <a:gd name="connsiteX67" fmla="*/ 479488 w 3362992"/>
                  <a:gd name="connsiteY67" fmla="*/ 236506 h 414242"/>
                  <a:gd name="connsiteX68" fmla="*/ 479488 w 3362992"/>
                  <a:gd name="connsiteY68" fmla="*/ 242602 h 414242"/>
                  <a:gd name="connsiteX69" fmla="*/ 492157 w 3362992"/>
                  <a:gd name="connsiteY69" fmla="*/ 242602 h 414242"/>
                  <a:gd name="connsiteX70" fmla="*/ 492157 w 3362992"/>
                  <a:gd name="connsiteY70" fmla="*/ 248698 h 414242"/>
                  <a:gd name="connsiteX71" fmla="*/ 527875 w 3362992"/>
                  <a:gd name="connsiteY71" fmla="*/ 248698 h 414242"/>
                  <a:gd name="connsiteX72" fmla="*/ 527875 w 3362992"/>
                  <a:gd name="connsiteY72" fmla="*/ 254794 h 414242"/>
                  <a:gd name="connsiteX73" fmla="*/ 643604 w 3362992"/>
                  <a:gd name="connsiteY73" fmla="*/ 254794 h 414242"/>
                  <a:gd name="connsiteX74" fmla="*/ 643604 w 3362992"/>
                  <a:gd name="connsiteY74" fmla="*/ 260795 h 414242"/>
                  <a:gd name="connsiteX75" fmla="*/ 681418 w 3362992"/>
                  <a:gd name="connsiteY75" fmla="*/ 260795 h 414242"/>
                  <a:gd name="connsiteX76" fmla="*/ 681418 w 3362992"/>
                  <a:gd name="connsiteY76" fmla="*/ 266986 h 414242"/>
                  <a:gd name="connsiteX77" fmla="*/ 733996 w 3362992"/>
                  <a:gd name="connsiteY77" fmla="*/ 266986 h 414242"/>
                  <a:gd name="connsiteX78" fmla="*/ 733996 w 3362992"/>
                  <a:gd name="connsiteY78" fmla="*/ 273082 h 414242"/>
                  <a:gd name="connsiteX79" fmla="*/ 752951 w 3362992"/>
                  <a:gd name="connsiteY79" fmla="*/ 273082 h 414242"/>
                  <a:gd name="connsiteX80" fmla="*/ 752951 w 3362992"/>
                  <a:gd name="connsiteY80" fmla="*/ 279178 h 414242"/>
                  <a:gd name="connsiteX81" fmla="*/ 763429 w 3362992"/>
                  <a:gd name="connsiteY81" fmla="*/ 279178 h 414242"/>
                  <a:gd name="connsiteX82" fmla="*/ 763429 w 3362992"/>
                  <a:gd name="connsiteY82" fmla="*/ 285369 h 414242"/>
                  <a:gd name="connsiteX83" fmla="*/ 797147 w 3362992"/>
                  <a:gd name="connsiteY83" fmla="*/ 285369 h 414242"/>
                  <a:gd name="connsiteX84" fmla="*/ 797147 w 3362992"/>
                  <a:gd name="connsiteY84" fmla="*/ 291465 h 414242"/>
                  <a:gd name="connsiteX85" fmla="*/ 803434 w 3362992"/>
                  <a:gd name="connsiteY85" fmla="*/ 291465 h 414242"/>
                  <a:gd name="connsiteX86" fmla="*/ 803434 w 3362992"/>
                  <a:gd name="connsiteY86" fmla="*/ 297561 h 414242"/>
                  <a:gd name="connsiteX87" fmla="*/ 818102 w 3362992"/>
                  <a:gd name="connsiteY87" fmla="*/ 297561 h 414242"/>
                  <a:gd name="connsiteX88" fmla="*/ 818102 w 3362992"/>
                  <a:gd name="connsiteY88" fmla="*/ 303657 h 414242"/>
                  <a:gd name="connsiteX89" fmla="*/ 830770 w 3362992"/>
                  <a:gd name="connsiteY89" fmla="*/ 303657 h 414242"/>
                  <a:gd name="connsiteX90" fmla="*/ 830770 w 3362992"/>
                  <a:gd name="connsiteY90" fmla="*/ 309848 h 414242"/>
                  <a:gd name="connsiteX91" fmla="*/ 856012 w 3362992"/>
                  <a:gd name="connsiteY91" fmla="*/ 309848 h 414242"/>
                  <a:gd name="connsiteX92" fmla="*/ 856012 w 3362992"/>
                  <a:gd name="connsiteY92" fmla="*/ 315944 h 414242"/>
                  <a:gd name="connsiteX93" fmla="*/ 1085278 w 3362992"/>
                  <a:gd name="connsiteY93" fmla="*/ 315944 h 414242"/>
                  <a:gd name="connsiteX94" fmla="*/ 1085278 w 3362992"/>
                  <a:gd name="connsiteY94" fmla="*/ 322136 h 414242"/>
                  <a:gd name="connsiteX95" fmla="*/ 1198816 w 3362992"/>
                  <a:gd name="connsiteY95" fmla="*/ 322136 h 414242"/>
                  <a:gd name="connsiteX96" fmla="*/ 1198816 w 3362992"/>
                  <a:gd name="connsiteY96" fmla="*/ 328327 h 414242"/>
                  <a:gd name="connsiteX97" fmla="*/ 1467993 w 3362992"/>
                  <a:gd name="connsiteY97" fmla="*/ 328327 h 414242"/>
                  <a:gd name="connsiteX98" fmla="*/ 1467993 w 3362992"/>
                  <a:gd name="connsiteY98" fmla="*/ 334613 h 414242"/>
                  <a:gd name="connsiteX99" fmla="*/ 1541621 w 3362992"/>
                  <a:gd name="connsiteY99" fmla="*/ 334613 h 414242"/>
                  <a:gd name="connsiteX100" fmla="*/ 1541621 w 3362992"/>
                  <a:gd name="connsiteY100" fmla="*/ 340900 h 414242"/>
                  <a:gd name="connsiteX101" fmla="*/ 1621536 w 3362992"/>
                  <a:gd name="connsiteY101" fmla="*/ 340900 h 414242"/>
                  <a:gd name="connsiteX102" fmla="*/ 1621536 w 3362992"/>
                  <a:gd name="connsiteY102" fmla="*/ 347186 h 414242"/>
                  <a:gd name="connsiteX103" fmla="*/ 1783461 w 3362992"/>
                  <a:gd name="connsiteY103" fmla="*/ 347186 h 414242"/>
                  <a:gd name="connsiteX104" fmla="*/ 1783461 w 3362992"/>
                  <a:gd name="connsiteY104" fmla="*/ 353663 h 414242"/>
                  <a:gd name="connsiteX105" fmla="*/ 1800320 w 3362992"/>
                  <a:gd name="connsiteY105" fmla="*/ 353663 h 414242"/>
                  <a:gd name="connsiteX106" fmla="*/ 1800320 w 3362992"/>
                  <a:gd name="connsiteY106" fmla="*/ 360045 h 414242"/>
                  <a:gd name="connsiteX107" fmla="*/ 1918144 w 3362992"/>
                  <a:gd name="connsiteY107" fmla="*/ 360045 h 414242"/>
                  <a:gd name="connsiteX108" fmla="*/ 1918144 w 3362992"/>
                  <a:gd name="connsiteY108" fmla="*/ 366522 h 414242"/>
                  <a:gd name="connsiteX109" fmla="*/ 2010632 w 3362992"/>
                  <a:gd name="connsiteY109" fmla="*/ 366522 h 414242"/>
                  <a:gd name="connsiteX110" fmla="*/ 2010632 w 3362992"/>
                  <a:gd name="connsiteY110" fmla="*/ 372904 h 414242"/>
                  <a:gd name="connsiteX111" fmla="*/ 2029587 w 3362992"/>
                  <a:gd name="connsiteY111" fmla="*/ 372904 h 414242"/>
                  <a:gd name="connsiteX112" fmla="*/ 2029587 w 3362992"/>
                  <a:gd name="connsiteY112" fmla="*/ 379381 h 414242"/>
                  <a:gd name="connsiteX113" fmla="*/ 2883408 w 3362992"/>
                  <a:gd name="connsiteY113" fmla="*/ 379381 h 414242"/>
                  <a:gd name="connsiteX114" fmla="*/ 2883408 w 3362992"/>
                  <a:gd name="connsiteY114" fmla="*/ 414242 h 414242"/>
                  <a:gd name="connsiteX115" fmla="*/ 3362992 w 3362992"/>
                  <a:gd name="connsiteY115" fmla="*/ 414242 h 414242"/>
                  <a:gd name="connsiteX0" fmla="*/ 0 w 3346133"/>
                  <a:gd name="connsiteY0" fmla="*/ 0 h 408241"/>
                  <a:gd name="connsiteX1" fmla="*/ 0 w 3346133"/>
                  <a:gd name="connsiteY1" fmla="*/ 12192 h 408241"/>
                  <a:gd name="connsiteX2" fmla="*/ 2096 w 3346133"/>
                  <a:gd name="connsiteY2" fmla="*/ 12192 h 408241"/>
                  <a:gd name="connsiteX3" fmla="*/ 2096 w 3346133"/>
                  <a:gd name="connsiteY3" fmla="*/ 18193 h 408241"/>
                  <a:gd name="connsiteX4" fmla="*/ 8382 w 3346133"/>
                  <a:gd name="connsiteY4" fmla="*/ 18193 h 408241"/>
                  <a:gd name="connsiteX5" fmla="*/ 8382 w 3346133"/>
                  <a:gd name="connsiteY5" fmla="*/ 24289 h 408241"/>
                  <a:gd name="connsiteX6" fmla="*/ 12573 w 3346133"/>
                  <a:gd name="connsiteY6" fmla="*/ 24289 h 408241"/>
                  <a:gd name="connsiteX7" fmla="*/ 12573 w 3346133"/>
                  <a:gd name="connsiteY7" fmla="*/ 30385 h 408241"/>
                  <a:gd name="connsiteX8" fmla="*/ 29432 w 3346133"/>
                  <a:gd name="connsiteY8" fmla="*/ 30385 h 408241"/>
                  <a:gd name="connsiteX9" fmla="*/ 29432 w 3346133"/>
                  <a:gd name="connsiteY9" fmla="*/ 42481 h 408241"/>
                  <a:gd name="connsiteX10" fmla="*/ 33623 w 3346133"/>
                  <a:gd name="connsiteY10" fmla="*/ 42481 h 408241"/>
                  <a:gd name="connsiteX11" fmla="*/ 33623 w 3346133"/>
                  <a:gd name="connsiteY11" fmla="*/ 48577 h 408241"/>
                  <a:gd name="connsiteX12" fmla="*/ 56769 w 3346133"/>
                  <a:gd name="connsiteY12" fmla="*/ 48577 h 408241"/>
                  <a:gd name="connsiteX13" fmla="*/ 56769 w 3346133"/>
                  <a:gd name="connsiteY13" fmla="*/ 54673 h 408241"/>
                  <a:gd name="connsiteX14" fmla="*/ 60960 w 3346133"/>
                  <a:gd name="connsiteY14" fmla="*/ 54673 h 408241"/>
                  <a:gd name="connsiteX15" fmla="*/ 60960 w 3346133"/>
                  <a:gd name="connsiteY15" fmla="*/ 60674 h 408241"/>
                  <a:gd name="connsiteX16" fmla="*/ 67247 w 3346133"/>
                  <a:gd name="connsiteY16" fmla="*/ 60674 h 408241"/>
                  <a:gd name="connsiteX17" fmla="*/ 67247 w 3346133"/>
                  <a:gd name="connsiteY17" fmla="*/ 72866 h 408241"/>
                  <a:gd name="connsiteX18" fmla="*/ 86201 w 3346133"/>
                  <a:gd name="connsiteY18" fmla="*/ 72866 h 408241"/>
                  <a:gd name="connsiteX19" fmla="*/ 86201 w 3346133"/>
                  <a:gd name="connsiteY19" fmla="*/ 78867 h 408241"/>
                  <a:gd name="connsiteX20" fmla="*/ 94583 w 3346133"/>
                  <a:gd name="connsiteY20" fmla="*/ 78867 h 408241"/>
                  <a:gd name="connsiteX21" fmla="*/ 94583 w 3346133"/>
                  <a:gd name="connsiteY21" fmla="*/ 84963 h 408241"/>
                  <a:gd name="connsiteX22" fmla="*/ 107252 w 3346133"/>
                  <a:gd name="connsiteY22" fmla="*/ 84963 h 408241"/>
                  <a:gd name="connsiteX23" fmla="*/ 107252 w 3346133"/>
                  <a:gd name="connsiteY23" fmla="*/ 91059 h 408241"/>
                  <a:gd name="connsiteX24" fmla="*/ 124111 w 3346133"/>
                  <a:gd name="connsiteY24" fmla="*/ 91059 h 408241"/>
                  <a:gd name="connsiteX25" fmla="*/ 124111 w 3346133"/>
                  <a:gd name="connsiteY25" fmla="*/ 97060 h 408241"/>
                  <a:gd name="connsiteX26" fmla="*/ 151448 w 3346133"/>
                  <a:gd name="connsiteY26" fmla="*/ 97060 h 408241"/>
                  <a:gd name="connsiteX27" fmla="*/ 151448 w 3346133"/>
                  <a:gd name="connsiteY27" fmla="*/ 103156 h 408241"/>
                  <a:gd name="connsiteX28" fmla="*/ 153543 w 3346133"/>
                  <a:gd name="connsiteY28" fmla="*/ 103156 h 408241"/>
                  <a:gd name="connsiteX29" fmla="*/ 153543 w 3346133"/>
                  <a:gd name="connsiteY29" fmla="*/ 109252 h 408241"/>
                  <a:gd name="connsiteX30" fmla="*/ 164020 w 3346133"/>
                  <a:gd name="connsiteY30" fmla="*/ 109252 h 408241"/>
                  <a:gd name="connsiteX31" fmla="*/ 164020 w 3346133"/>
                  <a:gd name="connsiteY31" fmla="*/ 115252 h 408241"/>
                  <a:gd name="connsiteX32" fmla="*/ 170307 w 3346133"/>
                  <a:gd name="connsiteY32" fmla="*/ 115252 h 408241"/>
                  <a:gd name="connsiteX33" fmla="*/ 170307 w 3346133"/>
                  <a:gd name="connsiteY33" fmla="*/ 127444 h 408241"/>
                  <a:gd name="connsiteX34" fmla="*/ 178784 w 3346133"/>
                  <a:gd name="connsiteY34" fmla="*/ 127444 h 408241"/>
                  <a:gd name="connsiteX35" fmla="*/ 178784 w 3346133"/>
                  <a:gd name="connsiteY35" fmla="*/ 133445 h 408241"/>
                  <a:gd name="connsiteX36" fmla="*/ 185071 w 3346133"/>
                  <a:gd name="connsiteY36" fmla="*/ 133445 h 408241"/>
                  <a:gd name="connsiteX37" fmla="*/ 185071 w 3346133"/>
                  <a:gd name="connsiteY37" fmla="*/ 145637 h 408241"/>
                  <a:gd name="connsiteX38" fmla="*/ 187166 w 3346133"/>
                  <a:gd name="connsiteY38" fmla="*/ 145637 h 408241"/>
                  <a:gd name="connsiteX39" fmla="*/ 187166 w 3346133"/>
                  <a:gd name="connsiteY39" fmla="*/ 151733 h 408241"/>
                  <a:gd name="connsiteX40" fmla="*/ 199739 w 3346133"/>
                  <a:gd name="connsiteY40" fmla="*/ 151733 h 408241"/>
                  <a:gd name="connsiteX41" fmla="*/ 199739 w 3346133"/>
                  <a:gd name="connsiteY41" fmla="*/ 157734 h 408241"/>
                  <a:gd name="connsiteX42" fmla="*/ 222885 w 3346133"/>
                  <a:gd name="connsiteY42" fmla="*/ 157734 h 408241"/>
                  <a:gd name="connsiteX43" fmla="*/ 222885 w 3346133"/>
                  <a:gd name="connsiteY43" fmla="*/ 163830 h 408241"/>
                  <a:gd name="connsiteX44" fmla="*/ 229267 w 3346133"/>
                  <a:gd name="connsiteY44" fmla="*/ 163830 h 408241"/>
                  <a:gd name="connsiteX45" fmla="*/ 229267 w 3346133"/>
                  <a:gd name="connsiteY45" fmla="*/ 169926 h 408241"/>
                  <a:gd name="connsiteX46" fmla="*/ 237649 w 3346133"/>
                  <a:gd name="connsiteY46" fmla="*/ 169926 h 408241"/>
                  <a:gd name="connsiteX47" fmla="*/ 237649 w 3346133"/>
                  <a:gd name="connsiteY47" fmla="*/ 175927 h 408241"/>
                  <a:gd name="connsiteX48" fmla="*/ 246031 w 3346133"/>
                  <a:gd name="connsiteY48" fmla="*/ 175927 h 408241"/>
                  <a:gd name="connsiteX49" fmla="*/ 246031 w 3346133"/>
                  <a:gd name="connsiteY49" fmla="*/ 182023 h 408241"/>
                  <a:gd name="connsiteX50" fmla="*/ 250222 w 3346133"/>
                  <a:gd name="connsiteY50" fmla="*/ 182023 h 408241"/>
                  <a:gd name="connsiteX51" fmla="*/ 250222 w 3346133"/>
                  <a:gd name="connsiteY51" fmla="*/ 188119 h 408241"/>
                  <a:gd name="connsiteX52" fmla="*/ 323850 w 3346133"/>
                  <a:gd name="connsiteY52" fmla="*/ 188119 h 408241"/>
                  <a:gd name="connsiteX53" fmla="*/ 323850 w 3346133"/>
                  <a:gd name="connsiteY53" fmla="*/ 194119 h 408241"/>
                  <a:gd name="connsiteX54" fmla="*/ 344900 w 3346133"/>
                  <a:gd name="connsiteY54" fmla="*/ 194119 h 408241"/>
                  <a:gd name="connsiteX55" fmla="*/ 344900 w 3346133"/>
                  <a:gd name="connsiteY55" fmla="*/ 200215 h 408241"/>
                  <a:gd name="connsiteX56" fmla="*/ 351187 w 3346133"/>
                  <a:gd name="connsiteY56" fmla="*/ 200215 h 408241"/>
                  <a:gd name="connsiteX57" fmla="*/ 351187 w 3346133"/>
                  <a:gd name="connsiteY57" fmla="*/ 206311 h 408241"/>
                  <a:gd name="connsiteX58" fmla="*/ 393287 w 3346133"/>
                  <a:gd name="connsiteY58" fmla="*/ 206311 h 408241"/>
                  <a:gd name="connsiteX59" fmla="*/ 393287 w 3346133"/>
                  <a:gd name="connsiteY59" fmla="*/ 212312 h 408241"/>
                  <a:gd name="connsiteX60" fmla="*/ 407956 w 3346133"/>
                  <a:gd name="connsiteY60" fmla="*/ 212312 h 408241"/>
                  <a:gd name="connsiteX61" fmla="*/ 407956 w 3346133"/>
                  <a:gd name="connsiteY61" fmla="*/ 218408 h 408241"/>
                  <a:gd name="connsiteX62" fmla="*/ 437483 w 3346133"/>
                  <a:gd name="connsiteY62" fmla="*/ 218408 h 408241"/>
                  <a:gd name="connsiteX63" fmla="*/ 437483 w 3346133"/>
                  <a:gd name="connsiteY63" fmla="*/ 224504 h 408241"/>
                  <a:gd name="connsiteX64" fmla="*/ 439579 w 3346133"/>
                  <a:gd name="connsiteY64" fmla="*/ 224504 h 408241"/>
                  <a:gd name="connsiteX65" fmla="*/ 439579 w 3346133"/>
                  <a:gd name="connsiteY65" fmla="*/ 230505 h 408241"/>
                  <a:gd name="connsiteX66" fmla="*/ 462629 w 3346133"/>
                  <a:gd name="connsiteY66" fmla="*/ 230505 h 408241"/>
                  <a:gd name="connsiteX67" fmla="*/ 462629 w 3346133"/>
                  <a:gd name="connsiteY67" fmla="*/ 236601 h 408241"/>
                  <a:gd name="connsiteX68" fmla="*/ 475298 w 3346133"/>
                  <a:gd name="connsiteY68" fmla="*/ 236601 h 408241"/>
                  <a:gd name="connsiteX69" fmla="*/ 475298 w 3346133"/>
                  <a:gd name="connsiteY69" fmla="*/ 242697 h 408241"/>
                  <a:gd name="connsiteX70" fmla="*/ 511016 w 3346133"/>
                  <a:gd name="connsiteY70" fmla="*/ 242697 h 408241"/>
                  <a:gd name="connsiteX71" fmla="*/ 511016 w 3346133"/>
                  <a:gd name="connsiteY71" fmla="*/ 248793 h 408241"/>
                  <a:gd name="connsiteX72" fmla="*/ 626745 w 3346133"/>
                  <a:gd name="connsiteY72" fmla="*/ 248793 h 408241"/>
                  <a:gd name="connsiteX73" fmla="*/ 626745 w 3346133"/>
                  <a:gd name="connsiteY73" fmla="*/ 254794 h 408241"/>
                  <a:gd name="connsiteX74" fmla="*/ 664559 w 3346133"/>
                  <a:gd name="connsiteY74" fmla="*/ 254794 h 408241"/>
                  <a:gd name="connsiteX75" fmla="*/ 664559 w 3346133"/>
                  <a:gd name="connsiteY75" fmla="*/ 260985 h 408241"/>
                  <a:gd name="connsiteX76" fmla="*/ 717137 w 3346133"/>
                  <a:gd name="connsiteY76" fmla="*/ 260985 h 408241"/>
                  <a:gd name="connsiteX77" fmla="*/ 717137 w 3346133"/>
                  <a:gd name="connsiteY77" fmla="*/ 267081 h 408241"/>
                  <a:gd name="connsiteX78" fmla="*/ 736092 w 3346133"/>
                  <a:gd name="connsiteY78" fmla="*/ 267081 h 408241"/>
                  <a:gd name="connsiteX79" fmla="*/ 736092 w 3346133"/>
                  <a:gd name="connsiteY79" fmla="*/ 273177 h 408241"/>
                  <a:gd name="connsiteX80" fmla="*/ 746570 w 3346133"/>
                  <a:gd name="connsiteY80" fmla="*/ 273177 h 408241"/>
                  <a:gd name="connsiteX81" fmla="*/ 746570 w 3346133"/>
                  <a:gd name="connsiteY81" fmla="*/ 279368 h 408241"/>
                  <a:gd name="connsiteX82" fmla="*/ 780288 w 3346133"/>
                  <a:gd name="connsiteY82" fmla="*/ 279368 h 408241"/>
                  <a:gd name="connsiteX83" fmla="*/ 780288 w 3346133"/>
                  <a:gd name="connsiteY83" fmla="*/ 285464 h 408241"/>
                  <a:gd name="connsiteX84" fmla="*/ 786575 w 3346133"/>
                  <a:gd name="connsiteY84" fmla="*/ 285464 h 408241"/>
                  <a:gd name="connsiteX85" fmla="*/ 786575 w 3346133"/>
                  <a:gd name="connsiteY85" fmla="*/ 291560 h 408241"/>
                  <a:gd name="connsiteX86" fmla="*/ 801243 w 3346133"/>
                  <a:gd name="connsiteY86" fmla="*/ 291560 h 408241"/>
                  <a:gd name="connsiteX87" fmla="*/ 801243 w 3346133"/>
                  <a:gd name="connsiteY87" fmla="*/ 297656 h 408241"/>
                  <a:gd name="connsiteX88" fmla="*/ 813911 w 3346133"/>
                  <a:gd name="connsiteY88" fmla="*/ 297656 h 408241"/>
                  <a:gd name="connsiteX89" fmla="*/ 813911 w 3346133"/>
                  <a:gd name="connsiteY89" fmla="*/ 303847 h 408241"/>
                  <a:gd name="connsiteX90" fmla="*/ 839153 w 3346133"/>
                  <a:gd name="connsiteY90" fmla="*/ 303847 h 408241"/>
                  <a:gd name="connsiteX91" fmla="*/ 839153 w 3346133"/>
                  <a:gd name="connsiteY91" fmla="*/ 309943 h 408241"/>
                  <a:gd name="connsiteX92" fmla="*/ 1068419 w 3346133"/>
                  <a:gd name="connsiteY92" fmla="*/ 309943 h 408241"/>
                  <a:gd name="connsiteX93" fmla="*/ 1068419 w 3346133"/>
                  <a:gd name="connsiteY93" fmla="*/ 316135 h 408241"/>
                  <a:gd name="connsiteX94" fmla="*/ 1181957 w 3346133"/>
                  <a:gd name="connsiteY94" fmla="*/ 316135 h 408241"/>
                  <a:gd name="connsiteX95" fmla="*/ 1181957 w 3346133"/>
                  <a:gd name="connsiteY95" fmla="*/ 322326 h 408241"/>
                  <a:gd name="connsiteX96" fmla="*/ 1451134 w 3346133"/>
                  <a:gd name="connsiteY96" fmla="*/ 322326 h 408241"/>
                  <a:gd name="connsiteX97" fmla="*/ 1451134 w 3346133"/>
                  <a:gd name="connsiteY97" fmla="*/ 328612 h 408241"/>
                  <a:gd name="connsiteX98" fmla="*/ 1524762 w 3346133"/>
                  <a:gd name="connsiteY98" fmla="*/ 328612 h 408241"/>
                  <a:gd name="connsiteX99" fmla="*/ 1524762 w 3346133"/>
                  <a:gd name="connsiteY99" fmla="*/ 334899 h 408241"/>
                  <a:gd name="connsiteX100" fmla="*/ 1604677 w 3346133"/>
                  <a:gd name="connsiteY100" fmla="*/ 334899 h 408241"/>
                  <a:gd name="connsiteX101" fmla="*/ 1604677 w 3346133"/>
                  <a:gd name="connsiteY101" fmla="*/ 341185 h 408241"/>
                  <a:gd name="connsiteX102" fmla="*/ 1766602 w 3346133"/>
                  <a:gd name="connsiteY102" fmla="*/ 341185 h 408241"/>
                  <a:gd name="connsiteX103" fmla="*/ 1766602 w 3346133"/>
                  <a:gd name="connsiteY103" fmla="*/ 347662 h 408241"/>
                  <a:gd name="connsiteX104" fmla="*/ 1783461 w 3346133"/>
                  <a:gd name="connsiteY104" fmla="*/ 347662 h 408241"/>
                  <a:gd name="connsiteX105" fmla="*/ 1783461 w 3346133"/>
                  <a:gd name="connsiteY105" fmla="*/ 354044 h 408241"/>
                  <a:gd name="connsiteX106" fmla="*/ 1901285 w 3346133"/>
                  <a:gd name="connsiteY106" fmla="*/ 354044 h 408241"/>
                  <a:gd name="connsiteX107" fmla="*/ 1901285 w 3346133"/>
                  <a:gd name="connsiteY107" fmla="*/ 360521 h 408241"/>
                  <a:gd name="connsiteX108" fmla="*/ 1993773 w 3346133"/>
                  <a:gd name="connsiteY108" fmla="*/ 360521 h 408241"/>
                  <a:gd name="connsiteX109" fmla="*/ 1993773 w 3346133"/>
                  <a:gd name="connsiteY109" fmla="*/ 366903 h 408241"/>
                  <a:gd name="connsiteX110" fmla="*/ 2012728 w 3346133"/>
                  <a:gd name="connsiteY110" fmla="*/ 366903 h 408241"/>
                  <a:gd name="connsiteX111" fmla="*/ 2012728 w 3346133"/>
                  <a:gd name="connsiteY111" fmla="*/ 373380 h 408241"/>
                  <a:gd name="connsiteX112" fmla="*/ 2866549 w 3346133"/>
                  <a:gd name="connsiteY112" fmla="*/ 373380 h 408241"/>
                  <a:gd name="connsiteX113" fmla="*/ 2866549 w 3346133"/>
                  <a:gd name="connsiteY113" fmla="*/ 408241 h 408241"/>
                  <a:gd name="connsiteX114" fmla="*/ 3346133 w 3346133"/>
                  <a:gd name="connsiteY114" fmla="*/ 408241 h 408241"/>
                  <a:gd name="connsiteX0" fmla="*/ 0 w 3346133"/>
                  <a:gd name="connsiteY0" fmla="*/ 0 h 396049"/>
                  <a:gd name="connsiteX1" fmla="*/ 2096 w 3346133"/>
                  <a:gd name="connsiteY1" fmla="*/ 0 h 396049"/>
                  <a:gd name="connsiteX2" fmla="*/ 2096 w 3346133"/>
                  <a:gd name="connsiteY2" fmla="*/ 6001 h 396049"/>
                  <a:gd name="connsiteX3" fmla="*/ 8382 w 3346133"/>
                  <a:gd name="connsiteY3" fmla="*/ 6001 h 396049"/>
                  <a:gd name="connsiteX4" fmla="*/ 8382 w 3346133"/>
                  <a:gd name="connsiteY4" fmla="*/ 12097 h 396049"/>
                  <a:gd name="connsiteX5" fmla="*/ 12573 w 3346133"/>
                  <a:gd name="connsiteY5" fmla="*/ 12097 h 396049"/>
                  <a:gd name="connsiteX6" fmla="*/ 12573 w 3346133"/>
                  <a:gd name="connsiteY6" fmla="*/ 18193 h 396049"/>
                  <a:gd name="connsiteX7" fmla="*/ 29432 w 3346133"/>
                  <a:gd name="connsiteY7" fmla="*/ 18193 h 396049"/>
                  <a:gd name="connsiteX8" fmla="*/ 29432 w 3346133"/>
                  <a:gd name="connsiteY8" fmla="*/ 30289 h 396049"/>
                  <a:gd name="connsiteX9" fmla="*/ 33623 w 3346133"/>
                  <a:gd name="connsiteY9" fmla="*/ 30289 h 396049"/>
                  <a:gd name="connsiteX10" fmla="*/ 33623 w 3346133"/>
                  <a:gd name="connsiteY10" fmla="*/ 36385 h 396049"/>
                  <a:gd name="connsiteX11" fmla="*/ 56769 w 3346133"/>
                  <a:gd name="connsiteY11" fmla="*/ 36385 h 396049"/>
                  <a:gd name="connsiteX12" fmla="*/ 56769 w 3346133"/>
                  <a:gd name="connsiteY12" fmla="*/ 42481 h 396049"/>
                  <a:gd name="connsiteX13" fmla="*/ 60960 w 3346133"/>
                  <a:gd name="connsiteY13" fmla="*/ 42481 h 396049"/>
                  <a:gd name="connsiteX14" fmla="*/ 60960 w 3346133"/>
                  <a:gd name="connsiteY14" fmla="*/ 48482 h 396049"/>
                  <a:gd name="connsiteX15" fmla="*/ 67247 w 3346133"/>
                  <a:gd name="connsiteY15" fmla="*/ 48482 h 396049"/>
                  <a:gd name="connsiteX16" fmla="*/ 67247 w 3346133"/>
                  <a:gd name="connsiteY16" fmla="*/ 60674 h 396049"/>
                  <a:gd name="connsiteX17" fmla="*/ 86201 w 3346133"/>
                  <a:gd name="connsiteY17" fmla="*/ 60674 h 396049"/>
                  <a:gd name="connsiteX18" fmla="*/ 86201 w 3346133"/>
                  <a:gd name="connsiteY18" fmla="*/ 66675 h 396049"/>
                  <a:gd name="connsiteX19" fmla="*/ 94583 w 3346133"/>
                  <a:gd name="connsiteY19" fmla="*/ 66675 h 396049"/>
                  <a:gd name="connsiteX20" fmla="*/ 94583 w 3346133"/>
                  <a:gd name="connsiteY20" fmla="*/ 72771 h 396049"/>
                  <a:gd name="connsiteX21" fmla="*/ 107252 w 3346133"/>
                  <a:gd name="connsiteY21" fmla="*/ 72771 h 396049"/>
                  <a:gd name="connsiteX22" fmla="*/ 107252 w 3346133"/>
                  <a:gd name="connsiteY22" fmla="*/ 78867 h 396049"/>
                  <a:gd name="connsiteX23" fmla="*/ 124111 w 3346133"/>
                  <a:gd name="connsiteY23" fmla="*/ 78867 h 396049"/>
                  <a:gd name="connsiteX24" fmla="*/ 124111 w 3346133"/>
                  <a:gd name="connsiteY24" fmla="*/ 84868 h 396049"/>
                  <a:gd name="connsiteX25" fmla="*/ 151448 w 3346133"/>
                  <a:gd name="connsiteY25" fmla="*/ 84868 h 396049"/>
                  <a:gd name="connsiteX26" fmla="*/ 151448 w 3346133"/>
                  <a:gd name="connsiteY26" fmla="*/ 90964 h 396049"/>
                  <a:gd name="connsiteX27" fmla="*/ 153543 w 3346133"/>
                  <a:gd name="connsiteY27" fmla="*/ 90964 h 396049"/>
                  <a:gd name="connsiteX28" fmla="*/ 153543 w 3346133"/>
                  <a:gd name="connsiteY28" fmla="*/ 97060 h 396049"/>
                  <a:gd name="connsiteX29" fmla="*/ 164020 w 3346133"/>
                  <a:gd name="connsiteY29" fmla="*/ 97060 h 396049"/>
                  <a:gd name="connsiteX30" fmla="*/ 164020 w 3346133"/>
                  <a:gd name="connsiteY30" fmla="*/ 103060 h 396049"/>
                  <a:gd name="connsiteX31" fmla="*/ 170307 w 3346133"/>
                  <a:gd name="connsiteY31" fmla="*/ 103060 h 396049"/>
                  <a:gd name="connsiteX32" fmla="*/ 170307 w 3346133"/>
                  <a:gd name="connsiteY32" fmla="*/ 115252 h 396049"/>
                  <a:gd name="connsiteX33" fmla="*/ 178784 w 3346133"/>
                  <a:gd name="connsiteY33" fmla="*/ 115252 h 396049"/>
                  <a:gd name="connsiteX34" fmla="*/ 178784 w 3346133"/>
                  <a:gd name="connsiteY34" fmla="*/ 121253 h 396049"/>
                  <a:gd name="connsiteX35" fmla="*/ 185071 w 3346133"/>
                  <a:gd name="connsiteY35" fmla="*/ 121253 h 396049"/>
                  <a:gd name="connsiteX36" fmla="*/ 185071 w 3346133"/>
                  <a:gd name="connsiteY36" fmla="*/ 133445 h 396049"/>
                  <a:gd name="connsiteX37" fmla="*/ 187166 w 3346133"/>
                  <a:gd name="connsiteY37" fmla="*/ 133445 h 396049"/>
                  <a:gd name="connsiteX38" fmla="*/ 187166 w 3346133"/>
                  <a:gd name="connsiteY38" fmla="*/ 139541 h 396049"/>
                  <a:gd name="connsiteX39" fmla="*/ 199739 w 3346133"/>
                  <a:gd name="connsiteY39" fmla="*/ 139541 h 396049"/>
                  <a:gd name="connsiteX40" fmla="*/ 199739 w 3346133"/>
                  <a:gd name="connsiteY40" fmla="*/ 145542 h 396049"/>
                  <a:gd name="connsiteX41" fmla="*/ 222885 w 3346133"/>
                  <a:gd name="connsiteY41" fmla="*/ 145542 h 396049"/>
                  <a:gd name="connsiteX42" fmla="*/ 222885 w 3346133"/>
                  <a:gd name="connsiteY42" fmla="*/ 151638 h 396049"/>
                  <a:gd name="connsiteX43" fmla="*/ 229267 w 3346133"/>
                  <a:gd name="connsiteY43" fmla="*/ 151638 h 396049"/>
                  <a:gd name="connsiteX44" fmla="*/ 229267 w 3346133"/>
                  <a:gd name="connsiteY44" fmla="*/ 157734 h 396049"/>
                  <a:gd name="connsiteX45" fmla="*/ 237649 w 3346133"/>
                  <a:gd name="connsiteY45" fmla="*/ 157734 h 396049"/>
                  <a:gd name="connsiteX46" fmla="*/ 237649 w 3346133"/>
                  <a:gd name="connsiteY46" fmla="*/ 163735 h 396049"/>
                  <a:gd name="connsiteX47" fmla="*/ 246031 w 3346133"/>
                  <a:gd name="connsiteY47" fmla="*/ 163735 h 396049"/>
                  <a:gd name="connsiteX48" fmla="*/ 246031 w 3346133"/>
                  <a:gd name="connsiteY48" fmla="*/ 169831 h 396049"/>
                  <a:gd name="connsiteX49" fmla="*/ 250222 w 3346133"/>
                  <a:gd name="connsiteY49" fmla="*/ 169831 h 396049"/>
                  <a:gd name="connsiteX50" fmla="*/ 250222 w 3346133"/>
                  <a:gd name="connsiteY50" fmla="*/ 175927 h 396049"/>
                  <a:gd name="connsiteX51" fmla="*/ 323850 w 3346133"/>
                  <a:gd name="connsiteY51" fmla="*/ 175927 h 396049"/>
                  <a:gd name="connsiteX52" fmla="*/ 323850 w 3346133"/>
                  <a:gd name="connsiteY52" fmla="*/ 181927 h 396049"/>
                  <a:gd name="connsiteX53" fmla="*/ 344900 w 3346133"/>
                  <a:gd name="connsiteY53" fmla="*/ 181927 h 396049"/>
                  <a:gd name="connsiteX54" fmla="*/ 344900 w 3346133"/>
                  <a:gd name="connsiteY54" fmla="*/ 188023 h 396049"/>
                  <a:gd name="connsiteX55" fmla="*/ 351187 w 3346133"/>
                  <a:gd name="connsiteY55" fmla="*/ 188023 h 396049"/>
                  <a:gd name="connsiteX56" fmla="*/ 351187 w 3346133"/>
                  <a:gd name="connsiteY56" fmla="*/ 194119 h 396049"/>
                  <a:gd name="connsiteX57" fmla="*/ 393287 w 3346133"/>
                  <a:gd name="connsiteY57" fmla="*/ 194119 h 396049"/>
                  <a:gd name="connsiteX58" fmla="*/ 393287 w 3346133"/>
                  <a:gd name="connsiteY58" fmla="*/ 200120 h 396049"/>
                  <a:gd name="connsiteX59" fmla="*/ 407956 w 3346133"/>
                  <a:gd name="connsiteY59" fmla="*/ 200120 h 396049"/>
                  <a:gd name="connsiteX60" fmla="*/ 407956 w 3346133"/>
                  <a:gd name="connsiteY60" fmla="*/ 206216 h 396049"/>
                  <a:gd name="connsiteX61" fmla="*/ 437483 w 3346133"/>
                  <a:gd name="connsiteY61" fmla="*/ 206216 h 396049"/>
                  <a:gd name="connsiteX62" fmla="*/ 437483 w 3346133"/>
                  <a:gd name="connsiteY62" fmla="*/ 212312 h 396049"/>
                  <a:gd name="connsiteX63" fmla="*/ 439579 w 3346133"/>
                  <a:gd name="connsiteY63" fmla="*/ 212312 h 396049"/>
                  <a:gd name="connsiteX64" fmla="*/ 439579 w 3346133"/>
                  <a:gd name="connsiteY64" fmla="*/ 218313 h 396049"/>
                  <a:gd name="connsiteX65" fmla="*/ 462629 w 3346133"/>
                  <a:gd name="connsiteY65" fmla="*/ 218313 h 396049"/>
                  <a:gd name="connsiteX66" fmla="*/ 462629 w 3346133"/>
                  <a:gd name="connsiteY66" fmla="*/ 224409 h 396049"/>
                  <a:gd name="connsiteX67" fmla="*/ 475298 w 3346133"/>
                  <a:gd name="connsiteY67" fmla="*/ 224409 h 396049"/>
                  <a:gd name="connsiteX68" fmla="*/ 475298 w 3346133"/>
                  <a:gd name="connsiteY68" fmla="*/ 230505 h 396049"/>
                  <a:gd name="connsiteX69" fmla="*/ 511016 w 3346133"/>
                  <a:gd name="connsiteY69" fmla="*/ 230505 h 396049"/>
                  <a:gd name="connsiteX70" fmla="*/ 511016 w 3346133"/>
                  <a:gd name="connsiteY70" fmla="*/ 236601 h 396049"/>
                  <a:gd name="connsiteX71" fmla="*/ 626745 w 3346133"/>
                  <a:gd name="connsiteY71" fmla="*/ 236601 h 396049"/>
                  <a:gd name="connsiteX72" fmla="*/ 626745 w 3346133"/>
                  <a:gd name="connsiteY72" fmla="*/ 242602 h 396049"/>
                  <a:gd name="connsiteX73" fmla="*/ 664559 w 3346133"/>
                  <a:gd name="connsiteY73" fmla="*/ 242602 h 396049"/>
                  <a:gd name="connsiteX74" fmla="*/ 664559 w 3346133"/>
                  <a:gd name="connsiteY74" fmla="*/ 248793 h 396049"/>
                  <a:gd name="connsiteX75" fmla="*/ 717137 w 3346133"/>
                  <a:gd name="connsiteY75" fmla="*/ 248793 h 396049"/>
                  <a:gd name="connsiteX76" fmla="*/ 717137 w 3346133"/>
                  <a:gd name="connsiteY76" fmla="*/ 254889 h 396049"/>
                  <a:gd name="connsiteX77" fmla="*/ 736092 w 3346133"/>
                  <a:gd name="connsiteY77" fmla="*/ 254889 h 396049"/>
                  <a:gd name="connsiteX78" fmla="*/ 736092 w 3346133"/>
                  <a:gd name="connsiteY78" fmla="*/ 260985 h 396049"/>
                  <a:gd name="connsiteX79" fmla="*/ 746570 w 3346133"/>
                  <a:gd name="connsiteY79" fmla="*/ 260985 h 396049"/>
                  <a:gd name="connsiteX80" fmla="*/ 746570 w 3346133"/>
                  <a:gd name="connsiteY80" fmla="*/ 267176 h 396049"/>
                  <a:gd name="connsiteX81" fmla="*/ 780288 w 3346133"/>
                  <a:gd name="connsiteY81" fmla="*/ 267176 h 396049"/>
                  <a:gd name="connsiteX82" fmla="*/ 780288 w 3346133"/>
                  <a:gd name="connsiteY82" fmla="*/ 273272 h 396049"/>
                  <a:gd name="connsiteX83" fmla="*/ 786575 w 3346133"/>
                  <a:gd name="connsiteY83" fmla="*/ 273272 h 396049"/>
                  <a:gd name="connsiteX84" fmla="*/ 786575 w 3346133"/>
                  <a:gd name="connsiteY84" fmla="*/ 279368 h 396049"/>
                  <a:gd name="connsiteX85" fmla="*/ 801243 w 3346133"/>
                  <a:gd name="connsiteY85" fmla="*/ 279368 h 396049"/>
                  <a:gd name="connsiteX86" fmla="*/ 801243 w 3346133"/>
                  <a:gd name="connsiteY86" fmla="*/ 285464 h 396049"/>
                  <a:gd name="connsiteX87" fmla="*/ 813911 w 3346133"/>
                  <a:gd name="connsiteY87" fmla="*/ 285464 h 396049"/>
                  <a:gd name="connsiteX88" fmla="*/ 813911 w 3346133"/>
                  <a:gd name="connsiteY88" fmla="*/ 291655 h 396049"/>
                  <a:gd name="connsiteX89" fmla="*/ 839153 w 3346133"/>
                  <a:gd name="connsiteY89" fmla="*/ 291655 h 396049"/>
                  <a:gd name="connsiteX90" fmla="*/ 839153 w 3346133"/>
                  <a:gd name="connsiteY90" fmla="*/ 297751 h 396049"/>
                  <a:gd name="connsiteX91" fmla="*/ 1068419 w 3346133"/>
                  <a:gd name="connsiteY91" fmla="*/ 297751 h 396049"/>
                  <a:gd name="connsiteX92" fmla="*/ 1068419 w 3346133"/>
                  <a:gd name="connsiteY92" fmla="*/ 303943 h 396049"/>
                  <a:gd name="connsiteX93" fmla="*/ 1181957 w 3346133"/>
                  <a:gd name="connsiteY93" fmla="*/ 303943 h 396049"/>
                  <a:gd name="connsiteX94" fmla="*/ 1181957 w 3346133"/>
                  <a:gd name="connsiteY94" fmla="*/ 310134 h 396049"/>
                  <a:gd name="connsiteX95" fmla="*/ 1451134 w 3346133"/>
                  <a:gd name="connsiteY95" fmla="*/ 310134 h 396049"/>
                  <a:gd name="connsiteX96" fmla="*/ 1451134 w 3346133"/>
                  <a:gd name="connsiteY96" fmla="*/ 316420 h 396049"/>
                  <a:gd name="connsiteX97" fmla="*/ 1524762 w 3346133"/>
                  <a:gd name="connsiteY97" fmla="*/ 316420 h 396049"/>
                  <a:gd name="connsiteX98" fmla="*/ 1524762 w 3346133"/>
                  <a:gd name="connsiteY98" fmla="*/ 322707 h 396049"/>
                  <a:gd name="connsiteX99" fmla="*/ 1604677 w 3346133"/>
                  <a:gd name="connsiteY99" fmla="*/ 322707 h 396049"/>
                  <a:gd name="connsiteX100" fmla="*/ 1604677 w 3346133"/>
                  <a:gd name="connsiteY100" fmla="*/ 328993 h 396049"/>
                  <a:gd name="connsiteX101" fmla="*/ 1766602 w 3346133"/>
                  <a:gd name="connsiteY101" fmla="*/ 328993 h 396049"/>
                  <a:gd name="connsiteX102" fmla="*/ 1766602 w 3346133"/>
                  <a:gd name="connsiteY102" fmla="*/ 335470 h 396049"/>
                  <a:gd name="connsiteX103" fmla="*/ 1783461 w 3346133"/>
                  <a:gd name="connsiteY103" fmla="*/ 335470 h 396049"/>
                  <a:gd name="connsiteX104" fmla="*/ 1783461 w 3346133"/>
                  <a:gd name="connsiteY104" fmla="*/ 341852 h 396049"/>
                  <a:gd name="connsiteX105" fmla="*/ 1901285 w 3346133"/>
                  <a:gd name="connsiteY105" fmla="*/ 341852 h 396049"/>
                  <a:gd name="connsiteX106" fmla="*/ 1901285 w 3346133"/>
                  <a:gd name="connsiteY106" fmla="*/ 348329 h 396049"/>
                  <a:gd name="connsiteX107" fmla="*/ 1993773 w 3346133"/>
                  <a:gd name="connsiteY107" fmla="*/ 348329 h 396049"/>
                  <a:gd name="connsiteX108" fmla="*/ 1993773 w 3346133"/>
                  <a:gd name="connsiteY108" fmla="*/ 354711 h 396049"/>
                  <a:gd name="connsiteX109" fmla="*/ 2012728 w 3346133"/>
                  <a:gd name="connsiteY109" fmla="*/ 354711 h 396049"/>
                  <a:gd name="connsiteX110" fmla="*/ 2012728 w 3346133"/>
                  <a:gd name="connsiteY110" fmla="*/ 361188 h 396049"/>
                  <a:gd name="connsiteX111" fmla="*/ 2866549 w 3346133"/>
                  <a:gd name="connsiteY111" fmla="*/ 361188 h 396049"/>
                  <a:gd name="connsiteX112" fmla="*/ 2866549 w 3346133"/>
                  <a:gd name="connsiteY112" fmla="*/ 396049 h 396049"/>
                  <a:gd name="connsiteX113" fmla="*/ 3346133 w 3346133"/>
                  <a:gd name="connsiteY113" fmla="*/ 396049 h 396049"/>
                  <a:gd name="connsiteX0" fmla="*/ 0 w 3346133"/>
                  <a:gd name="connsiteY0" fmla="*/ 0 h 396049"/>
                  <a:gd name="connsiteX1" fmla="*/ 2096 w 3346133"/>
                  <a:gd name="connsiteY1" fmla="*/ 0 h 396049"/>
                  <a:gd name="connsiteX2" fmla="*/ 2096 w 3346133"/>
                  <a:gd name="connsiteY2" fmla="*/ 6001 h 396049"/>
                  <a:gd name="connsiteX3" fmla="*/ 8382 w 3346133"/>
                  <a:gd name="connsiteY3" fmla="*/ 12097 h 396049"/>
                  <a:gd name="connsiteX4" fmla="*/ 12573 w 3346133"/>
                  <a:gd name="connsiteY4" fmla="*/ 12097 h 396049"/>
                  <a:gd name="connsiteX5" fmla="*/ 12573 w 3346133"/>
                  <a:gd name="connsiteY5" fmla="*/ 18193 h 396049"/>
                  <a:gd name="connsiteX6" fmla="*/ 29432 w 3346133"/>
                  <a:gd name="connsiteY6" fmla="*/ 18193 h 396049"/>
                  <a:gd name="connsiteX7" fmla="*/ 29432 w 3346133"/>
                  <a:gd name="connsiteY7" fmla="*/ 30289 h 396049"/>
                  <a:gd name="connsiteX8" fmla="*/ 33623 w 3346133"/>
                  <a:gd name="connsiteY8" fmla="*/ 30289 h 396049"/>
                  <a:gd name="connsiteX9" fmla="*/ 33623 w 3346133"/>
                  <a:gd name="connsiteY9" fmla="*/ 36385 h 396049"/>
                  <a:gd name="connsiteX10" fmla="*/ 56769 w 3346133"/>
                  <a:gd name="connsiteY10" fmla="*/ 36385 h 396049"/>
                  <a:gd name="connsiteX11" fmla="*/ 56769 w 3346133"/>
                  <a:gd name="connsiteY11" fmla="*/ 42481 h 396049"/>
                  <a:gd name="connsiteX12" fmla="*/ 60960 w 3346133"/>
                  <a:gd name="connsiteY12" fmla="*/ 42481 h 396049"/>
                  <a:gd name="connsiteX13" fmla="*/ 60960 w 3346133"/>
                  <a:gd name="connsiteY13" fmla="*/ 48482 h 396049"/>
                  <a:gd name="connsiteX14" fmla="*/ 67247 w 3346133"/>
                  <a:gd name="connsiteY14" fmla="*/ 48482 h 396049"/>
                  <a:gd name="connsiteX15" fmla="*/ 67247 w 3346133"/>
                  <a:gd name="connsiteY15" fmla="*/ 60674 h 396049"/>
                  <a:gd name="connsiteX16" fmla="*/ 86201 w 3346133"/>
                  <a:gd name="connsiteY16" fmla="*/ 60674 h 396049"/>
                  <a:gd name="connsiteX17" fmla="*/ 86201 w 3346133"/>
                  <a:gd name="connsiteY17" fmla="*/ 66675 h 396049"/>
                  <a:gd name="connsiteX18" fmla="*/ 94583 w 3346133"/>
                  <a:gd name="connsiteY18" fmla="*/ 66675 h 396049"/>
                  <a:gd name="connsiteX19" fmla="*/ 94583 w 3346133"/>
                  <a:gd name="connsiteY19" fmla="*/ 72771 h 396049"/>
                  <a:gd name="connsiteX20" fmla="*/ 107252 w 3346133"/>
                  <a:gd name="connsiteY20" fmla="*/ 72771 h 396049"/>
                  <a:gd name="connsiteX21" fmla="*/ 107252 w 3346133"/>
                  <a:gd name="connsiteY21" fmla="*/ 78867 h 396049"/>
                  <a:gd name="connsiteX22" fmla="*/ 124111 w 3346133"/>
                  <a:gd name="connsiteY22" fmla="*/ 78867 h 396049"/>
                  <a:gd name="connsiteX23" fmla="*/ 124111 w 3346133"/>
                  <a:gd name="connsiteY23" fmla="*/ 84868 h 396049"/>
                  <a:gd name="connsiteX24" fmla="*/ 151448 w 3346133"/>
                  <a:gd name="connsiteY24" fmla="*/ 84868 h 396049"/>
                  <a:gd name="connsiteX25" fmla="*/ 151448 w 3346133"/>
                  <a:gd name="connsiteY25" fmla="*/ 90964 h 396049"/>
                  <a:gd name="connsiteX26" fmla="*/ 153543 w 3346133"/>
                  <a:gd name="connsiteY26" fmla="*/ 90964 h 396049"/>
                  <a:gd name="connsiteX27" fmla="*/ 153543 w 3346133"/>
                  <a:gd name="connsiteY27" fmla="*/ 97060 h 396049"/>
                  <a:gd name="connsiteX28" fmla="*/ 164020 w 3346133"/>
                  <a:gd name="connsiteY28" fmla="*/ 97060 h 396049"/>
                  <a:gd name="connsiteX29" fmla="*/ 164020 w 3346133"/>
                  <a:gd name="connsiteY29" fmla="*/ 103060 h 396049"/>
                  <a:gd name="connsiteX30" fmla="*/ 170307 w 3346133"/>
                  <a:gd name="connsiteY30" fmla="*/ 103060 h 396049"/>
                  <a:gd name="connsiteX31" fmla="*/ 170307 w 3346133"/>
                  <a:gd name="connsiteY31" fmla="*/ 115252 h 396049"/>
                  <a:gd name="connsiteX32" fmla="*/ 178784 w 3346133"/>
                  <a:gd name="connsiteY32" fmla="*/ 115252 h 396049"/>
                  <a:gd name="connsiteX33" fmla="*/ 178784 w 3346133"/>
                  <a:gd name="connsiteY33" fmla="*/ 121253 h 396049"/>
                  <a:gd name="connsiteX34" fmla="*/ 185071 w 3346133"/>
                  <a:gd name="connsiteY34" fmla="*/ 121253 h 396049"/>
                  <a:gd name="connsiteX35" fmla="*/ 185071 w 3346133"/>
                  <a:gd name="connsiteY35" fmla="*/ 133445 h 396049"/>
                  <a:gd name="connsiteX36" fmla="*/ 187166 w 3346133"/>
                  <a:gd name="connsiteY36" fmla="*/ 133445 h 396049"/>
                  <a:gd name="connsiteX37" fmla="*/ 187166 w 3346133"/>
                  <a:gd name="connsiteY37" fmla="*/ 139541 h 396049"/>
                  <a:gd name="connsiteX38" fmla="*/ 199739 w 3346133"/>
                  <a:gd name="connsiteY38" fmla="*/ 139541 h 396049"/>
                  <a:gd name="connsiteX39" fmla="*/ 199739 w 3346133"/>
                  <a:gd name="connsiteY39" fmla="*/ 145542 h 396049"/>
                  <a:gd name="connsiteX40" fmla="*/ 222885 w 3346133"/>
                  <a:gd name="connsiteY40" fmla="*/ 145542 h 396049"/>
                  <a:gd name="connsiteX41" fmla="*/ 222885 w 3346133"/>
                  <a:gd name="connsiteY41" fmla="*/ 151638 h 396049"/>
                  <a:gd name="connsiteX42" fmla="*/ 229267 w 3346133"/>
                  <a:gd name="connsiteY42" fmla="*/ 151638 h 396049"/>
                  <a:gd name="connsiteX43" fmla="*/ 229267 w 3346133"/>
                  <a:gd name="connsiteY43" fmla="*/ 157734 h 396049"/>
                  <a:gd name="connsiteX44" fmla="*/ 237649 w 3346133"/>
                  <a:gd name="connsiteY44" fmla="*/ 157734 h 396049"/>
                  <a:gd name="connsiteX45" fmla="*/ 237649 w 3346133"/>
                  <a:gd name="connsiteY45" fmla="*/ 163735 h 396049"/>
                  <a:gd name="connsiteX46" fmla="*/ 246031 w 3346133"/>
                  <a:gd name="connsiteY46" fmla="*/ 163735 h 396049"/>
                  <a:gd name="connsiteX47" fmla="*/ 246031 w 3346133"/>
                  <a:gd name="connsiteY47" fmla="*/ 169831 h 396049"/>
                  <a:gd name="connsiteX48" fmla="*/ 250222 w 3346133"/>
                  <a:gd name="connsiteY48" fmla="*/ 169831 h 396049"/>
                  <a:gd name="connsiteX49" fmla="*/ 250222 w 3346133"/>
                  <a:gd name="connsiteY49" fmla="*/ 175927 h 396049"/>
                  <a:gd name="connsiteX50" fmla="*/ 323850 w 3346133"/>
                  <a:gd name="connsiteY50" fmla="*/ 175927 h 396049"/>
                  <a:gd name="connsiteX51" fmla="*/ 323850 w 3346133"/>
                  <a:gd name="connsiteY51" fmla="*/ 181927 h 396049"/>
                  <a:gd name="connsiteX52" fmla="*/ 344900 w 3346133"/>
                  <a:gd name="connsiteY52" fmla="*/ 181927 h 396049"/>
                  <a:gd name="connsiteX53" fmla="*/ 344900 w 3346133"/>
                  <a:gd name="connsiteY53" fmla="*/ 188023 h 396049"/>
                  <a:gd name="connsiteX54" fmla="*/ 351187 w 3346133"/>
                  <a:gd name="connsiteY54" fmla="*/ 188023 h 396049"/>
                  <a:gd name="connsiteX55" fmla="*/ 351187 w 3346133"/>
                  <a:gd name="connsiteY55" fmla="*/ 194119 h 396049"/>
                  <a:gd name="connsiteX56" fmla="*/ 393287 w 3346133"/>
                  <a:gd name="connsiteY56" fmla="*/ 194119 h 396049"/>
                  <a:gd name="connsiteX57" fmla="*/ 393287 w 3346133"/>
                  <a:gd name="connsiteY57" fmla="*/ 200120 h 396049"/>
                  <a:gd name="connsiteX58" fmla="*/ 407956 w 3346133"/>
                  <a:gd name="connsiteY58" fmla="*/ 200120 h 396049"/>
                  <a:gd name="connsiteX59" fmla="*/ 407956 w 3346133"/>
                  <a:gd name="connsiteY59" fmla="*/ 206216 h 396049"/>
                  <a:gd name="connsiteX60" fmla="*/ 437483 w 3346133"/>
                  <a:gd name="connsiteY60" fmla="*/ 206216 h 396049"/>
                  <a:gd name="connsiteX61" fmla="*/ 437483 w 3346133"/>
                  <a:gd name="connsiteY61" fmla="*/ 212312 h 396049"/>
                  <a:gd name="connsiteX62" fmla="*/ 439579 w 3346133"/>
                  <a:gd name="connsiteY62" fmla="*/ 212312 h 396049"/>
                  <a:gd name="connsiteX63" fmla="*/ 439579 w 3346133"/>
                  <a:gd name="connsiteY63" fmla="*/ 218313 h 396049"/>
                  <a:gd name="connsiteX64" fmla="*/ 462629 w 3346133"/>
                  <a:gd name="connsiteY64" fmla="*/ 218313 h 396049"/>
                  <a:gd name="connsiteX65" fmla="*/ 462629 w 3346133"/>
                  <a:gd name="connsiteY65" fmla="*/ 224409 h 396049"/>
                  <a:gd name="connsiteX66" fmla="*/ 475298 w 3346133"/>
                  <a:gd name="connsiteY66" fmla="*/ 224409 h 396049"/>
                  <a:gd name="connsiteX67" fmla="*/ 475298 w 3346133"/>
                  <a:gd name="connsiteY67" fmla="*/ 230505 h 396049"/>
                  <a:gd name="connsiteX68" fmla="*/ 511016 w 3346133"/>
                  <a:gd name="connsiteY68" fmla="*/ 230505 h 396049"/>
                  <a:gd name="connsiteX69" fmla="*/ 511016 w 3346133"/>
                  <a:gd name="connsiteY69" fmla="*/ 236601 h 396049"/>
                  <a:gd name="connsiteX70" fmla="*/ 626745 w 3346133"/>
                  <a:gd name="connsiteY70" fmla="*/ 236601 h 396049"/>
                  <a:gd name="connsiteX71" fmla="*/ 626745 w 3346133"/>
                  <a:gd name="connsiteY71" fmla="*/ 242602 h 396049"/>
                  <a:gd name="connsiteX72" fmla="*/ 664559 w 3346133"/>
                  <a:gd name="connsiteY72" fmla="*/ 242602 h 396049"/>
                  <a:gd name="connsiteX73" fmla="*/ 664559 w 3346133"/>
                  <a:gd name="connsiteY73" fmla="*/ 248793 h 396049"/>
                  <a:gd name="connsiteX74" fmla="*/ 717137 w 3346133"/>
                  <a:gd name="connsiteY74" fmla="*/ 248793 h 396049"/>
                  <a:gd name="connsiteX75" fmla="*/ 717137 w 3346133"/>
                  <a:gd name="connsiteY75" fmla="*/ 254889 h 396049"/>
                  <a:gd name="connsiteX76" fmla="*/ 736092 w 3346133"/>
                  <a:gd name="connsiteY76" fmla="*/ 254889 h 396049"/>
                  <a:gd name="connsiteX77" fmla="*/ 736092 w 3346133"/>
                  <a:gd name="connsiteY77" fmla="*/ 260985 h 396049"/>
                  <a:gd name="connsiteX78" fmla="*/ 746570 w 3346133"/>
                  <a:gd name="connsiteY78" fmla="*/ 260985 h 396049"/>
                  <a:gd name="connsiteX79" fmla="*/ 746570 w 3346133"/>
                  <a:gd name="connsiteY79" fmla="*/ 267176 h 396049"/>
                  <a:gd name="connsiteX80" fmla="*/ 780288 w 3346133"/>
                  <a:gd name="connsiteY80" fmla="*/ 267176 h 396049"/>
                  <a:gd name="connsiteX81" fmla="*/ 780288 w 3346133"/>
                  <a:gd name="connsiteY81" fmla="*/ 273272 h 396049"/>
                  <a:gd name="connsiteX82" fmla="*/ 786575 w 3346133"/>
                  <a:gd name="connsiteY82" fmla="*/ 273272 h 396049"/>
                  <a:gd name="connsiteX83" fmla="*/ 786575 w 3346133"/>
                  <a:gd name="connsiteY83" fmla="*/ 279368 h 396049"/>
                  <a:gd name="connsiteX84" fmla="*/ 801243 w 3346133"/>
                  <a:gd name="connsiteY84" fmla="*/ 279368 h 396049"/>
                  <a:gd name="connsiteX85" fmla="*/ 801243 w 3346133"/>
                  <a:gd name="connsiteY85" fmla="*/ 285464 h 396049"/>
                  <a:gd name="connsiteX86" fmla="*/ 813911 w 3346133"/>
                  <a:gd name="connsiteY86" fmla="*/ 285464 h 396049"/>
                  <a:gd name="connsiteX87" fmla="*/ 813911 w 3346133"/>
                  <a:gd name="connsiteY87" fmla="*/ 291655 h 396049"/>
                  <a:gd name="connsiteX88" fmla="*/ 839153 w 3346133"/>
                  <a:gd name="connsiteY88" fmla="*/ 291655 h 396049"/>
                  <a:gd name="connsiteX89" fmla="*/ 839153 w 3346133"/>
                  <a:gd name="connsiteY89" fmla="*/ 297751 h 396049"/>
                  <a:gd name="connsiteX90" fmla="*/ 1068419 w 3346133"/>
                  <a:gd name="connsiteY90" fmla="*/ 297751 h 396049"/>
                  <a:gd name="connsiteX91" fmla="*/ 1068419 w 3346133"/>
                  <a:gd name="connsiteY91" fmla="*/ 303943 h 396049"/>
                  <a:gd name="connsiteX92" fmla="*/ 1181957 w 3346133"/>
                  <a:gd name="connsiteY92" fmla="*/ 303943 h 396049"/>
                  <a:gd name="connsiteX93" fmla="*/ 1181957 w 3346133"/>
                  <a:gd name="connsiteY93" fmla="*/ 310134 h 396049"/>
                  <a:gd name="connsiteX94" fmla="*/ 1451134 w 3346133"/>
                  <a:gd name="connsiteY94" fmla="*/ 310134 h 396049"/>
                  <a:gd name="connsiteX95" fmla="*/ 1451134 w 3346133"/>
                  <a:gd name="connsiteY95" fmla="*/ 316420 h 396049"/>
                  <a:gd name="connsiteX96" fmla="*/ 1524762 w 3346133"/>
                  <a:gd name="connsiteY96" fmla="*/ 316420 h 396049"/>
                  <a:gd name="connsiteX97" fmla="*/ 1524762 w 3346133"/>
                  <a:gd name="connsiteY97" fmla="*/ 322707 h 396049"/>
                  <a:gd name="connsiteX98" fmla="*/ 1604677 w 3346133"/>
                  <a:gd name="connsiteY98" fmla="*/ 322707 h 396049"/>
                  <a:gd name="connsiteX99" fmla="*/ 1604677 w 3346133"/>
                  <a:gd name="connsiteY99" fmla="*/ 328993 h 396049"/>
                  <a:gd name="connsiteX100" fmla="*/ 1766602 w 3346133"/>
                  <a:gd name="connsiteY100" fmla="*/ 328993 h 396049"/>
                  <a:gd name="connsiteX101" fmla="*/ 1766602 w 3346133"/>
                  <a:gd name="connsiteY101" fmla="*/ 335470 h 396049"/>
                  <a:gd name="connsiteX102" fmla="*/ 1783461 w 3346133"/>
                  <a:gd name="connsiteY102" fmla="*/ 335470 h 396049"/>
                  <a:gd name="connsiteX103" fmla="*/ 1783461 w 3346133"/>
                  <a:gd name="connsiteY103" fmla="*/ 341852 h 396049"/>
                  <a:gd name="connsiteX104" fmla="*/ 1901285 w 3346133"/>
                  <a:gd name="connsiteY104" fmla="*/ 341852 h 396049"/>
                  <a:gd name="connsiteX105" fmla="*/ 1901285 w 3346133"/>
                  <a:gd name="connsiteY105" fmla="*/ 348329 h 396049"/>
                  <a:gd name="connsiteX106" fmla="*/ 1993773 w 3346133"/>
                  <a:gd name="connsiteY106" fmla="*/ 348329 h 396049"/>
                  <a:gd name="connsiteX107" fmla="*/ 1993773 w 3346133"/>
                  <a:gd name="connsiteY107" fmla="*/ 354711 h 396049"/>
                  <a:gd name="connsiteX108" fmla="*/ 2012728 w 3346133"/>
                  <a:gd name="connsiteY108" fmla="*/ 354711 h 396049"/>
                  <a:gd name="connsiteX109" fmla="*/ 2012728 w 3346133"/>
                  <a:gd name="connsiteY109" fmla="*/ 361188 h 396049"/>
                  <a:gd name="connsiteX110" fmla="*/ 2866549 w 3346133"/>
                  <a:gd name="connsiteY110" fmla="*/ 361188 h 396049"/>
                  <a:gd name="connsiteX111" fmla="*/ 2866549 w 3346133"/>
                  <a:gd name="connsiteY111" fmla="*/ 396049 h 396049"/>
                  <a:gd name="connsiteX112" fmla="*/ 3346133 w 3346133"/>
                  <a:gd name="connsiteY112" fmla="*/ 396049 h 396049"/>
                  <a:gd name="connsiteX0" fmla="*/ 0 w 3346133"/>
                  <a:gd name="connsiteY0" fmla="*/ 0 h 396049"/>
                  <a:gd name="connsiteX1" fmla="*/ 2096 w 3346133"/>
                  <a:gd name="connsiteY1" fmla="*/ 0 h 396049"/>
                  <a:gd name="connsiteX2" fmla="*/ 8382 w 3346133"/>
                  <a:gd name="connsiteY2" fmla="*/ 12097 h 396049"/>
                  <a:gd name="connsiteX3" fmla="*/ 12573 w 3346133"/>
                  <a:gd name="connsiteY3" fmla="*/ 12097 h 396049"/>
                  <a:gd name="connsiteX4" fmla="*/ 12573 w 3346133"/>
                  <a:gd name="connsiteY4" fmla="*/ 18193 h 396049"/>
                  <a:gd name="connsiteX5" fmla="*/ 29432 w 3346133"/>
                  <a:gd name="connsiteY5" fmla="*/ 18193 h 396049"/>
                  <a:gd name="connsiteX6" fmla="*/ 29432 w 3346133"/>
                  <a:gd name="connsiteY6" fmla="*/ 30289 h 396049"/>
                  <a:gd name="connsiteX7" fmla="*/ 33623 w 3346133"/>
                  <a:gd name="connsiteY7" fmla="*/ 30289 h 396049"/>
                  <a:gd name="connsiteX8" fmla="*/ 33623 w 3346133"/>
                  <a:gd name="connsiteY8" fmla="*/ 36385 h 396049"/>
                  <a:gd name="connsiteX9" fmla="*/ 56769 w 3346133"/>
                  <a:gd name="connsiteY9" fmla="*/ 36385 h 396049"/>
                  <a:gd name="connsiteX10" fmla="*/ 56769 w 3346133"/>
                  <a:gd name="connsiteY10" fmla="*/ 42481 h 396049"/>
                  <a:gd name="connsiteX11" fmla="*/ 60960 w 3346133"/>
                  <a:gd name="connsiteY11" fmla="*/ 42481 h 396049"/>
                  <a:gd name="connsiteX12" fmla="*/ 60960 w 3346133"/>
                  <a:gd name="connsiteY12" fmla="*/ 48482 h 396049"/>
                  <a:gd name="connsiteX13" fmla="*/ 67247 w 3346133"/>
                  <a:gd name="connsiteY13" fmla="*/ 48482 h 396049"/>
                  <a:gd name="connsiteX14" fmla="*/ 67247 w 3346133"/>
                  <a:gd name="connsiteY14" fmla="*/ 60674 h 396049"/>
                  <a:gd name="connsiteX15" fmla="*/ 86201 w 3346133"/>
                  <a:gd name="connsiteY15" fmla="*/ 60674 h 396049"/>
                  <a:gd name="connsiteX16" fmla="*/ 86201 w 3346133"/>
                  <a:gd name="connsiteY16" fmla="*/ 66675 h 396049"/>
                  <a:gd name="connsiteX17" fmla="*/ 94583 w 3346133"/>
                  <a:gd name="connsiteY17" fmla="*/ 66675 h 396049"/>
                  <a:gd name="connsiteX18" fmla="*/ 94583 w 3346133"/>
                  <a:gd name="connsiteY18" fmla="*/ 72771 h 396049"/>
                  <a:gd name="connsiteX19" fmla="*/ 107252 w 3346133"/>
                  <a:gd name="connsiteY19" fmla="*/ 72771 h 396049"/>
                  <a:gd name="connsiteX20" fmla="*/ 107252 w 3346133"/>
                  <a:gd name="connsiteY20" fmla="*/ 78867 h 396049"/>
                  <a:gd name="connsiteX21" fmla="*/ 124111 w 3346133"/>
                  <a:gd name="connsiteY21" fmla="*/ 78867 h 396049"/>
                  <a:gd name="connsiteX22" fmla="*/ 124111 w 3346133"/>
                  <a:gd name="connsiteY22" fmla="*/ 84868 h 396049"/>
                  <a:gd name="connsiteX23" fmla="*/ 151448 w 3346133"/>
                  <a:gd name="connsiteY23" fmla="*/ 84868 h 396049"/>
                  <a:gd name="connsiteX24" fmla="*/ 151448 w 3346133"/>
                  <a:gd name="connsiteY24" fmla="*/ 90964 h 396049"/>
                  <a:gd name="connsiteX25" fmla="*/ 153543 w 3346133"/>
                  <a:gd name="connsiteY25" fmla="*/ 90964 h 396049"/>
                  <a:gd name="connsiteX26" fmla="*/ 153543 w 3346133"/>
                  <a:gd name="connsiteY26" fmla="*/ 97060 h 396049"/>
                  <a:gd name="connsiteX27" fmla="*/ 164020 w 3346133"/>
                  <a:gd name="connsiteY27" fmla="*/ 97060 h 396049"/>
                  <a:gd name="connsiteX28" fmla="*/ 164020 w 3346133"/>
                  <a:gd name="connsiteY28" fmla="*/ 103060 h 396049"/>
                  <a:gd name="connsiteX29" fmla="*/ 170307 w 3346133"/>
                  <a:gd name="connsiteY29" fmla="*/ 103060 h 396049"/>
                  <a:gd name="connsiteX30" fmla="*/ 170307 w 3346133"/>
                  <a:gd name="connsiteY30" fmla="*/ 115252 h 396049"/>
                  <a:gd name="connsiteX31" fmla="*/ 178784 w 3346133"/>
                  <a:gd name="connsiteY31" fmla="*/ 115252 h 396049"/>
                  <a:gd name="connsiteX32" fmla="*/ 178784 w 3346133"/>
                  <a:gd name="connsiteY32" fmla="*/ 121253 h 396049"/>
                  <a:gd name="connsiteX33" fmla="*/ 185071 w 3346133"/>
                  <a:gd name="connsiteY33" fmla="*/ 121253 h 396049"/>
                  <a:gd name="connsiteX34" fmla="*/ 185071 w 3346133"/>
                  <a:gd name="connsiteY34" fmla="*/ 133445 h 396049"/>
                  <a:gd name="connsiteX35" fmla="*/ 187166 w 3346133"/>
                  <a:gd name="connsiteY35" fmla="*/ 133445 h 396049"/>
                  <a:gd name="connsiteX36" fmla="*/ 187166 w 3346133"/>
                  <a:gd name="connsiteY36" fmla="*/ 139541 h 396049"/>
                  <a:gd name="connsiteX37" fmla="*/ 199739 w 3346133"/>
                  <a:gd name="connsiteY37" fmla="*/ 139541 h 396049"/>
                  <a:gd name="connsiteX38" fmla="*/ 199739 w 3346133"/>
                  <a:gd name="connsiteY38" fmla="*/ 145542 h 396049"/>
                  <a:gd name="connsiteX39" fmla="*/ 222885 w 3346133"/>
                  <a:gd name="connsiteY39" fmla="*/ 145542 h 396049"/>
                  <a:gd name="connsiteX40" fmla="*/ 222885 w 3346133"/>
                  <a:gd name="connsiteY40" fmla="*/ 151638 h 396049"/>
                  <a:gd name="connsiteX41" fmla="*/ 229267 w 3346133"/>
                  <a:gd name="connsiteY41" fmla="*/ 151638 h 396049"/>
                  <a:gd name="connsiteX42" fmla="*/ 229267 w 3346133"/>
                  <a:gd name="connsiteY42" fmla="*/ 157734 h 396049"/>
                  <a:gd name="connsiteX43" fmla="*/ 237649 w 3346133"/>
                  <a:gd name="connsiteY43" fmla="*/ 157734 h 396049"/>
                  <a:gd name="connsiteX44" fmla="*/ 237649 w 3346133"/>
                  <a:gd name="connsiteY44" fmla="*/ 163735 h 396049"/>
                  <a:gd name="connsiteX45" fmla="*/ 246031 w 3346133"/>
                  <a:gd name="connsiteY45" fmla="*/ 163735 h 396049"/>
                  <a:gd name="connsiteX46" fmla="*/ 246031 w 3346133"/>
                  <a:gd name="connsiteY46" fmla="*/ 169831 h 396049"/>
                  <a:gd name="connsiteX47" fmla="*/ 250222 w 3346133"/>
                  <a:gd name="connsiteY47" fmla="*/ 169831 h 396049"/>
                  <a:gd name="connsiteX48" fmla="*/ 250222 w 3346133"/>
                  <a:gd name="connsiteY48" fmla="*/ 175927 h 396049"/>
                  <a:gd name="connsiteX49" fmla="*/ 323850 w 3346133"/>
                  <a:gd name="connsiteY49" fmla="*/ 175927 h 396049"/>
                  <a:gd name="connsiteX50" fmla="*/ 323850 w 3346133"/>
                  <a:gd name="connsiteY50" fmla="*/ 181927 h 396049"/>
                  <a:gd name="connsiteX51" fmla="*/ 344900 w 3346133"/>
                  <a:gd name="connsiteY51" fmla="*/ 181927 h 396049"/>
                  <a:gd name="connsiteX52" fmla="*/ 344900 w 3346133"/>
                  <a:gd name="connsiteY52" fmla="*/ 188023 h 396049"/>
                  <a:gd name="connsiteX53" fmla="*/ 351187 w 3346133"/>
                  <a:gd name="connsiteY53" fmla="*/ 188023 h 396049"/>
                  <a:gd name="connsiteX54" fmla="*/ 351187 w 3346133"/>
                  <a:gd name="connsiteY54" fmla="*/ 194119 h 396049"/>
                  <a:gd name="connsiteX55" fmla="*/ 393287 w 3346133"/>
                  <a:gd name="connsiteY55" fmla="*/ 194119 h 396049"/>
                  <a:gd name="connsiteX56" fmla="*/ 393287 w 3346133"/>
                  <a:gd name="connsiteY56" fmla="*/ 200120 h 396049"/>
                  <a:gd name="connsiteX57" fmla="*/ 407956 w 3346133"/>
                  <a:gd name="connsiteY57" fmla="*/ 200120 h 396049"/>
                  <a:gd name="connsiteX58" fmla="*/ 407956 w 3346133"/>
                  <a:gd name="connsiteY58" fmla="*/ 206216 h 396049"/>
                  <a:gd name="connsiteX59" fmla="*/ 437483 w 3346133"/>
                  <a:gd name="connsiteY59" fmla="*/ 206216 h 396049"/>
                  <a:gd name="connsiteX60" fmla="*/ 437483 w 3346133"/>
                  <a:gd name="connsiteY60" fmla="*/ 212312 h 396049"/>
                  <a:gd name="connsiteX61" fmla="*/ 439579 w 3346133"/>
                  <a:gd name="connsiteY61" fmla="*/ 212312 h 396049"/>
                  <a:gd name="connsiteX62" fmla="*/ 439579 w 3346133"/>
                  <a:gd name="connsiteY62" fmla="*/ 218313 h 396049"/>
                  <a:gd name="connsiteX63" fmla="*/ 462629 w 3346133"/>
                  <a:gd name="connsiteY63" fmla="*/ 218313 h 396049"/>
                  <a:gd name="connsiteX64" fmla="*/ 462629 w 3346133"/>
                  <a:gd name="connsiteY64" fmla="*/ 224409 h 396049"/>
                  <a:gd name="connsiteX65" fmla="*/ 475298 w 3346133"/>
                  <a:gd name="connsiteY65" fmla="*/ 224409 h 396049"/>
                  <a:gd name="connsiteX66" fmla="*/ 475298 w 3346133"/>
                  <a:gd name="connsiteY66" fmla="*/ 230505 h 396049"/>
                  <a:gd name="connsiteX67" fmla="*/ 511016 w 3346133"/>
                  <a:gd name="connsiteY67" fmla="*/ 230505 h 396049"/>
                  <a:gd name="connsiteX68" fmla="*/ 511016 w 3346133"/>
                  <a:gd name="connsiteY68" fmla="*/ 236601 h 396049"/>
                  <a:gd name="connsiteX69" fmla="*/ 626745 w 3346133"/>
                  <a:gd name="connsiteY69" fmla="*/ 236601 h 396049"/>
                  <a:gd name="connsiteX70" fmla="*/ 626745 w 3346133"/>
                  <a:gd name="connsiteY70" fmla="*/ 242602 h 396049"/>
                  <a:gd name="connsiteX71" fmla="*/ 664559 w 3346133"/>
                  <a:gd name="connsiteY71" fmla="*/ 242602 h 396049"/>
                  <a:gd name="connsiteX72" fmla="*/ 664559 w 3346133"/>
                  <a:gd name="connsiteY72" fmla="*/ 248793 h 396049"/>
                  <a:gd name="connsiteX73" fmla="*/ 717137 w 3346133"/>
                  <a:gd name="connsiteY73" fmla="*/ 248793 h 396049"/>
                  <a:gd name="connsiteX74" fmla="*/ 717137 w 3346133"/>
                  <a:gd name="connsiteY74" fmla="*/ 254889 h 396049"/>
                  <a:gd name="connsiteX75" fmla="*/ 736092 w 3346133"/>
                  <a:gd name="connsiteY75" fmla="*/ 254889 h 396049"/>
                  <a:gd name="connsiteX76" fmla="*/ 736092 w 3346133"/>
                  <a:gd name="connsiteY76" fmla="*/ 260985 h 396049"/>
                  <a:gd name="connsiteX77" fmla="*/ 746570 w 3346133"/>
                  <a:gd name="connsiteY77" fmla="*/ 260985 h 396049"/>
                  <a:gd name="connsiteX78" fmla="*/ 746570 w 3346133"/>
                  <a:gd name="connsiteY78" fmla="*/ 267176 h 396049"/>
                  <a:gd name="connsiteX79" fmla="*/ 780288 w 3346133"/>
                  <a:gd name="connsiteY79" fmla="*/ 267176 h 396049"/>
                  <a:gd name="connsiteX80" fmla="*/ 780288 w 3346133"/>
                  <a:gd name="connsiteY80" fmla="*/ 273272 h 396049"/>
                  <a:gd name="connsiteX81" fmla="*/ 786575 w 3346133"/>
                  <a:gd name="connsiteY81" fmla="*/ 273272 h 396049"/>
                  <a:gd name="connsiteX82" fmla="*/ 786575 w 3346133"/>
                  <a:gd name="connsiteY82" fmla="*/ 279368 h 396049"/>
                  <a:gd name="connsiteX83" fmla="*/ 801243 w 3346133"/>
                  <a:gd name="connsiteY83" fmla="*/ 279368 h 396049"/>
                  <a:gd name="connsiteX84" fmla="*/ 801243 w 3346133"/>
                  <a:gd name="connsiteY84" fmla="*/ 285464 h 396049"/>
                  <a:gd name="connsiteX85" fmla="*/ 813911 w 3346133"/>
                  <a:gd name="connsiteY85" fmla="*/ 285464 h 396049"/>
                  <a:gd name="connsiteX86" fmla="*/ 813911 w 3346133"/>
                  <a:gd name="connsiteY86" fmla="*/ 291655 h 396049"/>
                  <a:gd name="connsiteX87" fmla="*/ 839153 w 3346133"/>
                  <a:gd name="connsiteY87" fmla="*/ 291655 h 396049"/>
                  <a:gd name="connsiteX88" fmla="*/ 839153 w 3346133"/>
                  <a:gd name="connsiteY88" fmla="*/ 297751 h 396049"/>
                  <a:gd name="connsiteX89" fmla="*/ 1068419 w 3346133"/>
                  <a:gd name="connsiteY89" fmla="*/ 297751 h 396049"/>
                  <a:gd name="connsiteX90" fmla="*/ 1068419 w 3346133"/>
                  <a:gd name="connsiteY90" fmla="*/ 303943 h 396049"/>
                  <a:gd name="connsiteX91" fmla="*/ 1181957 w 3346133"/>
                  <a:gd name="connsiteY91" fmla="*/ 303943 h 396049"/>
                  <a:gd name="connsiteX92" fmla="*/ 1181957 w 3346133"/>
                  <a:gd name="connsiteY92" fmla="*/ 310134 h 396049"/>
                  <a:gd name="connsiteX93" fmla="*/ 1451134 w 3346133"/>
                  <a:gd name="connsiteY93" fmla="*/ 310134 h 396049"/>
                  <a:gd name="connsiteX94" fmla="*/ 1451134 w 3346133"/>
                  <a:gd name="connsiteY94" fmla="*/ 316420 h 396049"/>
                  <a:gd name="connsiteX95" fmla="*/ 1524762 w 3346133"/>
                  <a:gd name="connsiteY95" fmla="*/ 316420 h 396049"/>
                  <a:gd name="connsiteX96" fmla="*/ 1524762 w 3346133"/>
                  <a:gd name="connsiteY96" fmla="*/ 322707 h 396049"/>
                  <a:gd name="connsiteX97" fmla="*/ 1604677 w 3346133"/>
                  <a:gd name="connsiteY97" fmla="*/ 322707 h 396049"/>
                  <a:gd name="connsiteX98" fmla="*/ 1604677 w 3346133"/>
                  <a:gd name="connsiteY98" fmla="*/ 328993 h 396049"/>
                  <a:gd name="connsiteX99" fmla="*/ 1766602 w 3346133"/>
                  <a:gd name="connsiteY99" fmla="*/ 328993 h 396049"/>
                  <a:gd name="connsiteX100" fmla="*/ 1766602 w 3346133"/>
                  <a:gd name="connsiteY100" fmla="*/ 335470 h 396049"/>
                  <a:gd name="connsiteX101" fmla="*/ 1783461 w 3346133"/>
                  <a:gd name="connsiteY101" fmla="*/ 335470 h 396049"/>
                  <a:gd name="connsiteX102" fmla="*/ 1783461 w 3346133"/>
                  <a:gd name="connsiteY102" fmla="*/ 341852 h 396049"/>
                  <a:gd name="connsiteX103" fmla="*/ 1901285 w 3346133"/>
                  <a:gd name="connsiteY103" fmla="*/ 341852 h 396049"/>
                  <a:gd name="connsiteX104" fmla="*/ 1901285 w 3346133"/>
                  <a:gd name="connsiteY104" fmla="*/ 348329 h 396049"/>
                  <a:gd name="connsiteX105" fmla="*/ 1993773 w 3346133"/>
                  <a:gd name="connsiteY105" fmla="*/ 348329 h 396049"/>
                  <a:gd name="connsiteX106" fmla="*/ 1993773 w 3346133"/>
                  <a:gd name="connsiteY106" fmla="*/ 354711 h 396049"/>
                  <a:gd name="connsiteX107" fmla="*/ 2012728 w 3346133"/>
                  <a:gd name="connsiteY107" fmla="*/ 354711 h 396049"/>
                  <a:gd name="connsiteX108" fmla="*/ 2012728 w 3346133"/>
                  <a:gd name="connsiteY108" fmla="*/ 361188 h 396049"/>
                  <a:gd name="connsiteX109" fmla="*/ 2866549 w 3346133"/>
                  <a:gd name="connsiteY109" fmla="*/ 361188 h 396049"/>
                  <a:gd name="connsiteX110" fmla="*/ 2866549 w 3346133"/>
                  <a:gd name="connsiteY110" fmla="*/ 396049 h 396049"/>
                  <a:gd name="connsiteX111" fmla="*/ 3346133 w 3346133"/>
                  <a:gd name="connsiteY111" fmla="*/ 396049 h 396049"/>
                  <a:gd name="connsiteX0" fmla="*/ 0 w 3346133"/>
                  <a:gd name="connsiteY0" fmla="*/ 0 h 396049"/>
                  <a:gd name="connsiteX1" fmla="*/ 8382 w 3346133"/>
                  <a:gd name="connsiteY1" fmla="*/ 12097 h 396049"/>
                  <a:gd name="connsiteX2" fmla="*/ 12573 w 3346133"/>
                  <a:gd name="connsiteY2" fmla="*/ 12097 h 396049"/>
                  <a:gd name="connsiteX3" fmla="*/ 12573 w 3346133"/>
                  <a:gd name="connsiteY3" fmla="*/ 18193 h 396049"/>
                  <a:gd name="connsiteX4" fmla="*/ 29432 w 3346133"/>
                  <a:gd name="connsiteY4" fmla="*/ 18193 h 396049"/>
                  <a:gd name="connsiteX5" fmla="*/ 29432 w 3346133"/>
                  <a:gd name="connsiteY5" fmla="*/ 30289 h 396049"/>
                  <a:gd name="connsiteX6" fmla="*/ 33623 w 3346133"/>
                  <a:gd name="connsiteY6" fmla="*/ 30289 h 396049"/>
                  <a:gd name="connsiteX7" fmla="*/ 33623 w 3346133"/>
                  <a:gd name="connsiteY7" fmla="*/ 36385 h 396049"/>
                  <a:gd name="connsiteX8" fmla="*/ 56769 w 3346133"/>
                  <a:gd name="connsiteY8" fmla="*/ 36385 h 396049"/>
                  <a:gd name="connsiteX9" fmla="*/ 56769 w 3346133"/>
                  <a:gd name="connsiteY9" fmla="*/ 42481 h 396049"/>
                  <a:gd name="connsiteX10" fmla="*/ 60960 w 3346133"/>
                  <a:gd name="connsiteY10" fmla="*/ 42481 h 396049"/>
                  <a:gd name="connsiteX11" fmla="*/ 60960 w 3346133"/>
                  <a:gd name="connsiteY11" fmla="*/ 48482 h 396049"/>
                  <a:gd name="connsiteX12" fmla="*/ 67247 w 3346133"/>
                  <a:gd name="connsiteY12" fmla="*/ 48482 h 396049"/>
                  <a:gd name="connsiteX13" fmla="*/ 67247 w 3346133"/>
                  <a:gd name="connsiteY13" fmla="*/ 60674 h 396049"/>
                  <a:gd name="connsiteX14" fmla="*/ 86201 w 3346133"/>
                  <a:gd name="connsiteY14" fmla="*/ 60674 h 396049"/>
                  <a:gd name="connsiteX15" fmla="*/ 86201 w 3346133"/>
                  <a:gd name="connsiteY15" fmla="*/ 66675 h 396049"/>
                  <a:gd name="connsiteX16" fmla="*/ 94583 w 3346133"/>
                  <a:gd name="connsiteY16" fmla="*/ 66675 h 396049"/>
                  <a:gd name="connsiteX17" fmla="*/ 94583 w 3346133"/>
                  <a:gd name="connsiteY17" fmla="*/ 72771 h 396049"/>
                  <a:gd name="connsiteX18" fmla="*/ 107252 w 3346133"/>
                  <a:gd name="connsiteY18" fmla="*/ 72771 h 396049"/>
                  <a:gd name="connsiteX19" fmla="*/ 107252 w 3346133"/>
                  <a:gd name="connsiteY19" fmla="*/ 78867 h 396049"/>
                  <a:gd name="connsiteX20" fmla="*/ 124111 w 3346133"/>
                  <a:gd name="connsiteY20" fmla="*/ 78867 h 396049"/>
                  <a:gd name="connsiteX21" fmla="*/ 124111 w 3346133"/>
                  <a:gd name="connsiteY21" fmla="*/ 84868 h 396049"/>
                  <a:gd name="connsiteX22" fmla="*/ 151448 w 3346133"/>
                  <a:gd name="connsiteY22" fmla="*/ 84868 h 396049"/>
                  <a:gd name="connsiteX23" fmla="*/ 151448 w 3346133"/>
                  <a:gd name="connsiteY23" fmla="*/ 90964 h 396049"/>
                  <a:gd name="connsiteX24" fmla="*/ 153543 w 3346133"/>
                  <a:gd name="connsiteY24" fmla="*/ 90964 h 396049"/>
                  <a:gd name="connsiteX25" fmla="*/ 153543 w 3346133"/>
                  <a:gd name="connsiteY25" fmla="*/ 97060 h 396049"/>
                  <a:gd name="connsiteX26" fmla="*/ 164020 w 3346133"/>
                  <a:gd name="connsiteY26" fmla="*/ 97060 h 396049"/>
                  <a:gd name="connsiteX27" fmla="*/ 164020 w 3346133"/>
                  <a:gd name="connsiteY27" fmla="*/ 103060 h 396049"/>
                  <a:gd name="connsiteX28" fmla="*/ 170307 w 3346133"/>
                  <a:gd name="connsiteY28" fmla="*/ 103060 h 396049"/>
                  <a:gd name="connsiteX29" fmla="*/ 170307 w 3346133"/>
                  <a:gd name="connsiteY29" fmla="*/ 115252 h 396049"/>
                  <a:gd name="connsiteX30" fmla="*/ 178784 w 3346133"/>
                  <a:gd name="connsiteY30" fmla="*/ 115252 h 396049"/>
                  <a:gd name="connsiteX31" fmla="*/ 178784 w 3346133"/>
                  <a:gd name="connsiteY31" fmla="*/ 121253 h 396049"/>
                  <a:gd name="connsiteX32" fmla="*/ 185071 w 3346133"/>
                  <a:gd name="connsiteY32" fmla="*/ 121253 h 396049"/>
                  <a:gd name="connsiteX33" fmla="*/ 185071 w 3346133"/>
                  <a:gd name="connsiteY33" fmla="*/ 133445 h 396049"/>
                  <a:gd name="connsiteX34" fmla="*/ 187166 w 3346133"/>
                  <a:gd name="connsiteY34" fmla="*/ 133445 h 396049"/>
                  <a:gd name="connsiteX35" fmla="*/ 187166 w 3346133"/>
                  <a:gd name="connsiteY35" fmla="*/ 139541 h 396049"/>
                  <a:gd name="connsiteX36" fmla="*/ 199739 w 3346133"/>
                  <a:gd name="connsiteY36" fmla="*/ 139541 h 396049"/>
                  <a:gd name="connsiteX37" fmla="*/ 199739 w 3346133"/>
                  <a:gd name="connsiteY37" fmla="*/ 145542 h 396049"/>
                  <a:gd name="connsiteX38" fmla="*/ 222885 w 3346133"/>
                  <a:gd name="connsiteY38" fmla="*/ 145542 h 396049"/>
                  <a:gd name="connsiteX39" fmla="*/ 222885 w 3346133"/>
                  <a:gd name="connsiteY39" fmla="*/ 151638 h 396049"/>
                  <a:gd name="connsiteX40" fmla="*/ 229267 w 3346133"/>
                  <a:gd name="connsiteY40" fmla="*/ 151638 h 396049"/>
                  <a:gd name="connsiteX41" fmla="*/ 229267 w 3346133"/>
                  <a:gd name="connsiteY41" fmla="*/ 157734 h 396049"/>
                  <a:gd name="connsiteX42" fmla="*/ 237649 w 3346133"/>
                  <a:gd name="connsiteY42" fmla="*/ 157734 h 396049"/>
                  <a:gd name="connsiteX43" fmla="*/ 237649 w 3346133"/>
                  <a:gd name="connsiteY43" fmla="*/ 163735 h 396049"/>
                  <a:gd name="connsiteX44" fmla="*/ 246031 w 3346133"/>
                  <a:gd name="connsiteY44" fmla="*/ 163735 h 396049"/>
                  <a:gd name="connsiteX45" fmla="*/ 246031 w 3346133"/>
                  <a:gd name="connsiteY45" fmla="*/ 169831 h 396049"/>
                  <a:gd name="connsiteX46" fmla="*/ 250222 w 3346133"/>
                  <a:gd name="connsiteY46" fmla="*/ 169831 h 396049"/>
                  <a:gd name="connsiteX47" fmla="*/ 250222 w 3346133"/>
                  <a:gd name="connsiteY47" fmla="*/ 175927 h 396049"/>
                  <a:gd name="connsiteX48" fmla="*/ 323850 w 3346133"/>
                  <a:gd name="connsiteY48" fmla="*/ 175927 h 396049"/>
                  <a:gd name="connsiteX49" fmla="*/ 323850 w 3346133"/>
                  <a:gd name="connsiteY49" fmla="*/ 181927 h 396049"/>
                  <a:gd name="connsiteX50" fmla="*/ 344900 w 3346133"/>
                  <a:gd name="connsiteY50" fmla="*/ 181927 h 396049"/>
                  <a:gd name="connsiteX51" fmla="*/ 344900 w 3346133"/>
                  <a:gd name="connsiteY51" fmla="*/ 188023 h 396049"/>
                  <a:gd name="connsiteX52" fmla="*/ 351187 w 3346133"/>
                  <a:gd name="connsiteY52" fmla="*/ 188023 h 396049"/>
                  <a:gd name="connsiteX53" fmla="*/ 351187 w 3346133"/>
                  <a:gd name="connsiteY53" fmla="*/ 194119 h 396049"/>
                  <a:gd name="connsiteX54" fmla="*/ 393287 w 3346133"/>
                  <a:gd name="connsiteY54" fmla="*/ 194119 h 396049"/>
                  <a:gd name="connsiteX55" fmla="*/ 393287 w 3346133"/>
                  <a:gd name="connsiteY55" fmla="*/ 200120 h 396049"/>
                  <a:gd name="connsiteX56" fmla="*/ 407956 w 3346133"/>
                  <a:gd name="connsiteY56" fmla="*/ 200120 h 396049"/>
                  <a:gd name="connsiteX57" fmla="*/ 407956 w 3346133"/>
                  <a:gd name="connsiteY57" fmla="*/ 206216 h 396049"/>
                  <a:gd name="connsiteX58" fmla="*/ 437483 w 3346133"/>
                  <a:gd name="connsiteY58" fmla="*/ 206216 h 396049"/>
                  <a:gd name="connsiteX59" fmla="*/ 437483 w 3346133"/>
                  <a:gd name="connsiteY59" fmla="*/ 212312 h 396049"/>
                  <a:gd name="connsiteX60" fmla="*/ 439579 w 3346133"/>
                  <a:gd name="connsiteY60" fmla="*/ 212312 h 396049"/>
                  <a:gd name="connsiteX61" fmla="*/ 439579 w 3346133"/>
                  <a:gd name="connsiteY61" fmla="*/ 218313 h 396049"/>
                  <a:gd name="connsiteX62" fmla="*/ 462629 w 3346133"/>
                  <a:gd name="connsiteY62" fmla="*/ 218313 h 396049"/>
                  <a:gd name="connsiteX63" fmla="*/ 462629 w 3346133"/>
                  <a:gd name="connsiteY63" fmla="*/ 224409 h 396049"/>
                  <a:gd name="connsiteX64" fmla="*/ 475298 w 3346133"/>
                  <a:gd name="connsiteY64" fmla="*/ 224409 h 396049"/>
                  <a:gd name="connsiteX65" fmla="*/ 475298 w 3346133"/>
                  <a:gd name="connsiteY65" fmla="*/ 230505 h 396049"/>
                  <a:gd name="connsiteX66" fmla="*/ 511016 w 3346133"/>
                  <a:gd name="connsiteY66" fmla="*/ 230505 h 396049"/>
                  <a:gd name="connsiteX67" fmla="*/ 511016 w 3346133"/>
                  <a:gd name="connsiteY67" fmla="*/ 236601 h 396049"/>
                  <a:gd name="connsiteX68" fmla="*/ 626745 w 3346133"/>
                  <a:gd name="connsiteY68" fmla="*/ 236601 h 396049"/>
                  <a:gd name="connsiteX69" fmla="*/ 626745 w 3346133"/>
                  <a:gd name="connsiteY69" fmla="*/ 242602 h 396049"/>
                  <a:gd name="connsiteX70" fmla="*/ 664559 w 3346133"/>
                  <a:gd name="connsiteY70" fmla="*/ 242602 h 396049"/>
                  <a:gd name="connsiteX71" fmla="*/ 664559 w 3346133"/>
                  <a:gd name="connsiteY71" fmla="*/ 248793 h 396049"/>
                  <a:gd name="connsiteX72" fmla="*/ 717137 w 3346133"/>
                  <a:gd name="connsiteY72" fmla="*/ 248793 h 396049"/>
                  <a:gd name="connsiteX73" fmla="*/ 717137 w 3346133"/>
                  <a:gd name="connsiteY73" fmla="*/ 254889 h 396049"/>
                  <a:gd name="connsiteX74" fmla="*/ 736092 w 3346133"/>
                  <a:gd name="connsiteY74" fmla="*/ 254889 h 396049"/>
                  <a:gd name="connsiteX75" fmla="*/ 736092 w 3346133"/>
                  <a:gd name="connsiteY75" fmla="*/ 260985 h 396049"/>
                  <a:gd name="connsiteX76" fmla="*/ 746570 w 3346133"/>
                  <a:gd name="connsiteY76" fmla="*/ 260985 h 396049"/>
                  <a:gd name="connsiteX77" fmla="*/ 746570 w 3346133"/>
                  <a:gd name="connsiteY77" fmla="*/ 267176 h 396049"/>
                  <a:gd name="connsiteX78" fmla="*/ 780288 w 3346133"/>
                  <a:gd name="connsiteY78" fmla="*/ 267176 h 396049"/>
                  <a:gd name="connsiteX79" fmla="*/ 780288 w 3346133"/>
                  <a:gd name="connsiteY79" fmla="*/ 273272 h 396049"/>
                  <a:gd name="connsiteX80" fmla="*/ 786575 w 3346133"/>
                  <a:gd name="connsiteY80" fmla="*/ 273272 h 396049"/>
                  <a:gd name="connsiteX81" fmla="*/ 786575 w 3346133"/>
                  <a:gd name="connsiteY81" fmla="*/ 279368 h 396049"/>
                  <a:gd name="connsiteX82" fmla="*/ 801243 w 3346133"/>
                  <a:gd name="connsiteY82" fmla="*/ 279368 h 396049"/>
                  <a:gd name="connsiteX83" fmla="*/ 801243 w 3346133"/>
                  <a:gd name="connsiteY83" fmla="*/ 285464 h 396049"/>
                  <a:gd name="connsiteX84" fmla="*/ 813911 w 3346133"/>
                  <a:gd name="connsiteY84" fmla="*/ 285464 h 396049"/>
                  <a:gd name="connsiteX85" fmla="*/ 813911 w 3346133"/>
                  <a:gd name="connsiteY85" fmla="*/ 291655 h 396049"/>
                  <a:gd name="connsiteX86" fmla="*/ 839153 w 3346133"/>
                  <a:gd name="connsiteY86" fmla="*/ 291655 h 396049"/>
                  <a:gd name="connsiteX87" fmla="*/ 839153 w 3346133"/>
                  <a:gd name="connsiteY87" fmla="*/ 297751 h 396049"/>
                  <a:gd name="connsiteX88" fmla="*/ 1068419 w 3346133"/>
                  <a:gd name="connsiteY88" fmla="*/ 297751 h 396049"/>
                  <a:gd name="connsiteX89" fmla="*/ 1068419 w 3346133"/>
                  <a:gd name="connsiteY89" fmla="*/ 303943 h 396049"/>
                  <a:gd name="connsiteX90" fmla="*/ 1181957 w 3346133"/>
                  <a:gd name="connsiteY90" fmla="*/ 303943 h 396049"/>
                  <a:gd name="connsiteX91" fmla="*/ 1181957 w 3346133"/>
                  <a:gd name="connsiteY91" fmla="*/ 310134 h 396049"/>
                  <a:gd name="connsiteX92" fmla="*/ 1451134 w 3346133"/>
                  <a:gd name="connsiteY92" fmla="*/ 310134 h 396049"/>
                  <a:gd name="connsiteX93" fmla="*/ 1451134 w 3346133"/>
                  <a:gd name="connsiteY93" fmla="*/ 316420 h 396049"/>
                  <a:gd name="connsiteX94" fmla="*/ 1524762 w 3346133"/>
                  <a:gd name="connsiteY94" fmla="*/ 316420 h 396049"/>
                  <a:gd name="connsiteX95" fmla="*/ 1524762 w 3346133"/>
                  <a:gd name="connsiteY95" fmla="*/ 322707 h 396049"/>
                  <a:gd name="connsiteX96" fmla="*/ 1604677 w 3346133"/>
                  <a:gd name="connsiteY96" fmla="*/ 322707 h 396049"/>
                  <a:gd name="connsiteX97" fmla="*/ 1604677 w 3346133"/>
                  <a:gd name="connsiteY97" fmla="*/ 328993 h 396049"/>
                  <a:gd name="connsiteX98" fmla="*/ 1766602 w 3346133"/>
                  <a:gd name="connsiteY98" fmla="*/ 328993 h 396049"/>
                  <a:gd name="connsiteX99" fmla="*/ 1766602 w 3346133"/>
                  <a:gd name="connsiteY99" fmla="*/ 335470 h 396049"/>
                  <a:gd name="connsiteX100" fmla="*/ 1783461 w 3346133"/>
                  <a:gd name="connsiteY100" fmla="*/ 335470 h 396049"/>
                  <a:gd name="connsiteX101" fmla="*/ 1783461 w 3346133"/>
                  <a:gd name="connsiteY101" fmla="*/ 341852 h 396049"/>
                  <a:gd name="connsiteX102" fmla="*/ 1901285 w 3346133"/>
                  <a:gd name="connsiteY102" fmla="*/ 341852 h 396049"/>
                  <a:gd name="connsiteX103" fmla="*/ 1901285 w 3346133"/>
                  <a:gd name="connsiteY103" fmla="*/ 348329 h 396049"/>
                  <a:gd name="connsiteX104" fmla="*/ 1993773 w 3346133"/>
                  <a:gd name="connsiteY104" fmla="*/ 348329 h 396049"/>
                  <a:gd name="connsiteX105" fmla="*/ 1993773 w 3346133"/>
                  <a:gd name="connsiteY105" fmla="*/ 354711 h 396049"/>
                  <a:gd name="connsiteX106" fmla="*/ 2012728 w 3346133"/>
                  <a:gd name="connsiteY106" fmla="*/ 354711 h 396049"/>
                  <a:gd name="connsiteX107" fmla="*/ 2012728 w 3346133"/>
                  <a:gd name="connsiteY107" fmla="*/ 361188 h 396049"/>
                  <a:gd name="connsiteX108" fmla="*/ 2866549 w 3346133"/>
                  <a:gd name="connsiteY108" fmla="*/ 361188 h 396049"/>
                  <a:gd name="connsiteX109" fmla="*/ 2866549 w 3346133"/>
                  <a:gd name="connsiteY109" fmla="*/ 396049 h 396049"/>
                  <a:gd name="connsiteX110" fmla="*/ 3346133 w 3346133"/>
                  <a:gd name="connsiteY110" fmla="*/ 396049 h 396049"/>
                  <a:gd name="connsiteX0" fmla="*/ 0 w 3337751"/>
                  <a:gd name="connsiteY0" fmla="*/ 0 h 383952"/>
                  <a:gd name="connsiteX1" fmla="*/ 4191 w 3337751"/>
                  <a:gd name="connsiteY1" fmla="*/ 0 h 383952"/>
                  <a:gd name="connsiteX2" fmla="*/ 4191 w 3337751"/>
                  <a:gd name="connsiteY2" fmla="*/ 6096 h 383952"/>
                  <a:gd name="connsiteX3" fmla="*/ 21050 w 3337751"/>
                  <a:gd name="connsiteY3" fmla="*/ 6096 h 383952"/>
                  <a:gd name="connsiteX4" fmla="*/ 21050 w 3337751"/>
                  <a:gd name="connsiteY4" fmla="*/ 18192 h 383952"/>
                  <a:gd name="connsiteX5" fmla="*/ 25241 w 3337751"/>
                  <a:gd name="connsiteY5" fmla="*/ 18192 h 383952"/>
                  <a:gd name="connsiteX6" fmla="*/ 25241 w 3337751"/>
                  <a:gd name="connsiteY6" fmla="*/ 24288 h 383952"/>
                  <a:gd name="connsiteX7" fmla="*/ 48387 w 3337751"/>
                  <a:gd name="connsiteY7" fmla="*/ 24288 h 383952"/>
                  <a:gd name="connsiteX8" fmla="*/ 48387 w 3337751"/>
                  <a:gd name="connsiteY8" fmla="*/ 30384 h 383952"/>
                  <a:gd name="connsiteX9" fmla="*/ 52578 w 3337751"/>
                  <a:gd name="connsiteY9" fmla="*/ 30384 h 383952"/>
                  <a:gd name="connsiteX10" fmla="*/ 52578 w 3337751"/>
                  <a:gd name="connsiteY10" fmla="*/ 36385 h 383952"/>
                  <a:gd name="connsiteX11" fmla="*/ 58865 w 3337751"/>
                  <a:gd name="connsiteY11" fmla="*/ 36385 h 383952"/>
                  <a:gd name="connsiteX12" fmla="*/ 58865 w 3337751"/>
                  <a:gd name="connsiteY12" fmla="*/ 48577 h 383952"/>
                  <a:gd name="connsiteX13" fmla="*/ 77819 w 3337751"/>
                  <a:gd name="connsiteY13" fmla="*/ 48577 h 383952"/>
                  <a:gd name="connsiteX14" fmla="*/ 77819 w 3337751"/>
                  <a:gd name="connsiteY14" fmla="*/ 54578 h 383952"/>
                  <a:gd name="connsiteX15" fmla="*/ 86201 w 3337751"/>
                  <a:gd name="connsiteY15" fmla="*/ 54578 h 383952"/>
                  <a:gd name="connsiteX16" fmla="*/ 86201 w 3337751"/>
                  <a:gd name="connsiteY16" fmla="*/ 60674 h 383952"/>
                  <a:gd name="connsiteX17" fmla="*/ 98870 w 3337751"/>
                  <a:gd name="connsiteY17" fmla="*/ 60674 h 383952"/>
                  <a:gd name="connsiteX18" fmla="*/ 98870 w 3337751"/>
                  <a:gd name="connsiteY18" fmla="*/ 66770 h 383952"/>
                  <a:gd name="connsiteX19" fmla="*/ 115729 w 3337751"/>
                  <a:gd name="connsiteY19" fmla="*/ 66770 h 383952"/>
                  <a:gd name="connsiteX20" fmla="*/ 115729 w 3337751"/>
                  <a:gd name="connsiteY20" fmla="*/ 72771 h 383952"/>
                  <a:gd name="connsiteX21" fmla="*/ 143066 w 3337751"/>
                  <a:gd name="connsiteY21" fmla="*/ 72771 h 383952"/>
                  <a:gd name="connsiteX22" fmla="*/ 143066 w 3337751"/>
                  <a:gd name="connsiteY22" fmla="*/ 78867 h 383952"/>
                  <a:gd name="connsiteX23" fmla="*/ 145161 w 3337751"/>
                  <a:gd name="connsiteY23" fmla="*/ 78867 h 383952"/>
                  <a:gd name="connsiteX24" fmla="*/ 145161 w 3337751"/>
                  <a:gd name="connsiteY24" fmla="*/ 84963 h 383952"/>
                  <a:gd name="connsiteX25" fmla="*/ 155638 w 3337751"/>
                  <a:gd name="connsiteY25" fmla="*/ 84963 h 383952"/>
                  <a:gd name="connsiteX26" fmla="*/ 155638 w 3337751"/>
                  <a:gd name="connsiteY26" fmla="*/ 90963 h 383952"/>
                  <a:gd name="connsiteX27" fmla="*/ 161925 w 3337751"/>
                  <a:gd name="connsiteY27" fmla="*/ 90963 h 383952"/>
                  <a:gd name="connsiteX28" fmla="*/ 161925 w 3337751"/>
                  <a:gd name="connsiteY28" fmla="*/ 103155 h 383952"/>
                  <a:gd name="connsiteX29" fmla="*/ 170402 w 3337751"/>
                  <a:gd name="connsiteY29" fmla="*/ 103155 h 383952"/>
                  <a:gd name="connsiteX30" fmla="*/ 170402 w 3337751"/>
                  <a:gd name="connsiteY30" fmla="*/ 109156 h 383952"/>
                  <a:gd name="connsiteX31" fmla="*/ 176689 w 3337751"/>
                  <a:gd name="connsiteY31" fmla="*/ 109156 h 383952"/>
                  <a:gd name="connsiteX32" fmla="*/ 176689 w 3337751"/>
                  <a:gd name="connsiteY32" fmla="*/ 121348 h 383952"/>
                  <a:gd name="connsiteX33" fmla="*/ 178784 w 3337751"/>
                  <a:gd name="connsiteY33" fmla="*/ 121348 h 383952"/>
                  <a:gd name="connsiteX34" fmla="*/ 178784 w 3337751"/>
                  <a:gd name="connsiteY34" fmla="*/ 127444 h 383952"/>
                  <a:gd name="connsiteX35" fmla="*/ 191357 w 3337751"/>
                  <a:gd name="connsiteY35" fmla="*/ 127444 h 383952"/>
                  <a:gd name="connsiteX36" fmla="*/ 191357 w 3337751"/>
                  <a:gd name="connsiteY36" fmla="*/ 133445 h 383952"/>
                  <a:gd name="connsiteX37" fmla="*/ 214503 w 3337751"/>
                  <a:gd name="connsiteY37" fmla="*/ 133445 h 383952"/>
                  <a:gd name="connsiteX38" fmla="*/ 214503 w 3337751"/>
                  <a:gd name="connsiteY38" fmla="*/ 139541 h 383952"/>
                  <a:gd name="connsiteX39" fmla="*/ 220885 w 3337751"/>
                  <a:gd name="connsiteY39" fmla="*/ 139541 h 383952"/>
                  <a:gd name="connsiteX40" fmla="*/ 220885 w 3337751"/>
                  <a:gd name="connsiteY40" fmla="*/ 145637 h 383952"/>
                  <a:gd name="connsiteX41" fmla="*/ 229267 w 3337751"/>
                  <a:gd name="connsiteY41" fmla="*/ 145637 h 383952"/>
                  <a:gd name="connsiteX42" fmla="*/ 229267 w 3337751"/>
                  <a:gd name="connsiteY42" fmla="*/ 151638 h 383952"/>
                  <a:gd name="connsiteX43" fmla="*/ 237649 w 3337751"/>
                  <a:gd name="connsiteY43" fmla="*/ 151638 h 383952"/>
                  <a:gd name="connsiteX44" fmla="*/ 237649 w 3337751"/>
                  <a:gd name="connsiteY44" fmla="*/ 157734 h 383952"/>
                  <a:gd name="connsiteX45" fmla="*/ 241840 w 3337751"/>
                  <a:gd name="connsiteY45" fmla="*/ 157734 h 383952"/>
                  <a:gd name="connsiteX46" fmla="*/ 241840 w 3337751"/>
                  <a:gd name="connsiteY46" fmla="*/ 163830 h 383952"/>
                  <a:gd name="connsiteX47" fmla="*/ 315468 w 3337751"/>
                  <a:gd name="connsiteY47" fmla="*/ 163830 h 383952"/>
                  <a:gd name="connsiteX48" fmla="*/ 315468 w 3337751"/>
                  <a:gd name="connsiteY48" fmla="*/ 169830 h 383952"/>
                  <a:gd name="connsiteX49" fmla="*/ 336518 w 3337751"/>
                  <a:gd name="connsiteY49" fmla="*/ 169830 h 383952"/>
                  <a:gd name="connsiteX50" fmla="*/ 336518 w 3337751"/>
                  <a:gd name="connsiteY50" fmla="*/ 175926 h 383952"/>
                  <a:gd name="connsiteX51" fmla="*/ 342805 w 3337751"/>
                  <a:gd name="connsiteY51" fmla="*/ 175926 h 383952"/>
                  <a:gd name="connsiteX52" fmla="*/ 342805 w 3337751"/>
                  <a:gd name="connsiteY52" fmla="*/ 182022 h 383952"/>
                  <a:gd name="connsiteX53" fmla="*/ 384905 w 3337751"/>
                  <a:gd name="connsiteY53" fmla="*/ 182022 h 383952"/>
                  <a:gd name="connsiteX54" fmla="*/ 384905 w 3337751"/>
                  <a:gd name="connsiteY54" fmla="*/ 188023 h 383952"/>
                  <a:gd name="connsiteX55" fmla="*/ 399574 w 3337751"/>
                  <a:gd name="connsiteY55" fmla="*/ 188023 h 383952"/>
                  <a:gd name="connsiteX56" fmla="*/ 399574 w 3337751"/>
                  <a:gd name="connsiteY56" fmla="*/ 194119 h 383952"/>
                  <a:gd name="connsiteX57" fmla="*/ 429101 w 3337751"/>
                  <a:gd name="connsiteY57" fmla="*/ 194119 h 383952"/>
                  <a:gd name="connsiteX58" fmla="*/ 429101 w 3337751"/>
                  <a:gd name="connsiteY58" fmla="*/ 200215 h 383952"/>
                  <a:gd name="connsiteX59" fmla="*/ 431197 w 3337751"/>
                  <a:gd name="connsiteY59" fmla="*/ 200215 h 383952"/>
                  <a:gd name="connsiteX60" fmla="*/ 431197 w 3337751"/>
                  <a:gd name="connsiteY60" fmla="*/ 206216 h 383952"/>
                  <a:gd name="connsiteX61" fmla="*/ 454247 w 3337751"/>
                  <a:gd name="connsiteY61" fmla="*/ 206216 h 383952"/>
                  <a:gd name="connsiteX62" fmla="*/ 454247 w 3337751"/>
                  <a:gd name="connsiteY62" fmla="*/ 212312 h 383952"/>
                  <a:gd name="connsiteX63" fmla="*/ 466916 w 3337751"/>
                  <a:gd name="connsiteY63" fmla="*/ 212312 h 383952"/>
                  <a:gd name="connsiteX64" fmla="*/ 466916 w 3337751"/>
                  <a:gd name="connsiteY64" fmla="*/ 218408 h 383952"/>
                  <a:gd name="connsiteX65" fmla="*/ 502634 w 3337751"/>
                  <a:gd name="connsiteY65" fmla="*/ 218408 h 383952"/>
                  <a:gd name="connsiteX66" fmla="*/ 502634 w 3337751"/>
                  <a:gd name="connsiteY66" fmla="*/ 224504 h 383952"/>
                  <a:gd name="connsiteX67" fmla="*/ 618363 w 3337751"/>
                  <a:gd name="connsiteY67" fmla="*/ 224504 h 383952"/>
                  <a:gd name="connsiteX68" fmla="*/ 618363 w 3337751"/>
                  <a:gd name="connsiteY68" fmla="*/ 230505 h 383952"/>
                  <a:gd name="connsiteX69" fmla="*/ 656177 w 3337751"/>
                  <a:gd name="connsiteY69" fmla="*/ 230505 h 383952"/>
                  <a:gd name="connsiteX70" fmla="*/ 656177 w 3337751"/>
                  <a:gd name="connsiteY70" fmla="*/ 236696 h 383952"/>
                  <a:gd name="connsiteX71" fmla="*/ 708755 w 3337751"/>
                  <a:gd name="connsiteY71" fmla="*/ 236696 h 383952"/>
                  <a:gd name="connsiteX72" fmla="*/ 708755 w 3337751"/>
                  <a:gd name="connsiteY72" fmla="*/ 242792 h 383952"/>
                  <a:gd name="connsiteX73" fmla="*/ 727710 w 3337751"/>
                  <a:gd name="connsiteY73" fmla="*/ 242792 h 383952"/>
                  <a:gd name="connsiteX74" fmla="*/ 727710 w 3337751"/>
                  <a:gd name="connsiteY74" fmla="*/ 248888 h 383952"/>
                  <a:gd name="connsiteX75" fmla="*/ 738188 w 3337751"/>
                  <a:gd name="connsiteY75" fmla="*/ 248888 h 383952"/>
                  <a:gd name="connsiteX76" fmla="*/ 738188 w 3337751"/>
                  <a:gd name="connsiteY76" fmla="*/ 255079 h 383952"/>
                  <a:gd name="connsiteX77" fmla="*/ 771906 w 3337751"/>
                  <a:gd name="connsiteY77" fmla="*/ 255079 h 383952"/>
                  <a:gd name="connsiteX78" fmla="*/ 771906 w 3337751"/>
                  <a:gd name="connsiteY78" fmla="*/ 261175 h 383952"/>
                  <a:gd name="connsiteX79" fmla="*/ 778193 w 3337751"/>
                  <a:gd name="connsiteY79" fmla="*/ 261175 h 383952"/>
                  <a:gd name="connsiteX80" fmla="*/ 778193 w 3337751"/>
                  <a:gd name="connsiteY80" fmla="*/ 267271 h 383952"/>
                  <a:gd name="connsiteX81" fmla="*/ 792861 w 3337751"/>
                  <a:gd name="connsiteY81" fmla="*/ 267271 h 383952"/>
                  <a:gd name="connsiteX82" fmla="*/ 792861 w 3337751"/>
                  <a:gd name="connsiteY82" fmla="*/ 273367 h 383952"/>
                  <a:gd name="connsiteX83" fmla="*/ 805529 w 3337751"/>
                  <a:gd name="connsiteY83" fmla="*/ 273367 h 383952"/>
                  <a:gd name="connsiteX84" fmla="*/ 805529 w 3337751"/>
                  <a:gd name="connsiteY84" fmla="*/ 279558 h 383952"/>
                  <a:gd name="connsiteX85" fmla="*/ 830771 w 3337751"/>
                  <a:gd name="connsiteY85" fmla="*/ 279558 h 383952"/>
                  <a:gd name="connsiteX86" fmla="*/ 830771 w 3337751"/>
                  <a:gd name="connsiteY86" fmla="*/ 285654 h 383952"/>
                  <a:gd name="connsiteX87" fmla="*/ 1060037 w 3337751"/>
                  <a:gd name="connsiteY87" fmla="*/ 285654 h 383952"/>
                  <a:gd name="connsiteX88" fmla="*/ 1060037 w 3337751"/>
                  <a:gd name="connsiteY88" fmla="*/ 291846 h 383952"/>
                  <a:gd name="connsiteX89" fmla="*/ 1173575 w 3337751"/>
                  <a:gd name="connsiteY89" fmla="*/ 291846 h 383952"/>
                  <a:gd name="connsiteX90" fmla="*/ 1173575 w 3337751"/>
                  <a:gd name="connsiteY90" fmla="*/ 298037 h 383952"/>
                  <a:gd name="connsiteX91" fmla="*/ 1442752 w 3337751"/>
                  <a:gd name="connsiteY91" fmla="*/ 298037 h 383952"/>
                  <a:gd name="connsiteX92" fmla="*/ 1442752 w 3337751"/>
                  <a:gd name="connsiteY92" fmla="*/ 304323 h 383952"/>
                  <a:gd name="connsiteX93" fmla="*/ 1516380 w 3337751"/>
                  <a:gd name="connsiteY93" fmla="*/ 304323 h 383952"/>
                  <a:gd name="connsiteX94" fmla="*/ 1516380 w 3337751"/>
                  <a:gd name="connsiteY94" fmla="*/ 310610 h 383952"/>
                  <a:gd name="connsiteX95" fmla="*/ 1596295 w 3337751"/>
                  <a:gd name="connsiteY95" fmla="*/ 310610 h 383952"/>
                  <a:gd name="connsiteX96" fmla="*/ 1596295 w 3337751"/>
                  <a:gd name="connsiteY96" fmla="*/ 316896 h 383952"/>
                  <a:gd name="connsiteX97" fmla="*/ 1758220 w 3337751"/>
                  <a:gd name="connsiteY97" fmla="*/ 316896 h 383952"/>
                  <a:gd name="connsiteX98" fmla="*/ 1758220 w 3337751"/>
                  <a:gd name="connsiteY98" fmla="*/ 323373 h 383952"/>
                  <a:gd name="connsiteX99" fmla="*/ 1775079 w 3337751"/>
                  <a:gd name="connsiteY99" fmla="*/ 323373 h 383952"/>
                  <a:gd name="connsiteX100" fmla="*/ 1775079 w 3337751"/>
                  <a:gd name="connsiteY100" fmla="*/ 329755 h 383952"/>
                  <a:gd name="connsiteX101" fmla="*/ 1892903 w 3337751"/>
                  <a:gd name="connsiteY101" fmla="*/ 329755 h 383952"/>
                  <a:gd name="connsiteX102" fmla="*/ 1892903 w 3337751"/>
                  <a:gd name="connsiteY102" fmla="*/ 336232 h 383952"/>
                  <a:gd name="connsiteX103" fmla="*/ 1985391 w 3337751"/>
                  <a:gd name="connsiteY103" fmla="*/ 336232 h 383952"/>
                  <a:gd name="connsiteX104" fmla="*/ 1985391 w 3337751"/>
                  <a:gd name="connsiteY104" fmla="*/ 342614 h 383952"/>
                  <a:gd name="connsiteX105" fmla="*/ 2004346 w 3337751"/>
                  <a:gd name="connsiteY105" fmla="*/ 342614 h 383952"/>
                  <a:gd name="connsiteX106" fmla="*/ 2004346 w 3337751"/>
                  <a:gd name="connsiteY106" fmla="*/ 349091 h 383952"/>
                  <a:gd name="connsiteX107" fmla="*/ 2858167 w 3337751"/>
                  <a:gd name="connsiteY107" fmla="*/ 349091 h 383952"/>
                  <a:gd name="connsiteX108" fmla="*/ 2858167 w 3337751"/>
                  <a:gd name="connsiteY108" fmla="*/ 383952 h 383952"/>
                  <a:gd name="connsiteX109" fmla="*/ 3337751 w 3337751"/>
                  <a:gd name="connsiteY109" fmla="*/ 383952 h 383952"/>
                  <a:gd name="connsiteX0" fmla="*/ 0 w 3337751"/>
                  <a:gd name="connsiteY0" fmla="*/ 0 h 383952"/>
                  <a:gd name="connsiteX1" fmla="*/ 4191 w 3337751"/>
                  <a:gd name="connsiteY1" fmla="*/ 0 h 383952"/>
                  <a:gd name="connsiteX2" fmla="*/ 21050 w 3337751"/>
                  <a:gd name="connsiteY2" fmla="*/ 6096 h 383952"/>
                  <a:gd name="connsiteX3" fmla="*/ 21050 w 3337751"/>
                  <a:gd name="connsiteY3" fmla="*/ 18192 h 383952"/>
                  <a:gd name="connsiteX4" fmla="*/ 25241 w 3337751"/>
                  <a:gd name="connsiteY4" fmla="*/ 18192 h 383952"/>
                  <a:gd name="connsiteX5" fmla="*/ 25241 w 3337751"/>
                  <a:gd name="connsiteY5" fmla="*/ 24288 h 383952"/>
                  <a:gd name="connsiteX6" fmla="*/ 48387 w 3337751"/>
                  <a:gd name="connsiteY6" fmla="*/ 24288 h 383952"/>
                  <a:gd name="connsiteX7" fmla="*/ 48387 w 3337751"/>
                  <a:gd name="connsiteY7" fmla="*/ 30384 h 383952"/>
                  <a:gd name="connsiteX8" fmla="*/ 52578 w 3337751"/>
                  <a:gd name="connsiteY8" fmla="*/ 30384 h 383952"/>
                  <a:gd name="connsiteX9" fmla="*/ 52578 w 3337751"/>
                  <a:gd name="connsiteY9" fmla="*/ 36385 h 383952"/>
                  <a:gd name="connsiteX10" fmla="*/ 58865 w 3337751"/>
                  <a:gd name="connsiteY10" fmla="*/ 36385 h 383952"/>
                  <a:gd name="connsiteX11" fmla="*/ 58865 w 3337751"/>
                  <a:gd name="connsiteY11" fmla="*/ 48577 h 383952"/>
                  <a:gd name="connsiteX12" fmla="*/ 77819 w 3337751"/>
                  <a:gd name="connsiteY12" fmla="*/ 48577 h 383952"/>
                  <a:gd name="connsiteX13" fmla="*/ 77819 w 3337751"/>
                  <a:gd name="connsiteY13" fmla="*/ 54578 h 383952"/>
                  <a:gd name="connsiteX14" fmla="*/ 86201 w 3337751"/>
                  <a:gd name="connsiteY14" fmla="*/ 54578 h 383952"/>
                  <a:gd name="connsiteX15" fmla="*/ 86201 w 3337751"/>
                  <a:gd name="connsiteY15" fmla="*/ 60674 h 383952"/>
                  <a:gd name="connsiteX16" fmla="*/ 98870 w 3337751"/>
                  <a:gd name="connsiteY16" fmla="*/ 60674 h 383952"/>
                  <a:gd name="connsiteX17" fmla="*/ 98870 w 3337751"/>
                  <a:gd name="connsiteY17" fmla="*/ 66770 h 383952"/>
                  <a:gd name="connsiteX18" fmla="*/ 115729 w 3337751"/>
                  <a:gd name="connsiteY18" fmla="*/ 66770 h 383952"/>
                  <a:gd name="connsiteX19" fmla="*/ 115729 w 3337751"/>
                  <a:gd name="connsiteY19" fmla="*/ 72771 h 383952"/>
                  <a:gd name="connsiteX20" fmla="*/ 143066 w 3337751"/>
                  <a:gd name="connsiteY20" fmla="*/ 72771 h 383952"/>
                  <a:gd name="connsiteX21" fmla="*/ 143066 w 3337751"/>
                  <a:gd name="connsiteY21" fmla="*/ 78867 h 383952"/>
                  <a:gd name="connsiteX22" fmla="*/ 145161 w 3337751"/>
                  <a:gd name="connsiteY22" fmla="*/ 78867 h 383952"/>
                  <a:gd name="connsiteX23" fmla="*/ 145161 w 3337751"/>
                  <a:gd name="connsiteY23" fmla="*/ 84963 h 383952"/>
                  <a:gd name="connsiteX24" fmla="*/ 155638 w 3337751"/>
                  <a:gd name="connsiteY24" fmla="*/ 84963 h 383952"/>
                  <a:gd name="connsiteX25" fmla="*/ 155638 w 3337751"/>
                  <a:gd name="connsiteY25" fmla="*/ 90963 h 383952"/>
                  <a:gd name="connsiteX26" fmla="*/ 161925 w 3337751"/>
                  <a:gd name="connsiteY26" fmla="*/ 90963 h 383952"/>
                  <a:gd name="connsiteX27" fmla="*/ 161925 w 3337751"/>
                  <a:gd name="connsiteY27" fmla="*/ 103155 h 383952"/>
                  <a:gd name="connsiteX28" fmla="*/ 170402 w 3337751"/>
                  <a:gd name="connsiteY28" fmla="*/ 103155 h 383952"/>
                  <a:gd name="connsiteX29" fmla="*/ 170402 w 3337751"/>
                  <a:gd name="connsiteY29" fmla="*/ 109156 h 383952"/>
                  <a:gd name="connsiteX30" fmla="*/ 176689 w 3337751"/>
                  <a:gd name="connsiteY30" fmla="*/ 109156 h 383952"/>
                  <a:gd name="connsiteX31" fmla="*/ 176689 w 3337751"/>
                  <a:gd name="connsiteY31" fmla="*/ 121348 h 383952"/>
                  <a:gd name="connsiteX32" fmla="*/ 178784 w 3337751"/>
                  <a:gd name="connsiteY32" fmla="*/ 121348 h 383952"/>
                  <a:gd name="connsiteX33" fmla="*/ 178784 w 3337751"/>
                  <a:gd name="connsiteY33" fmla="*/ 127444 h 383952"/>
                  <a:gd name="connsiteX34" fmla="*/ 191357 w 3337751"/>
                  <a:gd name="connsiteY34" fmla="*/ 127444 h 383952"/>
                  <a:gd name="connsiteX35" fmla="*/ 191357 w 3337751"/>
                  <a:gd name="connsiteY35" fmla="*/ 133445 h 383952"/>
                  <a:gd name="connsiteX36" fmla="*/ 214503 w 3337751"/>
                  <a:gd name="connsiteY36" fmla="*/ 133445 h 383952"/>
                  <a:gd name="connsiteX37" fmla="*/ 214503 w 3337751"/>
                  <a:gd name="connsiteY37" fmla="*/ 139541 h 383952"/>
                  <a:gd name="connsiteX38" fmla="*/ 220885 w 3337751"/>
                  <a:gd name="connsiteY38" fmla="*/ 139541 h 383952"/>
                  <a:gd name="connsiteX39" fmla="*/ 220885 w 3337751"/>
                  <a:gd name="connsiteY39" fmla="*/ 145637 h 383952"/>
                  <a:gd name="connsiteX40" fmla="*/ 229267 w 3337751"/>
                  <a:gd name="connsiteY40" fmla="*/ 145637 h 383952"/>
                  <a:gd name="connsiteX41" fmla="*/ 229267 w 3337751"/>
                  <a:gd name="connsiteY41" fmla="*/ 151638 h 383952"/>
                  <a:gd name="connsiteX42" fmla="*/ 237649 w 3337751"/>
                  <a:gd name="connsiteY42" fmla="*/ 151638 h 383952"/>
                  <a:gd name="connsiteX43" fmla="*/ 237649 w 3337751"/>
                  <a:gd name="connsiteY43" fmla="*/ 157734 h 383952"/>
                  <a:gd name="connsiteX44" fmla="*/ 241840 w 3337751"/>
                  <a:gd name="connsiteY44" fmla="*/ 157734 h 383952"/>
                  <a:gd name="connsiteX45" fmla="*/ 241840 w 3337751"/>
                  <a:gd name="connsiteY45" fmla="*/ 163830 h 383952"/>
                  <a:gd name="connsiteX46" fmla="*/ 315468 w 3337751"/>
                  <a:gd name="connsiteY46" fmla="*/ 163830 h 383952"/>
                  <a:gd name="connsiteX47" fmla="*/ 315468 w 3337751"/>
                  <a:gd name="connsiteY47" fmla="*/ 169830 h 383952"/>
                  <a:gd name="connsiteX48" fmla="*/ 336518 w 3337751"/>
                  <a:gd name="connsiteY48" fmla="*/ 169830 h 383952"/>
                  <a:gd name="connsiteX49" fmla="*/ 336518 w 3337751"/>
                  <a:gd name="connsiteY49" fmla="*/ 175926 h 383952"/>
                  <a:gd name="connsiteX50" fmla="*/ 342805 w 3337751"/>
                  <a:gd name="connsiteY50" fmla="*/ 175926 h 383952"/>
                  <a:gd name="connsiteX51" fmla="*/ 342805 w 3337751"/>
                  <a:gd name="connsiteY51" fmla="*/ 182022 h 383952"/>
                  <a:gd name="connsiteX52" fmla="*/ 384905 w 3337751"/>
                  <a:gd name="connsiteY52" fmla="*/ 182022 h 383952"/>
                  <a:gd name="connsiteX53" fmla="*/ 384905 w 3337751"/>
                  <a:gd name="connsiteY53" fmla="*/ 188023 h 383952"/>
                  <a:gd name="connsiteX54" fmla="*/ 399574 w 3337751"/>
                  <a:gd name="connsiteY54" fmla="*/ 188023 h 383952"/>
                  <a:gd name="connsiteX55" fmla="*/ 399574 w 3337751"/>
                  <a:gd name="connsiteY55" fmla="*/ 194119 h 383952"/>
                  <a:gd name="connsiteX56" fmla="*/ 429101 w 3337751"/>
                  <a:gd name="connsiteY56" fmla="*/ 194119 h 383952"/>
                  <a:gd name="connsiteX57" fmla="*/ 429101 w 3337751"/>
                  <a:gd name="connsiteY57" fmla="*/ 200215 h 383952"/>
                  <a:gd name="connsiteX58" fmla="*/ 431197 w 3337751"/>
                  <a:gd name="connsiteY58" fmla="*/ 200215 h 383952"/>
                  <a:gd name="connsiteX59" fmla="*/ 431197 w 3337751"/>
                  <a:gd name="connsiteY59" fmla="*/ 206216 h 383952"/>
                  <a:gd name="connsiteX60" fmla="*/ 454247 w 3337751"/>
                  <a:gd name="connsiteY60" fmla="*/ 206216 h 383952"/>
                  <a:gd name="connsiteX61" fmla="*/ 454247 w 3337751"/>
                  <a:gd name="connsiteY61" fmla="*/ 212312 h 383952"/>
                  <a:gd name="connsiteX62" fmla="*/ 466916 w 3337751"/>
                  <a:gd name="connsiteY62" fmla="*/ 212312 h 383952"/>
                  <a:gd name="connsiteX63" fmla="*/ 466916 w 3337751"/>
                  <a:gd name="connsiteY63" fmla="*/ 218408 h 383952"/>
                  <a:gd name="connsiteX64" fmla="*/ 502634 w 3337751"/>
                  <a:gd name="connsiteY64" fmla="*/ 218408 h 383952"/>
                  <a:gd name="connsiteX65" fmla="*/ 502634 w 3337751"/>
                  <a:gd name="connsiteY65" fmla="*/ 224504 h 383952"/>
                  <a:gd name="connsiteX66" fmla="*/ 618363 w 3337751"/>
                  <a:gd name="connsiteY66" fmla="*/ 224504 h 383952"/>
                  <a:gd name="connsiteX67" fmla="*/ 618363 w 3337751"/>
                  <a:gd name="connsiteY67" fmla="*/ 230505 h 383952"/>
                  <a:gd name="connsiteX68" fmla="*/ 656177 w 3337751"/>
                  <a:gd name="connsiteY68" fmla="*/ 230505 h 383952"/>
                  <a:gd name="connsiteX69" fmla="*/ 656177 w 3337751"/>
                  <a:gd name="connsiteY69" fmla="*/ 236696 h 383952"/>
                  <a:gd name="connsiteX70" fmla="*/ 708755 w 3337751"/>
                  <a:gd name="connsiteY70" fmla="*/ 236696 h 383952"/>
                  <a:gd name="connsiteX71" fmla="*/ 708755 w 3337751"/>
                  <a:gd name="connsiteY71" fmla="*/ 242792 h 383952"/>
                  <a:gd name="connsiteX72" fmla="*/ 727710 w 3337751"/>
                  <a:gd name="connsiteY72" fmla="*/ 242792 h 383952"/>
                  <a:gd name="connsiteX73" fmla="*/ 727710 w 3337751"/>
                  <a:gd name="connsiteY73" fmla="*/ 248888 h 383952"/>
                  <a:gd name="connsiteX74" fmla="*/ 738188 w 3337751"/>
                  <a:gd name="connsiteY74" fmla="*/ 248888 h 383952"/>
                  <a:gd name="connsiteX75" fmla="*/ 738188 w 3337751"/>
                  <a:gd name="connsiteY75" fmla="*/ 255079 h 383952"/>
                  <a:gd name="connsiteX76" fmla="*/ 771906 w 3337751"/>
                  <a:gd name="connsiteY76" fmla="*/ 255079 h 383952"/>
                  <a:gd name="connsiteX77" fmla="*/ 771906 w 3337751"/>
                  <a:gd name="connsiteY77" fmla="*/ 261175 h 383952"/>
                  <a:gd name="connsiteX78" fmla="*/ 778193 w 3337751"/>
                  <a:gd name="connsiteY78" fmla="*/ 261175 h 383952"/>
                  <a:gd name="connsiteX79" fmla="*/ 778193 w 3337751"/>
                  <a:gd name="connsiteY79" fmla="*/ 267271 h 383952"/>
                  <a:gd name="connsiteX80" fmla="*/ 792861 w 3337751"/>
                  <a:gd name="connsiteY80" fmla="*/ 267271 h 383952"/>
                  <a:gd name="connsiteX81" fmla="*/ 792861 w 3337751"/>
                  <a:gd name="connsiteY81" fmla="*/ 273367 h 383952"/>
                  <a:gd name="connsiteX82" fmla="*/ 805529 w 3337751"/>
                  <a:gd name="connsiteY82" fmla="*/ 273367 h 383952"/>
                  <a:gd name="connsiteX83" fmla="*/ 805529 w 3337751"/>
                  <a:gd name="connsiteY83" fmla="*/ 279558 h 383952"/>
                  <a:gd name="connsiteX84" fmla="*/ 830771 w 3337751"/>
                  <a:gd name="connsiteY84" fmla="*/ 279558 h 383952"/>
                  <a:gd name="connsiteX85" fmla="*/ 830771 w 3337751"/>
                  <a:gd name="connsiteY85" fmla="*/ 285654 h 383952"/>
                  <a:gd name="connsiteX86" fmla="*/ 1060037 w 3337751"/>
                  <a:gd name="connsiteY86" fmla="*/ 285654 h 383952"/>
                  <a:gd name="connsiteX87" fmla="*/ 1060037 w 3337751"/>
                  <a:gd name="connsiteY87" fmla="*/ 291846 h 383952"/>
                  <a:gd name="connsiteX88" fmla="*/ 1173575 w 3337751"/>
                  <a:gd name="connsiteY88" fmla="*/ 291846 h 383952"/>
                  <a:gd name="connsiteX89" fmla="*/ 1173575 w 3337751"/>
                  <a:gd name="connsiteY89" fmla="*/ 298037 h 383952"/>
                  <a:gd name="connsiteX90" fmla="*/ 1442752 w 3337751"/>
                  <a:gd name="connsiteY90" fmla="*/ 298037 h 383952"/>
                  <a:gd name="connsiteX91" fmla="*/ 1442752 w 3337751"/>
                  <a:gd name="connsiteY91" fmla="*/ 304323 h 383952"/>
                  <a:gd name="connsiteX92" fmla="*/ 1516380 w 3337751"/>
                  <a:gd name="connsiteY92" fmla="*/ 304323 h 383952"/>
                  <a:gd name="connsiteX93" fmla="*/ 1516380 w 3337751"/>
                  <a:gd name="connsiteY93" fmla="*/ 310610 h 383952"/>
                  <a:gd name="connsiteX94" fmla="*/ 1596295 w 3337751"/>
                  <a:gd name="connsiteY94" fmla="*/ 310610 h 383952"/>
                  <a:gd name="connsiteX95" fmla="*/ 1596295 w 3337751"/>
                  <a:gd name="connsiteY95" fmla="*/ 316896 h 383952"/>
                  <a:gd name="connsiteX96" fmla="*/ 1758220 w 3337751"/>
                  <a:gd name="connsiteY96" fmla="*/ 316896 h 383952"/>
                  <a:gd name="connsiteX97" fmla="*/ 1758220 w 3337751"/>
                  <a:gd name="connsiteY97" fmla="*/ 323373 h 383952"/>
                  <a:gd name="connsiteX98" fmla="*/ 1775079 w 3337751"/>
                  <a:gd name="connsiteY98" fmla="*/ 323373 h 383952"/>
                  <a:gd name="connsiteX99" fmla="*/ 1775079 w 3337751"/>
                  <a:gd name="connsiteY99" fmla="*/ 329755 h 383952"/>
                  <a:gd name="connsiteX100" fmla="*/ 1892903 w 3337751"/>
                  <a:gd name="connsiteY100" fmla="*/ 329755 h 383952"/>
                  <a:gd name="connsiteX101" fmla="*/ 1892903 w 3337751"/>
                  <a:gd name="connsiteY101" fmla="*/ 336232 h 383952"/>
                  <a:gd name="connsiteX102" fmla="*/ 1985391 w 3337751"/>
                  <a:gd name="connsiteY102" fmla="*/ 336232 h 383952"/>
                  <a:gd name="connsiteX103" fmla="*/ 1985391 w 3337751"/>
                  <a:gd name="connsiteY103" fmla="*/ 342614 h 383952"/>
                  <a:gd name="connsiteX104" fmla="*/ 2004346 w 3337751"/>
                  <a:gd name="connsiteY104" fmla="*/ 342614 h 383952"/>
                  <a:gd name="connsiteX105" fmla="*/ 2004346 w 3337751"/>
                  <a:gd name="connsiteY105" fmla="*/ 349091 h 383952"/>
                  <a:gd name="connsiteX106" fmla="*/ 2858167 w 3337751"/>
                  <a:gd name="connsiteY106" fmla="*/ 349091 h 383952"/>
                  <a:gd name="connsiteX107" fmla="*/ 2858167 w 3337751"/>
                  <a:gd name="connsiteY107" fmla="*/ 383952 h 383952"/>
                  <a:gd name="connsiteX108" fmla="*/ 3337751 w 3337751"/>
                  <a:gd name="connsiteY108" fmla="*/ 383952 h 383952"/>
                  <a:gd name="connsiteX0" fmla="*/ 0 w 3337751"/>
                  <a:gd name="connsiteY0" fmla="*/ 0 h 383952"/>
                  <a:gd name="connsiteX1" fmla="*/ 21050 w 3337751"/>
                  <a:gd name="connsiteY1" fmla="*/ 6096 h 383952"/>
                  <a:gd name="connsiteX2" fmla="*/ 21050 w 3337751"/>
                  <a:gd name="connsiteY2" fmla="*/ 18192 h 383952"/>
                  <a:gd name="connsiteX3" fmla="*/ 25241 w 3337751"/>
                  <a:gd name="connsiteY3" fmla="*/ 18192 h 383952"/>
                  <a:gd name="connsiteX4" fmla="*/ 25241 w 3337751"/>
                  <a:gd name="connsiteY4" fmla="*/ 24288 h 383952"/>
                  <a:gd name="connsiteX5" fmla="*/ 48387 w 3337751"/>
                  <a:gd name="connsiteY5" fmla="*/ 24288 h 383952"/>
                  <a:gd name="connsiteX6" fmla="*/ 48387 w 3337751"/>
                  <a:gd name="connsiteY6" fmla="*/ 30384 h 383952"/>
                  <a:gd name="connsiteX7" fmla="*/ 52578 w 3337751"/>
                  <a:gd name="connsiteY7" fmla="*/ 30384 h 383952"/>
                  <a:gd name="connsiteX8" fmla="*/ 52578 w 3337751"/>
                  <a:gd name="connsiteY8" fmla="*/ 36385 h 383952"/>
                  <a:gd name="connsiteX9" fmla="*/ 58865 w 3337751"/>
                  <a:gd name="connsiteY9" fmla="*/ 36385 h 383952"/>
                  <a:gd name="connsiteX10" fmla="*/ 58865 w 3337751"/>
                  <a:gd name="connsiteY10" fmla="*/ 48577 h 383952"/>
                  <a:gd name="connsiteX11" fmla="*/ 77819 w 3337751"/>
                  <a:gd name="connsiteY11" fmla="*/ 48577 h 383952"/>
                  <a:gd name="connsiteX12" fmla="*/ 77819 w 3337751"/>
                  <a:gd name="connsiteY12" fmla="*/ 54578 h 383952"/>
                  <a:gd name="connsiteX13" fmla="*/ 86201 w 3337751"/>
                  <a:gd name="connsiteY13" fmla="*/ 54578 h 383952"/>
                  <a:gd name="connsiteX14" fmla="*/ 86201 w 3337751"/>
                  <a:gd name="connsiteY14" fmla="*/ 60674 h 383952"/>
                  <a:gd name="connsiteX15" fmla="*/ 98870 w 3337751"/>
                  <a:gd name="connsiteY15" fmla="*/ 60674 h 383952"/>
                  <a:gd name="connsiteX16" fmla="*/ 98870 w 3337751"/>
                  <a:gd name="connsiteY16" fmla="*/ 66770 h 383952"/>
                  <a:gd name="connsiteX17" fmla="*/ 115729 w 3337751"/>
                  <a:gd name="connsiteY17" fmla="*/ 66770 h 383952"/>
                  <a:gd name="connsiteX18" fmla="*/ 115729 w 3337751"/>
                  <a:gd name="connsiteY18" fmla="*/ 72771 h 383952"/>
                  <a:gd name="connsiteX19" fmla="*/ 143066 w 3337751"/>
                  <a:gd name="connsiteY19" fmla="*/ 72771 h 383952"/>
                  <a:gd name="connsiteX20" fmla="*/ 143066 w 3337751"/>
                  <a:gd name="connsiteY20" fmla="*/ 78867 h 383952"/>
                  <a:gd name="connsiteX21" fmla="*/ 145161 w 3337751"/>
                  <a:gd name="connsiteY21" fmla="*/ 78867 h 383952"/>
                  <a:gd name="connsiteX22" fmla="*/ 145161 w 3337751"/>
                  <a:gd name="connsiteY22" fmla="*/ 84963 h 383952"/>
                  <a:gd name="connsiteX23" fmla="*/ 155638 w 3337751"/>
                  <a:gd name="connsiteY23" fmla="*/ 84963 h 383952"/>
                  <a:gd name="connsiteX24" fmla="*/ 155638 w 3337751"/>
                  <a:gd name="connsiteY24" fmla="*/ 90963 h 383952"/>
                  <a:gd name="connsiteX25" fmla="*/ 161925 w 3337751"/>
                  <a:gd name="connsiteY25" fmla="*/ 90963 h 383952"/>
                  <a:gd name="connsiteX26" fmla="*/ 161925 w 3337751"/>
                  <a:gd name="connsiteY26" fmla="*/ 103155 h 383952"/>
                  <a:gd name="connsiteX27" fmla="*/ 170402 w 3337751"/>
                  <a:gd name="connsiteY27" fmla="*/ 103155 h 383952"/>
                  <a:gd name="connsiteX28" fmla="*/ 170402 w 3337751"/>
                  <a:gd name="connsiteY28" fmla="*/ 109156 h 383952"/>
                  <a:gd name="connsiteX29" fmla="*/ 176689 w 3337751"/>
                  <a:gd name="connsiteY29" fmla="*/ 109156 h 383952"/>
                  <a:gd name="connsiteX30" fmla="*/ 176689 w 3337751"/>
                  <a:gd name="connsiteY30" fmla="*/ 121348 h 383952"/>
                  <a:gd name="connsiteX31" fmla="*/ 178784 w 3337751"/>
                  <a:gd name="connsiteY31" fmla="*/ 121348 h 383952"/>
                  <a:gd name="connsiteX32" fmla="*/ 178784 w 3337751"/>
                  <a:gd name="connsiteY32" fmla="*/ 127444 h 383952"/>
                  <a:gd name="connsiteX33" fmla="*/ 191357 w 3337751"/>
                  <a:gd name="connsiteY33" fmla="*/ 127444 h 383952"/>
                  <a:gd name="connsiteX34" fmla="*/ 191357 w 3337751"/>
                  <a:gd name="connsiteY34" fmla="*/ 133445 h 383952"/>
                  <a:gd name="connsiteX35" fmla="*/ 214503 w 3337751"/>
                  <a:gd name="connsiteY35" fmla="*/ 133445 h 383952"/>
                  <a:gd name="connsiteX36" fmla="*/ 214503 w 3337751"/>
                  <a:gd name="connsiteY36" fmla="*/ 139541 h 383952"/>
                  <a:gd name="connsiteX37" fmla="*/ 220885 w 3337751"/>
                  <a:gd name="connsiteY37" fmla="*/ 139541 h 383952"/>
                  <a:gd name="connsiteX38" fmla="*/ 220885 w 3337751"/>
                  <a:gd name="connsiteY38" fmla="*/ 145637 h 383952"/>
                  <a:gd name="connsiteX39" fmla="*/ 229267 w 3337751"/>
                  <a:gd name="connsiteY39" fmla="*/ 145637 h 383952"/>
                  <a:gd name="connsiteX40" fmla="*/ 229267 w 3337751"/>
                  <a:gd name="connsiteY40" fmla="*/ 151638 h 383952"/>
                  <a:gd name="connsiteX41" fmla="*/ 237649 w 3337751"/>
                  <a:gd name="connsiteY41" fmla="*/ 151638 h 383952"/>
                  <a:gd name="connsiteX42" fmla="*/ 237649 w 3337751"/>
                  <a:gd name="connsiteY42" fmla="*/ 157734 h 383952"/>
                  <a:gd name="connsiteX43" fmla="*/ 241840 w 3337751"/>
                  <a:gd name="connsiteY43" fmla="*/ 157734 h 383952"/>
                  <a:gd name="connsiteX44" fmla="*/ 241840 w 3337751"/>
                  <a:gd name="connsiteY44" fmla="*/ 163830 h 383952"/>
                  <a:gd name="connsiteX45" fmla="*/ 315468 w 3337751"/>
                  <a:gd name="connsiteY45" fmla="*/ 163830 h 383952"/>
                  <a:gd name="connsiteX46" fmla="*/ 315468 w 3337751"/>
                  <a:gd name="connsiteY46" fmla="*/ 169830 h 383952"/>
                  <a:gd name="connsiteX47" fmla="*/ 336518 w 3337751"/>
                  <a:gd name="connsiteY47" fmla="*/ 169830 h 383952"/>
                  <a:gd name="connsiteX48" fmla="*/ 336518 w 3337751"/>
                  <a:gd name="connsiteY48" fmla="*/ 175926 h 383952"/>
                  <a:gd name="connsiteX49" fmla="*/ 342805 w 3337751"/>
                  <a:gd name="connsiteY49" fmla="*/ 175926 h 383952"/>
                  <a:gd name="connsiteX50" fmla="*/ 342805 w 3337751"/>
                  <a:gd name="connsiteY50" fmla="*/ 182022 h 383952"/>
                  <a:gd name="connsiteX51" fmla="*/ 384905 w 3337751"/>
                  <a:gd name="connsiteY51" fmla="*/ 182022 h 383952"/>
                  <a:gd name="connsiteX52" fmla="*/ 384905 w 3337751"/>
                  <a:gd name="connsiteY52" fmla="*/ 188023 h 383952"/>
                  <a:gd name="connsiteX53" fmla="*/ 399574 w 3337751"/>
                  <a:gd name="connsiteY53" fmla="*/ 188023 h 383952"/>
                  <a:gd name="connsiteX54" fmla="*/ 399574 w 3337751"/>
                  <a:gd name="connsiteY54" fmla="*/ 194119 h 383952"/>
                  <a:gd name="connsiteX55" fmla="*/ 429101 w 3337751"/>
                  <a:gd name="connsiteY55" fmla="*/ 194119 h 383952"/>
                  <a:gd name="connsiteX56" fmla="*/ 429101 w 3337751"/>
                  <a:gd name="connsiteY56" fmla="*/ 200215 h 383952"/>
                  <a:gd name="connsiteX57" fmla="*/ 431197 w 3337751"/>
                  <a:gd name="connsiteY57" fmla="*/ 200215 h 383952"/>
                  <a:gd name="connsiteX58" fmla="*/ 431197 w 3337751"/>
                  <a:gd name="connsiteY58" fmla="*/ 206216 h 383952"/>
                  <a:gd name="connsiteX59" fmla="*/ 454247 w 3337751"/>
                  <a:gd name="connsiteY59" fmla="*/ 206216 h 383952"/>
                  <a:gd name="connsiteX60" fmla="*/ 454247 w 3337751"/>
                  <a:gd name="connsiteY60" fmla="*/ 212312 h 383952"/>
                  <a:gd name="connsiteX61" fmla="*/ 466916 w 3337751"/>
                  <a:gd name="connsiteY61" fmla="*/ 212312 h 383952"/>
                  <a:gd name="connsiteX62" fmla="*/ 466916 w 3337751"/>
                  <a:gd name="connsiteY62" fmla="*/ 218408 h 383952"/>
                  <a:gd name="connsiteX63" fmla="*/ 502634 w 3337751"/>
                  <a:gd name="connsiteY63" fmla="*/ 218408 h 383952"/>
                  <a:gd name="connsiteX64" fmla="*/ 502634 w 3337751"/>
                  <a:gd name="connsiteY64" fmla="*/ 224504 h 383952"/>
                  <a:gd name="connsiteX65" fmla="*/ 618363 w 3337751"/>
                  <a:gd name="connsiteY65" fmla="*/ 224504 h 383952"/>
                  <a:gd name="connsiteX66" fmla="*/ 618363 w 3337751"/>
                  <a:gd name="connsiteY66" fmla="*/ 230505 h 383952"/>
                  <a:gd name="connsiteX67" fmla="*/ 656177 w 3337751"/>
                  <a:gd name="connsiteY67" fmla="*/ 230505 h 383952"/>
                  <a:gd name="connsiteX68" fmla="*/ 656177 w 3337751"/>
                  <a:gd name="connsiteY68" fmla="*/ 236696 h 383952"/>
                  <a:gd name="connsiteX69" fmla="*/ 708755 w 3337751"/>
                  <a:gd name="connsiteY69" fmla="*/ 236696 h 383952"/>
                  <a:gd name="connsiteX70" fmla="*/ 708755 w 3337751"/>
                  <a:gd name="connsiteY70" fmla="*/ 242792 h 383952"/>
                  <a:gd name="connsiteX71" fmla="*/ 727710 w 3337751"/>
                  <a:gd name="connsiteY71" fmla="*/ 242792 h 383952"/>
                  <a:gd name="connsiteX72" fmla="*/ 727710 w 3337751"/>
                  <a:gd name="connsiteY72" fmla="*/ 248888 h 383952"/>
                  <a:gd name="connsiteX73" fmla="*/ 738188 w 3337751"/>
                  <a:gd name="connsiteY73" fmla="*/ 248888 h 383952"/>
                  <a:gd name="connsiteX74" fmla="*/ 738188 w 3337751"/>
                  <a:gd name="connsiteY74" fmla="*/ 255079 h 383952"/>
                  <a:gd name="connsiteX75" fmla="*/ 771906 w 3337751"/>
                  <a:gd name="connsiteY75" fmla="*/ 255079 h 383952"/>
                  <a:gd name="connsiteX76" fmla="*/ 771906 w 3337751"/>
                  <a:gd name="connsiteY76" fmla="*/ 261175 h 383952"/>
                  <a:gd name="connsiteX77" fmla="*/ 778193 w 3337751"/>
                  <a:gd name="connsiteY77" fmla="*/ 261175 h 383952"/>
                  <a:gd name="connsiteX78" fmla="*/ 778193 w 3337751"/>
                  <a:gd name="connsiteY78" fmla="*/ 267271 h 383952"/>
                  <a:gd name="connsiteX79" fmla="*/ 792861 w 3337751"/>
                  <a:gd name="connsiteY79" fmla="*/ 267271 h 383952"/>
                  <a:gd name="connsiteX80" fmla="*/ 792861 w 3337751"/>
                  <a:gd name="connsiteY80" fmla="*/ 273367 h 383952"/>
                  <a:gd name="connsiteX81" fmla="*/ 805529 w 3337751"/>
                  <a:gd name="connsiteY81" fmla="*/ 273367 h 383952"/>
                  <a:gd name="connsiteX82" fmla="*/ 805529 w 3337751"/>
                  <a:gd name="connsiteY82" fmla="*/ 279558 h 383952"/>
                  <a:gd name="connsiteX83" fmla="*/ 830771 w 3337751"/>
                  <a:gd name="connsiteY83" fmla="*/ 279558 h 383952"/>
                  <a:gd name="connsiteX84" fmla="*/ 830771 w 3337751"/>
                  <a:gd name="connsiteY84" fmla="*/ 285654 h 383952"/>
                  <a:gd name="connsiteX85" fmla="*/ 1060037 w 3337751"/>
                  <a:gd name="connsiteY85" fmla="*/ 285654 h 383952"/>
                  <a:gd name="connsiteX86" fmla="*/ 1060037 w 3337751"/>
                  <a:gd name="connsiteY86" fmla="*/ 291846 h 383952"/>
                  <a:gd name="connsiteX87" fmla="*/ 1173575 w 3337751"/>
                  <a:gd name="connsiteY87" fmla="*/ 291846 h 383952"/>
                  <a:gd name="connsiteX88" fmla="*/ 1173575 w 3337751"/>
                  <a:gd name="connsiteY88" fmla="*/ 298037 h 383952"/>
                  <a:gd name="connsiteX89" fmla="*/ 1442752 w 3337751"/>
                  <a:gd name="connsiteY89" fmla="*/ 298037 h 383952"/>
                  <a:gd name="connsiteX90" fmla="*/ 1442752 w 3337751"/>
                  <a:gd name="connsiteY90" fmla="*/ 304323 h 383952"/>
                  <a:gd name="connsiteX91" fmla="*/ 1516380 w 3337751"/>
                  <a:gd name="connsiteY91" fmla="*/ 304323 h 383952"/>
                  <a:gd name="connsiteX92" fmla="*/ 1516380 w 3337751"/>
                  <a:gd name="connsiteY92" fmla="*/ 310610 h 383952"/>
                  <a:gd name="connsiteX93" fmla="*/ 1596295 w 3337751"/>
                  <a:gd name="connsiteY93" fmla="*/ 310610 h 383952"/>
                  <a:gd name="connsiteX94" fmla="*/ 1596295 w 3337751"/>
                  <a:gd name="connsiteY94" fmla="*/ 316896 h 383952"/>
                  <a:gd name="connsiteX95" fmla="*/ 1758220 w 3337751"/>
                  <a:gd name="connsiteY95" fmla="*/ 316896 h 383952"/>
                  <a:gd name="connsiteX96" fmla="*/ 1758220 w 3337751"/>
                  <a:gd name="connsiteY96" fmla="*/ 323373 h 383952"/>
                  <a:gd name="connsiteX97" fmla="*/ 1775079 w 3337751"/>
                  <a:gd name="connsiteY97" fmla="*/ 323373 h 383952"/>
                  <a:gd name="connsiteX98" fmla="*/ 1775079 w 3337751"/>
                  <a:gd name="connsiteY98" fmla="*/ 329755 h 383952"/>
                  <a:gd name="connsiteX99" fmla="*/ 1892903 w 3337751"/>
                  <a:gd name="connsiteY99" fmla="*/ 329755 h 383952"/>
                  <a:gd name="connsiteX100" fmla="*/ 1892903 w 3337751"/>
                  <a:gd name="connsiteY100" fmla="*/ 336232 h 383952"/>
                  <a:gd name="connsiteX101" fmla="*/ 1985391 w 3337751"/>
                  <a:gd name="connsiteY101" fmla="*/ 336232 h 383952"/>
                  <a:gd name="connsiteX102" fmla="*/ 1985391 w 3337751"/>
                  <a:gd name="connsiteY102" fmla="*/ 342614 h 383952"/>
                  <a:gd name="connsiteX103" fmla="*/ 2004346 w 3337751"/>
                  <a:gd name="connsiteY103" fmla="*/ 342614 h 383952"/>
                  <a:gd name="connsiteX104" fmla="*/ 2004346 w 3337751"/>
                  <a:gd name="connsiteY104" fmla="*/ 349091 h 383952"/>
                  <a:gd name="connsiteX105" fmla="*/ 2858167 w 3337751"/>
                  <a:gd name="connsiteY105" fmla="*/ 349091 h 383952"/>
                  <a:gd name="connsiteX106" fmla="*/ 2858167 w 3337751"/>
                  <a:gd name="connsiteY106" fmla="*/ 383952 h 383952"/>
                  <a:gd name="connsiteX107" fmla="*/ 3337751 w 3337751"/>
                  <a:gd name="connsiteY107" fmla="*/ 383952 h 383952"/>
                  <a:gd name="connsiteX0" fmla="*/ 0 w 3316701"/>
                  <a:gd name="connsiteY0" fmla="*/ 0 h 377856"/>
                  <a:gd name="connsiteX1" fmla="*/ 0 w 3316701"/>
                  <a:gd name="connsiteY1" fmla="*/ 12096 h 377856"/>
                  <a:gd name="connsiteX2" fmla="*/ 4191 w 3316701"/>
                  <a:gd name="connsiteY2" fmla="*/ 12096 h 377856"/>
                  <a:gd name="connsiteX3" fmla="*/ 4191 w 3316701"/>
                  <a:gd name="connsiteY3" fmla="*/ 18192 h 377856"/>
                  <a:gd name="connsiteX4" fmla="*/ 27337 w 3316701"/>
                  <a:gd name="connsiteY4" fmla="*/ 18192 h 377856"/>
                  <a:gd name="connsiteX5" fmla="*/ 27337 w 3316701"/>
                  <a:gd name="connsiteY5" fmla="*/ 24288 h 377856"/>
                  <a:gd name="connsiteX6" fmla="*/ 31528 w 3316701"/>
                  <a:gd name="connsiteY6" fmla="*/ 24288 h 377856"/>
                  <a:gd name="connsiteX7" fmla="*/ 31528 w 3316701"/>
                  <a:gd name="connsiteY7" fmla="*/ 30289 h 377856"/>
                  <a:gd name="connsiteX8" fmla="*/ 37815 w 3316701"/>
                  <a:gd name="connsiteY8" fmla="*/ 30289 h 377856"/>
                  <a:gd name="connsiteX9" fmla="*/ 37815 w 3316701"/>
                  <a:gd name="connsiteY9" fmla="*/ 42481 h 377856"/>
                  <a:gd name="connsiteX10" fmla="*/ 56769 w 3316701"/>
                  <a:gd name="connsiteY10" fmla="*/ 42481 h 377856"/>
                  <a:gd name="connsiteX11" fmla="*/ 56769 w 3316701"/>
                  <a:gd name="connsiteY11" fmla="*/ 48482 h 377856"/>
                  <a:gd name="connsiteX12" fmla="*/ 65151 w 3316701"/>
                  <a:gd name="connsiteY12" fmla="*/ 48482 h 377856"/>
                  <a:gd name="connsiteX13" fmla="*/ 65151 w 3316701"/>
                  <a:gd name="connsiteY13" fmla="*/ 54578 h 377856"/>
                  <a:gd name="connsiteX14" fmla="*/ 77820 w 3316701"/>
                  <a:gd name="connsiteY14" fmla="*/ 54578 h 377856"/>
                  <a:gd name="connsiteX15" fmla="*/ 77820 w 3316701"/>
                  <a:gd name="connsiteY15" fmla="*/ 60674 h 377856"/>
                  <a:gd name="connsiteX16" fmla="*/ 94679 w 3316701"/>
                  <a:gd name="connsiteY16" fmla="*/ 60674 h 377856"/>
                  <a:gd name="connsiteX17" fmla="*/ 94679 w 3316701"/>
                  <a:gd name="connsiteY17" fmla="*/ 66675 h 377856"/>
                  <a:gd name="connsiteX18" fmla="*/ 122016 w 3316701"/>
                  <a:gd name="connsiteY18" fmla="*/ 66675 h 377856"/>
                  <a:gd name="connsiteX19" fmla="*/ 122016 w 3316701"/>
                  <a:gd name="connsiteY19" fmla="*/ 72771 h 377856"/>
                  <a:gd name="connsiteX20" fmla="*/ 124111 w 3316701"/>
                  <a:gd name="connsiteY20" fmla="*/ 72771 h 377856"/>
                  <a:gd name="connsiteX21" fmla="*/ 124111 w 3316701"/>
                  <a:gd name="connsiteY21" fmla="*/ 78867 h 377856"/>
                  <a:gd name="connsiteX22" fmla="*/ 134588 w 3316701"/>
                  <a:gd name="connsiteY22" fmla="*/ 78867 h 377856"/>
                  <a:gd name="connsiteX23" fmla="*/ 134588 w 3316701"/>
                  <a:gd name="connsiteY23" fmla="*/ 84867 h 377856"/>
                  <a:gd name="connsiteX24" fmla="*/ 140875 w 3316701"/>
                  <a:gd name="connsiteY24" fmla="*/ 84867 h 377856"/>
                  <a:gd name="connsiteX25" fmla="*/ 140875 w 3316701"/>
                  <a:gd name="connsiteY25" fmla="*/ 97059 h 377856"/>
                  <a:gd name="connsiteX26" fmla="*/ 149352 w 3316701"/>
                  <a:gd name="connsiteY26" fmla="*/ 97059 h 377856"/>
                  <a:gd name="connsiteX27" fmla="*/ 149352 w 3316701"/>
                  <a:gd name="connsiteY27" fmla="*/ 103060 h 377856"/>
                  <a:gd name="connsiteX28" fmla="*/ 155639 w 3316701"/>
                  <a:gd name="connsiteY28" fmla="*/ 103060 h 377856"/>
                  <a:gd name="connsiteX29" fmla="*/ 155639 w 3316701"/>
                  <a:gd name="connsiteY29" fmla="*/ 115252 h 377856"/>
                  <a:gd name="connsiteX30" fmla="*/ 157734 w 3316701"/>
                  <a:gd name="connsiteY30" fmla="*/ 115252 h 377856"/>
                  <a:gd name="connsiteX31" fmla="*/ 157734 w 3316701"/>
                  <a:gd name="connsiteY31" fmla="*/ 121348 h 377856"/>
                  <a:gd name="connsiteX32" fmla="*/ 170307 w 3316701"/>
                  <a:gd name="connsiteY32" fmla="*/ 121348 h 377856"/>
                  <a:gd name="connsiteX33" fmla="*/ 170307 w 3316701"/>
                  <a:gd name="connsiteY33" fmla="*/ 127349 h 377856"/>
                  <a:gd name="connsiteX34" fmla="*/ 193453 w 3316701"/>
                  <a:gd name="connsiteY34" fmla="*/ 127349 h 377856"/>
                  <a:gd name="connsiteX35" fmla="*/ 193453 w 3316701"/>
                  <a:gd name="connsiteY35" fmla="*/ 133445 h 377856"/>
                  <a:gd name="connsiteX36" fmla="*/ 199835 w 3316701"/>
                  <a:gd name="connsiteY36" fmla="*/ 133445 h 377856"/>
                  <a:gd name="connsiteX37" fmla="*/ 199835 w 3316701"/>
                  <a:gd name="connsiteY37" fmla="*/ 139541 h 377856"/>
                  <a:gd name="connsiteX38" fmla="*/ 208217 w 3316701"/>
                  <a:gd name="connsiteY38" fmla="*/ 139541 h 377856"/>
                  <a:gd name="connsiteX39" fmla="*/ 208217 w 3316701"/>
                  <a:gd name="connsiteY39" fmla="*/ 145542 h 377856"/>
                  <a:gd name="connsiteX40" fmla="*/ 216599 w 3316701"/>
                  <a:gd name="connsiteY40" fmla="*/ 145542 h 377856"/>
                  <a:gd name="connsiteX41" fmla="*/ 216599 w 3316701"/>
                  <a:gd name="connsiteY41" fmla="*/ 151638 h 377856"/>
                  <a:gd name="connsiteX42" fmla="*/ 220790 w 3316701"/>
                  <a:gd name="connsiteY42" fmla="*/ 151638 h 377856"/>
                  <a:gd name="connsiteX43" fmla="*/ 220790 w 3316701"/>
                  <a:gd name="connsiteY43" fmla="*/ 157734 h 377856"/>
                  <a:gd name="connsiteX44" fmla="*/ 294418 w 3316701"/>
                  <a:gd name="connsiteY44" fmla="*/ 157734 h 377856"/>
                  <a:gd name="connsiteX45" fmla="*/ 294418 w 3316701"/>
                  <a:gd name="connsiteY45" fmla="*/ 163734 h 377856"/>
                  <a:gd name="connsiteX46" fmla="*/ 315468 w 3316701"/>
                  <a:gd name="connsiteY46" fmla="*/ 163734 h 377856"/>
                  <a:gd name="connsiteX47" fmla="*/ 315468 w 3316701"/>
                  <a:gd name="connsiteY47" fmla="*/ 169830 h 377856"/>
                  <a:gd name="connsiteX48" fmla="*/ 321755 w 3316701"/>
                  <a:gd name="connsiteY48" fmla="*/ 169830 h 377856"/>
                  <a:gd name="connsiteX49" fmla="*/ 321755 w 3316701"/>
                  <a:gd name="connsiteY49" fmla="*/ 175926 h 377856"/>
                  <a:gd name="connsiteX50" fmla="*/ 363855 w 3316701"/>
                  <a:gd name="connsiteY50" fmla="*/ 175926 h 377856"/>
                  <a:gd name="connsiteX51" fmla="*/ 363855 w 3316701"/>
                  <a:gd name="connsiteY51" fmla="*/ 181927 h 377856"/>
                  <a:gd name="connsiteX52" fmla="*/ 378524 w 3316701"/>
                  <a:gd name="connsiteY52" fmla="*/ 181927 h 377856"/>
                  <a:gd name="connsiteX53" fmla="*/ 378524 w 3316701"/>
                  <a:gd name="connsiteY53" fmla="*/ 188023 h 377856"/>
                  <a:gd name="connsiteX54" fmla="*/ 408051 w 3316701"/>
                  <a:gd name="connsiteY54" fmla="*/ 188023 h 377856"/>
                  <a:gd name="connsiteX55" fmla="*/ 408051 w 3316701"/>
                  <a:gd name="connsiteY55" fmla="*/ 194119 h 377856"/>
                  <a:gd name="connsiteX56" fmla="*/ 410147 w 3316701"/>
                  <a:gd name="connsiteY56" fmla="*/ 194119 h 377856"/>
                  <a:gd name="connsiteX57" fmla="*/ 410147 w 3316701"/>
                  <a:gd name="connsiteY57" fmla="*/ 200120 h 377856"/>
                  <a:gd name="connsiteX58" fmla="*/ 433197 w 3316701"/>
                  <a:gd name="connsiteY58" fmla="*/ 200120 h 377856"/>
                  <a:gd name="connsiteX59" fmla="*/ 433197 w 3316701"/>
                  <a:gd name="connsiteY59" fmla="*/ 206216 h 377856"/>
                  <a:gd name="connsiteX60" fmla="*/ 445866 w 3316701"/>
                  <a:gd name="connsiteY60" fmla="*/ 206216 h 377856"/>
                  <a:gd name="connsiteX61" fmla="*/ 445866 w 3316701"/>
                  <a:gd name="connsiteY61" fmla="*/ 212312 h 377856"/>
                  <a:gd name="connsiteX62" fmla="*/ 481584 w 3316701"/>
                  <a:gd name="connsiteY62" fmla="*/ 212312 h 377856"/>
                  <a:gd name="connsiteX63" fmla="*/ 481584 w 3316701"/>
                  <a:gd name="connsiteY63" fmla="*/ 218408 h 377856"/>
                  <a:gd name="connsiteX64" fmla="*/ 597313 w 3316701"/>
                  <a:gd name="connsiteY64" fmla="*/ 218408 h 377856"/>
                  <a:gd name="connsiteX65" fmla="*/ 597313 w 3316701"/>
                  <a:gd name="connsiteY65" fmla="*/ 224409 h 377856"/>
                  <a:gd name="connsiteX66" fmla="*/ 635127 w 3316701"/>
                  <a:gd name="connsiteY66" fmla="*/ 224409 h 377856"/>
                  <a:gd name="connsiteX67" fmla="*/ 635127 w 3316701"/>
                  <a:gd name="connsiteY67" fmla="*/ 230600 h 377856"/>
                  <a:gd name="connsiteX68" fmla="*/ 687705 w 3316701"/>
                  <a:gd name="connsiteY68" fmla="*/ 230600 h 377856"/>
                  <a:gd name="connsiteX69" fmla="*/ 687705 w 3316701"/>
                  <a:gd name="connsiteY69" fmla="*/ 236696 h 377856"/>
                  <a:gd name="connsiteX70" fmla="*/ 706660 w 3316701"/>
                  <a:gd name="connsiteY70" fmla="*/ 236696 h 377856"/>
                  <a:gd name="connsiteX71" fmla="*/ 706660 w 3316701"/>
                  <a:gd name="connsiteY71" fmla="*/ 242792 h 377856"/>
                  <a:gd name="connsiteX72" fmla="*/ 717138 w 3316701"/>
                  <a:gd name="connsiteY72" fmla="*/ 242792 h 377856"/>
                  <a:gd name="connsiteX73" fmla="*/ 717138 w 3316701"/>
                  <a:gd name="connsiteY73" fmla="*/ 248983 h 377856"/>
                  <a:gd name="connsiteX74" fmla="*/ 750856 w 3316701"/>
                  <a:gd name="connsiteY74" fmla="*/ 248983 h 377856"/>
                  <a:gd name="connsiteX75" fmla="*/ 750856 w 3316701"/>
                  <a:gd name="connsiteY75" fmla="*/ 255079 h 377856"/>
                  <a:gd name="connsiteX76" fmla="*/ 757143 w 3316701"/>
                  <a:gd name="connsiteY76" fmla="*/ 255079 h 377856"/>
                  <a:gd name="connsiteX77" fmla="*/ 757143 w 3316701"/>
                  <a:gd name="connsiteY77" fmla="*/ 261175 h 377856"/>
                  <a:gd name="connsiteX78" fmla="*/ 771811 w 3316701"/>
                  <a:gd name="connsiteY78" fmla="*/ 261175 h 377856"/>
                  <a:gd name="connsiteX79" fmla="*/ 771811 w 3316701"/>
                  <a:gd name="connsiteY79" fmla="*/ 267271 h 377856"/>
                  <a:gd name="connsiteX80" fmla="*/ 784479 w 3316701"/>
                  <a:gd name="connsiteY80" fmla="*/ 267271 h 377856"/>
                  <a:gd name="connsiteX81" fmla="*/ 784479 w 3316701"/>
                  <a:gd name="connsiteY81" fmla="*/ 273462 h 377856"/>
                  <a:gd name="connsiteX82" fmla="*/ 809721 w 3316701"/>
                  <a:gd name="connsiteY82" fmla="*/ 273462 h 377856"/>
                  <a:gd name="connsiteX83" fmla="*/ 809721 w 3316701"/>
                  <a:gd name="connsiteY83" fmla="*/ 279558 h 377856"/>
                  <a:gd name="connsiteX84" fmla="*/ 1038987 w 3316701"/>
                  <a:gd name="connsiteY84" fmla="*/ 279558 h 377856"/>
                  <a:gd name="connsiteX85" fmla="*/ 1038987 w 3316701"/>
                  <a:gd name="connsiteY85" fmla="*/ 285750 h 377856"/>
                  <a:gd name="connsiteX86" fmla="*/ 1152525 w 3316701"/>
                  <a:gd name="connsiteY86" fmla="*/ 285750 h 377856"/>
                  <a:gd name="connsiteX87" fmla="*/ 1152525 w 3316701"/>
                  <a:gd name="connsiteY87" fmla="*/ 291941 h 377856"/>
                  <a:gd name="connsiteX88" fmla="*/ 1421702 w 3316701"/>
                  <a:gd name="connsiteY88" fmla="*/ 291941 h 377856"/>
                  <a:gd name="connsiteX89" fmla="*/ 1421702 w 3316701"/>
                  <a:gd name="connsiteY89" fmla="*/ 298227 h 377856"/>
                  <a:gd name="connsiteX90" fmla="*/ 1495330 w 3316701"/>
                  <a:gd name="connsiteY90" fmla="*/ 298227 h 377856"/>
                  <a:gd name="connsiteX91" fmla="*/ 1495330 w 3316701"/>
                  <a:gd name="connsiteY91" fmla="*/ 304514 h 377856"/>
                  <a:gd name="connsiteX92" fmla="*/ 1575245 w 3316701"/>
                  <a:gd name="connsiteY92" fmla="*/ 304514 h 377856"/>
                  <a:gd name="connsiteX93" fmla="*/ 1575245 w 3316701"/>
                  <a:gd name="connsiteY93" fmla="*/ 310800 h 377856"/>
                  <a:gd name="connsiteX94" fmla="*/ 1737170 w 3316701"/>
                  <a:gd name="connsiteY94" fmla="*/ 310800 h 377856"/>
                  <a:gd name="connsiteX95" fmla="*/ 1737170 w 3316701"/>
                  <a:gd name="connsiteY95" fmla="*/ 317277 h 377856"/>
                  <a:gd name="connsiteX96" fmla="*/ 1754029 w 3316701"/>
                  <a:gd name="connsiteY96" fmla="*/ 317277 h 377856"/>
                  <a:gd name="connsiteX97" fmla="*/ 1754029 w 3316701"/>
                  <a:gd name="connsiteY97" fmla="*/ 323659 h 377856"/>
                  <a:gd name="connsiteX98" fmla="*/ 1871853 w 3316701"/>
                  <a:gd name="connsiteY98" fmla="*/ 323659 h 377856"/>
                  <a:gd name="connsiteX99" fmla="*/ 1871853 w 3316701"/>
                  <a:gd name="connsiteY99" fmla="*/ 330136 h 377856"/>
                  <a:gd name="connsiteX100" fmla="*/ 1964341 w 3316701"/>
                  <a:gd name="connsiteY100" fmla="*/ 330136 h 377856"/>
                  <a:gd name="connsiteX101" fmla="*/ 1964341 w 3316701"/>
                  <a:gd name="connsiteY101" fmla="*/ 336518 h 377856"/>
                  <a:gd name="connsiteX102" fmla="*/ 1983296 w 3316701"/>
                  <a:gd name="connsiteY102" fmla="*/ 336518 h 377856"/>
                  <a:gd name="connsiteX103" fmla="*/ 1983296 w 3316701"/>
                  <a:gd name="connsiteY103" fmla="*/ 342995 h 377856"/>
                  <a:gd name="connsiteX104" fmla="*/ 2837117 w 3316701"/>
                  <a:gd name="connsiteY104" fmla="*/ 342995 h 377856"/>
                  <a:gd name="connsiteX105" fmla="*/ 2837117 w 3316701"/>
                  <a:gd name="connsiteY105" fmla="*/ 377856 h 377856"/>
                  <a:gd name="connsiteX106" fmla="*/ 3316701 w 3316701"/>
                  <a:gd name="connsiteY106" fmla="*/ 377856 h 377856"/>
                  <a:gd name="connsiteX0" fmla="*/ 0 w 3316701"/>
                  <a:gd name="connsiteY0" fmla="*/ 0 h 365760"/>
                  <a:gd name="connsiteX1" fmla="*/ 4191 w 3316701"/>
                  <a:gd name="connsiteY1" fmla="*/ 0 h 365760"/>
                  <a:gd name="connsiteX2" fmla="*/ 4191 w 3316701"/>
                  <a:gd name="connsiteY2" fmla="*/ 6096 h 365760"/>
                  <a:gd name="connsiteX3" fmla="*/ 27337 w 3316701"/>
                  <a:gd name="connsiteY3" fmla="*/ 6096 h 365760"/>
                  <a:gd name="connsiteX4" fmla="*/ 27337 w 3316701"/>
                  <a:gd name="connsiteY4" fmla="*/ 12192 h 365760"/>
                  <a:gd name="connsiteX5" fmla="*/ 31528 w 3316701"/>
                  <a:gd name="connsiteY5" fmla="*/ 12192 h 365760"/>
                  <a:gd name="connsiteX6" fmla="*/ 31528 w 3316701"/>
                  <a:gd name="connsiteY6" fmla="*/ 18193 h 365760"/>
                  <a:gd name="connsiteX7" fmla="*/ 37815 w 3316701"/>
                  <a:gd name="connsiteY7" fmla="*/ 18193 h 365760"/>
                  <a:gd name="connsiteX8" fmla="*/ 37815 w 3316701"/>
                  <a:gd name="connsiteY8" fmla="*/ 30385 h 365760"/>
                  <a:gd name="connsiteX9" fmla="*/ 56769 w 3316701"/>
                  <a:gd name="connsiteY9" fmla="*/ 30385 h 365760"/>
                  <a:gd name="connsiteX10" fmla="*/ 56769 w 3316701"/>
                  <a:gd name="connsiteY10" fmla="*/ 36386 h 365760"/>
                  <a:gd name="connsiteX11" fmla="*/ 65151 w 3316701"/>
                  <a:gd name="connsiteY11" fmla="*/ 36386 h 365760"/>
                  <a:gd name="connsiteX12" fmla="*/ 65151 w 3316701"/>
                  <a:gd name="connsiteY12" fmla="*/ 42482 h 365760"/>
                  <a:gd name="connsiteX13" fmla="*/ 77820 w 3316701"/>
                  <a:gd name="connsiteY13" fmla="*/ 42482 h 365760"/>
                  <a:gd name="connsiteX14" fmla="*/ 77820 w 3316701"/>
                  <a:gd name="connsiteY14" fmla="*/ 48578 h 365760"/>
                  <a:gd name="connsiteX15" fmla="*/ 94679 w 3316701"/>
                  <a:gd name="connsiteY15" fmla="*/ 48578 h 365760"/>
                  <a:gd name="connsiteX16" fmla="*/ 94679 w 3316701"/>
                  <a:gd name="connsiteY16" fmla="*/ 54579 h 365760"/>
                  <a:gd name="connsiteX17" fmla="*/ 122016 w 3316701"/>
                  <a:gd name="connsiteY17" fmla="*/ 54579 h 365760"/>
                  <a:gd name="connsiteX18" fmla="*/ 122016 w 3316701"/>
                  <a:gd name="connsiteY18" fmla="*/ 60675 h 365760"/>
                  <a:gd name="connsiteX19" fmla="*/ 124111 w 3316701"/>
                  <a:gd name="connsiteY19" fmla="*/ 60675 h 365760"/>
                  <a:gd name="connsiteX20" fmla="*/ 124111 w 3316701"/>
                  <a:gd name="connsiteY20" fmla="*/ 66771 h 365760"/>
                  <a:gd name="connsiteX21" fmla="*/ 134588 w 3316701"/>
                  <a:gd name="connsiteY21" fmla="*/ 66771 h 365760"/>
                  <a:gd name="connsiteX22" fmla="*/ 134588 w 3316701"/>
                  <a:gd name="connsiteY22" fmla="*/ 72771 h 365760"/>
                  <a:gd name="connsiteX23" fmla="*/ 140875 w 3316701"/>
                  <a:gd name="connsiteY23" fmla="*/ 72771 h 365760"/>
                  <a:gd name="connsiteX24" fmla="*/ 140875 w 3316701"/>
                  <a:gd name="connsiteY24" fmla="*/ 84963 h 365760"/>
                  <a:gd name="connsiteX25" fmla="*/ 149352 w 3316701"/>
                  <a:gd name="connsiteY25" fmla="*/ 84963 h 365760"/>
                  <a:gd name="connsiteX26" fmla="*/ 149352 w 3316701"/>
                  <a:gd name="connsiteY26" fmla="*/ 90964 h 365760"/>
                  <a:gd name="connsiteX27" fmla="*/ 155639 w 3316701"/>
                  <a:gd name="connsiteY27" fmla="*/ 90964 h 365760"/>
                  <a:gd name="connsiteX28" fmla="*/ 155639 w 3316701"/>
                  <a:gd name="connsiteY28" fmla="*/ 103156 h 365760"/>
                  <a:gd name="connsiteX29" fmla="*/ 157734 w 3316701"/>
                  <a:gd name="connsiteY29" fmla="*/ 103156 h 365760"/>
                  <a:gd name="connsiteX30" fmla="*/ 157734 w 3316701"/>
                  <a:gd name="connsiteY30" fmla="*/ 109252 h 365760"/>
                  <a:gd name="connsiteX31" fmla="*/ 170307 w 3316701"/>
                  <a:gd name="connsiteY31" fmla="*/ 109252 h 365760"/>
                  <a:gd name="connsiteX32" fmla="*/ 170307 w 3316701"/>
                  <a:gd name="connsiteY32" fmla="*/ 115253 h 365760"/>
                  <a:gd name="connsiteX33" fmla="*/ 193453 w 3316701"/>
                  <a:gd name="connsiteY33" fmla="*/ 115253 h 365760"/>
                  <a:gd name="connsiteX34" fmla="*/ 193453 w 3316701"/>
                  <a:gd name="connsiteY34" fmla="*/ 121349 h 365760"/>
                  <a:gd name="connsiteX35" fmla="*/ 199835 w 3316701"/>
                  <a:gd name="connsiteY35" fmla="*/ 121349 h 365760"/>
                  <a:gd name="connsiteX36" fmla="*/ 199835 w 3316701"/>
                  <a:gd name="connsiteY36" fmla="*/ 127445 h 365760"/>
                  <a:gd name="connsiteX37" fmla="*/ 208217 w 3316701"/>
                  <a:gd name="connsiteY37" fmla="*/ 127445 h 365760"/>
                  <a:gd name="connsiteX38" fmla="*/ 208217 w 3316701"/>
                  <a:gd name="connsiteY38" fmla="*/ 133446 h 365760"/>
                  <a:gd name="connsiteX39" fmla="*/ 216599 w 3316701"/>
                  <a:gd name="connsiteY39" fmla="*/ 133446 h 365760"/>
                  <a:gd name="connsiteX40" fmla="*/ 216599 w 3316701"/>
                  <a:gd name="connsiteY40" fmla="*/ 139542 h 365760"/>
                  <a:gd name="connsiteX41" fmla="*/ 220790 w 3316701"/>
                  <a:gd name="connsiteY41" fmla="*/ 139542 h 365760"/>
                  <a:gd name="connsiteX42" fmla="*/ 220790 w 3316701"/>
                  <a:gd name="connsiteY42" fmla="*/ 145638 h 365760"/>
                  <a:gd name="connsiteX43" fmla="*/ 294418 w 3316701"/>
                  <a:gd name="connsiteY43" fmla="*/ 145638 h 365760"/>
                  <a:gd name="connsiteX44" fmla="*/ 294418 w 3316701"/>
                  <a:gd name="connsiteY44" fmla="*/ 151638 h 365760"/>
                  <a:gd name="connsiteX45" fmla="*/ 315468 w 3316701"/>
                  <a:gd name="connsiteY45" fmla="*/ 151638 h 365760"/>
                  <a:gd name="connsiteX46" fmla="*/ 315468 w 3316701"/>
                  <a:gd name="connsiteY46" fmla="*/ 157734 h 365760"/>
                  <a:gd name="connsiteX47" fmla="*/ 321755 w 3316701"/>
                  <a:gd name="connsiteY47" fmla="*/ 157734 h 365760"/>
                  <a:gd name="connsiteX48" fmla="*/ 321755 w 3316701"/>
                  <a:gd name="connsiteY48" fmla="*/ 163830 h 365760"/>
                  <a:gd name="connsiteX49" fmla="*/ 363855 w 3316701"/>
                  <a:gd name="connsiteY49" fmla="*/ 163830 h 365760"/>
                  <a:gd name="connsiteX50" fmla="*/ 363855 w 3316701"/>
                  <a:gd name="connsiteY50" fmla="*/ 169831 h 365760"/>
                  <a:gd name="connsiteX51" fmla="*/ 378524 w 3316701"/>
                  <a:gd name="connsiteY51" fmla="*/ 169831 h 365760"/>
                  <a:gd name="connsiteX52" fmla="*/ 378524 w 3316701"/>
                  <a:gd name="connsiteY52" fmla="*/ 175927 h 365760"/>
                  <a:gd name="connsiteX53" fmla="*/ 408051 w 3316701"/>
                  <a:gd name="connsiteY53" fmla="*/ 175927 h 365760"/>
                  <a:gd name="connsiteX54" fmla="*/ 408051 w 3316701"/>
                  <a:gd name="connsiteY54" fmla="*/ 182023 h 365760"/>
                  <a:gd name="connsiteX55" fmla="*/ 410147 w 3316701"/>
                  <a:gd name="connsiteY55" fmla="*/ 182023 h 365760"/>
                  <a:gd name="connsiteX56" fmla="*/ 410147 w 3316701"/>
                  <a:gd name="connsiteY56" fmla="*/ 188024 h 365760"/>
                  <a:gd name="connsiteX57" fmla="*/ 433197 w 3316701"/>
                  <a:gd name="connsiteY57" fmla="*/ 188024 h 365760"/>
                  <a:gd name="connsiteX58" fmla="*/ 433197 w 3316701"/>
                  <a:gd name="connsiteY58" fmla="*/ 194120 h 365760"/>
                  <a:gd name="connsiteX59" fmla="*/ 445866 w 3316701"/>
                  <a:gd name="connsiteY59" fmla="*/ 194120 h 365760"/>
                  <a:gd name="connsiteX60" fmla="*/ 445866 w 3316701"/>
                  <a:gd name="connsiteY60" fmla="*/ 200216 h 365760"/>
                  <a:gd name="connsiteX61" fmla="*/ 481584 w 3316701"/>
                  <a:gd name="connsiteY61" fmla="*/ 200216 h 365760"/>
                  <a:gd name="connsiteX62" fmla="*/ 481584 w 3316701"/>
                  <a:gd name="connsiteY62" fmla="*/ 206312 h 365760"/>
                  <a:gd name="connsiteX63" fmla="*/ 597313 w 3316701"/>
                  <a:gd name="connsiteY63" fmla="*/ 206312 h 365760"/>
                  <a:gd name="connsiteX64" fmla="*/ 597313 w 3316701"/>
                  <a:gd name="connsiteY64" fmla="*/ 212313 h 365760"/>
                  <a:gd name="connsiteX65" fmla="*/ 635127 w 3316701"/>
                  <a:gd name="connsiteY65" fmla="*/ 212313 h 365760"/>
                  <a:gd name="connsiteX66" fmla="*/ 635127 w 3316701"/>
                  <a:gd name="connsiteY66" fmla="*/ 218504 h 365760"/>
                  <a:gd name="connsiteX67" fmla="*/ 687705 w 3316701"/>
                  <a:gd name="connsiteY67" fmla="*/ 218504 h 365760"/>
                  <a:gd name="connsiteX68" fmla="*/ 687705 w 3316701"/>
                  <a:gd name="connsiteY68" fmla="*/ 224600 h 365760"/>
                  <a:gd name="connsiteX69" fmla="*/ 706660 w 3316701"/>
                  <a:gd name="connsiteY69" fmla="*/ 224600 h 365760"/>
                  <a:gd name="connsiteX70" fmla="*/ 706660 w 3316701"/>
                  <a:gd name="connsiteY70" fmla="*/ 230696 h 365760"/>
                  <a:gd name="connsiteX71" fmla="*/ 717138 w 3316701"/>
                  <a:gd name="connsiteY71" fmla="*/ 230696 h 365760"/>
                  <a:gd name="connsiteX72" fmla="*/ 717138 w 3316701"/>
                  <a:gd name="connsiteY72" fmla="*/ 236887 h 365760"/>
                  <a:gd name="connsiteX73" fmla="*/ 750856 w 3316701"/>
                  <a:gd name="connsiteY73" fmla="*/ 236887 h 365760"/>
                  <a:gd name="connsiteX74" fmla="*/ 750856 w 3316701"/>
                  <a:gd name="connsiteY74" fmla="*/ 242983 h 365760"/>
                  <a:gd name="connsiteX75" fmla="*/ 757143 w 3316701"/>
                  <a:gd name="connsiteY75" fmla="*/ 242983 h 365760"/>
                  <a:gd name="connsiteX76" fmla="*/ 757143 w 3316701"/>
                  <a:gd name="connsiteY76" fmla="*/ 249079 h 365760"/>
                  <a:gd name="connsiteX77" fmla="*/ 771811 w 3316701"/>
                  <a:gd name="connsiteY77" fmla="*/ 249079 h 365760"/>
                  <a:gd name="connsiteX78" fmla="*/ 771811 w 3316701"/>
                  <a:gd name="connsiteY78" fmla="*/ 255175 h 365760"/>
                  <a:gd name="connsiteX79" fmla="*/ 784479 w 3316701"/>
                  <a:gd name="connsiteY79" fmla="*/ 255175 h 365760"/>
                  <a:gd name="connsiteX80" fmla="*/ 784479 w 3316701"/>
                  <a:gd name="connsiteY80" fmla="*/ 261366 h 365760"/>
                  <a:gd name="connsiteX81" fmla="*/ 809721 w 3316701"/>
                  <a:gd name="connsiteY81" fmla="*/ 261366 h 365760"/>
                  <a:gd name="connsiteX82" fmla="*/ 809721 w 3316701"/>
                  <a:gd name="connsiteY82" fmla="*/ 267462 h 365760"/>
                  <a:gd name="connsiteX83" fmla="*/ 1038987 w 3316701"/>
                  <a:gd name="connsiteY83" fmla="*/ 267462 h 365760"/>
                  <a:gd name="connsiteX84" fmla="*/ 1038987 w 3316701"/>
                  <a:gd name="connsiteY84" fmla="*/ 273654 h 365760"/>
                  <a:gd name="connsiteX85" fmla="*/ 1152525 w 3316701"/>
                  <a:gd name="connsiteY85" fmla="*/ 273654 h 365760"/>
                  <a:gd name="connsiteX86" fmla="*/ 1152525 w 3316701"/>
                  <a:gd name="connsiteY86" fmla="*/ 279845 h 365760"/>
                  <a:gd name="connsiteX87" fmla="*/ 1421702 w 3316701"/>
                  <a:gd name="connsiteY87" fmla="*/ 279845 h 365760"/>
                  <a:gd name="connsiteX88" fmla="*/ 1421702 w 3316701"/>
                  <a:gd name="connsiteY88" fmla="*/ 286131 h 365760"/>
                  <a:gd name="connsiteX89" fmla="*/ 1495330 w 3316701"/>
                  <a:gd name="connsiteY89" fmla="*/ 286131 h 365760"/>
                  <a:gd name="connsiteX90" fmla="*/ 1495330 w 3316701"/>
                  <a:gd name="connsiteY90" fmla="*/ 292418 h 365760"/>
                  <a:gd name="connsiteX91" fmla="*/ 1575245 w 3316701"/>
                  <a:gd name="connsiteY91" fmla="*/ 292418 h 365760"/>
                  <a:gd name="connsiteX92" fmla="*/ 1575245 w 3316701"/>
                  <a:gd name="connsiteY92" fmla="*/ 298704 h 365760"/>
                  <a:gd name="connsiteX93" fmla="*/ 1737170 w 3316701"/>
                  <a:gd name="connsiteY93" fmla="*/ 298704 h 365760"/>
                  <a:gd name="connsiteX94" fmla="*/ 1737170 w 3316701"/>
                  <a:gd name="connsiteY94" fmla="*/ 305181 h 365760"/>
                  <a:gd name="connsiteX95" fmla="*/ 1754029 w 3316701"/>
                  <a:gd name="connsiteY95" fmla="*/ 305181 h 365760"/>
                  <a:gd name="connsiteX96" fmla="*/ 1754029 w 3316701"/>
                  <a:gd name="connsiteY96" fmla="*/ 311563 h 365760"/>
                  <a:gd name="connsiteX97" fmla="*/ 1871853 w 3316701"/>
                  <a:gd name="connsiteY97" fmla="*/ 311563 h 365760"/>
                  <a:gd name="connsiteX98" fmla="*/ 1871853 w 3316701"/>
                  <a:gd name="connsiteY98" fmla="*/ 318040 h 365760"/>
                  <a:gd name="connsiteX99" fmla="*/ 1964341 w 3316701"/>
                  <a:gd name="connsiteY99" fmla="*/ 318040 h 365760"/>
                  <a:gd name="connsiteX100" fmla="*/ 1964341 w 3316701"/>
                  <a:gd name="connsiteY100" fmla="*/ 324422 h 365760"/>
                  <a:gd name="connsiteX101" fmla="*/ 1983296 w 3316701"/>
                  <a:gd name="connsiteY101" fmla="*/ 324422 h 365760"/>
                  <a:gd name="connsiteX102" fmla="*/ 1983296 w 3316701"/>
                  <a:gd name="connsiteY102" fmla="*/ 330899 h 365760"/>
                  <a:gd name="connsiteX103" fmla="*/ 2837117 w 3316701"/>
                  <a:gd name="connsiteY103" fmla="*/ 330899 h 365760"/>
                  <a:gd name="connsiteX104" fmla="*/ 2837117 w 3316701"/>
                  <a:gd name="connsiteY104" fmla="*/ 365760 h 365760"/>
                  <a:gd name="connsiteX105" fmla="*/ 3316701 w 3316701"/>
                  <a:gd name="connsiteY105" fmla="*/ 365760 h 365760"/>
                  <a:gd name="connsiteX0" fmla="*/ 0 w 3316701"/>
                  <a:gd name="connsiteY0" fmla="*/ 0 h 365760"/>
                  <a:gd name="connsiteX1" fmla="*/ 4191 w 3316701"/>
                  <a:gd name="connsiteY1" fmla="*/ 6096 h 365760"/>
                  <a:gd name="connsiteX2" fmla="*/ 27337 w 3316701"/>
                  <a:gd name="connsiteY2" fmla="*/ 6096 h 365760"/>
                  <a:gd name="connsiteX3" fmla="*/ 27337 w 3316701"/>
                  <a:gd name="connsiteY3" fmla="*/ 12192 h 365760"/>
                  <a:gd name="connsiteX4" fmla="*/ 31528 w 3316701"/>
                  <a:gd name="connsiteY4" fmla="*/ 12192 h 365760"/>
                  <a:gd name="connsiteX5" fmla="*/ 31528 w 3316701"/>
                  <a:gd name="connsiteY5" fmla="*/ 18193 h 365760"/>
                  <a:gd name="connsiteX6" fmla="*/ 37815 w 3316701"/>
                  <a:gd name="connsiteY6" fmla="*/ 18193 h 365760"/>
                  <a:gd name="connsiteX7" fmla="*/ 37815 w 3316701"/>
                  <a:gd name="connsiteY7" fmla="*/ 30385 h 365760"/>
                  <a:gd name="connsiteX8" fmla="*/ 56769 w 3316701"/>
                  <a:gd name="connsiteY8" fmla="*/ 30385 h 365760"/>
                  <a:gd name="connsiteX9" fmla="*/ 56769 w 3316701"/>
                  <a:gd name="connsiteY9" fmla="*/ 36386 h 365760"/>
                  <a:gd name="connsiteX10" fmla="*/ 65151 w 3316701"/>
                  <a:gd name="connsiteY10" fmla="*/ 36386 h 365760"/>
                  <a:gd name="connsiteX11" fmla="*/ 65151 w 3316701"/>
                  <a:gd name="connsiteY11" fmla="*/ 42482 h 365760"/>
                  <a:gd name="connsiteX12" fmla="*/ 77820 w 3316701"/>
                  <a:gd name="connsiteY12" fmla="*/ 42482 h 365760"/>
                  <a:gd name="connsiteX13" fmla="*/ 77820 w 3316701"/>
                  <a:gd name="connsiteY13" fmla="*/ 48578 h 365760"/>
                  <a:gd name="connsiteX14" fmla="*/ 94679 w 3316701"/>
                  <a:gd name="connsiteY14" fmla="*/ 48578 h 365760"/>
                  <a:gd name="connsiteX15" fmla="*/ 94679 w 3316701"/>
                  <a:gd name="connsiteY15" fmla="*/ 54579 h 365760"/>
                  <a:gd name="connsiteX16" fmla="*/ 122016 w 3316701"/>
                  <a:gd name="connsiteY16" fmla="*/ 54579 h 365760"/>
                  <a:gd name="connsiteX17" fmla="*/ 122016 w 3316701"/>
                  <a:gd name="connsiteY17" fmla="*/ 60675 h 365760"/>
                  <a:gd name="connsiteX18" fmla="*/ 124111 w 3316701"/>
                  <a:gd name="connsiteY18" fmla="*/ 60675 h 365760"/>
                  <a:gd name="connsiteX19" fmla="*/ 124111 w 3316701"/>
                  <a:gd name="connsiteY19" fmla="*/ 66771 h 365760"/>
                  <a:gd name="connsiteX20" fmla="*/ 134588 w 3316701"/>
                  <a:gd name="connsiteY20" fmla="*/ 66771 h 365760"/>
                  <a:gd name="connsiteX21" fmla="*/ 134588 w 3316701"/>
                  <a:gd name="connsiteY21" fmla="*/ 72771 h 365760"/>
                  <a:gd name="connsiteX22" fmla="*/ 140875 w 3316701"/>
                  <a:gd name="connsiteY22" fmla="*/ 72771 h 365760"/>
                  <a:gd name="connsiteX23" fmla="*/ 140875 w 3316701"/>
                  <a:gd name="connsiteY23" fmla="*/ 84963 h 365760"/>
                  <a:gd name="connsiteX24" fmla="*/ 149352 w 3316701"/>
                  <a:gd name="connsiteY24" fmla="*/ 84963 h 365760"/>
                  <a:gd name="connsiteX25" fmla="*/ 149352 w 3316701"/>
                  <a:gd name="connsiteY25" fmla="*/ 90964 h 365760"/>
                  <a:gd name="connsiteX26" fmla="*/ 155639 w 3316701"/>
                  <a:gd name="connsiteY26" fmla="*/ 90964 h 365760"/>
                  <a:gd name="connsiteX27" fmla="*/ 155639 w 3316701"/>
                  <a:gd name="connsiteY27" fmla="*/ 103156 h 365760"/>
                  <a:gd name="connsiteX28" fmla="*/ 157734 w 3316701"/>
                  <a:gd name="connsiteY28" fmla="*/ 103156 h 365760"/>
                  <a:gd name="connsiteX29" fmla="*/ 157734 w 3316701"/>
                  <a:gd name="connsiteY29" fmla="*/ 109252 h 365760"/>
                  <a:gd name="connsiteX30" fmla="*/ 170307 w 3316701"/>
                  <a:gd name="connsiteY30" fmla="*/ 109252 h 365760"/>
                  <a:gd name="connsiteX31" fmla="*/ 170307 w 3316701"/>
                  <a:gd name="connsiteY31" fmla="*/ 115253 h 365760"/>
                  <a:gd name="connsiteX32" fmla="*/ 193453 w 3316701"/>
                  <a:gd name="connsiteY32" fmla="*/ 115253 h 365760"/>
                  <a:gd name="connsiteX33" fmla="*/ 193453 w 3316701"/>
                  <a:gd name="connsiteY33" fmla="*/ 121349 h 365760"/>
                  <a:gd name="connsiteX34" fmla="*/ 199835 w 3316701"/>
                  <a:gd name="connsiteY34" fmla="*/ 121349 h 365760"/>
                  <a:gd name="connsiteX35" fmla="*/ 199835 w 3316701"/>
                  <a:gd name="connsiteY35" fmla="*/ 127445 h 365760"/>
                  <a:gd name="connsiteX36" fmla="*/ 208217 w 3316701"/>
                  <a:gd name="connsiteY36" fmla="*/ 127445 h 365760"/>
                  <a:gd name="connsiteX37" fmla="*/ 208217 w 3316701"/>
                  <a:gd name="connsiteY37" fmla="*/ 133446 h 365760"/>
                  <a:gd name="connsiteX38" fmla="*/ 216599 w 3316701"/>
                  <a:gd name="connsiteY38" fmla="*/ 133446 h 365760"/>
                  <a:gd name="connsiteX39" fmla="*/ 216599 w 3316701"/>
                  <a:gd name="connsiteY39" fmla="*/ 139542 h 365760"/>
                  <a:gd name="connsiteX40" fmla="*/ 220790 w 3316701"/>
                  <a:gd name="connsiteY40" fmla="*/ 139542 h 365760"/>
                  <a:gd name="connsiteX41" fmla="*/ 220790 w 3316701"/>
                  <a:gd name="connsiteY41" fmla="*/ 145638 h 365760"/>
                  <a:gd name="connsiteX42" fmla="*/ 294418 w 3316701"/>
                  <a:gd name="connsiteY42" fmla="*/ 145638 h 365760"/>
                  <a:gd name="connsiteX43" fmla="*/ 294418 w 3316701"/>
                  <a:gd name="connsiteY43" fmla="*/ 151638 h 365760"/>
                  <a:gd name="connsiteX44" fmla="*/ 315468 w 3316701"/>
                  <a:gd name="connsiteY44" fmla="*/ 151638 h 365760"/>
                  <a:gd name="connsiteX45" fmla="*/ 315468 w 3316701"/>
                  <a:gd name="connsiteY45" fmla="*/ 157734 h 365760"/>
                  <a:gd name="connsiteX46" fmla="*/ 321755 w 3316701"/>
                  <a:gd name="connsiteY46" fmla="*/ 157734 h 365760"/>
                  <a:gd name="connsiteX47" fmla="*/ 321755 w 3316701"/>
                  <a:gd name="connsiteY47" fmla="*/ 163830 h 365760"/>
                  <a:gd name="connsiteX48" fmla="*/ 363855 w 3316701"/>
                  <a:gd name="connsiteY48" fmla="*/ 163830 h 365760"/>
                  <a:gd name="connsiteX49" fmla="*/ 363855 w 3316701"/>
                  <a:gd name="connsiteY49" fmla="*/ 169831 h 365760"/>
                  <a:gd name="connsiteX50" fmla="*/ 378524 w 3316701"/>
                  <a:gd name="connsiteY50" fmla="*/ 169831 h 365760"/>
                  <a:gd name="connsiteX51" fmla="*/ 378524 w 3316701"/>
                  <a:gd name="connsiteY51" fmla="*/ 175927 h 365760"/>
                  <a:gd name="connsiteX52" fmla="*/ 408051 w 3316701"/>
                  <a:gd name="connsiteY52" fmla="*/ 175927 h 365760"/>
                  <a:gd name="connsiteX53" fmla="*/ 408051 w 3316701"/>
                  <a:gd name="connsiteY53" fmla="*/ 182023 h 365760"/>
                  <a:gd name="connsiteX54" fmla="*/ 410147 w 3316701"/>
                  <a:gd name="connsiteY54" fmla="*/ 182023 h 365760"/>
                  <a:gd name="connsiteX55" fmla="*/ 410147 w 3316701"/>
                  <a:gd name="connsiteY55" fmla="*/ 188024 h 365760"/>
                  <a:gd name="connsiteX56" fmla="*/ 433197 w 3316701"/>
                  <a:gd name="connsiteY56" fmla="*/ 188024 h 365760"/>
                  <a:gd name="connsiteX57" fmla="*/ 433197 w 3316701"/>
                  <a:gd name="connsiteY57" fmla="*/ 194120 h 365760"/>
                  <a:gd name="connsiteX58" fmla="*/ 445866 w 3316701"/>
                  <a:gd name="connsiteY58" fmla="*/ 194120 h 365760"/>
                  <a:gd name="connsiteX59" fmla="*/ 445866 w 3316701"/>
                  <a:gd name="connsiteY59" fmla="*/ 200216 h 365760"/>
                  <a:gd name="connsiteX60" fmla="*/ 481584 w 3316701"/>
                  <a:gd name="connsiteY60" fmla="*/ 200216 h 365760"/>
                  <a:gd name="connsiteX61" fmla="*/ 481584 w 3316701"/>
                  <a:gd name="connsiteY61" fmla="*/ 206312 h 365760"/>
                  <a:gd name="connsiteX62" fmla="*/ 597313 w 3316701"/>
                  <a:gd name="connsiteY62" fmla="*/ 206312 h 365760"/>
                  <a:gd name="connsiteX63" fmla="*/ 597313 w 3316701"/>
                  <a:gd name="connsiteY63" fmla="*/ 212313 h 365760"/>
                  <a:gd name="connsiteX64" fmla="*/ 635127 w 3316701"/>
                  <a:gd name="connsiteY64" fmla="*/ 212313 h 365760"/>
                  <a:gd name="connsiteX65" fmla="*/ 635127 w 3316701"/>
                  <a:gd name="connsiteY65" fmla="*/ 218504 h 365760"/>
                  <a:gd name="connsiteX66" fmla="*/ 687705 w 3316701"/>
                  <a:gd name="connsiteY66" fmla="*/ 218504 h 365760"/>
                  <a:gd name="connsiteX67" fmla="*/ 687705 w 3316701"/>
                  <a:gd name="connsiteY67" fmla="*/ 224600 h 365760"/>
                  <a:gd name="connsiteX68" fmla="*/ 706660 w 3316701"/>
                  <a:gd name="connsiteY68" fmla="*/ 224600 h 365760"/>
                  <a:gd name="connsiteX69" fmla="*/ 706660 w 3316701"/>
                  <a:gd name="connsiteY69" fmla="*/ 230696 h 365760"/>
                  <a:gd name="connsiteX70" fmla="*/ 717138 w 3316701"/>
                  <a:gd name="connsiteY70" fmla="*/ 230696 h 365760"/>
                  <a:gd name="connsiteX71" fmla="*/ 717138 w 3316701"/>
                  <a:gd name="connsiteY71" fmla="*/ 236887 h 365760"/>
                  <a:gd name="connsiteX72" fmla="*/ 750856 w 3316701"/>
                  <a:gd name="connsiteY72" fmla="*/ 236887 h 365760"/>
                  <a:gd name="connsiteX73" fmla="*/ 750856 w 3316701"/>
                  <a:gd name="connsiteY73" fmla="*/ 242983 h 365760"/>
                  <a:gd name="connsiteX74" fmla="*/ 757143 w 3316701"/>
                  <a:gd name="connsiteY74" fmla="*/ 242983 h 365760"/>
                  <a:gd name="connsiteX75" fmla="*/ 757143 w 3316701"/>
                  <a:gd name="connsiteY75" fmla="*/ 249079 h 365760"/>
                  <a:gd name="connsiteX76" fmla="*/ 771811 w 3316701"/>
                  <a:gd name="connsiteY76" fmla="*/ 249079 h 365760"/>
                  <a:gd name="connsiteX77" fmla="*/ 771811 w 3316701"/>
                  <a:gd name="connsiteY77" fmla="*/ 255175 h 365760"/>
                  <a:gd name="connsiteX78" fmla="*/ 784479 w 3316701"/>
                  <a:gd name="connsiteY78" fmla="*/ 255175 h 365760"/>
                  <a:gd name="connsiteX79" fmla="*/ 784479 w 3316701"/>
                  <a:gd name="connsiteY79" fmla="*/ 261366 h 365760"/>
                  <a:gd name="connsiteX80" fmla="*/ 809721 w 3316701"/>
                  <a:gd name="connsiteY80" fmla="*/ 261366 h 365760"/>
                  <a:gd name="connsiteX81" fmla="*/ 809721 w 3316701"/>
                  <a:gd name="connsiteY81" fmla="*/ 267462 h 365760"/>
                  <a:gd name="connsiteX82" fmla="*/ 1038987 w 3316701"/>
                  <a:gd name="connsiteY82" fmla="*/ 267462 h 365760"/>
                  <a:gd name="connsiteX83" fmla="*/ 1038987 w 3316701"/>
                  <a:gd name="connsiteY83" fmla="*/ 273654 h 365760"/>
                  <a:gd name="connsiteX84" fmla="*/ 1152525 w 3316701"/>
                  <a:gd name="connsiteY84" fmla="*/ 273654 h 365760"/>
                  <a:gd name="connsiteX85" fmla="*/ 1152525 w 3316701"/>
                  <a:gd name="connsiteY85" fmla="*/ 279845 h 365760"/>
                  <a:gd name="connsiteX86" fmla="*/ 1421702 w 3316701"/>
                  <a:gd name="connsiteY86" fmla="*/ 279845 h 365760"/>
                  <a:gd name="connsiteX87" fmla="*/ 1421702 w 3316701"/>
                  <a:gd name="connsiteY87" fmla="*/ 286131 h 365760"/>
                  <a:gd name="connsiteX88" fmla="*/ 1495330 w 3316701"/>
                  <a:gd name="connsiteY88" fmla="*/ 286131 h 365760"/>
                  <a:gd name="connsiteX89" fmla="*/ 1495330 w 3316701"/>
                  <a:gd name="connsiteY89" fmla="*/ 292418 h 365760"/>
                  <a:gd name="connsiteX90" fmla="*/ 1575245 w 3316701"/>
                  <a:gd name="connsiteY90" fmla="*/ 292418 h 365760"/>
                  <a:gd name="connsiteX91" fmla="*/ 1575245 w 3316701"/>
                  <a:gd name="connsiteY91" fmla="*/ 298704 h 365760"/>
                  <a:gd name="connsiteX92" fmla="*/ 1737170 w 3316701"/>
                  <a:gd name="connsiteY92" fmla="*/ 298704 h 365760"/>
                  <a:gd name="connsiteX93" fmla="*/ 1737170 w 3316701"/>
                  <a:gd name="connsiteY93" fmla="*/ 305181 h 365760"/>
                  <a:gd name="connsiteX94" fmla="*/ 1754029 w 3316701"/>
                  <a:gd name="connsiteY94" fmla="*/ 305181 h 365760"/>
                  <a:gd name="connsiteX95" fmla="*/ 1754029 w 3316701"/>
                  <a:gd name="connsiteY95" fmla="*/ 311563 h 365760"/>
                  <a:gd name="connsiteX96" fmla="*/ 1871853 w 3316701"/>
                  <a:gd name="connsiteY96" fmla="*/ 311563 h 365760"/>
                  <a:gd name="connsiteX97" fmla="*/ 1871853 w 3316701"/>
                  <a:gd name="connsiteY97" fmla="*/ 318040 h 365760"/>
                  <a:gd name="connsiteX98" fmla="*/ 1964341 w 3316701"/>
                  <a:gd name="connsiteY98" fmla="*/ 318040 h 365760"/>
                  <a:gd name="connsiteX99" fmla="*/ 1964341 w 3316701"/>
                  <a:gd name="connsiteY99" fmla="*/ 324422 h 365760"/>
                  <a:gd name="connsiteX100" fmla="*/ 1983296 w 3316701"/>
                  <a:gd name="connsiteY100" fmla="*/ 324422 h 365760"/>
                  <a:gd name="connsiteX101" fmla="*/ 1983296 w 3316701"/>
                  <a:gd name="connsiteY101" fmla="*/ 330899 h 365760"/>
                  <a:gd name="connsiteX102" fmla="*/ 2837117 w 3316701"/>
                  <a:gd name="connsiteY102" fmla="*/ 330899 h 365760"/>
                  <a:gd name="connsiteX103" fmla="*/ 2837117 w 3316701"/>
                  <a:gd name="connsiteY103" fmla="*/ 365760 h 365760"/>
                  <a:gd name="connsiteX104" fmla="*/ 3316701 w 3316701"/>
                  <a:gd name="connsiteY104" fmla="*/ 365760 h 365760"/>
                  <a:gd name="connsiteX0" fmla="*/ 0 w 3316701"/>
                  <a:gd name="connsiteY0" fmla="*/ 0 h 365760"/>
                  <a:gd name="connsiteX1" fmla="*/ 27337 w 3316701"/>
                  <a:gd name="connsiteY1" fmla="*/ 6096 h 365760"/>
                  <a:gd name="connsiteX2" fmla="*/ 27337 w 3316701"/>
                  <a:gd name="connsiteY2" fmla="*/ 12192 h 365760"/>
                  <a:gd name="connsiteX3" fmla="*/ 31528 w 3316701"/>
                  <a:gd name="connsiteY3" fmla="*/ 12192 h 365760"/>
                  <a:gd name="connsiteX4" fmla="*/ 31528 w 3316701"/>
                  <a:gd name="connsiteY4" fmla="*/ 18193 h 365760"/>
                  <a:gd name="connsiteX5" fmla="*/ 37815 w 3316701"/>
                  <a:gd name="connsiteY5" fmla="*/ 18193 h 365760"/>
                  <a:gd name="connsiteX6" fmla="*/ 37815 w 3316701"/>
                  <a:gd name="connsiteY6" fmla="*/ 30385 h 365760"/>
                  <a:gd name="connsiteX7" fmla="*/ 56769 w 3316701"/>
                  <a:gd name="connsiteY7" fmla="*/ 30385 h 365760"/>
                  <a:gd name="connsiteX8" fmla="*/ 56769 w 3316701"/>
                  <a:gd name="connsiteY8" fmla="*/ 36386 h 365760"/>
                  <a:gd name="connsiteX9" fmla="*/ 65151 w 3316701"/>
                  <a:gd name="connsiteY9" fmla="*/ 36386 h 365760"/>
                  <a:gd name="connsiteX10" fmla="*/ 65151 w 3316701"/>
                  <a:gd name="connsiteY10" fmla="*/ 42482 h 365760"/>
                  <a:gd name="connsiteX11" fmla="*/ 77820 w 3316701"/>
                  <a:gd name="connsiteY11" fmla="*/ 42482 h 365760"/>
                  <a:gd name="connsiteX12" fmla="*/ 77820 w 3316701"/>
                  <a:gd name="connsiteY12" fmla="*/ 48578 h 365760"/>
                  <a:gd name="connsiteX13" fmla="*/ 94679 w 3316701"/>
                  <a:gd name="connsiteY13" fmla="*/ 48578 h 365760"/>
                  <a:gd name="connsiteX14" fmla="*/ 94679 w 3316701"/>
                  <a:gd name="connsiteY14" fmla="*/ 54579 h 365760"/>
                  <a:gd name="connsiteX15" fmla="*/ 122016 w 3316701"/>
                  <a:gd name="connsiteY15" fmla="*/ 54579 h 365760"/>
                  <a:gd name="connsiteX16" fmla="*/ 122016 w 3316701"/>
                  <a:gd name="connsiteY16" fmla="*/ 60675 h 365760"/>
                  <a:gd name="connsiteX17" fmla="*/ 124111 w 3316701"/>
                  <a:gd name="connsiteY17" fmla="*/ 60675 h 365760"/>
                  <a:gd name="connsiteX18" fmla="*/ 124111 w 3316701"/>
                  <a:gd name="connsiteY18" fmla="*/ 66771 h 365760"/>
                  <a:gd name="connsiteX19" fmla="*/ 134588 w 3316701"/>
                  <a:gd name="connsiteY19" fmla="*/ 66771 h 365760"/>
                  <a:gd name="connsiteX20" fmla="*/ 134588 w 3316701"/>
                  <a:gd name="connsiteY20" fmla="*/ 72771 h 365760"/>
                  <a:gd name="connsiteX21" fmla="*/ 140875 w 3316701"/>
                  <a:gd name="connsiteY21" fmla="*/ 72771 h 365760"/>
                  <a:gd name="connsiteX22" fmla="*/ 140875 w 3316701"/>
                  <a:gd name="connsiteY22" fmla="*/ 84963 h 365760"/>
                  <a:gd name="connsiteX23" fmla="*/ 149352 w 3316701"/>
                  <a:gd name="connsiteY23" fmla="*/ 84963 h 365760"/>
                  <a:gd name="connsiteX24" fmla="*/ 149352 w 3316701"/>
                  <a:gd name="connsiteY24" fmla="*/ 90964 h 365760"/>
                  <a:gd name="connsiteX25" fmla="*/ 155639 w 3316701"/>
                  <a:gd name="connsiteY25" fmla="*/ 90964 h 365760"/>
                  <a:gd name="connsiteX26" fmla="*/ 155639 w 3316701"/>
                  <a:gd name="connsiteY26" fmla="*/ 103156 h 365760"/>
                  <a:gd name="connsiteX27" fmla="*/ 157734 w 3316701"/>
                  <a:gd name="connsiteY27" fmla="*/ 103156 h 365760"/>
                  <a:gd name="connsiteX28" fmla="*/ 157734 w 3316701"/>
                  <a:gd name="connsiteY28" fmla="*/ 109252 h 365760"/>
                  <a:gd name="connsiteX29" fmla="*/ 170307 w 3316701"/>
                  <a:gd name="connsiteY29" fmla="*/ 109252 h 365760"/>
                  <a:gd name="connsiteX30" fmla="*/ 170307 w 3316701"/>
                  <a:gd name="connsiteY30" fmla="*/ 115253 h 365760"/>
                  <a:gd name="connsiteX31" fmla="*/ 193453 w 3316701"/>
                  <a:gd name="connsiteY31" fmla="*/ 115253 h 365760"/>
                  <a:gd name="connsiteX32" fmla="*/ 193453 w 3316701"/>
                  <a:gd name="connsiteY32" fmla="*/ 121349 h 365760"/>
                  <a:gd name="connsiteX33" fmla="*/ 199835 w 3316701"/>
                  <a:gd name="connsiteY33" fmla="*/ 121349 h 365760"/>
                  <a:gd name="connsiteX34" fmla="*/ 199835 w 3316701"/>
                  <a:gd name="connsiteY34" fmla="*/ 127445 h 365760"/>
                  <a:gd name="connsiteX35" fmla="*/ 208217 w 3316701"/>
                  <a:gd name="connsiteY35" fmla="*/ 127445 h 365760"/>
                  <a:gd name="connsiteX36" fmla="*/ 208217 w 3316701"/>
                  <a:gd name="connsiteY36" fmla="*/ 133446 h 365760"/>
                  <a:gd name="connsiteX37" fmla="*/ 216599 w 3316701"/>
                  <a:gd name="connsiteY37" fmla="*/ 133446 h 365760"/>
                  <a:gd name="connsiteX38" fmla="*/ 216599 w 3316701"/>
                  <a:gd name="connsiteY38" fmla="*/ 139542 h 365760"/>
                  <a:gd name="connsiteX39" fmla="*/ 220790 w 3316701"/>
                  <a:gd name="connsiteY39" fmla="*/ 139542 h 365760"/>
                  <a:gd name="connsiteX40" fmla="*/ 220790 w 3316701"/>
                  <a:gd name="connsiteY40" fmla="*/ 145638 h 365760"/>
                  <a:gd name="connsiteX41" fmla="*/ 294418 w 3316701"/>
                  <a:gd name="connsiteY41" fmla="*/ 145638 h 365760"/>
                  <a:gd name="connsiteX42" fmla="*/ 294418 w 3316701"/>
                  <a:gd name="connsiteY42" fmla="*/ 151638 h 365760"/>
                  <a:gd name="connsiteX43" fmla="*/ 315468 w 3316701"/>
                  <a:gd name="connsiteY43" fmla="*/ 151638 h 365760"/>
                  <a:gd name="connsiteX44" fmla="*/ 315468 w 3316701"/>
                  <a:gd name="connsiteY44" fmla="*/ 157734 h 365760"/>
                  <a:gd name="connsiteX45" fmla="*/ 321755 w 3316701"/>
                  <a:gd name="connsiteY45" fmla="*/ 157734 h 365760"/>
                  <a:gd name="connsiteX46" fmla="*/ 321755 w 3316701"/>
                  <a:gd name="connsiteY46" fmla="*/ 163830 h 365760"/>
                  <a:gd name="connsiteX47" fmla="*/ 363855 w 3316701"/>
                  <a:gd name="connsiteY47" fmla="*/ 163830 h 365760"/>
                  <a:gd name="connsiteX48" fmla="*/ 363855 w 3316701"/>
                  <a:gd name="connsiteY48" fmla="*/ 169831 h 365760"/>
                  <a:gd name="connsiteX49" fmla="*/ 378524 w 3316701"/>
                  <a:gd name="connsiteY49" fmla="*/ 169831 h 365760"/>
                  <a:gd name="connsiteX50" fmla="*/ 378524 w 3316701"/>
                  <a:gd name="connsiteY50" fmla="*/ 175927 h 365760"/>
                  <a:gd name="connsiteX51" fmla="*/ 408051 w 3316701"/>
                  <a:gd name="connsiteY51" fmla="*/ 175927 h 365760"/>
                  <a:gd name="connsiteX52" fmla="*/ 408051 w 3316701"/>
                  <a:gd name="connsiteY52" fmla="*/ 182023 h 365760"/>
                  <a:gd name="connsiteX53" fmla="*/ 410147 w 3316701"/>
                  <a:gd name="connsiteY53" fmla="*/ 182023 h 365760"/>
                  <a:gd name="connsiteX54" fmla="*/ 410147 w 3316701"/>
                  <a:gd name="connsiteY54" fmla="*/ 188024 h 365760"/>
                  <a:gd name="connsiteX55" fmla="*/ 433197 w 3316701"/>
                  <a:gd name="connsiteY55" fmla="*/ 188024 h 365760"/>
                  <a:gd name="connsiteX56" fmla="*/ 433197 w 3316701"/>
                  <a:gd name="connsiteY56" fmla="*/ 194120 h 365760"/>
                  <a:gd name="connsiteX57" fmla="*/ 445866 w 3316701"/>
                  <a:gd name="connsiteY57" fmla="*/ 194120 h 365760"/>
                  <a:gd name="connsiteX58" fmla="*/ 445866 w 3316701"/>
                  <a:gd name="connsiteY58" fmla="*/ 200216 h 365760"/>
                  <a:gd name="connsiteX59" fmla="*/ 481584 w 3316701"/>
                  <a:gd name="connsiteY59" fmla="*/ 200216 h 365760"/>
                  <a:gd name="connsiteX60" fmla="*/ 481584 w 3316701"/>
                  <a:gd name="connsiteY60" fmla="*/ 206312 h 365760"/>
                  <a:gd name="connsiteX61" fmla="*/ 597313 w 3316701"/>
                  <a:gd name="connsiteY61" fmla="*/ 206312 h 365760"/>
                  <a:gd name="connsiteX62" fmla="*/ 597313 w 3316701"/>
                  <a:gd name="connsiteY62" fmla="*/ 212313 h 365760"/>
                  <a:gd name="connsiteX63" fmla="*/ 635127 w 3316701"/>
                  <a:gd name="connsiteY63" fmla="*/ 212313 h 365760"/>
                  <a:gd name="connsiteX64" fmla="*/ 635127 w 3316701"/>
                  <a:gd name="connsiteY64" fmla="*/ 218504 h 365760"/>
                  <a:gd name="connsiteX65" fmla="*/ 687705 w 3316701"/>
                  <a:gd name="connsiteY65" fmla="*/ 218504 h 365760"/>
                  <a:gd name="connsiteX66" fmla="*/ 687705 w 3316701"/>
                  <a:gd name="connsiteY66" fmla="*/ 224600 h 365760"/>
                  <a:gd name="connsiteX67" fmla="*/ 706660 w 3316701"/>
                  <a:gd name="connsiteY67" fmla="*/ 224600 h 365760"/>
                  <a:gd name="connsiteX68" fmla="*/ 706660 w 3316701"/>
                  <a:gd name="connsiteY68" fmla="*/ 230696 h 365760"/>
                  <a:gd name="connsiteX69" fmla="*/ 717138 w 3316701"/>
                  <a:gd name="connsiteY69" fmla="*/ 230696 h 365760"/>
                  <a:gd name="connsiteX70" fmla="*/ 717138 w 3316701"/>
                  <a:gd name="connsiteY70" fmla="*/ 236887 h 365760"/>
                  <a:gd name="connsiteX71" fmla="*/ 750856 w 3316701"/>
                  <a:gd name="connsiteY71" fmla="*/ 236887 h 365760"/>
                  <a:gd name="connsiteX72" fmla="*/ 750856 w 3316701"/>
                  <a:gd name="connsiteY72" fmla="*/ 242983 h 365760"/>
                  <a:gd name="connsiteX73" fmla="*/ 757143 w 3316701"/>
                  <a:gd name="connsiteY73" fmla="*/ 242983 h 365760"/>
                  <a:gd name="connsiteX74" fmla="*/ 757143 w 3316701"/>
                  <a:gd name="connsiteY74" fmla="*/ 249079 h 365760"/>
                  <a:gd name="connsiteX75" fmla="*/ 771811 w 3316701"/>
                  <a:gd name="connsiteY75" fmla="*/ 249079 h 365760"/>
                  <a:gd name="connsiteX76" fmla="*/ 771811 w 3316701"/>
                  <a:gd name="connsiteY76" fmla="*/ 255175 h 365760"/>
                  <a:gd name="connsiteX77" fmla="*/ 784479 w 3316701"/>
                  <a:gd name="connsiteY77" fmla="*/ 255175 h 365760"/>
                  <a:gd name="connsiteX78" fmla="*/ 784479 w 3316701"/>
                  <a:gd name="connsiteY78" fmla="*/ 261366 h 365760"/>
                  <a:gd name="connsiteX79" fmla="*/ 809721 w 3316701"/>
                  <a:gd name="connsiteY79" fmla="*/ 261366 h 365760"/>
                  <a:gd name="connsiteX80" fmla="*/ 809721 w 3316701"/>
                  <a:gd name="connsiteY80" fmla="*/ 267462 h 365760"/>
                  <a:gd name="connsiteX81" fmla="*/ 1038987 w 3316701"/>
                  <a:gd name="connsiteY81" fmla="*/ 267462 h 365760"/>
                  <a:gd name="connsiteX82" fmla="*/ 1038987 w 3316701"/>
                  <a:gd name="connsiteY82" fmla="*/ 273654 h 365760"/>
                  <a:gd name="connsiteX83" fmla="*/ 1152525 w 3316701"/>
                  <a:gd name="connsiteY83" fmla="*/ 273654 h 365760"/>
                  <a:gd name="connsiteX84" fmla="*/ 1152525 w 3316701"/>
                  <a:gd name="connsiteY84" fmla="*/ 279845 h 365760"/>
                  <a:gd name="connsiteX85" fmla="*/ 1421702 w 3316701"/>
                  <a:gd name="connsiteY85" fmla="*/ 279845 h 365760"/>
                  <a:gd name="connsiteX86" fmla="*/ 1421702 w 3316701"/>
                  <a:gd name="connsiteY86" fmla="*/ 286131 h 365760"/>
                  <a:gd name="connsiteX87" fmla="*/ 1495330 w 3316701"/>
                  <a:gd name="connsiteY87" fmla="*/ 286131 h 365760"/>
                  <a:gd name="connsiteX88" fmla="*/ 1495330 w 3316701"/>
                  <a:gd name="connsiteY88" fmla="*/ 292418 h 365760"/>
                  <a:gd name="connsiteX89" fmla="*/ 1575245 w 3316701"/>
                  <a:gd name="connsiteY89" fmla="*/ 292418 h 365760"/>
                  <a:gd name="connsiteX90" fmla="*/ 1575245 w 3316701"/>
                  <a:gd name="connsiteY90" fmla="*/ 298704 h 365760"/>
                  <a:gd name="connsiteX91" fmla="*/ 1737170 w 3316701"/>
                  <a:gd name="connsiteY91" fmla="*/ 298704 h 365760"/>
                  <a:gd name="connsiteX92" fmla="*/ 1737170 w 3316701"/>
                  <a:gd name="connsiteY92" fmla="*/ 305181 h 365760"/>
                  <a:gd name="connsiteX93" fmla="*/ 1754029 w 3316701"/>
                  <a:gd name="connsiteY93" fmla="*/ 305181 h 365760"/>
                  <a:gd name="connsiteX94" fmla="*/ 1754029 w 3316701"/>
                  <a:gd name="connsiteY94" fmla="*/ 311563 h 365760"/>
                  <a:gd name="connsiteX95" fmla="*/ 1871853 w 3316701"/>
                  <a:gd name="connsiteY95" fmla="*/ 311563 h 365760"/>
                  <a:gd name="connsiteX96" fmla="*/ 1871853 w 3316701"/>
                  <a:gd name="connsiteY96" fmla="*/ 318040 h 365760"/>
                  <a:gd name="connsiteX97" fmla="*/ 1964341 w 3316701"/>
                  <a:gd name="connsiteY97" fmla="*/ 318040 h 365760"/>
                  <a:gd name="connsiteX98" fmla="*/ 1964341 w 3316701"/>
                  <a:gd name="connsiteY98" fmla="*/ 324422 h 365760"/>
                  <a:gd name="connsiteX99" fmla="*/ 1983296 w 3316701"/>
                  <a:gd name="connsiteY99" fmla="*/ 324422 h 365760"/>
                  <a:gd name="connsiteX100" fmla="*/ 1983296 w 3316701"/>
                  <a:gd name="connsiteY100" fmla="*/ 330899 h 365760"/>
                  <a:gd name="connsiteX101" fmla="*/ 2837117 w 3316701"/>
                  <a:gd name="connsiteY101" fmla="*/ 330899 h 365760"/>
                  <a:gd name="connsiteX102" fmla="*/ 2837117 w 3316701"/>
                  <a:gd name="connsiteY102" fmla="*/ 365760 h 365760"/>
                  <a:gd name="connsiteX103" fmla="*/ 3316701 w 3316701"/>
                  <a:gd name="connsiteY103" fmla="*/ 365760 h 365760"/>
                  <a:gd name="connsiteX0" fmla="*/ 0 w 3289364"/>
                  <a:gd name="connsiteY0" fmla="*/ 0 h 359664"/>
                  <a:gd name="connsiteX1" fmla="*/ 0 w 3289364"/>
                  <a:gd name="connsiteY1" fmla="*/ 6096 h 359664"/>
                  <a:gd name="connsiteX2" fmla="*/ 4191 w 3289364"/>
                  <a:gd name="connsiteY2" fmla="*/ 6096 h 359664"/>
                  <a:gd name="connsiteX3" fmla="*/ 4191 w 3289364"/>
                  <a:gd name="connsiteY3" fmla="*/ 12097 h 359664"/>
                  <a:gd name="connsiteX4" fmla="*/ 10478 w 3289364"/>
                  <a:gd name="connsiteY4" fmla="*/ 12097 h 359664"/>
                  <a:gd name="connsiteX5" fmla="*/ 10478 w 3289364"/>
                  <a:gd name="connsiteY5" fmla="*/ 24289 h 359664"/>
                  <a:gd name="connsiteX6" fmla="*/ 29432 w 3289364"/>
                  <a:gd name="connsiteY6" fmla="*/ 24289 h 359664"/>
                  <a:gd name="connsiteX7" fmla="*/ 29432 w 3289364"/>
                  <a:gd name="connsiteY7" fmla="*/ 30290 h 359664"/>
                  <a:gd name="connsiteX8" fmla="*/ 37814 w 3289364"/>
                  <a:gd name="connsiteY8" fmla="*/ 30290 h 359664"/>
                  <a:gd name="connsiteX9" fmla="*/ 37814 w 3289364"/>
                  <a:gd name="connsiteY9" fmla="*/ 36386 h 359664"/>
                  <a:gd name="connsiteX10" fmla="*/ 50483 w 3289364"/>
                  <a:gd name="connsiteY10" fmla="*/ 36386 h 359664"/>
                  <a:gd name="connsiteX11" fmla="*/ 50483 w 3289364"/>
                  <a:gd name="connsiteY11" fmla="*/ 42482 h 359664"/>
                  <a:gd name="connsiteX12" fmla="*/ 67342 w 3289364"/>
                  <a:gd name="connsiteY12" fmla="*/ 42482 h 359664"/>
                  <a:gd name="connsiteX13" fmla="*/ 67342 w 3289364"/>
                  <a:gd name="connsiteY13" fmla="*/ 48483 h 359664"/>
                  <a:gd name="connsiteX14" fmla="*/ 94679 w 3289364"/>
                  <a:gd name="connsiteY14" fmla="*/ 48483 h 359664"/>
                  <a:gd name="connsiteX15" fmla="*/ 94679 w 3289364"/>
                  <a:gd name="connsiteY15" fmla="*/ 54579 h 359664"/>
                  <a:gd name="connsiteX16" fmla="*/ 96774 w 3289364"/>
                  <a:gd name="connsiteY16" fmla="*/ 54579 h 359664"/>
                  <a:gd name="connsiteX17" fmla="*/ 96774 w 3289364"/>
                  <a:gd name="connsiteY17" fmla="*/ 60675 h 359664"/>
                  <a:gd name="connsiteX18" fmla="*/ 107251 w 3289364"/>
                  <a:gd name="connsiteY18" fmla="*/ 60675 h 359664"/>
                  <a:gd name="connsiteX19" fmla="*/ 107251 w 3289364"/>
                  <a:gd name="connsiteY19" fmla="*/ 66675 h 359664"/>
                  <a:gd name="connsiteX20" fmla="*/ 113538 w 3289364"/>
                  <a:gd name="connsiteY20" fmla="*/ 66675 h 359664"/>
                  <a:gd name="connsiteX21" fmla="*/ 113538 w 3289364"/>
                  <a:gd name="connsiteY21" fmla="*/ 78867 h 359664"/>
                  <a:gd name="connsiteX22" fmla="*/ 122015 w 3289364"/>
                  <a:gd name="connsiteY22" fmla="*/ 78867 h 359664"/>
                  <a:gd name="connsiteX23" fmla="*/ 122015 w 3289364"/>
                  <a:gd name="connsiteY23" fmla="*/ 84868 h 359664"/>
                  <a:gd name="connsiteX24" fmla="*/ 128302 w 3289364"/>
                  <a:gd name="connsiteY24" fmla="*/ 84868 h 359664"/>
                  <a:gd name="connsiteX25" fmla="*/ 128302 w 3289364"/>
                  <a:gd name="connsiteY25" fmla="*/ 97060 h 359664"/>
                  <a:gd name="connsiteX26" fmla="*/ 130397 w 3289364"/>
                  <a:gd name="connsiteY26" fmla="*/ 97060 h 359664"/>
                  <a:gd name="connsiteX27" fmla="*/ 130397 w 3289364"/>
                  <a:gd name="connsiteY27" fmla="*/ 103156 h 359664"/>
                  <a:gd name="connsiteX28" fmla="*/ 142970 w 3289364"/>
                  <a:gd name="connsiteY28" fmla="*/ 103156 h 359664"/>
                  <a:gd name="connsiteX29" fmla="*/ 142970 w 3289364"/>
                  <a:gd name="connsiteY29" fmla="*/ 109157 h 359664"/>
                  <a:gd name="connsiteX30" fmla="*/ 166116 w 3289364"/>
                  <a:gd name="connsiteY30" fmla="*/ 109157 h 359664"/>
                  <a:gd name="connsiteX31" fmla="*/ 166116 w 3289364"/>
                  <a:gd name="connsiteY31" fmla="*/ 115253 h 359664"/>
                  <a:gd name="connsiteX32" fmla="*/ 172498 w 3289364"/>
                  <a:gd name="connsiteY32" fmla="*/ 115253 h 359664"/>
                  <a:gd name="connsiteX33" fmla="*/ 172498 w 3289364"/>
                  <a:gd name="connsiteY33" fmla="*/ 121349 h 359664"/>
                  <a:gd name="connsiteX34" fmla="*/ 180880 w 3289364"/>
                  <a:gd name="connsiteY34" fmla="*/ 121349 h 359664"/>
                  <a:gd name="connsiteX35" fmla="*/ 180880 w 3289364"/>
                  <a:gd name="connsiteY35" fmla="*/ 127350 h 359664"/>
                  <a:gd name="connsiteX36" fmla="*/ 189262 w 3289364"/>
                  <a:gd name="connsiteY36" fmla="*/ 127350 h 359664"/>
                  <a:gd name="connsiteX37" fmla="*/ 189262 w 3289364"/>
                  <a:gd name="connsiteY37" fmla="*/ 133446 h 359664"/>
                  <a:gd name="connsiteX38" fmla="*/ 193453 w 3289364"/>
                  <a:gd name="connsiteY38" fmla="*/ 133446 h 359664"/>
                  <a:gd name="connsiteX39" fmla="*/ 193453 w 3289364"/>
                  <a:gd name="connsiteY39" fmla="*/ 139542 h 359664"/>
                  <a:gd name="connsiteX40" fmla="*/ 267081 w 3289364"/>
                  <a:gd name="connsiteY40" fmla="*/ 139542 h 359664"/>
                  <a:gd name="connsiteX41" fmla="*/ 267081 w 3289364"/>
                  <a:gd name="connsiteY41" fmla="*/ 145542 h 359664"/>
                  <a:gd name="connsiteX42" fmla="*/ 288131 w 3289364"/>
                  <a:gd name="connsiteY42" fmla="*/ 145542 h 359664"/>
                  <a:gd name="connsiteX43" fmla="*/ 288131 w 3289364"/>
                  <a:gd name="connsiteY43" fmla="*/ 151638 h 359664"/>
                  <a:gd name="connsiteX44" fmla="*/ 294418 w 3289364"/>
                  <a:gd name="connsiteY44" fmla="*/ 151638 h 359664"/>
                  <a:gd name="connsiteX45" fmla="*/ 294418 w 3289364"/>
                  <a:gd name="connsiteY45" fmla="*/ 157734 h 359664"/>
                  <a:gd name="connsiteX46" fmla="*/ 336518 w 3289364"/>
                  <a:gd name="connsiteY46" fmla="*/ 157734 h 359664"/>
                  <a:gd name="connsiteX47" fmla="*/ 336518 w 3289364"/>
                  <a:gd name="connsiteY47" fmla="*/ 163735 h 359664"/>
                  <a:gd name="connsiteX48" fmla="*/ 351187 w 3289364"/>
                  <a:gd name="connsiteY48" fmla="*/ 163735 h 359664"/>
                  <a:gd name="connsiteX49" fmla="*/ 351187 w 3289364"/>
                  <a:gd name="connsiteY49" fmla="*/ 169831 h 359664"/>
                  <a:gd name="connsiteX50" fmla="*/ 380714 w 3289364"/>
                  <a:gd name="connsiteY50" fmla="*/ 169831 h 359664"/>
                  <a:gd name="connsiteX51" fmla="*/ 380714 w 3289364"/>
                  <a:gd name="connsiteY51" fmla="*/ 175927 h 359664"/>
                  <a:gd name="connsiteX52" fmla="*/ 382810 w 3289364"/>
                  <a:gd name="connsiteY52" fmla="*/ 175927 h 359664"/>
                  <a:gd name="connsiteX53" fmla="*/ 382810 w 3289364"/>
                  <a:gd name="connsiteY53" fmla="*/ 181928 h 359664"/>
                  <a:gd name="connsiteX54" fmla="*/ 405860 w 3289364"/>
                  <a:gd name="connsiteY54" fmla="*/ 181928 h 359664"/>
                  <a:gd name="connsiteX55" fmla="*/ 405860 w 3289364"/>
                  <a:gd name="connsiteY55" fmla="*/ 188024 h 359664"/>
                  <a:gd name="connsiteX56" fmla="*/ 418529 w 3289364"/>
                  <a:gd name="connsiteY56" fmla="*/ 188024 h 359664"/>
                  <a:gd name="connsiteX57" fmla="*/ 418529 w 3289364"/>
                  <a:gd name="connsiteY57" fmla="*/ 194120 h 359664"/>
                  <a:gd name="connsiteX58" fmla="*/ 454247 w 3289364"/>
                  <a:gd name="connsiteY58" fmla="*/ 194120 h 359664"/>
                  <a:gd name="connsiteX59" fmla="*/ 454247 w 3289364"/>
                  <a:gd name="connsiteY59" fmla="*/ 200216 h 359664"/>
                  <a:gd name="connsiteX60" fmla="*/ 569976 w 3289364"/>
                  <a:gd name="connsiteY60" fmla="*/ 200216 h 359664"/>
                  <a:gd name="connsiteX61" fmla="*/ 569976 w 3289364"/>
                  <a:gd name="connsiteY61" fmla="*/ 206217 h 359664"/>
                  <a:gd name="connsiteX62" fmla="*/ 607790 w 3289364"/>
                  <a:gd name="connsiteY62" fmla="*/ 206217 h 359664"/>
                  <a:gd name="connsiteX63" fmla="*/ 607790 w 3289364"/>
                  <a:gd name="connsiteY63" fmla="*/ 212408 h 359664"/>
                  <a:gd name="connsiteX64" fmla="*/ 660368 w 3289364"/>
                  <a:gd name="connsiteY64" fmla="*/ 212408 h 359664"/>
                  <a:gd name="connsiteX65" fmla="*/ 660368 w 3289364"/>
                  <a:gd name="connsiteY65" fmla="*/ 218504 h 359664"/>
                  <a:gd name="connsiteX66" fmla="*/ 679323 w 3289364"/>
                  <a:gd name="connsiteY66" fmla="*/ 218504 h 359664"/>
                  <a:gd name="connsiteX67" fmla="*/ 679323 w 3289364"/>
                  <a:gd name="connsiteY67" fmla="*/ 224600 h 359664"/>
                  <a:gd name="connsiteX68" fmla="*/ 689801 w 3289364"/>
                  <a:gd name="connsiteY68" fmla="*/ 224600 h 359664"/>
                  <a:gd name="connsiteX69" fmla="*/ 689801 w 3289364"/>
                  <a:gd name="connsiteY69" fmla="*/ 230791 h 359664"/>
                  <a:gd name="connsiteX70" fmla="*/ 723519 w 3289364"/>
                  <a:gd name="connsiteY70" fmla="*/ 230791 h 359664"/>
                  <a:gd name="connsiteX71" fmla="*/ 723519 w 3289364"/>
                  <a:gd name="connsiteY71" fmla="*/ 236887 h 359664"/>
                  <a:gd name="connsiteX72" fmla="*/ 729806 w 3289364"/>
                  <a:gd name="connsiteY72" fmla="*/ 236887 h 359664"/>
                  <a:gd name="connsiteX73" fmla="*/ 729806 w 3289364"/>
                  <a:gd name="connsiteY73" fmla="*/ 242983 h 359664"/>
                  <a:gd name="connsiteX74" fmla="*/ 744474 w 3289364"/>
                  <a:gd name="connsiteY74" fmla="*/ 242983 h 359664"/>
                  <a:gd name="connsiteX75" fmla="*/ 744474 w 3289364"/>
                  <a:gd name="connsiteY75" fmla="*/ 249079 h 359664"/>
                  <a:gd name="connsiteX76" fmla="*/ 757142 w 3289364"/>
                  <a:gd name="connsiteY76" fmla="*/ 249079 h 359664"/>
                  <a:gd name="connsiteX77" fmla="*/ 757142 w 3289364"/>
                  <a:gd name="connsiteY77" fmla="*/ 255270 h 359664"/>
                  <a:gd name="connsiteX78" fmla="*/ 782384 w 3289364"/>
                  <a:gd name="connsiteY78" fmla="*/ 255270 h 359664"/>
                  <a:gd name="connsiteX79" fmla="*/ 782384 w 3289364"/>
                  <a:gd name="connsiteY79" fmla="*/ 261366 h 359664"/>
                  <a:gd name="connsiteX80" fmla="*/ 1011650 w 3289364"/>
                  <a:gd name="connsiteY80" fmla="*/ 261366 h 359664"/>
                  <a:gd name="connsiteX81" fmla="*/ 1011650 w 3289364"/>
                  <a:gd name="connsiteY81" fmla="*/ 267558 h 359664"/>
                  <a:gd name="connsiteX82" fmla="*/ 1125188 w 3289364"/>
                  <a:gd name="connsiteY82" fmla="*/ 267558 h 359664"/>
                  <a:gd name="connsiteX83" fmla="*/ 1125188 w 3289364"/>
                  <a:gd name="connsiteY83" fmla="*/ 273749 h 359664"/>
                  <a:gd name="connsiteX84" fmla="*/ 1394365 w 3289364"/>
                  <a:gd name="connsiteY84" fmla="*/ 273749 h 359664"/>
                  <a:gd name="connsiteX85" fmla="*/ 1394365 w 3289364"/>
                  <a:gd name="connsiteY85" fmla="*/ 280035 h 359664"/>
                  <a:gd name="connsiteX86" fmla="*/ 1467993 w 3289364"/>
                  <a:gd name="connsiteY86" fmla="*/ 280035 h 359664"/>
                  <a:gd name="connsiteX87" fmla="*/ 1467993 w 3289364"/>
                  <a:gd name="connsiteY87" fmla="*/ 286322 h 359664"/>
                  <a:gd name="connsiteX88" fmla="*/ 1547908 w 3289364"/>
                  <a:gd name="connsiteY88" fmla="*/ 286322 h 359664"/>
                  <a:gd name="connsiteX89" fmla="*/ 1547908 w 3289364"/>
                  <a:gd name="connsiteY89" fmla="*/ 292608 h 359664"/>
                  <a:gd name="connsiteX90" fmla="*/ 1709833 w 3289364"/>
                  <a:gd name="connsiteY90" fmla="*/ 292608 h 359664"/>
                  <a:gd name="connsiteX91" fmla="*/ 1709833 w 3289364"/>
                  <a:gd name="connsiteY91" fmla="*/ 299085 h 359664"/>
                  <a:gd name="connsiteX92" fmla="*/ 1726692 w 3289364"/>
                  <a:gd name="connsiteY92" fmla="*/ 299085 h 359664"/>
                  <a:gd name="connsiteX93" fmla="*/ 1726692 w 3289364"/>
                  <a:gd name="connsiteY93" fmla="*/ 305467 h 359664"/>
                  <a:gd name="connsiteX94" fmla="*/ 1844516 w 3289364"/>
                  <a:gd name="connsiteY94" fmla="*/ 305467 h 359664"/>
                  <a:gd name="connsiteX95" fmla="*/ 1844516 w 3289364"/>
                  <a:gd name="connsiteY95" fmla="*/ 311944 h 359664"/>
                  <a:gd name="connsiteX96" fmla="*/ 1937004 w 3289364"/>
                  <a:gd name="connsiteY96" fmla="*/ 311944 h 359664"/>
                  <a:gd name="connsiteX97" fmla="*/ 1937004 w 3289364"/>
                  <a:gd name="connsiteY97" fmla="*/ 318326 h 359664"/>
                  <a:gd name="connsiteX98" fmla="*/ 1955959 w 3289364"/>
                  <a:gd name="connsiteY98" fmla="*/ 318326 h 359664"/>
                  <a:gd name="connsiteX99" fmla="*/ 1955959 w 3289364"/>
                  <a:gd name="connsiteY99" fmla="*/ 324803 h 359664"/>
                  <a:gd name="connsiteX100" fmla="*/ 2809780 w 3289364"/>
                  <a:gd name="connsiteY100" fmla="*/ 324803 h 359664"/>
                  <a:gd name="connsiteX101" fmla="*/ 2809780 w 3289364"/>
                  <a:gd name="connsiteY101" fmla="*/ 359664 h 359664"/>
                  <a:gd name="connsiteX102" fmla="*/ 3289364 w 3289364"/>
                  <a:gd name="connsiteY102" fmla="*/ 359664 h 359664"/>
                  <a:gd name="connsiteX0" fmla="*/ 0 w 3289364"/>
                  <a:gd name="connsiteY0" fmla="*/ 0 h 359664"/>
                  <a:gd name="connsiteX1" fmla="*/ 0 w 3289364"/>
                  <a:gd name="connsiteY1" fmla="*/ 6096 h 359664"/>
                  <a:gd name="connsiteX2" fmla="*/ 4191 w 3289364"/>
                  <a:gd name="connsiteY2" fmla="*/ 12097 h 359664"/>
                  <a:gd name="connsiteX3" fmla="*/ 10478 w 3289364"/>
                  <a:gd name="connsiteY3" fmla="*/ 12097 h 359664"/>
                  <a:gd name="connsiteX4" fmla="*/ 10478 w 3289364"/>
                  <a:gd name="connsiteY4" fmla="*/ 24289 h 359664"/>
                  <a:gd name="connsiteX5" fmla="*/ 29432 w 3289364"/>
                  <a:gd name="connsiteY5" fmla="*/ 24289 h 359664"/>
                  <a:gd name="connsiteX6" fmla="*/ 29432 w 3289364"/>
                  <a:gd name="connsiteY6" fmla="*/ 30290 h 359664"/>
                  <a:gd name="connsiteX7" fmla="*/ 37814 w 3289364"/>
                  <a:gd name="connsiteY7" fmla="*/ 30290 h 359664"/>
                  <a:gd name="connsiteX8" fmla="*/ 37814 w 3289364"/>
                  <a:gd name="connsiteY8" fmla="*/ 36386 h 359664"/>
                  <a:gd name="connsiteX9" fmla="*/ 50483 w 3289364"/>
                  <a:gd name="connsiteY9" fmla="*/ 36386 h 359664"/>
                  <a:gd name="connsiteX10" fmla="*/ 50483 w 3289364"/>
                  <a:gd name="connsiteY10" fmla="*/ 42482 h 359664"/>
                  <a:gd name="connsiteX11" fmla="*/ 67342 w 3289364"/>
                  <a:gd name="connsiteY11" fmla="*/ 42482 h 359664"/>
                  <a:gd name="connsiteX12" fmla="*/ 67342 w 3289364"/>
                  <a:gd name="connsiteY12" fmla="*/ 48483 h 359664"/>
                  <a:gd name="connsiteX13" fmla="*/ 94679 w 3289364"/>
                  <a:gd name="connsiteY13" fmla="*/ 48483 h 359664"/>
                  <a:gd name="connsiteX14" fmla="*/ 94679 w 3289364"/>
                  <a:gd name="connsiteY14" fmla="*/ 54579 h 359664"/>
                  <a:gd name="connsiteX15" fmla="*/ 96774 w 3289364"/>
                  <a:gd name="connsiteY15" fmla="*/ 54579 h 359664"/>
                  <a:gd name="connsiteX16" fmla="*/ 96774 w 3289364"/>
                  <a:gd name="connsiteY16" fmla="*/ 60675 h 359664"/>
                  <a:gd name="connsiteX17" fmla="*/ 107251 w 3289364"/>
                  <a:gd name="connsiteY17" fmla="*/ 60675 h 359664"/>
                  <a:gd name="connsiteX18" fmla="*/ 107251 w 3289364"/>
                  <a:gd name="connsiteY18" fmla="*/ 66675 h 359664"/>
                  <a:gd name="connsiteX19" fmla="*/ 113538 w 3289364"/>
                  <a:gd name="connsiteY19" fmla="*/ 66675 h 359664"/>
                  <a:gd name="connsiteX20" fmla="*/ 113538 w 3289364"/>
                  <a:gd name="connsiteY20" fmla="*/ 78867 h 359664"/>
                  <a:gd name="connsiteX21" fmla="*/ 122015 w 3289364"/>
                  <a:gd name="connsiteY21" fmla="*/ 78867 h 359664"/>
                  <a:gd name="connsiteX22" fmla="*/ 122015 w 3289364"/>
                  <a:gd name="connsiteY22" fmla="*/ 84868 h 359664"/>
                  <a:gd name="connsiteX23" fmla="*/ 128302 w 3289364"/>
                  <a:gd name="connsiteY23" fmla="*/ 84868 h 359664"/>
                  <a:gd name="connsiteX24" fmla="*/ 128302 w 3289364"/>
                  <a:gd name="connsiteY24" fmla="*/ 97060 h 359664"/>
                  <a:gd name="connsiteX25" fmla="*/ 130397 w 3289364"/>
                  <a:gd name="connsiteY25" fmla="*/ 97060 h 359664"/>
                  <a:gd name="connsiteX26" fmla="*/ 130397 w 3289364"/>
                  <a:gd name="connsiteY26" fmla="*/ 103156 h 359664"/>
                  <a:gd name="connsiteX27" fmla="*/ 142970 w 3289364"/>
                  <a:gd name="connsiteY27" fmla="*/ 103156 h 359664"/>
                  <a:gd name="connsiteX28" fmla="*/ 142970 w 3289364"/>
                  <a:gd name="connsiteY28" fmla="*/ 109157 h 359664"/>
                  <a:gd name="connsiteX29" fmla="*/ 166116 w 3289364"/>
                  <a:gd name="connsiteY29" fmla="*/ 109157 h 359664"/>
                  <a:gd name="connsiteX30" fmla="*/ 166116 w 3289364"/>
                  <a:gd name="connsiteY30" fmla="*/ 115253 h 359664"/>
                  <a:gd name="connsiteX31" fmla="*/ 172498 w 3289364"/>
                  <a:gd name="connsiteY31" fmla="*/ 115253 h 359664"/>
                  <a:gd name="connsiteX32" fmla="*/ 172498 w 3289364"/>
                  <a:gd name="connsiteY32" fmla="*/ 121349 h 359664"/>
                  <a:gd name="connsiteX33" fmla="*/ 180880 w 3289364"/>
                  <a:gd name="connsiteY33" fmla="*/ 121349 h 359664"/>
                  <a:gd name="connsiteX34" fmla="*/ 180880 w 3289364"/>
                  <a:gd name="connsiteY34" fmla="*/ 127350 h 359664"/>
                  <a:gd name="connsiteX35" fmla="*/ 189262 w 3289364"/>
                  <a:gd name="connsiteY35" fmla="*/ 127350 h 359664"/>
                  <a:gd name="connsiteX36" fmla="*/ 189262 w 3289364"/>
                  <a:gd name="connsiteY36" fmla="*/ 133446 h 359664"/>
                  <a:gd name="connsiteX37" fmla="*/ 193453 w 3289364"/>
                  <a:gd name="connsiteY37" fmla="*/ 133446 h 359664"/>
                  <a:gd name="connsiteX38" fmla="*/ 193453 w 3289364"/>
                  <a:gd name="connsiteY38" fmla="*/ 139542 h 359664"/>
                  <a:gd name="connsiteX39" fmla="*/ 267081 w 3289364"/>
                  <a:gd name="connsiteY39" fmla="*/ 139542 h 359664"/>
                  <a:gd name="connsiteX40" fmla="*/ 267081 w 3289364"/>
                  <a:gd name="connsiteY40" fmla="*/ 145542 h 359664"/>
                  <a:gd name="connsiteX41" fmla="*/ 288131 w 3289364"/>
                  <a:gd name="connsiteY41" fmla="*/ 145542 h 359664"/>
                  <a:gd name="connsiteX42" fmla="*/ 288131 w 3289364"/>
                  <a:gd name="connsiteY42" fmla="*/ 151638 h 359664"/>
                  <a:gd name="connsiteX43" fmla="*/ 294418 w 3289364"/>
                  <a:gd name="connsiteY43" fmla="*/ 151638 h 359664"/>
                  <a:gd name="connsiteX44" fmla="*/ 294418 w 3289364"/>
                  <a:gd name="connsiteY44" fmla="*/ 157734 h 359664"/>
                  <a:gd name="connsiteX45" fmla="*/ 336518 w 3289364"/>
                  <a:gd name="connsiteY45" fmla="*/ 157734 h 359664"/>
                  <a:gd name="connsiteX46" fmla="*/ 336518 w 3289364"/>
                  <a:gd name="connsiteY46" fmla="*/ 163735 h 359664"/>
                  <a:gd name="connsiteX47" fmla="*/ 351187 w 3289364"/>
                  <a:gd name="connsiteY47" fmla="*/ 163735 h 359664"/>
                  <a:gd name="connsiteX48" fmla="*/ 351187 w 3289364"/>
                  <a:gd name="connsiteY48" fmla="*/ 169831 h 359664"/>
                  <a:gd name="connsiteX49" fmla="*/ 380714 w 3289364"/>
                  <a:gd name="connsiteY49" fmla="*/ 169831 h 359664"/>
                  <a:gd name="connsiteX50" fmla="*/ 380714 w 3289364"/>
                  <a:gd name="connsiteY50" fmla="*/ 175927 h 359664"/>
                  <a:gd name="connsiteX51" fmla="*/ 382810 w 3289364"/>
                  <a:gd name="connsiteY51" fmla="*/ 175927 h 359664"/>
                  <a:gd name="connsiteX52" fmla="*/ 382810 w 3289364"/>
                  <a:gd name="connsiteY52" fmla="*/ 181928 h 359664"/>
                  <a:gd name="connsiteX53" fmla="*/ 405860 w 3289364"/>
                  <a:gd name="connsiteY53" fmla="*/ 181928 h 359664"/>
                  <a:gd name="connsiteX54" fmla="*/ 405860 w 3289364"/>
                  <a:gd name="connsiteY54" fmla="*/ 188024 h 359664"/>
                  <a:gd name="connsiteX55" fmla="*/ 418529 w 3289364"/>
                  <a:gd name="connsiteY55" fmla="*/ 188024 h 359664"/>
                  <a:gd name="connsiteX56" fmla="*/ 418529 w 3289364"/>
                  <a:gd name="connsiteY56" fmla="*/ 194120 h 359664"/>
                  <a:gd name="connsiteX57" fmla="*/ 454247 w 3289364"/>
                  <a:gd name="connsiteY57" fmla="*/ 194120 h 359664"/>
                  <a:gd name="connsiteX58" fmla="*/ 454247 w 3289364"/>
                  <a:gd name="connsiteY58" fmla="*/ 200216 h 359664"/>
                  <a:gd name="connsiteX59" fmla="*/ 569976 w 3289364"/>
                  <a:gd name="connsiteY59" fmla="*/ 200216 h 359664"/>
                  <a:gd name="connsiteX60" fmla="*/ 569976 w 3289364"/>
                  <a:gd name="connsiteY60" fmla="*/ 206217 h 359664"/>
                  <a:gd name="connsiteX61" fmla="*/ 607790 w 3289364"/>
                  <a:gd name="connsiteY61" fmla="*/ 206217 h 359664"/>
                  <a:gd name="connsiteX62" fmla="*/ 607790 w 3289364"/>
                  <a:gd name="connsiteY62" fmla="*/ 212408 h 359664"/>
                  <a:gd name="connsiteX63" fmla="*/ 660368 w 3289364"/>
                  <a:gd name="connsiteY63" fmla="*/ 212408 h 359664"/>
                  <a:gd name="connsiteX64" fmla="*/ 660368 w 3289364"/>
                  <a:gd name="connsiteY64" fmla="*/ 218504 h 359664"/>
                  <a:gd name="connsiteX65" fmla="*/ 679323 w 3289364"/>
                  <a:gd name="connsiteY65" fmla="*/ 218504 h 359664"/>
                  <a:gd name="connsiteX66" fmla="*/ 679323 w 3289364"/>
                  <a:gd name="connsiteY66" fmla="*/ 224600 h 359664"/>
                  <a:gd name="connsiteX67" fmla="*/ 689801 w 3289364"/>
                  <a:gd name="connsiteY67" fmla="*/ 224600 h 359664"/>
                  <a:gd name="connsiteX68" fmla="*/ 689801 w 3289364"/>
                  <a:gd name="connsiteY68" fmla="*/ 230791 h 359664"/>
                  <a:gd name="connsiteX69" fmla="*/ 723519 w 3289364"/>
                  <a:gd name="connsiteY69" fmla="*/ 230791 h 359664"/>
                  <a:gd name="connsiteX70" fmla="*/ 723519 w 3289364"/>
                  <a:gd name="connsiteY70" fmla="*/ 236887 h 359664"/>
                  <a:gd name="connsiteX71" fmla="*/ 729806 w 3289364"/>
                  <a:gd name="connsiteY71" fmla="*/ 236887 h 359664"/>
                  <a:gd name="connsiteX72" fmla="*/ 729806 w 3289364"/>
                  <a:gd name="connsiteY72" fmla="*/ 242983 h 359664"/>
                  <a:gd name="connsiteX73" fmla="*/ 744474 w 3289364"/>
                  <a:gd name="connsiteY73" fmla="*/ 242983 h 359664"/>
                  <a:gd name="connsiteX74" fmla="*/ 744474 w 3289364"/>
                  <a:gd name="connsiteY74" fmla="*/ 249079 h 359664"/>
                  <a:gd name="connsiteX75" fmla="*/ 757142 w 3289364"/>
                  <a:gd name="connsiteY75" fmla="*/ 249079 h 359664"/>
                  <a:gd name="connsiteX76" fmla="*/ 757142 w 3289364"/>
                  <a:gd name="connsiteY76" fmla="*/ 255270 h 359664"/>
                  <a:gd name="connsiteX77" fmla="*/ 782384 w 3289364"/>
                  <a:gd name="connsiteY77" fmla="*/ 255270 h 359664"/>
                  <a:gd name="connsiteX78" fmla="*/ 782384 w 3289364"/>
                  <a:gd name="connsiteY78" fmla="*/ 261366 h 359664"/>
                  <a:gd name="connsiteX79" fmla="*/ 1011650 w 3289364"/>
                  <a:gd name="connsiteY79" fmla="*/ 261366 h 359664"/>
                  <a:gd name="connsiteX80" fmla="*/ 1011650 w 3289364"/>
                  <a:gd name="connsiteY80" fmla="*/ 267558 h 359664"/>
                  <a:gd name="connsiteX81" fmla="*/ 1125188 w 3289364"/>
                  <a:gd name="connsiteY81" fmla="*/ 267558 h 359664"/>
                  <a:gd name="connsiteX82" fmla="*/ 1125188 w 3289364"/>
                  <a:gd name="connsiteY82" fmla="*/ 273749 h 359664"/>
                  <a:gd name="connsiteX83" fmla="*/ 1394365 w 3289364"/>
                  <a:gd name="connsiteY83" fmla="*/ 273749 h 359664"/>
                  <a:gd name="connsiteX84" fmla="*/ 1394365 w 3289364"/>
                  <a:gd name="connsiteY84" fmla="*/ 280035 h 359664"/>
                  <a:gd name="connsiteX85" fmla="*/ 1467993 w 3289364"/>
                  <a:gd name="connsiteY85" fmla="*/ 280035 h 359664"/>
                  <a:gd name="connsiteX86" fmla="*/ 1467993 w 3289364"/>
                  <a:gd name="connsiteY86" fmla="*/ 286322 h 359664"/>
                  <a:gd name="connsiteX87" fmla="*/ 1547908 w 3289364"/>
                  <a:gd name="connsiteY87" fmla="*/ 286322 h 359664"/>
                  <a:gd name="connsiteX88" fmla="*/ 1547908 w 3289364"/>
                  <a:gd name="connsiteY88" fmla="*/ 292608 h 359664"/>
                  <a:gd name="connsiteX89" fmla="*/ 1709833 w 3289364"/>
                  <a:gd name="connsiteY89" fmla="*/ 292608 h 359664"/>
                  <a:gd name="connsiteX90" fmla="*/ 1709833 w 3289364"/>
                  <a:gd name="connsiteY90" fmla="*/ 299085 h 359664"/>
                  <a:gd name="connsiteX91" fmla="*/ 1726692 w 3289364"/>
                  <a:gd name="connsiteY91" fmla="*/ 299085 h 359664"/>
                  <a:gd name="connsiteX92" fmla="*/ 1726692 w 3289364"/>
                  <a:gd name="connsiteY92" fmla="*/ 305467 h 359664"/>
                  <a:gd name="connsiteX93" fmla="*/ 1844516 w 3289364"/>
                  <a:gd name="connsiteY93" fmla="*/ 305467 h 359664"/>
                  <a:gd name="connsiteX94" fmla="*/ 1844516 w 3289364"/>
                  <a:gd name="connsiteY94" fmla="*/ 311944 h 359664"/>
                  <a:gd name="connsiteX95" fmla="*/ 1937004 w 3289364"/>
                  <a:gd name="connsiteY95" fmla="*/ 311944 h 359664"/>
                  <a:gd name="connsiteX96" fmla="*/ 1937004 w 3289364"/>
                  <a:gd name="connsiteY96" fmla="*/ 318326 h 359664"/>
                  <a:gd name="connsiteX97" fmla="*/ 1955959 w 3289364"/>
                  <a:gd name="connsiteY97" fmla="*/ 318326 h 359664"/>
                  <a:gd name="connsiteX98" fmla="*/ 1955959 w 3289364"/>
                  <a:gd name="connsiteY98" fmla="*/ 324803 h 359664"/>
                  <a:gd name="connsiteX99" fmla="*/ 2809780 w 3289364"/>
                  <a:gd name="connsiteY99" fmla="*/ 324803 h 359664"/>
                  <a:gd name="connsiteX100" fmla="*/ 2809780 w 3289364"/>
                  <a:gd name="connsiteY100" fmla="*/ 359664 h 359664"/>
                  <a:gd name="connsiteX101" fmla="*/ 3289364 w 3289364"/>
                  <a:gd name="connsiteY101" fmla="*/ 359664 h 359664"/>
                  <a:gd name="connsiteX0" fmla="*/ 0 w 3289364"/>
                  <a:gd name="connsiteY0" fmla="*/ 0 h 359664"/>
                  <a:gd name="connsiteX1" fmla="*/ 4191 w 3289364"/>
                  <a:gd name="connsiteY1" fmla="*/ 12097 h 359664"/>
                  <a:gd name="connsiteX2" fmla="*/ 10478 w 3289364"/>
                  <a:gd name="connsiteY2" fmla="*/ 12097 h 359664"/>
                  <a:gd name="connsiteX3" fmla="*/ 10478 w 3289364"/>
                  <a:gd name="connsiteY3" fmla="*/ 24289 h 359664"/>
                  <a:gd name="connsiteX4" fmla="*/ 29432 w 3289364"/>
                  <a:gd name="connsiteY4" fmla="*/ 24289 h 359664"/>
                  <a:gd name="connsiteX5" fmla="*/ 29432 w 3289364"/>
                  <a:gd name="connsiteY5" fmla="*/ 30290 h 359664"/>
                  <a:gd name="connsiteX6" fmla="*/ 37814 w 3289364"/>
                  <a:gd name="connsiteY6" fmla="*/ 30290 h 359664"/>
                  <a:gd name="connsiteX7" fmla="*/ 37814 w 3289364"/>
                  <a:gd name="connsiteY7" fmla="*/ 36386 h 359664"/>
                  <a:gd name="connsiteX8" fmla="*/ 50483 w 3289364"/>
                  <a:gd name="connsiteY8" fmla="*/ 36386 h 359664"/>
                  <a:gd name="connsiteX9" fmla="*/ 50483 w 3289364"/>
                  <a:gd name="connsiteY9" fmla="*/ 42482 h 359664"/>
                  <a:gd name="connsiteX10" fmla="*/ 67342 w 3289364"/>
                  <a:gd name="connsiteY10" fmla="*/ 42482 h 359664"/>
                  <a:gd name="connsiteX11" fmla="*/ 67342 w 3289364"/>
                  <a:gd name="connsiteY11" fmla="*/ 48483 h 359664"/>
                  <a:gd name="connsiteX12" fmla="*/ 94679 w 3289364"/>
                  <a:gd name="connsiteY12" fmla="*/ 48483 h 359664"/>
                  <a:gd name="connsiteX13" fmla="*/ 94679 w 3289364"/>
                  <a:gd name="connsiteY13" fmla="*/ 54579 h 359664"/>
                  <a:gd name="connsiteX14" fmla="*/ 96774 w 3289364"/>
                  <a:gd name="connsiteY14" fmla="*/ 54579 h 359664"/>
                  <a:gd name="connsiteX15" fmla="*/ 96774 w 3289364"/>
                  <a:gd name="connsiteY15" fmla="*/ 60675 h 359664"/>
                  <a:gd name="connsiteX16" fmla="*/ 107251 w 3289364"/>
                  <a:gd name="connsiteY16" fmla="*/ 60675 h 359664"/>
                  <a:gd name="connsiteX17" fmla="*/ 107251 w 3289364"/>
                  <a:gd name="connsiteY17" fmla="*/ 66675 h 359664"/>
                  <a:gd name="connsiteX18" fmla="*/ 113538 w 3289364"/>
                  <a:gd name="connsiteY18" fmla="*/ 66675 h 359664"/>
                  <a:gd name="connsiteX19" fmla="*/ 113538 w 3289364"/>
                  <a:gd name="connsiteY19" fmla="*/ 78867 h 359664"/>
                  <a:gd name="connsiteX20" fmla="*/ 122015 w 3289364"/>
                  <a:gd name="connsiteY20" fmla="*/ 78867 h 359664"/>
                  <a:gd name="connsiteX21" fmla="*/ 122015 w 3289364"/>
                  <a:gd name="connsiteY21" fmla="*/ 84868 h 359664"/>
                  <a:gd name="connsiteX22" fmla="*/ 128302 w 3289364"/>
                  <a:gd name="connsiteY22" fmla="*/ 84868 h 359664"/>
                  <a:gd name="connsiteX23" fmla="*/ 128302 w 3289364"/>
                  <a:gd name="connsiteY23" fmla="*/ 97060 h 359664"/>
                  <a:gd name="connsiteX24" fmla="*/ 130397 w 3289364"/>
                  <a:gd name="connsiteY24" fmla="*/ 97060 h 359664"/>
                  <a:gd name="connsiteX25" fmla="*/ 130397 w 3289364"/>
                  <a:gd name="connsiteY25" fmla="*/ 103156 h 359664"/>
                  <a:gd name="connsiteX26" fmla="*/ 142970 w 3289364"/>
                  <a:gd name="connsiteY26" fmla="*/ 103156 h 359664"/>
                  <a:gd name="connsiteX27" fmla="*/ 142970 w 3289364"/>
                  <a:gd name="connsiteY27" fmla="*/ 109157 h 359664"/>
                  <a:gd name="connsiteX28" fmla="*/ 166116 w 3289364"/>
                  <a:gd name="connsiteY28" fmla="*/ 109157 h 359664"/>
                  <a:gd name="connsiteX29" fmla="*/ 166116 w 3289364"/>
                  <a:gd name="connsiteY29" fmla="*/ 115253 h 359664"/>
                  <a:gd name="connsiteX30" fmla="*/ 172498 w 3289364"/>
                  <a:gd name="connsiteY30" fmla="*/ 115253 h 359664"/>
                  <a:gd name="connsiteX31" fmla="*/ 172498 w 3289364"/>
                  <a:gd name="connsiteY31" fmla="*/ 121349 h 359664"/>
                  <a:gd name="connsiteX32" fmla="*/ 180880 w 3289364"/>
                  <a:gd name="connsiteY32" fmla="*/ 121349 h 359664"/>
                  <a:gd name="connsiteX33" fmla="*/ 180880 w 3289364"/>
                  <a:gd name="connsiteY33" fmla="*/ 127350 h 359664"/>
                  <a:gd name="connsiteX34" fmla="*/ 189262 w 3289364"/>
                  <a:gd name="connsiteY34" fmla="*/ 127350 h 359664"/>
                  <a:gd name="connsiteX35" fmla="*/ 189262 w 3289364"/>
                  <a:gd name="connsiteY35" fmla="*/ 133446 h 359664"/>
                  <a:gd name="connsiteX36" fmla="*/ 193453 w 3289364"/>
                  <a:gd name="connsiteY36" fmla="*/ 133446 h 359664"/>
                  <a:gd name="connsiteX37" fmla="*/ 193453 w 3289364"/>
                  <a:gd name="connsiteY37" fmla="*/ 139542 h 359664"/>
                  <a:gd name="connsiteX38" fmla="*/ 267081 w 3289364"/>
                  <a:gd name="connsiteY38" fmla="*/ 139542 h 359664"/>
                  <a:gd name="connsiteX39" fmla="*/ 267081 w 3289364"/>
                  <a:gd name="connsiteY39" fmla="*/ 145542 h 359664"/>
                  <a:gd name="connsiteX40" fmla="*/ 288131 w 3289364"/>
                  <a:gd name="connsiteY40" fmla="*/ 145542 h 359664"/>
                  <a:gd name="connsiteX41" fmla="*/ 288131 w 3289364"/>
                  <a:gd name="connsiteY41" fmla="*/ 151638 h 359664"/>
                  <a:gd name="connsiteX42" fmla="*/ 294418 w 3289364"/>
                  <a:gd name="connsiteY42" fmla="*/ 151638 h 359664"/>
                  <a:gd name="connsiteX43" fmla="*/ 294418 w 3289364"/>
                  <a:gd name="connsiteY43" fmla="*/ 157734 h 359664"/>
                  <a:gd name="connsiteX44" fmla="*/ 336518 w 3289364"/>
                  <a:gd name="connsiteY44" fmla="*/ 157734 h 359664"/>
                  <a:gd name="connsiteX45" fmla="*/ 336518 w 3289364"/>
                  <a:gd name="connsiteY45" fmla="*/ 163735 h 359664"/>
                  <a:gd name="connsiteX46" fmla="*/ 351187 w 3289364"/>
                  <a:gd name="connsiteY46" fmla="*/ 163735 h 359664"/>
                  <a:gd name="connsiteX47" fmla="*/ 351187 w 3289364"/>
                  <a:gd name="connsiteY47" fmla="*/ 169831 h 359664"/>
                  <a:gd name="connsiteX48" fmla="*/ 380714 w 3289364"/>
                  <a:gd name="connsiteY48" fmla="*/ 169831 h 359664"/>
                  <a:gd name="connsiteX49" fmla="*/ 380714 w 3289364"/>
                  <a:gd name="connsiteY49" fmla="*/ 175927 h 359664"/>
                  <a:gd name="connsiteX50" fmla="*/ 382810 w 3289364"/>
                  <a:gd name="connsiteY50" fmla="*/ 175927 h 359664"/>
                  <a:gd name="connsiteX51" fmla="*/ 382810 w 3289364"/>
                  <a:gd name="connsiteY51" fmla="*/ 181928 h 359664"/>
                  <a:gd name="connsiteX52" fmla="*/ 405860 w 3289364"/>
                  <a:gd name="connsiteY52" fmla="*/ 181928 h 359664"/>
                  <a:gd name="connsiteX53" fmla="*/ 405860 w 3289364"/>
                  <a:gd name="connsiteY53" fmla="*/ 188024 h 359664"/>
                  <a:gd name="connsiteX54" fmla="*/ 418529 w 3289364"/>
                  <a:gd name="connsiteY54" fmla="*/ 188024 h 359664"/>
                  <a:gd name="connsiteX55" fmla="*/ 418529 w 3289364"/>
                  <a:gd name="connsiteY55" fmla="*/ 194120 h 359664"/>
                  <a:gd name="connsiteX56" fmla="*/ 454247 w 3289364"/>
                  <a:gd name="connsiteY56" fmla="*/ 194120 h 359664"/>
                  <a:gd name="connsiteX57" fmla="*/ 454247 w 3289364"/>
                  <a:gd name="connsiteY57" fmla="*/ 200216 h 359664"/>
                  <a:gd name="connsiteX58" fmla="*/ 569976 w 3289364"/>
                  <a:gd name="connsiteY58" fmla="*/ 200216 h 359664"/>
                  <a:gd name="connsiteX59" fmla="*/ 569976 w 3289364"/>
                  <a:gd name="connsiteY59" fmla="*/ 206217 h 359664"/>
                  <a:gd name="connsiteX60" fmla="*/ 607790 w 3289364"/>
                  <a:gd name="connsiteY60" fmla="*/ 206217 h 359664"/>
                  <a:gd name="connsiteX61" fmla="*/ 607790 w 3289364"/>
                  <a:gd name="connsiteY61" fmla="*/ 212408 h 359664"/>
                  <a:gd name="connsiteX62" fmla="*/ 660368 w 3289364"/>
                  <a:gd name="connsiteY62" fmla="*/ 212408 h 359664"/>
                  <a:gd name="connsiteX63" fmla="*/ 660368 w 3289364"/>
                  <a:gd name="connsiteY63" fmla="*/ 218504 h 359664"/>
                  <a:gd name="connsiteX64" fmla="*/ 679323 w 3289364"/>
                  <a:gd name="connsiteY64" fmla="*/ 218504 h 359664"/>
                  <a:gd name="connsiteX65" fmla="*/ 679323 w 3289364"/>
                  <a:gd name="connsiteY65" fmla="*/ 224600 h 359664"/>
                  <a:gd name="connsiteX66" fmla="*/ 689801 w 3289364"/>
                  <a:gd name="connsiteY66" fmla="*/ 224600 h 359664"/>
                  <a:gd name="connsiteX67" fmla="*/ 689801 w 3289364"/>
                  <a:gd name="connsiteY67" fmla="*/ 230791 h 359664"/>
                  <a:gd name="connsiteX68" fmla="*/ 723519 w 3289364"/>
                  <a:gd name="connsiteY68" fmla="*/ 230791 h 359664"/>
                  <a:gd name="connsiteX69" fmla="*/ 723519 w 3289364"/>
                  <a:gd name="connsiteY69" fmla="*/ 236887 h 359664"/>
                  <a:gd name="connsiteX70" fmla="*/ 729806 w 3289364"/>
                  <a:gd name="connsiteY70" fmla="*/ 236887 h 359664"/>
                  <a:gd name="connsiteX71" fmla="*/ 729806 w 3289364"/>
                  <a:gd name="connsiteY71" fmla="*/ 242983 h 359664"/>
                  <a:gd name="connsiteX72" fmla="*/ 744474 w 3289364"/>
                  <a:gd name="connsiteY72" fmla="*/ 242983 h 359664"/>
                  <a:gd name="connsiteX73" fmla="*/ 744474 w 3289364"/>
                  <a:gd name="connsiteY73" fmla="*/ 249079 h 359664"/>
                  <a:gd name="connsiteX74" fmla="*/ 757142 w 3289364"/>
                  <a:gd name="connsiteY74" fmla="*/ 249079 h 359664"/>
                  <a:gd name="connsiteX75" fmla="*/ 757142 w 3289364"/>
                  <a:gd name="connsiteY75" fmla="*/ 255270 h 359664"/>
                  <a:gd name="connsiteX76" fmla="*/ 782384 w 3289364"/>
                  <a:gd name="connsiteY76" fmla="*/ 255270 h 359664"/>
                  <a:gd name="connsiteX77" fmla="*/ 782384 w 3289364"/>
                  <a:gd name="connsiteY77" fmla="*/ 261366 h 359664"/>
                  <a:gd name="connsiteX78" fmla="*/ 1011650 w 3289364"/>
                  <a:gd name="connsiteY78" fmla="*/ 261366 h 359664"/>
                  <a:gd name="connsiteX79" fmla="*/ 1011650 w 3289364"/>
                  <a:gd name="connsiteY79" fmla="*/ 267558 h 359664"/>
                  <a:gd name="connsiteX80" fmla="*/ 1125188 w 3289364"/>
                  <a:gd name="connsiteY80" fmla="*/ 267558 h 359664"/>
                  <a:gd name="connsiteX81" fmla="*/ 1125188 w 3289364"/>
                  <a:gd name="connsiteY81" fmla="*/ 273749 h 359664"/>
                  <a:gd name="connsiteX82" fmla="*/ 1394365 w 3289364"/>
                  <a:gd name="connsiteY82" fmla="*/ 273749 h 359664"/>
                  <a:gd name="connsiteX83" fmla="*/ 1394365 w 3289364"/>
                  <a:gd name="connsiteY83" fmla="*/ 280035 h 359664"/>
                  <a:gd name="connsiteX84" fmla="*/ 1467993 w 3289364"/>
                  <a:gd name="connsiteY84" fmla="*/ 280035 h 359664"/>
                  <a:gd name="connsiteX85" fmla="*/ 1467993 w 3289364"/>
                  <a:gd name="connsiteY85" fmla="*/ 286322 h 359664"/>
                  <a:gd name="connsiteX86" fmla="*/ 1547908 w 3289364"/>
                  <a:gd name="connsiteY86" fmla="*/ 286322 h 359664"/>
                  <a:gd name="connsiteX87" fmla="*/ 1547908 w 3289364"/>
                  <a:gd name="connsiteY87" fmla="*/ 292608 h 359664"/>
                  <a:gd name="connsiteX88" fmla="*/ 1709833 w 3289364"/>
                  <a:gd name="connsiteY88" fmla="*/ 292608 h 359664"/>
                  <a:gd name="connsiteX89" fmla="*/ 1709833 w 3289364"/>
                  <a:gd name="connsiteY89" fmla="*/ 299085 h 359664"/>
                  <a:gd name="connsiteX90" fmla="*/ 1726692 w 3289364"/>
                  <a:gd name="connsiteY90" fmla="*/ 299085 h 359664"/>
                  <a:gd name="connsiteX91" fmla="*/ 1726692 w 3289364"/>
                  <a:gd name="connsiteY91" fmla="*/ 305467 h 359664"/>
                  <a:gd name="connsiteX92" fmla="*/ 1844516 w 3289364"/>
                  <a:gd name="connsiteY92" fmla="*/ 305467 h 359664"/>
                  <a:gd name="connsiteX93" fmla="*/ 1844516 w 3289364"/>
                  <a:gd name="connsiteY93" fmla="*/ 311944 h 359664"/>
                  <a:gd name="connsiteX94" fmla="*/ 1937004 w 3289364"/>
                  <a:gd name="connsiteY94" fmla="*/ 311944 h 359664"/>
                  <a:gd name="connsiteX95" fmla="*/ 1937004 w 3289364"/>
                  <a:gd name="connsiteY95" fmla="*/ 318326 h 359664"/>
                  <a:gd name="connsiteX96" fmla="*/ 1955959 w 3289364"/>
                  <a:gd name="connsiteY96" fmla="*/ 318326 h 359664"/>
                  <a:gd name="connsiteX97" fmla="*/ 1955959 w 3289364"/>
                  <a:gd name="connsiteY97" fmla="*/ 324803 h 359664"/>
                  <a:gd name="connsiteX98" fmla="*/ 2809780 w 3289364"/>
                  <a:gd name="connsiteY98" fmla="*/ 324803 h 359664"/>
                  <a:gd name="connsiteX99" fmla="*/ 2809780 w 3289364"/>
                  <a:gd name="connsiteY99" fmla="*/ 359664 h 359664"/>
                  <a:gd name="connsiteX100" fmla="*/ 3289364 w 3289364"/>
                  <a:gd name="connsiteY100" fmla="*/ 359664 h 359664"/>
                  <a:gd name="connsiteX0" fmla="*/ 0 w 3285173"/>
                  <a:gd name="connsiteY0" fmla="*/ 0 h 347567"/>
                  <a:gd name="connsiteX1" fmla="*/ 6287 w 3285173"/>
                  <a:gd name="connsiteY1" fmla="*/ 0 h 347567"/>
                  <a:gd name="connsiteX2" fmla="*/ 6287 w 3285173"/>
                  <a:gd name="connsiteY2" fmla="*/ 12192 h 347567"/>
                  <a:gd name="connsiteX3" fmla="*/ 25241 w 3285173"/>
                  <a:gd name="connsiteY3" fmla="*/ 12192 h 347567"/>
                  <a:gd name="connsiteX4" fmla="*/ 25241 w 3285173"/>
                  <a:gd name="connsiteY4" fmla="*/ 18193 h 347567"/>
                  <a:gd name="connsiteX5" fmla="*/ 33623 w 3285173"/>
                  <a:gd name="connsiteY5" fmla="*/ 18193 h 347567"/>
                  <a:gd name="connsiteX6" fmla="*/ 33623 w 3285173"/>
                  <a:gd name="connsiteY6" fmla="*/ 24289 h 347567"/>
                  <a:gd name="connsiteX7" fmla="*/ 46292 w 3285173"/>
                  <a:gd name="connsiteY7" fmla="*/ 24289 h 347567"/>
                  <a:gd name="connsiteX8" fmla="*/ 46292 w 3285173"/>
                  <a:gd name="connsiteY8" fmla="*/ 30385 h 347567"/>
                  <a:gd name="connsiteX9" fmla="*/ 63151 w 3285173"/>
                  <a:gd name="connsiteY9" fmla="*/ 30385 h 347567"/>
                  <a:gd name="connsiteX10" fmla="*/ 63151 w 3285173"/>
                  <a:gd name="connsiteY10" fmla="*/ 36386 h 347567"/>
                  <a:gd name="connsiteX11" fmla="*/ 90488 w 3285173"/>
                  <a:gd name="connsiteY11" fmla="*/ 36386 h 347567"/>
                  <a:gd name="connsiteX12" fmla="*/ 90488 w 3285173"/>
                  <a:gd name="connsiteY12" fmla="*/ 42482 h 347567"/>
                  <a:gd name="connsiteX13" fmla="*/ 92583 w 3285173"/>
                  <a:gd name="connsiteY13" fmla="*/ 42482 h 347567"/>
                  <a:gd name="connsiteX14" fmla="*/ 92583 w 3285173"/>
                  <a:gd name="connsiteY14" fmla="*/ 48578 h 347567"/>
                  <a:gd name="connsiteX15" fmla="*/ 103060 w 3285173"/>
                  <a:gd name="connsiteY15" fmla="*/ 48578 h 347567"/>
                  <a:gd name="connsiteX16" fmla="*/ 103060 w 3285173"/>
                  <a:gd name="connsiteY16" fmla="*/ 54578 h 347567"/>
                  <a:gd name="connsiteX17" fmla="*/ 109347 w 3285173"/>
                  <a:gd name="connsiteY17" fmla="*/ 54578 h 347567"/>
                  <a:gd name="connsiteX18" fmla="*/ 109347 w 3285173"/>
                  <a:gd name="connsiteY18" fmla="*/ 66770 h 347567"/>
                  <a:gd name="connsiteX19" fmla="*/ 117824 w 3285173"/>
                  <a:gd name="connsiteY19" fmla="*/ 66770 h 347567"/>
                  <a:gd name="connsiteX20" fmla="*/ 117824 w 3285173"/>
                  <a:gd name="connsiteY20" fmla="*/ 72771 h 347567"/>
                  <a:gd name="connsiteX21" fmla="*/ 124111 w 3285173"/>
                  <a:gd name="connsiteY21" fmla="*/ 72771 h 347567"/>
                  <a:gd name="connsiteX22" fmla="*/ 124111 w 3285173"/>
                  <a:gd name="connsiteY22" fmla="*/ 84963 h 347567"/>
                  <a:gd name="connsiteX23" fmla="*/ 126206 w 3285173"/>
                  <a:gd name="connsiteY23" fmla="*/ 84963 h 347567"/>
                  <a:gd name="connsiteX24" fmla="*/ 126206 w 3285173"/>
                  <a:gd name="connsiteY24" fmla="*/ 91059 h 347567"/>
                  <a:gd name="connsiteX25" fmla="*/ 138779 w 3285173"/>
                  <a:gd name="connsiteY25" fmla="*/ 91059 h 347567"/>
                  <a:gd name="connsiteX26" fmla="*/ 138779 w 3285173"/>
                  <a:gd name="connsiteY26" fmla="*/ 97060 h 347567"/>
                  <a:gd name="connsiteX27" fmla="*/ 161925 w 3285173"/>
                  <a:gd name="connsiteY27" fmla="*/ 97060 h 347567"/>
                  <a:gd name="connsiteX28" fmla="*/ 161925 w 3285173"/>
                  <a:gd name="connsiteY28" fmla="*/ 103156 h 347567"/>
                  <a:gd name="connsiteX29" fmla="*/ 168307 w 3285173"/>
                  <a:gd name="connsiteY29" fmla="*/ 103156 h 347567"/>
                  <a:gd name="connsiteX30" fmla="*/ 168307 w 3285173"/>
                  <a:gd name="connsiteY30" fmla="*/ 109252 h 347567"/>
                  <a:gd name="connsiteX31" fmla="*/ 176689 w 3285173"/>
                  <a:gd name="connsiteY31" fmla="*/ 109252 h 347567"/>
                  <a:gd name="connsiteX32" fmla="*/ 176689 w 3285173"/>
                  <a:gd name="connsiteY32" fmla="*/ 115253 h 347567"/>
                  <a:gd name="connsiteX33" fmla="*/ 185071 w 3285173"/>
                  <a:gd name="connsiteY33" fmla="*/ 115253 h 347567"/>
                  <a:gd name="connsiteX34" fmla="*/ 185071 w 3285173"/>
                  <a:gd name="connsiteY34" fmla="*/ 121349 h 347567"/>
                  <a:gd name="connsiteX35" fmla="*/ 189262 w 3285173"/>
                  <a:gd name="connsiteY35" fmla="*/ 121349 h 347567"/>
                  <a:gd name="connsiteX36" fmla="*/ 189262 w 3285173"/>
                  <a:gd name="connsiteY36" fmla="*/ 127445 h 347567"/>
                  <a:gd name="connsiteX37" fmla="*/ 262890 w 3285173"/>
                  <a:gd name="connsiteY37" fmla="*/ 127445 h 347567"/>
                  <a:gd name="connsiteX38" fmla="*/ 262890 w 3285173"/>
                  <a:gd name="connsiteY38" fmla="*/ 133445 h 347567"/>
                  <a:gd name="connsiteX39" fmla="*/ 283940 w 3285173"/>
                  <a:gd name="connsiteY39" fmla="*/ 133445 h 347567"/>
                  <a:gd name="connsiteX40" fmla="*/ 283940 w 3285173"/>
                  <a:gd name="connsiteY40" fmla="*/ 139541 h 347567"/>
                  <a:gd name="connsiteX41" fmla="*/ 290227 w 3285173"/>
                  <a:gd name="connsiteY41" fmla="*/ 139541 h 347567"/>
                  <a:gd name="connsiteX42" fmla="*/ 290227 w 3285173"/>
                  <a:gd name="connsiteY42" fmla="*/ 145637 h 347567"/>
                  <a:gd name="connsiteX43" fmla="*/ 332327 w 3285173"/>
                  <a:gd name="connsiteY43" fmla="*/ 145637 h 347567"/>
                  <a:gd name="connsiteX44" fmla="*/ 332327 w 3285173"/>
                  <a:gd name="connsiteY44" fmla="*/ 151638 h 347567"/>
                  <a:gd name="connsiteX45" fmla="*/ 346996 w 3285173"/>
                  <a:gd name="connsiteY45" fmla="*/ 151638 h 347567"/>
                  <a:gd name="connsiteX46" fmla="*/ 346996 w 3285173"/>
                  <a:gd name="connsiteY46" fmla="*/ 157734 h 347567"/>
                  <a:gd name="connsiteX47" fmla="*/ 376523 w 3285173"/>
                  <a:gd name="connsiteY47" fmla="*/ 157734 h 347567"/>
                  <a:gd name="connsiteX48" fmla="*/ 376523 w 3285173"/>
                  <a:gd name="connsiteY48" fmla="*/ 163830 h 347567"/>
                  <a:gd name="connsiteX49" fmla="*/ 378619 w 3285173"/>
                  <a:gd name="connsiteY49" fmla="*/ 163830 h 347567"/>
                  <a:gd name="connsiteX50" fmla="*/ 378619 w 3285173"/>
                  <a:gd name="connsiteY50" fmla="*/ 169831 h 347567"/>
                  <a:gd name="connsiteX51" fmla="*/ 401669 w 3285173"/>
                  <a:gd name="connsiteY51" fmla="*/ 169831 h 347567"/>
                  <a:gd name="connsiteX52" fmla="*/ 401669 w 3285173"/>
                  <a:gd name="connsiteY52" fmla="*/ 175927 h 347567"/>
                  <a:gd name="connsiteX53" fmla="*/ 414338 w 3285173"/>
                  <a:gd name="connsiteY53" fmla="*/ 175927 h 347567"/>
                  <a:gd name="connsiteX54" fmla="*/ 414338 w 3285173"/>
                  <a:gd name="connsiteY54" fmla="*/ 182023 h 347567"/>
                  <a:gd name="connsiteX55" fmla="*/ 450056 w 3285173"/>
                  <a:gd name="connsiteY55" fmla="*/ 182023 h 347567"/>
                  <a:gd name="connsiteX56" fmla="*/ 450056 w 3285173"/>
                  <a:gd name="connsiteY56" fmla="*/ 188119 h 347567"/>
                  <a:gd name="connsiteX57" fmla="*/ 565785 w 3285173"/>
                  <a:gd name="connsiteY57" fmla="*/ 188119 h 347567"/>
                  <a:gd name="connsiteX58" fmla="*/ 565785 w 3285173"/>
                  <a:gd name="connsiteY58" fmla="*/ 194120 h 347567"/>
                  <a:gd name="connsiteX59" fmla="*/ 603599 w 3285173"/>
                  <a:gd name="connsiteY59" fmla="*/ 194120 h 347567"/>
                  <a:gd name="connsiteX60" fmla="*/ 603599 w 3285173"/>
                  <a:gd name="connsiteY60" fmla="*/ 200311 h 347567"/>
                  <a:gd name="connsiteX61" fmla="*/ 656177 w 3285173"/>
                  <a:gd name="connsiteY61" fmla="*/ 200311 h 347567"/>
                  <a:gd name="connsiteX62" fmla="*/ 656177 w 3285173"/>
                  <a:gd name="connsiteY62" fmla="*/ 206407 h 347567"/>
                  <a:gd name="connsiteX63" fmla="*/ 675132 w 3285173"/>
                  <a:gd name="connsiteY63" fmla="*/ 206407 h 347567"/>
                  <a:gd name="connsiteX64" fmla="*/ 675132 w 3285173"/>
                  <a:gd name="connsiteY64" fmla="*/ 212503 h 347567"/>
                  <a:gd name="connsiteX65" fmla="*/ 685610 w 3285173"/>
                  <a:gd name="connsiteY65" fmla="*/ 212503 h 347567"/>
                  <a:gd name="connsiteX66" fmla="*/ 685610 w 3285173"/>
                  <a:gd name="connsiteY66" fmla="*/ 218694 h 347567"/>
                  <a:gd name="connsiteX67" fmla="*/ 719328 w 3285173"/>
                  <a:gd name="connsiteY67" fmla="*/ 218694 h 347567"/>
                  <a:gd name="connsiteX68" fmla="*/ 719328 w 3285173"/>
                  <a:gd name="connsiteY68" fmla="*/ 224790 h 347567"/>
                  <a:gd name="connsiteX69" fmla="*/ 725615 w 3285173"/>
                  <a:gd name="connsiteY69" fmla="*/ 224790 h 347567"/>
                  <a:gd name="connsiteX70" fmla="*/ 725615 w 3285173"/>
                  <a:gd name="connsiteY70" fmla="*/ 230886 h 347567"/>
                  <a:gd name="connsiteX71" fmla="*/ 740283 w 3285173"/>
                  <a:gd name="connsiteY71" fmla="*/ 230886 h 347567"/>
                  <a:gd name="connsiteX72" fmla="*/ 740283 w 3285173"/>
                  <a:gd name="connsiteY72" fmla="*/ 236982 h 347567"/>
                  <a:gd name="connsiteX73" fmla="*/ 752951 w 3285173"/>
                  <a:gd name="connsiteY73" fmla="*/ 236982 h 347567"/>
                  <a:gd name="connsiteX74" fmla="*/ 752951 w 3285173"/>
                  <a:gd name="connsiteY74" fmla="*/ 243173 h 347567"/>
                  <a:gd name="connsiteX75" fmla="*/ 778193 w 3285173"/>
                  <a:gd name="connsiteY75" fmla="*/ 243173 h 347567"/>
                  <a:gd name="connsiteX76" fmla="*/ 778193 w 3285173"/>
                  <a:gd name="connsiteY76" fmla="*/ 249269 h 347567"/>
                  <a:gd name="connsiteX77" fmla="*/ 1007459 w 3285173"/>
                  <a:gd name="connsiteY77" fmla="*/ 249269 h 347567"/>
                  <a:gd name="connsiteX78" fmla="*/ 1007459 w 3285173"/>
                  <a:gd name="connsiteY78" fmla="*/ 255461 h 347567"/>
                  <a:gd name="connsiteX79" fmla="*/ 1120997 w 3285173"/>
                  <a:gd name="connsiteY79" fmla="*/ 255461 h 347567"/>
                  <a:gd name="connsiteX80" fmla="*/ 1120997 w 3285173"/>
                  <a:gd name="connsiteY80" fmla="*/ 261652 h 347567"/>
                  <a:gd name="connsiteX81" fmla="*/ 1390174 w 3285173"/>
                  <a:gd name="connsiteY81" fmla="*/ 261652 h 347567"/>
                  <a:gd name="connsiteX82" fmla="*/ 1390174 w 3285173"/>
                  <a:gd name="connsiteY82" fmla="*/ 267938 h 347567"/>
                  <a:gd name="connsiteX83" fmla="*/ 1463802 w 3285173"/>
                  <a:gd name="connsiteY83" fmla="*/ 267938 h 347567"/>
                  <a:gd name="connsiteX84" fmla="*/ 1463802 w 3285173"/>
                  <a:gd name="connsiteY84" fmla="*/ 274225 h 347567"/>
                  <a:gd name="connsiteX85" fmla="*/ 1543717 w 3285173"/>
                  <a:gd name="connsiteY85" fmla="*/ 274225 h 347567"/>
                  <a:gd name="connsiteX86" fmla="*/ 1543717 w 3285173"/>
                  <a:gd name="connsiteY86" fmla="*/ 280511 h 347567"/>
                  <a:gd name="connsiteX87" fmla="*/ 1705642 w 3285173"/>
                  <a:gd name="connsiteY87" fmla="*/ 280511 h 347567"/>
                  <a:gd name="connsiteX88" fmla="*/ 1705642 w 3285173"/>
                  <a:gd name="connsiteY88" fmla="*/ 286988 h 347567"/>
                  <a:gd name="connsiteX89" fmla="*/ 1722501 w 3285173"/>
                  <a:gd name="connsiteY89" fmla="*/ 286988 h 347567"/>
                  <a:gd name="connsiteX90" fmla="*/ 1722501 w 3285173"/>
                  <a:gd name="connsiteY90" fmla="*/ 293370 h 347567"/>
                  <a:gd name="connsiteX91" fmla="*/ 1840325 w 3285173"/>
                  <a:gd name="connsiteY91" fmla="*/ 293370 h 347567"/>
                  <a:gd name="connsiteX92" fmla="*/ 1840325 w 3285173"/>
                  <a:gd name="connsiteY92" fmla="*/ 299847 h 347567"/>
                  <a:gd name="connsiteX93" fmla="*/ 1932813 w 3285173"/>
                  <a:gd name="connsiteY93" fmla="*/ 299847 h 347567"/>
                  <a:gd name="connsiteX94" fmla="*/ 1932813 w 3285173"/>
                  <a:gd name="connsiteY94" fmla="*/ 306229 h 347567"/>
                  <a:gd name="connsiteX95" fmla="*/ 1951768 w 3285173"/>
                  <a:gd name="connsiteY95" fmla="*/ 306229 h 347567"/>
                  <a:gd name="connsiteX96" fmla="*/ 1951768 w 3285173"/>
                  <a:gd name="connsiteY96" fmla="*/ 312706 h 347567"/>
                  <a:gd name="connsiteX97" fmla="*/ 2805589 w 3285173"/>
                  <a:gd name="connsiteY97" fmla="*/ 312706 h 347567"/>
                  <a:gd name="connsiteX98" fmla="*/ 2805589 w 3285173"/>
                  <a:gd name="connsiteY98" fmla="*/ 347567 h 347567"/>
                  <a:gd name="connsiteX99" fmla="*/ 3285173 w 3285173"/>
                  <a:gd name="connsiteY99" fmla="*/ 347567 h 347567"/>
                  <a:gd name="connsiteX0" fmla="*/ 0 w 3285173"/>
                  <a:gd name="connsiteY0" fmla="*/ 0 h 347567"/>
                  <a:gd name="connsiteX1" fmla="*/ 6287 w 3285173"/>
                  <a:gd name="connsiteY1" fmla="*/ 12192 h 347567"/>
                  <a:gd name="connsiteX2" fmla="*/ 25241 w 3285173"/>
                  <a:gd name="connsiteY2" fmla="*/ 12192 h 347567"/>
                  <a:gd name="connsiteX3" fmla="*/ 25241 w 3285173"/>
                  <a:gd name="connsiteY3" fmla="*/ 18193 h 347567"/>
                  <a:gd name="connsiteX4" fmla="*/ 33623 w 3285173"/>
                  <a:gd name="connsiteY4" fmla="*/ 18193 h 347567"/>
                  <a:gd name="connsiteX5" fmla="*/ 33623 w 3285173"/>
                  <a:gd name="connsiteY5" fmla="*/ 24289 h 347567"/>
                  <a:gd name="connsiteX6" fmla="*/ 46292 w 3285173"/>
                  <a:gd name="connsiteY6" fmla="*/ 24289 h 347567"/>
                  <a:gd name="connsiteX7" fmla="*/ 46292 w 3285173"/>
                  <a:gd name="connsiteY7" fmla="*/ 30385 h 347567"/>
                  <a:gd name="connsiteX8" fmla="*/ 63151 w 3285173"/>
                  <a:gd name="connsiteY8" fmla="*/ 30385 h 347567"/>
                  <a:gd name="connsiteX9" fmla="*/ 63151 w 3285173"/>
                  <a:gd name="connsiteY9" fmla="*/ 36386 h 347567"/>
                  <a:gd name="connsiteX10" fmla="*/ 90488 w 3285173"/>
                  <a:gd name="connsiteY10" fmla="*/ 36386 h 347567"/>
                  <a:gd name="connsiteX11" fmla="*/ 90488 w 3285173"/>
                  <a:gd name="connsiteY11" fmla="*/ 42482 h 347567"/>
                  <a:gd name="connsiteX12" fmla="*/ 92583 w 3285173"/>
                  <a:gd name="connsiteY12" fmla="*/ 42482 h 347567"/>
                  <a:gd name="connsiteX13" fmla="*/ 92583 w 3285173"/>
                  <a:gd name="connsiteY13" fmla="*/ 48578 h 347567"/>
                  <a:gd name="connsiteX14" fmla="*/ 103060 w 3285173"/>
                  <a:gd name="connsiteY14" fmla="*/ 48578 h 347567"/>
                  <a:gd name="connsiteX15" fmla="*/ 103060 w 3285173"/>
                  <a:gd name="connsiteY15" fmla="*/ 54578 h 347567"/>
                  <a:gd name="connsiteX16" fmla="*/ 109347 w 3285173"/>
                  <a:gd name="connsiteY16" fmla="*/ 54578 h 347567"/>
                  <a:gd name="connsiteX17" fmla="*/ 109347 w 3285173"/>
                  <a:gd name="connsiteY17" fmla="*/ 66770 h 347567"/>
                  <a:gd name="connsiteX18" fmla="*/ 117824 w 3285173"/>
                  <a:gd name="connsiteY18" fmla="*/ 66770 h 347567"/>
                  <a:gd name="connsiteX19" fmla="*/ 117824 w 3285173"/>
                  <a:gd name="connsiteY19" fmla="*/ 72771 h 347567"/>
                  <a:gd name="connsiteX20" fmla="*/ 124111 w 3285173"/>
                  <a:gd name="connsiteY20" fmla="*/ 72771 h 347567"/>
                  <a:gd name="connsiteX21" fmla="*/ 124111 w 3285173"/>
                  <a:gd name="connsiteY21" fmla="*/ 84963 h 347567"/>
                  <a:gd name="connsiteX22" fmla="*/ 126206 w 3285173"/>
                  <a:gd name="connsiteY22" fmla="*/ 84963 h 347567"/>
                  <a:gd name="connsiteX23" fmla="*/ 126206 w 3285173"/>
                  <a:gd name="connsiteY23" fmla="*/ 91059 h 347567"/>
                  <a:gd name="connsiteX24" fmla="*/ 138779 w 3285173"/>
                  <a:gd name="connsiteY24" fmla="*/ 91059 h 347567"/>
                  <a:gd name="connsiteX25" fmla="*/ 138779 w 3285173"/>
                  <a:gd name="connsiteY25" fmla="*/ 97060 h 347567"/>
                  <a:gd name="connsiteX26" fmla="*/ 161925 w 3285173"/>
                  <a:gd name="connsiteY26" fmla="*/ 97060 h 347567"/>
                  <a:gd name="connsiteX27" fmla="*/ 161925 w 3285173"/>
                  <a:gd name="connsiteY27" fmla="*/ 103156 h 347567"/>
                  <a:gd name="connsiteX28" fmla="*/ 168307 w 3285173"/>
                  <a:gd name="connsiteY28" fmla="*/ 103156 h 347567"/>
                  <a:gd name="connsiteX29" fmla="*/ 168307 w 3285173"/>
                  <a:gd name="connsiteY29" fmla="*/ 109252 h 347567"/>
                  <a:gd name="connsiteX30" fmla="*/ 176689 w 3285173"/>
                  <a:gd name="connsiteY30" fmla="*/ 109252 h 347567"/>
                  <a:gd name="connsiteX31" fmla="*/ 176689 w 3285173"/>
                  <a:gd name="connsiteY31" fmla="*/ 115253 h 347567"/>
                  <a:gd name="connsiteX32" fmla="*/ 185071 w 3285173"/>
                  <a:gd name="connsiteY32" fmla="*/ 115253 h 347567"/>
                  <a:gd name="connsiteX33" fmla="*/ 185071 w 3285173"/>
                  <a:gd name="connsiteY33" fmla="*/ 121349 h 347567"/>
                  <a:gd name="connsiteX34" fmla="*/ 189262 w 3285173"/>
                  <a:gd name="connsiteY34" fmla="*/ 121349 h 347567"/>
                  <a:gd name="connsiteX35" fmla="*/ 189262 w 3285173"/>
                  <a:gd name="connsiteY35" fmla="*/ 127445 h 347567"/>
                  <a:gd name="connsiteX36" fmla="*/ 262890 w 3285173"/>
                  <a:gd name="connsiteY36" fmla="*/ 127445 h 347567"/>
                  <a:gd name="connsiteX37" fmla="*/ 262890 w 3285173"/>
                  <a:gd name="connsiteY37" fmla="*/ 133445 h 347567"/>
                  <a:gd name="connsiteX38" fmla="*/ 283940 w 3285173"/>
                  <a:gd name="connsiteY38" fmla="*/ 133445 h 347567"/>
                  <a:gd name="connsiteX39" fmla="*/ 283940 w 3285173"/>
                  <a:gd name="connsiteY39" fmla="*/ 139541 h 347567"/>
                  <a:gd name="connsiteX40" fmla="*/ 290227 w 3285173"/>
                  <a:gd name="connsiteY40" fmla="*/ 139541 h 347567"/>
                  <a:gd name="connsiteX41" fmla="*/ 290227 w 3285173"/>
                  <a:gd name="connsiteY41" fmla="*/ 145637 h 347567"/>
                  <a:gd name="connsiteX42" fmla="*/ 332327 w 3285173"/>
                  <a:gd name="connsiteY42" fmla="*/ 145637 h 347567"/>
                  <a:gd name="connsiteX43" fmla="*/ 332327 w 3285173"/>
                  <a:gd name="connsiteY43" fmla="*/ 151638 h 347567"/>
                  <a:gd name="connsiteX44" fmla="*/ 346996 w 3285173"/>
                  <a:gd name="connsiteY44" fmla="*/ 151638 h 347567"/>
                  <a:gd name="connsiteX45" fmla="*/ 346996 w 3285173"/>
                  <a:gd name="connsiteY45" fmla="*/ 157734 h 347567"/>
                  <a:gd name="connsiteX46" fmla="*/ 376523 w 3285173"/>
                  <a:gd name="connsiteY46" fmla="*/ 157734 h 347567"/>
                  <a:gd name="connsiteX47" fmla="*/ 376523 w 3285173"/>
                  <a:gd name="connsiteY47" fmla="*/ 163830 h 347567"/>
                  <a:gd name="connsiteX48" fmla="*/ 378619 w 3285173"/>
                  <a:gd name="connsiteY48" fmla="*/ 163830 h 347567"/>
                  <a:gd name="connsiteX49" fmla="*/ 378619 w 3285173"/>
                  <a:gd name="connsiteY49" fmla="*/ 169831 h 347567"/>
                  <a:gd name="connsiteX50" fmla="*/ 401669 w 3285173"/>
                  <a:gd name="connsiteY50" fmla="*/ 169831 h 347567"/>
                  <a:gd name="connsiteX51" fmla="*/ 401669 w 3285173"/>
                  <a:gd name="connsiteY51" fmla="*/ 175927 h 347567"/>
                  <a:gd name="connsiteX52" fmla="*/ 414338 w 3285173"/>
                  <a:gd name="connsiteY52" fmla="*/ 175927 h 347567"/>
                  <a:gd name="connsiteX53" fmla="*/ 414338 w 3285173"/>
                  <a:gd name="connsiteY53" fmla="*/ 182023 h 347567"/>
                  <a:gd name="connsiteX54" fmla="*/ 450056 w 3285173"/>
                  <a:gd name="connsiteY54" fmla="*/ 182023 h 347567"/>
                  <a:gd name="connsiteX55" fmla="*/ 450056 w 3285173"/>
                  <a:gd name="connsiteY55" fmla="*/ 188119 h 347567"/>
                  <a:gd name="connsiteX56" fmla="*/ 565785 w 3285173"/>
                  <a:gd name="connsiteY56" fmla="*/ 188119 h 347567"/>
                  <a:gd name="connsiteX57" fmla="*/ 565785 w 3285173"/>
                  <a:gd name="connsiteY57" fmla="*/ 194120 h 347567"/>
                  <a:gd name="connsiteX58" fmla="*/ 603599 w 3285173"/>
                  <a:gd name="connsiteY58" fmla="*/ 194120 h 347567"/>
                  <a:gd name="connsiteX59" fmla="*/ 603599 w 3285173"/>
                  <a:gd name="connsiteY59" fmla="*/ 200311 h 347567"/>
                  <a:gd name="connsiteX60" fmla="*/ 656177 w 3285173"/>
                  <a:gd name="connsiteY60" fmla="*/ 200311 h 347567"/>
                  <a:gd name="connsiteX61" fmla="*/ 656177 w 3285173"/>
                  <a:gd name="connsiteY61" fmla="*/ 206407 h 347567"/>
                  <a:gd name="connsiteX62" fmla="*/ 675132 w 3285173"/>
                  <a:gd name="connsiteY62" fmla="*/ 206407 h 347567"/>
                  <a:gd name="connsiteX63" fmla="*/ 675132 w 3285173"/>
                  <a:gd name="connsiteY63" fmla="*/ 212503 h 347567"/>
                  <a:gd name="connsiteX64" fmla="*/ 685610 w 3285173"/>
                  <a:gd name="connsiteY64" fmla="*/ 212503 h 347567"/>
                  <a:gd name="connsiteX65" fmla="*/ 685610 w 3285173"/>
                  <a:gd name="connsiteY65" fmla="*/ 218694 h 347567"/>
                  <a:gd name="connsiteX66" fmla="*/ 719328 w 3285173"/>
                  <a:gd name="connsiteY66" fmla="*/ 218694 h 347567"/>
                  <a:gd name="connsiteX67" fmla="*/ 719328 w 3285173"/>
                  <a:gd name="connsiteY67" fmla="*/ 224790 h 347567"/>
                  <a:gd name="connsiteX68" fmla="*/ 725615 w 3285173"/>
                  <a:gd name="connsiteY68" fmla="*/ 224790 h 347567"/>
                  <a:gd name="connsiteX69" fmla="*/ 725615 w 3285173"/>
                  <a:gd name="connsiteY69" fmla="*/ 230886 h 347567"/>
                  <a:gd name="connsiteX70" fmla="*/ 740283 w 3285173"/>
                  <a:gd name="connsiteY70" fmla="*/ 230886 h 347567"/>
                  <a:gd name="connsiteX71" fmla="*/ 740283 w 3285173"/>
                  <a:gd name="connsiteY71" fmla="*/ 236982 h 347567"/>
                  <a:gd name="connsiteX72" fmla="*/ 752951 w 3285173"/>
                  <a:gd name="connsiteY72" fmla="*/ 236982 h 347567"/>
                  <a:gd name="connsiteX73" fmla="*/ 752951 w 3285173"/>
                  <a:gd name="connsiteY73" fmla="*/ 243173 h 347567"/>
                  <a:gd name="connsiteX74" fmla="*/ 778193 w 3285173"/>
                  <a:gd name="connsiteY74" fmla="*/ 243173 h 347567"/>
                  <a:gd name="connsiteX75" fmla="*/ 778193 w 3285173"/>
                  <a:gd name="connsiteY75" fmla="*/ 249269 h 347567"/>
                  <a:gd name="connsiteX76" fmla="*/ 1007459 w 3285173"/>
                  <a:gd name="connsiteY76" fmla="*/ 249269 h 347567"/>
                  <a:gd name="connsiteX77" fmla="*/ 1007459 w 3285173"/>
                  <a:gd name="connsiteY77" fmla="*/ 255461 h 347567"/>
                  <a:gd name="connsiteX78" fmla="*/ 1120997 w 3285173"/>
                  <a:gd name="connsiteY78" fmla="*/ 255461 h 347567"/>
                  <a:gd name="connsiteX79" fmla="*/ 1120997 w 3285173"/>
                  <a:gd name="connsiteY79" fmla="*/ 261652 h 347567"/>
                  <a:gd name="connsiteX80" fmla="*/ 1390174 w 3285173"/>
                  <a:gd name="connsiteY80" fmla="*/ 261652 h 347567"/>
                  <a:gd name="connsiteX81" fmla="*/ 1390174 w 3285173"/>
                  <a:gd name="connsiteY81" fmla="*/ 267938 h 347567"/>
                  <a:gd name="connsiteX82" fmla="*/ 1463802 w 3285173"/>
                  <a:gd name="connsiteY82" fmla="*/ 267938 h 347567"/>
                  <a:gd name="connsiteX83" fmla="*/ 1463802 w 3285173"/>
                  <a:gd name="connsiteY83" fmla="*/ 274225 h 347567"/>
                  <a:gd name="connsiteX84" fmla="*/ 1543717 w 3285173"/>
                  <a:gd name="connsiteY84" fmla="*/ 274225 h 347567"/>
                  <a:gd name="connsiteX85" fmla="*/ 1543717 w 3285173"/>
                  <a:gd name="connsiteY85" fmla="*/ 280511 h 347567"/>
                  <a:gd name="connsiteX86" fmla="*/ 1705642 w 3285173"/>
                  <a:gd name="connsiteY86" fmla="*/ 280511 h 347567"/>
                  <a:gd name="connsiteX87" fmla="*/ 1705642 w 3285173"/>
                  <a:gd name="connsiteY87" fmla="*/ 286988 h 347567"/>
                  <a:gd name="connsiteX88" fmla="*/ 1722501 w 3285173"/>
                  <a:gd name="connsiteY88" fmla="*/ 286988 h 347567"/>
                  <a:gd name="connsiteX89" fmla="*/ 1722501 w 3285173"/>
                  <a:gd name="connsiteY89" fmla="*/ 293370 h 347567"/>
                  <a:gd name="connsiteX90" fmla="*/ 1840325 w 3285173"/>
                  <a:gd name="connsiteY90" fmla="*/ 293370 h 347567"/>
                  <a:gd name="connsiteX91" fmla="*/ 1840325 w 3285173"/>
                  <a:gd name="connsiteY91" fmla="*/ 299847 h 347567"/>
                  <a:gd name="connsiteX92" fmla="*/ 1932813 w 3285173"/>
                  <a:gd name="connsiteY92" fmla="*/ 299847 h 347567"/>
                  <a:gd name="connsiteX93" fmla="*/ 1932813 w 3285173"/>
                  <a:gd name="connsiteY93" fmla="*/ 306229 h 347567"/>
                  <a:gd name="connsiteX94" fmla="*/ 1951768 w 3285173"/>
                  <a:gd name="connsiteY94" fmla="*/ 306229 h 347567"/>
                  <a:gd name="connsiteX95" fmla="*/ 1951768 w 3285173"/>
                  <a:gd name="connsiteY95" fmla="*/ 312706 h 347567"/>
                  <a:gd name="connsiteX96" fmla="*/ 2805589 w 3285173"/>
                  <a:gd name="connsiteY96" fmla="*/ 312706 h 347567"/>
                  <a:gd name="connsiteX97" fmla="*/ 2805589 w 3285173"/>
                  <a:gd name="connsiteY97" fmla="*/ 347567 h 347567"/>
                  <a:gd name="connsiteX98" fmla="*/ 3285173 w 3285173"/>
                  <a:gd name="connsiteY98" fmla="*/ 347567 h 347567"/>
                  <a:gd name="connsiteX0" fmla="*/ 0 w 3278886"/>
                  <a:gd name="connsiteY0" fmla="*/ 0 h 335375"/>
                  <a:gd name="connsiteX1" fmla="*/ 18954 w 3278886"/>
                  <a:gd name="connsiteY1" fmla="*/ 0 h 335375"/>
                  <a:gd name="connsiteX2" fmla="*/ 18954 w 3278886"/>
                  <a:gd name="connsiteY2" fmla="*/ 6001 h 335375"/>
                  <a:gd name="connsiteX3" fmla="*/ 27336 w 3278886"/>
                  <a:gd name="connsiteY3" fmla="*/ 6001 h 335375"/>
                  <a:gd name="connsiteX4" fmla="*/ 27336 w 3278886"/>
                  <a:gd name="connsiteY4" fmla="*/ 12097 h 335375"/>
                  <a:gd name="connsiteX5" fmla="*/ 40005 w 3278886"/>
                  <a:gd name="connsiteY5" fmla="*/ 12097 h 335375"/>
                  <a:gd name="connsiteX6" fmla="*/ 40005 w 3278886"/>
                  <a:gd name="connsiteY6" fmla="*/ 18193 h 335375"/>
                  <a:gd name="connsiteX7" fmla="*/ 56864 w 3278886"/>
                  <a:gd name="connsiteY7" fmla="*/ 18193 h 335375"/>
                  <a:gd name="connsiteX8" fmla="*/ 56864 w 3278886"/>
                  <a:gd name="connsiteY8" fmla="*/ 24194 h 335375"/>
                  <a:gd name="connsiteX9" fmla="*/ 84201 w 3278886"/>
                  <a:gd name="connsiteY9" fmla="*/ 24194 h 335375"/>
                  <a:gd name="connsiteX10" fmla="*/ 84201 w 3278886"/>
                  <a:gd name="connsiteY10" fmla="*/ 30290 h 335375"/>
                  <a:gd name="connsiteX11" fmla="*/ 86296 w 3278886"/>
                  <a:gd name="connsiteY11" fmla="*/ 30290 h 335375"/>
                  <a:gd name="connsiteX12" fmla="*/ 86296 w 3278886"/>
                  <a:gd name="connsiteY12" fmla="*/ 36386 h 335375"/>
                  <a:gd name="connsiteX13" fmla="*/ 96773 w 3278886"/>
                  <a:gd name="connsiteY13" fmla="*/ 36386 h 335375"/>
                  <a:gd name="connsiteX14" fmla="*/ 96773 w 3278886"/>
                  <a:gd name="connsiteY14" fmla="*/ 42386 h 335375"/>
                  <a:gd name="connsiteX15" fmla="*/ 103060 w 3278886"/>
                  <a:gd name="connsiteY15" fmla="*/ 42386 h 335375"/>
                  <a:gd name="connsiteX16" fmla="*/ 103060 w 3278886"/>
                  <a:gd name="connsiteY16" fmla="*/ 54578 h 335375"/>
                  <a:gd name="connsiteX17" fmla="*/ 111537 w 3278886"/>
                  <a:gd name="connsiteY17" fmla="*/ 54578 h 335375"/>
                  <a:gd name="connsiteX18" fmla="*/ 111537 w 3278886"/>
                  <a:gd name="connsiteY18" fmla="*/ 60579 h 335375"/>
                  <a:gd name="connsiteX19" fmla="*/ 117824 w 3278886"/>
                  <a:gd name="connsiteY19" fmla="*/ 60579 h 335375"/>
                  <a:gd name="connsiteX20" fmla="*/ 117824 w 3278886"/>
                  <a:gd name="connsiteY20" fmla="*/ 72771 h 335375"/>
                  <a:gd name="connsiteX21" fmla="*/ 119919 w 3278886"/>
                  <a:gd name="connsiteY21" fmla="*/ 72771 h 335375"/>
                  <a:gd name="connsiteX22" fmla="*/ 119919 w 3278886"/>
                  <a:gd name="connsiteY22" fmla="*/ 78867 h 335375"/>
                  <a:gd name="connsiteX23" fmla="*/ 132492 w 3278886"/>
                  <a:gd name="connsiteY23" fmla="*/ 78867 h 335375"/>
                  <a:gd name="connsiteX24" fmla="*/ 132492 w 3278886"/>
                  <a:gd name="connsiteY24" fmla="*/ 84868 h 335375"/>
                  <a:gd name="connsiteX25" fmla="*/ 155638 w 3278886"/>
                  <a:gd name="connsiteY25" fmla="*/ 84868 h 335375"/>
                  <a:gd name="connsiteX26" fmla="*/ 155638 w 3278886"/>
                  <a:gd name="connsiteY26" fmla="*/ 90964 h 335375"/>
                  <a:gd name="connsiteX27" fmla="*/ 162020 w 3278886"/>
                  <a:gd name="connsiteY27" fmla="*/ 90964 h 335375"/>
                  <a:gd name="connsiteX28" fmla="*/ 162020 w 3278886"/>
                  <a:gd name="connsiteY28" fmla="*/ 97060 h 335375"/>
                  <a:gd name="connsiteX29" fmla="*/ 170402 w 3278886"/>
                  <a:gd name="connsiteY29" fmla="*/ 97060 h 335375"/>
                  <a:gd name="connsiteX30" fmla="*/ 170402 w 3278886"/>
                  <a:gd name="connsiteY30" fmla="*/ 103061 h 335375"/>
                  <a:gd name="connsiteX31" fmla="*/ 178784 w 3278886"/>
                  <a:gd name="connsiteY31" fmla="*/ 103061 h 335375"/>
                  <a:gd name="connsiteX32" fmla="*/ 178784 w 3278886"/>
                  <a:gd name="connsiteY32" fmla="*/ 109157 h 335375"/>
                  <a:gd name="connsiteX33" fmla="*/ 182975 w 3278886"/>
                  <a:gd name="connsiteY33" fmla="*/ 109157 h 335375"/>
                  <a:gd name="connsiteX34" fmla="*/ 182975 w 3278886"/>
                  <a:gd name="connsiteY34" fmla="*/ 115253 h 335375"/>
                  <a:gd name="connsiteX35" fmla="*/ 256603 w 3278886"/>
                  <a:gd name="connsiteY35" fmla="*/ 115253 h 335375"/>
                  <a:gd name="connsiteX36" fmla="*/ 256603 w 3278886"/>
                  <a:gd name="connsiteY36" fmla="*/ 121253 h 335375"/>
                  <a:gd name="connsiteX37" fmla="*/ 277653 w 3278886"/>
                  <a:gd name="connsiteY37" fmla="*/ 121253 h 335375"/>
                  <a:gd name="connsiteX38" fmla="*/ 277653 w 3278886"/>
                  <a:gd name="connsiteY38" fmla="*/ 127349 h 335375"/>
                  <a:gd name="connsiteX39" fmla="*/ 283940 w 3278886"/>
                  <a:gd name="connsiteY39" fmla="*/ 127349 h 335375"/>
                  <a:gd name="connsiteX40" fmla="*/ 283940 w 3278886"/>
                  <a:gd name="connsiteY40" fmla="*/ 133445 h 335375"/>
                  <a:gd name="connsiteX41" fmla="*/ 326040 w 3278886"/>
                  <a:gd name="connsiteY41" fmla="*/ 133445 h 335375"/>
                  <a:gd name="connsiteX42" fmla="*/ 326040 w 3278886"/>
                  <a:gd name="connsiteY42" fmla="*/ 139446 h 335375"/>
                  <a:gd name="connsiteX43" fmla="*/ 340709 w 3278886"/>
                  <a:gd name="connsiteY43" fmla="*/ 139446 h 335375"/>
                  <a:gd name="connsiteX44" fmla="*/ 340709 w 3278886"/>
                  <a:gd name="connsiteY44" fmla="*/ 145542 h 335375"/>
                  <a:gd name="connsiteX45" fmla="*/ 370236 w 3278886"/>
                  <a:gd name="connsiteY45" fmla="*/ 145542 h 335375"/>
                  <a:gd name="connsiteX46" fmla="*/ 370236 w 3278886"/>
                  <a:gd name="connsiteY46" fmla="*/ 151638 h 335375"/>
                  <a:gd name="connsiteX47" fmla="*/ 372332 w 3278886"/>
                  <a:gd name="connsiteY47" fmla="*/ 151638 h 335375"/>
                  <a:gd name="connsiteX48" fmla="*/ 372332 w 3278886"/>
                  <a:gd name="connsiteY48" fmla="*/ 157639 h 335375"/>
                  <a:gd name="connsiteX49" fmla="*/ 395382 w 3278886"/>
                  <a:gd name="connsiteY49" fmla="*/ 157639 h 335375"/>
                  <a:gd name="connsiteX50" fmla="*/ 395382 w 3278886"/>
                  <a:gd name="connsiteY50" fmla="*/ 163735 h 335375"/>
                  <a:gd name="connsiteX51" fmla="*/ 408051 w 3278886"/>
                  <a:gd name="connsiteY51" fmla="*/ 163735 h 335375"/>
                  <a:gd name="connsiteX52" fmla="*/ 408051 w 3278886"/>
                  <a:gd name="connsiteY52" fmla="*/ 169831 h 335375"/>
                  <a:gd name="connsiteX53" fmla="*/ 443769 w 3278886"/>
                  <a:gd name="connsiteY53" fmla="*/ 169831 h 335375"/>
                  <a:gd name="connsiteX54" fmla="*/ 443769 w 3278886"/>
                  <a:gd name="connsiteY54" fmla="*/ 175927 h 335375"/>
                  <a:gd name="connsiteX55" fmla="*/ 559498 w 3278886"/>
                  <a:gd name="connsiteY55" fmla="*/ 175927 h 335375"/>
                  <a:gd name="connsiteX56" fmla="*/ 559498 w 3278886"/>
                  <a:gd name="connsiteY56" fmla="*/ 181928 h 335375"/>
                  <a:gd name="connsiteX57" fmla="*/ 597312 w 3278886"/>
                  <a:gd name="connsiteY57" fmla="*/ 181928 h 335375"/>
                  <a:gd name="connsiteX58" fmla="*/ 597312 w 3278886"/>
                  <a:gd name="connsiteY58" fmla="*/ 188119 h 335375"/>
                  <a:gd name="connsiteX59" fmla="*/ 649890 w 3278886"/>
                  <a:gd name="connsiteY59" fmla="*/ 188119 h 335375"/>
                  <a:gd name="connsiteX60" fmla="*/ 649890 w 3278886"/>
                  <a:gd name="connsiteY60" fmla="*/ 194215 h 335375"/>
                  <a:gd name="connsiteX61" fmla="*/ 668845 w 3278886"/>
                  <a:gd name="connsiteY61" fmla="*/ 194215 h 335375"/>
                  <a:gd name="connsiteX62" fmla="*/ 668845 w 3278886"/>
                  <a:gd name="connsiteY62" fmla="*/ 200311 h 335375"/>
                  <a:gd name="connsiteX63" fmla="*/ 679323 w 3278886"/>
                  <a:gd name="connsiteY63" fmla="*/ 200311 h 335375"/>
                  <a:gd name="connsiteX64" fmla="*/ 679323 w 3278886"/>
                  <a:gd name="connsiteY64" fmla="*/ 206502 h 335375"/>
                  <a:gd name="connsiteX65" fmla="*/ 713041 w 3278886"/>
                  <a:gd name="connsiteY65" fmla="*/ 206502 h 335375"/>
                  <a:gd name="connsiteX66" fmla="*/ 713041 w 3278886"/>
                  <a:gd name="connsiteY66" fmla="*/ 212598 h 335375"/>
                  <a:gd name="connsiteX67" fmla="*/ 719328 w 3278886"/>
                  <a:gd name="connsiteY67" fmla="*/ 212598 h 335375"/>
                  <a:gd name="connsiteX68" fmla="*/ 719328 w 3278886"/>
                  <a:gd name="connsiteY68" fmla="*/ 218694 h 335375"/>
                  <a:gd name="connsiteX69" fmla="*/ 733996 w 3278886"/>
                  <a:gd name="connsiteY69" fmla="*/ 218694 h 335375"/>
                  <a:gd name="connsiteX70" fmla="*/ 733996 w 3278886"/>
                  <a:gd name="connsiteY70" fmla="*/ 224790 h 335375"/>
                  <a:gd name="connsiteX71" fmla="*/ 746664 w 3278886"/>
                  <a:gd name="connsiteY71" fmla="*/ 224790 h 335375"/>
                  <a:gd name="connsiteX72" fmla="*/ 746664 w 3278886"/>
                  <a:gd name="connsiteY72" fmla="*/ 230981 h 335375"/>
                  <a:gd name="connsiteX73" fmla="*/ 771906 w 3278886"/>
                  <a:gd name="connsiteY73" fmla="*/ 230981 h 335375"/>
                  <a:gd name="connsiteX74" fmla="*/ 771906 w 3278886"/>
                  <a:gd name="connsiteY74" fmla="*/ 237077 h 335375"/>
                  <a:gd name="connsiteX75" fmla="*/ 1001172 w 3278886"/>
                  <a:gd name="connsiteY75" fmla="*/ 237077 h 335375"/>
                  <a:gd name="connsiteX76" fmla="*/ 1001172 w 3278886"/>
                  <a:gd name="connsiteY76" fmla="*/ 243269 h 335375"/>
                  <a:gd name="connsiteX77" fmla="*/ 1114710 w 3278886"/>
                  <a:gd name="connsiteY77" fmla="*/ 243269 h 335375"/>
                  <a:gd name="connsiteX78" fmla="*/ 1114710 w 3278886"/>
                  <a:gd name="connsiteY78" fmla="*/ 249460 h 335375"/>
                  <a:gd name="connsiteX79" fmla="*/ 1383887 w 3278886"/>
                  <a:gd name="connsiteY79" fmla="*/ 249460 h 335375"/>
                  <a:gd name="connsiteX80" fmla="*/ 1383887 w 3278886"/>
                  <a:gd name="connsiteY80" fmla="*/ 255746 h 335375"/>
                  <a:gd name="connsiteX81" fmla="*/ 1457515 w 3278886"/>
                  <a:gd name="connsiteY81" fmla="*/ 255746 h 335375"/>
                  <a:gd name="connsiteX82" fmla="*/ 1457515 w 3278886"/>
                  <a:gd name="connsiteY82" fmla="*/ 262033 h 335375"/>
                  <a:gd name="connsiteX83" fmla="*/ 1537430 w 3278886"/>
                  <a:gd name="connsiteY83" fmla="*/ 262033 h 335375"/>
                  <a:gd name="connsiteX84" fmla="*/ 1537430 w 3278886"/>
                  <a:gd name="connsiteY84" fmla="*/ 268319 h 335375"/>
                  <a:gd name="connsiteX85" fmla="*/ 1699355 w 3278886"/>
                  <a:gd name="connsiteY85" fmla="*/ 268319 h 335375"/>
                  <a:gd name="connsiteX86" fmla="*/ 1699355 w 3278886"/>
                  <a:gd name="connsiteY86" fmla="*/ 274796 h 335375"/>
                  <a:gd name="connsiteX87" fmla="*/ 1716214 w 3278886"/>
                  <a:gd name="connsiteY87" fmla="*/ 274796 h 335375"/>
                  <a:gd name="connsiteX88" fmla="*/ 1716214 w 3278886"/>
                  <a:gd name="connsiteY88" fmla="*/ 281178 h 335375"/>
                  <a:gd name="connsiteX89" fmla="*/ 1834038 w 3278886"/>
                  <a:gd name="connsiteY89" fmla="*/ 281178 h 335375"/>
                  <a:gd name="connsiteX90" fmla="*/ 1834038 w 3278886"/>
                  <a:gd name="connsiteY90" fmla="*/ 287655 h 335375"/>
                  <a:gd name="connsiteX91" fmla="*/ 1926526 w 3278886"/>
                  <a:gd name="connsiteY91" fmla="*/ 287655 h 335375"/>
                  <a:gd name="connsiteX92" fmla="*/ 1926526 w 3278886"/>
                  <a:gd name="connsiteY92" fmla="*/ 294037 h 335375"/>
                  <a:gd name="connsiteX93" fmla="*/ 1945481 w 3278886"/>
                  <a:gd name="connsiteY93" fmla="*/ 294037 h 335375"/>
                  <a:gd name="connsiteX94" fmla="*/ 1945481 w 3278886"/>
                  <a:gd name="connsiteY94" fmla="*/ 300514 h 335375"/>
                  <a:gd name="connsiteX95" fmla="*/ 2799302 w 3278886"/>
                  <a:gd name="connsiteY95" fmla="*/ 300514 h 335375"/>
                  <a:gd name="connsiteX96" fmla="*/ 2799302 w 3278886"/>
                  <a:gd name="connsiteY96" fmla="*/ 335375 h 335375"/>
                  <a:gd name="connsiteX97" fmla="*/ 3278886 w 3278886"/>
                  <a:gd name="connsiteY97" fmla="*/ 335375 h 335375"/>
                  <a:gd name="connsiteX0" fmla="*/ 0 w 3259932"/>
                  <a:gd name="connsiteY0" fmla="*/ 0 h 335375"/>
                  <a:gd name="connsiteX1" fmla="*/ 0 w 3259932"/>
                  <a:gd name="connsiteY1" fmla="*/ 6001 h 335375"/>
                  <a:gd name="connsiteX2" fmla="*/ 8382 w 3259932"/>
                  <a:gd name="connsiteY2" fmla="*/ 6001 h 335375"/>
                  <a:gd name="connsiteX3" fmla="*/ 8382 w 3259932"/>
                  <a:gd name="connsiteY3" fmla="*/ 12097 h 335375"/>
                  <a:gd name="connsiteX4" fmla="*/ 21051 w 3259932"/>
                  <a:gd name="connsiteY4" fmla="*/ 12097 h 335375"/>
                  <a:gd name="connsiteX5" fmla="*/ 21051 w 3259932"/>
                  <a:gd name="connsiteY5" fmla="*/ 18193 h 335375"/>
                  <a:gd name="connsiteX6" fmla="*/ 37910 w 3259932"/>
                  <a:gd name="connsiteY6" fmla="*/ 18193 h 335375"/>
                  <a:gd name="connsiteX7" fmla="*/ 37910 w 3259932"/>
                  <a:gd name="connsiteY7" fmla="*/ 24194 h 335375"/>
                  <a:gd name="connsiteX8" fmla="*/ 65247 w 3259932"/>
                  <a:gd name="connsiteY8" fmla="*/ 24194 h 335375"/>
                  <a:gd name="connsiteX9" fmla="*/ 65247 w 3259932"/>
                  <a:gd name="connsiteY9" fmla="*/ 30290 h 335375"/>
                  <a:gd name="connsiteX10" fmla="*/ 67342 w 3259932"/>
                  <a:gd name="connsiteY10" fmla="*/ 30290 h 335375"/>
                  <a:gd name="connsiteX11" fmla="*/ 67342 w 3259932"/>
                  <a:gd name="connsiteY11" fmla="*/ 36386 h 335375"/>
                  <a:gd name="connsiteX12" fmla="*/ 77819 w 3259932"/>
                  <a:gd name="connsiteY12" fmla="*/ 36386 h 335375"/>
                  <a:gd name="connsiteX13" fmla="*/ 77819 w 3259932"/>
                  <a:gd name="connsiteY13" fmla="*/ 42386 h 335375"/>
                  <a:gd name="connsiteX14" fmla="*/ 84106 w 3259932"/>
                  <a:gd name="connsiteY14" fmla="*/ 42386 h 335375"/>
                  <a:gd name="connsiteX15" fmla="*/ 84106 w 3259932"/>
                  <a:gd name="connsiteY15" fmla="*/ 54578 h 335375"/>
                  <a:gd name="connsiteX16" fmla="*/ 92583 w 3259932"/>
                  <a:gd name="connsiteY16" fmla="*/ 54578 h 335375"/>
                  <a:gd name="connsiteX17" fmla="*/ 92583 w 3259932"/>
                  <a:gd name="connsiteY17" fmla="*/ 60579 h 335375"/>
                  <a:gd name="connsiteX18" fmla="*/ 98870 w 3259932"/>
                  <a:gd name="connsiteY18" fmla="*/ 60579 h 335375"/>
                  <a:gd name="connsiteX19" fmla="*/ 98870 w 3259932"/>
                  <a:gd name="connsiteY19" fmla="*/ 72771 h 335375"/>
                  <a:gd name="connsiteX20" fmla="*/ 100965 w 3259932"/>
                  <a:gd name="connsiteY20" fmla="*/ 72771 h 335375"/>
                  <a:gd name="connsiteX21" fmla="*/ 100965 w 3259932"/>
                  <a:gd name="connsiteY21" fmla="*/ 78867 h 335375"/>
                  <a:gd name="connsiteX22" fmla="*/ 113538 w 3259932"/>
                  <a:gd name="connsiteY22" fmla="*/ 78867 h 335375"/>
                  <a:gd name="connsiteX23" fmla="*/ 113538 w 3259932"/>
                  <a:gd name="connsiteY23" fmla="*/ 84868 h 335375"/>
                  <a:gd name="connsiteX24" fmla="*/ 136684 w 3259932"/>
                  <a:gd name="connsiteY24" fmla="*/ 84868 h 335375"/>
                  <a:gd name="connsiteX25" fmla="*/ 136684 w 3259932"/>
                  <a:gd name="connsiteY25" fmla="*/ 90964 h 335375"/>
                  <a:gd name="connsiteX26" fmla="*/ 143066 w 3259932"/>
                  <a:gd name="connsiteY26" fmla="*/ 90964 h 335375"/>
                  <a:gd name="connsiteX27" fmla="*/ 143066 w 3259932"/>
                  <a:gd name="connsiteY27" fmla="*/ 97060 h 335375"/>
                  <a:gd name="connsiteX28" fmla="*/ 151448 w 3259932"/>
                  <a:gd name="connsiteY28" fmla="*/ 97060 h 335375"/>
                  <a:gd name="connsiteX29" fmla="*/ 151448 w 3259932"/>
                  <a:gd name="connsiteY29" fmla="*/ 103061 h 335375"/>
                  <a:gd name="connsiteX30" fmla="*/ 159830 w 3259932"/>
                  <a:gd name="connsiteY30" fmla="*/ 103061 h 335375"/>
                  <a:gd name="connsiteX31" fmla="*/ 159830 w 3259932"/>
                  <a:gd name="connsiteY31" fmla="*/ 109157 h 335375"/>
                  <a:gd name="connsiteX32" fmla="*/ 164021 w 3259932"/>
                  <a:gd name="connsiteY32" fmla="*/ 109157 h 335375"/>
                  <a:gd name="connsiteX33" fmla="*/ 164021 w 3259932"/>
                  <a:gd name="connsiteY33" fmla="*/ 115253 h 335375"/>
                  <a:gd name="connsiteX34" fmla="*/ 237649 w 3259932"/>
                  <a:gd name="connsiteY34" fmla="*/ 115253 h 335375"/>
                  <a:gd name="connsiteX35" fmla="*/ 237649 w 3259932"/>
                  <a:gd name="connsiteY35" fmla="*/ 121253 h 335375"/>
                  <a:gd name="connsiteX36" fmla="*/ 258699 w 3259932"/>
                  <a:gd name="connsiteY36" fmla="*/ 121253 h 335375"/>
                  <a:gd name="connsiteX37" fmla="*/ 258699 w 3259932"/>
                  <a:gd name="connsiteY37" fmla="*/ 127349 h 335375"/>
                  <a:gd name="connsiteX38" fmla="*/ 264986 w 3259932"/>
                  <a:gd name="connsiteY38" fmla="*/ 127349 h 335375"/>
                  <a:gd name="connsiteX39" fmla="*/ 264986 w 3259932"/>
                  <a:gd name="connsiteY39" fmla="*/ 133445 h 335375"/>
                  <a:gd name="connsiteX40" fmla="*/ 307086 w 3259932"/>
                  <a:gd name="connsiteY40" fmla="*/ 133445 h 335375"/>
                  <a:gd name="connsiteX41" fmla="*/ 307086 w 3259932"/>
                  <a:gd name="connsiteY41" fmla="*/ 139446 h 335375"/>
                  <a:gd name="connsiteX42" fmla="*/ 321755 w 3259932"/>
                  <a:gd name="connsiteY42" fmla="*/ 139446 h 335375"/>
                  <a:gd name="connsiteX43" fmla="*/ 321755 w 3259932"/>
                  <a:gd name="connsiteY43" fmla="*/ 145542 h 335375"/>
                  <a:gd name="connsiteX44" fmla="*/ 351282 w 3259932"/>
                  <a:gd name="connsiteY44" fmla="*/ 145542 h 335375"/>
                  <a:gd name="connsiteX45" fmla="*/ 351282 w 3259932"/>
                  <a:gd name="connsiteY45" fmla="*/ 151638 h 335375"/>
                  <a:gd name="connsiteX46" fmla="*/ 353378 w 3259932"/>
                  <a:gd name="connsiteY46" fmla="*/ 151638 h 335375"/>
                  <a:gd name="connsiteX47" fmla="*/ 353378 w 3259932"/>
                  <a:gd name="connsiteY47" fmla="*/ 157639 h 335375"/>
                  <a:gd name="connsiteX48" fmla="*/ 376428 w 3259932"/>
                  <a:gd name="connsiteY48" fmla="*/ 157639 h 335375"/>
                  <a:gd name="connsiteX49" fmla="*/ 376428 w 3259932"/>
                  <a:gd name="connsiteY49" fmla="*/ 163735 h 335375"/>
                  <a:gd name="connsiteX50" fmla="*/ 389097 w 3259932"/>
                  <a:gd name="connsiteY50" fmla="*/ 163735 h 335375"/>
                  <a:gd name="connsiteX51" fmla="*/ 389097 w 3259932"/>
                  <a:gd name="connsiteY51" fmla="*/ 169831 h 335375"/>
                  <a:gd name="connsiteX52" fmla="*/ 424815 w 3259932"/>
                  <a:gd name="connsiteY52" fmla="*/ 169831 h 335375"/>
                  <a:gd name="connsiteX53" fmla="*/ 424815 w 3259932"/>
                  <a:gd name="connsiteY53" fmla="*/ 175927 h 335375"/>
                  <a:gd name="connsiteX54" fmla="*/ 540544 w 3259932"/>
                  <a:gd name="connsiteY54" fmla="*/ 175927 h 335375"/>
                  <a:gd name="connsiteX55" fmla="*/ 540544 w 3259932"/>
                  <a:gd name="connsiteY55" fmla="*/ 181928 h 335375"/>
                  <a:gd name="connsiteX56" fmla="*/ 578358 w 3259932"/>
                  <a:gd name="connsiteY56" fmla="*/ 181928 h 335375"/>
                  <a:gd name="connsiteX57" fmla="*/ 578358 w 3259932"/>
                  <a:gd name="connsiteY57" fmla="*/ 188119 h 335375"/>
                  <a:gd name="connsiteX58" fmla="*/ 630936 w 3259932"/>
                  <a:gd name="connsiteY58" fmla="*/ 188119 h 335375"/>
                  <a:gd name="connsiteX59" fmla="*/ 630936 w 3259932"/>
                  <a:gd name="connsiteY59" fmla="*/ 194215 h 335375"/>
                  <a:gd name="connsiteX60" fmla="*/ 649891 w 3259932"/>
                  <a:gd name="connsiteY60" fmla="*/ 194215 h 335375"/>
                  <a:gd name="connsiteX61" fmla="*/ 649891 w 3259932"/>
                  <a:gd name="connsiteY61" fmla="*/ 200311 h 335375"/>
                  <a:gd name="connsiteX62" fmla="*/ 660369 w 3259932"/>
                  <a:gd name="connsiteY62" fmla="*/ 200311 h 335375"/>
                  <a:gd name="connsiteX63" fmla="*/ 660369 w 3259932"/>
                  <a:gd name="connsiteY63" fmla="*/ 206502 h 335375"/>
                  <a:gd name="connsiteX64" fmla="*/ 694087 w 3259932"/>
                  <a:gd name="connsiteY64" fmla="*/ 206502 h 335375"/>
                  <a:gd name="connsiteX65" fmla="*/ 694087 w 3259932"/>
                  <a:gd name="connsiteY65" fmla="*/ 212598 h 335375"/>
                  <a:gd name="connsiteX66" fmla="*/ 700374 w 3259932"/>
                  <a:gd name="connsiteY66" fmla="*/ 212598 h 335375"/>
                  <a:gd name="connsiteX67" fmla="*/ 700374 w 3259932"/>
                  <a:gd name="connsiteY67" fmla="*/ 218694 h 335375"/>
                  <a:gd name="connsiteX68" fmla="*/ 715042 w 3259932"/>
                  <a:gd name="connsiteY68" fmla="*/ 218694 h 335375"/>
                  <a:gd name="connsiteX69" fmla="*/ 715042 w 3259932"/>
                  <a:gd name="connsiteY69" fmla="*/ 224790 h 335375"/>
                  <a:gd name="connsiteX70" fmla="*/ 727710 w 3259932"/>
                  <a:gd name="connsiteY70" fmla="*/ 224790 h 335375"/>
                  <a:gd name="connsiteX71" fmla="*/ 727710 w 3259932"/>
                  <a:gd name="connsiteY71" fmla="*/ 230981 h 335375"/>
                  <a:gd name="connsiteX72" fmla="*/ 752952 w 3259932"/>
                  <a:gd name="connsiteY72" fmla="*/ 230981 h 335375"/>
                  <a:gd name="connsiteX73" fmla="*/ 752952 w 3259932"/>
                  <a:gd name="connsiteY73" fmla="*/ 237077 h 335375"/>
                  <a:gd name="connsiteX74" fmla="*/ 982218 w 3259932"/>
                  <a:gd name="connsiteY74" fmla="*/ 237077 h 335375"/>
                  <a:gd name="connsiteX75" fmla="*/ 982218 w 3259932"/>
                  <a:gd name="connsiteY75" fmla="*/ 243269 h 335375"/>
                  <a:gd name="connsiteX76" fmla="*/ 1095756 w 3259932"/>
                  <a:gd name="connsiteY76" fmla="*/ 243269 h 335375"/>
                  <a:gd name="connsiteX77" fmla="*/ 1095756 w 3259932"/>
                  <a:gd name="connsiteY77" fmla="*/ 249460 h 335375"/>
                  <a:gd name="connsiteX78" fmla="*/ 1364933 w 3259932"/>
                  <a:gd name="connsiteY78" fmla="*/ 249460 h 335375"/>
                  <a:gd name="connsiteX79" fmla="*/ 1364933 w 3259932"/>
                  <a:gd name="connsiteY79" fmla="*/ 255746 h 335375"/>
                  <a:gd name="connsiteX80" fmla="*/ 1438561 w 3259932"/>
                  <a:gd name="connsiteY80" fmla="*/ 255746 h 335375"/>
                  <a:gd name="connsiteX81" fmla="*/ 1438561 w 3259932"/>
                  <a:gd name="connsiteY81" fmla="*/ 262033 h 335375"/>
                  <a:gd name="connsiteX82" fmla="*/ 1518476 w 3259932"/>
                  <a:gd name="connsiteY82" fmla="*/ 262033 h 335375"/>
                  <a:gd name="connsiteX83" fmla="*/ 1518476 w 3259932"/>
                  <a:gd name="connsiteY83" fmla="*/ 268319 h 335375"/>
                  <a:gd name="connsiteX84" fmla="*/ 1680401 w 3259932"/>
                  <a:gd name="connsiteY84" fmla="*/ 268319 h 335375"/>
                  <a:gd name="connsiteX85" fmla="*/ 1680401 w 3259932"/>
                  <a:gd name="connsiteY85" fmla="*/ 274796 h 335375"/>
                  <a:gd name="connsiteX86" fmla="*/ 1697260 w 3259932"/>
                  <a:gd name="connsiteY86" fmla="*/ 274796 h 335375"/>
                  <a:gd name="connsiteX87" fmla="*/ 1697260 w 3259932"/>
                  <a:gd name="connsiteY87" fmla="*/ 281178 h 335375"/>
                  <a:gd name="connsiteX88" fmla="*/ 1815084 w 3259932"/>
                  <a:gd name="connsiteY88" fmla="*/ 281178 h 335375"/>
                  <a:gd name="connsiteX89" fmla="*/ 1815084 w 3259932"/>
                  <a:gd name="connsiteY89" fmla="*/ 287655 h 335375"/>
                  <a:gd name="connsiteX90" fmla="*/ 1907572 w 3259932"/>
                  <a:gd name="connsiteY90" fmla="*/ 287655 h 335375"/>
                  <a:gd name="connsiteX91" fmla="*/ 1907572 w 3259932"/>
                  <a:gd name="connsiteY91" fmla="*/ 294037 h 335375"/>
                  <a:gd name="connsiteX92" fmla="*/ 1926527 w 3259932"/>
                  <a:gd name="connsiteY92" fmla="*/ 294037 h 335375"/>
                  <a:gd name="connsiteX93" fmla="*/ 1926527 w 3259932"/>
                  <a:gd name="connsiteY93" fmla="*/ 300514 h 335375"/>
                  <a:gd name="connsiteX94" fmla="*/ 2780348 w 3259932"/>
                  <a:gd name="connsiteY94" fmla="*/ 300514 h 335375"/>
                  <a:gd name="connsiteX95" fmla="*/ 2780348 w 3259932"/>
                  <a:gd name="connsiteY95" fmla="*/ 335375 h 335375"/>
                  <a:gd name="connsiteX96" fmla="*/ 3259932 w 3259932"/>
                  <a:gd name="connsiteY96" fmla="*/ 335375 h 335375"/>
                  <a:gd name="connsiteX0" fmla="*/ 0 w 3259932"/>
                  <a:gd name="connsiteY0" fmla="*/ 0 h 335375"/>
                  <a:gd name="connsiteX1" fmla="*/ 0 w 3259932"/>
                  <a:gd name="connsiteY1" fmla="*/ 6001 h 335375"/>
                  <a:gd name="connsiteX2" fmla="*/ 8382 w 3259932"/>
                  <a:gd name="connsiteY2" fmla="*/ 12097 h 335375"/>
                  <a:gd name="connsiteX3" fmla="*/ 21051 w 3259932"/>
                  <a:gd name="connsiteY3" fmla="*/ 12097 h 335375"/>
                  <a:gd name="connsiteX4" fmla="*/ 21051 w 3259932"/>
                  <a:gd name="connsiteY4" fmla="*/ 18193 h 335375"/>
                  <a:gd name="connsiteX5" fmla="*/ 37910 w 3259932"/>
                  <a:gd name="connsiteY5" fmla="*/ 18193 h 335375"/>
                  <a:gd name="connsiteX6" fmla="*/ 37910 w 3259932"/>
                  <a:gd name="connsiteY6" fmla="*/ 24194 h 335375"/>
                  <a:gd name="connsiteX7" fmla="*/ 65247 w 3259932"/>
                  <a:gd name="connsiteY7" fmla="*/ 24194 h 335375"/>
                  <a:gd name="connsiteX8" fmla="*/ 65247 w 3259932"/>
                  <a:gd name="connsiteY8" fmla="*/ 30290 h 335375"/>
                  <a:gd name="connsiteX9" fmla="*/ 67342 w 3259932"/>
                  <a:gd name="connsiteY9" fmla="*/ 30290 h 335375"/>
                  <a:gd name="connsiteX10" fmla="*/ 67342 w 3259932"/>
                  <a:gd name="connsiteY10" fmla="*/ 36386 h 335375"/>
                  <a:gd name="connsiteX11" fmla="*/ 77819 w 3259932"/>
                  <a:gd name="connsiteY11" fmla="*/ 36386 h 335375"/>
                  <a:gd name="connsiteX12" fmla="*/ 77819 w 3259932"/>
                  <a:gd name="connsiteY12" fmla="*/ 42386 h 335375"/>
                  <a:gd name="connsiteX13" fmla="*/ 84106 w 3259932"/>
                  <a:gd name="connsiteY13" fmla="*/ 42386 h 335375"/>
                  <a:gd name="connsiteX14" fmla="*/ 84106 w 3259932"/>
                  <a:gd name="connsiteY14" fmla="*/ 54578 h 335375"/>
                  <a:gd name="connsiteX15" fmla="*/ 92583 w 3259932"/>
                  <a:gd name="connsiteY15" fmla="*/ 54578 h 335375"/>
                  <a:gd name="connsiteX16" fmla="*/ 92583 w 3259932"/>
                  <a:gd name="connsiteY16" fmla="*/ 60579 h 335375"/>
                  <a:gd name="connsiteX17" fmla="*/ 98870 w 3259932"/>
                  <a:gd name="connsiteY17" fmla="*/ 60579 h 335375"/>
                  <a:gd name="connsiteX18" fmla="*/ 98870 w 3259932"/>
                  <a:gd name="connsiteY18" fmla="*/ 72771 h 335375"/>
                  <a:gd name="connsiteX19" fmla="*/ 100965 w 3259932"/>
                  <a:gd name="connsiteY19" fmla="*/ 72771 h 335375"/>
                  <a:gd name="connsiteX20" fmla="*/ 100965 w 3259932"/>
                  <a:gd name="connsiteY20" fmla="*/ 78867 h 335375"/>
                  <a:gd name="connsiteX21" fmla="*/ 113538 w 3259932"/>
                  <a:gd name="connsiteY21" fmla="*/ 78867 h 335375"/>
                  <a:gd name="connsiteX22" fmla="*/ 113538 w 3259932"/>
                  <a:gd name="connsiteY22" fmla="*/ 84868 h 335375"/>
                  <a:gd name="connsiteX23" fmla="*/ 136684 w 3259932"/>
                  <a:gd name="connsiteY23" fmla="*/ 84868 h 335375"/>
                  <a:gd name="connsiteX24" fmla="*/ 136684 w 3259932"/>
                  <a:gd name="connsiteY24" fmla="*/ 90964 h 335375"/>
                  <a:gd name="connsiteX25" fmla="*/ 143066 w 3259932"/>
                  <a:gd name="connsiteY25" fmla="*/ 90964 h 335375"/>
                  <a:gd name="connsiteX26" fmla="*/ 143066 w 3259932"/>
                  <a:gd name="connsiteY26" fmla="*/ 97060 h 335375"/>
                  <a:gd name="connsiteX27" fmla="*/ 151448 w 3259932"/>
                  <a:gd name="connsiteY27" fmla="*/ 97060 h 335375"/>
                  <a:gd name="connsiteX28" fmla="*/ 151448 w 3259932"/>
                  <a:gd name="connsiteY28" fmla="*/ 103061 h 335375"/>
                  <a:gd name="connsiteX29" fmla="*/ 159830 w 3259932"/>
                  <a:gd name="connsiteY29" fmla="*/ 103061 h 335375"/>
                  <a:gd name="connsiteX30" fmla="*/ 159830 w 3259932"/>
                  <a:gd name="connsiteY30" fmla="*/ 109157 h 335375"/>
                  <a:gd name="connsiteX31" fmla="*/ 164021 w 3259932"/>
                  <a:gd name="connsiteY31" fmla="*/ 109157 h 335375"/>
                  <a:gd name="connsiteX32" fmla="*/ 164021 w 3259932"/>
                  <a:gd name="connsiteY32" fmla="*/ 115253 h 335375"/>
                  <a:gd name="connsiteX33" fmla="*/ 237649 w 3259932"/>
                  <a:gd name="connsiteY33" fmla="*/ 115253 h 335375"/>
                  <a:gd name="connsiteX34" fmla="*/ 237649 w 3259932"/>
                  <a:gd name="connsiteY34" fmla="*/ 121253 h 335375"/>
                  <a:gd name="connsiteX35" fmla="*/ 258699 w 3259932"/>
                  <a:gd name="connsiteY35" fmla="*/ 121253 h 335375"/>
                  <a:gd name="connsiteX36" fmla="*/ 258699 w 3259932"/>
                  <a:gd name="connsiteY36" fmla="*/ 127349 h 335375"/>
                  <a:gd name="connsiteX37" fmla="*/ 264986 w 3259932"/>
                  <a:gd name="connsiteY37" fmla="*/ 127349 h 335375"/>
                  <a:gd name="connsiteX38" fmla="*/ 264986 w 3259932"/>
                  <a:gd name="connsiteY38" fmla="*/ 133445 h 335375"/>
                  <a:gd name="connsiteX39" fmla="*/ 307086 w 3259932"/>
                  <a:gd name="connsiteY39" fmla="*/ 133445 h 335375"/>
                  <a:gd name="connsiteX40" fmla="*/ 307086 w 3259932"/>
                  <a:gd name="connsiteY40" fmla="*/ 139446 h 335375"/>
                  <a:gd name="connsiteX41" fmla="*/ 321755 w 3259932"/>
                  <a:gd name="connsiteY41" fmla="*/ 139446 h 335375"/>
                  <a:gd name="connsiteX42" fmla="*/ 321755 w 3259932"/>
                  <a:gd name="connsiteY42" fmla="*/ 145542 h 335375"/>
                  <a:gd name="connsiteX43" fmla="*/ 351282 w 3259932"/>
                  <a:gd name="connsiteY43" fmla="*/ 145542 h 335375"/>
                  <a:gd name="connsiteX44" fmla="*/ 351282 w 3259932"/>
                  <a:gd name="connsiteY44" fmla="*/ 151638 h 335375"/>
                  <a:gd name="connsiteX45" fmla="*/ 353378 w 3259932"/>
                  <a:gd name="connsiteY45" fmla="*/ 151638 h 335375"/>
                  <a:gd name="connsiteX46" fmla="*/ 353378 w 3259932"/>
                  <a:gd name="connsiteY46" fmla="*/ 157639 h 335375"/>
                  <a:gd name="connsiteX47" fmla="*/ 376428 w 3259932"/>
                  <a:gd name="connsiteY47" fmla="*/ 157639 h 335375"/>
                  <a:gd name="connsiteX48" fmla="*/ 376428 w 3259932"/>
                  <a:gd name="connsiteY48" fmla="*/ 163735 h 335375"/>
                  <a:gd name="connsiteX49" fmla="*/ 389097 w 3259932"/>
                  <a:gd name="connsiteY49" fmla="*/ 163735 h 335375"/>
                  <a:gd name="connsiteX50" fmla="*/ 389097 w 3259932"/>
                  <a:gd name="connsiteY50" fmla="*/ 169831 h 335375"/>
                  <a:gd name="connsiteX51" fmla="*/ 424815 w 3259932"/>
                  <a:gd name="connsiteY51" fmla="*/ 169831 h 335375"/>
                  <a:gd name="connsiteX52" fmla="*/ 424815 w 3259932"/>
                  <a:gd name="connsiteY52" fmla="*/ 175927 h 335375"/>
                  <a:gd name="connsiteX53" fmla="*/ 540544 w 3259932"/>
                  <a:gd name="connsiteY53" fmla="*/ 175927 h 335375"/>
                  <a:gd name="connsiteX54" fmla="*/ 540544 w 3259932"/>
                  <a:gd name="connsiteY54" fmla="*/ 181928 h 335375"/>
                  <a:gd name="connsiteX55" fmla="*/ 578358 w 3259932"/>
                  <a:gd name="connsiteY55" fmla="*/ 181928 h 335375"/>
                  <a:gd name="connsiteX56" fmla="*/ 578358 w 3259932"/>
                  <a:gd name="connsiteY56" fmla="*/ 188119 h 335375"/>
                  <a:gd name="connsiteX57" fmla="*/ 630936 w 3259932"/>
                  <a:gd name="connsiteY57" fmla="*/ 188119 h 335375"/>
                  <a:gd name="connsiteX58" fmla="*/ 630936 w 3259932"/>
                  <a:gd name="connsiteY58" fmla="*/ 194215 h 335375"/>
                  <a:gd name="connsiteX59" fmla="*/ 649891 w 3259932"/>
                  <a:gd name="connsiteY59" fmla="*/ 194215 h 335375"/>
                  <a:gd name="connsiteX60" fmla="*/ 649891 w 3259932"/>
                  <a:gd name="connsiteY60" fmla="*/ 200311 h 335375"/>
                  <a:gd name="connsiteX61" fmla="*/ 660369 w 3259932"/>
                  <a:gd name="connsiteY61" fmla="*/ 200311 h 335375"/>
                  <a:gd name="connsiteX62" fmla="*/ 660369 w 3259932"/>
                  <a:gd name="connsiteY62" fmla="*/ 206502 h 335375"/>
                  <a:gd name="connsiteX63" fmla="*/ 694087 w 3259932"/>
                  <a:gd name="connsiteY63" fmla="*/ 206502 h 335375"/>
                  <a:gd name="connsiteX64" fmla="*/ 694087 w 3259932"/>
                  <a:gd name="connsiteY64" fmla="*/ 212598 h 335375"/>
                  <a:gd name="connsiteX65" fmla="*/ 700374 w 3259932"/>
                  <a:gd name="connsiteY65" fmla="*/ 212598 h 335375"/>
                  <a:gd name="connsiteX66" fmla="*/ 700374 w 3259932"/>
                  <a:gd name="connsiteY66" fmla="*/ 218694 h 335375"/>
                  <a:gd name="connsiteX67" fmla="*/ 715042 w 3259932"/>
                  <a:gd name="connsiteY67" fmla="*/ 218694 h 335375"/>
                  <a:gd name="connsiteX68" fmla="*/ 715042 w 3259932"/>
                  <a:gd name="connsiteY68" fmla="*/ 224790 h 335375"/>
                  <a:gd name="connsiteX69" fmla="*/ 727710 w 3259932"/>
                  <a:gd name="connsiteY69" fmla="*/ 224790 h 335375"/>
                  <a:gd name="connsiteX70" fmla="*/ 727710 w 3259932"/>
                  <a:gd name="connsiteY70" fmla="*/ 230981 h 335375"/>
                  <a:gd name="connsiteX71" fmla="*/ 752952 w 3259932"/>
                  <a:gd name="connsiteY71" fmla="*/ 230981 h 335375"/>
                  <a:gd name="connsiteX72" fmla="*/ 752952 w 3259932"/>
                  <a:gd name="connsiteY72" fmla="*/ 237077 h 335375"/>
                  <a:gd name="connsiteX73" fmla="*/ 982218 w 3259932"/>
                  <a:gd name="connsiteY73" fmla="*/ 237077 h 335375"/>
                  <a:gd name="connsiteX74" fmla="*/ 982218 w 3259932"/>
                  <a:gd name="connsiteY74" fmla="*/ 243269 h 335375"/>
                  <a:gd name="connsiteX75" fmla="*/ 1095756 w 3259932"/>
                  <a:gd name="connsiteY75" fmla="*/ 243269 h 335375"/>
                  <a:gd name="connsiteX76" fmla="*/ 1095756 w 3259932"/>
                  <a:gd name="connsiteY76" fmla="*/ 249460 h 335375"/>
                  <a:gd name="connsiteX77" fmla="*/ 1364933 w 3259932"/>
                  <a:gd name="connsiteY77" fmla="*/ 249460 h 335375"/>
                  <a:gd name="connsiteX78" fmla="*/ 1364933 w 3259932"/>
                  <a:gd name="connsiteY78" fmla="*/ 255746 h 335375"/>
                  <a:gd name="connsiteX79" fmla="*/ 1438561 w 3259932"/>
                  <a:gd name="connsiteY79" fmla="*/ 255746 h 335375"/>
                  <a:gd name="connsiteX80" fmla="*/ 1438561 w 3259932"/>
                  <a:gd name="connsiteY80" fmla="*/ 262033 h 335375"/>
                  <a:gd name="connsiteX81" fmla="*/ 1518476 w 3259932"/>
                  <a:gd name="connsiteY81" fmla="*/ 262033 h 335375"/>
                  <a:gd name="connsiteX82" fmla="*/ 1518476 w 3259932"/>
                  <a:gd name="connsiteY82" fmla="*/ 268319 h 335375"/>
                  <a:gd name="connsiteX83" fmla="*/ 1680401 w 3259932"/>
                  <a:gd name="connsiteY83" fmla="*/ 268319 h 335375"/>
                  <a:gd name="connsiteX84" fmla="*/ 1680401 w 3259932"/>
                  <a:gd name="connsiteY84" fmla="*/ 274796 h 335375"/>
                  <a:gd name="connsiteX85" fmla="*/ 1697260 w 3259932"/>
                  <a:gd name="connsiteY85" fmla="*/ 274796 h 335375"/>
                  <a:gd name="connsiteX86" fmla="*/ 1697260 w 3259932"/>
                  <a:gd name="connsiteY86" fmla="*/ 281178 h 335375"/>
                  <a:gd name="connsiteX87" fmla="*/ 1815084 w 3259932"/>
                  <a:gd name="connsiteY87" fmla="*/ 281178 h 335375"/>
                  <a:gd name="connsiteX88" fmla="*/ 1815084 w 3259932"/>
                  <a:gd name="connsiteY88" fmla="*/ 287655 h 335375"/>
                  <a:gd name="connsiteX89" fmla="*/ 1907572 w 3259932"/>
                  <a:gd name="connsiteY89" fmla="*/ 287655 h 335375"/>
                  <a:gd name="connsiteX90" fmla="*/ 1907572 w 3259932"/>
                  <a:gd name="connsiteY90" fmla="*/ 294037 h 335375"/>
                  <a:gd name="connsiteX91" fmla="*/ 1926527 w 3259932"/>
                  <a:gd name="connsiteY91" fmla="*/ 294037 h 335375"/>
                  <a:gd name="connsiteX92" fmla="*/ 1926527 w 3259932"/>
                  <a:gd name="connsiteY92" fmla="*/ 300514 h 335375"/>
                  <a:gd name="connsiteX93" fmla="*/ 2780348 w 3259932"/>
                  <a:gd name="connsiteY93" fmla="*/ 300514 h 335375"/>
                  <a:gd name="connsiteX94" fmla="*/ 2780348 w 3259932"/>
                  <a:gd name="connsiteY94" fmla="*/ 335375 h 335375"/>
                  <a:gd name="connsiteX95" fmla="*/ 3259932 w 3259932"/>
                  <a:gd name="connsiteY95" fmla="*/ 335375 h 335375"/>
                  <a:gd name="connsiteX0" fmla="*/ 0 w 3259932"/>
                  <a:gd name="connsiteY0" fmla="*/ 0 h 335375"/>
                  <a:gd name="connsiteX1" fmla="*/ 0 w 3259932"/>
                  <a:gd name="connsiteY1" fmla="*/ 6001 h 335375"/>
                  <a:gd name="connsiteX2" fmla="*/ 21051 w 3259932"/>
                  <a:gd name="connsiteY2" fmla="*/ 12097 h 335375"/>
                  <a:gd name="connsiteX3" fmla="*/ 21051 w 3259932"/>
                  <a:gd name="connsiteY3" fmla="*/ 18193 h 335375"/>
                  <a:gd name="connsiteX4" fmla="*/ 37910 w 3259932"/>
                  <a:gd name="connsiteY4" fmla="*/ 18193 h 335375"/>
                  <a:gd name="connsiteX5" fmla="*/ 37910 w 3259932"/>
                  <a:gd name="connsiteY5" fmla="*/ 24194 h 335375"/>
                  <a:gd name="connsiteX6" fmla="*/ 65247 w 3259932"/>
                  <a:gd name="connsiteY6" fmla="*/ 24194 h 335375"/>
                  <a:gd name="connsiteX7" fmla="*/ 65247 w 3259932"/>
                  <a:gd name="connsiteY7" fmla="*/ 30290 h 335375"/>
                  <a:gd name="connsiteX8" fmla="*/ 67342 w 3259932"/>
                  <a:gd name="connsiteY8" fmla="*/ 30290 h 335375"/>
                  <a:gd name="connsiteX9" fmla="*/ 67342 w 3259932"/>
                  <a:gd name="connsiteY9" fmla="*/ 36386 h 335375"/>
                  <a:gd name="connsiteX10" fmla="*/ 77819 w 3259932"/>
                  <a:gd name="connsiteY10" fmla="*/ 36386 h 335375"/>
                  <a:gd name="connsiteX11" fmla="*/ 77819 w 3259932"/>
                  <a:gd name="connsiteY11" fmla="*/ 42386 h 335375"/>
                  <a:gd name="connsiteX12" fmla="*/ 84106 w 3259932"/>
                  <a:gd name="connsiteY12" fmla="*/ 42386 h 335375"/>
                  <a:gd name="connsiteX13" fmla="*/ 84106 w 3259932"/>
                  <a:gd name="connsiteY13" fmla="*/ 54578 h 335375"/>
                  <a:gd name="connsiteX14" fmla="*/ 92583 w 3259932"/>
                  <a:gd name="connsiteY14" fmla="*/ 54578 h 335375"/>
                  <a:gd name="connsiteX15" fmla="*/ 92583 w 3259932"/>
                  <a:gd name="connsiteY15" fmla="*/ 60579 h 335375"/>
                  <a:gd name="connsiteX16" fmla="*/ 98870 w 3259932"/>
                  <a:gd name="connsiteY16" fmla="*/ 60579 h 335375"/>
                  <a:gd name="connsiteX17" fmla="*/ 98870 w 3259932"/>
                  <a:gd name="connsiteY17" fmla="*/ 72771 h 335375"/>
                  <a:gd name="connsiteX18" fmla="*/ 100965 w 3259932"/>
                  <a:gd name="connsiteY18" fmla="*/ 72771 h 335375"/>
                  <a:gd name="connsiteX19" fmla="*/ 100965 w 3259932"/>
                  <a:gd name="connsiteY19" fmla="*/ 78867 h 335375"/>
                  <a:gd name="connsiteX20" fmla="*/ 113538 w 3259932"/>
                  <a:gd name="connsiteY20" fmla="*/ 78867 h 335375"/>
                  <a:gd name="connsiteX21" fmla="*/ 113538 w 3259932"/>
                  <a:gd name="connsiteY21" fmla="*/ 84868 h 335375"/>
                  <a:gd name="connsiteX22" fmla="*/ 136684 w 3259932"/>
                  <a:gd name="connsiteY22" fmla="*/ 84868 h 335375"/>
                  <a:gd name="connsiteX23" fmla="*/ 136684 w 3259932"/>
                  <a:gd name="connsiteY23" fmla="*/ 90964 h 335375"/>
                  <a:gd name="connsiteX24" fmla="*/ 143066 w 3259932"/>
                  <a:gd name="connsiteY24" fmla="*/ 90964 h 335375"/>
                  <a:gd name="connsiteX25" fmla="*/ 143066 w 3259932"/>
                  <a:gd name="connsiteY25" fmla="*/ 97060 h 335375"/>
                  <a:gd name="connsiteX26" fmla="*/ 151448 w 3259932"/>
                  <a:gd name="connsiteY26" fmla="*/ 97060 h 335375"/>
                  <a:gd name="connsiteX27" fmla="*/ 151448 w 3259932"/>
                  <a:gd name="connsiteY27" fmla="*/ 103061 h 335375"/>
                  <a:gd name="connsiteX28" fmla="*/ 159830 w 3259932"/>
                  <a:gd name="connsiteY28" fmla="*/ 103061 h 335375"/>
                  <a:gd name="connsiteX29" fmla="*/ 159830 w 3259932"/>
                  <a:gd name="connsiteY29" fmla="*/ 109157 h 335375"/>
                  <a:gd name="connsiteX30" fmla="*/ 164021 w 3259932"/>
                  <a:gd name="connsiteY30" fmla="*/ 109157 h 335375"/>
                  <a:gd name="connsiteX31" fmla="*/ 164021 w 3259932"/>
                  <a:gd name="connsiteY31" fmla="*/ 115253 h 335375"/>
                  <a:gd name="connsiteX32" fmla="*/ 237649 w 3259932"/>
                  <a:gd name="connsiteY32" fmla="*/ 115253 h 335375"/>
                  <a:gd name="connsiteX33" fmla="*/ 237649 w 3259932"/>
                  <a:gd name="connsiteY33" fmla="*/ 121253 h 335375"/>
                  <a:gd name="connsiteX34" fmla="*/ 258699 w 3259932"/>
                  <a:gd name="connsiteY34" fmla="*/ 121253 h 335375"/>
                  <a:gd name="connsiteX35" fmla="*/ 258699 w 3259932"/>
                  <a:gd name="connsiteY35" fmla="*/ 127349 h 335375"/>
                  <a:gd name="connsiteX36" fmla="*/ 264986 w 3259932"/>
                  <a:gd name="connsiteY36" fmla="*/ 127349 h 335375"/>
                  <a:gd name="connsiteX37" fmla="*/ 264986 w 3259932"/>
                  <a:gd name="connsiteY37" fmla="*/ 133445 h 335375"/>
                  <a:gd name="connsiteX38" fmla="*/ 307086 w 3259932"/>
                  <a:gd name="connsiteY38" fmla="*/ 133445 h 335375"/>
                  <a:gd name="connsiteX39" fmla="*/ 307086 w 3259932"/>
                  <a:gd name="connsiteY39" fmla="*/ 139446 h 335375"/>
                  <a:gd name="connsiteX40" fmla="*/ 321755 w 3259932"/>
                  <a:gd name="connsiteY40" fmla="*/ 139446 h 335375"/>
                  <a:gd name="connsiteX41" fmla="*/ 321755 w 3259932"/>
                  <a:gd name="connsiteY41" fmla="*/ 145542 h 335375"/>
                  <a:gd name="connsiteX42" fmla="*/ 351282 w 3259932"/>
                  <a:gd name="connsiteY42" fmla="*/ 145542 h 335375"/>
                  <a:gd name="connsiteX43" fmla="*/ 351282 w 3259932"/>
                  <a:gd name="connsiteY43" fmla="*/ 151638 h 335375"/>
                  <a:gd name="connsiteX44" fmla="*/ 353378 w 3259932"/>
                  <a:gd name="connsiteY44" fmla="*/ 151638 h 335375"/>
                  <a:gd name="connsiteX45" fmla="*/ 353378 w 3259932"/>
                  <a:gd name="connsiteY45" fmla="*/ 157639 h 335375"/>
                  <a:gd name="connsiteX46" fmla="*/ 376428 w 3259932"/>
                  <a:gd name="connsiteY46" fmla="*/ 157639 h 335375"/>
                  <a:gd name="connsiteX47" fmla="*/ 376428 w 3259932"/>
                  <a:gd name="connsiteY47" fmla="*/ 163735 h 335375"/>
                  <a:gd name="connsiteX48" fmla="*/ 389097 w 3259932"/>
                  <a:gd name="connsiteY48" fmla="*/ 163735 h 335375"/>
                  <a:gd name="connsiteX49" fmla="*/ 389097 w 3259932"/>
                  <a:gd name="connsiteY49" fmla="*/ 169831 h 335375"/>
                  <a:gd name="connsiteX50" fmla="*/ 424815 w 3259932"/>
                  <a:gd name="connsiteY50" fmla="*/ 169831 h 335375"/>
                  <a:gd name="connsiteX51" fmla="*/ 424815 w 3259932"/>
                  <a:gd name="connsiteY51" fmla="*/ 175927 h 335375"/>
                  <a:gd name="connsiteX52" fmla="*/ 540544 w 3259932"/>
                  <a:gd name="connsiteY52" fmla="*/ 175927 h 335375"/>
                  <a:gd name="connsiteX53" fmla="*/ 540544 w 3259932"/>
                  <a:gd name="connsiteY53" fmla="*/ 181928 h 335375"/>
                  <a:gd name="connsiteX54" fmla="*/ 578358 w 3259932"/>
                  <a:gd name="connsiteY54" fmla="*/ 181928 h 335375"/>
                  <a:gd name="connsiteX55" fmla="*/ 578358 w 3259932"/>
                  <a:gd name="connsiteY55" fmla="*/ 188119 h 335375"/>
                  <a:gd name="connsiteX56" fmla="*/ 630936 w 3259932"/>
                  <a:gd name="connsiteY56" fmla="*/ 188119 h 335375"/>
                  <a:gd name="connsiteX57" fmla="*/ 630936 w 3259932"/>
                  <a:gd name="connsiteY57" fmla="*/ 194215 h 335375"/>
                  <a:gd name="connsiteX58" fmla="*/ 649891 w 3259932"/>
                  <a:gd name="connsiteY58" fmla="*/ 194215 h 335375"/>
                  <a:gd name="connsiteX59" fmla="*/ 649891 w 3259932"/>
                  <a:gd name="connsiteY59" fmla="*/ 200311 h 335375"/>
                  <a:gd name="connsiteX60" fmla="*/ 660369 w 3259932"/>
                  <a:gd name="connsiteY60" fmla="*/ 200311 h 335375"/>
                  <a:gd name="connsiteX61" fmla="*/ 660369 w 3259932"/>
                  <a:gd name="connsiteY61" fmla="*/ 206502 h 335375"/>
                  <a:gd name="connsiteX62" fmla="*/ 694087 w 3259932"/>
                  <a:gd name="connsiteY62" fmla="*/ 206502 h 335375"/>
                  <a:gd name="connsiteX63" fmla="*/ 694087 w 3259932"/>
                  <a:gd name="connsiteY63" fmla="*/ 212598 h 335375"/>
                  <a:gd name="connsiteX64" fmla="*/ 700374 w 3259932"/>
                  <a:gd name="connsiteY64" fmla="*/ 212598 h 335375"/>
                  <a:gd name="connsiteX65" fmla="*/ 700374 w 3259932"/>
                  <a:gd name="connsiteY65" fmla="*/ 218694 h 335375"/>
                  <a:gd name="connsiteX66" fmla="*/ 715042 w 3259932"/>
                  <a:gd name="connsiteY66" fmla="*/ 218694 h 335375"/>
                  <a:gd name="connsiteX67" fmla="*/ 715042 w 3259932"/>
                  <a:gd name="connsiteY67" fmla="*/ 224790 h 335375"/>
                  <a:gd name="connsiteX68" fmla="*/ 727710 w 3259932"/>
                  <a:gd name="connsiteY68" fmla="*/ 224790 h 335375"/>
                  <a:gd name="connsiteX69" fmla="*/ 727710 w 3259932"/>
                  <a:gd name="connsiteY69" fmla="*/ 230981 h 335375"/>
                  <a:gd name="connsiteX70" fmla="*/ 752952 w 3259932"/>
                  <a:gd name="connsiteY70" fmla="*/ 230981 h 335375"/>
                  <a:gd name="connsiteX71" fmla="*/ 752952 w 3259932"/>
                  <a:gd name="connsiteY71" fmla="*/ 237077 h 335375"/>
                  <a:gd name="connsiteX72" fmla="*/ 982218 w 3259932"/>
                  <a:gd name="connsiteY72" fmla="*/ 237077 h 335375"/>
                  <a:gd name="connsiteX73" fmla="*/ 982218 w 3259932"/>
                  <a:gd name="connsiteY73" fmla="*/ 243269 h 335375"/>
                  <a:gd name="connsiteX74" fmla="*/ 1095756 w 3259932"/>
                  <a:gd name="connsiteY74" fmla="*/ 243269 h 335375"/>
                  <a:gd name="connsiteX75" fmla="*/ 1095756 w 3259932"/>
                  <a:gd name="connsiteY75" fmla="*/ 249460 h 335375"/>
                  <a:gd name="connsiteX76" fmla="*/ 1364933 w 3259932"/>
                  <a:gd name="connsiteY76" fmla="*/ 249460 h 335375"/>
                  <a:gd name="connsiteX77" fmla="*/ 1364933 w 3259932"/>
                  <a:gd name="connsiteY77" fmla="*/ 255746 h 335375"/>
                  <a:gd name="connsiteX78" fmla="*/ 1438561 w 3259932"/>
                  <a:gd name="connsiteY78" fmla="*/ 255746 h 335375"/>
                  <a:gd name="connsiteX79" fmla="*/ 1438561 w 3259932"/>
                  <a:gd name="connsiteY79" fmla="*/ 262033 h 335375"/>
                  <a:gd name="connsiteX80" fmla="*/ 1518476 w 3259932"/>
                  <a:gd name="connsiteY80" fmla="*/ 262033 h 335375"/>
                  <a:gd name="connsiteX81" fmla="*/ 1518476 w 3259932"/>
                  <a:gd name="connsiteY81" fmla="*/ 268319 h 335375"/>
                  <a:gd name="connsiteX82" fmla="*/ 1680401 w 3259932"/>
                  <a:gd name="connsiteY82" fmla="*/ 268319 h 335375"/>
                  <a:gd name="connsiteX83" fmla="*/ 1680401 w 3259932"/>
                  <a:gd name="connsiteY83" fmla="*/ 274796 h 335375"/>
                  <a:gd name="connsiteX84" fmla="*/ 1697260 w 3259932"/>
                  <a:gd name="connsiteY84" fmla="*/ 274796 h 335375"/>
                  <a:gd name="connsiteX85" fmla="*/ 1697260 w 3259932"/>
                  <a:gd name="connsiteY85" fmla="*/ 281178 h 335375"/>
                  <a:gd name="connsiteX86" fmla="*/ 1815084 w 3259932"/>
                  <a:gd name="connsiteY86" fmla="*/ 281178 h 335375"/>
                  <a:gd name="connsiteX87" fmla="*/ 1815084 w 3259932"/>
                  <a:gd name="connsiteY87" fmla="*/ 287655 h 335375"/>
                  <a:gd name="connsiteX88" fmla="*/ 1907572 w 3259932"/>
                  <a:gd name="connsiteY88" fmla="*/ 287655 h 335375"/>
                  <a:gd name="connsiteX89" fmla="*/ 1907572 w 3259932"/>
                  <a:gd name="connsiteY89" fmla="*/ 294037 h 335375"/>
                  <a:gd name="connsiteX90" fmla="*/ 1926527 w 3259932"/>
                  <a:gd name="connsiteY90" fmla="*/ 294037 h 335375"/>
                  <a:gd name="connsiteX91" fmla="*/ 1926527 w 3259932"/>
                  <a:gd name="connsiteY91" fmla="*/ 300514 h 335375"/>
                  <a:gd name="connsiteX92" fmla="*/ 2780348 w 3259932"/>
                  <a:gd name="connsiteY92" fmla="*/ 300514 h 335375"/>
                  <a:gd name="connsiteX93" fmla="*/ 2780348 w 3259932"/>
                  <a:gd name="connsiteY93" fmla="*/ 335375 h 335375"/>
                  <a:gd name="connsiteX94" fmla="*/ 3259932 w 3259932"/>
                  <a:gd name="connsiteY94" fmla="*/ 335375 h 335375"/>
                  <a:gd name="connsiteX0" fmla="*/ 0 w 3259932"/>
                  <a:gd name="connsiteY0" fmla="*/ 0 h 329374"/>
                  <a:gd name="connsiteX1" fmla="*/ 21051 w 3259932"/>
                  <a:gd name="connsiteY1" fmla="*/ 6096 h 329374"/>
                  <a:gd name="connsiteX2" fmla="*/ 21051 w 3259932"/>
                  <a:gd name="connsiteY2" fmla="*/ 12192 h 329374"/>
                  <a:gd name="connsiteX3" fmla="*/ 37910 w 3259932"/>
                  <a:gd name="connsiteY3" fmla="*/ 12192 h 329374"/>
                  <a:gd name="connsiteX4" fmla="*/ 37910 w 3259932"/>
                  <a:gd name="connsiteY4" fmla="*/ 18193 h 329374"/>
                  <a:gd name="connsiteX5" fmla="*/ 65247 w 3259932"/>
                  <a:gd name="connsiteY5" fmla="*/ 18193 h 329374"/>
                  <a:gd name="connsiteX6" fmla="*/ 65247 w 3259932"/>
                  <a:gd name="connsiteY6" fmla="*/ 24289 h 329374"/>
                  <a:gd name="connsiteX7" fmla="*/ 67342 w 3259932"/>
                  <a:gd name="connsiteY7" fmla="*/ 24289 h 329374"/>
                  <a:gd name="connsiteX8" fmla="*/ 67342 w 3259932"/>
                  <a:gd name="connsiteY8" fmla="*/ 30385 h 329374"/>
                  <a:gd name="connsiteX9" fmla="*/ 77819 w 3259932"/>
                  <a:gd name="connsiteY9" fmla="*/ 30385 h 329374"/>
                  <a:gd name="connsiteX10" fmla="*/ 77819 w 3259932"/>
                  <a:gd name="connsiteY10" fmla="*/ 36385 h 329374"/>
                  <a:gd name="connsiteX11" fmla="*/ 84106 w 3259932"/>
                  <a:gd name="connsiteY11" fmla="*/ 36385 h 329374"/>
                  <a:gd name="connsiteX12" fmla="*/ 84106 w 3259932"/>
                  <a:gd name="connsiteY12" fmla="*/ 48577 h 329374"/>
                  <a:gd name="connsiteX13" fmla="*/ 92583 w 3259932"/>
                  <a:gd name="connsiteY13" fmla="*/ 48577 h 329374"/>
                  <a:gd name="connsiteX14" fmla="*/ 92583 w 3259932"/>
                  <a:gd name="connsiteY14" fmla="*/ 54578 h 329374"/>
                  <a:gd name="connsiteX15" fmla="*/ 98870 w 3259932"/>
                  <a:gd name="connsiteY15" fmla="*/ 54578 h 329374"/>
                  <a:gd name="connsiteX16" fmla="*/ 98870 w 3259932"/>
                  <a:gd name="connsiteY16" fmla="*/ 66770 h 329374"/>
                  <a:gd name="connsiteX17" fmla="*/ 100965 w 3259932"/>
                  <a:gd name="connsiteY17" fmla="*/ 66770 h 329374"/>
                  <a:gd name="connsiteX18" fmla="*/ 100965 w 3259932"/>
                  <a:gd name="connsiteY18" fmla="*/ 72866 h 329374"/>
                  <a:gd name="connsiteX19" fmla="*/ 113538 w 3259932"/>
                  <a:gd name="connsiteY19" fmla="*/ 72866 h 329374"/>
                  <a:gd name="connsiteX20" fmla="*/ 113538 w 3259932"/>
                  <a:gd name="connsiteY20" fmla="*/ 78867 h 329374"/>
                  <a:gd name="connsiteX21" fmla="*/ 136684 w 3259932"/>
                  <a:gd name="connsiteY21" fmla="*/ 78867 h 329374"/>
                  <a:gd name="connsiteX22" fmla="*/ 136684 w 3259932"/>
                  <a:gd name="connsiteY22" fmla="*/ 84963 h 329374"/>
                  <a:gd name="connsiteX23" fmla="*/ 143066 w 3259932"/>
                  <a:gd name="connsiteY23" fmla="*/ 84963 h 329374"/>
                  <a:gd name="connsiteX24" fmla="*/ 143066 w 3259932"/>
                  <a:gd name="connsiteY24" fmla="*/ 91059 h 329374"/>
                  <a:gd name="connsiteX25" fmla="*/ 151448 w 3259932"/>
                  <a:gd name="connsiteY25" fmla="*/ 91059 h 329374"/>
                  <a:gd name="connsiteX26" fmla="*/ 151448 w 3259932"/>
                  <a:gd name="connsiteY26" fmla="*/ 97060 h 329374"/>
                  <a:gd name="connsiteX27" fmla="*/ 159830 w 3259932"/>
                  <a:gd name="connsiteY27" fmla="*/ 97060 h 329374"/>
                  <a:gd name="connsiteX28" fmla="*/ 159830 w 3259932"/>
                  <a:gd name="connsiteY28" fmla="*/ 103156 h 329374"/>
                  <a:gd name="connsiteX29" fmla="*/ 164021 w 3259932"/>
                  <a:gd name="connsiteY29" fmla="*/ 103156 h 329374"/>
                  <a:gd name="connsiteX30" fmla="*/ 164021 w 3259932"/>
                  <a:gd name="connsiteY30" fmla="*/ 109252 h 329374"/>
                  <a:gd name="connsiteX31" fmla="*/ 237649 w 3259932"/>
                  <a:gd name="connsiteY31" fmla="*/ 109252 h 329374"/>
                  <a:gd name="connsiteX32" fmla="*/ 237649 w 3259932"/>
                  <a:gd name="connsiteY32" fmla="*/ 115252 h 329374"/>
                  <a:gd name="connsiteX33" fmla="*/ 258699 w 3259932"/>
                  <a:gd name="connsiteY33" fmla="*/ 115252 h 329374"/>
                  <a:gd name="connsiteX34" fmla="*/ 258699 w 3259932"/>
                  <a:gd name="connsiteY34" fmla="*/ 121348 h 329374"/>
                  <a:gd name="connsiteX35" fmla="*/ 264986 w 3259932"/>
                  <a:gd name="connsiteY35" fmla="*/ 121348 h 329374"/>
                  <a:gd name="connsiteX36" fmla="*/ 264986 w 3259932"/>
                  <a:gd name="connsiteY36" fmla="*/ 127444 h 329374"/>
                  <a:gd name="connsiteX37" fmla="*/ 307086 w 3259932"/>
                  <a:gd name="connsiteY37" fmla="*/ 127444 h 329374"/>
                  <a:gd name="connsiteX38" fmla="*/ 307086 w 3259932"/>
                  <a:gd name="connsiteY38" fmla="*/ 133445 h 329374"/>
                  <a:gd name="connsiteX39" fmla="*/ 321755 w 3259932"/>
                  <a:gd name="connsiteY39" fmla="*/ 133445 h 329374"/>
                  <a:gd name="connsiteX40" fmla="*/ 321755 w 3259932"/>
                  <a:gd name="connsiteY40" fmla="*/ 139541 h 329374"/>
                  <a:gd name="connsiteX41" fmla="*/ 351282 w 3259932"/>
                  <a:gd name="connsiteY41" fmla="*/ 139541 h 329374"/>
                  <a:gd name="connsiteX42" fmla="*/ 351282 w 3259932"/>
                  <a:gd name="connsiteY42" fmla="*/ 145637 h 329374"/>
                  <a:gd name="connsiteX43" fmla="*/ 353378 w 3259932"/>
                  <a:gd name="connsiteY43" fmla="*/ 145637 h 329374"/>
                  <a:gd name="connsiteX44" fmla="*/ 353378 w 3259932"/>
                  <a:gd name="connsiteY44" fmla="*/ 151638 h 329374"/>
                  <a:gd name="connsiteX45" fmla="*/ 376428 w 3259932"/>
                  <a:gd name="connsiteY45" fmla="*/ 151638 h 329374"/>
                  <a:gd name="connsiteX46" fmla="*/ 376428 w 3259932"/>
                  <a:gd name="connsiteY46" fmla="*/ 157734 h 329374"/>
                  <a:gd name="connsiteX47" fmla="*/ 389097 w 3259932"/>
                  <a:gd name="connsiteY47" fmla="*/ 157734 h 329374"/>
                  <a:gd name="connsiteX48" fmla="*/ 389097 w 3259932"/>
                  <a:gd name="connsiteY48" fmla="*/ 163830 h 329374"/>
                  <a:gd name="connsiteX49" fmla="*/ 424815 w 3259932"/>
                  <a:gd name="connsiteY49" fmla="*/ 163830 h 329374"/>
                  <a:gd name="connsiteX50" fmla="*/ 424815 w 3259932"/>
                  <a:gd name="connsiteY50" fmla="*/ 169926 h 329374"/>
                  <a:gd name="connsiteX51" fmla="*/ 540544 w 3259932"/>
                  <a:gd name="connsiteY51" fmla="*/ 169926 h 329374"/>
                  <a:gd name="connsiteX52" fmla="*/ 540544 w 3259932"/>
                  <a:gd name="connsiteY52" fmla="*/ 175927 h 329374"/>
                  <a:gd name="connsiteX53" fmla="*/ 578358 w 3259932"/>
                  <a:gd name="connsiteY53" fmla="*/ 175927 h 329374"/>
                  <a:gd name="connsiteX54" fmla="*/ 578358 w 3259932"/>
                  <a:gd name="connsiteY54" fmla="*/ 182118 h 329374"/>
                  <a:gd name="connsiteX55" fmla="*/ 630936 w 3259932"/>
                  <a:gd name="connsiteY55" fmla="*/ 182118 h 329374"/>
                  <a:gd name="connsiteX56" fmla="*/ 630936 w 3259932"/>
                  <a:gd name="connsiteY56" fmla="*/ 188214 h 329374"/>
                  <a:gd name="connsiteX57" fmla="*/ 649891 w 3259932"/>
                  <a:gd name="connsiteY57" fmla="*/ 188214 h 329374"/>
                  <a:gd name="connsiteX58" fmla="*/ 649891 w 3259932"/>
                  <a:gd name="connsiteY58" fmla="*/ 194310 h 329374"/>
                  <a:gd name="connsiteX59" fmla="*/ 660369 w 3259932"/>
                  <a:gd name="connsiteY59" fmla="*/ 194310 h 329374"/>
                  <a:gd name="connsiteX60" fmla="*/ 660369 w 3259932"/>
                  <a:gd name="connsiteY60" fmla="*/ 200501 h 329374"/>
                  <a:gd name="connsiteX61" fmla="*/ 694087 w 3259932"/>
                  <a:gd name="connsiteY61" fmla="*/ 200501 h 329374"/>
                  <a:gd name="connsiteX62" fmla="*/ 694087 w 3259932"/>
                  <a:gd name="connsiteY62" fmla="*/ 206597 h 329374"/>
                  <a:gd name="connsiteX63" fmla="*/ 700374 w 3259932"/>
                  <a:gd name="connsiteY63" fmla="*/ 206597 h 329374"/>
                  <a:gd name="connsiteX64" fmla="*/ 700374 w 3259932"/>
                  <a:gd name="connsiteY64" fmla="*/ 212693 h 329374"/>
                  <a:gd name="connsiteX65" fmla="*/ 715042 w 3259932"/>
                  <a:gd name="connsiteY65" fmla="*/ 212693 h 329374"/>
                  <a:gd name="connsiteX66" fmla="*/ 715042 w 3259932"/>
                  <a:gd name="connsiteY66" fmla="*/ 218789 h 329374"/>
                  <a:gd name="connsiteX67" fmla="*/ 727710 w 3259932"/>
                  <a:gd name="connsiteY67" fmla="*/ 218789 h 329374"/>
                  <a:gd name="connsiteX68" fmla="*/ 727710 w 3259932"/>
                  <a:gd name="connsiteY68" fmla="*/ 224980 h 329374"/>
                  <a:gd name="connsiteX69" fmla="*/ 752952 w 3259932"/>
                  <a:gd name="connsiteY69" fmla="*/ 224980 h 329374"/>
                  <a:gd name="connsiteX70" fmla="*/ 752952 w 3259932"/>
                  <a:gd name="connsiteY70" fmla="*/ 231076 h 329374"/>
                  <a:gd name="connsiteX71" fmla="*/ 982218 w 3259932"/>
                  <a:gd name="connsiteY71" fmla="*/ 231076 h 329374"/>
                  <a:gd name="connsiteX72" fmla="*/ 982218 w 3259932"/>
                  <a:gd name="connsiteY72" fmla="*/ 237268 h 329374"/>
                  <a:gd name="connsiteX73" fmla="*/ 1095756 w 3259932"/>
                  <a:gd name="connsiteY73" fmla="*/ 237268 h 329374"/>
                  <a:gd name="connsiteX74" fmla="*/ 1095756 w 3259932"/>
                  <a:gd name="connsiteY74" fmla="*/ 243459 h 329374"/>
                  <a:gd name="connsiteX75" fmla="*/ 1364933 w 3259932"/>
                  <a:gd name="connsiteY75" fmla="*/ 243459 h 329374"/>
                  <a:gd name="connsiteX76" fmla="*/ 1364933 w 3259932"/>
                  <a:gd name="connsiteY76" fmla="*/ 249745 h 329374"/>
                  <a:gd name="connsiteX77" fmla="*/ 1438561 w 3259932"/>
                  <a:gd name="connsiteY77" fmla="*/ 249745 h 329374"/>
                  <a:gd name="connsiteX78" fmla="*/ 1438561 w 3259932"/>
                  <a:gd name="connsiteY78" fmla="*/ 256032 h 329374"/>
                  <a:gd name="connsiteX79" fmla="*/ 1518476 w 3259932"/>
                  <a:gd name="connsiteY79" fmla="*/ 256032 h 329374"/>
                  <a:gd name="connsiteX80" fmla="*/ 1518476 w 3259932"/>
                  <a:gd name="connsiteY80" fmla="*/ 262318 h 329374"/>
                  <a:gd name="connsiteX81" fmla="*/ 1680401 w 3259932"/>
                  <a:gd name="connsiteY81" fmla="*/ 262318 h 329374"/>
                  <a:gd name="connsiteX82" fmla="*/ 1680401 w 3259932"/>
                  <a:gd name="connsiteY82" fmla="*/ 268795 h 329374"/>
                  <a:gd name="connsiteX83" fmla="*/ 1697260 w 3259932"/>
                  <a:gd name="connsiteY83" fmla="*/ 268795 h 329374"/>
                  <a:gd name="connsiteX84" fmla="*/ 1697260 w 3259932"/>
                  <a:gd name="connsiteY84" fmla="*/ 275177 h 329374"/>
                  <a:gd name="connsiteX85" fmla="*/ 1815084 w 3259932"/>
                  <a:gd name="connsiteY85" fmla="*/ 275177 h 329374"/>
                  <a:gd name="connsiteX86" fmla="*/ 1815084 w 3259932"/>
                  <a:gd name="connsiteY86" fmla="*/ 281654 h 329374"/>
                  <a:gd name="connsiteX87" fmla="*/ 1907572 w 3259932"/>
                  <a:gd name="connsiteY87" fmla="*/ 281654 h 329374"/>
                  <a:gd name="connsiteX88" fmla="*/ 1907572 w 3259932"/>
                  <a:gd name="connsiteY88" fmla="*/ 288036 h 329374"/>
                  <a:gd name="connsiteX89" fmla="*/ 1926527 w 3259932"/>
                  <a:gd name="connsiteY89" fmla="*/ 288036 h 329374"/>
                  <a:gd name="connsiteX90" fmla="*/ 1926527 w 3259932"/>
                  <a:gd name="connsiteY90" fmla="*/ 294513 h 329374"/>
                  <a:gd name="connsiteX91" fmla="*/ 2780348 w 3259932"/>
                  <a:gd name="connsiteY91" fmla="*/ 294513 h 329374"/>
                  <a:gd name="connsiteX92" fmla="*/ 2780348 w 3259932"/>
                  <a:gd name="connsiteY92" fmla="*/ 329374 h 329374"/>
                  <a:gd name="connsiteX93" fmla="*/ 3259932 w 3259932"/>
                  <a:gd name="connsiteY93" fmla="*/ 329374 h 329374"/>
                  <a:gd name="connsiteX0" fmla="*/ 0 w 3238881"/>
                  <a:gd name="connsiteY0" fmla="*/ 0 h 323278"/>
                  <a:gd name="connsiteX1" fmla="*/ 0 w 3238881"/>
                  <a:gd name="connsiteY1" fmla="*/ 6096 h 323278"/>
                  <a:gd name="connsiteX2" fmla="*/ 16859 w 3238881"/>
                  <a:gd name="connsiteY2" fmla="*/ 6096 h 323278"/>
                  <a:gd name="connsiteX3" fmla="*/ 16859 w 3238881"/>
                  <a:gd name="connsiteY3" fmla="*/ 12097 h 323278"/>
                  <a:gd name="connsiteX4" fmla="*/ 44196 w 3238881"/>
                  <a:gd name="connsiteY4" fmla="*/ 12097 h 323278"/>
                  <a:gd name="connsiteX5" fmla="*/ 44196 w 3238881"/>
                  <a:gd name="connsiteY5" fmla="*/ 18193 h 323278"/>
                  <a:gd name="connsiteX6" fmla="*/ 46291 w 3238881"/>
                  <a:gd name="connsiteY6" fmla="*/ 18193 h 323278"/>
                  <a:gd name="connsiteX7" fmla="*/ 46291 w 3238881"/>
                  <a:gd name="connsiteY7" fmla="*/ 24289 h 323278"/>
                  <a:gd name="connsiteX8" fmla="*/ 56768 w 3238881"/>
                  <a:gd name="connsiteY8" fmla="*/ 24289 h 323278"/>
                  <a:gd name="connsiteX9" fmla="*/ 56768 w 3238881"/>
                  <a:gd name="connsiteY9" fmla="*/ 30289 h 323278"/>
                  <a:gd name="connsiteX10" fmla="*/ 63055 w 3238881"/>
                  <a:gd name="connsiteY10" fmla="*/ 30289 h 323278"/>
                  <a:gd name="connsiteX11" fmla="*/ 63055 w 3238881"/>
                  <a:gd name="connsiteY11" fmla="*/ 42481 h 323278"/>
                  <a:gd name="connsiteX12" fmla="*/ 71532 w 3238881"/>
                  <a:gd name="connsiteY12" fmla="*/ 42481 h 323278"/>
                  <a:gd name="connsiteX13" fmla="*/ 71532 w 3238881"/>
                  <a:gd name="connsiteY13" fmla="*/ 48482 h 323278"/>
                  <a:gd name="connsiteX14" fmla="*/ 77819 w 3238881"/>
                  <a:gd name="connsiteY14" fmla="*/ 48482 h 323278"/>
                  <a:gd name="connsiteX15" fmla="*/ 77819 w 3238881"/>
                  <a:gd name="connsiteY15" fmla="*/ 60674 h 323278"/>
                  <a:gd name="connsiteX16" fmla="*/ 79914 w 3238881"/>
                  <a:gd name="connsiteY16" fmla="*/ 60674 h 323278"/>
                  <a:gd name="connsiteX17" fmla="*/ 79914 w 3238881"/>
                  <a:gd name="connsiteY17" fmla="*/ 66770 h 323278"/>
                  <a:gd name="connsiteX18" fmla="*/ 92487 w 3238881"/>
                  <a:gd name="connsiteY18" fmla="*/ 66770 h 323278"/>
                  <a:gd name="connsiteX19" fmla="*/ 92487 w 3238881"/>
                  <a:gd name="connsiteY19" fmla="*/ 72771 h 323278"/>
                  <a:gd name="connsiteX20" fmla="*/ 115633 w 3238881"/>
                  <a:gd name="connsiteY20" fmla="*/ 72771 h 323278"/>
                  <a:gd name="connsiteX21" fmla="*/ 115633 w 3238881"/>
                  <a:gd name="connsiteY21" fmla="*/ 78867 h 323278"/>
                  <a:gd name="connsiteX22" fmla="*/ 122015 w 3238881"/>
                  <a:gd name="connsiteY22" fmla="*/ 78867 h 323278"/>
                  <a:gd name="connsiteX23" fmla="*/ 122015 w 3238881"/>
                  <a:gd name="connsiteY23" fmla="*/ 84963 h 323278"/>
                  <a:gd name="connsiteX24" fmla="*/ 130397 w 3238881"/>
                  <a:gd name="connsiteY24" fmla="*/ 84963 h 323278"/>
                  <a:gd name="connsiteX25" fmla="*/ 130397 w 3238881"/>
                  <a:gd name="connsiteY25" fmla="*/ 90964 h 323278"/>
                  <a:gd name="connsiteX26" fmla="*/ 138779 w 3238881"/>
                  <a:gd name="connsiteY26" fmla="*/ 90964 h 323278"/>
                  <a:gd name="connsiteX27" fmla="*/ 138779 w 3238881"/>
                  <a:gd name="connsiteY27" fmla="*/ 97060 h 323278"/>
                  <a:gd name="connsiteX28" fmla="*/ 142970 w 3238881"/>
                  <a:gd name="connsiteY28" fmla="*/ 97060 h 323278"/>
                  <a:gd name="connsiteX29" fmla="*/ 142970 w 3238881"/>
                  <a:gd name="connsiteY29" fmla="*/ 103156 h 323278"/>
                  <a:gd name="connsiteX30" fmla="*/ 216598 w 3238881"/>
                  <a:gd name="connsiteY30" fmla="*/ 103156 h 323278"/>
                  <a:gd name="connsiteX31" fmla="*/ 216598 w 3238881"/>
                  <a:gd name="connsiteY31" fmla="*/ 109156 h 323278"/>
                  <a:gd name="connsiteX32" fmla="*/ 237648 w 3238881"/>
                  <a:gd name="connsiteY32" fmla="*/ 109156 h 323278"/>
                  <a:gd name="connsiteX33" fmla="*/ 237648 w 3238881"/>
                  <a:gd name="connsiteY33" fmla="*/ 115252 h 323278"/>
                  <a:gd name="connsiteX34" fmla="*/ 243935 w 3238881"/>
                  <a:gd name="connsiteY34" fmla="*/ 115252 h 323278"/>
                  <a:gd name="connsiteX35" fmla="*/ 243935 w 3238881"/>
                  <a:gd name="connsiteY35" fmla="*/ 121348 h 323278"/>
                  <a:gd name="connsiteX36" fmla="*/ 286035 w 3238881"/>
                  <a:gd name="connsiteY36" fmla="*/ 121348 h 323278"/>
                  <a:gd name="connsiteX37" fmla="*/ 286035 w 3238881"/>
                  <a:gd name="connsiteY37" fmla="*/ 127349 h 323278"/>
                  <a:gd name="connsiteX38" fmla="*/ 300704 w 3238881"/>
                  <a:gd name="connsiteY38" fmla="*/ 127349 h 323278"/>
                  <a:gd name="connsiteX39" fmla="*/ 300704 w 3238881"/>
                  <a:gd name="connsiteY39" fmla="*/ 133445 h 323278"/>
                  <a:gd name="connsiteX40" fmla="*/ 330231 w 3238881"/>
                  <a:gd name="connsiteY40" fmla="*/ 133445 h 323278"/>
                  <a:gd name="connsiteX41" fmla="*/ 330231 w 3238881"/>
                  <a:gd name="connsiteY41" fmla="*/ 139541 h 323278"/>
                  <a:gd name="connsiteX42" fmla="*/ 332327 w 3238881"/>
                  <a:gd name="connsiteY42" fmla="*/ 139541 h 323278"/>
                  <a:gd name="connsiteX43" fmla="*/ 332327 w 3238881"/>
                  <a:gd name="connsiteY43" fmla="*/ 145542 h 323278"/>
                  <a:gd name="connsiteX44" fmla="*/ 355377 w 3238881"/>
                  <a:gd name="connsiteY44" fmla="*/ 145542 h 323278"/>
                  <a:gd name="connsiteX45" fmla="*/ 355377 w 3238881"/>
                  <a:gd name="connsiteY45" fmla="*/ 151638 h 323278"/>
                  <a:gd name="connsiteX46" fmla="*/ 368046 w 3238881"/>
                  <a:gd name="connsiteY46" fmla="*/ 151638 h 323278"/>
                  <a:gd name="connsiteX47" fmla="*/ 368046 w 3238881"/>
                  <a:gd name="connsiteY47" fmla="*/ 157734 h 323278"/>
                  <a:gd name="connsiteX48" fmla="*/ 403764 w 3238881"/>
                  <a:gd name="connsiteY48" fmla="*/ 157734 h 323278"/>
                  <a:gd name="connsiteX49" fmla="*/ 403764 w 3238881"/>
                  <a:gd name="connsiteY49" fmla="*/ 163830 h 323278"/>
                  <a:gd name="connsiteX50" fmla="*/ 519493 w 3238881"/>
                  <a:gd name="connsiteY50" fmla="*/ 163830 h 323278"/>
                  <a:gd name="connsiteX51" fmla="*/ 519493 w 3238881"/>
                  <a:gd name="connsiteY51" fmla="*/ 169831 h 323278"/>
                  <a:gd name="connsiteX52" fmla="*/ 557307 w 3238881"/>
                  <a:gd name="connsiteY52" fmla="*/ 169831 h 323278"/>
                  <a:gd name="connsiteX53" fmla="*/ 557307 w 3238881"/>
                  <a:gd name="connsiteY53" fmla="*/ 176022 h 323278"/>
                  <a:gd name="connsiteX54" fmla="*/ 609885 w 3238881"/>
                  <a:gd name="connsiteY54" fmla="*/ 176022 h 323278"/>
                  <a:gd name="connsiteX55" fmla="*/ 609885 w 3238881"/>
                  <a:gd name="connsiteY55" fmla="*/ 182118 h 323278"/>
                  <a:gd name="connsiteX56" fmla="*/ 628840 w 3238881"/>
                  <a:gd name="connsiteY56" fmla="*/ 182118 h 323278"/>
                  <a:gd name="connsiteX57" fmla="*/ 628840 w 3238881"/>
                  <a:gd name="connsiteY57" fmla="*/ 188214 h 323278"/>
                  <a:gd name="connsiteX58" fmla="*/ 639318 w 3238881"/>
                  <a:gd name="connsiteY58" fmla="*/ 188214 h 323278"/>
                  <a:gd name="connsiteX59" fmla="*/ 639318 w 3238881"/>
                  <a:gd name="connsiteY59" fmla="*/ 194405 h 323278"/>
                  <a:gd name="connsiteX60" fmla="*/ 673036 w 3238881"/>
                  <a:gd name="connsiteY60" fmla="*/ 194405 h 323278"/>
                  <a:gd name="connsiteX61" fmla="*/ 673036 w 3238881"/>
                  <a:gd name="connsiteY61" fmla="*/ 200501 h 323278"/>
                  <a:gd name="connsiteX62" fmla="*/ 679323 w 3238881"/>
                  <a:gd name="connsiteY62" fmla="*/ 200501 h 323278"/>
                  <a:gd name="connsiteX63" fmla="*/ 679323 w 3238881"/>
                  <a:gd name="connsiteY63" fmla="*/ 206597 h 323278"/>
                  <a:gd name="connsiteX64" fmla="*/ 693991 w 3238881"/>
                  <a:gd name="connsiteY64" fmla="*/ 206597 h 323278"/>
                  <a:gd name="connsiteX65" fmla="*/ 693991 w 3238881"/>
                  <a:gd name="connsiteY65" fmla="*/ 212693 h 323278"/>
                  <a:gd name="connsiteX66" fmla="*/ 706659 w 3238881"/>
                  <a:gd name="connsiteY66" fmla="*/ 212693 h 323278"/>
                  <a:gd name="connsiteX67" fmla="*/ 706659 w 3238881"/>
                  <a:gd name="connsiteY67" fmla="*/ 218884 h 323278"/>
                  <a:gd name="connsiteX68" fmla="*/ 731901 w 3238881"/>
                  <a:gd name="connsiteY68" fmla="*/ 218884 h 323278"/>
                  <a:gd name="connsiteX69" fmla="*/ 731901 w 3238881"/>
                  <a:gd name="connsiteY69" fmla="*/ 224980 h 323278"/>
                  <a:gd name="connsiteX70" fmla="*/ 961167 w 3238881"/>
                  <a:gd name="connsiteY70" fmla="*/ 224980 h 323278"/>
                  <a:gd name="connsiteX71" fmla="*/ 961167 w 3238881"/>
                  <a:gd name="connsiteY71" fmla="*/ 231172 h 323278"/>
                  <a:gd name="connsiteX72" fmla="*/ 1074705 w 3238881"/>
                  <a:gd name="connsiteY72" fmla="*/ 231172 h 323278"/>
                  <a:gd name="connsiteX73" fmla="*/ 1074705 w 3238881"/>
                  <a:gd name="connsiteY73" fmla="*/ 237363 h 323278"/>
                  <a:gd name="connsiteX74" fmla="*/ 1343882 w 3238881"/>
                  <a:gd name="connsiteY74" fmla="*/ 237363 h 323278"/>
                  <a:gd name="connsiteX75" fmla="*/ 1343882 w 3238881"/>
                  <a:gd name="connsiteY75" fmla="*/ 243649 h 323278"/>
                  <a:gd name="connsiteX76" fmla="*/ 1417510 w 3238881"/>
                  <a:gd name="connsiteY76" fmla="*/ 243649 h 323278"/>
                  <a:gd name="connsiteX77" fmla="*/ 1417510 w 3238881"/>
                  <a:gd name="connsiteY77" fmla="*/ 249936 h 323278"/>
                  <a:gd name="connsiteX78" fmla="*/ 1497425 w 3238881"/>
                  <a:gd name="connsiteY78" fmla="*/ 249936 h 323278"/>
                  <a:gd name="connsiteX79" fmla="*/ 1497425 w 3238881"/>
                  <a:gd name="connsiteY79" fmla="*/ 256222 h 323278"/>
                  <a:gd name="connsiteX80" fmla="*/ 1659350 w 3238881"/>
                  <a:gd name="connsiteY80" fmla="*/ 256222 h 323278"/>
                  <a:gd name="connsiteX81" fmla="*/ 1659350 w 3238881"/>
                  <a:gd name="connsiteY81" fmla="*/ 262699 h 323278"/>
                  <a:gd name="connsiteX82" fmla="*/ 1676209 w 3238881"/>
                  <a:gd name="connsiteY82" fmla="*/ 262699 h 323278"/>
                  <a:gd name="connsiteX83" fmla="*/ 1676209 w 3238881"/>
                  <a:gd name="connsiteY83" fmla="*/ 269081 h 323278"/>
                  <a:gd name="connsiteX84" fmla="*/ 1794033 w 3238881"/>
                  <a:gd name="connsiteY84" fmla="*/ 269081 h 323278"/>
                  <a:gd name="connsiteX85" fmla="*/ 1794033 w 3238881"/>
                  <a:gd name="connsiteY85" fmla="*/ 275558 h 323278"/>
                  <a:gd name="connsiteX86" fmla="*/ 1886521 w 3238881"/>
                  <a:gd name="connsiteY86" fmla="*/ 275558 h 323278"/>
                  <a:gd name="connsiteX87" fmla="*/ 1886521 w 3238881"/>
                  <a:gd name="connsiteY87" fmla="*/ 281940 h 323278"/>
                  <a:gd name="connsiteX88" fmla="*/ 1905476 w 3238881"/>
                  <a:gd name="connsiteY88" fmla="*/ 281940 h 323278"/>
                  <a:gd name="connsiteX89" fmla="*/ 1905476 w 3238881"/>
                  <a:gd name="connsiteY89" fmla="*/ 288417 h 323278"/>
                  <a:gd name="connsiteX90" fmla="*/ 2759297 w 3238881"/>
                  <a:gd name="connsiteY90" fmla="*/ 288417 h 323278"/>
                  <a:gd name="connsiteX91" fmla="*/ 2759297 w 3238881"/>
                  <a:gd name="connsiteY91" fmla="*/ 323278 h 323278"/>
                  <a:gd name="connsiteX92" fmla="*/ 3238881 w 3238881"/>
                  <a:gd name="connsiteY92" fmla="*/ 323278 h 323278"/>
                  <a:gd name="connsiteX0" fmla="*/ 0 w 3238881"/>
                  <a:gd name="connsiteY0" fmla="*/ 0 h 323278"/>
                  <a:gd name="connsiteX1" fmla="*/ 16859 w 3238881"/>
                  <a:gd name="connsiteY1" fmla="*/ 6096 h 323278"/>
                  <a:gd name="connsiteX2" fmla="*/ 16859 w 3238881"/>
                  <a:gd name="connsiteY2" fmla="*/ 12097 h 323278"/>
                  <a:gd name="connsiteX3" fmla="*/ 44196 w 3238881"/>
                  <a:gd name="connsiteY3" fmla="*/ 12097 h 323278"/>
                  <a:gd name="connsiteX4" fmla="*/ 44196 w 3238881"/>
                  <a:gd name="connsiteY4" fmla="*/ 18193 h 323278"/>
                  <a:gd name="connsiteX5" fmla="*/ 46291 w 3238881"/>
                  <a:gd name="connsiteY5" fmla="*/ 18193 h 323278"/>
                  <a:gd name="connsiteX6" fmla="*/ 46291 w 3238881"/>
                  <a:gd name="connsiteY6" fmla="*/ 24289 h 323278"/>
                  <a:gd name="connsiteX7" fmla="*/ 56768 w 3238881"/>
                  <a:gd name="connsiteY7" fmla="*/ 24289 h 323278"/>
                  <a:gd name="connsiteX8" fmla="*/ 56768 w 3238881"/>
                  <a:gd name="connsiteY8" fmla="*/ 30289 h 323278"/>
                  <a:gd name="connsiteX9" fmla="*/ 63055 w 3238881"/>
                  <a:gd name="connsiteY9" fmla="*/ 30289 h 323278"/>
                  <a:gd name="connsiteX10" fmla="*/ 63055 w 3238881"/>
                  <a:gd name="connsiteY10" fmla="*/ 42481 h 323278"/>
                  <a:gd name="connsiteX11" fmla="*/ 71532 w 3238881"/>
                  <a:gd name="connsiteY11" fmla="*/ 42481 h 323278"/>
                  <a:gd name="connsiteX12" fmla="*/ 71532 w 3238881"/>
                  <a:gd name="connsiteY12" fmla="*/ 48482 h 323278"/>
                  <a:gd name="connsiteX13" fmla="*/ 77819 w 3238881"/>
                  <a:gd name="connsiteY13" fmla="*/ 48482 h 323278"/>
                  <a:gd name="connsiteX14" fmla="*/ 77819 w 3238881"/>
                  <a:gd name="connsiteY14" fmla="*/ 60674 h 323278"/>
                  <a:gd name="connsiteX15" fmla="*/ 79914 w 3238881"/>
                  <a:gd name="connsiteY15" fmla="*/ 60674 h 323278"/>
                  <a:gd name="connsiteX16" fmla="*/ 79914 w 3238881"/>
                  <a:gd name="connsiteY16" fmla="*/ 66770 h 323278"/>
                  <a:gd name="connsiteX17" fmla="*/ 92487 w 3238881"/>
                  <a:gd name="connsiteY17" fmla="*/ 66770 h 323278"/>
                  <a:gd name="connsiteX18" fmla="*/ 92487 w 3238881"/>
                  <a:gd name="connsiteY18" fmla="*/ 72771 h 323278"/>
                  <a:gd name="connsiteX19" fmla="*/ 115633 w 3238881"/>
                  <a:gd name="connsiteY19" fmla="*/ 72771 h 323278"/>
                  <a:gd name="connsiteX20" fmla="*/ 115633 w 3238881"/>
                  <a:gd name="connsiteY20" fmla="*/ 78867 h 323278"/>
                  <a:gd name="connsiteX21" fmla="*/ 122015 w 3238881"/>
                  <a:gd name="connsiteY21" fmla="*/ 78867 h 323278"/>
                  <a:gd name="connsiteX22" fmla="*/ 122015 w 3238881"/>
                  <a:gd name="connsiteY22" fmla="*/ 84963 h 323278"/>
                  <a:gd name="connsiteX23" fmla="*/ 130397 w 3238881"/>
                  <a:gd name="connsiteY23" fmla="*/ 84963 h 323278"/>
                  <a:gd name="connsiteX24" fmla="*/ 130397 w 3238881"/>
                  <a:gd name="connsiteY24" fmla="*/ 90964 h 323278"/>
                  <a:gd name="connsiteX25" fmla="*/ 138779 w 3238881"/>
                  <a:gd name="connsiteY25" fmla="*/ 90964 h 323278"/>
                  <a:gd name="connsiteX26" fmla="*/ 138779 w 3238881"/>
                  <a:gd name="connsiteY26" fmla="*/ 97060 h 323278"/>
                  <a:gd name="connsiteX27" fmla="*/ 142970 w 3238881"/>
                  <a:gd name="connsiteY27" fmla="*/ 97060 h 323278"/>
                  <a:gd name="connsiteX28" fmla="*/ 142970 w 3238881"/>
                  <a:gd name="connsiteY28" fmla="*/ 103156 h 323278"/>
                  <a:gd name="connsiteX29" fmla="*/ 216598 w 3238881"/>
                  <a:gd name="connsiteY29" fmla="*/ 103156 h 323278"/>
                  <a:gd name="connsiteX30" fmla="*/ 216598 w 3238881"/>
                  <a:gd name="connsiteY30" fmla="*/ 109156 h 323278"/>
                  <a:gd name="connsiteX31" fmla="*/ 237648 w 3238881"/>
                  <a:gd name="connsiteY31" fmla="*/ 109156 h 323278"/>
                  <a:gd name="connsiteX32" fmla="*/ 237648 w 3238881"/>
                  <a:gd name="connsiteY32" fmla="*/ 115252 h 323278"/>
                  <a:gd name="connsiteX33" fmla="*/ 243935 w 3238881"/>
                  <a:gd name="connsiteY33" fmla="*/ 115252 h 323278"/>
                  <a:gd name="connsiteX34" fmla="*/ 243935 w 3238881"/>
                  <a:gd name="connsiteY34" fmla="*/ 121348 h 323278"/>
                  <a:gd name="connsiteX35" fmla="*/ 286035 w 3238881"/>
                  <a:gd name="connsiteY35" fmla="*/ 121348 h 323278"/>
                  <a:gd name="connsiteX36" fmla="*/ 286035 w 3238881"/>
                  <a:gd name="connsiteY36" fmla="*/ 127349 h 323278"/>
                  <a:gd name="connsiteX37" fmla="*/ 300704 w 3238881"/>
                  <a:gd name="connsiteY37" fmla="*/ 127349 h 323278"/>
                  <a:gd name="connsiteX38" fmla="*/ 300704 w 3238881"/>
                  <a:gd name="connsiteY38" fmla="*/ 133445 h 323278"/>
                  <a:gd name="connsiteX39" fmla="*/ 330231 w 3238881"/>
                  <a:gd name="connsiteY39" fmla="*/ 133445 h 323278"/>
                  <a:gd name="connsiteX40" fmla="*/ 330231 w 3238881"/>
                  <a:gd name="connsiteY40" fmla="*/ 139541 h 323278"/>
                  <a:gd name="connsiteX41" fmla="*/ 332327 w 3238881"/>
                  <a:gd name="connsiteY41" fmla="*/ 139541 h 323278"/>
                  <a:gd name="connsiteX42" fmla="*/ 332327 w 3238881"/>
                  <a:gd name="connsiteY42" fmla="*/ 145542 h 323278"/>
                  <a:gd name="connsiteX43" fmla="*/ 355377 w 3238881"/>
                  <a:gd name="connsiteY43" fmla="*/ 145542 h 323278"/>
                  <a:gd name="connsiteX44" fmla="*/ 355377 w 3238881"/>
                  <a:gd name="connsiteY44" fmla="*/ 151638 h 323278"/>
                  <a:gd name="connsiteX45" fmla="*/ 368046 w 3238881"/>
                  <a:gd name="connsiteY45" fmla="*/ 151638 h 323278"/>
                  <a:gd name="connsiteX46" fmla="*/ 368046 w 3238881"/>
                  <a:gd name="connsiteY46" fmla="*/ 157734 h 323278"/>
                  <a:gd name="connsiteX47" fmla="*/ 403764 w 3238881"/>
                  <a:gd name="connsiteY47" fmla="*/ 157734 h 323278"/>
                  <a:gd name="connsiteX48" fmla="*/ 403764 w 3238881"/>
                  <a:gd name="connsiteY48" fmla="*/ 163830 h 323278"/>
                  <a:gd name="connsiteX49" fmla="*/ 519493 w 3238881"/>
                  <a:gd name="connsiteY49" fmla="*/ 163830 h 323278"/>
                  <a:gd name="connsiteX50" fmla="*/ 519493 w 3238881"/>
                  <a:gd name="connsiteY50" fmla="*/ 169831 h 323278"/>
                  <a:gd name="connsiteX51" fmla="*/ 557307 w 3238881"/>
                  <a:gd name="connsiteY51" fmla="*/ 169831 h 323278"/>
                  <a:gd name="connsiteX52" fmla="*/ 557307 w 3238881"/>
                  <a:gd name="connsiteY52" fmla="*/ 176022 h 323278"/>
                  <a:gd name="connsiteX53" fmla="*/ 609885 w 3238881"/>
                  <a:gd name="connsiteY53" fmla="*/ 176022 h 323278"/>
                  <a:gd name="connsiteX54" fmla="*/ 609885 w 3238881"/>
                  <a:gd name="connsiteY54" fmla="*/ 182118 h 323278"/>
                  <a:gd name="connsiteX55" fmla="*/ 628840 w 3238881"/>
                  <a:gd name="connsiteY55" fmla="*/ 182118 h 323278"/>
                  <a:gd name="connsiteX56" fmla="*/ 628840 w 3238881"/>
                  <a:gd name="connsiteY56" fmla="*/ 188214 h 323278"/>
                  <a:gd name="connsiteX57" fmla="*/ 639318 w 3238881"/>
                  <a:gd name="connsiteY57" fmla="*/ 188214 h 323278"/>
                  <a:gd name="connsiteX58" fmla="*/ 639318 w 3238881"/>
                  <a:gd name="connsiteY58" fmla="*/ 194405 h 323278"/>
                  <a:gd name="connsiteX59" fmla="*/ 673036 w 3238881"/>
                  <a:gd name="connsiteY59" fmla="*/ 194405 h 323278"/>
                  <a:gd name="connsiteX60" fmla="*/ 673036 w 3238881"/>
                  <a:gd name="connsiteY60" fmla="*/ 200501 h 323278"/>
                  <a:gd name="connsiteX61" fmla="*/ 679323 w 3238881"/>
                  <a:gd name="connsiteY61" fmla="*/ 200501 h 323278"/>
                  <a:gd name="connsiteX62" fmla="*/ 679323 w 3238881"/>
                  <a:gd name="connsiteY62" fmla="*/ 206597 h 323278"/>
                  <a:gd name="connsiteX63" fmla="*/ 693991 w 3238881"/>
                  <a:gd name="connsiteY63" fmla="*/ 206597 h 323278"/>
                  <a:gd name="connsiteX64" fmla="*/ 693991 w 3238881"/>
                  <a:gd name="connsiteY64" fmla="*/ 212693 h 323278"/>
                  <a:gd name="connsiteX65" fmla="*/ 706659 w 3238881"/>
                  <a:gd name="connsiteY65" fmla="*/ 212693 h 323278"/>
                  <a:gd name="connsiteX66" fmla="*/ 706659 w 3238881"/>
                  <a:gd name="connsiteY66" fmla="*/ 218884 h 323278"/>
                  <a:gd name="connsiteX67" fmla="*/ 731901 w 3238881"/>
                  <a:gd name="connsiteY67" fmla="*/ 218884 h 323278"/>
                  <a:gd name="connsiteX68" fmla="*/ 731901 w 3238881"/>
                  <a:gd name="connsiteY68" fmla="*/ 224980 h 323278"/>
                  <a:gd name="connsiteX69" fmla="*/ 961167 w 3238881"/>
                  <a:gd name="connsiteY69" fmla="*/ 224980 h 323278"/>
                  <a:gd name="connsiteX70" fmla="*/ 961167 w 3238881"/>
                  <a:gd name="connsiteY70" fmla="*/ 231172 h 323278"/>
                  <a:gd name="connsiteX71" fmla="*/ 1074705 w 3238881"/>
                  <a:gd name="connsiteY71" fmla="*/ 231172 h 323278"/>
                  <a:gd name="connsiteX72" fmla="*/ 1074705 w 3238881"/>
                  <a:gd name="connsiteY72" fmla="*/ 237363 h 323278"/>
                  <a:gd name="connsiteX73" fmla="*/ 1343882 w 3238881"/>
                  <a:gd name="connsiteY73" fmla="*/ 237363 h 323278"/>
                  <a:gd name="connsiteX74" fmla="*/ 1343882 w 3238881"/>
                  <a:gd name="connsiteY74" fmla="*/ 243649 h 323278"/>
                  <a:gd name="connsiteX75" fmla="*/ 1417510 w 3238881"/>
                  <a:gd name="connsiteY75" fmla="*/ 243649 h 323278"/>
                  <a:gd name="connsiteX76" fmla="*/ 1417510 w 3238881"/>
                  <a:gd name="connsiteY76" fmla="*/ 249936 h 323278"/>
                  <a:gd name="connsiteX77" fmla="*/ 1497425 w 3238881"/>
                  <a:gd name="connsiteY77" fmla="*/ 249936 h 323278"/>
                  <a:gd name="connsiteX78" fmla="*/ 1497425 w 3238881"/>
                  <a:gd name="connsiteY78" fmla="*/ 256222 h 323278"/>
                  <a:gd name="connsiteX79" fmla="*/ 1659350 w 3238881"/>
                  <a:gd name="connsiteY79" fmla="*/ 256222 h 323278"/>
                  <a:gd name="connsiteX80" fmla="*/ 1659350 w 3238881"/>
                  <a:gd name="connsiteY80" fmla="*/ 262699 h 323278"/>
                  <a:gd name="connsiteX81" fmla="*/ 1676209 w 3238881"/>
                  <a:gd name="connsiteY81" fmla="*/ 262699 h 323278"/>
                  <a:gd name="connsiteX82" fmla="*/ 1676209 w 3238881"/>
                  <a:gd name="connsiteY82" fmla="*/ 269081 h 323278"/>
                  <a:gd name="connsiteX83" fmla="*/ 1794033 w 3238881"/>
                  <a:gd name="connsiteY83" fmla="*/ 269081 h 323278"/>
                  <a:gd name="connsiteX84" fmla="*/ 1794033 w 3238881"/>
                  <a:gd name="connsiteY84" fmla="*/ 275558 h 323278"/>
                  <a:gd name="connsiteX85" fmla="*/ 1886521 w 3238881"/>
                  <a:gd name="connsiteY85" fmla="*/ 275558 h 323278"/>
                  <a:gd name="connsiteX86" fmla="*/ 1886521 w 3238881"/>
                  <a:gd name="connsiteY86" fmla="*/ 281940 h 323278"/>
                  <a:gd name="connsiteX87" fmla="*/ 1905476 w 3238881"/>
                  <a:gd name="connsiteY87" fmla="*/ 281940 h 323278"/>
                  <a:gd name="connsiteX88" fmla="*/ 1905476 w 3238881"/>
                  <a:gd name="connsiteY88" fmla="*/ 288417 h 323278"/>
                  <a:gd name="connsiteX89" fmla="*/ 2759297 w 3238881"/>
                  <a:gd name="connsiteY89" fmla="*/ 288417 h 323278"/>
                  <a:gd name="connsiteX90" fmla="*/ 2759297 w 3238881"/>
                  <a:gd name="connsiteY90" fmla="*/ 323278 h 323278"/>
                  <a:gd name="connsiteX91" fmla="*/ 3238881 w 3238881"/>
                  <a:gd name="connsiteY91" fmla="*/ 323278 h 323278"/>
                  <a:gd name="connsiteX0" fmla="*/ 0 w 3222022"/>
                  <a:gd name="connsiteY0" fmla="*/ 0 h 317182"/>
                  <a:gd name="connsiteX1" fmla="*/ 0 w 3222022"/>
                  <a:gd name="connsiteY1" fmla="*/ 6001 h 317182"/>
                  <a:gd name="connsiteX2" fmla="*/ 27337 w 3222022"/>
                  <a:gd name="connsiteY2" fmla="*/ 6001 h 317182"/>
                  <a:gd name="connsiteX3" fmla="*/ 27337 w 3222022"/>
                  <a:gd name="connsiteY3" fmla="*/ 12097 h 317182"/>
                  <a:gd name="connsiteX4" fmla="*/ 29432 w 3222022"/>
                  <a:gd name="connsiteY4" fmla="*/ 12097 h 317182"/>
                  <a:gd name="connsiteX5" fmla="*/ 29432 w 3222022"/>
                  <a:gd name="connsiteY5" fmla="*/ 18193 h 317182"/>
                  <a:gd name="connsiteX6" fmla="*/ 39909 w 3222022"/>
                  <a:gd name="connsiteY6" fmla="*/ 18193 h 317182"/>
                  <a:gd name="connsiteX7" fmla="*/ 39909 w 3222022"/>
                  <a:gd name="connsiteY7" fmla="*/ 24193 h 317182"/>
                  <a:gd name="connsiteX8" fmla="*/ 46196 w 3222022"/>
                  <a:gd name="connsiteY8" fmla="*/ 24193 h 317182"/>
                  <a:gd name="connsiteX9" fmla="*/ 46196 w 3222022"/>
                  <a:gd name="connsiteY9" fmla="*/ 36385 h 317182"/>
                  <a:gd name="connsiteX10" fmla="*/ 54673 w 3222022"/>
                  <a:gd name="connsiteY10" fmla="*/ 36385 h 317182"/>
                  <a:gd name="connsiteX11" fmla="*/ 54673 w 3222022"/>
                  <a:gd name="connsiteY11" fmla="*/ 42386 h 317182"/>
                  <a:gd name="connsiteX12" fmla="*/ 60960 w 3222022"/>
                  <a:gd name="connsiteY12" fmla="*/ 42386 h 317182"/>
                  <a:gd name="connsiteX13" fmla="*/ 60960 w 3222022"/>
                  <a:gd name="connsiteY13" fmla="*/ 54578 h 317182"/>
                  <a:gd name="connsiteX14" fmla="*/ 63055 w 3222022"/>
                  <a:gd name="connsiteY14" fmla="*/ 54578 h 317182"/>
                  <a:gd name="connsiteX15" fmla="*/ 63055 w 3222022"/>
                  <a:gd name="connsiteY15" fmla="*/ 60674 h 317182"/>
                  <a:gd name="connsiteX16" fmla="*/ 75628 w 3222022"/>
                  <a:gd name="connsiteY16" fmla="*/ 60674 h 317182"/>
                  <a:gd name="connsiteX17" fmla="*/ 75628 w 3222022"/>
                  <a:gd name="connsiteY17" fmla="*/ 66675 h 317182"/>
                  <a:gd name="connsiteX18" fmla="*/ 98774 w 3222022"/>
                  <a:gd name="connsiteY18" fmla="*/ 66675 h 317182"/>
                  <a:gd name="connsiteX19" fmla="*/ 98774 w 3222022"/>
                  <a:gd name="connsiteY19" fmla="*/ 72771 h 317182"/>
                  <a:gd name="connsiteX20" fmla="*/ 105156 w 3222022"/>
                  <a:gd name="connsiteY20" fmla="*/ 72771 h 317182"/>
                  <a:gd name="connsiteX21" fmla="*/ 105156 w 3222022"/>
                  <a:gd name="connsiteY21" fmla="*/ 78867 h 317182"/>
                  <a:gd name="connsiteX22" fmla="*/ 113538 w 3222022"/>
                  <a:gd name="connsiteY22" fmla="*/ 78867 h 317182"/>
                  <a:gd name="connsiteX23" fmla="*/ 113538 w 3222022"/>
                  <a:gd name="connsiteY23" fmla="*/ 84868 h 317182"/>
                  <a:gd name="connsiteX24" fmla="*/ 121920 w 3222022"/>
                  <a:gd name="connsiteY24" fmla="*/ 84868 h 317182"/>
                  <a:gd name="connsiteX25" fmla="*/ 121920 w 3222022"/>
                  <a:gd name="connsiteY25" fmla="*/ 90964 h 317182"/>
                  <a:gd name="connsiteX26" fmla="*/ 126111 w 3222022"/>
                  <a:gd name="connsiteY26" fmla="*/ 90964 h 317182"/>
                  <a:gd name="connsiteX27" fmla="*/ 126111 w 3222022"/>
                  <a:gd name="connsiteY27" fmla="*/ 97060 h 317182"/>
                  <a:gd name="connsiteX28" fmla="*/ 199739 w 3222022"/>
                  <a:gd name="connsiteY28" fmla="*/ 97060 h 317182"/>
                  <a:gd name="connsiteX29" fmla="*/ 199739 w 3222022"/>
                  <a:gd name="connsiteY29" fmla="*/ 103060 h 317182"/>
                  <a:gd name="connsiteX30" fmla="*/ 220789 w 3222022"/>
                  <a:gd name="connsiteY30" fmla="*/ 103060 h 317182"/>
                  <a:gd name="connsiteX31" fmla="*/ 220789 w 3222022"/>
                  <a:gd name="connsiteY31" fmla="*/ 109156 h 317182"/>
                  <a:gd name="connsiteX32" fmla="*/ 227076 w 3222022"/>
                  <a:gd name="connsiteY32" fmla="*/ 109156 h 317182"/>
                  <a:gd name="connsiteX33" fmla="*/ 227076 w 3222022"/>
                  <a:gd name="connsiteY33" fmla="*/ 115252 h 317182"/>
                  <a:gd name="connsiteX34" fmla="*/ 269176 w 3222022"/>
                  <a:gd name="connsiteY34" fmla="*/ 115252 h 317182"/>
                  <a:gd name="connsiteX35" fmla="*/ 269176 w 3222022"/>
                  <a:gd name="connsiteY35" fmla="*/ 121253 h 317182"/>
                  <a:gd name="connsiteX36" fmla="*/ 283845 w 3222022"/>
                  <a:gd name="connsiteY36" fmla="*/ 121253 h 317182"/>
                  <a:gd name="connsiteX37" fmla="*/ 283845 w 3222022"/>
                  <a:gd name="connsiteY37" fmla="*/ 127349 h 317182"/>
                  <a:gd name="connsiteX38" fmla="*/ 313372 w 3222022"/>
                  <a:gd name="connsiteY38" fmla="*/ 127349 h 317182"/>
                  <a:gd name="connsiteX39" fmla="*/ 313372 w 3222022"/>
                  <a:gd name="connsiteY39" fmla="*/ 133445 h 317182"/>
                  <a:gd name="connsiteX40" fmla="*/ 315468 w 3222022"/>
                  <a:gd name="connsiteY40" fmla="*/ 133445 h 317182"/>
                  <a:gd name="connsiteX41" fmla="*/ 315468 w 3222022"/>
                  <a:gd name="connsiteY41" fmla="*/ 139446 h 317182"/>
                  <a:gd name="connsiteX42" fmla="*/ 338518 w 3222022"/>
                  <a:gd name="connsiteY42" fmla="*/ 139446 h 317182"/>
                  <a:gd name="connsiteX43" fmla="*/ 338518 w 3222022"/>
                  <a:gd name="connsiteY43" fmla="*/ 145542 h 317182"/>
                  <a:gd name="connsiteX44" fmla="*/ 351187 w 3222022"/>
                  <a:gd name="connsiteY44" fmla="*/ 145542 h 317182"/>
                  <a:gd name="connsiteX45" fmla="*/ 351187 w 3222022"/>
                  <a:gd name="connsiteY45" fmla="*/ 151638 h 317182"/>
                  <a:gd name="connsiteX46" fmla="*/ 386905 w 3222022"/>
                  <a:gd name="connsiteY46" fmla="*/ 151638 h 317182"/>
                  <a:gd name="connsiteX47" fmla="*/ 386905 w 3222022"/>
                  <a:gd name="connsiteY47" fmla="*/ 157734 h 317182"/>
                  <a:gd name="connsiteX48" fmla="*/ 502634 w 3222022"/>
                  <a:gd name="connsiteY48" fmla="*/ 157734 h 317182"/>
                  <a:gd name="connsiteX49" fmla="*/ 502634 w 3222022"/>
                  <a:gd name="connsiteY49" fmla="*/ 163735 h 317182"/>
                  <a:gd name="connsiteX50" fmla="*/ 540448 w 3222022"/>
                  <a:gd name="connsiteY50" fmla="*/ 163735 h 317182"/>
                  <a:gd name="connsiteX51" fmla="*/ 540448 w 3222022"/>
                  <a:gd name="connsiteY51" fmla="*/ 169926 h 317182"/>
                  <a:gd name="connsiteX52" fmla="*/ 593026 w 3222022"/>
                  <a:gd name="connsiteY52" fmla="*/ 169926 h 317182"/>
                  <a:gd name="connsiteX53" fmla="*/ 593026 w 3222022"/>
                  <a:gd name="connsiteY53" fmla="*/ 176022 h 317182"/>
                  <a:gd name="connsiteX54" fmla="*/ 611981 w 3222022"/>
                  <a:gd name="connsiteY54" fmla="*/ 176022 h 317182"/>
                  <a:gd name="connsiteX55" fmla="*/ 611981 w 3222022"/>
                  <a:gd name="connsiteY55" fmla="*/ 182118 h 317182"/>
                  <a:gd name="connsiteX56" fmla="*/ 622459 w 3222022"/>
                  <a:gd name="connsiteY56" fmla="*/ 182118 h 317182"/>
                  <a:gd name="connsiteX57" fmla="*/ 622459 w 3222022"/>
                  <a:gd name="connsiteY57" fmla="*/ 188309 h 317182"/>
                  <a:gd name="connsiteX58" fmla="*/ 656177 w 3222022"/>
                  <a:gd name="connsiteY58" fmla="*/ 188309 h 317182"/>
                  <a:gd name="connsiteX59" fmla="*/ 656177 w 3222022"/>
                  <a:gd name="connsiteY59" fmla="*/ 194405 h 317182"/>
                  <a:gd name="connsiteX60" fmla="*/ 662464 w 3222022"/>
                  <a:gd name="connsiteY60" fmla="*/ 194405 h 317182"/>
                  <a:gd name="connsiteX61" fmla="*/ 662464 w 3222022"/>
                  <a:gd name="connsiteY61" fmla="*/ 200501 h 317182"/>
                  <a:gd name="connsiteX62" fmla="*/ 677132 w 3222022"/>
                  <a:gd name="connsiteY62" fmla="*/ 200501 h 317182"/>
                  <a:gd name="connsiteX63" fmla="*/ 677132 w 3222022"/>
                  <a:gd name="connsiteY63" fmla="*/ 206597 h 317182"/>
                  <a:gd name="connsiteX64" fmla="*/ 689800 w 3222022"/>
                  <a:gd name="connsiteY64" fmla="*/ 206597 h 317182"/>
                  <a:gd name="connsiteX65" fmla="*/ 689800 w 3222022"/>
                  <a:gd name="connsiteY65" fmla="*/ 212788 h 317182"/>
                  <a:gd name="connsiteX66" fmla="*/ 715042 w 3222022"/>
                  <a:gd name="connsiteY66" fmla="*/ 212788 h 317182"/>
                  <a:gd name="connsiteX67" fmla="*/ 715042 w 3222022"/>
                  <a:gd name="connsiteY67" fmla="*/ 218884 h 317182"/>
                  <a:gd name="connsiteX68" fmla="*/ 944308 w 3222022"/>
                  <a:gd name="connsiteY68" fmla="*/ 218884 h 317182"/>
                  <a:gd name="connsiteX69" fmla="*/ 944308 w 3222022"/>
                  <a:gd name="connsiteY69" fmla="*/ 225076 h 317182"/>
                  <a:gd name="connsiteX70" fmla="*/ 1057846 w 3222022"/>
                  <a:gd name="connsiteY70" fmla="*/ 225076 h 317182"/>
                  <a:gd name="connsiteX71" fmla="*/ 1057846 w 3222022"/>
                  <a:gd name="connsiteY71" fmla="*/ 231267 h 317182"/>
                  <a:gd name="connsiteX72" fmla="*/ 1327023 w 3222022"/>
                  <a:gd name="connsiteY72" fmla="*/ 231267 h 317182"/>
                  <a:gd name="connsiteX73" fmla="*/ 1327023 w 3222022"/>
                  <a:gd name="connsiteY73" fmla="*/ 237553 h 317182"/>
                  <a:gd name="connsiteX74" fmla="*/ 1400651 w 3222022"/>
                  <a:gd name="connsiteY74" fmla="*/ 237553 h 317182"/>
                  <a:gd name="connsiteX75" fmla="*/ 1400651 w 3222022"/>
                  <a:gd name="connsiteY75" fmla="*/ 243840 h 317182"/>
                  <a:gd name="connsiteX76" fmla="*/ 1480566 w 3222022"/>
                  <a:gd name="connsiteY76" fmla="*/ 243840 h 317182"/>
                  <a:gd name="connsiteX77" fmla="*/ 1480566 w 3222022"/>
                  <a:gd name="connsiteY77" fmla="*/ 250126 h 317182"/>
                  <a:gd name="connsiteX78" fmla="*/ 1642491 w 3222022"/>
                  <a:gd name="connsiteY78" fmla="*/ 250126 h 317182"/>
                  <a:gd name="connsiteX79" fmla="*/ 1642491 w 3222022"/>
                  <a:gd name="connsiteY79" fmla="*/ 256603 h 317182"/>
                  <a:gd name="connsiteX80" fmla="*/ 1659350 w 3222022"/>
                  <a:gd name="connsiteY80" fmla="*/ 256603 h 317182"/>
                  <a:gd name="connsiteX81" fmla="*/ 1659350 w 3222022"/>
                  <a:gd name="connsiteY81" fmla="*/ 262985 h 317182"/>
                  <a:gd name="connsiteX82" fmla="*/ 1777174 w 3222022"/>
                  <a:gd name="connsiteY82" fmla="*/ 262985 h 317182"/>
                  <a:gd name="connsiteX83" fmla="*/ 1777174 w 3222022"/>
                  <a:gd name="connsiteY83" fmla="*/ 269462 h 317182"/>
                  <a:gd name="connsiteX84" fmla="*/ 1869662 w 3222022"/>
                  <a:gd name="connsiteY84" fmla="*/ 269462 h 317182"/>
                  <a:gd name="connsiteX85" fmla="*/ 1869662 w 3222022"/>
                  <a:gd name="connsiteY85" fmla="*/ 275844 h 317182"/>
                  <a:gd name="connsiteX86" fmla="*/ 1888617 w 3222022"/>
                  <a:gd name="connsiteY86" fmla="*/ 275844 h 317182"/>
                  <a:gd name="connsiteX87" fmla="*/ 1888617 w 3222022"/>
                  <a:gd name="connsiteY87" fmla="*/ 282321 h 317182"/>
                  <a:gd name="connsiteX88" fmla="*/ 2742438 w 3222022"/>
                  <a:gd name="connsiteY88" fmla="*/ 282321 h 317182"/>
                  <a:gd name="connsiteX89" fmla="*/ 2742438 w 3222022"/>
                  <a:gd name="connsiteY89" fmla="*/ 317182 h 317182"/>
                  <a:gd name="connsiteX90" fmla="*/ 3222022 w 3222022"/>
                  <a:gd name="connsiteY90" fmla="*/ 317182 h 317182"/>
                  <a:gd name="connsiteX0" fmla="*/ 0 w 3222022"/>
                  <a:gd name="connsiteY0" fmla="*/ 0 h 317182"/>
                  <a:gd name="connsiteX1" fmla="*/ 27337 w 3222022"/>
                  <a:gd name="connsiteY1" fmla="*/ 6001 h 317182"/>
                  <a:gd name="connsiteX2" fmla="*/ 27337 w 3222022"/>
                  <a:gd name="connsiteY2" fmla="*/ 12097 h 317182"/>
                  <a:gd name="connsiteX3" fmla="*/ 29432 w 3222022"/>
                  <a:gd name="connsiteY3" fmla="*/ 12097 h 317182"/>
                  <a:gd name="connsiteX4" fmla="*/ 29432 w 3222022"/>
                  <a:gd name="connsiteY4" fmla="*/ 18193 h 317182"/>
                  <a:gd name="connsiteX5" fmla="*/ 39909 w 3222022"/>
                  <a:gd name="connsiteY5" fmla="*/ 18193 h 317182"/>
                  <a:gd name="connsiteX6" fmla="*/ 39909 w 3222022"/>
                  <a:gd name="connsiteY6" fmla="*/ 24193 h 317182"/>
                  <a:gd name="connsiteX7" fmla="*/ 46196 w 3222022"/>
                  <a:gd name="connsiteY7" fmla="*/ 24193 h 317182"/>
                  <a:gd name="connsiteX8" fmla="*/ 46196 w 3222022"/>
                  <a:gd name="connsiteY8" fmla="*/ 36385 h 317182"/>
                  <a:gd name="connsiteX9" fmla="*/ 54673 w 3222022"/>
                  <a:gd name="connsiteY9" fmla="*/ 36385 h 317182"/>
                  <a:gd name="connsiteX10" fmla="*/ 54673 w 3222022"/>
                  <a:gd name="connsiteY10" fmla="*/ 42386 h 317182"/>
                  <a:gd name="connsiteX11" fmla="*/ 60960 w 3222022"/>
                  <a:gd name="connsiteY11" fmla="*/ 42386 h 317182"/>
                  <a:gd name="connsiteX12" fmla="*/ 60960 w 3222022"/>
                  <a:gd name="connsiteY12" fmla="*/ 54578 h 317182"/>
                  <a:gd name="connsiteX13" fmla="*/ 63055 w 3222022"/>
                  <a:gd name="connsiteY13" fmla="*/ 54578 h 317182"/>
                  <a:gd name="connsiteX14" fmla="*/ 63055 w 3222022"/>
                  <a:gd name="connsiteY14" fmla="*/ 60674 h 317182"/>
                  <a:gd name="connsiteX15" fmla="*/ 75628 w 3222022"/>
                  <a:gd name="connsiteY15" fmla="*/ 60674 h 317182"/>
                  <a:gd name="connsiteX16" fmla="*/ 75628 w 3222022"/>
                  <a:gd name="connsiteY16" fmla="*/ 66675 h 317182"/>
                  <a:gd name="connsiteX17" fmla="*/ 98774 w 3222022"/>
                  <a:gd name="connsiteY17" fmla="*/ 66675 h 317182"/>
                  <a:gd name="connsiteX18" fmla="*/ 98774 w 3222022"/>
                  <a:gd name="connsiteY18" fmla="*/ 72771 h 317182"/>
                  <a:gd name="connsiteX19" fmla="*/ 105156 w 3222022"/>
                  <a:gd name="connsiteY19" fmla="*/ 72771 h 317182"/>
                  <a:gd name="connsiteX20" fmla="*/ 105156 w 3222022"/>
                  <a:gd name="connsiteY20" fmla="*/ 78867 h 317182"/>
                  <a:gd name="connsiteX21" fmla="*/ 113538 w 3222022"/>
                  <a:gd name="connsiteY21" fmla="*/ 78867 h 317182"/>
                  <a:gd name="connsiteX22" fmla="*/ 113538 w 3222022"/>
                  <a:gd name="connsiteY22" fmla="*/ 84868 h 317182"/>
                  <a:gd name="connsiteX23" fmla="*/ 121920 w 3222022"/>
                  <a:gd name="connsiteY23" fmla="*/ 84868 h 317182"/>
                  <a:gd name="connsiteX24" fmla="*/ 121920 w 3222022"/>
                  <a:gd name="connsiteY24" fmla="*/ 90964 h 317182"/>
                  <a:gd name="connsiteX25" fmla="*/ 126111 w 3222022"/>
                  <a:gd name="connsiteY25" fmla="*/ 90964 h 317182"/>
                  <a:gd name="connsiteX26" fmla="*/ 126111 w 3222022"/>
                  <a:gd name="connsiteY26" fmla="*/ 97060 h 317182"/>
                  <a:gd name="connsiteX27" fmla="*/ 199739 w 3222022"/>
                  <a:gd name="connsiteY27" fmla="*/ 97060 h 317182"/>
                  <a:gd name="connsiteX28" fmla="*/ 199739 w 3222022"/>
                  <a:gd name="connsiteY28" fmla="*/ 103060 h 317182"/>
                  <a:gd name="connsiteX29" fmla="*/ 220789 w 3222022"/>
                  <a:gd name="connsiteY29" fmla="*/ 103060 h 317182"/>
                  <a:gd name="connsiteX30" fmla="*/ 220789 w 3222022"/>
                  <a:gd name="connsiteY30" fmla="*/ 109156 h 317182"/>
                  <a:gd name="connsiteX31" fmla="*/ 227076 w 3222022"/>
                  <a:gd name="connsiteY31" fmla="*/ 109156 h 317182"/>
                  <a:gd name="connsiteX32" fmla="*/ 227076 w 3222022"/>
                  <a:gd name="connsiteY32" fmla="*/ 115252 h 317182"/>
                  <a:gd name="connsiteX33" fmla="*/ 269176 w 3222022"/>
                  <a:gd name="connsiteY33" fmla="*/ 115252 h 317182"/>
                  <a:gd name="connsiteX34" fmla="*/ 269176 w 3222022"/>
                  <a:gd name="connsiteY34" fmla="*/ 121253 h 317182"/>
                  <a:gd name="connsiteX35" fmla="*/ 283845 w 3222022"/>
                  <a:gd name="connsiteY35" fmla="*/ 121253 h 317182"/>
                  <a:gd name="connsiteX36" fmla="*/ 283845 w 3222022"/>
                  <a:gd name="connsiteY36" fmla="*/ 127349 h 317182"/>
                  <a:gd name="connsiteX37" fmla="*/ 313372 w 3222022"/>
                  <a:gd name="connsiteY37" fmla="*/ 127349 h 317182"/>
                  <a:gd name="connsiteX38" fmla="*/ 313372 w 3222022"/>
                  <a:gd name="connsiteY38" fmla="*/ 133445 h 317182"/>
                  <a:gd name="connsiteX39" fmla="*/ 315468 w 3222022"/>
                  <a:gd name="connsiteY39" fmla="*/ 133445 h 317182"/>
                  <a:gd name="connsiteX40" fmla="*/ 315468 w 3222022"/>
                  <a:gd name="connsiteY40" fmla="*/ 139446 h 317182"/>
                  <a:gd name="connsiteX41" fmla="*/ 338518 w 3222022"/>
                  <a:gd name="connsiteY41" fmla="*/ 139446 h 317182"/>
                  <a:gd name="connsiteX42" fmla="*/ 338518 w 3222022"/>
                  <a:gd name="connsiteY42" fmla="*/ 145542 h 317182"/>
                  <a:gd name="connsiteX43" fmla="*/ 351187 w 3222022"/>
                  <a:gd name="connsiteY43" fmla="*/ 145542 h 317182"/>
                  <a:gd name="connsiteX44" fmla="*/ 351187 w 3222022"/>
                  <a:gd name="connsiteY44" fmla="*/ 151638 h 317182"/>
                  <a:gd name="connsiteX45" fmla="*/ 386905 w 3222022"/>
                  <a:gd name="connsiteY45" fmla="*/ 151638 h 317182"/>
                  <a:gd name="connsiteX46" fmla="*/ 386905 w 3222022"/>
                  <a:gd name="connsiteY46" fmla="*/ 157734 h 317182"/>
                  <a:gd name="connsiteX47" fmla="*/ 502634 w 3222022"/>
                  <a:gd name="connsiteY47" fmla="*/ 157734 h 317182"/>
                  <a:gd name="connsiteX48" fmla="*/ 502634 w 3222022"/>
                  <a:gd name="connsiteY48" fmla="*/ 163735 h 317182"/>
                  <a:gd name="connsiteX49" fmla="*/ 540448 w 3222022"/>
                  <a:gd name="connsiteY49" fmla="*/ 163735 h 317182"/>
                  <a:gd name="connsiteX50" fmla="*/ 540448 w 3222022"/>
                  <a:gd name="connsiteY50" fmla="*/ 169926 h 317182"/>
                  <a:gd name="connsiteX51" fmla="*/ 593026 w 3222022"/>
                  <a:gd name="connsiteY51" fmla="*/ 169926 h 317182"/>
                  <a:gd name="connsiteX52" fmla="*/ 593026 w 3222022"/>
                  <a:gd name="connsiteY52" fmla="*/ 176022 h 317182"/>
                  <a:gd name="connsiteX53" fmla="*/ 611981 w 3222022"/>
                  <a:gd name="connsiteY53" fmla="*/ 176022 h 317182"/>
                  <a:gd name="connsiteX54" fmla="*/ 611981 w 3222022"/>
                  <a:gd name="connsiteY54" fmla="*/ 182118 h 317182"/>
                  <a:gd name="connsiteX55" fmla="*/ 622459 w 3222022"/>
                  <a:gd name="connsiteY55" fmla="*/ 182118 h 317182"/>
                  <a:gd name="connsiteX56" fmla="*/ 622459 w 3222022"/>
                  <a:gd name="connsiteY56" fmla="*/ 188309 h 317182"/>
                  <a:gd name="connsiteX57" fmla="*/ 656177 w 3222022"/>
                  <a:gd name="connsiteY57" fmla="*/ 188309 h 317182"/>
                  <a:gd name="connsiteX58" fmla="*/ 656177 w 3222022"/>
                  <a:gd name="connsiteY58" fmla="*/ 194405 h 317182"/>
                  <a:gd name="connsiteX59" fmla="*/ 662464 w 3222022"/>
                  <a:gd name="connsiteY59" fmla="*/ 194405 h 317182"/>
                  <a:gd name="connsiteX60" fmla="*/ 662464 w 3222022"/>
                  <a:gd name="connsiteY60" fmla="*/ 200501 h 317182"/>
                  <a:gd name="connsiteX61" fmla="*/ 677132 w 3222022"/>
                  <a:gd name="connsiteY61" fmla="*/ 200501 h 317182"/>
                  <a:gd name="connsiteX62" fmla="*/ 677132 w 3222022"/>
                  <a:gd name="connsiteY62" fmla="*/ 206597 h 317182"/>
                  <a:gd name="connsiteX63" fmla="*/ 689800 w 3222022"/>
                  <a:gd name="connsiteY63" fmla="*/ 206597 h 317182"/>
                  <a:gd name="connsiteX64" fmla="*/ 689800 w 3222022"/>
                  <a:gd name="connsiteY64" fmla="*/ 212788 h 317182"/>
                  <a:gd name="connsiteX65" fmla="*/ 715042 w 3222022"/>
                  <a:gd name="connsiteY65" fmla="*/ 212788 h 317182"/>
                  <a:gd name="connsiteX66" fmla="*/ 715042 w 3222022"/>
                  <a:gd name="connsiteY66" fmla="*/ 218884 h 317182"/>
                  <a:gd name="connsiteX67" fmla="*/ 944308 w 3222022"/>
                  <a:gd name="connsiteY67" fmla="*/ 218884 h 317182"/>
                  <a:gd name="connsiteX68" fmla="*/ 944308 w 3222022"/>
                  <a:gd name="connsiteY68" fmla="*/ 225076 h 317182"/>
                  <a:gd name="connsiteX69" fmla="*/ 1057846 w 3222022"/>
                  <a:gd name="connsiteY69" fmla="*/ 225076 h 317182"/>
                  <a:gd name="connsiteX70" fmla="*/ 1057846 w 3222022"/>
                  <a:gd name="connsiteY70" fmla="*/ 231267 h 317182"/>
                  <a:gd name="connsiteX71" fmla="*/ 1327023 w 3222022"/>
                  <a:gd name="connsiteY71" fmla="*/ 231267 h 317182"/>
                  <a:gd name="connsiteX72" fmla="*/ 1327023 w 3222022"/>
                  <a:gd name="connsiteY72" fmla="*/ 237553 h 317182"/>
                  <a:gd name="connsiteX73" fmla="*/ 1400651 w 3222022"/>
                  <a:gd name="connsiteY73" fmla="*/ 237553 h 317182"/>
                  <a:gd name="connsiteX74" fmla="*/ 1400651 w 3222022"/>
                  <a:gd name="connsiteY74" fmla="*/ 243840 h 317182"/>
                  <a:gd name="connsiteX75" fmla="*/ 1480566 w 3222022"/>
                  <a:gd name="connsiteY75" fmla="*/ 243840 h 317182"/>
                  <a:gd name="connsiteX76" fmla="*/ 1480566 w 3222022"/>
                  <a:gd name="connsiteY76" fmla="*/ 250126 h 317182"/>
                  <a:gd name="connsiteX77" fmla="*/ 1642491 w 3222022"/>
                  <a:gd name="connsiteY77" fmla="*/ 250126 h 317182"/>
                  <a:gd name="connsiteX78" fmla="*/ 1642491 w 3222022"/>
                  <a:gd name="connsiteY78" fmla="*/ 256603 h 317182"/>
                  <a:gd name="connsiteX79" fmla="*/ 1659350 w 3222022"/>
                  <a:gd name="connsiteY79" fmla="*/ 256603 h 317182"/>
                  <a:gd name="connsiteX80" fmla="*/ 1659350 w 3222022"/>
                  <a:gd name="connsiteY80" fmla="*/ 262985 h 317182"/>
                  <a:gd name="connsiteX81" fmla="*/ 1777174 w 3222022"/>
                  <a:gd name="connsiteY81" fmla="*/ 262985 h 317182"/>
                  <a:gd name="connsiteX82" fmla="*/ 1777174 w 3222022"/>
                  <a:gd name="connsiteY82" fmla="*/ 269462 h 317182"/>
                  <a:gd name="connsiteX83" fmla="*/ 1869662 w 3222022"/>
                  <a:gd name="connsiteY83" fmla="*/ 269462 h 317182"/>
                  <a:gd name="connsiteX84" fmla="*/ 1869662 w 3222022"/>
                  <a:gd name="connsiteY84" fmla="*/ 275844 h 317182"/>
                  <a:gd name="connsiteX85" fmla="*/ 1888617 w 3222022"/>
                  <a:gd name="connsiteY85" fmla="*/ 275844 h 317182"/>
                  <a:gd name="connsiteX86" fmla="*/ 1888617 w 3222022"/>
                  <a:gd name="connsiteY86" fmla="*/ 282321 h 317182"/>
                  <a:gd name="connsiteX87" fmla="*/ 2742438 w 3222022"/>
                  <a:gd name="connsiteY87" fmla="*/ 282321 h 317182"/>
                  <a:gd name="connsiteX88" fmla="*/ 2742438 w 3222022"/>
                  <a:gd name="connsiteY88" fmla="*/ 317182 h 317182"/>
                  <a:gd name="connsiteX89" fmla="*/ 3222022 w 3222022"/>
                  <a:gd name="connsiteY89" fmla="*/ 317182 h 317182"/>
                  <a:gd name="connsiteX0" fmla="*/ 0 w 3194685"/>
                  <a:gd name="connsiteY0" fmla="*/ 0 h 311181"/>
                  <a:gd name="connsiteX1" fmla="*/ 0 w 3194685"/>
                  <a:gd name="connsiteY1" fmla="*/ 6096 h 311181"/>
                  <a:gd name="connsiteX2" fmla="*/ 2095 w 3194685"/>
                  <a:gd name="connsiteY2" fmla="*/ 6096 h 311181"/>
                  <a:gd name="connsiteX3" fmla="*/ 2095 w 3194685"/>
                  <a:gd name="connsiteY3" fmla="*/ 12192 h 311181"/>
                  <a:gd name="connsiteX4" fmla="*/ 12572 w 3194685"/>
                  <a:gd name="connsiteY4" fmla="*/ 12192 h 311181"/>
                  <a:gd name="connsiteX5" fmla="*/ 12572 w 3194685"/>
                  <a:gd name="connsiteY5" fmla="*/ 18192 h 311181"/>
                  <a:gd name="connsiteX6" fmla="*/ 18859 w 3194685"/>
                  <a:gd name="connsiteY6" fmla="*/ 18192 h 311181"/>
                  <a:gd name="connsiteX7" fmla="*/ 18859 w 3194685"/>
                  <a:gd name="connsiteY7" fmla="*/ 30384 h 311181"/>
                  <a:gd name="connsiteX8" fmla="*/ 27336 w 3194685"/>
                  <a:gd name="connsiteY8" fmla="*/ 30384 h 311181"/>
                  <a:gd name="connsiteX9" fmla="*/ 27336 w 3194685"/>
                  <a:gd name="connsiteY9" fmla="*/ 36385 h 311181"/>
                  <a:gd name="connsiteX10" fmla="*/ 33623 w 3194685"/>
                  <a:gd name="connsiteY10" fmla="*/ 36385 h 311181"/>
                  <a:gd name="connsiteX11" fmla="*/ 33623 w 3194685"/>
                  <a:gd name="connsiteY11" fmla="*/ 48577 h 311181"/>
                  <a:gd name="connsiteX12" fmla="*/ 35718 w 3194685"/>
                  <a:gd name="connsiteY12" fmla="*/ 48577 h 311181"/>
                  <a:gd name="connsiteX13" fmla="*/ 35718 w 3194685"/>
                  <a:gd name="connsiteY13" fmla="*/ 54673 h 311181"/>
                  <a:gd name="connsiteX14" fmla="*/ 48291 w 3194685"/>
                  <a:gd name="connsiteY14" fmla="*/ 54673 h 311181"/>
                  <a:gd name="connsiteX15" fmla="*/ 48291 w 3194685"/>
                  <a:gd name="connsiteY15" fmla="*/ 60674 h 311181"/>
                  <a:gd name="connsiteX16" fmla="*/ 71437 w 3194685"/>
                  <a:gd name="connsiteY16" fmla="*/ 60674 h 311181"/>
                  <a:gd name="connsiteX17" fmla="*/ 71437 w 3194685"/>
                  <a:gd name="connsiteY17" fmla="*/ 66770 h 311181"/>
                  <a:gd name="connsiteX18" fmla="*/ 77819 w 3194685"/>
                  <a:gd name="connsiteY18" fmla="*/ 66770 h 311181"/>
                  <a:gd name="connsiteX19" fmla="*/ 77819 w 3194685"/>
                  <a:gd name="connsiteY19" fmla="*/ 72866 h 311181"/>
                  <a:gd name="connsiteX20" fmla="*/ 86201 w 3194685"/>
                  <a:gd name="connsiteY20" fmla="*/ 72866 h 311181"/>
                  <a:gd name="connsiteX21" fmla="*/ 86201 w 3194685"/>
                  <a:gd name="connsiteY21" fmla="*/ 78867 h 311181"/>
                  <a:gd name="connsiteX22" fmla="*/ 94583 w 3194685"/>
                  <a:gd name="connsiteY22" fmla="*/ 78867 h 311181"/>
                  <a:gd name="connsiteX23" fmla="*/ 94583 w 3194685"/>
                  <a:gd name="connsiteY23" fmla="*/ 84963 h 311181"/>
                  <a:gd name="connsiteX24" fmla="*/ 98774 w 3194685"/>
                  <a:gd name="connsiteY24" fmla="*/ 84963 h 311181"/>
                  <a:gd name="connsiteX25" fmla="*/ 98774 w 3194685"/>
                  <a:gd name="connsiteY25" fmla="*/ 91059 h 311181"/>
                  <a:gd name="connsiteX26" fmla="*/ 172402 w 3194685"/>
                  <a:gd name="connsiteY26" fmla="*/ 91059 h 311181"/>
                  <a:gd name="connsiteX27" fmla="*/ 172402 w 3194685"/>
                  <a:gd name="connsiteY27" fmla="*/ 97059 h 311181"/>
                  <a:gd name="connsiteX28" fmla="*/ 193452 w 3194685"/>
                  <a:gd name="connsiteY28" fmla="*/ 97059 h 311181"/>
                  <a:gd name="connsiteX29" fmla="*/ 193452 w 3194685"/>
                  <a:gd name="connsiteY29" fmla="*/ 103155 h 311181"/>
                  <a:gd name="connsiteX30" fmla="*/ 199739 w 3194685"/>
                  <a:gd name="connsiteY30" fmla="*/ 103155 h 311181"/>
                  <a:gd name="connsiteX31" fmla="*/ 199739 w 3194685"/>
                  <a:gd name="connsiteY31" fmla="*/ 109251 h 311181"/>
                  <a:gd name="connsiteX32" fmla="*/ 241839 w 3194685"/>
                  <a:gd name="connsiteY32" fmla="*/ 109251 h 311181"/>
                  <a:gd name="connsiteX33" fmla="*/ 241839 w 3194685"/>
                  <a:gd name="connsiteY33" fmla="*/ 115252 h 311181"/>
                  <a:gd name="connsiteX34" fmla="*/ 256508 w 3194685"/>
                  <a:gd name="connsiteY34" fmla="*/ 115252 h 311181"/>
                  <a:gd name="connsiteX35" fmla="*/ 256508 w 3194685"/>
                  <a:gd name="connsiteY35" fmla="*/ 121348 h 311181"/>
                  <a:gd name="connsiteX36" fmla="*/ 286035 w 3194685"/>
                  <a:gd name="connsiteY36" fmla="*/ 121348 h 311181"/>
                  <a:gd name="connsiteX37" fmla="*/ 286035 w 3194685"/>
                  <a:gd name="connsiteY37" fmla="*/ 127444 h 311181"/>
                  <a:gd name="connsiteX38" fmla="*/ 288131 w 3194685"/>
                  <a:gd name="connsiteY38" fmla="*/ 127444 h 311181"/>
                  <a:gd name="connsiteX39" fmla="*/ 288131 w 3194685"/>
                  <a:gd name="connsiteY39" fmla="*/ 133445 h 311181"/>
                  <a:gd name="connsiteX40" fmla="*/ 311181 w 3194685"/>
                  <a:gd name="connsiteY40" fmla="*/ 133445 h 311181"/>
                  <a:gd name="connsiteX41" fmla="*/ 311181 w 3194685"/>
                  <a:gd name="connsiteY41" fmla="*/ 139541 h 311181"/>
                  <a:gd name="connsiteX42" fmla="*/ 323850 w 3194685"/>
                  <a:gd name="connsiteY42" fmla="*/ 139541 h 311181"/>
                  <a:gd name="connsiteX43" fmla="*/ 323850 w 3194685"/>
                  <a:gd name="connsiteY43" fmla="*/ 145637 h 311181"/>
                  <a:gd name="connsiteX44" fmla="*/ 359568 w 3194685"/>
                  <a:gd name="connsiteY44" fmla="*/ 145637 h 311181"/>
                  <a:gd name="connsiteX45" fmla="*/ 359568 w 3194685"/>
                  <a:gd name="connsiteY45" fmla="*/ 151733 h 311181"/>
                  <a:gd name="connsiteX46" fmla="*/ 475297 w 3194685"/>
                  <a:gd name="connsiteY46" fmla="*/ 151733 h 311181"/>
                  <a:gd name="connsiteX47" fmla="*/ 475297 w 3194685"/>
                  <a:gd name="connsiteY47" fmla="*/ 157734 h 311181"/>
                  <a:gd name="connsiteX48" fmla="*/ 513111 w 3194685"/>
                  <a:gd name="connsiteY48" fmla="*/ 157734 h 311181"/>
                  <a:gd name="connsiteX49" fmla="*/ 513111 w 3194685"/>
                  <a:gd name="connsiteY49" fmla="*/ 163925 h 311181"/>
                  <a:gd name="connsiteX50" fmla="*/ 565689 w 3194685"/>
                  <a:gd name="connsiteY50" fmla="*/ 163925 h 311181"/>
                  <a:gd name="connsiteX51" fmla="*/ 565689 w 3194685"/>
                  <a:gd name="connsiteY51" fmla="*/ 170021 h 311181"/>
                  <a:gd name="connsiteX52" fmla="*/ 584644 w 3194685"/>
                  <a:gd name="connsiteY52" fmla="*/ 170021 h 311181"/>
                  <a:gd name="connsiteX53" fmla="*/ 584644 w 3194685"/>
                  <a:gd name="connsiteY53" fmla="*/ 176117 h 311181"/>
                  <a:gd name="connsiteX54" fmla="*/ 595122 w 3194685"/>
                  <a:gd name="connsiteY54" fmla="*/ 176117 h 311181"/>
                  <a:gd name="connsiteX55" fmla="*/ 595122 w 3194685"/>
                  <a:gd name="connsiteY55" fmla="*/ 182308 h 311181"/>
                  <a:gd name="connsiteX56" fmla="*/ 628840 w 3194685"/>
                  <a:gd name="connsiteY56" fmla="*/ 182308 h 311181"/>
                  <a:gd name="connsiteX57" fmla="*/ 628840 w 3194685"/>
                  <a:gd name="connsiteY57" fmla="*/ 188404 h 311181"/>
                  <a:gd name="connsiteX58" fmla="*/ 635127 w 3194685"/>
                  <a:gd name="connsiteY58" fmla="*/ 188404 h 311181"/>
                  <a:gd name="connsiteX59" fmla="*/ 635127 w 3194685"/>
                  <a:gd name="connsiteY59" fmla="*/ 194500 h 311181"/>
                  <a:gd name="connsiteX60" fmla="*/ 649795 w 3194685"/>
                  <a:gd name="connsiteY60" fmla="*/ 194500 h 311181"/>
                  <a:gd name="connsiteX61" fmla="*/ 649795 w 3194685"/>
                  <a:gd name="connsiteY61" fmla="*/ 200596 h 311181"/>
                  <a:gd name="connsiteX62" fmla="*/ 662463 w 3194685"/>
                  <a:gd name="connsiteY62" fmla="*/ 200596 h 311181"/>
                  <a:gd name="connsiteX63" fmla="*/ 662463 w 3194685"/>
                  <a:gd name="connsiteY63" fmla="*/ 206787 h 311181"/>
                  <a:gd name="connsiteX64" fmla="*/ 687705 w 3194685"/>
                  <a:gd name="connsiteY64" fmla="*/ 206787 h 311181"/>
                  <a:gd name="connsiteX65" fmla="*/ 687705 w 3194685"/>
                  <a:gd name="connsiteY65" fmla="*/ 212883 h 311181"/>
                  <a:gd name="connsiteX66" fmla="*/ 916971 w 3194685"/>
                  <a:gd name="connsiteY66" fmla="*/ 212883 h 311181"/>
                  <a:gd name="connsiteX67" fmla="*/ 916971 w 3194685"/>
                  <a:gd name="connsiteY67" fmla="*/ 219075 h 311181"/>
                  <a:gd name="connsiteX68" fmla="*/ 1030509 w 3194685"/>
                  <a:gd name="connsiteY68" fmla="*/ 219075 h 311181"/>
                  <a:gd name="connsiteX69" fmla="*/ 1030509 w 3194685"/>
                  <a:gd name="connsiteY69" fmla="*/ 225266 h 311181"/>
                  <a:gd name="connsiteX70" fmla="*/ 1299686 w 3194685"/>
                  <a:gd name="connsiteY70" fmla="*/ 225266 h 311181"/>
                  <a:gd name="connsiteX71" fmla="*/ 1299686 w 3194685"/>
                  <a:gd name="connsiteY71" fmla="*/ 231552 h 311181"/>
                  <a:gd name="connsiteX72" fmla="*/ 1373314 w 3194685"/>
                  <a:gd name="connsiteY72" fmla="*/ 231552 h 311181"/>
                  <a:gd name="connsiteX73" fmla="*/ 1373314 w 3194685"/>
                  <a:gd name="connsiteY73" fmla="*/ 237839 h 311181"/>
                  <a:gd name="connsiteX74" fmla="*/ 1453229 w 3194685"/>
                  <a:gd name="connsiteY74" fmla="*/ 237839 h 311181"/>
                  <a:gd name="connsiteX75" fmla="*/ 1453229 w 3194685"/>
                  <a:gd name="connsiteY75" fmla="*/ 244125 h 311181"/>
                  <a:gd name="connsiteX76" fmla="*/ 1615154 w 3194685"/>
                  <a:gd name="connsiteY76" fmla="*/ 244125 h 311181"/>
                  <a:gd name="connsiteX77" fmla="*/ 1615154 w 3194685"/>
                  <a:gd name="connsiteY77" fmla="*/ 250602 h 311181"/>
                  <a:gd name="connsiteX78" fmla="*/ 1632013 w 3194685"/>
                  <a:gd name="connsiteY78" fmla="*/ 250602 h 311181"/>
                  <a:gd name="connsiteX79" fmla="*/ 1632013 w 3194685"/>
                  <a:gd name="connsiteY79" fmla="*/ 256984 h 311181"/>
                  <a:gd name="connsiteX80" fmla="*/ 1749837 w 3194685"/>
                  <a:gd name="connsiteY80" fmla="*/ 256984 h 311181"/>
                  <a:gd name="connsiteX81" fmla="*/ 1749837 w 3194685"/>
                  <a:gd name="connsiteY81" fmla="*/ 263461 h 311181"/>
                  <a:gd name="connsiteX82" fmla="*/ 1842325 w 3194685"/>
                  <a:gd name="connsiteY82" fmla="*/ 263461 h 311181"/>
                  <a:gd name="connsiteX83" fmla="*/ 1842325 w 3194685"/>
                  <a:gd name="connsiteY83" fmla="*/ 269843 h 311181"/>
                  <a:gd name="connsiteX84" fmla="*/ 1861280 w 3194685"/>
                  <a:gd name="connsiteY84" fmla="*/ 269843 h 311181"/>
                  <a:gd name="connsiteX85" fmla="*/ 1861280 w 3194685"/>
                  <a:gd name="connsiteY85" fmla="*/ 276320 h 311181"/>
                  <a:gd name="connsiteX86" fmla="*/ 2715101 w 3194685"/>
                  <a:gd name="connsiteY86" fmla="*/ 276320 h 311181"/>
                  <a:gd name="connsiteX87" fmla="*/ 2715101 w 3194685"/>
                  <a:gd name="connsiteY87" fmla="*/ 311181 h 311181"/>
                  <a:gd name="connsiteX88" fmla="*/ 3194685 w 3194685"/>
                  <a:gd name="connsiteY88" fmla="*/ 311181 h 311181"/>
                  <a:gd name="connsiteX0" fmla="*/ 0 w 3194685"/>
                  <a:gd name="connsiteY0" fmla="*/ 0 h 311181"/>
                  <a:gd name="connsiteX1" fmla="*/ 0 w 3194685"/>
                  <a:gd name="connsiteY1" fmla="*/ 6096 h 311181"/>
                  <a:gd name="connsiteX2" fmla="*/ 2095 w 3194685"/>
                  <a:gd name="connsiteY2" fmla="*/ 12192 h 311181"/>
                  <a:gd name="connsiteX3" fmla="*/ 12572 w 3194685"/>
                  <a:gd name="connsiteY3" fmla="*/ 12192 h 311181"/>
                  <a:gd name="connsiteX4" fmla="*/ 12572 w 3194685"/>
                  <a:gd name="connsiteY4" fmla="*/ 18192 h 311181"/>
                  <a:gd name="connsiteX5" fmla="*/ 18859 w 3194685"/>
                  <a:gd name="connsiteY5" fmla="*/ 18192 h 311181"/>
                  <a:gd name="connsiteX6" fmla="*/ 18859 w 3194685"/>
                  <a:gd name="connsiteY6" fmla="*/ 30384 h 311181"/>
                  <a:gd name="connsiteX7" fmla="*/ 27336 w 3194685"/>
                  <a:gd name="connsiteY7" fmla="*/ 30384 h 311181"/>
                  <a:gd name="connsiteX8" fmla="*/ 27336 w 3194685"/>
                  <a:gd name="connsiteY8" fmla="*/ 36385 h 311181"/>
                  <a:gd name="connsiteX9" fmla="*/ 33623 w 3194685"/>
                  <a:gd name="connsiteY9" fmla="*/ 36385 h 311181"/>
                  <a:gd name="connsiteX10" fmla="*/ 33623 w 3194685"/>
                  <a:gd name="connsiteY10" fmla="*/ 48577 h 311181"/>
                  <a:gd name="connsiteX11" fmla="*/ 35718 w 3194685"/>
                  <a:gd name="connsiteY11" fmla="*/ 48577 h 311181"/>
                  <a:gd name="connsiteX12" fmla="*/ 35718 w 3194685"/>
                  <a:gd name="connsiteY12" fmla="*/ 54673 h 311181"/>
                  <a:gd name="connsiteX13" fmla="*/ 48291 w 3194685"/>
                  <a:gd name="connsiteY13" fmla="*/ 54673 h 311181"/>
                  <a:gd name="connsiteX14" fmla="*/ 48291 w 3194685"/>
                  <a:gd name="connsiteY14" fmla="*/ 60674 h 311181"/>
                  <a:gd name="connsiteX15" fmla="*/ 71437 w 3194685"/>
                  <a:gd name="connsiteY15" fmla="*/ 60674 h 311181"/>
                  <a:gd name="connsiteX16" fmla="*/ 71437 w 3194685"/>
                  <a:gd name="connsiteY16" fmla="*/ 66770 h 311181"/>
                  <a:gd name="connsiteX17" fmla="*/ 77819 w 3194685"/>
                  <a:gd name="connsiteY17" fmla="*/ 66770 h 311181"/>
                  <a:gd name="connsiteX18" fmla="*/ 77819 w 3194685"/>
                  <a:gd name="connsiteY18" fmla="*/ 72866 h 311181"/>
                  <a:gd name="connsiteX19" fmla="*/ 86201 w 3194685"/>
                  <a:gd name="connsiteY19" fmla="*/ 72866 h 311181"/>
                  <a:gd name="connsiteX20" fmla="*/ 86201 w 3194685"/>
                  <a:gd name="connsiteY20" fmla="*/ 78867 h 311181"/>
                  <a:gd name="connsiteX21" fmla="*/ 94583 w 3194685"/>
                  <a:gd name="connsiteY21" fmla="*/ 78867 h 311181"/>
                  <a:gd name="connsiteX22" fmla="*/ 94583 w 3194685"/>
                  <a:gd name="connsiteY22" fmla="*/ 84963 h 311181"/>
                  <a:gd name="connsiteX23" fmla="*/ 98774 w 3194685"/>
                  <a:gd name="connsiteY23" fmla="*/ 84963 h 311181"/>
                  <a:gd name="connsiteX24" fmla="*/ 98774 w 3194685"/>
                  <a:gd name="connsiteY24" fmla="*/ 91059 h 311181"/>
                  <a:gd name="connsiteX25" fmla="*/ 172402 w 3194685"/>
                  <a:gd name="connsiteY25" fmla="*/ 91059 h 311181"/>
                  <a:gd name="connsiteX26" fmla="*/ 172402 w 3194685"/>
                  <a:gd name="connsiteY26" fmla="*/ 97059 h 311181"/>
                  <a:gd name="connsiteX27" fmla="*/ 193452 w 3194685"/>
                  <a:gd name="connsiteY27" fmla="*/ 97059 h 311181"/>
                  <a:gd name="connsiteX28" fmla="*/ 193452 w 3194685"/>
                  <a:gd name="connsiteY28" fmla="*/ 103155 h 311181"/>
                  <a:gd name="connsiteX29" fmla="*/ 199739 w 3194685"/>
                  <a:gd name="connsiteY29" fmla="*/ 103155 h 311181"/>
                  <a:gd name="connsiteX30" fmla="*/ 199739 w 3194685"/>
                  <a:gd name="connsiteY30" fmla="*/ 109251 h 311181"/>
                  <a:gd name="connsiteX31" fmla="*/ 241839 w 3194685"/>
                  <a:gd name="connsiteY31" fmla="*/ 109251 h 311181"/>
                  <a:gd name="connsiteX32" fmla="*/ 241839 w 3194685"/>
                  <a:gd name="connsiteY32" fmla="*/ 115252 h 311181"/>
                  <a:gd name="connsiteX33" fmla="*/ 256508 w 3194685"/>
                  <a:gd name="connsiteY33" fmla="*/ 115252 h 311181"/>
                  <a:gd name="connsiteX34" fmla="*/ 256508 w 3194685"/>
                  <a:gd name="connsiteY34" fmla="*/ 121348 h 311181"/>
                  <a:gd name="connsiteX35" fmla="*/ 286035 w 3194685"/>
                  <a:gd name="connsiteY35" fmla="*/ 121348 h 311181"/>
                  <a:gd name="connsiteX36" fmla="*/ 286035 w 3194685"/>
                  <a:gd name="connsiteY36" fmla="*/ 127444 h 311181"/>
                  <a:gd name="connsiteX37" fmla="*/ 288131 w 3194685"/>
                  <a:gd name="connsiteY37" fmla="*/ 127444 h 311181"/>
                  <a:gd name="connsiteX38" fmla="*/ 288131 w 3194685"/>
                  <a:gd name="connsiteY38" fmla="*/ 133445 h 311181"/>
                  <a:gd name="connsiteX39" fmla="*/ 311181 w 3194685"/>
                  <a:gd name="connsiteY39" fmla="*/ 133445 h 311181"/>
                  <a:gd name="connsiteX40" fmla="*/ 311181 w 3194685"/>
                  <a:gd name="connsiteY40" fmla="*/ 139541 h 311181"/>
                  <a:gd name="connsiteX41" fmla="*/ 323850 w 3194685"/>
                  <a:gd name="connsiteY41" fmla="*/ 139541 h 311181"/>
                  <a:gd name="connsiteX42" fmla="*/ 323850 w 3194685"/>
                  <a:gd name="connsiteY42" fmla="*/ 145637 h 311181"/>
                  <a:gd name="connsiteX43" fmla="*/ 359568 w 3194685"/>
                  <a:gd name="connsiteY43" fmla="*/ 145637 h 311181"/>
                  <a:gd name="connsiteX44" fmla="*/ 359568 w 3194685"/>
                  <a:gd name="connsiteY44" fmla="*/ 151733 h 311181"/>
                  <a:gd name="connsiteX45" fmla="*/ 475297 w 3194685"/>
                  <a:gd name="connsiteY45" fmla="*/ 151733 h 311181"/>
                  <a:gd name="connsiteX46" fmla="*/ 475297 w 3194685"/>
                  <a:gd name="connsiteY46" fmla="*/ 157734 h 311181"/>
                  <a:gd name="connsiteX47" fmla="*/ 513111 w 3194685"/>
                  <a:gd name="connsiteY47" fmla="*/ 157734 h 311181"/>
                  <a:gd name="connsiteX48" fmla="*/ 513111 w 3194685"/>
                  <a:gd name="connsiteY48" fmla="*/ 163925 h 311181"/>
                  <a:gd name="connsiteX49" fmla="*/ 565689 w 3194685"/>
                  <a:gd name="connsiteY49" fmla="*/ 163925 h 311181"/>
                  <a:gd name="connsiteX50" fmla="*/ 565689 w 3194685"/>
                  <a:gd name="connsiteY50" fmla="*/ 170021 h 311181"/>
                  <a:gd name="connsiteX51" fmla="*/ 584644 w 3194685"/>
                  <a:gd name="connsiteY51" fmla="*/ 170021 h 311181"/>
                  <a:gd name="connsiteX52" fmla="*/ 584644 w 3194685"/>
                  <a:gd name="connsiteY52" fmla="*/ 176117 h 311181"/>
                  <a:gd name="connsiteX53" fmla="*/ 595122 w 3194685"/>
                  <a:gd name="connsiteY53" fmla="*/ 176117 h 311181"/>
                  <a:gd name="connsiteX54" fmla="*/ 595122 w 3194685"/>
                  <a:gd name="connsiteY54" fmla="*/ 182308 h 311181"/>
                  <a:gd name="connsiteX55" fmla="*/ 628840 w 3194685"/>
                  <a:gd name="connsiteY55" fmla="*/ 182308 h 311181"/>
                  <a:gd name="connsiteX56" fmla="*/ 628840 w 3194685"/>
                  <a:gd name="connsiteY56" fmla="*/ 188404 h 311181"/>
                  <a:gd name="connsiteX57" fmla="*/ 635127 w 3194685"/>
                  <a:gd name="connsiteY57" fmla="*/ 188404 h 311181"/>
                  <a:gd name="connsiteX58" fmla="*/ 635127 w 3194685"/>
                  <a:gd name="connsiteY58" fmla="*/ 194500 h 311181"/>
                  <a:gd name="connsiteX59" fmla="*/ 649795 w 3194685"/>
                  <a:gd name="connsiteY59" fmla="*/ 194500 h 311181"/>
                  <a:gd name="connsiteX60" fmla="*/ 649795 w 3194685"/>
                  <a:gd name="connsiteY60" fmla="*/ 200596 h 311181"/>
                  <a:gd name="connsiteX61" fmla="*/ 662463 w 3194685"/>
                  <a:gd name="connsiteY61" fmla="*/ 200596 h 311181"/>
                  <a:gd name="connsiteX62" fmla="*/ 662463 w 3194685"/>
                  <a:gd name="connsiteY62" fmla="*/ 206787 h 311181"/>
                  <a:gd name="connsiteX63" fmla="*/ 687705 w 3194685"/>
                  <a:gd name="connsiteY63" fmla="*/ 206787 h 311181"/>
                  <a:gd name="connsiteX64" fmla="*/ 687705 w 3194685"/>
                  <a:gd name="connsiteY64" fmla="*/ 212883 h 311181"/>
                  <a:gd name="connsiteX65" fmla="*/ 916971 w 3194685"/>
                  <a:gd name="connsiteY65" fmla="*/ 212883 h 311181"/>
                  <a:gd name="connsiteX66" fmla="*/ 916971 w 3194685"/>
                  <a:gd name="connsiteY66" fmla="*/ 219075 h 311181"/>
                  <a:gd name="connsiteX67" fmla="*/ 1030509 w 3194685"/>
                  <a:gd name="connsiteY67" fmla="*/ 219075 h 311181"/>
                  <a:gd name="connsiteX68" fmla="*/ 1030509 w 3194685"/>
                  <a:gd name="connsiteY68" fmla="*/ 225266 h 311181"/>
                  <a:gd name="connsiteX69" fmla="*/ 1299686 w 3194685"/>
                  <a:gd name="connsiteY69" fmla="*/ 225266 h 311181"/>
                  <a:gd name="connsiteX70" fmla="*/ 1299686 w 3194685"/>
                  <a:gd name="connsiteY70" fmla="*/ 231552 h 311181"/>
                  <a:gd name="connsiteX71" fmla="*/ 1373314 w 3194685"/>
                  <a:gd name="connsiteY71" fmla="*/ 231552 h 311181"/>
                  <a:gd name="connsiteX72" fmla="*/ 1373314 w 3194685"/>
                  <a:gd name="connsiteY72" fmla="*/ 237839 h 311181"/>
                  <a:gd name="connsiteX73" fmla="*/ 1453229 w 3194685"/>
                  <a:gd name="connsiteY73" fmla="*/ 237839 h 311181"/>
                  <a:gd name="connsiteX74" fmla="*/ 1453229 w 3194685"/>
                  <a:gd name="connsiteY74" fmla="*/ 244125 h 311181"/>
                  <a:gd name="connsiteX75" fmla="*/ 1615154 w 3194685"/>
                  <a:gd name="connsiteY75" fmla="*/ 244125 h 311181"/>
                  <a:gd name="connsiteX76" fmla="*/ 1615154 w 3194685"/>
                  <a:gd name="connsiteY76" fmla="*/ 250602 h 311181"/>
                  <a:gd name="connsiteX77" fmla="*/ 1632013 w 3194685"/>
                  <a:gd name="connsiteY77" fmla="*/ 250602 h 311181"/>
                  <a:gd name="connsiteX78" fmla="*/ 1632013 w 3194685"/>
                  <a:gd name="connsiteY78" fmla="*/ 256984 h 311181"/>
                  <a:gd name="connsiteX79" fmla="*/ 1749837 w 3194685"/>
                  <a:gd name="connsiteY79" fmla="*/ 256984 h 311181"/>
                  <a:gd name="connsiteX80" fmla="*/ 1749837 w 3194685"/>
                  <a:gd name="connsiteY80" fmla="*/ 263461 h 311181"/>
                  <a:gd name="connsiteX81" fmla="*/ 1842325 w 3194685"/>
                  <a:gd name="connsiteY81" fmla="*/ 263461 h 311181"/>
                  <a:gd name="connsiteX82" fmla="*/ 1842325 w 3194685"/>
                  <a:gd name="connsiteY82" fmla="*/ 269843 h 311181"/>
                  <a:gd name="connsiteX83" fmla="*/ 1861280 w 3194685"/>
                  <a:gd name="connsiteY83" fmla="*/ 269843 h 311181"/>
                  <a:gd name="connsiteX84" fmla="*/ 1861280 w 3194685"/>
                  <a:gd name="connsiteY84" fmla="*/ 276320 h 311181"/>
                  <a:gd name="connsiteX85" fmla="*/ 2715101 w 3194685"/>
                  <a:gd name="connsiteY85" fmla="*/ 276320 h 311181"/>
                  <a:gd name="connsiteX86" fmla="*/ 2715101 w 3194685"/>
                  <a:gd name="connsiteY86" fmla="*/ 311181 h 311181"/>
                  <a:gd name="connsiteX87" fmla="*/ 3194685 w 3194685"/>
                  <a:gd name="connsiteY87" fmla="*/ 311181 h 311181"/>
                  <a:gd name="connsiteX0" fmla="*/ 0 w 3194685"/>
                  <a:gd name="connsiteY0" fmla="*/ 0 h 305085"/>
                  <a:gd name="connsiteX1" fmla="*/ 2095 w 3194685"/>
                  <a:gd name="connsiteY1" fmla="*/ 6096 h 305085"/>
                  <a:gd name="connsiteX2" fmla="*/ 12572 w 3194685"/>
                  <a:gd name="connsiteY2" fmla="*/ 6096 h 305085"/>
                  <a:gd name="connsiteX3" fmla="*/ 12572 w 3194685"/>
                  <a:gd name="connsiteY3" fmla="*/ 12096 h 305085"/>
                  <a:gd name="connsiteX4" fmla="*/ 18859 w 3194685"/>
                  <a:gd name="connsiteY4" fmla="*/ 12096 h 305085"/>
                  <a:gd name="connsiteX5" fmla="*/ 18859 w 3194685"/>
                  <a:gd name="connsiteY5" fmla="*/ 24288 h 305085"/>
                  <a:gd name="connsiteX6" fmla="*/ 27336 w 3194685"/>
                  <a:gd name="connsiteY6" fmla="*/ 24288 h 305085"/>
                  <a:gd name="connsiteX7" fmla="*/ 27336 w 3194685"/>
                  <a:gd name="connsiteY7" fmla="*/ 30289 h 305085"/>
                  <a:gd name="connsiteX8" fmla="*/ 33623 w 3194685"/>
                  <a:gd name="connsiteY8" fmla="*/ 30289 h 305085"/>
                  <a:gd name="connsiteX9" fmla="*/ 33623 w 3194685"/>
                  <a:gd name="connsiteY9" fmla="*/ 42481 h 305085"/>
                  <a:gd name="connsiteX10" fmla="*/ 35718 w 3194685"/>
                  <a:gd name="connsiteY10" fmla="*/ 42481 h 305085"/>
                  <a:gd name="connsiteX11" fmla="*/ 35718 w 3194685"/>
                  <a:gd name="connsiteY11" fmla="*/ 48577 h 305085"/>
                  <a:gd name="connsiteX12" fmla="*/ 48291 w 3194685"/>
                  <a:gd name="connsiteY12" fmla="*/ 48577 h 305085"/>
                  <a:gd name="connsiteX13" fmla="*/ 48291 w 3194685"/>
                  <a:gd name="connsiteY13" fmla="*/ 54578 h 305085"/>
                  <a:gd name="connsiteX14" fmla="*/ 71437 w 3194685"/>
                  <a:gd name="connsiteY14" fmla="*/ 54578 h 305085"/>
                  <a:gd name="connsiteX15" fmla="*/ 71437 w 3194685"/>
                  <a:gd name="connsiteY15" fmla="*/ 60674 h 305085"/>
                  <a:gd name="connsiteX16" fmla="*/ 77819 w 3194685"/>
                  <a:gd name="connsiteY16" fmla="*/ 60674 h 305085"/>
                  <a:gd name="connsiteX17" fmla="*/ 77819 w 3194685"/>
                  <a:gd name="connsiteY17" fmla="*/ 66770 h 305085"/>
                  <a:gd name="connsiteX18" fmla="*/ 86201 w 3194685"/>
                  <a:gd name="connsiteY18" fmla="*/ 66770 h 305085"/>
                  <a:gd name="connsiteX19" fmla="*/ 86201 w 3194685"/>
                  <a:gd name="connsiteY19" fmla="*/ 72771 h 305085"/>
                  <a:gd name="connsiteX20" fmla="*/ 94583 w 3194685"/>
                  <a:gd name="connsiteY20" fmla="*/ 72771 h 305085"/>
                  <a:gd name="connsiteX21" fmla="*/ 94583 w 3194685"/>
                  <a:gd name="connsiteY21" fmla="*/ 78867 h 305085"/>
                  <a:gd name="connsiteX22" fmla="*/ 98774 w 3194685"/>
                  <a:gd name="connsiteY22" fmla="*/ 78867 h 305085"/>
                  <a:gd name="connsiteX23" fmla="*/ 98774 w 3194685"/>
                  <a:gd name="connsiteY23" fmla="*/ 84963 h 305085"/>
                  <a:gd name="connsiteX24" fmla="*/ 172402 w 3194685"/>
                  <a:gd name="connsiteY24" fmla="*/ 84963 h 305085"/>
                  <a:gd name="connsiteX25" fmla="*/ 172402 w 3194685"/>
                  <a:gd name="connsiteY25" fmla="*/ 90963 h 305085"/>
                  <a:gd name="connsiteX26" fmla="*/ 193452 w 3194685"/>
                  <a:gd name="connsiteY26" fmla="*/ 90963 h 305085"/>
                  <a:gd name="connsiteX27" fmla="*/ 193452 w 3194685"/>
                  <a:gd name="connsiteY27" fmla="*/ 97059 h 305085"/>
                  <a:gd name="connsiteX28" fmla="*/ 199739 w 3194685"/>
                  <a:gd name="connsiteY28" fmla="*/ 97059 h 305085"/>
                  <a:gd name="connsiteX29" fmla="*/ 199739 w 3194685"/>
                  <a:gd name="connsiteY29" fmla="*/ 103155 h 305085"/>
                  <a:gd name="connsiteX30" fmla="*/ 241839 w 3194685"/>
                  <a:gd name="connsiteY30" fmla="*/ 103155 h 305085"/>
                  <a:gd name="connsiteX31" fmla="*/ 241839 w 3194685"/>
                  <a:gd name="connsiteY31" fmla="*/ 109156 h 305085"/>
                  <a:gd name="connsiteX32" fmla="*/ 256508 w 3194685"/>
                  <a:gd name="connsiteY32" fmla="*/ 109156 h 305085"/>
                  <a:gd name="connsiteX33" fmla="*/ 256508 w 3194685"/>
                  <a:gd name="connsiteY33" fmla="*/ 115252 h 305085"/>
                  <a:gd name="connsiteX34" fmla="*/ 286035 w 3194685"/>
                  <a:gd name="connsiteY34" fmla="*/ 115252 h 305085"/>
                  <a:gd name="connsiteX35" fmla="*/ 286035 w 3194685"/>
                  <a:gd name="connsiteY35" fmla="*/ 121348 h 305085"/>
                  <a:gd name="connsiteX36" fmla="*/ 288131 w 3194685"/>
                  <a:gd name="connsiteY36" fmla="*/ 121348 h 305085"/>
                  <a:gd name="connsiteX37" fmla="*/ 288131 w 3194685"/>
                  <a:gd name="connsiteY37" fmla="*/ 127349 h 305085"/>
                  <a:gd name="connsiteX38" fmla="*/ 311181 w 3194685"/>
                  <a:gd name="connsiteY38" fmla="*/ 127349 h 305085"/>
                  <a:gd name="connsiteX39" fmla="*/ 311181 w 3194685"/>
                  <a:gd name="connsiteY39" fmla="*/ 133445 h 305085"/>
                  <a:gd name="connsiteX40" fmla="*/ 323850 w 3194685"/>
                  <a:gd name="connsiteY40" fmla="*/ 133445 h 305085"/>
                  <a:gd name="connsiteX41" fmla="*/ 323850 w 3194685"/>
                  <a:gd name="connsiteY41" fmla="*/ 139541 h 305085"/>
                  <a:gd name="connsiteX42" fmla="*/ 359568 w 3194685"/>
                  <a:gd name="connsiteY42" fmla="*/ 139541 h 305085"/>
                  <a:gd name="connsiteX43" fmla="*/ 359568 w 3194685"/>
                  <a:gd name="connsiteY43" fmla="*/ 145637 h 305085"/>
                  <a:gd name="connsiteX44" fmla="*/ 475297 w 3194685"/>
                  <a:gd name="connsiteY44" fmla="*/ 145637 h 305085"/>
                  <a:gd name="connsiteX45" fmla="*/ 475297 w 3194685"/>
                  <a:gd name="connsiteY45" fmla="*/ 151638 h 305085"/>
                  <a:gd name="connsiteX46" fmla="*/ 513111 w 3194685"/>
                  <a:gd name="connsiteY46" fmla="*/ 151638 h 305085"/>
                  <a:gd name="connsiteX47" fmla="*/ 513111 w 3194685"/>
                  <a:gd name="connsiteY47" fmla="*/ 157829 h 305085"/>
                  <a:gd name="connsiteX48" fmla="*/ 565689 w 3194685"/>
                  <a:gd name="connsiteY48" fmla="*/ 157829 h 305085"/>
                  <a:gd name="connsiteX49" fmla="*/ 565689 w 3194685"/>
                  <a:gd name="connsiteY49" fmla="*/ 163925 h 305085"/>
                  <a:gd name="connsiteX50" fmla="*/ 584644 w 3194685"/>
                  <a:gd name="connsiteY50" fmla="*/ 163925 h 305085"/>
                  <a:gd name="connsiteX51" fmla="*/ 584644 w 3194685"/>
                  <a:gd name="connsiteY51" fmla="*/ 170021 h 305085"/>
                  <a:gd name="connsiteX52" fmla="*/ 595122 w 3194685"/>
                  <a:gd name="connsiteY52" fmla="*/ 170021 h 305085"/>
                  <a:gd name="connsiteX53" fmla="*/ 595122 w 3194685"/>
                  <a:gd name="connsiteY53" fmla="*/ 176212 h 305085"/>
                  <a:gd name="connsiteX54" fmla="*/ 628840 w 3194685"/>
                  <a:gd name="connsiteY54" fmla="*/ 176212 h 305085"/>
                  <a:gd name="connsiteX55" fmla="*/ 628840 w 3194685"/>
                  <a:gd name="connsiteY55" fmla="*/ 182308 h 305085"/>
                  <a:gd name="connsiteX56" fmla="*/ 635127 w 3194685"/>
                  <a:gd name="connsiteY56" fmla="*/ 182308 h 305085"/>
                  <a:gd name="connsiteX57" fmla="*/ 635127 w 3194685"/>
                  <a:gd name="connsiteY57" fmla="*/ 188404 h 305085"/>
                  <a:gd name="connsiteX58" fmla="*/ 649795 w 3194685"/>
                  <a:gd name="connsiteY58" fmla="*/ 188404 h 305085"/>
                  <a:gd name="connsiteX59" fmla="*/ 649795 w 3194685"/>
                  <a:gd name="connsiteY59" fmla="*/ 194500 h 305085"/>
                  <a:gd name="connsiteX60" fmla="*/ 662463 w 3194685"/>
                  <a:gd name="connsiteY60" fmla="*/ 194500 h 305085"/>
                  <a:gd name="connsiteX61" fmla="*/ 662463 w 3194685"/>
                  <a:gd name="connsiteY61" fmla="*/ 200691 h 305085"/>
                  <a:gd name="connsiteX62" fmla="*/ 687705 w 3194685"/>
                  <a:gd name="connsiteY62" fmla="*/ 200691 h 305085"/>
                  <a:gd name="connsiteX63" fmla="*/ 687705 w 3194685"/>
                  <a:gd name="connsiteY63" fmla="*/ 206787 h 305085"/>
                  <a:gd name="connsiteX64" fmla="*/ 916971 w 3194685"/>
                  <a:gd name="connsiteY64" fmla="*/ 206787 h 305085"/>
                  <a:gd name="connsiteX65" fmla="*/ 916971 w 3194685"/>
                  <a:gd name="connsiteY65" fmla="*/ 212979 h 305085"/>
                  <a:gd name="connsiteX66" fmla="*/ 1030509 w 3194685"/>
                  <a:gd name="connsiteY66" fmla="*/ 212979 h 305085"/>
                  <a:gd name="connsiteX67" fmla="*/ 1030509 w 3194685"/>
                  <a:gd name="connsiteY67" fmla="*/ 219170 h 305085"/>
                  <a:gd name="connsiteX68" fmla="*/ 1299686 w 3194685"/>
                  <a:gd name="connsiteY68" fmla="*/ 219170 h 305085"/>
                  <a:gd name="connsiteX69" fmla="*/ 1299686 w 3194685"/>
                  <a:gd name="connsiteY69" fmla="*/ 225456 h 305085"/>
                  <a:gd name="connsiteX70" fmla="*/ 1373314 w 3194685"/>
                  <a:gd name="connsiteY70" fmla="*/ 225456 h 305085"/>
                  <a:gd name="connsiteX71" fmla="*/ 1373314 w 3194685"/>
                  <a:gd name="connsiteY71" fmla="*/ 231743 h 305085"/>
                  <a:gd name="connsiteX72" fmla="*/ 1453229 w 3194685"/>
                  <a:gd name="connsiteY72" fmla="*/ 231743 h 305085"/>
                  <a:gd name="connsiteX73" fmla="*/ 1453229 w 3194685"/>
                  <a:gd name="connsiteY73" fmla="*/ 238029 h 305085"/>
                  <a:gd name="connsiteX74" fmla="*/ 1615154 w 3194685"/>
                  <a:gd name="connsiteY74" fmla="*/ 238029 h 305085"/>
                  <a:gd name="connsiteX75" fmla="*/ 1615154 w 3194685"/>
                  <a:gd name="connsiteY75" fmla="*/ 244506 h 305085"/>
                  <a:gd name="connsiteX76" fmla="*/ 1632013 w 3194685"/>
                  <a:gd name="connsiteY76" fmla="*/ 244506 h 305085"/>
                  <a:gd name="connsiteX77" fmla="*/ 1632013 w 3194685"/>
                  <a:gd name="connsiteY77" fmla="*/ 250888 h 305085"/>
                  <a:gd name="connsiteX78" fmla="*/ 1749837 w 3194685"/>
                  <a:gd name="connsiteY78" fmla="*/ 250888 h 305085"/>
                  <a:gd name="connsiteX79" fmla="*/ 1749837 w 3194685"/>
                  <a:gd name="connsiteY79" fmla="*/ 257365 h 305085"/>
                  <a:gd name="connsiteX80" fmla="*/ 1842325 w 3194685"/>
                  <a:gd name="connsiteY80" fmla="*/ 257365 h 305085"/>
                  <a:gd name="connsiteX81" fmla="*/ 1842325 w 3194685"/>
                  <a:gd name="connsiteY81" fmla="*/ 263747 h 305085"/>
                  <a:gd name="connsiteX82" fmla="*/ 1861280 w 3194685"/>
                  <a:gd name="connsiteY82" fmla="*/ 263747 h 305085"/>
                  <a:gd name="connsiteX83" fmla="*/ 1861280 w 3194685"/>
                  <a:gd name="connsiteY83" fmla="*/ 270224 h 305085"/>
                  <a:gd name="connsiteX84" fmla="*/ 2715101 w 3194685"/>
                  <a:gd name="connsiteY84" fmla="*/ 270224 h 305085"/>
                  <a:gd name="connsiteX85" fmla="*/ 2715101 w 3194685"/>
                  <a:gd name="connsiteY85" fmla="*/ 305085 h 305085"/>
                  <a:gd name="connsiteX86" fmla="*/ 3194685 w 3194685"/>
                  <a:gd name="connsiteY86" fmla="*/ 305085 h 305085"/>
                  <a:gd name="connsiteX0" fmla="*/ 0 w 3194685"/>
                  <a:gd name="connsiteY0" fmla="*/ 0 h 305085"/>
                  <a:gd name="connsiteX1" fmla="*/ 12572 w 3194685"/>
                  <a:gd name="connsiteY1" fmla="*/ 6096 h 305085"/>
                  <a:gd name="connsiteX2" fmla="*/ 12572 w 3194685"/>
                  <a:gd name="connsiteY2" fmla="*/ 12096 h 305085"/>
                  <a:gd name="connsiteX3" fmla="*/ 18859 w 3194685"/>
                  <a:gd name="connsiteY3" fmla="*/ 12096 h 305085"/>
                  <a:gd name="connsiteX4" fmla="*/ 18859 w 3194685"/>
                  <a:gd name="connsiteY4" fmla="*/ 24288 h 305085"/>
                  <a:gd name="connsiteX5" fmla="*/ 27336 w 3194685"/>
                  <a:gd name="connsiteY5" fmla="*/ 24288 h 305085"/>
                  <a:gd name="connsiteX6" fmla="*/ 27336 w 3194685"/>
                  <a:gd name="connsiteY6" fmla="*/ 30289 h 305085"/>
                  <a:gd name="connsiteX7" fmla="*/ 33623 w 3194685"/>
                  <a:gd name="connsiteY7" fmla="*/ 30289 h 305085"/>
                  <a:gd name="connsiteX8" fmla="*/ 33623 w 3194685"/>
                  <a:gd name="connsiteY8" fmla="*/ 42481 h 305085"/>
                  <a:gd name="connsiteX9" fmla="*/ 35718 w 3194685"/>
                  <a:gd name="connsiteY9" fmla="*/ 42481 h 305085"/>
                  <a:gd name="connsiteX10" fmla="*/ 35718 w 3194685"/>
                  <a:gd name="connsiteY10" fmla="*/ 48577 h 305085"/>
                  <a:gd name="connsiteX11" fmla="*/ 48291 w 3194685"/>
                  <a:gd name="connsiteY11" fmla="*/ 48577 h 305085"/>
                  <a:gd name="connsiteX12" fmla="*/ 48291 w 3194685"/>
                  <a:gd name="connsiteY12" fmla="*/ 54578 h 305085"/>
                  <a:gd name="connsiteX13" fmla="*/ 71437 w 3194685"/>
                  <a:gd name="connsiteY13" fmla="*/ 54578 h 305085"/>
                  <a:gd name="connsiteX14" fmla="*/ 71437 w 3194685"/>
                  <a:gd name="connsiteY14" fmla="*/ 60674 h 305085"/>
                  <a:gd name="connsiteX15" fmla="*/ 77819 w 3194685"/>
                  <a:gd name="connsiteY15" fmla="*/ 60674 h 305085"/>
                  <a:gd name="connsiteX16" fmla="*/ 77819 w 3194685"/>
                  <a:gd name="connsiteY16" fmla="*/ 66770 h 305085"/>
                  <a:gd name="connsiteX17" fmla="*/ 86201 w 3194685"/>
                  <a:gd name="connsiteY17" fmla="*/ 66770 h 305085"/>
                  <a:gd name="connsiteX18" fmla="*/ 86201 w 3194685"/>
                  <a:gd name="connsiteY18" fmla="*/ 72771 h 305085"/>
                  <a:gd name="connsiteX19" fmla="*/ 94583 w 3194685"/>
                  <a:gd name="connsiteY19" fmla="*/ 72771 h 305085"/>
                  <a:gd name="connsiteX20" fmla="*/ 94583 w 3194685"/>
                  <a:gd name="connsiteY20" fmla="*/ 78867 h 305085"/>
                  <a:gd name="connsiteX21" fmla="*/ 98774 w 3194685"/>
                  <a:gd name="connsiteY21" fmla="*/ 78867 h 305085"/>
                  <a:gd name="connsiteX22" fmla="*/ 98774 w 3194685"/>
                  <a:gd name="connsiteY22" fmla="*/ 84963 h 305085"/>
                  <a:gd name="connsiteX23" fmla="*/ 172402 w 3194685"/>
                  <a:gd name="connsiteY23" fmla="*/ 84963 h 305085"/>
                  <a:gd name="connsiteX24" fmla="*/ 172402 w 3194685"/>
                  <a:gd name="connsiteY24" fmla="*/ 90963 h 305085"/>
                  <a:gd name="connsiteX25" fmla="*/ 193452 w 3194685"/>
                  <a:gd name="connsiteY25" fmla="*/ 90963 h 305085"/>
                  <a:gd name="connsiteX26" fmla="*/ 193452 w 3194685"/>
                  <a:gd name="connsiteY26" fmla="*/ 97059 h 305085"/>
                  <a:gd name="connsiteX27" fmla="*/ 199739 w 3194685"/>
                  <a:gd name="connsiteY27" fmla="*/ 97059 h 305085"/>
                  <a:gd name="connsiteX28" fmla="*/ 199739 w 3194685"/>
                  <a:gd name="connsiteY28" fmla="*/ 103155 h 305085"/>
                  <a:gd name="connsiteX29" fmla="*/ 241839 w 3194685"/>
                  <a:gd name="connsiteY29" fmla="*/ 103155 h 305085"/>
                  <a:gd name="connsiteX30" fmla="*/ 241839 w 3194685"/>
                  <a:gd name="connsiteY30" fmla="*/ 109156 h 305085"/>
                  <a:gd name="connsiteX31" fmla="*/ 256508 w 3194685"/>
                  <a:gd name="connsiteY31" fmla="*/ 109156 h 305085"/>
                  <a:gd name="connsiteX32" fmla="*/ 256508 w 3194685"/>
                  <a:gd name="connsiteY32" fmla="*/ 115252 h 305085"/>
                  <a:gd name="connsiteX33" fmla="*/ 286035 w 3194685"/>
                  <a:gd name="connsiteY33" fmla="*/ 115252 h 305085"/>
                  <a:gd name="connsiteX34" fmla="*/ 286035 w 3194685"/>
                  <a:gd name="connsiteY34" fmla="*/ 121348 h 305085"/>
                  <a:gd name="connsiteX35" fmla="*/ 288131 w 3194685"/>
                  <a:gd name="connsiteY35" fmla="*/ 121348 h 305085"/>
                  <a:gd name="connsiteX36" fmla="*/ 288131 w 3194685"/>
                  <a:gd name="connsiteY36" fmla="*/ 127349 h 305085"/>
                  <a:gd name="connsiteX37" fmla="*/ 311181 w 3194685"/>
                  <a:gd name="connsiteY37" fmla="*/ 127349 h 305085"/>
                  <a:gd name="connsiteX38" fmla="*/ 311181 w 3194685"/>
                  <a:gd name="connsiteY38" fmla="*/ 133445 h 305085"/>
                  <a:gd name="connsiteX39" fmla="*/ 323850 w 3194685"/>
                  <a:gd name="connsiteY39" fmla="*/ 133445 h 305085"/>
                  <a:gd name="connsiteX40" fmla="*/ 323850 w 3194685"/>
                  <a:gd name="connsiteY40" fmla="*/ 139541 h 305085"/>
                  <a:gd name="connsiteX41" fmla="*/ 359568 w 3194685"/>
                  <a:gd name="connsiteY41" fmla="*/ 139541 h 305085"/>
                  <a:gd name="connsiteX42" fmla="*/ 359568 w 3194685"/>
                  <a:gd name="connsiteY42" fmla="*/ 145637 h 305085"/>
                  <a:gd name="connsiteX43" fmla="*/ 475297 w 3194685"/>
                  <a:gd name="connsiteY43" fmla="*/ 145637 h 305085"/>
                  <a:gd name="connsiteX44" fmla="*/ 475297 w 3194685"/>
                  <a:gd name="connsiteY44" fmla="*/ 151638 h 305085"/>
                  <a:gd name="connsiteX45" fmla="*/ 513111 w 3194685"/>
                  <a:gd name="connsiteY45" fmla="*/ 151638 h 305085"/>
                  <a:gd name="connsiteX46" fmla="*/ 513111 w 3194685"/>
                  <a:gd name="connsiteY46" fmla="*/ 157829 h 305085"/>
                  <a:gd name="connsiteX47" fmla="*/ 565689 w 3194685"/>
                  <a:gd name="connsiteY47" fmla="*/ 157829 h 305085"/>
                  <a:gd name="connsiteX48" fmla="*/ 565689 w 3194685"/>
                  <a:gd name="connsiteY48" fmla="*/ 163925 h 305085"/>
                  <a:gd name="connsiteX49" fmla="*/ 584644 w 3194685"/>
                  <a:gd name="connsiteY49" fmla="*/ 163925 h 305085"/>
                  <a:gd name="connsiteX50" fmla="*/ 584644 w 3194685"/>
                  <a:gd name="connsiteY50" fmla="*/ 170021 h 305085"/>
                  <a:gd name="connsiteX51" fmla="*/ 595122 w 3194685"/>
                  <a:gd name="connsiteY51" fmla="*/ 170021 h 305085"/>
                  <a:gd name="connsiteX52" fmla="*/ 595122 w 3194685"/>
                  <a:gd name="connsiteY52" fmla="*/ 176212 h 305085"/>
                  <a:gd name="connsiteX53" fmla="*/ 628840 w 3194685"/>
                  <a:gd name="connsiteY53" fmla="*/ 176212 h 305085"/>
                  <a:gd name="connsiteX54" fmla="*/ 628840 w 3194685"/>
                  <a:gd name="connsiteY54" fmla="*/ 182308 h 305085"/>
                  <a:gd name="connsiteX55" fmla="*/ 635127 w 3194685"/>
                  <a:gd name="connsiteY55" fmla="*/ 182308 h 305085"/>
                  <a:gd name="connsiteX56" fmla="*/ 635127 w 3194685"/>
                  <a:gd name="connsiteY56" fmla="*/ 188404 h 305085"/>
                  <a:gd name="connsiteX57" fmla="*/ 649795 w 3194685"/>
                  <a:gd name="connsiteY57" fmla="*/ 188404 h 305085"/>
                  <a:gd name="connsiteX58" fmla="*/ 649795 w 3194685"/>
                  <a:gd name="connsiteY58" fmla="*/ 194500 h 305085"/>
                  <a:gd name="connsiteX59" fmla="*/ 662463 w 3194685"/>
                  <a:gd name="connsiteY59" fmla="*/ 194500 h 305085"/>
                  <a:gd name="connsiteX60" fmla="*/ 662463 w 3194685"/>
                  <a:gd name="connsiteY60" fmla="*/ 200691 h 305085"/>
                  <a:gd name="connsiteX61" fmla="*/ 687705 w 3194685"/>
                  <a:gd name="connsiteY61" fmla="*/ 200691 h 305085"/>
                  <a:gd name="connsiteX62" fmla="*/ 687705 w 3194685"/>
                  <a:gd name="connsiteY62" fmla="*/ 206787 h 305085"/>
                  <a:gd name="connsiteX63" fmla="*/ 916971 w 3194685"/>
                  <a:gd name="connsiteY63" fmla="*/ 206787 h 305085"/>
                  <a:gd name="connsiteX64" fmla="*/ 916971 w 3194685"/>
                  <a:gd name="connsiteY64" fmla="*/ 212979 h 305085"/>
                  <a:gd name="connsiteX65" fmla="*/ 1030509 w 3194685"/>
                  <a:gd name="connsiteY65" fmla="*/ 212979 h 305085"/>
                  <a:gd name="connsiteX66" fmla="*/ 1030509 w 3194685"/>
                  <a:gd name="connsiteY66" fmla="*/ 219170 h 305085"/>
                  <a:gd name="connsiteX67" fmla="*/ 1299686 w 3194685"/>
                  <a:gd name="connsiteY67" fmla="*/ 219170 h 305085"/>
                  <a:gd name="connsiteX68" fmla="*/ 1299686 w 3194685"/>
                  <a:gd name="connsiteY68" fmla="*/ 225456 h 305085"/>
                  <a:gd name="connsiteX69" fmla="*/ 1373314 w 3194685"/>
                  <a:gd name="connsiteY69" fmla="*/ 225456 h 305085"/>
                  <a:gd name="connsiteX70" fmla="*/ 1373314 w 3194685"/>
                  <a:gd name="connsiteY70" fmla="*/ 231743 h 305085"/>
                  <a:gd name="connsiteX71" fmla="*/ 1453229 w 3194685"/>
                  <a:gd name="connsiteY71" fmla="*/ 231743 h 305085"/>
                  <a:gd name="connsiteX72" fmla="*/ 1453229 w 3194685"/>
                  <a:gd name="connsiteY72" fmla="*/ 238029 h 305085"/>
                  <a:gd name="connsiteX73" fmla="*/ 1615154 w 3194685"/>
                  <a:gd name="connsiteY73" fmla="*/ 238029 h 305085"/>
                  <a:gd name="connsiteX74" fmla="*/ 1615154 w 3194685"/>
                  <a:gd name="connsiteY74" fmla="*/ 244506 h 305085"/>
                  <a:gd name="connsiteX75" fmla="*/ 1632013 w 3194685"/>
                  <a:gd name="connsiteY75" fmla="*/ 244506 h 305085"/>
                  <a:gd name="connsiteX76" fmla="*/ 1632013 w 3194685"/>
                  <a:gd name="connsiteY76" fmla="*/ 250888 h 305085"/>
                  <a:gd name="connsiteX77" fmla="*/ 1749837 w 3194685"/>
                  <a:gd name="connsiteY77" fmla="*/ 250888 h 305085"/>
                  <a:gd name="connsiteX78" fmla="*/ 1749837 w 3194685"/>
                  <a:gd name="connsiteY78" fmla="*/ 257365 h 305085"/>
                  <a:gd name="connsiteX79" fmla="*/ 1842325 w 3194685"/>
                  <a:gd name="connsiteY79" fmla="*/ 257365 h 305085"/>
                  <a:gd name="connsiteX80" fmla="*/ 1842325 w 3194685"/>
                  <a:gd name="connsiteY80" fmla="*/ 263747 h 305085"/>
                  <a:gd name="connsiteX81" fmla="*/ 1861280 w 3194685"/>
                  <a:gd name="connsiteY81" fmla="*/ 263747 h 305085"/>
                  <a:gd name="connsiteX82" fmla="*/ 1861280 w 3194685"/>
                  <a:gd name="connsiteY82" fmla="*/ 270224 h 305085"/>
                  <a:gd name="connsiteX83" fmla="*/ 2715101 w 3194685"/>
                  <a:gd name="connsiteY83" fmla="*/ 270224 h 305085"/>
                  <a:gd name="connsiteX84" fmla="*/ 2715101 w 3194685"/>
                  <a:gd name="connsiteY84" fmla="*/ 305085 h 305085"/>
                  <a:gd name="connsiteX85" fmla="*/ 3194685 w 3194685"/>
                  <a:gd name="connsiteY85" fmla="*/ 305085 h 305085"/>
                  <a:gd name="connsiteX0" fmla="*/ 0 w 3182113"/>
                  <a:gd name="connsiteY0" fmla="*/ 0 h 298989"/>
                  <a:gd name="connsiteX1" fmla="*/ 0 w 3182113"/>
                  <a:gd name="connsiteY1" fmla="*/ 6000 h 298989"/>
                  <a:gd name="connsiteX2" fmla="*/ 6287 w 3182113"/>
                  <a:gd name="connsiteY2" fmla="*/ 6000 h 298989"/>
                  <a:gd name="connsiteX3" fmla="*/ 6287 w 3182113"/>
                  <a:gd name="connsiteY3" fmla="*/ 18192 h 298989"/>
                  <a:gd name="connsiteX4" fmla="*/ 14764 w 3182113"/>
                  <a:gd name="connsiteY4" fmla="*/ 18192 h 298989"/>
                  <a:gd name="connsiteX5" fmla="*/ 14764 w 3182113"/>
                  <a:gd name="connsiteY5" fmla="*/ 24193 h 298989"/>
                  <a:gd name="connsiteX6" fmla="*/ 21051 w 3182113"/>
                  <a:gd name="connsiteY6" fmla="*/ 24193 h 298989"/>
                  <a:gd name="connsiteX7" fmla="*/ 21051 w 3182113"/>
                  <a:gd name="connsiteY7" fmla="*/ 36385 h 298989"/>
                  <a:gd name="connsiteX8" fmla="*/ 23146 w 3182113"/>
                  <a:gd name="connsiteY8" fmla="*/ 36385 h 298989"/>
                  <a:gd name="connsiteX9" fmla="*/ 23146 w 3182113"/>
                  <a:gd name="connsiteY9" fmla="*/ 42481 h 298989"/>
                  <a:gd name="connsiteX10" fmla="*/ 35719 w 3182113"/>
                  <a:gd name="connsiteY10" fmla="*/ 42481 h 298989"/>
                  <a:gd name="connsiteX11" fmla="*/ 35719 w 3182113"/>
                  <a:gd name="connsiteY11" fmla="*/ 48482 h 298989"/>
                  <a:gd name="connsiteX12" fmla="*/ 58865 w 3182113"/>
                  <a:gd name="connsiteY12" fmla="*/ 48482 h 298989"/>
                  <a:gd name="connsiteX13" fmla="*/ 58865 w 3182113"/>
                  <a:gd name="connsiteY13" fmla="*/ 54578 h 298989"/>
                  <a:gd name="connsiteX14" fmla="*/ 65247 w 3182113"/>
                  <a:gd name="connsiteY14" fmla="*/ 54578 h 298989"/>
                  <a:gd name="connsiteX15" fmla="*/ 65247 w 3182113"/>
                  <a:gd name="connsiteY15" fmla="*/ 60674 h 298989"/>
                  <a:gd name="connsiteX16" fmla="*/ 73629 w 3182113"/>
                  <a:gd name="connsiteY16" fmla="*/ 60674 h 298989"/>
                  <a:gd name="connsiteX17" fmla="*/ 73629 w 3182113"/>
                  <a:gd name="connsiteY17" fmla="*/ 66675 h 298989"/>
                  <a:gd name="connsiteX18" fmla="*/ 82011 w 3182113"/>
                  <a:gd name="connsiteY18" fmla="*/ 66675 h 298989"/>
                  <a:gd name="connsiteX19" fmla="*/ 82011 w 3182113"/>
                  <a:gd name="connsiteY19" fmla="*/ 72771 h 298989"/>
                  <a:gd name="connsiteX20" fmla="*/ 86202 w 3182113"/>
                  <a:gd name="connsiteY20" fmla="*/ 72771 h 298989"/>
                  <a:gd name="connsiteX21" fmla="*/ 86202 w 3182113"/>
                  <a:gd name="connsiteY21" fmla="*/ 78867 h 298989"/>
                  <a:gd name="connsiteX22" fmla="*/ 159830 w 3182113"/>
                  <a:gd name="connsiteY22" fmla="*/ 78867 h 298989"/>
                  <a:gd name="connsiteX23" fmla="*/ 159830 w 3182113"/>
                  <a:gd name="connsiteY23" fmla="*/ 84867 h 298989"/>
                  <a:gd name="connsiteX24" fmla="*/ 180880 w 3182113"/>
                  <a:gd name="connsiteY24" fmla="*/ 84867 h 298989"/>
                  <a:gd name="connsiteX25" fmla="*/ 180880 w 3182113"/>
                  <a:gd name="connsiteY25" fmla="*/ 90963 h 298989"/>
                  <a:gd name="connsiteX26" fmla="*/ 187167 w 3182113"/>
                  <a:gd name="connsiteY26" fmla="*/ 90963 h 298989"/>
                  <a:gd name="connsiteX27" fmla="*/ 187167 w 3182113"/>
                  <a:gd name="connsiteY27" fmla="*/ 97059 h 298989"/>
                  <a:gd name="connsiteX28" fmla="*/ 229267 w 3182113"/>
                  <a:gd name="connsiteY28" fmla="*/ 97059 h 298989"/>
                  <a:gd name="connsiteX29" fmla="*/ 229267 w 3182113"/>
                  <a:gd name="connsiteY29" fmla="*/ 103060 h 298989"/>
                  <a:gd name="connsiteX30" fmla="*/ 243936 w 3182113"/>
                  <a:gd name="connsiteY30" fmla="*/ 103060 h 298989"/>
                  <a:gd name="connsiteX31" fmla="*/ 243936 w 3182113"/>
                  <a:gd name="connsiteY31" fmla="*/ 109156 h 298989"/>
                  <a:gd name="connsiteX32" fmla="*/ 273463 w 3182113"/>
                  <a:gd name="connsiteY32" fmla="*/ 109156 h 298989"/>
                  <a:gd name="connsiteX33" fmla="*/ 273463 w 3182113"/>
                  <a:gd name="connsiteY33" fmla="*/ 115252 h 298989"/>
                  <a:gd name="connsiteX34" fmla="*/ 275559 w 3182113"/>
                  <a:gd name="connsiteY34" fmla="*/ 115252 h 298989"/>
                  <a:gd name="connsiteX35" fmla="*/ 275559 w 3182113"/>
                  <a:gd name="connsiteY35" fmla="*/ 121253 h 298989"/>
                  <a:gd name="connsiteX36" fmla="*/ 298609 w 3182113"/>
                  <a:gd name="connsiteY36" fmla="*/ 121253 h 298989"/>
                  <a:gd name="connsiteX37" fmla="*/ 298609 w 3182113"/>
                  <a:gd name="connsiteY37" fmla="*/ 127349 h 298989"/>
                  <a:gd name="connsiteX38" fmla="*/ 311278 w 3182113"/>
                  <a:gd name="connsiteY38" fmla="*/ 127349 h 298989"/>
                  <a:gd name="connsiteX39" fmla="*/ 311278 w 3182113"/>
                  <a:gd name="connsiteY39" fmla="*/ 133445 h 298989"/>
                  <a:gd name="connsiteX40" fmla="*/ 346996 w 3182113"/>
                  <a:gd name="connsiteY40" fmla="*/ 133445 h 298989"/>
                  <a:gd name="connsiteX41" fmla="*/ 346996 w 3182113"/>
                  <a:gd name="connsiteY41" fmla="*/ 139541 h 298989"/>
                  <a:gd name="connsiteX42" fmla="*/ 462725 w 3182113"/>
                  <a:gd name="connsiteY42" fmla="*/ 139541 h 298989"/>
                  <a:gd name="connsiteX43" fmla="*/ 462725 w 3182113"/>
                  <a:gd name="connsiteY43" fmla="*/ 145542 h 298989"/>
                  <a:gd name="connsiteX44" fmla="*/ 500539 w 3182113"/>
                  <a:gd name="connsiteY44" fmla="*/ 145542 h 298989"/>
                  <a:gd name="connsiteX45" fmla="*/ 500539 w 3182113"/>
                  <a:gd name="connsiteY45" fmla="*/ 151733 h 298989"/>
                  <a:gd name="connsiteX46" fmla="*/ 553117 w 3182113"/>
                  <a:gd name="connsiteY46" fmla="*/ 151733 h 298989"/>
                  <a:gd name="connsiteX47" fmla="*/ 553117 w 3182113"/>
                  <a:gd name="connsiteY47" fmla="*/ 157829 h 298989"/>
                  <a:gd name="connsiteX48" fmla="*/ 572072 w 3182113"/>
                  <a:gd name="connsiteY48" fmla="*/ 157829 h 298989"/>
                  <a:gd name="connsiteX49" fmla="*/ 572072 w 3182113"/>
                  <a:gd name="connsiteY49" fmla="*/ 163925 h 298989"/>
                  <a:gd name="connsiteX50" fmla="*/ 582550 w 3182113"/>
                  <a:gd name="connsiteY50" fmla="*/ 163925 h 298989"/>
                  <a:gd name="connsiteX51" fmla="*/ 582550 w 3182113"/>
                  <a:gd name="connsiteY51" fmla="*/ 170116 h 298989"/>
                  <a:gd name="connsiteX52" fmla="*/ 616268 w 3182113"/>
                  <a:gd name="connsiteY52" fmla="*/ 170116 h 298989"/>
                  <a:gd name="connsiteX53" fmla="*/ 616268 w 3182113"/>
                  <a:gd name="connsiteY53" fmla="*/ 176212 h 298989"/>
                  <a:gd name="connsiteX54" fmla="*/ 622555 w 3182113"/>
                  <a:gd name="connsiteY54" fmla="*/ 176212 h 298989"/>
                  <a:gd name="connsiteX55" fmla="*/ 622555 w 3182113"/>
                  <a:gd name="connsiteY55" fmla="*/ 182308 h 298989"/>
                  <a:gd name="connsiteX56" fmla="*/ 637223 w 3182113"/>
                  <a:gd name="connsiteY56" fmla="*/ 182308 h 298989"/>
                  <a:gd name="connsiteX57" fmla="*/ 637223 w 3182113"/>
                  <a:gd name="connsiteY57" fmla="*/ 188404 h 298989"/>
                  <a:gd name="connsiteX58" fmla="*/ 649891 w 3182113"/>
                  <a:gd name="connsiteY58" fmla="*/ 188404 h 298989"/>
                  <a:gd name="connsiteX59" fmla="*/ 649891 w 3182113"/>
                  <a:gd name="connsiteY59" fmla="*/ 194595 h 298989"/>
                  <a:gd name="connsiteX60" fmla="*/ 675133 w 3182113"/>
                  <a:gd name="connsiteY60" fmla="*/ 194595 h 298989"/>
                  <a:gd name="connsiteX61" fmla="*/ 675133 w 3182113"/>
                  <a:gd name="connsiteY61" fmla="*/ 200691 h 298989"/>
                  <a:gd name="connsiteX62" fmla="*/ 904399 w 3182113"/>
                  <a:gd name="connsiteY62" fmla="*/ 200691 h 298989"/>
                  <a:gd name="connsiteX63" fmla="*/ 904399 w 3182113"/>
                  <a:gd name="connsiteY63" fmla="*/ 206883 h 298989"/>
                  <a:gd name="connsiteX64" fmla="*/ 1017937 w 3182113"/>
                  <a:gd name="connsiteY64" fmla="*/ 206883 h 298989"/>
                  <a:gd name="connsiteX65" fmla="*/ 1017937 w 3182113"/>
                  <a:gd name="connsiteY65" fmla="*/ 213074 h 298989"/>
                  <a:gd name="connsiteX66" fmla="*/ 1287114 w 3182113"/>
                  <a:gd name="connsiteY66" fmla="*/ 213074 h 298989"/>
                  <a:gd name="connsiteX67" fmla="*/ 1287114 w 3182113"/>
                  <a:gd name="connsiteY67" fmla="*/ 219360 h 298989"/>
                  <a:gd name="connsiteX68" fmla="*/ 1360742 w 3182113"/>
                  <a:gd name="connsiteY68" fmla="*/ 219360 h 298989"/>
                  <a:gd name="connsiteX69" fmla="*/ 1360742 w 3182113"/>
                  <a:gd name="connsiteY69" fmla="*/ 225647 h 298989"/>
                  <a:gd name="connsiteX70" fmla="*/ 1440657 w 3182113"/>
                  <a:gd name="connsiteY70" fmla="*/ 225647 h 298989"/>
                  <a:gd name="connsiteX71" fmla="*/ 1440657 w 3182113"/>
                  <a:gd name="connsiteY71" fmla="*/ 231933 h 298989"/>
                  <a:gd name="connsiteX72" fmla="*/ 1602582 w 3182113"/>
                  <a:gd name="connsiteY72" fmla="*/ 231933 h 298989"/>
                  <a:gd name="connsiteX73" fmla="*/ 1602582 w 3182113"/>
                  <a:gd name="connsiteY73" fmla="*/ 238410 h 298989"/>
                  <a:gd name="connsiteX74" fmla="*/ 1619441 w 3182113"/>
                  <a:gd name="connsiteY74" fmla="*/ 238410 h 298989"/>
                  <a:gd name="connsiteX75" fmla="*/ 1619441 w 3182113"/>
                  <a:gd name="connsiteY75" fmla="*/ 244792 h 298989"/>
                  <a:gd name="connsiteX76" fmla="*/ 1737265 w 3182113"/>
                  <a:gd name="connsiteY76" fmla="*/ 244792 h 298989"/>
                  <a:gd name="connsiteX77" fmla="*/ 1737265 w 3182113"/>
                  <a:gd name="connsiteY77" fmla="*/ 251269 h 298989"/>
                  <a:gd name="connsiteX78" fmla="*/ 1829753 w 3182113"/>
                  <a:gd name="connsiteY78" fmla="*/ 251269 h 298989"/>
                  <a:gd name="connsiteX79" fmla="*/ 1829753 w 3182113"/>
                  <a:gd name="connsiteY79" fmla="*/ 257651 h 298989"/>
                  <a:gd name="connsiteX80" fmla="*/ 1848708 w 3182113"/>
                  <a:gd name="connsiteY80" fmla="*/ 257651 h 298989"/>
                  <a:gd name="connsiteX81" fmla="*/ 1848708 w 3182113"/>
                  <a:gd name="connsiteY81" fmla="*/ 264128 h 298989"/>
                  <a:gd name="connsiteX82" fmla="*/ 2702529 w 3182113"/>
                  <a:gd name="connsiteY82" fmla="*/ 264128 h 298989"/>
                  <a:gd name="connsiteX83" fmla="*/ 2702529 w 3182113"/>
                  <a:gd name="connsiteY83" fmla="*/ 298989 h 298989"/>
                  <a:gd name="connsiteX84" fmla="*/ 3182113 w 3182113"/>
                  <a:gd name="connsiteY84" fmla="*/ 298989 h 298989"/>
                  <a:gd name="connsiteX0" fmla="*/ 0 w 3182113"/>
                  <a:gd name="connsiteY0" fmla="*/ 0 h 298989"/>
                  <a:gd name="connsiteX1" fmla="*/ 0 w 3182113"/>
                  <a:gd name="connsiteY1" fmla="*/ 6000 h 298989"/>
                  <a:gd name="connsiteX2" fmla="*/ 6287 w 3182113"/>
                  <a:gd name="connsiteY2" fmla="*/ 18192 h 298989"/>
                  <a:gd name="connsiteX3" fmla="*/ 14764 w 3182113"/>
                  <a:gd name="connsiteY3" fmla="*/ 18192 h 298989"/>
                  <a:gd name="connsiteX4" fmla="*/ 14764 w 3182113"/>
                  <a:gd name="connsiteY4" fmla="*/ 24193 h 298989"/>
                  <a:gd name="connsiteX5" fmla="*/ 21051 w 3182113"/>
                  <a:gd name="connsiteY5" fmla="*/ 24193 h 298989"/>
                  <a:gd name="connsiteX6" fmla="*/ 21051 w 3182113"/>
                  <a:gd name="connsiteY6" fmla="*/ 36385 h 298989"/>
                  <a:gd name="connsiteX7" fmla="*/ 23146 w 3182113"/>
                  <a:gd name="connsiteY7" fmla="*/ 36385 h 298989"/>
                  <a:gd name="connsiteX8" fmla="*/ 23146 w 3182113"/>
                  <a:gd name="connsiteY8" fmla="*/ 42481 h 298989"/>
                  <a:gd name="connsiteX9" fmla="*/ 35719 w 3182113"/>
                  <a:gd name="connsiteY9" fmla="*/ 42481 h 298989"/>
                  <a:gd name="connsiteX10" fmla="*/ 35719 w 3182113"/>
                  <a:gd name="connsiteY10" fmla="*/ 48482 h 298989"/>
                  <a:gd name="connsiteX11" fmla="*/ 58865 w 3182113"/>
                  <a:gd name="connsiteY11" fmla="*/ 48482 h 298989"/>
                  <a:gd name="connsiteX12" fmla="*/ 58865 w 3182113"/>
                  <a:gd name="connsiteY12" fmla="*/ 54578 h 298989"/>
                  <a:gd name="connsiteX13" fmla="*/ 65247 w 3182113"/>
                  <a:gd name="connsiteY13" fmla="*/ 54578 h 298989"/>
                  <a:gd name="connsiteX14" fmla="*/ 65247 w 3182113"/>
                  <a:gd name="connsiteY14" fmla="*/ 60674 h 298989"/>
                  <a:gd name="connsiteX15" fmla="*/ 73629 w 3182113"/>
                  <a:gd name="connsiteY15" fmla="*/ 60674 h 298989"/>
                  <a:gd name="connsiteX16" fmla="*/ 73629 w 3182113"/>
                  <a:gd name="connsiteY16" fmla="*/ 66675 h 298989"/>
                  <a:gd name="connsiteX17" fmla="*/ 82011 w 3182113"/>
                  <a:gd name="connsiteY17" fmla="*/ 66675 h 298989"/>
                  <a:gd name="connsiteX18" fmla="*/ 82011 w 3182113"/>
                  <a:gd name="connsiteY18" fmla="*/ 72771 h 298989"/>
                  <a:gd name="connsiteX19" fmla="*/ 86202 w 3182113"/>
                  <a:gd name="connsiteY19" fmla="*/ 72771 h 298989"/>
                  <a:gd name="connsiteX20" fmla="*/ 86202 w 3182113"/>
                  <a:gd name="connsiteY20" fmla="*/ 78867 h 298989"/>
                  <a:gd name="connsiteX21" fmla="*/ 159830 w 3182113"/>
                  <a:gd name="connsiteY21" fmla="*/ 78867 h 298989"/>
                  <a:gd name="connsiteX22" fmla="*/ 159830 w 3182113"/>
                  <a:gd name="connsiteY22" fmla="*/ 84867 h 298989"/>
                  <a:gd name="connsiteX23" fmla="*/ 180880 w 3182113"/>
                  <a:gd name="connsiteY23" fmla="*/ 84867 h 298989"/>
                  <a:gd name="connsiteX24" fmla="*/ 180880 w 3182113"/>
                  <a:gd name="connsiteY24" fmla="*/ 90963 h 298989"/>
                  <a:gd name="connsiteX25" fmla="*/ 187167 w 3182113"/>
                  <a:gd name="connsiteY25" fmla="*/ 90963 h 298989"/>
                  <a:gd name="connsiteX26" fmla="*/ 187167 w 3182113"/>
                  <a:gd name="connsiteY26" fmla="*/ 97059 h 298989"/>
                  <a:gd name="connsiteX27" fmla="*/ 229267 w 3182113"/>
                  <a:gd name="connsiteY27" fmla="*/ 97059 h 298989"/>
                  <a:gd name="connsiteX28" fmla="*/ 229267 w 3182113"/>
                  <a:gd name="connsiteY28" fmla="*/ 103060 h 298989"/>
                  <a:gd name="connsiteX29" fmla="*/ 243936 w 3182113"/>
                  <a:gd name="connsiteY29" fmla="*/ 103060 h 298989"/>
                  <a:gd name="connsiteX30" fmla="*/ 243936 w 3182113"/>
                  <a:gd name="connsiteY30" fmla="*/ 109156 h 298989"/>
                  <a:gd name="connsiteX31" fmla="*/ 273463 w 3182113"/>
                  <a:gd name="connsiteY31" fmla="*/ 109156 h 298989"/>
                  <a:gd name="connsiteX32" fmla="*/ 273463 w 3182113"/>
                  <a:gd name="connsiteY32" fmla="*/ 115252 h 298989"/>
                  <a:gd name="connsiteX33" fmla="*/ 275559 w 3182113"/>
                  <a:gd name="connsiteY33" fmla="*/ 115252 h 298989"/>
                  <a:gd name="connsiteX34" fmla="*/ 275559 w 3182113"/>
                  <a:gd name="connsiteY34" fmla="*/ 121253 h 298989"/>
                  <a:gd name="connsiteX35" fmla="*/ 298609 w 3182113"/>
                  <a:gd name="connsiteY35" fmla="*/ 121253 h 298989"/>
                  <a:gd name="connsiteX36" fmla="*/ 298609 w 3182113"/>
                  <a:gd name="connsiteY36" fmla="*/ 127349 h 298989"/>
                  <a:gd name="connsiteX37" fmla="*/ 311278 w 3182113"/>
                  <a:gd name="connsiteY37" fmla="*/ 127349 h 298989"/>
                  <a:gd name="connsiteX38" fmla="*/ 311278 w 3182113"/>
                  <a:gd name="connsiteY38" fmla="*/ 133445 h 298989"/>
                  <a:gd name="connsiteX39" fmla="*/ 346996 w 3182113"/>
                  <a:gd name="connsiteY39" fmla="*/ 133445 h 298989"/>
                  <a:gd name="connsiteX40" fmla="*/ 346996 w 3182113"/>
                  <a:gd name="connsiteY40" fmla="*/ 139541 h 298989"/>
                  <a:gd name="connsiteX41" fmla="*/ 462725 w 3182113"/>
                  <a:gd name="connsiteY41" fmla="*/ 139541 h 298989"/>
                  <a:gd name="connsiteX42" fmla="*/ 462725 w 3182113"/>
                  <a:gd name="connsiteY42" fmla="*/ 145542 h 298989"/>
                  <a:gd name="connsiteX43" fmla="*/ 500539 w 3182113"/>
                  <a:gd name="connsiteY43" fmla="*/ 145542 h 298989"/>
                  <a:gd name="connsiteX44" fmla="*/ 500539 w 3182113"/>
                  <a:gd name="connsiteY44" fmla="*/ 151733 h 298989"/>
                  <a:gd name="connsiteX45" fmla="*/ 553117 w 3182113"/>
                  <a:gd name="connsiteY45" fmla="*/ 151733 h 298989"/>
                  <a:gd name="connsiteX46" fmla="*/ 553117 w 3182113"/>
                  <a:gd name="connsiteY46" fmla="*/ 157829 h 298989"/>
                  <a:gd name="connsiteX47" fmla="*/ 572072 w 3182113"/>
                  <a:gd name="connsiteY47" fmla="*/ 157829 h 298989"/>
                  <a:gd name="connsiteX48" fmla="*/ 572072 w 3182113"/>
                  <a:gd name="connsiteY48" fmla="*/ 163925 h 298989"/>
                  <a:gd name="connsiteX49" fmla="*/ 582550 w 3182113"/>
                  <a:gd name="connsiteY49" fmla="*/ 163925 h 298989"/>
                  <a:gd name="connsiteX50" fmla="*/ 582550 w 3182113"/>
                  <a:gd name="connsiteY50" fmla="*/ 170116 h 298989"/>
                  <a:gd name="connsiteX51" fmla="*/ 616268 w 3182113"/>
                  <a:gd name="connsiteY51" fmla="*/ 170116 h 298989"/>
                  <a:gd name="connsiteX52" fmla="*/ 616268 w 3182113"/>
                  <a:gd name="connsiteY52" fmla="*/ 176212 h 298989"/>
                  <a:gd name="connsiteX53" fmla="*/ 622555 w 3182113"/>
                  <a:gd name="connsiteY53" fmla="*/ 176212 h 298989"/>
                  <a:gd name="connsiteX54" fmla="*/ 622555 w 3182113"/>
                  <a:gd name="connsiteY54" fmla="*/ 182308 h 298989"/>
                  <a:gd name="connsiteX55" fmla="*/ 637223 w 3182113"/>
                  <a:gd name="connsiteY55" fmla="*/ 182308 h 298989"/>
                  <a:gd name="connsiteX56" fmla="*/ 637223 w 3182113"/>
                  <a:gd name="connsiteY56" fmla="*/ 188404 h 298989"/>
                  <a:gd name="connsiteX57" fmla="*/ 649891 w 3182113"/>
                  <a:gd name="connsiteY57" fmla="*/ 188404 h 298989"/>
                  <a:gd name="connsiteX58" fmla="*/ 649891 w 3182113"/>
                  <a:gd name="connsiteY58" fmla="*/ 194595 h 298989"/>
                  <a:gd name="connsiteX59" fmla="*/ 675133 w 3182113"/>
                  <a:gd name="connsiteY59" fmla="*/ 194595 h 298989"/>
                  <a:gd name="connsiteX60" fmla="*/ 675133 w 3182113"/>
                  <a:gd name="connsiteY60" fmla="*/ 200691 h 298989"/>
                  <a:gd name="connsiteX61" fmla="*/ 904399 w 3182113"/>
                  <a:gd name="connsiteY61" fmla="*/ 200691 h 298989"/>
                  <a:gd name="connsiteX62" fmla="*/ 904399 w 3182113"/>
                  <a:gd name="connsiteY62" fmla="*/ 206883 h 298989"/>
                  <a:gd name="connsiteX63" fmla="*/ 1017937 w 3182113"/>
                  <a:gd name="connsiteY63" fmla="*/ 206883 h 298989"/>
                  <a:gd name="connsiteX64" fmla="*/ 1017937 w 3182113"/>
                  <a:gd name="connsiteY64" fmla="*/ 213074 h 298989"/>
                  <a:gd name="connsiteX65" fmla="*/ 1287114 w 3182113"/>
                  <a:gd name="connsiteY65" fmla="*/ 213074 h 298989"/>
                  <a:gd name="connsiteX66" fmla="*/ 1287114 w 3182113"/>
                  <a:gd name="connsiteY66" fmla="*/ 219360 h 298989"/>
                  <a:gd name="connsiteX67" fmla="*/ 1360742 w 3182113"/>
                  <a:gd name="connsiteY67" fmla="*/ 219360 h 298989"/>
                  <a:gd name="connsiteX68" fmla="*/ 1360742 w 3182113"/>
                  <a:gd name="connsiteY68" fmla="*/ 225647 h 298989"/>
                  <a:gd name="connsiteX69" fmla="*/ 1440657 w 3182113"/>
                  <a:gd name="connsiteY69" fmla="*/ 225647 h 298989"/>
                  <a:gd name="connsiteX70" fmla="*/ 1440657 w 3182113"/>
                  <a:gd name="connsiteY70" fmla="*/ 231933 h 298989"/>
                  <a:gd name="connsiteX71" fmla="*/ 1602582 w 3182113"/>
                  <a:gd name="connsiteY71" fmla="*/ 231933 h 298989"/>
                  <a:gd name="connsiteX72" fmla="*/ 1602582 w 3182113"/>
                  <a:gd name="connsiteY72" fmla="*/ 238410 h 298989"/>
                  <a:gd name="connsiteX73" fmla="*/ 1619441 w 3182113"/>
                  <a:gd name="connsiteY73" fmla="*/ 238410 h 298989"/>
                  <a:gd name="connsiteX74" fmla="*/ 1619441 w 3182113"/>
                  <a:gd name="connsiteY74" fmla="*/ 244792 h 298989"/>
                  <a:gd name="connsiteX75" fmla="*/ 1737265 w 3182113"/>
                  <a:gd name="connsiteY75" fmla="*/ 244792 h 298989"/>
                  <a:gd name="connsiteX76" fmla="*/ 1737265 w 3182113"/>
                  <a:gd name="connsiteY76" fmla="*/ 251269 h 298989"/>
                  <a:gd name="connsiteX77" fmla="*/ 1829753 w 3182113"/>
                  <a:gd name="connsiteY77" fmla="*/ 251269 h 298989"/>
                  <a:gd name="connsiteX78" fmla="*/ 1829753 w 3182113"/>
                  <a:gd name="connsiteY78" fmla="*/ 257651 h 298989"/>
                  <a:gd name="connsiteX79" fmla="*/ 1848708 w 3182113"/>
                  <a:gd name="connsiteY79" fmla="*/ 257651 h 298989"/>
                  <a:gd name="connsiteX80" fmla="*/ 1848708 w 3182113"/>
                  <a:gd name="connsiteY80" fmla="*/ 264128 h 298989"/>
                  <a:gd name="connsiteX81" fmla="*/ 2702529 w 3182113"/>
                  <a:gd name="connsiteY81" fmla="*/ 264128 h 298989"/>
                  <a:gd name="connsiteX82" fmla="*/ 2702529 w 3182113"/>
                  <a:gd name="connsiteY82" fmla="*/ 298989 h 298989"/>
                  <a:gd name="connsiteX83" fmla="*/ 3182113 w 3182113"/>
                  <a:gd name="connsiteY83" fmla="*/ 298989 h 298989"/>
                  <a:gd name="connsiteX0" fmla="*/ 0 w 3182113"/>
                  <a:gd name="connsiteY0" fmla="*/ 0 h 298989"/>
                  <a:gd name="connsiteX1" fmla="*/ 6287 w 3182113"/>
                  <a:gd name="connsiteY1" fmla="*/ 18192 h 298989"/>
                  <a:gd name="connsiteX2" fmla="*/ 14764 w 3182113"/>
                  <a:gd name="connsiteY2" fmla="*/ 18192 h 298989"/>
                  <a:gd name="connsiteX3" fmla="*/ 14764 w 3182113"/>
                  <a:gd name="connsiteY3" fmla="*/ 24193 h 298989"/>
                  <a:gd name="connsiteX4" fmla="*/ 21051 w 3182113"/>
                  <a:gd name="connsiteY4" fmla="*/ 24193 h 298989"/>
                  <a:gd name="connsiteX5" fmla="*/ 21051 w 3182113"/>
                  <a:gd name="connsiteY5" fmla="*/ 36385 h 298989"/>
                  <a:gd name="connsiteX6" fmla="*/ 23146 w 3182113"/>
                  <a:gd name="connsiteY6" fmla="*/ 36385 h 298989"/>
                  <a:gd name="connsiteX7" fmla="*/ 23146 w 3182113"/>
                  <a:gd name="connsiteY7" fmla="*/ 42481 h 298989"/>
                  <a:gd name="connsiteX8" fmla="*/ 35719 w 3182113"/>
                  <a:gd name="connsiteY8" fmla="*/ 42481 h 298989"/>
                  <a:gd name="connsiteX9" fmla="*/ 35719 w 3182113"/>
                  <a:gd name="connsiteY9" fmla="*/ 48482 h 298989"/>
                  <a:gd name="connsiteX10" fmla="*/ 58865 w 3182113"/>
                  <a:gd name="connsiteY10" fmla="*/ 48482 h 298989"/>
                  <a:gd name="connsiteX11" fmla="*/ 58865 w 3182113"/>
                  <a:gd name="connsiteY11" fmla="*/ 54578 h 298989"/>
                  <a:gd name="connsiteX12" fmla="*/ 65247 w 3182113"/>
                  <a:gd name="connsiteY12" fmla="*/ 54578 h 298989"/>
                  <a:gd name="connsiteX13" fmla="*/ 65247 w 3182113"/>
                  <a:gd name="connsiteY13" fmla="*/ 60674 h 298989"/>
                  <a:gd name="connsiteX14" fmla="*/ 73629 w 3182113"/>
                  <a:gd name="connsiteY14" fmla="*/ 60674 h 298989"/>
                  <a:gd name="connsiteX15" fmla="*/ 73629 w 3182113"/>
                  <a:gd name="connsiteY15" fmla="*/ 66675 h 298989"/>
                  <a:gd name="connsiteX16" fmla="*/ 82011 w 3182113"/>
                  <a:gd name="connsiteY16" fmla="*/ 66675 h 298989"/>
                  <a:gd name="connsiteX17" fmla="*/ 82011 w 3182113"/>
                  <a:gd name="connsiteY17" fmla="*/ 72771 h 298989"/>
                  <a:gd name="connsiteX18" fmla="*/ 86202 w 3182113"/>
                  <a:gd name="connsiteY18" fmla="*/ 72771 h 298989"/>
                  <a:gd name="connsiteX19" fmla="*/ 86202 w 3182113"/>
                  <a:gd name="connsiteY19" fmla="*/ 78867 h 298989"/>
                  <a:gd name="connsiteX20" fmla="*/ 159830 w 3182113"/>
                  <a:gd name="connsiteY20" fmla="*/ 78867 h 298989"/>
                  <a:gd name="connsiteX21" fmla="*/ 159830 w 3182113"/>
                  <a:gd name="connsiteY21" fmla="*/ 84867 h 298989"/>
                  <a:gd name="connsiteX22" fmla="*/ 180880 w 3182113"/>
                  <a:gd name="connsiteY22" fmla="*/ 84867 h 298989"/>
                  <a:gd name="connsiteX23" fmla="*/ 180880 w 3182113"/>
                  <a:gd name="connsiteY23" fmla="*/ 90963 h 298989"/>
                  <a:gd name="connsiteX24" fmla="*/ 187167 w 3182113"/>
                  <a:gd name="connsiteY24" fmla="*/ 90963 h 298989"/>
                  <a:gd name="connsiteX25" fmla="*/ 187167 w 3182113"/>
                  <a:gd name="connsiteY25" fmla="*/ 97059 h 298989"/>
                  <a:gd name="connsiteX26" fmla="*/ 229267 w 3182113"/>
                  <a:gd name="connsiteY26" fmla="*/ 97059 h 298989"/>
                  <a:gd name="connsiteX27" fmla="*/ 229267 w 3182113"/>
                  <a:gd name="connsiteY27" fmla="*/ 103060 h 298989"/>
                  <a:gd name="connsiteX28" fmla="*/ 243936 w 3182113"/>
                  <a:gd name="connsiteY28" fmla="*/ 103060 h 298989"/>
                  <a:gd name="connsiteX29" fmla="*/ 243936 w 3182113"/>
                  <a:gd name="connsiteY29" fmla="*/ 109156 h 298989"/>
                  <a:gd name="connsiteX30" fmla="*/ 273463 w 3182113"/>
                  <a:gd name="connsiteY30" fmla="*/ 109156 h 298989"/>
                  <a:gd name="connsiteX31" fmla="*/ 273463 w 3182113"/>
                  <a:gd name="connsiteY31" fmla="*/ 115252 h 298989"/>
                  <a:gd name="connsiteX32" fmla="*/ 275559 w 3182113"/>
                  <a:gd name="connsiteY32" fmla="*/ 115252 h 298989"/>
                  <a:gd name="connsiteX33" fmla="*/ 275559 w 3182113"/>
                  <a:gd name="connsiteY33" fmla="*/ 121253 h 298989"/>
                  <a:gd name="connsiteX34" fmla="*/ 298609 w 3182113"/>
                  <a:gd name="connsiteY34" fmla="*/ 121253 h 298989"/>
                  <a:gd name="connsiteX35" fmla="*/ 298609 w 3182113"/>
                  <a:gd name="connsiteY35" fmla="*/ 127349 h 298989"/>
                  <a:gd name="connsiteX36" fmla="*/ 311278 w 3182113"/>
                  <a:gd name="connsiteY36" fmla="*/ 127349 h 298989"/>
                  <a:gd name="connsiteX37" fmla="*/ 311278 w 3182113"/>
                  <a:gd name="connsiteY37" fmla="*/ 133445 h 298989"/>
                  <a:gd name="connsiteX38" fmla="*/ 346996 w 3182113"/>
                  <a:gd name="connsiteY38" fmla="*/ 133445 h 298989"/>
                  <a:gd name="connsiteX39" fmla="*/ 346996 w 3182113"/>
                  <a:gd name="connsiteY39" fmla="*/ 139541 h 298989"/>
                  <a:gd name="connsiteX40" fmla="*/ 462725 w 3182113"/>
                  <a:gd name="connsiteY40" fmla="*/ 139541 h 298989"/>
                  <a:gd name="connsiteX41" fmla="*/ 462725 w 3182113"/>
                  <a:gd name="connsiteY41" fmla="*/ 145542 h 298989"/>
                  <a:gd name="connsiteX42" fmla="*/ 500539 w 3182113"/>
                  <a:gd name="connsiteY42" fmla="*/ 145542 h 298989"/>
                  <a:gd name="connsiteX43" fmla="*/ 500539 w 3182113"/>
                  <a:gd name="connsiteY43" fmla="*/ 151733 h 298989"/>
                  <a:gd name="connsiteX44" fmla="*/ 553117 w 3182113"/>
                  <a:gd name="connsiteY44" fmla="*/ 151733 h 298989"/>
                  <a:gd name="connsiteX45" fmla="*/ 553117 w 3182113"/>
                  <a:gd name="connsiteY45" fmla="*/ 157829 h 298989"/>
                  <a:gd name="connsiteX46" fmla="*/ 572072 w 3182113"/>
                  <a:gd name="connsiteY46" fmla="*/ 157829 h 298989"/>
                  <a:gd name="connsiteX47" fmla="*/ 572072 w 3182113"/>
                  <a:gd name="connsiteY47" fmla="*/ 163925 h 298989"/>
                  <a:gd name="connsiteX48" fmla="*/ 582550 w 3182113"/>
                  <a:gd name="connsiteY48" fmla="*/ 163925 h 298989"/>
                  <a:gd name="connsiteX49" fmla="*/ 582550 w 3182113"/>
                  <a:gd name="connsiteY49" fmla="*/ 170116 h 298989"/>
                  <a:gd name="connsiteX50" fmla="*/ 616268 w 3182113"/>
                  <a:gd name="connsiteY50" fmla="*/ 170116 h 298989"/>
                  <a:gd name="connsiteX51" fmla="*/ 616268 w 3182113"/>
                  <a:gd name="connsiteY51" fmla="*/ 176212 h 298989"/>
                  <a:gd name="connsiteX52" fmla="*/ 622555 w 3182113"/>
                  <a:gd name="connsiteY52" fmla="*/ 176212 h 298989"/>
                  <a:gd name="connsiteX53" fmla="*/ 622555 w 3182113"/>
                  <a:gd name="connsiteY53" fmla="*/ 182308 h 298989"/>
                  <a:gd name="connsiteX54" fmla="*/ 637223 w 3182113"/>
                  <a:gd name="connsiteY54" fmla="*/ 182308 h 298989"/>
                  <a:gd name="connsiteX55" fmla="*/ 637223 w 3182113"/>
                  <a:gd name="connsiteY55" fmla="*/ 188404 h 298989"/>
                  <a:gd name="connsiteX56" fmla="*/ 649891 w 3182113"/>
                  <a:gd name="connsiteY56" fmla="*/ 188404 h 298989"/>
                  <a:gd name="connsiteX57" fmla="*/ 649891 w 3182113"/>
                  <a:gd name="connsiteY57" fmla="*/ 194595 h 298989"/>
                  <a:gd name="connsiteX58" fmla="*/ 675133 w 3182113"/>
                  <a:gd name="connsiteY58" fmla="*/ 194595 h 298989"/>
                  <a:gd name="connsiteX59" fmla="*/ 675133 w 3182113"/>
                  <a:gd name="connsiteY59" fmla="*/ 200691 h 298989"/>
                  <a:gd name="connsiteX60" fmla="*/ 904399 w 3182113"/>
                  <a:gd name="connsiteY60" fmla="*/ 200691 h 298989"/>
                  <a:gd name="connsiteX61" fmla="*/ 904399 w 3182113"/>
                  <a:gd name="connsiteY61" fmla="*/ 206883 h 298989"/>
                  <a:gd name="connsiteX62" fmla="*/ 1017937 w 3182113"/>
                  <a:gd name="connsiteY62" fmla="*/ 206883 h 298989"/>
                  <a:gd name="connsiteX63" fmla="*/ 1017937 w 3182113"/>
                  <a:gd name="connsiteY63" fmla="*/ 213074 h 298989"/>
                  <a:gd name="connsiteX64" fmla="*/ 1287114 w 3182113"/>
                  <a:gd name="connsiteY64" fmla="*/ 213074 h 298989"/>
                  <a:gd name="connsiteX65" fmla="*/ 1287114 w 3182113"/>
                  <a:gd name="connsiteY65" fmla="*/ 219360 h 298989"/>
                  <a:gd name="connsiteX66" fmla="*/ 1360742 w 3182113"/>
                  <a:gd name="connsiteY66" fmla="*/ 219360 h 298989"/>
                  <a:gd name="connsiteX67" fmla="*/ 1360742 w 3182113"/>
                  <a:gd name="connsiteY67" fmla="*/ 225647 h 298989"/>
                  <a:gd name="connsiteX68" fmla="*/ 1440657 w 3182113"/>
                  <a:gd name="connsiteY68" fmla="*/ 225647 h 298989"/>
                  <a:gd name="connsiteX69" fmla="*/ 1440657 w 3182113"/>
                  <a:gd name="connsiteY69" fmla="*/ 231933 h 298989"/>
                  <a:gd name="connsiteX70" fmla="*/ 1602582 w 3182113"/>
                  <a:gd name="connsiteY70" fmla="*/ 231933 h 298989"/>
                  <a:gd name="connsiteX71" fmla="*/ 1602582 w 3182113"/>
                  <a:gd name="connsiteY71" fmla="*/ 238410 h 298989"/>
                  <a:gd name="connsiteX72" fmla="*/ 1619441 w 3182113"/>
                  <a:gd name="connsiteY72" fmla="*/ 238410 h 298989"/>
                  <a:gd name="connsiteX73" fmla="*/ 1619441 w 3182113"/>
                  <a:gd name="connsiteY73" fmla="*/ 244792 h 298989"/>
                  <a:gd name="connsiteX74" fmla="*/ 1737265 w 3182113"/>
                  <a:gd name="connsiteY74" fmla="*/ 244792 h 298989"/>
                  <a:gd name="connsiteX75" fmla="*/ 1737265 w 3182113"/>
                  <a:gd name="connsiteY75" fmla="*/ 251269 h 298989"/>
                  <a:gd name="connsiteX76" fmla="*/ 1829753 w 3182113"/>
                  <a:gd name="connsiteY76" fmla="*/ 251269 h 298989"/>
                  <a:gd name="connsiteX77" fmla="*/ 1829753 w 3182113"/>
                  <a:gd name="connsiteY77" fmla="*/ 257651 h 298989"/>
                  <a:gd name="connsiteX78" fmla="*/ 1848708 w 3182113"/>
                  <a:gd name="connsiteY78" fmla="*/ 257651 h 298989"/>
                  <a:gd name="connsiteX79" fmla="*/ 1848708 w 3182113"/>
                  <a:gd name="connsiteY79" fmla="*/ 264128 h 298989"/>
                  <a:gd name="connsiteX80" fmla="*/ 2702529 w 3182113"/>
                  <a:gd name="connsiteY80" fmla="*/ 264128 h 298989"/>
                  <a:gd name="connsiteX81" fmla="*/ 2702529 w 3182113"/>
                  <a:gd name="connsiteY81" fmla="*/ 298989 h 298989"/>
                  <a:gd name="connsiteX82" fmla="*/ 3182113 w 3182113"/>
                  <a:gd name="connsiteY82" fmla="*/ 298989 h 298989"/>
                  <a:gd name="connsiteX0" fmla="*/ 0 w 3175826"/>
                  <a:gd name="connsiteY0" fmla="*/ 0 h 280797"/>
                  <a:gd name="connsiteX1" fmla="*/ 8477 w 3175826"/>
                  <a:gd name="connsiteY1" fmla="*/ 0 h 280797"/>
                  <a:gd name="connsiteX2" fmla="*/ 8477 w 3175826"/>
                  <a:gd name="connsiteY2" fmla="*/ 6001 h 280797"/>
                  <a:gd name="connsiteX3" fmla="*/ 14764 w 3175826"/>
                  <a:gd name="connsiteY3" fmla="*/ 6001 h 280797"/>
                  <a:gd name="connsiteX4" fmla="*/ 14764 w 3175826"/>
                  <a:gd name="connsiteY4" fmla="*/ 18193 h 280797"/>
                  <a:gd name="connsiteX5" fmla="*/ 16859 w 3175826"/>
                  <a:gd name="connsiteY5" fmla="*/ 18193 h 280797"/>
                  <a:gd name="connsiteX6" fmla="*/ 16859 w 3175826"/>
                  <a:gd name="connsiteY6" fmla="*/ 24289 h 280797"/>
                  <a:gd name="connsiteX7" fmla="*/ 29432 w 3175826"/>
                  <a:gd name="connsiteY7" fmla="*/ 24289 h 280797"/>
                  <a:gd name="connsiteX8" fmla="*/ 29432 w 3175826"/>
                  <a:gd name="connsiteY8" fmla="*/ 30290 h 280797"/>
                  <a:gd name="connsiteX9" fmla="*/ 52578 w 3175826"/>
                  <a:gd name="connsiteY9" fmla="*/ 30290 h 280797"/>
                  <a:gd name="connsiteX10" fmla="*/ 52578 w 3175826"/>
                  <a:gd name="connsiteY10" fmla="*/ 36386 h 280797"/>
                  <a:gd name="connsiteX11" fmla="*/ 58960 w 3175826"/>
                  <a:gd name="connsiteY11" fmla="*/ 36386 h 280797"/>
                  <a:gd name="connsiteX12" fmla="*/ 58960 w 3175826"/>
                  <a:gd name="connsiteY12" fmla="*/ 42482 h 280797"/>
                  <a:gd name="connsiteX13" fmla="*/ 67342 w 3175826"/>
                  <a:gd name="connsiteY13" fmla="*/ 42482 h 280797"/>
                  <a:gd name="connsiteX14" fmla="*/ 67342 w 3175826"/>
                  <a:gd name="connsiteY14" fmla="*/ 48483 h 280797"/>
                  <a:gd name="connsiteX15" fmla="*/ 75724 w 3175826"/>
                  <a:gd name="connsiteY15" fmla="*/ 48483 h 280797"/>
                  <a:gd name="connsiteX16" fmla="*/ 75724 w 3175826"/>
                  <a:gd name="connsiteY16" fmla="*/ 54579 h 280797"/>
                  <a:gd name="connsiteX17" fmla="*/ 79915 w 3175826"/>
                  <a:gd name="connsiteY17" fmla="*/ 54579 h 280797"/>
                  <a:gd name="connsiteX18" fmla="*/ 79915 w 3175826"/>
                  <a:gd name="connsiteY18" fmla="*/ 60675 h 280797"/>
                  <a:gd name="connsiteX19" fmla="*/ 153543 w 3175826"/>
                  <a:gd name="connsiteY19" fmla="*/ 60675 h 280797"/>
                  <a:gd name="connsiteX20" fmla="*/ 153543 w 3175826"/>
                  <a:gd name="connsiteY20" fmla="*/ 66675 h 280797"/>
                  <a:gd name="connsiteX21" fmla="*/ 174593 w 3175826"/>
                  <a:gd name="connsiteY21" fmla="*/ 66675 h 280797"/>
                  <a:gd name="connsiteX22" fmla="*/ 174593 w 3175826"/>
                  <a:gd name="connsiteY22" fmla="*/ 72771 h 280797"/>
                  <a:gd name="connsiteX23" fmla="*/ 180880 w 3175826"/>
                  <a:gd name="connsiteY23" fmla="*/ 72771 h 280797"/>
                  <a:gd name="connsiteX24" fmla="*/ 180880 w 3175826"/>
                  <a:gd name="connsiteY24" fmla="*/ 78867 h 280797"/>
                  <a:gd name="connsiteX25" fmla="*/ 222980 w 3175826"/>
                  <a:gd name="connsiteY25" fmla="*/ 78867 h 280797"/>
                  <a:gd name="connsiteX26" fmla="*/ 222980 w 3175826"/>
                  <a:gd name="connsiteY26" fmla="*/ 84868 h 280797"/>
                  <a:gd name="connsiteX27" fmla="*/ 237649 w 3175826"/>
                  <a:gd name="connsiteY27" fmla="*/ 84868 h 280797"/>
                  <a:gd name="connsiteX28" fmla="*/ 237649 w 3175826"/>
                  <a:gd name="connsiteY28" fmla="*/ 90964 h 280797"/>
                  <a:gd name="connsiteX29" fmla="*/ 267176 w 3175826"/>
                  <a:gd name="connsiteY29" fmla="*/ 90964 h 280797"/>
                  <a:gd name="connsiteX30" fmla="*/ 267176 w 3175826"/>
                  <a:gd name="connsiteY30" fmla="*/ 97060 h 280797"/>
                  <a:gd name="connsiteX31" fmla="*/ 269272 w 3175826"/>
                  <a:gd name="connsiteY31" fmla="*/ 97060 h 280797"/>
                  <a:gd name="connsiteX32" fmla="*/ 269272 w 3175826"/>
                  <a:gd name="connsiteY32" fmla="*/ 103061 h 280797"/>
                  <a:gd name="connsiteX33" fmla="*/ 292322 w 3175826"/>
                  <a:gd name="connsiteY33" fmla="*/ 103061 h 280797"/>
                  <a:gd name="connsiteX34" fmla="*/ 292322 w 3175826"/>
                  <a:gd name="connsiteY34" fmla="*/ 109157 h 280797"/>
                  <a:gd name="connsiteX35" fmla="*/ 304991 w 3175826"/>
                  <a:gd name="connsiteY35" fmla="*/ 109157 h 280797"/>
                  <a:gd name="connsiteX36" fmla="*/ 304991 w 3175826"/>
                  <a:gd name="connsiteY36" fmla="*/ 115253 h 280797"/>
                  <a:gd name="connsiteX37" fmla="*/ 340709 w 3175826"/>
                  <a:gd name="connsiteY37" fmla="*/ 115253 h 280797"/>
                  <a:gd name="connsiteX38" fmla="*/ 340709 w 3175826"/>
                  <a:gd name="connsiteY38" fmla="*/ 121349 h 280797"/>
                  <a:gd name="connsiteX39" fmla="*/ 456438 w 3175826"/>
                  <a:gd name="connsiteY39" fmla="*/ 121349 h 280797"/>
                  <a:gd name="connsiteX40" fmla="*/ 456438 w 3175826"/>
                  <a:gd name="connsiteY40" fmla="*/ 127350 h 280797"/>
                  <a:gd name="connsiteX41" fmla="*/ 494252 w 3175826"/>
                  <a:gd name="connsiteY41" fmla="*/ 127350 h 280797"/>
                  <a:gd name="connsiteX42" fmla="*/ 494252 w 3175826"/>
                  <a:gd name="connsiteY42" fmla="*/ 133541 h 280797"/>
                  <a:gd name="connsiteX43" fmla="*/ 546830 w 3175826"/>
                  <a:gd name="connsiteY43" fmla="*/ 133541 h 280797"/>
                  <a:gd name="connsiteX44" fmla="*/ 546830 w 3175826"/>
                  <a:gd name="connsiteY44" fmla="*/ 139637 h 280797"/>
                  <a:gd name="connsiteX45" fmla="*/ 565785 w 3175826"/>
                  <a:gd name="connsiteY45" fmla="*/ 139637 h 280797"/>
                  <a:gd name="connsiteX46" fmla="*/ 565785 w 3175826"/>
                  <a:gd name="connsiteY46" fmla="*/ 145733 h 280797"/>
                  <a:gd name="connsiteX47" fmla="*/ 576263 w 3175826"/>
                  <a:gd name="connsiteY47" fmla="*/ 145733 h 280797"/>
                  <a:gd name="connsiteX48" fmla="*/ 576263 w 3175826"/>
                  <a:gd name="connsiteY48" fmla="*/ 151924 h 280797"/>
                  <a:gd name="connsiteX49" fmla="*/ 609981 w 3175826"/>
                  <a:gd name="connsiteY49" fmla="*/ 151924 h 280797"/>
                  <a:gd name="connsiteX50" fmla="*/ 609981 w 3175826"/>
                  <a:gd name="connsiteY50" fmla="*/ 158020 h 280797"/>
                  <a:gd name="connsiteX51" fmla="*/ 616268 w 3175826"/>
                  <a:gd name="connsiteY51" fmla="*/ 158020 h 280797"/>
                  <a:gd name="connsiteX52" fmla="*/ 616268 w 3175826"/>
                  <a:gd name="connsiteY52" fmla="*/ 164116 h 280797"/>
                  <a:gd name="connsiteX53" fmla="*/ 630936 w 3175826"/>
                  <a:gd name="connsiteY53" fmla="*/ 164116 h 280797"/>
                  <a:gd name="connsiteX54" fmla="*/ 630936 w 3175826"/>
                  <a:gd name="connsiteY54" fmla="*/ 170212 h 280797"/>
                  <a:gd name="connsiteX55" fmla="*/ 643604 w 3175826"/>
                  <a:gd name="connsiteY55" fmla="*/ 170212 h 280797"/>
                  <a:gd name="connsiteX56" fmla="*/ 643604 w 3175826"/>
                  <a:gd name="connsiteY56" fmla="*/ 176403 h 280797"/>
                  <a:gd name="connsiteX57" fmla="*/ 668846 w 3175826"/>
                  <a:gd name="connsiteY57" fmla="*/ 176403 h 280797"/>
                  <a:gd name="connsiteX58" fmla="*/ 668846 w 3175826"/>
                  <a:gd name="connsiteY58" fmla="*/ 182499 h 280797"/>
                  <a:gd name="connsiteX59" fmla="*/ 898112 w 3175826"/>
                  <a:gd name="connsiteY59" fmla="*/ 182499 h 280797"/>
                  <a:gd name="connsiteX60" fmla="*/ 898112 w 3175826"/>
                  <a:gd name="connsiteY60" fmla="*/ 188691 h 280797"/>
                  <a:gd name="connsiteX61" fmla="*/ 1011650 w 3175826"/>
                  <a:gd name="connsiteY61" fmla="*/ 188691 h 280797"/>
                  <a:gd name="connsiteX62" fmla="*/ 1011650 w 3175826"/>
                  <a:gd name="connsiteY62" fmla="*/ 194882 h 280797"/>
                  <a:gd name="connsiteX63" fmla="*/ 1280827 w 3175826"/>
                  <a:gd name="connsiteY63" fmla="*/ 194882 h 280797"/>
                  <a:gd name="connsiteX64" fmla="*/ 1280827 w 3175826"/>
                  <a:gd name="connsiteY64" fmla="*/ 201168 h 280797"/>
                  <a:gd name="connsiteX65" fmla="*/ 1354455 w 3175826"/>
                  <a:gd name="connsiteY65" fmla="*/ 201168 h 280797"/>
                  <a:gd name="connsiteX66" fmla="*/ 1354455 w 3175826"/>
                  <a:gd name="connsiteY66" fmla="*/ 207455 h 280797"/>
                  <a:gd name="connsiteX67" fmla="*/ 1434370 w 3175826"/>
                  <a:gd name="connsiteY67" fmla="*/ 207455 h 280797"/>
                  <a:gd name="connsiteX68" fmla="*/ 1434370 w 3175826"/>
                  <a:gd name="connsiteY68" fmla="*/ 213741 h 280797"/>
                  <a:gd name="connsiteX69" fmla="*/ 1596295 w 3175826"/>
                  <a:gd name="connsiteY69" fmla="*/ 213741 h 280797"/>
                  <a:gd name="connsiteX70" fmla="*/ 1596295 w 3175826"/>
                  <a:gd name="connsiteY70" fmla="*/ 220218 h 280797"/>
                  <a:gd name="connsiteX71" fmla="*/ 1613154 w 3175826"/>
                  <a:gd name="connsiteY71" fmla="*/ 220218 h 280797"/>
                  <a:gd name="connsiteX72" fmla="*/ 1613154 w 3175826"/>
                  <a:gd name="connsiteY72" fmla="*/ 226600 h 280797"/>
                  <a:gd name="connsiteX73" fmla="*/ 1730978 w 3175826"/>
                  <a:gd name="connsiteY73" fmla="*/ 226600 h 280797"/>
                  <a:gd name="connsiteX74" fmla="*/ 1730978 w 3175826"/>
                  <a:gd name="connsiteY74" fmla="*/ 233077 h 280797"/>
                  <a:gd name="connsiteX75" fmla="*/ 1823466 w 3175826"/>
                  <a:gd name="connsiteY75" fmla="*/ 233077 h 280797"/>
                  <a:gd name="connsiteX76" fmla="*/ 1823466 w 3175826"/>
                  <a:gd name="connsiteY76" fmla="*/ 239459 h 280797"/>
                  <a:gd name="connsiteX77" fmla="*/ 1842421 w 3175826"/>
                  <a:gd name="connsiteY77" fmla="*/ 239459 h 280797"/>
                  <a:gd name="connsiteX78" fmla="*/ 1842421 w 3175826"/>
                  <a:gd name="connsiteY78" fmla="*/ 245936 h 280797"/>
                  <a:gd name="connsiteX79" fmla="*/ 2696242 w 3175826"/>
                  <a:gd name="connsiteY79" fmla="*/ 245936 h 280797"/>
                  <a:gd name="connsiteX80" fmla="*/ 2696242 w 3175826"/>
                  <a:gd name="connsiteY80" fmla="*/ 280797 h 280797"/>
                  <a:gd name="connsiteX81" fmla="*/ 3175826 w 3175826"/>
                  <a:gd name="connsiteY81" fmla="*/ 280797 h 280797"/>
                  <a:gd name="connsiteX0" fmla="*/ 0 w 3175826"/>
                  <a:gd name="connsiteY0" fmla="*/ 0 h 280797"/>
                  <a:gd name="connsiteX1" fmla="*/ 8477 w 3175826"/>
                  <a:gd name="connsiteY1" fmla="*/ 0 h 280797"/>
                  <a:gd name="connsiteX2" fmla="*/ 14764 w 3175826"/>
                  <a:gd name="connsiteY2" fmla="*/ 6001 h 280797"/>
                  <a:gd name="connsiteX3" fmla="*/ 14764 w 3175826"/>
                  <a:gd name="connsiteY3" fmla="*/ 18193 h 280797"/>
                  <a:gd name="connsiteX4" fmla="*/ 16859 w 3175826"/>
                  <a:gd name="connsiteY4" fmla="*/ 18193 h 280797"/>
                  <a:gd name="connsiteX5" fmla="*/ 16859 w 3175826"/>
                  <a:gd name="connsiteY5" fmla="*/ 24289 h 280797"/>
                  <a:gd name="connsiteX6" fmla="*/ 29432 w 3175826"/>
                  <a:gd name="connsiteY6" fmla="*/ 24289 h 280797"/>
                  <a:gd name="connsiteX7" fmla="*/ 29432 w 3175826"/>
                  <a:gd name="connsiteY7" fmla="*/ 30290 h 280797"/>
                  <a:gd name="connsiteX8" fmla="*/ 52578 w 3175826"/>
                  <a:gd name="connsiteY8" fmla="*/ 30290 h 280797"/>
                  <a:gd name="connsiteX9" fmla="*/ 52578 w 3175826"/>
                  <a:gd name="connsiteY9" fmla="*/ 36386 h 280797"/>
                  <a:gd name="connsiteX10" fmla="*/ 58960 w 3175826"/>
                  <a:gd name="connsiteY10" fmla="*/ 36386 h 280797"/>
                  <a:gd name="connsiteX11" fmla="*/ 58960 w 3175826"/>
                  <a:gd name="connsiteY11" fmla="*/ 42482 h 280797"/>
                  <a:gd name="connsiteX12" fmla="*/ 67342 w 3175826"/>
                  <a:gd name="connsiteY12" fmla="*/ 42482 h 280797"/>
                  <a:gd name="connsiteX13" fmla="*/ 67342 w 3175826"/>
                  <a:gd name="connsiteY13" fmla="*/ 48483 h 280797"/>
                  <a:gd name="connsiteX14" fmla="*/ 75724 w 3175826"/>
                  <a:gd name="connsiteY14" fmla="*/ 48483 h 280797"/>
                  <a:gd name="connsiteX15" fmla="*/ 75724 w 3175826"/>
                  <a:gd name="connsiteY15" fmla="*/ 54579 h 280797"/>
                  <a:gd name="connsiteX16" fmla="*/ 79915 w 3175826"/>
                  <a:gd name="connsiteY16" fmla="*/ 54579 h 280797"/>
                  <a:gd name="connsiteX17" fmla="*/ 79915 w 3175826"/>
                  <a:gd name="connsiteY17" fmla="*/ 60675 h 280797"/>
                  <a:gd name="connsiteX18" fmla="*/ 153543 w 3175826"/>
                  <a:gd name="connsiteY18" fmla="*/ 60675 h 280797"/>
                  <a:gd name="connsiteX19" fmla="*/ 153543 w 3175826"/>
                  <a:gd name="connsiteY19" fmla="*/ 66675 h 280797"/>
                  <a:gd name="connsiteX20" fmla="*/ 174593 w 3175826"/>
                  <a:gd name="connsiteY20" fmla="*/ 66675 h 280797"/>
                  <a:gd name="connsiteX21" fmla="*/ 174593 w 3175826"/>
                  <a:gd name="connsiteY21" fmla="*/ 72771 h 280797"/>
                  <a:gd name="connsiteX22" fmla="*/ 180880 w 3175826"/>
                  <a:gd name="connsiteY22" fmla="*/ 72771 h 280797"/>
                  <a:gd name="connsiteX23" fmla="*/ 180880 w 3175826"/>
                  <a:gd name="connsiteY23" fmla="*/ 78867 h 280797"/>
                  <a:gd name="connsiteX24" fmla="*/ 222980 w 3175826"/>
                  <a:gd name="connsiteY24" fmla="*/ 78867 h 280797"/>
                  <a:gd name="connsiteX25" fmla="*/ 222980 w 3175826"/>
                  <a:gd name="connsiteY25" fmla="*/ 84868 h 280797"/>
                  <a:gd name="connsiteX26" fmla="*/ 237649 w 3175826"/>
                  <a:gd name="connsiteY26" fmla="*/ 84868 h 280797"/>
                  <a:gd name="connsiteX27" fmla="*/ 237649 w 3175826"/>
                  <a:gd name="connsiteY27" fmla="*/ 90964 h 280797"/>
                  <a:gd name="connsiteX28" fmla="*/ 267176 w 3175826"/>
                  <a:gd name="connsiteY28" fmla="*/ 90964 h 280797"/>
                  <a:gd name="connsiteX29" fmla="*/ 267176 w 3175826"/>
                  <a:gd name="connsiteY29" fmla="*/ 97060 h 280797"/>
                  <a:gd name="connsiteX30" fmla="*/ 269272 w 3175826"/>
                  <a:gd name="connsiteY30" fmla="*/ 97060 h 280797"/>
                  <a:gd name="connsiteX31" fmla="*/ 269272 w 3175826"/>
                  <a:gd name="connsiteY31" fmla="*/ 103061 h 280797"/>
                  <a:gd name="connsiteX32" fmla="*/ 292322 w 3175826"/>
                  <a:gd name="connsiteY32" fmla="*/ 103061 h 280797"/>
                  <a:gd name="connsiteX33" fmla="*/ 292322 w 3175826"/>
                  <a:gd name="connsiteY33" fmla="*/ 109157 h 280797"/>
                  <a:gd name="connsiteX34" fmla="*/ 304991 w 3175826"/>
                  <a:gd name="connsiteY34" fmla="*/ 109157 h 280797"/>
                  <a:gd name="connsiteX35" fmla="*/ 304991 w 3175826"/>
                  <a:gd name="connsiteY35" fmla="*/ 115253 h 280797"/>
                  <a:gd name="connsiteX36" fmla="*/ 340709 w 3175826"/>
                  <a:gd name="connsiteY36" fmla="*/ 115253 h 280797"/>
                  <a:gd name="connsiteX37" fmla="*/ 340709 w 3175826"/>
                  <a:gd name="connsiteY37" fmla="*/ 121349 h 280797"/>
                  <a:gd name="connsiteX38" fmla="*/ 456438 w 3175826"/>
                  <a:gd name="connsiteY38" fmla="*/ 121349 h 280797"/>
                  <a:gd name="connsiteX39" fmla="*/ 456438 w 3175826"/>
                  <a:gd name="connsiteY39" fmla="*/ 127350 h 280797"/>
                  <a:gd name="connsiteX40" fmla="*/ 494252 w 3175826"/>
                  <a:gd name="connsiteY40" fmla="*/ 127350 h 280797"/>
                  <a:gd name="connsiteX41" fmla="*/ 494252 w 3175826"/>
                  <a:gd name="connsiteY41" fmla="*/ 133541 h 280797"/>
                  <a:gd name="connsiteX42" fmla="*/ 546830 w 3175826"/>
                  <a:gd name="connsiteY42" fmla="*/ 133541 h 280797"/>
                  <a:gd name="connsiteX43" fmla="*/ 546830 w 3175826"/>
                  <a:gd name="connsiteY43" fmla="*/ 139637 h 280797"/>
                  <a:gd name="connsiteX44" fmla="*/ 565785 w 3175826"/>
                  <a:gd name="connsiteY44" fmla="*/ 139637 h 280797"/>
                  <a:gd name="connsiteX45" fmla="*/ 565785 w 3175826"/>
                  <a:gd name="connsiteY45" fmla="*/ 145733 h 280797"/>
                  <a:gd name="connsiteX46" fmla="*/ 576263 w 3175826"/>
                  <a:gd name="connsiteY46" fmla="*/ 145733 h 280797"/>
                  <a:gd name="connsiteX47" fmla="*/ 576263 w 3175826"/>
                  <a:gd name="connsiteY47" fmla="*/ 151924 h 280797"/>
                  <a:gd name="connsiteX48" fmla="*/ 609981 w 3175826"/>
                  <a:gd name="connsiteY48" fmla="*/ 151924 h 280797"/>
                  <a:gd name="connsiteX49" fmla="*/ 609981 w 3175826"/>
                  <a:gd name="connsiteY49" fmla="*/ 158020 h 280797"/>
                  <a:gd name="connsiteX50" fmla="*/ 616268 w 3175826"/>
                  <a:gd name="connsiteY50" fmla="*/ 158020 h 280797"/>
                  <a:gd name="connsiteX51" fmla="*/ 616268 w 3175826"/>
                  <a:gd name="connsiteY51" fmla="*/ 164116 h 280797"/>
                  <a:gd name="connsiteX52" fmla="*/ 630936 w 3175826"/>
                  <a:gd name="connsiteY52" fmla="*/ 164116 h 280797"/>
                  <a:gd name="connsiteX53" fmla="*/ 630936 w 3175826"/>
                  <a:gd name="connsiteY53" fmla="*/ 170212 h 280797"/>
                  <a:gd name="connsiteX54" fmla="*/ 643604 w 3175826"/>
                  <a:gd name="connsiteY54" fmla="*/ 170212 h 280797"/>
                  <a:gd name="connsiteX55" fmla="*/ 643604 w 3175826"/>
                  <a:gd name="connsiteY55" fmla="*/ 176403 h 280797"/>
                  <a:gd name="connsiteX56" fmla="*/ 668846 w 3175826"/>
                  <a:gd name="connsiteY56" fmla="*/ 176403 h 280797"/>
                  <a:gd name="connsiteX57" fmla="*/ 668846 w 3175826"/>
                  <a:gd name="connsiteY57" fmla="*/ 182499 h 280797"/>
                  <a:gd name="connsiteX58" fmla="*/ 898112 w 3175826"/>
                  <a:gd name="connsiteY58" fmla="*/ 182499 h 280797"/>
                  <a:gd name="connsiteX59" fmla="*/ 898112 w 3175826"/>
                  <a:gd name="connsiteY59" fmla="*/ 188691 h 280797"/>
                  <a:gd name="connsiteX60" fmla="*/ 1011650 w 3175826"/>
                  <a:gd name="connsiteY60" fmla="*/ 188691 h 280797"/>
                  <a:gd name="connsiteX61" fmla="*/ 1011650 w 3175826"/>
                  <a:gd name="connsiteY61" fmla="*/ 194882 h 280797"/>
                  <a:gd name="connsiteX62" fmla="*/ 1280827 w 3175826"/>
                  <a:gd name="connsiteY62" fmla="*/ 194882 h 280797"/>
                  <a:gd name="connsiteX63" fmla="*/ 1280827 w 3175826"/>
                  <a:gd name="connsiteY63" fmla="*/ 201168 h 280797"/>
                  <a:gd name="connsiteX64" fmla="*/ 1354455 w 3175826"/>
                  <a:gd name="connsiteY64" fmla="*/ 201168 h 280797"/>
                  <a:gd name="connsiteX65" fmla="*/ 1354455 w 3175826"/>
                  <a:gd name="connsiteY65" fmla="*/ 207455 h 280797"/>
                  <a:gd name="connsiteX66" fmla="*/ 1434370 w 3175826"/>
                  <a:gd name="connsiteY66" fmla="*/ 207455 h 280797"/>
                  <a:gd name="connsiteX67" fmla="*/ 1434370 w 3175826"/>
                  <a:gd name="connsiteY67" fmla="*/ 213741 h 280797"/>
                  <a:gd name="connsiteX68" fmla="*/ 1596295 w 3175826"/>
                  <a:gd name="connsiteY68" fmla="*/ 213741 h 280797"/>
                  <a:gd name="connsiteX69" fmla="*/ 1596295 w 3175826"/>
                  <a:gd name="connsiteY69" fmla="*/ 220218 h 280797"/>
                  <a:gd name="connsiteX70" fmla="*/ 1613154 w 3175826"/>
                  <a:gd name="connsiteY70" fmla="*/ 220218 h 280797"/>
                  <a:gd name="connsiteX71" fmla="*/ 1613154 w 3175826"/>
                  <a:gd name="connsiteY71" fmla="*/ 226600 h 280797"/>
                  <a:gd name="connsiteX72" fmla="*/ 1730978 w 3175826"/>
                  <a:gd name="connsiteY72" fmla="*/ 226600 h 280797"/>
                  <a:gd name="connsiteX73" fmla="*/ 1730978 w 3175826"/>
                  <a:gd name="connsiteY73" fmla="*/ 233077 h 280797"/>
                  <a:gd name="connsiteX74" fmla="*/ 1823466 w 3175826"/>
                  <a:gd name="connsiteY74" fmla="*/ 233077 h 280797"/>
                  <a:gd name="connsiteX75" fmla="*/ 1823466 w 3175826"/>
                  <a:gd name="connsiteY75" fmla="*/ 239459 h 280797"/>
                  <a:gd name="connsiteX76" fmla="*/ 1842421 w 3175826"/>
                  <a:gd name="connsiteY76" fmla="*/ 239459 h 280797"/>
                  <a:gd name="connsiteX77" fmla="*/ 1842421 w 3175826"/>
                  <a:gd name="connsiteY77" fmla="*/ 245936 h 280797"/>
                  <a:gd name="connsiteX78" fmla="*/ 2696242 w 3175826"/>
                  <a:gd name="connsiteY78" fmla="*/ 245936 h 280797"/>
                  <a:gd name="connsiteX79" fmla="*/ 2696242 w 3175826"/>
                  <a:gd name="connsiteY79" fmla="*/ 280797 h 280797"/>
                  <a:gd name="connsiteX80" fmla="*/ 3175826 w 3175826"/>
                  <a:gd name="connsiteY80" fmla="*/ 280797 h 280797"/>
                  <a:gd name="connsiteX0" fmla="*/ 0 w 3175826"/>
                  <a:gd name="connsiteY0" fmla="*/ 0 h 280797"/>
                  <a:gd name="connsiteX1" fmla="*/ 14764 w 3175826"/>
                  <a:gd name="connsiteY1" fmla="*/ 6001 h 280797"/>
                  <a:gd name="connsiteX2" fmla="*/ 14764 w 3175826"/>
                  <a:gd name="connsiteY2" fmla="*/ 18193 h 280797"/>
                  <a:gd name="connsiteX3" fmla="*/ 16859 w 3175826"/>
                  <a:gd name="connsiteY3" fmla="*/ 18193 h 280797"/>
                  <a:gd name="connsiteX4" fmla="*/ 16859 w 3175826"/>
                  <a:gd name="connsiteY4" fmla="*/ 24289 h 280797"/>
                  <a:gd name="connsiteX5" fmla="*/ 29432 w 3175826"/>
                  <a:gd name="connsiteY5" fmla="*/ 24289 h 280797"/>
                  <a:gd name="connsiteX6" fmla="*/ 29432 w 3175826"/>
                  <a:gd name="connsiteY6" fmla="*/ 30290 h 280797"/>
                  <a:gd name="connsiteX7" fmla="*/ 52578 w 3175826"/>
                  <a:gd name="connsiteY7" fmla="*/ 30290 h 280797"/>
                  <a:gd name="connsiteX8" fmla="*/ 52578 w 3175826"/>
                  <a:gd name="connsiteY8" fmla="*/ 36386 h 280797"/>
                  <a:gd name="connsiteX9" fmla="*/ 58960 w 3175826"/>
                  <a:gd name="connsiteY9" fmla="*/ 36386 h 280797"/>
                  <a:gd name="connsiteX10" fmla="*/ 58960 w 3175826"/>
                  <a:gd name="connsiteY10" fmla="*/ 42482 h 280797"/>
                  <a:gd name="connsiteX11" fmla="*/ 67342 w 3175826"/>
                  <a:gd name="connsiteY11" fmla="*/ 42482 h 280797"/>
                  <a:gd name="connsiteX12" fmla="*/ 67342 w 3175826"/>
                  <a:gd name="connsiteY12" fmla="*/ 48483 h 280797"/>
                  <a:gd name="connsiteX13" fmla="*/ 75724 w 3175826"/>
                  <a:gd name="connsiteY13" fmla="*/ 48483 h 280797"/>
                  <a:gd name="connsiteX14" fmla="*/ 75724 w 3175826"/>
                  <a:gd name="connsiteY14" fmla="*/ 54579 h 280797"/>
                  <a:gd name="connsiteX15" fmla="*/ 79915 w 3175826"/>
                  <a:gd name="connsiteY15" fmla="*/ 54579 h 280797"/>
                  <a:gd name="connsiteX16" fmla="*/ 79915 w 3175826"/>
                  <a:gd name="connsiteY16" fmla="*/ 60675 h 280797"/>
                  <a:gd name="connsiteX17" fmla="*/ 153543 w 3175826"/>
                  <a:gd name="connsiteY17" fmla="*/ 60675 h 280797"/>
                  <a:gd name="connsiteX18" fmla="*/ 153543 w 3175826"/>
                  <a:gd name="connsiteY18" fmla="*/ 66675 h 280797"/>
                  <a:gd name="connsiteX19" fmla="*/ 174593 w 3175826"/>
                  <a:gd name="connsiteY19" fmla="*/ 66675 h 280797"/>
                  <a:gd name="connsiteX20" fmla="*/ 174593 w 3175826"/>
                  <a:gd name="connsiteY20" fmla="*/ 72771 h 280797"/>
                  <a:gd name="connsiteX21" fmla="*/ 180880 w 3175826"/>
                  <a:gd name="connsiteY21" fmla="*/ 72771 h 280797"/>
                  <a:gd name="connsiteX22" fmla="*/ 180880 w 3175826"/>
                  <a:gd name="connsiteY22" fmla="*/ 78867 h 280797"/>
                  <a:gd name="connsiteX23" fmla="*/ 222980 w 3175826"/>
                  <a:gd name="connsiteY23" fmla="*/ 78867 h 280797"/>
                  <a:gd name="connsiteX24" fmla="*/ 222980 w 3175826"/>
                  <a:gd name="connsiteY24" fmla="*/ 84868 h 280797"/>
                  <a:gd name="connsiteX25" fmla="*/ 237649 w 3175826"/>
                  <a:gd name="connsiteY25" fmla="*/ 84868 h 280797"/>
                  <a:gd name="connsiteX26" fmla="*/ 237649 w 3175826"/>
                  <a:gd name="connsiteY26" fmla="*/ 90964 h 280797"/>
                  <a:gd name="connsiteX27" fmla="*/ 267176 w 3175826"/>
                  <a:gd name="connsiteY27" fmla="*/ 90964 h 280797"/>
                  <a:gd name="connsiteX28" fmla="*/ 267176 w 3175826"/>
                  <a:gd name="connsiteY28" fmla="*/ 97060 h 280797"/>
                  <a:gd name="connsiteX29" fmla="*/ 269272 w 3175826"/>
                  <a:gd name="connsiteY29" fmla="*/ 97060 h 280797"/>
                  <a:gd name="connsiteX30" fmla="*/ 269272 w 3175826"/>
                  <a:gd name="connsiteY30" fmla="*/ 103061 h 280797"/>
                  <a:gd name="connsiteX31" fmla="*/ 292322 w 3175826"/>
                  <a:gd name="connsiteY31" fmla="*/ 103061 h 280797"/>
                  <a:gd name="connsiteX32" fmla="*/ 292322 w 3175826"/>
                  <a:gd name="connsiteY32" fmla="*/ 109157 h 280797"/>
                  <a:gd name="connsiteX33" fmla="*/ 304991 w 3175826"/>
                  <a:gd name="connsiteY33" fmla="*/ 109157 h 280797"/>
                  <a:gd name="connsiteX34" fmla="*/ 304991 w 3175826"/>
                  <a:gd name="connsiteY34" fmla="*/ 115253 h 280797"/>
                  <a:gd name="connsiteX35" fmla="*/ 340709 w 3175826"/>
                  <a:gd name="connsiteY35" fmla="*/ 115253 h 280797"/>
                  <a:gd name="connsiteX36" fmla="*/ 340709 w 3175826"/>
                  <a:gd name="connsiteY36" fmla="*/ 121349 h 280797"/>
                  <a:gd name="connsiteX37" fmla="*/ 456438 w 3175826"/>
                  <a:gd name="connsiteY37" fmla="*/ 121349 h 280797"/>
                  <a:gd name="connsiteX38" fmla="*/ 456438 w 3175826"/>
                  <a:gd name="connsiteY38" fmla="*/ 127350 h 280797"/>
                  <a:gd name="connsiteX39" fmla="*/ 494252 w 3175826"/>
                  <a:gd name="connsiteY39" fmla="*/ 127350 h 280797"/>
                  <a:gd name="connsiteX40" fmla="*/ 494252 w 3175826"/>
                  <a:gd name="connsiteY40" fmla="*/ 133541 h 280797"/>
                  <a:gd name="connsiteX41" fmla="*/ 546830 w 3175826"/>
                  <a:gd name="connsiteY41" fmla="*/ 133541 h 280797"/>
                  <a:gd name="connsiteX42" fmla="*/ 546830 w 3175826"/>
                  <a:gd name="connsiteY42" fmla="*/ 139637 h 280797"/>
                  <a:gd name="connsiteX43" fmla="*/ 565785 w 3175826"/>
                  <a:gd name="connsiteY43" fmla="*/ 139637 h 280797"/>
                  <a:gd name="connsiteX44" fmla="*/ 565785 w 3175826"/>
                  <a:gd name="connsiteY44" fmla="*/ 145733 h 280797"/>
                  <a:gd name="connsiteX45" fmla="*/ 576263 w 3175826"/>
                  <a:gd name="connsiteY45" fmla="*/ 145733 h 280797"/>
                  <a:gd name="connsiteX46" fmla="*/ 576263 w 3175826"/>
                  <a:gd name="connsiteY46" fmla="*/ 151924 h 280797"/>
                  <a:gd name="connsiteX47" fmla="*/ 609981 w 3175826"/>
                  <a:gd name="connsiteY47" fmla="*/ 151924 h 280797"/>
                  <a:gd name="connsiteX48" fmla="*/ 609981 w 3175826"/>
                  <a:gd name="connsiteY48" fmla="*/ 158020 h 280797"/>
                  <a:gd name="connsiteX49" fmla="*/ 616268 w 3175826"/>
                  <a:gd name="connsiteY49" fmla="*/ 158020 h 280797"/>
                  <a:gd name="connsiteX50" fmla="*/ 616268 w 3175826"/>
                  <a:gd name="connsiteY50" fmla="*/ 164116 h 280797"/>
                  <a:gd name="connsiteX51" fmla="*/ 630936 w 3175826"/>
                  <a:gd name="connsiteY51" fmla="*/ 164116 h 280797"/>
                  <a:gd name="connsiteX52" fmla="*/ 630936 w 3175826"/>
                  <a:gd name="connsiteY52" fmla="*/ 170212 h 280797"/>
                  <a:gd name="connsiteX53" fmla="*/ 643604 w 3175826"/>
                  <a:gd name="connsiteY53" fmla="*/ 170212 h 280797"/>
                  <a:gd name="connsiteX54" fmla="*/ 643604 w 3175826"/>
                  <a:gd name="connsiteY54" fmla="*/ 176403 h 280797"/>
                  <a:gd name="connsiteX55" fmla="*/ 668846 w 3175826"/>
                  <a:gd name="connsiteY55" fmla="*/ 176403 h 280797"/>
                  <a:gd name="connsiteX56" fmla="*/ 668846 w 3175826"/>
                  <a:gd name="connsiteY56" fmla="*/ 182499 h 280797"/>
                  <a:gd name="connsiteX57" fmla="*/ 898112 w 3175826"/>
                  <a:gd name="connsiteY57" fmla="*/ 182499 h 280797"/>
                  <a:gd name="connsiteX58" fmla="*/ 898112 w 3175826"/>
                  <a:gd name="connsiteY58" fmla="*/ 188691 h 280797"/>
                  <a:gd name="connsiteX59" fmla="*/ 1011650 w 3175826"/>
                  <a:gd name="connsiteY59" fmla="*/ 188691 h 280797"/>
                  <a:gd name="connsiteX60" fmla="*/ 1011650 w 3175826"/>
                  <a:gd name="connsiteY60" fmla="*/ 194882 h 280797"/>
                  <a:gd name="connsiteX61" fmla="*/ 1280827 w 3175826"/>
                  <a:gd name="connsiteY61" fmla="*/ 194882 h 280797"/>
                  <a:gd name="connsiteX62" fmla="*/ 1280827 w 3175826"/>
                  <a:gd name="connsiteY62" fmla="*/ 201168 h 280797"/>
                  <a:gd name="connsiteX63" fmla="*/ 1354455 w 3175826"/>
                  <a:gd name="connsiteY63" fmla="*/ 201168 h 280797"/>
                  <a:gd name="connsiteX64" fmla="*/ 1354455 w 3175826"/>
                  <a:gd name="connsiteY64" fmla="*/ 207455 h 280797"/>
                  <a:gd name="connsiteX65" fmla="*/ 1434370 w 3175826"/>
                  <a:gd name="connsiteY65" fmla="*/ 207455 h 280797"/>
                  <a:gd name="connsiteX66" fmla="*/ 1434370 w 3175826"/>
                  <a:gd name="connsiteY66" fmla="*/ 213741 h 280797"/>
                  <a:gd name="connsiteX67" fmla="*/ 1596295 w 3175826"/>
                  <a:gd name="connsiteY67" fmla="*/ 213741 h 280797"/>
                  <a:gd name="connsiteX68" fmla="*/ 1596295 w 3175826"/>
                  <a:gd name="connsiteY68" fmla="*/ 220218 h 280797"/>
                  <a:gd name="connsiteX69" fmla="*/ 1613154 w 3175826"/>
                  <a:gd name="connsiteY69" fmla="*/ 220218 h 280797"/>
                  <a:gd name="connsiteX70" fmla="*/ 1613154 w 3175826"/>
                  <a:gd name="connsiteY70" fmla="*/ 226600 h 280797"/>
                  <a:gd name="connsiteX71" fmla="*/ 1730978 w 3175826"/>
                  <a:gd name="connsiteY71" fmla="*/ 226600 h 280797"/>
                  <a:gd name="connsiteX72" fmla="*/ 1730978 w 3175826"/>
                  <a:gd name="connsiteY72" fmla="*/ 233077 h 280797"/>
                  <a:gd name="connsiteX73" fmla="*/ 1823466 w 3175826"/>
                  <a:gd name="connsiteY73" fmla="*/ 233077 h 280797"/>
                  <a:gd name="connsiteX74" fmla="*/ 1823466 w 3175826"/>
                  <a:gd name="connsiteY74" fmla="*/ 239459 h 280797"/>
                  <a:gd name="connsiteX75" fmla="*/ 1842421 w 3175826"/>
                  <a:gd name="connsiteY75" fmla="*/ 239459 h 280797"/>
                  <a:gd name="connsiteX76" fmla="*/ 1842421 w 3175826"/>
                  <a:gd name="connsiteY76" fmla="*/ 245936 h 280797"/>
                  <a:gd name="connsiteX77" fmla="*/ 2696242 w 3175826"/>
                  <a:gd name="connsiteY77" fmla="*/ 245936 h 280797"/>
                  <a:gd name="connsiteX78" fmla="*/ 2696242 w 3175826"/>
                  <a:gd name="connsiteY78" fmla="*/ 280797 h 280797"/>
                  <a:gd name="connsiteX79" fmla="*/ 3175826 w 3175826"/>
                  <a:gd name="connsiteY79" fmla="*/ 280797 h 280797"/>
                  <a:gd name="connsiteX0" fmla="*/ 0 w 3161062"/>
                  <a:gd name="connsiteY0" fmla="*/ 0 h 274796"/>
                  <a:gd name="connsiteX1" fmla="*/ 0 w 3161062"/>
                  <a:gd name="connsiteY1" fmla="*/ 12192 h 274796"/>
                  <a:gd name="connsiteX2" fmla="*/ 2095 w 3161062"/>
                  <a:gd name="connsiteY2" fmla="*/ 12192 h 274796"/>
                  <a:gd name="connsiteX3" fmla="*/ 2095 w 3161062"/>
                  <a:gd name="connsiteY3" fmla="*/ 18288 h 274796"/>
                  <a:gd name="connsiteX4" fmla="*/ 14668 w 3161062"/>
                  <a:gd name="connsiteY4" fmla="*/ 18288 h 274796"/>
                  <a:gd name="connsiteX5" fmla="*/ 14668 w 3161062"/>
                  <a:gd name="connsiteY5" fmla="*/ 24289 h 274796"/>
                  <a:gd name="connsiteX6" fmla="*/ 37814 w 3161062"/>
                  <a:gd name="connsiteY6" fmla="*/ 24289 h 274796"/>
                  <a:gd name="connsiteX7" fmla="*/ 37814 w 3161062"/>
                  <a:gd name="connsiteY7" fmla="*/ 30385 h 274796"/>
                  <a:gd name="connsiteX8" fmla="*/ 44196 w 3161062"/>
                  <a:gd name="connsiteY8" fmla="*/ 30385 h 274796"/>
                  <a:gd name="connsiteX9" fmla="*/ 44196 w 3161062"/>
                  <a:gd name="connsiteY9" fmla="*/ 36481 h 274796"/>
                  <a:gd name="connsiteX10" fmla="*/ 52578 w 3161062"/>
                  <a:gd name="connsiteY10" fmla="*/ 36481 h 274796"/>
                  <a:gd name="connsiteX11" fmla="*/ 52578 w 3161062"/>
                  <a:gd name="connsiteY11" fmla="*/ 42482 h 274796"/>
                  <a:gd name="connsiteX12" fmla="*/ 60960 w 3161062"/>
                  <a:gd name="connsiteY12" fmla="*/ 42482 h 274796"/>
                  <a:gd name="connsiteX13" fmla="*/ 60960 w 3161062"/>
                  <a:gd name="connsiteY13" fmla="*/ 48578 h 274796"/>
                  <a:gd name="connsiteX14" fmla="*/ 65151 w 3161062"/>
                  <a:gd name="connsiteY14" fmla="*/ 48578 h 274796"/>
                  <a:gd name="connsiteX15" fmla="*/ 65151 w 3161062"/>
                  <a:gd name="connsiteY15" fmla="*/ 54674 h 274796"/>
                  <a:gd name="connsiteX16" fmla="*/ 138779 w 3161062"/>
                  <a:gd name="connsiteY16" fmla="*/ 54674 h 274796"/>
                  <a:gd name="connsiteX17" fmla="*/ 138779 w 3161062"/>
                  <a:gd name="connsiteY17" fmla="*/ 60674 h 274796"/>
                  <a:gd name="connsiteX18" fmla="*/ 159829 w 3161062"/>
                  <a:gd name="connsiteY18" fmla="*/ 60674 h 274796"/>
                  <a:gd name="connsiteX19" fmla="*/ 159829 w 3161062"/>
                  <a:gd name="connsiteY19" fmla="*/ 66770 h 274796"/>
                  <a:gd name="connsiteX20" fmla="*/ 166116 w 3161062"/>
                  <a:gd name="connsiteY20" fmla="*/ 66770 h 274796"/>
                  <a:gd name="connsiteX21" fmla="*/ 166116 w 3161062"/>
                  <a:gd name="connsiteY21" fmla="*/ 72866 h 274796"/>
                  <a:gd name="connsiteX22" fmla="*/ 208216 w 3161062"/>
                  <a:gd name="connsiteY22" fmla="*/ 72866 h 274796"/>
                  <a:gd name="connsiteX23" fmla="*/ 208216 w 3161062"/>
                  <a:gd name="connsiteY23" fmla="*/ 78867 h 274796"/>
                  <a:gd name="connsiteX24" fmla="*/ 222885 w 3161062"/>
                  <a:gd name="connsiteY24" fmla="*/ 78867 h 274796"/>
                  <a:gd name="connsiteX25" fmla="*/ 222885 w 3161062"/>
                  <a:gd name="connsiteY25" fmla="*/ 84963 h 274796"/>
                  <a:gd name="connsiteX26" fmla="*/ 252412 w 3161062"/>
                  <a:gd name="connsiteY26" fmla="*/ 84963 h 274796"/>
                  <a:gd name="connsiteX27" fmla="*/ 252412 w 3161062"/>
                  <a:gd name="connsiteY27" fmla="*/ 91059 h 274796"/>
                  <a:gd name="connsiteX28" fmla="*/ 254508 w 3161062"/>
                  <a:gd name="connsiteY28" fmla="*/ 91059 h 274796"/>
                  <a:gd name="connsiteX29" fmla="*/ 254508 w 3161062"/>
                  <a:gd name="connsiteY29" fmla="*/ 97060 h 274796"/>
                  <a:gd name="connsiteX30" fmla="*/ 277558 w 3161062"/>
                  <a:gd name="connsiteY30" fmla="*/ 97060 h 274796"/>
                  <a:gd name="connsiteX31" fmla="*/ 277558 w 3161062"/>
                  <a:gd name="connsiteY31" fmla="*/ 103156 h 274796"/>
                  <a:gd name="connsiteX32" fmla="*/ 290227 w 3161062"/>
                  <a:gd name="connsiteY32" fmla="*/ 103156 h 274796"/>
                  <a:gd name="connsiteX33" fmla="*/ 290227 w 3161062"/>
                  <a:gd name="connsiteY33" fmla="*/ 109252 h 274796"/>
                  <a:gd name="connsiteX34" fmla="*/ 325945 w 3161062"/>
                  <a:gd name="connsiteY34" fmla="*/ 109252 h 274796"/>
                  <a:gd name="connsiteX35" fmla="*/ 325945 w 3161062"/>
                  <a:gd name="connsiteY35" fmla="*/ 115348 h 274796"/>
                  <a:gd name="connsiteX36" fmla="*/ 441674 w 3161062"/>
                  <a:gd name="connsiteY36" fmla="*/ 115348 h 274796"/>
                  <a:gd name="connsiteX37" fmla="*/ 441674 w 3161062"/>
                  <a:gd name="connsiteY37" fmla="*/ 121349 h 274796"/>
                  <a:gd name="connsiteX38" fmla="*/ 479488 w 3161062"/>
                  <a:gd name="connsiteY38" fmla="*/ 121349 h 274796"/>
                  <a:gd name="connsiteX39" fmla="*/ 479488 w 3161062"/>
                  <a:gd name="connsiteY39" fmla="*/ 127540 h 274796"/>
                  <a:gd name="connsiteX40" fmla="*/ 532066 w 3161062"/>
                  <a:gd name="connsiteY40" fmla="*/ 127540 h 274796"/>
                  <a:gd name="connsiteX41" fmla="*/ 532066 w 3161062"/>
                  <a:gd name="connsiteY41" fmla="*/ 133636 h 274796"/>
                  <a:gd name="connsiteX42" fmla="*/ 551021 w 3161062"/>
                  <a:gd name="connsiteY42" fmla="*/ 133636 h 274796"/>
                  <a:gd name="connsiteX43" fmla="*/ 551021 w 3161062"/>
                  <a:gd name="connsiteY43" fmla="*/ 139732 h 274796"/>
                  <a:gd name="connsiteX44" fmla="*/ 561499 w 3161062"/>
                  <a:gd name="connsiteY44" fmla="*/ 139732 h 274796"/>
                  <a:gd name="connsiteX45" fmla="*/ 561499 w 3161062"/>
                  <a:gd name="connsiteY45" fmla="*/ 145923 h 274796"/>
                  <a:gd name="connsiteX46" fmla="*/ 595217 w 3161062"/>
                  <a:gd name="connsiteY46" fmla="*/ 145923 h 274796"/>
                  <a:gd name="connsiteX47" fmla="*/ 595217 w 3161062"/>
                  <a:gd name="connsiteY47" fmla="*/ 152019 h 274796"/>
                  <a:gd name="connsiteX48" fmla="*/ 601504 w 3161062"/>
                  <a:gd name="connsiteY48" fmla="*/ 152019 h 274796"/>
                  <a:gd name="connsiteX49" fmla="*/ 601504 w 3161062"/>
                  <a:gd name="connsiteY49" fmla="*/ 158115 h 274796"/>
                  <a:gd name="connsiteX50" fmla="*/ 616172 w 3161062"/>
                  <a:gd name="connsiteY50" fmla="*/ 158115 h 274796"/>
                  <a:gd name="connsiteX51" fmla="*/ 616172 w 3161062"/>
                  <a:gd name="connsiteY51" fmla="*/ 164211 h 274796"/>
                  <a:gd name="connsiteX52" fmla="*/ 628840 w 3161062"/>
                  <a:gd name="connsiteY52" fmla="*/ 164211 h 274796"/>
                  <a:gd name="connsiteX53" fmla="*/ 628840 w 3161062"/>
                  <a:gd name="connsiteY53" fmla="*/ 170402 h 274796"/>
                  <a:gd name="connsiteX54" fmla="*/ 654082 w 3161062"/>
                  <a:gd name="connsiteY54" fmla="*/ 170402 h 274796"/>
                  <a:gd name="connsiteX55" fmla="*/ 654082 w 3161062"/>
                  <a:gd name="connsiteY55" fmla="*/ 176498 h 274796"/>
                  <a:gd name="connsiteX56" fmla="*/ 883348 w 3161062"/>
                  <a:gd name="connsiteY56" fmla="*/ 176498 h 274796"/>
                  <a:gd name="connsiteX57" fmla="*/ 883348 w 3161062"/>
                  <a:gd name="connsiteY57" fmla="*/ 182690 h 274796"/>
                  <a:gd name="connsiteX58" fmla="*/ 996886 w 3161062"/>
                  <a:gd name="connsiteY58" fmla="*/ 182690 h 274796"/>
                  <a:gd name="connsiteX59" fmla="*/ 996886 w 3161062"/>
                  <a:gd name="connsiteY59" fmla="*/ 188881 h 274796"/>
                  <a:gd name="connsiteX60" fmla="*/ 1266063 w 3161062"/>
                  <a:gd name="connsiteY60" fmla="*/ 188881 h 274796"/>
                  <a:gd name="connsiteX61" fmla="*/ 1266063 w 3161062"/>
                  <a:gd name="connsiteY61" fmla="*/ 195167 h 274796"/>
                  <a:gd name="connsiteX62" fmla="*/ 1339691 w 3161062"/>
                  <a:gd name="connsiteY62" fmla="*/ 195167 h 274796"/>
                  <a:gd name="connsiteX63" fmla="*/ 1339691 w 3161062"/>
                  <a:gd name="connsiteY63" fmla="*/ 201454 h 274796"/>
                  <a:gd name="connsiteX64" fmla="*/ 1419606 w 3161062"/>
                  <a:gd name="connsiteY64" fmla="*/ 201454 h 274796"/>
                  <a:gd name="connsiteX65" fmla="*/ 1419606 w 3161062"/>
                  <a:gd name="connsiteY65" fmla="*/ 207740 h 274796"/>
                  <a:gd name="connsiteX66" fmla="*/ 1581531 w 3161062"/>
                  <a:gd name="connsiteY66" fmla="*/ 207740 h 274796"/>
                  <a:gd name="connsiteX67" fmla="*/ 1581531 w 3161062"/>
                  <a:gd name="connsiteY67" fmla="*/ 214217 h 274796"/>
                  <a:gd name="connsiteX68" fmla="*/ 1598390 w 3161062"/>
                  <a:gd name="connsiteY68" fmla="*/ 214217 h 274796"/>
                  <a:gd name="connsiteX69" fmla="*/ 1598390 w 3161062"/>
                  <a:gd name="connsiteY69" fmla="*/ 220599 h 274796"/>
                  <a:gd name="connsiteX70" fmla="*/ 1716214 w 3161062"/>
                  <a:gd name="connsiteY70" fmla="*/ 220599 h 274796"/>
                  <a:gd name="connsiteX71" fmla="*/ 1716214 w 3161062"/>
                  <a:gd name="connsiteY71" fmla="*/ 227076 h 274796"/>
                  <a:gd name="connsiteX72" fmla="*/ 1808702 w 3161062"/>
                  <a:gd name="connsiteY72" fmla="*/ 227076 h 274796"/>
                  <a:gd name="connsiteX73" fmla="*/ 1808702 w 3161062"/>
                  <a:gd name="connsiteY73" fmla="*/ 233458 h 274796"/>
                  <a:gd name="connsiteX74" fmla="*/ 1827657 w 3161062"/>
                  <a:gd name="connsiteY74" fmla="*/ 233458 h 274796"/>
                  <a:gd name="connsiteX75" fmla="*/ 1827657 w 3161062"/>
                  <a:gd name="connsiteY75" fmla="*/ 239935 h 274796"/>
                  <a:gd name="connsiteX76" fmla="*/ 2681478 w 3161062"/>
                  <a:gd name="connsiteY76" fmla="*/ 239935 h 274796"/>
                  <a:gd name="connsiteX77" fmla="*/ 2681478 w 3161062"/>
                  <a:gd name="connsiteY77" fmla="*/ 274796 h 274796"/>
                  <a:gd name="connsiteX78" fmla="*/ 3161062 w 3161062"/>
                  <a:gd name="connsiteY78" fmla="*/ 274796 h 274796"/>
                  <a:gd name="connsiteX0" fmla="*/ 0 w 3161062"/>
                  <a:gd name="connsiteY0" fmla="*/ 0 h 262604"/>
                  <a:gd name="connsiteX1" fmla="*/ 2095 w 3161062"/>
                  <a:gd name="connsiteY1" fmla="*/ 0 h 262604"/>
                  <a:gd name="connsiteX2" fmla="*/ 2095 w 3161062"/>
                  <a:gd name="connsiteY2" fmla="*/ 6096 h 262604"/>
                  <a:gd name="connsiteX3" fmla="*/ 14668 w 3161062"/>
                  <a:gd name="connsiteY3" fmla="*/ 6096 h 262604"/>
                  <a:gd name="connsiteX4" fmla="*/ 14668 w 3161062"/>
                  <a:gd name="connsiteY4" fmla="*/ 12097 h 262604"/>
                  <a:gd name="connsiteX5" fmla="*/ 37814 w 3161062"/>
                  <a:gd name="connsiteY5" fmla="*/ 12097 h 262604"/>
                  <a:gd name="connsiteX6" fmla="*/ 37814 w 3161062"/>
                  <a:gd name="connsiteY6" fmla="*/ 18193 h 262604"/>
                  <a:gd name="connsiteX7" fmla="*/ 44196 w 3161062"/>
                  <a:gd name="connsiteY7" fmla="*/ 18193 h 262604"/>
                  <a:gd name="connsiteX8" fmla="*/ 44196 w 3161062"/>
                  <a:gd name="connsiteY8" fmla="*/ 24289 h 262604"/>
                  <a:gd name="connsiteX9" fmla="*/ 52578 w 3161062"/>
                  <a:gd name="connsiteY9" fmla="*/ 24289 h 262604"/>
                  <a:gd name="connsiteX10" fmla="*/ 52578 w 3161062"/>
                  <a:gd name="connsiteY10" fmla="*/ 30290 h 262604"/>
                  <a:gd name="connsiteX11" fmla="*/ 60960 w 3161062"/>
                  <a:gd name="connsiteY11" fmla="*/ 30290 h 262604"/>
                  <a:gd name="connsiteX12" fmla="*/ 60960 w 3161062"/>
                  <a:gd name="connsiteY12" fmla="*/ 36386 h 262604"/>
                  <a:gd name="connsiteX13" fmla="*/ 65151 w 3161062"/>
                  <a:gd name="connsiteY13" fmla="*/ 36386 h 262604"/>
                  <a:gd name="connsiteX14" fmla="*/ 65151 w 3161062"/>
                  <a:gd name="connsiteY14" fmla="*/ 42482 h 262604"/>
                  <a:gd name="connsiteX15" fmla="*/ 138779 w 3161062"/>
                  <a:gd name="connsiteY15" fmla="*/ 42482 h 262604"/>
                  <a:gd name="connsiteX16" fmla="*/ 138779 w 3161062"/>
                  <a:gd name="connsiteY16" fmla="*/ 48482 h 262604"/>
                  <a:gd name="connsiteX17" fmla="*/ 159829 w 3161062"/>
                  <a:gd name="connsiteY17" fmla="*/ 48482 h 262604"/>
                  <a:gd name="connsiteX18" fmla="*/ 159829 w 3161062"/>
                  <a:gd name="connsiteY18" fmla="*/ 54578 h 262604"/>
                  <a:gd name="connsiteX19" fmla="*/ 166116 w 3161062"/>
                  <a:gd name="connsiteY19" fmla="*/ 54578 h 262604"/>
                  <a:gd name="connsiteX20" fmla="*/ 166116 w 3161062"/>
                  <a:gd name="connsiteY20" fmla="*/ 60674 h 262604"/>
                  <a:gd name="connsiteX21" fmla="*/ 208216 w 3161062"/>
                  <a:gd name="connsiteY21" fmla="*/ 60674 h 262604"/>
                  <a:gd name="connsiteX22" fmla="*/ 208216 w 3161062"/>
                  <a:gd name="connsiteY22" fmla="*/ 66675 h 262604"/>
                  <a:gd name="connsiteX23" fmla="*/ 222885 w 3161062"/>
                  <a:gd name="connsiteY23" fmla="*/ 66675 h 262604"/>
                  <a:gd name="connsiteX24" fmla="*/ 222885 w 3161062"/>
                  <a:gd name="connsiteY24" fmla="*/ 72771 h 262604"/>
                  <a:gd name="connsiteX25" fmla="*/ 252412 w 3161062"/>
                  <a:gd name="connsiteY25" fmla="*/ 72771 h 262604"/>
                  <a:gd name="connsiteX26" fmla="*/ 252412 w 3161062"/>
                  <a:gd name="connsiteY26" fmla="*/ 78867 h 262604"/>
                  <a:gd name="connsiteX27" fmla="*/ 254508 w 3161062"/>
                  <a:gd name="connsiteY27" fmla="*/ 78867 h 262604"/>
                  <a:gd name="connsiteX28" fmla="*/ 254508 w 3161062"/>
                  <a:gd name="connsiteY28" fmla="*/ 84868 h 262604"/>
                  <a:gd name="connsiteX29" fmla="*/ 277558 w 3161062"/>
                  <a:gd name="connsiteY29" fmla="*/ 84868 h 262604"/>
                  <a:gd name="connsiteX30" fmla="*/ 277558 w 3161062"/>
                  <a:gd name="connsiteY30" fmla="*/ 90964 h 262604"/>
                  <a:gd name="connsiteX31" fmla="*/ 290227 w 3161062"/>
                  <a:gd name="connsiteY31" fmla="*/ 90964 h 262604"/>
                  <a:gd name="connsiteX32" fmla="*/ 290227 w 3161062"/>
                  <a:gd name="connsiteY32" fmla="*/ 97060 h 262604"/>
                  <a:gd name="connsiteX33" fmla="*/ 325945 w 3161062"/>
                  <a:gd name="connsiteY33" fmla="*/ 97060 h 262604"/>
                  <a:gd name="connsiteX34" fmla="*/ 325945 w 3161062"/>
                  <a:gd name="connsiteY34" fmla="*/ 103156 h 262604"/>
                  <a:gd name="connsiteX35" fmla="*/ 441674 w 3161062"/>
                  <a:gd name="connsiteY35" fmla="*/ 103156 h 262604"/>
                  <a:gd name="connsiteX36" fmla="*/ 441674 w 3161062"/>
                  <a:gd name="connsiteY36" fmla="*/ 109157 h 262604"/>
                  <a:gd name="connsiteX37" fmla="*/ 479488 w 3161062"/>
                  <a:gd name="connsiteY37" fmla="*/ 109157 h 262604"/>
                  <a:gd name="connsiteX38" fmla="*/ 479488 w 3161062"/>
                  <a:gd name="connsiteY38" fmla="*/ 115348 h 262604"/>
                  <a:gd name="connsiteX39" fmla="*/ 532066 w 3161062"/>
                  <a:gd name="connsiteY39" fmla="*/ 115348 h 262604"/>
                  <a:gd name="connsiteX40" fmla="*/ 532066 w 3161062"/>
                  <a:gd name="connsiteY40" fmla="*/ 121444 h 262604"/>
                  <a:gd name="connsiteX41" fmla="*/ 551021 w 3161062"/>
                  <a:gd name="connsiteY41" fmla="*/ 121444 h 262604"/>
                  <a:gd name="connsiteX42" fmla="*/ 551021 w 3161062"/>
                  <a:gd name="connsiteY42" fmla="*/ 127540 h 262604"/>
                  <a:gd name="connsiteX43" fmla="*/ 561499 w 3161062"/>
                  <a:gd name="connsiteY43" fmla="*/ 127540 h 262604"/>
                  <a:gd name="connsiteX44" fmla="*/ 561499 w 3161062"/>
                  <a:gd name="connsiteY44" fmla="*/ 133731 h 262604"/>
                  <a:gd name="connsiteX45" fmla="*/ 595217 w 3161062"/>
                  <a:gd name="connsiteY45" fmla="*/ 133731 h 262604"/>
                  <a:gd name="connsiteX46" fmla="*/ 595217 w 3161062"/>
                  <a:gd name="connsiteY46" fmla="*/ 139827 h 262604"/>
                  <a:gd name="connsiteX47" fmla="*/ 601504 w 3161062"/>
                  <a:gd name="connsiteY47" fmla="*/ 139827 h 262604"/>
                  <a:gd name="connsiteX48" fmla="*/ 601504 w 3161062"/>
                  <a:gd name="connsiteY48" fmla="*/ 145923 h 262604"/>
                  <a:gd name="connsiteX49" fmla="*/ 616172 w 3161062"/>
                  <a:gd name="connsiteY49" fmla="*/ 145923 h 262604"/>
                  <a:gd name="connsiteX50" fmla="*/ 616172 w 3161062"/>
                  <a:gd name="connsiteY50" fmla="*/ 152019 h 262604"/>
                  <a:gd name="connsiteX51" fmla="*/ 628840 w 3161062"/>
                  <a:gd name="connsiteY51" fmla="*/ 152019 h 262604"/>
                  <a:gd name="connsiteX52" fmla="*/ 628840 w 3161062"/>
                  <a:gd name="connsiteY52" fmla="*/ 158210 h 262604"/>
                  <a:gd name="connsiteX53" fmla="*/ 654082 w 3161062"/>
                  <a:gd name="connsiteY53" fmla="*/ 158210 h 262604"/>
                  <a:gd name="connsiteX54" fmla="*/ 654082 w 3161062"/>
                  <a:gd name="connsiteY54" fmla="*/ 164306 h 262604"/>
                  <a:gd name="connsiteX55" fmla="*/ 883348 w 3161062"/>
                  <a:gd name="connsiteY55" fmla="*/ 164306 h 262604"/>
                  <a:gd name="connsiteX56" fmla="*/ 883348 w 3161062"/>
                  <a:gd name="connsiteY56" fmla="*/ 170498 h 262604"/>
                  <a:gd name="connsiteX57" fmla="*/ 996886 w 3161062"/>
                  <a:gd name="connsiteY57" fmla="*/ 170498 h 262604"/>
                  <a:gd name="connsiteX58" fmla="*/ 996886 w 3161062"/>
                  <a:gd name="connsiteY58" fmla="*/ 176689 h 262604"/>
                  <a:gd name="connsiteX59" fmla="*/ 1266063 w 3161062"/>
                  <a:gd name="connsiteY59" fmla="*/ 176689 h 262604"/>
                  <a:gd name="connsiteX60" fmla="*/ 1266063 w 3161062"/>
                  <a:gd name="connsiteY60" fmla="*/ 182975 h 262604"/>
                  <a:gd name="connsiteX61" fmla="*/ 1339691 w 3161062"/>
                  <a:gd name="connsiteY61" fmla="*/ 182975 h 262604"/>
                  <a:gd name="connsiteX62" fmla="*/ 1339691 w 3161062"/>
                  <a:gd name="connsiteY62" fmla="*/ 189262 h 262604"/>
                  <a:gd name="connsiteX63" fmla="*/ 1419606 w 3161062"/>
                  <a:gd name="connsiteY63" fmla="*/ 189262 h 262604"/>
                  <a:gd name="connsiteX64" fmla="*/ 1419606 w 3161062"/>
                  <a:gd name="connsiteY64" fmla="*/ 195548 h 262604"/>
                  <a:gd name="connsiteX65" fmla="*/ 1581531 w 3161062"/>
                  <a:gd name="connsiteY65" fmla="*/ 195548 h 262604"/>
                  <a:gd name="connsiteX66" fmla="*/ 1581531 w 3161062"/>
                  <a:gd name="connsiteY66" fmla="*/ 202025 h 262604"/>
                  <a:gd name="connsiteX67" fmla="*/ 1598390 w 3161062"/>
                  <a:gd name="connsiteY67" fmla="*/ 202025 h 262604"/>
                  <a:gd name="connsiteX68" fmla="*/ 1598390 w 3161062"/>
                  <a:gd name="connsiteY68" fmla="*/ 208407 h 262604"/>
                  <a:gd name="connsiteX69" fmla="*/ 1716214 w 3161062"/>
                  <a:gd name="connsiteY69" fmla="*/ 208407 h 262604"/>
                  <a:gd name="connsiteX70" fmla="*/ 1716214 w 3161062"/>
                  <a:gd name="connsiteY70" fmla="*/ 214884 h 262604"/>
                  <a:gd name="connsiteX71" fmla="*/ 1808702 w 3161062"/>
                  <a:gd name="connsiteY71" fmla="*/ 214884 h 262604"/>
                  <a:gd name="connsiteX72" fmla="*/ 1808702 w 3161062"/>
                  <a:gd name="connsiteY72" fmla="*/ 221266 h 262604"/>
                  <a:gd name="connsiteX73" fmla="*/ 1827657 w 3161062"/>
                  <a:gd name="connsiteY73" fmla="*/ 221266 h 262604"/>
                  <a:gd name="connsiteX74" fmla="*/ 1827657 w 3161062"/>
                  <a:gd name="connsiteY74" fmla="*/ 227743 h 262604"/>
                  <a:gd name="connsiteX75" fmla="*/ 2681478 w 3161062"/>
                  <a:gd name="connsiteY75" fmla="*/ 227743 h 262604"/>
                  <a:gd name="connsiteX76" fmla="*/ 2681478 w 3161062"/>
                  <a:gd name="connsiteY76" fmla="*/ 262604 h 262604"/>
                  <a:gd name="connsiteX77" fmla="*/ 3161062 w 3161062"/>
                  <a:gd name="connsiteY77" fmla="*/ 262604 h 262604"/>
                  <a:gd name="connsiteX0" fmla="*/ 0 w 3161062"/>
                  <a:gd name="connsiteY0" fmla="*/ 0 h 262604"/>
                  <a:gd name="connsiteX1" fmla="*/ 2095 w 3161062"/>
                  <a:gd name="connsiteY1" fmla="*/ 0 h 262604"/>
                  <a:gd name="connsiteX2" fmla="*/ 14668 w 3161062"/>
                  <a:gd name="connsiteY2" fmla="*/ 6096 h 262604"/>
                  <a:gd name="connsiteX3" fmla="*/ 14668 w 3161062"/>
                  <a:gd name="connsiteY3" fmla="*/ 12097 h 262604"/>
                  <a:gd name="connsiteX4" fmla="*/ 37814 w 3161062"/>
                  <a:gd name="connsiteY4" fmla="*/ 12097 h 262604"/>
                  <a:gd name="connsiteX5" fmla="*/ 37814 w 3161062"/>
                  <a:gd name="connsiteY5" fmla="*/ 18193 h 262604"/>
                  <a:gd name="connsiteX6" fmla="*/ 44196 w 3161062"/>
                  <a:gd name="connsiteY6" fmla="*/ 18193 h 262604"/>
                  <a:gd name="connsiteX7" fmla="*/ 44196 w 3161062"/>
                  <a:gd name="connsiteY7" fmla="*/ 24289 h 262604"/>
                  <a:gd name="connsiteX8" fmla="*/ 52578 w 3161062"/>
                  <a:gd name="connsiteY8" fmla="*/ 24289 h 262604"/>
                  <a:gd name="connsiteX9" fmla="*/ 52578 w 3161062"/>
                  <a:gd name="connsiteY9" fmla="*/ 30290 h 262604"/>
                  <a:gd name="connsiteX10" fmla="*/ 60960 w 3161062"/>
                  <a:gd name="connsiteY10" fmla="*/ 30290 h 262604"/>
                  <a:gd name="connsiteX11" fmla="*/ 60960 w 3161062"/>
                  <a:gd name="connsiteY11" fmla="*/ 36386 h 262604"/>
                  <a:gd name="connsiteX12" fmla="*/ 65151 w 3161062"/>
                  <a:gd name="connsiteY12" fmla="*/ 36386 h 262604"/>
                  <a:gd name="connsiteX13" fmla="*/ 65151 w 3161062"/>
                  <a:gd name="connsiteY13" fmla="*/ 42482 h 262604"/>
                  <a:gd name="connsiteX14" fmla="*/ 138779 w 3161062"/>
                  <a:gd name="connsiteY14" fmla="*/ 42482 h 262604"/>
                  <a:gd name="connsiteX15" fmla="*/ 138779 w 3161062"/>
                  <a:gd name="connsiteY15" fmla="*/ 48482 h 262604"/>
                  <a:gd name="connsiteX16" fmla="*/ 159829 w 3161062"/>
                  <a:gd name="connsiteY16" fmla="*/ 48482 h 262604"/>
                  <a:gd name="connsiteX17" fmla="*/ 159829 w 3161062"/>
                  <a:gd name="connsiteY17" fmla="*/ 54578 h 262604"/>
                  <a:gd name="connsiteX18" fmla="*/ 166116 w 3161062"/>
                  <a:gd name="connsiteY18" fmla="*/ 54578 h 262604"/>
                  <a:gd name="connsiteX19" fmla="*/ 166116 w 3161062"/>
                  <a:gd name="connsiteY19" fmla="*/ 60674 h 262604"/>
                  <a:gd name="connsiteX20" fmla="*/ 208216 w 3161062"/>
                  <a:gd name="connsiteY20" fmla="*/ 60674 h 262604"/>
                  <a:gd name="connsiteX21" fmla="*/ 208216 w 3161062"/>
                  <a:gd name="connsiteY21" fmla="*/ 66675 h 262604"/>
                  <a:gd name="connsiteX22" fmla="*/ 222885 w 3161062"/>
                  <a:gd name="connsiteY22" fmla="*/ 66675 h 262604"/>
                  <a:gd name="connsiteX23" fmla="*/ 222885 w 3161062"/>
                  <a:gd name="connsiteY23" fmla="*/ 72771 h 262604"/>
                  <a:gd name="connsiteX24" fmla="*/ 252412 w 3161062"/>
                  <a:gd name="connsiteY24" fmla="*/ 72771 h 262604"/>
                  <a:gd name="connsiteX25" fmla="*/ 252412 w 3161062"/>
                  <a:gd name="connsiteY25" fmla="*/ 78867 h 262604"/>
                  <a:gd name="connsiteX26" fmla="*/ 254508 w 3161062"/>
                  <a:gd name="connsiteY26" fmla="*/ 78867 h 262604"/>
                  <a:gd name="connsiteX27" fmla="*/ 254508 w 3161062"/>
                  <a:gd name="connsiteY27" fmla="*/ 84868 h 262604"/>
                  <a:gd name="connsiteX28" fmla="*/ 277558 w 3161062"/>
                  <a:gd name="connsiteY28" fmla="*/ 84868 h 262604"/>
                  <a:gd name="connsiteX29" fmla="*/ 277558 w 3161062"/>
                  <a:gd name="connsiteY29" fmla="*/ 90964 h 262604"/>
                  <a:gd name="connsiteX30" fmla="*/ 290227 w 3161062"/>
                  <a:gd name="connsiteY30" fmla="*/ 90964 h 262604"/>
                  <a:gd name="connsiteX31" fmla="*/ 290227 w 3161062"/>
                  <a:gd name="connsiteY31" fmla="*/ 97060 h 262604"/>
                  <a:gd name="connsiteX32" fmla="*/ 325945 w 3161062"/>
                  <a:gd name="connsiteY32" fmla="*/ 97060 h 262604"/>
                  <a:gd name="connsiteX33" fmla="*/ 325945 w 3161062"/>
                  <a:gd name="connsiteY33" fmla="*/ 103156 h 262604"/>
                  <a:gd name="connsiteX34" fmla="*/ 441674 w 3161062"/>
                  <a:gd name="connsiteY34" fmla="*/ 103156 h 262604"/>
                  <a:gd name="connsiteX35" fmla="*/ 441674 w 3161062"/>
                  <a:gd name="connsiteY35" fmla="*/ 109157 h 262604"/>
                  <a:gd name="connsiteX36" fmla="*/ 479488 w 3161062"/>
                  <a:gd name="connsiteY36" fmla="*/ 109157 h 262604"/>
                  <a:gd name="connsiteX37" fmla="*/ 479488 w 3161062"/>
                  <a:gd name="connsiteY37" fmla="*/ 115348 h 262604"/>
                  <a:gd name="connsiteX38" fmla="*/ 532066 w 3161062"/>
                  <a:gd name="connsiteY38" fmla="*/ 115348 h 262604"/>
                  <a:gd name="connsiteX39" fmla="*/ 532066 w 3161062"/>
                  <a:gd name="connsiteY39" fmla="*/ 121444 h 262604"/>
                  <a:gd name="connsiteX40" fmla="*/ 551021 w 3161062"/>
                  <a:gd name="connsiteY40" fmla="*/ 121444 h 262604"/>
                  <a:gd name="connsiteX41" fmla="*/ 551021 w 3161062"/>
                  <a:gd name="connsiteY41" fmla="*/ 127540 h 262604"/>
                  <a:gd name="connsiteX42" fmla="*/ 561499 w 3161062"/>
                  <a:gd name="connsiteY42" fmla="*/ 127540 h 262604"/>
                  <a:gd name="connsiteX43" fmla="*/ 561499 w 3161062"/>
                  <a:gd name="connsiteY43" fmla="*/ 133731 h 262604"/>
                  <a:gd name="connsiteX44" fmla="*/ 595217 w 3161062"/>
                  <a:gd name="connsiteY44" fmla="*/ 133731 h 262604"/>
                  <a:gd name="connsiteX45" fmla="*/ 595217 w 3161062"/>
                  <a:gd name="connsiteY45" fmla="*/ 139827 h 262604"/>
                  <a:gd name="connsiteX46" fmla="*/ 601504 w 3161062"/>
                  <a:gd name="connsiteY46" fmla="*/ 139827 h 262604"/>
                  <a:gd name="connsiteX47" fmla="*/ 601504 w 3161062"/>
                  <a:gd name="connsiteY47" fmla="*/ 145923 h 262604"/>
                  <a:gd name="connsiteX48" fmla="*/ 616172 w 3161062"/>
                  <a:gd name="connsiteY48" fmla="*/ 145923 h 262604"/>
                  <a:gd name="connsiteX49" fmla="*/ 616172 w 3161062"/>
                  <a:gd name="connsiteY49" fmla="*/ 152019 h 262604"/>
                  <a:gd name="connsiteX50" fmla="*/ 628840 w 3161062"/>
                  <a:gd name="connsiteY50" fmla="*/ 152019 h 262604"/>
                  <a:gd name="connsiteX51" fmla="*/ 628840 w 3161062"/>
                  <a:gd name="connsiteY51" fmla="*/ 158210 h 262604"/>
                  <a:gd name="connsiteX52" fmla="*/ 654082 w 3161062"/>
                  <a:gd name="connsiteY52" fmla="*/ 158210 h 262604"/>
                  <a:gd name="connsiteX53" fmla="*/ 654082 w 3161062"/>
                  <a:gd name="connsiteY53" fmla="*/ 164306 h 262604"/>
                  <a:gd name="connsiteX54" fmla="*/ 883348 w 3161062"/>
                  <a:gd name="connsiteY54" fmla="*/ 164306 h 262604"/>
                  <a:gd name="connsiteX55" fmla="*/ 883348 w 3161062"/>
                  <a:gd name="connsiteY55" fmla="*/ 170498 h 262604"/>
                  <a:gd name="connsiteX56" fmla="*/ 996886 w 3161062"/>
                  <a:gd name="connsiteY56" fmla="*/ 170498 h 262604"/>
                  <a:gd name="connsiteX57" fmla="*/ 996886 w 3161062"/>
                  <a:gd name="connsiteY57" fmla="*/ 176689 h 262604"/>
                  <a:gd name="connsiteX58" fmla="*/ 1266063 w 3161062"/>
                  <a:gd name="connsiteY58" fmla="*/ 176689 h 262604"/>
                  <a:gd name="connsiteX59" fmla="*/ 1266063 w 3161062"/>
                  <a:gd name="connsiteY59" fmla="*/ 182975 h 262604"/>
                  <a:gd name="connsiteX60" fmla="*/ 1339691 w 3161062"/>
                  <a:gd name="connsiteY60" fmla="*/ 182975 h 262604"/>
                  <a:gd name="connsiteX61" fmla="*/ 1339691 w 3161062"/>
                  <a:gd name="connsiteY61" fmla="*/ 189262 h 262604"/>
                  <a:gd name="connsiteX62" fmla="*/ 1419606 w 3161062"/>
                  <a:gd name="connsiteY62" fmla="*/ 189262 h 262604"/>
                  <a:gd name="connsiteX63" fmla="*/ 1419606 w 3161062"/>
                  <a:gd name="connsiteY63" fmla="*/ 195548 h 262604"/>
                  <a:gd name="connsiteX64" fmla="*/ 1581531 w 3161062"/>
                  <a:gd name="connsiteY64" fmla="*/ 195548 h 262604"/>
                  <a:gd name="connsiteX65" fmla="*/ 1581531 w 3161062"/>
                  <a:gd name="connsiteY65" fmla="*/ 202025 h 262604"/>
                  <a:gd name="connsiteX66" fmla="*/ 1598390 w 3161062"/>
                  <a:gd name="connsiteY66" fmla="*/ 202025 h 262604"/>
                  <a:gd name="connsiteX67" fmla="*/ 1598390 w 3161062"/>
                  <a:gd name="connsiteY67" fmla="*/ 208407 h 262604"/>
                  <a:gd name="connsiteX68" fmla="*/ 1716214 w 3161062"/>
                  <a:gd name="connsiteY68" fmla="*/ 208407 h 262604"/>
                  <a:gd name="connsiteX69" fmla="*/ 1716214 w 3161062"/>
                  <a:gd name="connsiteY69" fmla="*/ 214884 h 262604"/>
                  <a:gd name="connsiteX70" fmla="*/ 1808702 w 3161062"/>
                  <a:gd name="connsiteY70" fmla="*/ 214884 h 262604"/>
                  <a:gd name="connsiteX71" fmla="*/ 1808702 w 3161062"/>
                  <a:gd name="connsiteY71" fmla="*/ 221266 h 262604"/>
                  <a:gd name="connsiteX72" fmla="*/ 1827657 w 3161062"/>
                  <a:gd name="connsiteY72" fmla="*/ 221266 h 262604"/>
                  <a:gd name="connsiteX73" fmla="*/ 1827657 w 3161062"/>
                  <a:gd name="connsiteY73" fmla="*/ 227743 h 262604"/>
                  <a:gd name="connsiteX74" fmla="*/ 2681478 w 3161062"/>
                  <a:gd name="connsiteY74" fmla="*/ 227743 h 262604"/>
                  <a:gd name="connsiteX75" fmla="*/ 2681478 w 3161062"/>
                  <a:gd name="connsiteY75" fmla="*/ 262604 h 262604"/>
                  <a:gd name="connsiteX76" fmla="*/ 3161062 w 3161062"/>
                  <a:gd name="connsiteY76" fmla="*/ 262604 h 262604"/>
                  <a:gd name="connsiteX0" fmla="*/ 0 w 3161062"/>
                  <a:gd name="connsiteY0" fmla="*/ 0 h 262604"/>
                  <a:gd name="connsiteX1" fmla="*/ 14668 w 3161062"/>
                  <a:gd name="connsiteY1" fmla="*/ 6096 h 262604"/>
                  <a:gd name="connsiteX2" fmla="*/ 14668 w 3161062"/>
                  <a:gd name="connsiteY2" fmla="*/ 12097 h 262604"/>
                  <a:gd name="connsiteX3" fmla="*/ 37814 w 3161062"/>
                  <a:gd name="connsiteY3" fmla="*/ 12097 h 262604"/>
                  <a:gd name="connsiteX4" fmla="*/ 37814 w 3161062"/>
                  <a:gd name="connsiteY4" fmla="*/ 18193 h 262604"/>
                  <a:gd name="connsiteX5" fmla="*/ 44196 w 3161062"/>
                  <a:gd name="connsiteY5" fmla="*/ 18193 h 262604"/>
                  <a:gd name="connsiteX6" fmla="*/ 44196 w 3161062"/>
                  <a:gd name="connsiteY6" fmla="*/ 24289 h 262604"/>
                  <a:gd name="connsiteX7" fmla="*/ 52578 w 3161062"/>
                  <a:gd name="connsiteY7" fmla="*/ 24289 h 262604"/>
                  <a:gd name="connsiteX8" fmla="*/ 52578 w 3161062"/>
                  <a:gd name="connsiteY8" fmla="*/ 30290 h 262604"/>
                  <a:gd name="connsiteX9" fmla="*/ 60960 w 3161062"/>
                  <a:gd name="connsiteY9" fmla="*/ 30290 h 262604"/>
                  <a:gd name="connsiteX10" fmla="*/ 60960 w 3161062"/>
                  <a:gd name="connsiteY10" fmla="*/ 36386 h 262604"/>
                  <a:gd name="connsiteX11" fmla="*/ 65151 w 3161062"/>
                  <a:gd name="connsiteY11" fmla="*/ 36386 h 262604"/>
                  <a:gd name="connsiteX12" fmla="*/ 65151 w 3161062"/>
                  <a:gd name="connsiteY12" fmla="*/ 42482 h 262604"/>
                  <a:gd name="connsiteX13" fmla="*/ 138779 w 3161062"/>
                  <a:gd name="connsiteY13" fmla="*/ 42482 h 262604"/>
                  <a:gd name="connsiteX14" fmla="*/ 138779 w 3161062"/>
                  <a:gd name="connsiteY14" fmla="*/ 48482 h 262604"/>
                  <a:gd name="connsiteX15" fmla="*/ 159829 w 3161062"/>
                  <a:gd name="connsiteY15" fmla="*/ 48482 h 262604"/>
                  <a:gd name="connsiteX16" fmla="*/ 159829 w 3161062"/>
                  <a:gd name="connsiteY16" fmla="*/ 54578 h 262604"/>
                  <a:gd name="connsiteX17" fmla="*/ 166116 w 3161062"/>
                  <a:gd name="connsiteY17" fmla="*/ 54578 h 262604"/>
                  <a:gd name="connsiteX18" fmla="*/ 166116 w 3161062"/>
                  <a:gd name="connsiteY18" fmla="*/ 60674 h 262604"/>
                  <a:gd name="connsiteX19" fmla="*/ 208216 w 3161062"/>
                  <a:gd name="connsiteY19" fmla="*/ 60674 h 262604"/>
                  <a:gd name="connsiteX20" fmla="*/ 208216 w 3161062"/>
                  <a:gd name="connsiteY20" fmla="*/ 66675 h 262604"/>
                  <a:gd name="connsiteX21" fmla="*/ 222885 w 3161062"/>
                  <a:gd name="connsiteY21" fmla="*/ 66675 h 262604"/>
                  <a:gd name="connsiteX22" fmla="*/ 222885 w 3161062"/>
                  <a:gd name="connsiteY22" fmla="*/ 72771 h 262604"/>
                  <a:gd name="connsiteX23" fmla="*/ 252412 w 3161062"/>
                  <a:gd name="connsiteY23" fmla="*/ 72771 h 262604"/>
                  <a:gd name="connsiteX24" fmla="*/ 252412 w 3161062"/>
                  <a:gd name="connsiteY24" fmla="*/ 78867 h 262604"/>
                  <a:gd name="connsiteX25" fmla="*/ 254508 w 3161062"/>
                  <a:gd name="connsiteY25" fmla="*/ 78867 h 262604"/>
                  <a:gd name="connsiteX26" fmla="*/ 254508 w 3161062"/>
                  <a:gd name="connsiteY26" fmla="*/ 84868 h 262604"/>
                  <a:gd name="connsiteX27" fmla="*/ 277558 w 3161062"/>
                  <a:gd name="connsiteY27" fmla="*/ 84868 h 262604"/>
                  <a:gd name="connsiteX28" fmla="*/ 277558 w 3161062"/>
                  <a:gd name="connsiteY28" fmla="*/ 90964 h 262604"/>
                  <a:gd name="connsiteX29" fmla="*/ 290227 w 3161062"/>
                  <a:gd name="connsiteY29" fmla="*/ 90964 h 262604"/>
                  <a:gd name="connsiteX30" fmla="*/ 290227 w 3161062"/>
                  <a:gd name="connsiteY30" fmla="*/ 97060 h 262604"/>
                  <a:gd name="connsiteX31" fmla="*/ 325945 w 3161062"/>
                  <a:gd name="connsiteY31" fmla="*/ 97060 h 262604"/>
                  <a:gd name="connsiteX32" fmla="*/ 325945 w 3161062"/>
                  <a:gd name="connsiteY32" fmla="*/ 103156 h 262604"/>
                  <a:gd name="connsiteX33" fmla="*/ 441674 w 3161062"/>
                  <a:gd name="connsiteY33" fmla="*/ 103156 h 262604"/>
                  <a:gd name="connsiteX34" fmla="*/ 441674 w 3161062"/>
                  <a:gd name="connsiteY34" fmla="*/ 109157 h 262604"/>
                  <a:gd name="connsiteX35" fmla="*/ 479488 w 3161062"/>
                  <a:gd name="connsiteY35" fmla="*/ 109157 h 262604"/>
                  <a:gd name="connsiteX36" fmla="*/ 479488 w 3161062"/>
                  <a:gd name="connsiteY36" fmla="*/ 115348 h 262604"/>
                  <a:gd name="connsiteX37" fmla="*/ 532066 w 3161062"/>
                  <a:gd name="connsiteY37" fmla="*/ 115348 h 262604"/>
                  <a:gd name="connsiteX38" fmla="*/ 532066 w 3161062"/>
                  <a:gd name="connsiteY38" fmla="*/ 121444 h 262604"/>
                  <a:gd name="connsiteX39" fmla="*/ 551021 w 3161062"/>
                  <a:gd name="connsiteY39" fmla="*/ 121444 h 262604"/>
                  <a:gd name="connsiteX40" fmla="*/ 551021 w 3161062"/>
                  <a:gd name="connsiteY40" fmla="*/ 127540 h 262604"/>
                  <a:gd name="connsiteX41" fmla="*/ 561499 w 3161062"/>
                  <a:gd name="connsiteY41" fmla="*/ 127540 h 262604"/>
                  <a:gd name="connsiteX42" fmla="*/ 561499 w 3161062"/>
                  <a:gd name="connsiteY42" fmla="*/ 133731 h 262604"/>
                  <a:gd name="connsiteX43" fmla="*/ 595217 w 3161062"/>
                  <a:gd name="connsiteY43" fmla="*/ 133731 h 262604"/>
                  <a:gd name="connsiteX44" fmla="*/ 595217 w 3161062"/>
                  <a:gd name="connsiteY44" fmla="*/ 139827 h 262604"/>
                  <a:gd name="connsiteX45" fmla="*/ 601504 w 3161062"/>
                  <a:gd name="connsiteY45" fmla="*/ 139827 h 262604"/>
                  <a:gd name="connsiteX46" fmla="*/ 601504 w 3161062"/>
                  <a:gd name="connsiteY46" fmla="*/ 145923 h 262604"/>
                  <a:gd name="connsiteX47" fmla="*/ 616172 w 3161062"/>
                  <a:gd name="connsiteY47" fmla="*/ 145923 h 262604"/>
                  <a:gd name="connsiteX48" fmla="*/ 616172 w 3161062"/>
                  <a:gd name="connsiteY48" fmla="*/ 152019 h 262604"/>
                  <a:gd name="connsiteX49" fmla="*/ 628840 w 3161062"/>
                  <a:gd name="connsiteY49" fmla="*/ 152019 h 262604"/>
                  <a:gd name="connsiteX50" fmla="*/ 628840 w 3161062"/>
                  <a:gd name="connsiteY50" fmla="*/ 158210 h 262604"/>
                  <a:gd name="connsiteX51" fmla="*/ 654082 w 3161062"/>
                  <a:gd name="connsiteY51" fmla="*/ 158210 h 262604"/>
                  <a:gd name="connsiteX52" fmla="*/ 654082 w 3161062"/>
                  <a:gd name="connsiteY52" fmla="*/ 164306 h 262604"/>
                  <a:gd name="connsiteX53" fmla="*/ 883348 w 3161062"/>
                  <a:gd name="connsiteY53" fmla="*/ 164306 h 262604"/>
                  <a:gd name="connsiteX54" fmla="*/ 883348 w 3161062"/>
                  <a:gd name="connsiteY54" fmla="*/ 170498 h 262604"/>
                  <a:gd name="connsiteX55" fmla="*/ 996886 w 3161062"/>
                  <a:gd name="connsiteY55" fmla="*/ 170498 h 262604"/>
                  <a:gd name="connsiteX56" fmla="*/ 996886 w 3161062"/>
                  <a:gd name="connsiteY56" fmla="*/ 176689 h 262604"/>
                  <a:gd name="connsiteX57" fmla="*/ 1266063 w 3161062"/>
                  <a:gd name="connsiteY57" fmla="*/ 176689 h 262604"/>
                  <a:gd name="connsiteX58" fmla="*/ 1266063 w 3161062"/>
                  <a:gd name="connsiteY58" fmla="*/ 182975 h 262604"/>
                  <a:gd name="connsiteX59" fmla="*/ 1339691 w 3161062"/>
                  <a:gd name="connsiteY59" fmla="*/ 182975 h 262604"/>
                  <a:gd name="connsiteX60" fmla="*/ 1339691 w 3161062"/>
                  <a:gd name="connsiteY60" fmla="*/ 189262 h 262604"/>
                  <a:gd name="connsiteX61" fmla="*/ 1419606 w 3161062"/>
                  <a:gd name="connsiteY61" fmla="*/ 189262 h 262604"/>
                  <a:gd name="connsiteX62" fmla="*/ 1419606 w 3161062"/>
                  <a:gd name="connsiteY62" fmla="*/ 195548 h 262604"/>
                  <a:gd name="connsiteX63" fmla="*/ 1581531 w 3161062"/>
                  <a:gd name="connsiteY63" fmla="*/ 195548 h 262604"/>
                  <a:gd name="connsiteX64" fmla="*/ 1581531 w 3161062"/>
                  <a:gd name="connsiteY64" fmla="*/ 202025 h 262604"/>
                  <a:gd name="connsiteX65" fmla="*/ 1598390 w 3161062"/>
                  <a:gd name="connsiteY65" fmla="*/ 202025 h 262604"/>
                  <a:gd name="connsiteX66" fmla="*/ 1598390 w 3161062"/>
                  <a:gd name="connsiteY66" fmla="*/ 208407 h 262604"/>
                  <a:gd name="connsiteX67" fmla="*/ 1716214 w 3161062"/>
                  <a:gd name="connsiteY67" fmla="*/ 208407 h 262604"/>
                  <a:gd name="connsiteX68" fmla="*/ 1716214 w 3161062"/>
                  <a:gd name="connsiteY68" fmla="*/ 214884 h 262604"/>
                  <a:gd name="connsiteX69" fmla="*/ 1808702 w 3161062"/>
                  <a:gd name="connsiteY69" fmla="*/ 214884 h 262604"/>
                  <a:gd name="connsiteX70" fmla="*/ 1808702 w 3161062"/>
                  <a:gd name="connsiteY70" fmla="*/ 221266 h 262604"/>
                  <a:gd name="connsiteX71" fmla="*/ 1827657 w 3161062"/>
                  <a:gd name="connsiteY71" fmla="*/ 221266 h 262604"/>
                  <a:gd name="connsiteX72" fmla="*/ 1827657 w 3161062"/>
                  <a:gd name="connsiteY72" fmla="*/ 227743 h 262604"/>
                  <a:gd name="connsiteX73" fmla="*/ 2681478 w 3161062"/>
                  <a:gd name="connsiteY73" fmla="*/ 227743 h 262604"/>
                  <a:gd name="connsiteX74" fmla="*/ 2681478 w 3161062"/>
                  <a:gd name="connsiteY74" fmla="*/ 262604 h 262604"/>
                  <a:gd name="connsiteX75" fmla="*/ 3161062 w 3161062"/>
                  <a:gd name="connsiteY75" fmla="*/ 262604 h 262604"/>
                  <a:gd name="connsiteX0" fmla="*/ 0 w 3161062"/>
                  <a:gd name="connsiteY0" fmla="*/ 0 h 262604"/>
                  <a:gd name="connsiteX1" fmla="*/ 14668 w 3161062"/>
                  <a:gd name="connsiteY1" fmla="*/ 12097 h 262604"/>
                  <a:gd name="connsiteX2" fmla="*/ 37814 w 3161062"/>
                  <a:gd name="connsiteY2" fmla="*/ 12097 h 262604"/>
                  <a:gd name="connsiteX3" fmla="*/ 37814 w 3161062"/>
                  <a:gd name="connsiteY3" fmla="*/ 18193 h 262604"/>
                  <a:gd name="connsiteX4" fmla="*/ 44196 w 3161062"/>
                  <a:gd name="connsiteY4" fmla="*/ 18193 h 262604"/>
                  <a:gd name="connsiteX5" fmla="*/ 44196 w 3161062"/>
                  <a:gd name="connsiteY5" fmla="*/ 24289 h 262604"/>
                  <a:gd name="connsiteX6" fmla="*/ 52578 w 3161062"/>
                  <a:gd name="connsiteY6" fmla="*/ 24289 h 262604"/>
                  <a:gd name="connsiteX7" fmla="*/ 52578 w 3161062"/>
                  <a:gd name="connsiteY7" fmla="*/ 30290 h 262604"/>
                  <a:gd name="connsiteX8" fmla="*/ 60960 w 3161062"/>
                  <a:gd name="connsiteY8" fmla="*/ 30290 h 262604"/>
                  <a:gd name="connsiteX9" fmla="*/ 60960 w 3161062"/>
                  <a:gd name="connsiteY9" fmla="*/ 36386 h 262604"/>
                  <a:gd name="connsiteX10" fmla="*/ 65151 w 3161062"/>
                  <a:gd name="connsiteY10" fmla="*/ 36386 h 262604"/>
                  <a:gd name="connsiteX11" fmla="*/ 65151 w 3161062"/>
                  <a:gd name="connsiteY11" fmla="*/ 42482 h 262604"/>
                  <a:gd name="connsiteX12" fmla="*/ 138779 w 3161062"/>
                  <a:gd name="connsiteY12" fmla="*/ 42482 h 262604"/>
                  <a:gd name="connsiteX13" fmla="*/ 138779 w 3161062"/>
                  <a:gd name="connsiteY13" fmla="*/ 48482 h 262604"/>
                  <a:gd name="connsiteX14" fmla="*/ 159829 w 3161062"/>
                  <a:gd name="connsiteY14" fmla="*/ 48482 h 262604"/>
                  <a:gd name="connsiteX15" fmla="*/ 159829 w 3161062"/>
                  <a:gd name="connsiteY15" fmla="*/ 54578 h 262604"/>
                  <a:gd name="connsiteX16" fmla="*/ 166116 w 3161062"/>
                  <a:gd name="connsiteY16" fmla="*/ 54578 h 262604"/>
                  <a:gd name="connsiteX17" fmla="*/ 166116 w 3161062"/>
                  <a:gd name="connsiteY17" fmla="*/ 60674 h 262604"/>
                  <a:gd name="connsiteX18" fmla="*/ 208216 w 3161062"/>
                  <a:gd name="connsiteY18" fmla="*/ 60674 h 262604"/>
                  <a:gd name="connsiteX19" fmla="*/ 208216 w 3161062"/>
                  <a:gd name="connsiteY19" fmla="*/ 66675 h 262604"/>
                  <a:gd name="connsiteX20" fmla="*/ 222885 w 3161062"/>
                  <a:gd name="connsiteY20" fmla="*/ 66675 h 262604"/>
                  <a:gd name="connsiteX21" fmla="*/ 222885 w 3161062"/>
                  <a:gd name="connsiteY21" fmla="*/ 72771 h 262604"/>
                  <a:gd name="connsiteX22" fmla="*/ 252412 w 3161062"/>
                  <a:gd name="connsiteY22" fmla="*/ 72771 h 262604"/>
                  <a:gd name="connsiteX23" fmla="*/ 252412 w 3161062"/>
                  <a:gd name="connsiteY23" fmla="*/ 78867 h 262604"/>
                  <a:gd name="connsiteX24" fmla="*/ 254508 w 3161062"/>
                  <a:gd name="connsiteY24" fmla="*/ 78867 h 262604"/>
                  <a:gd name="connsiteX25" fmla="*/ 254508 w 3161062"/>
                  <a:gd name="connsiteY25" fmla="*/ 84868 h 262604"/>
                  <a:gd name="connsiteX26" fmla="*/ 277558 w 3161062"/>
                  <a:gd name="connsiteY26" fmla="*/ 84868 h 262604"/>
                  <a:gd name="connsiteX27" fmla="*/ 277558 w 3161062"/>
                  <a:gd name="connsiteY27" fmla="*/ 90964 h 262604"/>
                  <a:gd name="connsiteX28" fmla="*/ 290227 w 3161062"/>
                  <a:gd name="connsiteY28" fmla="*/ 90964 h 262604"/>
                  <a:gd name="connsiteX29" fmla="*/ 290227 w 3161062"/>
                  <a:gd name="connsiteY29" fmla="*/ 97060 h 262604"/>
                  <a:gd name="connsiteX30" fmla="*/ 325945 w 3161062"/>
                  <a:gd name="connsiteY30" fmla="*/ 97060 h 262604"/>
                  <a:gd name="connsiteX31" fmla="*/ 325945 w 3161062"/>
                  <a:gd name="connsiteY31" fmla="*/ 103156 h 262604"/>
                  <a:gd name="connsiteX32" fmla="*/ 441674 w 3161062"/>
                  <a:gd name="connsiteY32" fmla="*/ 103156 h 262604"/>
                  <a:gd name="connsiteX33" fmla="*/ 441674 w 3161062"/>
                  <a:gd name="connsiteY33" fmla="*/ 109157 h 262604"/>
                  <a:gd name="connsiteX34" fmla="*/ 479488 w 3161062"/>
                  <a:gd name="connsiteY34" fmla="*/ 109157 h 262604"/>
                  <a:gd name="connsiteX35" fmla="*/ 479488 w 3161062"/>
                  <a:gd name="connsiteY35" fmla="*/ 115348 h 262604"/>
                  <a:gd name="connsiteX36" fmla="*/ 532066 w 3161062"/>
                  <a:gd name="connsiteY36" fmla="*/ 115348 h 262604"/>
                  <a:gd name="connsiteX37" fmla="*/ 532066 w 3161062"/>
                  <a:gd name="connsiteY37" fmla="*/ 121444 h 262604"/>
                  <a:gd name="connsiteX38" fmla="*/ 551021 w 3161062"/>
                  <a:gd name="connsiteY38" fmla="*/ 121444 h 262604"/>
                  <a:gd name="connsiteX39" fmla="*/ 551021 w 3161062"/>
                  <a:gd name="connsiteY39" fmla="*/ 127540 h 262604"/>
                  <a:gd name="connsiteX40" fmla="*/ 561499 w 3161062"/>
                  <a:gd name="connsiteY40" fmla="*/ 127540 h 262604"/>
                  <a:gd name="connsiteX41" fmla="*/ 561499 w 3161062"/>
                  <a:gd name="connsiteY41" fmla="*/ 133731 h 262604"/>
                  <a:gd name="connsiteX42" fmla="*/ 595217 w 3161062"/>
                  <a:gd name="connsiteY42" fmla="*/ 133731 h 262604"/>
                  <a:gd name="connsiteX43" fmla="*/ 595217 w 3161062"/>
                  <a:gd name="connsiteY43" fmla="*/ 139827 h 262604"/>
                  <a:gd name="connsiteX44" fmla="*/ 601504 w 3161062"/>
                  <a:gd name="connsiteY44" fmla="*/ 139827 h 262604"/>
                  <a:gd name="connsiteX45" fmla="*/ 601504 w 3161062"/>
                  <a:gd name="connsiteY45" fmla="*/ 145923 h 262604"/>
                  <a:gd name="connsiteX46" fmla="*/ 616172 w 3161062"/>
                  <a:gd name="connsiteY46" fmla="*/ 145923 h 262604"/>
                  <a:gd name="connsiteX47" fmla="*/ 616172 w 3161062"/>
                  <a:gd name="connsiteY47" fmla="*/ 152019 h 262604"/>
                  <a:gd name="connsiteX48" fmla="*/ 628840 w 3161062"/>
                  <a:gd name="connsiteY48" fmla="*/ 152019 h 262604"/>
                  <a:gd name="connsiteX49" fmla="*/ 628840 w 3161062"/>
                  <a:gd name="connsiteY49" fmla="*/ 158210 h 262604"/>
                  <a:gd name="connsiteX50" fmla="*/ 654082 w 3161062"/>
                  <a:gd name="connsiteY50" fmla="*/ 158210 h 262604"/>
                  <a:gd name="connsiteX51" fmla="*/ 654082 w 3161062"/>
                  <a:gd name="connsiteY51" fmla="*/ 164306 h 262604"/>
                  <a:gd name="connsiteX52" fmla="*/ 883348 w 3161062"/>
                  <a:gd name="connsiteY52" fmla="*/ 164306 h 262604"/>
                  <a:gd name="connsiteX53" fmla="*/ 883348 w 3161062"/>
                  <a:gd name="connsiteY53" fmla="*/ 170498 h 262604"/>
                  <a:gd name="connsiteX54" fmla="*/ 996886 w 3161062"/>
                  <a:gd name="connsiteY54" fmla="*/ 170498 h 262604"/>
                  <a:gd name="connsiteX55" fmla="*/ 996886 w 3161062"/>
                  <a:gd name="connsiteY55" fmla="*/ 176689 h 262604"/>
                  <a:gd name="connsiteX56" fmla="*/ 1266063 w 3161062"/>
                  <a:gd name="connsiteY56" fmla="*/ 176689 h 262604"/>
                  <a:gd name="connsiteX57" fmla="*/ 1266063 w 3161062"/>
                  <a:gd name="connsiteY57" fmla="*/ 182975 h 262604"/>
                  <a:gd name="connsiteX58" fmla="*/ 1339691 w 3161062"/>
                  <a:gd name="connsiteY58" fmla="*/ 182975 h 262604"/>
                  <a:gd name="connsiteX59" fmla="*/ 1339691 w 3161062"/>
                  <a:gd name="connsiteY59" fmla="*/ 189262 h 262604"/>
                  <a:gd name="connsiteX60" fmla="*/ 1419606 w 3161062"/>
                  <a:gd name="connsiteY60" fmla="*/ 189262 h 262604"/>
                  <a:gd name="connsiteX61" fmla="*/ 1419606 w 3161062"/>
                  <a:gd name="connsiteY61" fmla="*/ 195548 h 262604"/>
                  <a:gd name="connsiteX62" fmla="*/ 1581531 w 3161062"/>
                  <a:gd name="connsiteY62" fmla="*/ 195548 h 262604"/>
                  <a:gd name="connsiteX63" fmla="*/ 1581531 w 3161062"/>
                  <a:gd name="connsiteY63" fmla="*/ 202025 h 262604"/>
                  <a:gd name="connsiteX64" fmla="*/ 1598390 w 3161062"/>
                  <a:gd name="connsiteY64" fmla="*/ 202025 h 262604"/>
                  <a:gd name="connsiteX65" fmla="*/ 1598390 w 3161062"/>
                  <a:gd name="connsiteY65" fmla="*/ 208407 h 262604"/>
                  <a:gd name="connsiteX66" fmla="*/ 1716214 w 3161062"/>
                  <a:gd name="connsiteY66" fmla="*/ 208407 h 262604"/>
                  <a:gd name="connsiteX67" fmla="*/ 1716214 w 3161062"/>
                  <a:gd name="connsiteY67" fmla="*/ 214884 h 262604"/>
                  <a:gd name="connsiteX68" fmla="*/ 1808702 w 3161062"/>
                  <a:gd name="connsiteY68" fmla="*/ 214884 h 262604"/>
                  <a:gd name="connsiteX69" fmla="*/ 1808702 w 3161062"/>
                  <a:gd name="connsiteY69" fmla="*/ 221266 h 262604"/>
                  <a:gd name="connsiteX70" fmla="*/ 1827657 w 3161062"/>
                  <a:gd name="connsiteY70" fmla="*/ 221266 h 262604"/>
                  <a:gd name="connsiteX71" fmla="*/ 1827657 w 3161062"/>
                  <a:gd name="connsiteY71" fmla="*/ 227743 h 262604"/>
                  <a:gd name="connsiteX72" fmla="*/ 2681478 w 3161062"/>
                  <a:gd name="connsiteY72" fmla="*/ 227743 h 262604"/>
                  <a:gd name="connsiteX73" fmla="*/ 2681478 w 3161062"/>
                  <a:gd name="connsiteY73" fmla="*/ 262604 h 262604"/>
                  <a:gd name="connsiteX74" fmla="*/ 3161062 w 3161062"/>
                  <a:gd name="connsiteY74" fmla="*/ 262604 h 262604"/>
                  <a:gd name="connsiteX0" fmla="*/ 0 w 3146394"/>
                  <a:gd name="connsiteY0" fmla="*/ 0 h 250507"/>
                  <a:gd name="connsiteX1" fmla="*/ 23146 w 3146394"/>
                  <a:gd name="connsiteY1" fmla="*/ 0 h 250507"/>
                  <a:gd name="connsiteX2" fmla="*/ 23146 w 3146394"/>
                  <a:gd name="connsiteY2" fmla="*/ 6096 h 250507"/>
                  <a:gd name="connsiteX3" fmla="*/ 29528 w 3146394"/>
                  <a:gd name="connsiteY3" fmla="*/ 6096 h 250507"/>
                  <a:gd name="connsiteX4" fmla="*/ 29528 w 3146394"/>
                  <a:gd name="connsiteY4" fmla="*/ 12192 h 250507"/>
                  <a:gd name="connsiteX5" fmla="*/ 37910 w 3146394"/>
                  <a:gd name="connsiteY5" fmla="*/ 12192 h 250507"/>
                  <a:gd name="connsiteX6" fmla="*/ 37910 w 3146394"/>
                  <a:gd name="connsiteY6" fmla="*/ 18193 h 250507"/>
                  <a:gd name="connsiteX7" fmla="*/ 46292 w 3146394"/>
                  <a:gd name="connsiteY7" fmla="*/ 18193 h 250507"/>
                  <a:gd name="connsiteX8" fmla="*/ 46292 w 3146394"/>
                  <a:gd name="connsiteY8" fmla="*/ 24289 h 250507"/>
                  <a:gd name="connsiteX9" fmla="*/ 50483 w 3146394"/>
                  <a:gd name="connsiteY9" fmla="*/ 24289 h 250507"/>
                  <a:gd name="connsiteX10" fmla="*/ 50483 w 3146394"/>
                  <a:gd name="connsiteY10" fmla="*/ 30385 h 250507"/>
                  <a:gd name="connsiteX11" fmla="*/ 124111 w 3146394"/>
                  <a:gd name="connsiteY11" fmla="*/ 30385 h 250507"/>
                  <a:gd name="connsiteX12" fmla="*/ 124111 w 3146394"/>
                  <a:gd name="connsiteY12" fmla="*/ 36385 h 250507"/>
                  <a:gd name="connsiteX13" fmla="*/ 145161 w 3146394"/>
                  <a:gd name="connsiteY13" fmla="*/ 36385 h 250507"/>
                  <a:gd name="connsiteX14" fmla="*/ 145161 w 3146394"/>
                  <a:gd name="connsiteY14" fmla="*/ 42481 h 250507"/>
                  <a:gd name="connsiteX15" fmla="*/ 151448 w 3146394"/>
                  <a:gd name="connsiteY15" fmla="*/ 42481 h 250507"/>
                  <a:gd name="connsiteX16" fmla="*/ 151448 w 3146394"/>
                  <a:gd name="connsiteY16" fmla="*/ 48577 h 250507"/>
                  <a:gd name="connsiteX17" fmla="*/ 193548 w 3146394"/>
                  <a:gd name="connsiteY17" fmla="*/ 48577 h 250507"/>
                  <a:gd name="connsiteX18" fmla="*/ 193548 w 3146394"/>
                  <a:gd name="connsiteY18" fmla="*/ 54578 h 250507"/>
                  <a:gd name="connsiteX19" fmla="*/ 208217 w 3146394"/>
                  <a:gd name="connsiteY19" fmla="*/ 54578 h 250507"/>
                  <a:gd name="connsiteX20" fmla="*/ 208217 w 3146394"/>
                  <a:gd name="connsiteY20" fmla="*/ 60674 h 250507"/>
                  <a:gd name="connsiteX21" fmla="*/ 237744 w 3146394"/>
                  <a:gd name="connsiteY21" fmla="*/ 60674 h 250507"/>
                  <a:gd name="connsiteX22" fmla="*/ 237744 w 3146394"/>
                  <a:gd name="connsiteY22" fmla="*/ 66770 h 250507"/>
                  <a:gd name="connsiteX23" fmla="*/ 239840 w 3146394"/>
                  <a:gd name="connsiteY23" fmla="*/ 66770 h 250507"/>
                  <a:gd name="connsiteX24" fmla="*/ 239840 w 3146394"/>
                  <a:gd name="connsiteY24" fmla="*/ 72771 h 250507"/>
                  <a:gd name="connsiteX25" fmla="*/ 262890 w 3146394"/>
                  <a:gd name="connsiteY25" fmla="*/ 72771 h 250507"/>
                  <a:gd name="connsiteX26" fmla="*/ 262890 w 3146394"/>
                  <a:gd name="connsiteY26" fmla="*/ 78867 h 250507"/>
                  <a:gd name="connsiteX27" fmla="*/ 275559 w 3146394"/>
                  <a:gd name="connsiteY27" fmla="*/ 78867 h 250507"/>
                  <a:gd name="connsiteX28" fmla="*/ 275559 w 3146394"/>
                  <a:gd name="connsiteY28" fmla="*/ 84963 h 250507"/>
                  <a:gd name="connsiteX29" fmla="*/ 311277 w 3146394"/>
                  <a:gd name="connsiteY29" fmla="*/ 84963 h 250507"/>
                  <a:gd name="connsiteX30" fmla="*/ 311277 w 3146394"/>
                  <a:gd name="connsiteY30" fmla="*/ 91059 h 250507"/>
                  <a:gd name="connsiteX31" fmla="*/ 427006 w 3146394"/>
                  <a:gd name="connsiteY31" fmla="*/ 91059 h 250507"/>
                  <a:gd name="connsiteX32" fmla="*/ 427006 w 3146394"/>
                  <a:gd name="connsiteY32" fmla="*/ 97060 h 250507"/>
                  <a:gd name="connsiteX33" fmla="*/ 464820 w 3146394"/>
                  <a:gd name="connsiteY33" fmla="*/ 97060 h 250507"/>
                  <a:gd name="connsiteX34" fmla="*/ 464820 w 3146394"/>
                  <a:gd name="connsiteY34" fmla="*/ 103251 h 250507"/>
                  <a:gd name="connsiteX35" fmla="*/ 517398 w 3146394"/>
                  <a:gd name="connsiteY35" fmla="*/ 103251 h 250507"/>
                  <a:gd name="connsiteX36" fmla="*/ 517398 w 3146394"/>
                  <a:gd name="connsiteY36" fmla="*/ 109347 h 250507"/>
                  <a:gd name="connsiteX37" fmla="*/ 536353 w 3146394"/>
                  <a:gd name="connsiteY37" fmla="*/ 109347 h 250507"/>
                  <a:gd name="connsiteX38" fmla="*/ 536353 w 3146394"/>
                  <a:gd name="connsiteY38" fmla="*/ 115443 h 250507"/>
                  <a:gd name="connsiteX39" fmla="*/ 546831 w 3146394"/>
                  <a:gd name="connsiteY39" fmla="*/ 115443 h 250507"/>
                  <a:gd name="connsiteX40" fmla="*/ 546831 w 3146394"/>
                  <a:gd name="connsiteY40" fmla="*/ 121634 h 250507"/>
                  <a:gd name="connsiteX41" fmla="*/ 580549 w 3146394"/>
                  <a:gd name="connsiteY41" fmla="*/ 121634 h 250507"/>
                  <a:gd name="connsiteX42" fmla="*/ 580549 w 3146394"/>
                  <a:gd name="connsiteY42" fmla="*/ 127730 h 250507"/>
                  <a:gd name="connsiteX43" fmla="*/ 586836 w 3146394"/>
                  <a:gd name="connsiteY43" fmla="*/ 127730 h 250507"/>
                  <a:gd name="connsiteX44" fmla="*/ 586836 w 3146394"/>
                  <a:gd name="connsiteY44" fmla="*/ 133826 h 250507"/>
                  <a:gd name="connsiteX45" fmla="*/ 601504 w 3146394"/>
                  <a:gd name="connsiteY45" fmla="*/ 133826 h 250507"/>
                  <a:gd name="connsiteX46" fmla="*/ 601504 w 3146394"/>
                  <a:gd name="connsiteY46" fmla="*/ 139922 h 250507"/>
                  <a:gd name="connsiteX47" fmla="*/ 614172 w 3146394"/>
                  <a:gd name="connsiteY47" fmla="*/ 139922 h 250507"/>
                  <a:gd name="connsiteX48" fmla="*/ 614172 w 3146394"/>
                  <a:gd name="connsiteY48" fmla="*/ 146113 h 250507"/>
                  <a:gd name="connsiteX49" fmla="*/ 639414 w 3146394"/>
                  <a:gd name="connsiteY49" fmla="*/ 146113 h 250507"/>
                  <a:gd name="connsiteX50" fmla="*/ 639414 w 3146394"/>
                  <a:gd name="connsiteY50" fmla="*/ 152209 h 250507"/>
                  <a:gd name="connsiteX51" fmla="*/ 868680 w 3146394"/>
                  <a:gd name="connsiteY51" fmla="*/ 152209 h 250507"/>
                  <a:gd name="connsiteX52" fmla="*/ 868680 w 3146394"/>
                  <a:gd name="connsiteY52" fmla="*/ 158401 h 250507"/>
                  <a:gd name="connsiteX53" fmla="*/ 982218 w 3146394"/>
                  <a:gd name="connsiteY53" fmla="*/ 158401 h 250507"/>
                  <a:gd name="connsiteX54" fmla="*/ 982218 w 3146394"/>
                  <a:gd name="connsiteY54" fmla="*/ 164592 h 250507"/>
                  <a:gd name="connsiteX55" fmla="*/ 1251395 w 3146394"/>
                  <a:gd name="connsiteY55" fmla="*/ 164592 h 250507"/>
                  <a:gd name="connsiteX56" fmla="*/ 1251395 w 3146394"/>
                  <a:gd name="connsiteY56" fmla="*/ 170878 h 250507"/>
                  <a:gd name="connsiteX57" fmla="*/ 1325023 w 3146394"/>
                  <a:gd name="connsiteY57" fmla="*/ 170878 h 250507"/>
                  <a:gd name="connsiteX58" fmla="*/ 1325023 w 3146394"/>
                  <a:gd name="connsiteY58" fmla="*/ 177165 h 250507"/>
                  <a:gd name="connsiteX59" fmla="*/ 1404938 w 3146394"/>
                  <a:gd name="connsiteY59" fmla="*/ 177165 h 250507"/>
                  <a:gd name="connsiteX60" fmla="*/ 1404938 w 3146394"/>
                  <a:gd name="connsiteY60" fmla="*/ 183451 h 250507"/>
                  <a:gd name="connsiteX61" fmla="*/ 1566863 w 3146394"/>
                  <a:gd name="connsiteY61" fmla="*/ 183451 h 250507"/>
                  <a:gd name="connsiteX62" fmla="*/ 1566863 w 3146394"/>
                  <a:gd name="connsiteY62" fmla="*/ 189928 h 250507"/>
                  <a:gd name="connsiteX63" fmla="*/ 1583722 w 3146394"/>
                  <a:gd name="connsiteY63" fmla="*/ 189928 h 250507"/>
                  <a:gd name="connsiteX64" fmla="*/ 1583722 w 3146394"/>
                  <a:gd name="connsiteY64" fmla="*/ 196310 h 250507"/>
                  <a:gd name="connsiteX65" fmla="*/ 1701546 w 3146394"/>
                  <a:gd name="connsiteY65" fmla="*/ 196310 h 250507"/>
                  <a:gd name="connsiteX66" fmla="*/ 1701546 w 3146394"/>
                  <a:gd name="connsiteY66" fmla="*/ 202787 h 250507"/>
                  <a:gd name="connsiteX67" fmla="*/ 1794034 w 3146394"/>
                  <a:gd name="connsiteY67" fmla="*/ 202787 h 250507"/>
                  <a:gd name="connsiteX68" fmla="*/ 1794034 w 3146394"/>
                  <a:gd name="connsiteY68" fmla="*/ 209169 h 250507"/>
                  <a:gd name="connsiteX69" fmla="*/ 1812989 w 3146394"/>
                  <a:gd name="connsiteY69" fmla="*/ 209169 h 250507"/>
                  <a:gd name="connsiteX70" fmla="*/ 1812989 w 3146394"/>
                  <a:gd name="connsiteY70" fmla="*/ 215646 h 250507"/>
                  <a:gd name="connsiteX71" fmla="*/ 2666810 w 3146394"/>
                  <a:gd name="connsiteY71" fmla="*/ 215646 h 250507"/>
                  <a:gd name="connsiteX72" fmla="*/ 2666810 w 3146394"/>
                  <a:gd name="connsiteY72" fmla="*/ 250507 h 250507"/>
                  <a:gd name="connsiteX73" fmla="*/ 3146394 w 3146394"/>
                  <a:gd name="connsiteY73" fmla="*/ 250507 h 250507"/>
                  <a:gd name="connsiteX0" fmla="*/ 0 w 3123248"/>
                  <a:gd name="connsiteY0" fmla="*/ 0 h 250507"/>
                  <a:gd name="connsiteX1" fmla="*/ 0 w 3123248"/>
                  <a:gd name="connsiteY1" fmla="*/ 6096 h 250507"/>
                  <a:gd name="connsiteX2" fmla="*/ 6382 w 3123248"/>
                  <a:gd name="connsiteY2" fmla="*/ 6096 h 250507"/>
                  <a:gd name="connsiteX3" fmla="*/ 6382 w 3123248"/>
                  <a:gd name="connsiteY3" fmla="*/ 12192 h 250507"/>
                  <a:gd name="connsiteX4" fmla="*/ 14764 w 3123248"/>
                  <a:gd name="connsiteY4" fmla="*/ 12192 h 250507"/>
                  <a:gd name="connsiteX5" fmla="*/ 14764 w 3123248"/>
                  <a:gd name="connsiteY5" fmla="*/ 18193 h 250507"/>
                  <a:gd name="connsiteX6" fmla="*/ 23146 w 3123248"/>
                  <a:gd name="connsiteY6" fmla="*/ 18193 h 250507"/>
                  <a:gd name="connsiteX7" fmla="*/ 23146 w 3123248"/>
                  <a:gd name="connsiteY7" fmla="*/ 24289 h 250507"/>
                  <a:gd name="connsiteX8" fmla="*/ 27337 w 3123248"/>
                  <a:gd name="connsiteY8" fmla="*/ 24289 h 250507"/>
                  <a:gd name="connsiteX9" fmla="*/ 27337 w 3123248"/>
                  <a:gd name="connsiteY9" fmla="*/ 30385 h 250507"/>
                  <a:gd name="connsiteX10" fmla="*/ 100965 w 3123248"/>
                  <a:gd name="connsiteY10" fmla="*/ 30385 h 250507"/>
                  <a:gd name="connsiteX11" fmla="*/ 100965 w 3123248"/>
                  <a:gd name="connsiteY11" fmla="*/ 36385 h 250507"/>
                  <a:gd name="connsiteX12" fmla="*/ 122015 w 3123248"/>
                  <a:gd name="connsiteY12" fmla="*/ 36385 h 250507"/>
                  <a:gd name="connsiteX13" fmla="*/ 122015 w 3123248"/>
                  <a:gd name="connsiteY13" fmla="*/ 42481 h 250507"/>
                  <a:gd name="connsiteX14" fmla="*/ 128302 w 3123248"/>
                  <a:gd name="connsiteY14" fmla="*/ 42481 h 250507"/>
                  <a:gd name="connsiteX15" fmla="*/ 128302 w 3123248"/>
                  <a:gd name="connsiteY15" fmla="*/ 48577 h 250507"/>
                  <a:gd name="connsiteX16" fmla="*/ 170402 w 3123248"/>
                  <a:gd name="connsiteY16" fmla="*/ 48577 h 250507"/>
                  <a:gd name="connsiteX17" fmla="*/ 170402 w 3123248"/>
                  <a:gd name="connsiteY17" fmla="*/ 54578 h 250507"/>
                  <a:gd name="connsiteX18" fmla="*/ 185071 w 3123248"/>
                  <a:gd name="connsiteY18" fmla="*/ 54578 h 250507"/>
                  <a:gd name="connsiteX19" fmla="*/ 185071 w 3123248"/>
                  <a:gd name="connsiteY19" fmla="*/ 60674 h 250507"/>
                  <a:gd name="connsiteX20" fmla="*/ 214598 w 3123248"/>
                  <a:gd name="connsiteY20" fmla="*/ 60674 h 250507"/>
                  <a:gd name="connsiteX21" fmla="*/ 214598 w 3123248"/>
                  <a:gd name="connsiteY21" fmla="*/ 66770 h 250507"/>
                  <a:gd name="connsiteX22" fmla="*/ 216694 w 3123248"/>
                  <a:gd name="connsiteY22" fmla="*/ 66770 h 250507"/>
                  <a:gd name="connsiteX23" fmla="*/ 216694 w 3123248"/>
                  <a:gd name="connsiteY23" fmla="*/ 72771 h 250507"/>
                  <a:gd name="connsiteX24" fmla="*/ 239744 w 3123248"/>
                  <a:gd name="connsiteY24" fmla="*/ 72771 h 250507"/>
                  <a:gd name="connsiteX25" fmla="*/ 239744 w 3123248"/>
                  <a:gd name="connsiteY25" fmla="*/ 78867 h 250507"/>
                  <a:gd name="connsiteX26" fmla="*/ 252413 w 3123248"/>
                  <a:gd name="connsiteY26" fmla="*/ 78867 h 250507"/>
                  <a:gd name="connsiteX27" fmla="*/ 252413 w 3123248"/>
                  <a:gd name="connsiteY27" fmla="*/ 84963 h 250507"/>
                  <a:gd name="connsiteX28" fmla="*/ 288131 w 3123248"/>
                  <a:gd name="connsiteY28" fmla="*/ 84963 h 250507"/>
                  <a:gd name="connsiteX29" fmla="*/ 288131 w 3123248"/>
                  <a:gd name="connsiteY29" fmla="*/ 91059 h 250507"/>
                  <a:gd name="connsiteX30" fmla="*/ 403860 w 3123248"/>
                  <a:gd name="connsiteY30" fmla="*/ 91059 h 250507"/>
                  <a:gd name="connsiteX31" fmla="*/ 403860 w 3123248"/>
                  <a:gd name="connsiteY31" fmla="*/ 97060 h 250507"/>
                  <a:gd name="connsiteX32" fmla="*/ 441674 w 3123248"/>
                  <a:gd name="connsiteY32" fmla="*/ 97060 h 250507"/>
                  <a:gd name="connsiteX33" fmla="*/ 441674 w 3123248"/>
                  <a:gd name="connsiteY33" fmla="*/ 103251 h 250507"/>
                  <a:gd name="connsiteX34" fmla="*/ 494252 w 3123248"/>
                  <a:gd name="connsiteY34" fmla="*/ 103251 h 250507"/>
                  <a:gd name="connsiteX35" fmla="*/ 494252 w 3123248"/>
                  <a:gd name="connsiteY35" fmla="*/ 109347 h 250507"/>
                  <a:gd name="connsiteX36" fmla="*/ 513207 w 3123248"/>
                  <a:gd name="connsiteY36" fmla="*/ 109347 h 250507"/>
                  <a:gd name="connsiteX37" fmla="*/ 513207 w 3123248"/>
                  <a:gd name="connsiteY37" fmla="*/ 115443 h 250507"/>
                  <a:gd name="connsiteX38" fmla="*/ 523685 w 3123248"/>
                  <a:gd name="connsiteY38" fmla="*/ 115443 h 250507"/>
                  <a:gd name="connsiteX39" fmla="*/ 523685 w 3123248"/>
                  <a:gd name="connsiteY39" fmla="*/ 121634 h 250507"/>
                  <a:gd name="connsiteX40" fmla="*/ 557403 w 3123248"/>
                  <a:gd name="connsiteY40" fmla="*/ 121634 h 250507"/>
                  <a:gd name="connsiteX41" fmla="*/ 557403 w 3123248"/>
                  <a:gd name="connsiteY41" fmla="*/ 127730 h 250507"/>
                  <a:gd name="connsiteX42" fmla="*/ 563690 w 3123248"/>
                  <a:gd name="connsiteY42" fmla="*/ 127730 h 250507"/>
                  <a:gd name="connsiteX43" fmla="*/ 563690 w 3123248"/>
                  <a:gd name="connsiteY43" fmla="*/ 133826 h 250507"/>
                  <a:gd name="connsiteX44" fmla="*/ 578358 w 3123248"/>
                  <a:gd name="connsiteY44" fmla="*/ 133826 h 250507"/>
                  <a:gd name="connsiteX45" fmla="*/ 578358 w 3123248"/>
                  <a:gd name="connsiteY45" fmla="*/ 139922 h 250507"/>
                  <a:gd name="connsiteX46" fmla="*/ 591026 w 3123248"/>
                  <a:gd name="connsiteY46" fmla="*/ 139922 h 250507"/>
                  <a:gd name="connsiteX47" fmla="*/ 591026 w 3123248"/>
                  <a:gd name="connsiteY47" fmla="*/ 146113 h 250507"/>
                  <a:gd name="connsiteX48" fmla="*/ 616268 w 3123248"/>
                  <a:gd name="connsiteY48" fmla="*/ 146113 h 250507"/>
                  <a:gd name="connsiteX49" fmla="*/ 616268 w 3123248"/>
                  <a:gd name="connsiteY49" fmla="*/ 152209 h 250507"/>
                  <a:gd name="connsiteX50" fmla="*/ 845534 w 3123248"/>
                  <a:gd name="connsiteY50" fmla="*/ 152209 h 250507"/>
                  <a:gd name="connsiteX51" fmla="*/ 845534 w 3123248"/>
                  <a:gd name="connsiteY51" fmla="*/ 158401 h 250507"/>
                  <a:gd name="connsiteX52" fmla="*/ 959072 w 3123248"/>
                  <a:gd name="connsiteY52" fmla="*/ 158401 h 250507"/>
                  <a:gd name="connsiteX53" fmla="*/ 959072 w 3123248"/>
                  <a:gd name="connsiteY53" fmla="*/ 164592 h 250507"/>
                  <a:gd name="connsiteX54" fmla="*/ 1228249 w 3123248"/>
                  <a:gd name="connsiteY54" fmla="*/ 164592 h 250507"/>
                  <a:gd name="connsiteX55" fmla="*/ 1228249 w 3123248"/>
                  <a:gd name="connsiteY55" fmla="*/ 170878 h 250507"/>
                  <a:gd name="connsiteX56" fmla="*/ 1301877 w 3123248"/>
                  <a:gd name="connsiteY56" fmla="*/ 170878 h 250507"/>
                  <a:gd name="connsiteX57" fmla="*/ 1301877 w 3123248"/>
                  <a:gd name="connsiteY57" fmla="*/ 177165 h 250507"/>
                  <a:gd name="connsiteX58" fmla="*/ 1381792 w 3123248"/>
                  <a:gd name="connsiteY58" fmla="*/ 177165 h 250507"/>
                  <a:gd name="connsiteX59" fmla="*/ 1381792 w 3123248"/>
                  <a:gd name="connsiteY59" fmla="*/ 183451 h 250507"/>
                  <a:gd name="connsiteX60" fmla="*/ 1543717 w 3123248"/>
                  <a:gd name="connsiteY60" fmla="*/ 183451 h 250507"/>
                  <a:gd name="connsiteX61" fmla="*/ 1543717 w 3123248"/>
                  <a:gd name="connsiteY61" fmla="*/ 189928 h 250507"/>
                  <a:gd name="connsiteX62" fmla="*/ 1560576 w 3123248"/>
                  <a:gd name="connsiteY62" fmla="*/ 189928 h 250507"/>
                  <a:gd name="connsiteX63" fmla="*/ 1560576 w 3123248"/>
                  <a:gd name="connsiteY63" fmla="*/ 196310 h 250507"/>
                  <a:gd name="connsiteX64" fmla="*/ 1678400 w 3123248"/>
                  <a:gd name="connsiteY64" fmla="*/ 196310 h 250507"/>
                  <a:gd name="connsiteX65" fmla="*/ 1678400 w 3123248"/>
                  <a:gd name="connsiteY65" fmla="*/ 202787 h 250507"/>
                  <a:gd name="connsiteX66" fmla="*/ 1770888 w 3123248"/>
                  <a:gd name="connsiteY66" fmla="*/ 202787 h 250507"/>
                  <a:gd name="connsiteX67" fmla="*/ 1770888 w 3123248"/>
                  <a:gd name="connsiteY67" fmla="*/ 209169 h 250507"/>
                  <a:gd name="connsiteX68" fmla="*/ 1789843 w 3123248"/>
                  <a:gd name="connsiteY68" fmla="*/ 209169 h 250507"/>
                  <a:gd name="connsiteX69" fmla="*/ 1789843 w 3123248"/>
                  <a:gd name="connsiteY69" fmla="*/ 215646 h 250507"/>
                  <a:gd name="connsiteX70" fmla="*/ 2643664 w 3123248"/>
                  <a:gd name="connsiteY70" fmla="*/ 215646 h 250507"/>
                  <a:gd name="connsiteX71" fmla="*/ 2643664 w 3123248"/>
                  <a:gd name="connsiteY71" fmla="*/ 250507 h 250507"/>
                  <a:gd name="connsiteX72" fmla="*/ 3123248 w 3123248"/>
                  <a:gd name="connsiteY72" fmla="*/ 250507 h 250507"/>
                  <a:gd name="connsiteX0" fmla="*/ 0 w 3123248"/>
                  <a:gd name="connsiteY0" fmla="*/ 0 h 250507"/>
                  <a:gd name="connsiteX1" fmla="*/ 0 w 3123248"/>
                  <a:gd name="connsiteY1" fmla="*/ 6096 h 250507"/>
                  <a:gd name="connsiteX2" fmla="*/ 6382 w 3123248"/>
                  <a:gd name="connsiteY2" fmla="*/ 12192 h 250507"/>
                  <a:gd name="connsiteX3" fmla="*/ 14764 w 3123248"/>
                  <a:gd name="connsiteY3" fmla="*/ 12192 h 250507"/>
                  <a:gd name="connsiteX4" fmla="*/ 14764 w 3123248"/>
                  <a:gd name="connsiteY4" fmla="*/ 18193 h 250507"/>
                  <a:gd name="connsiteX5" fmla="*/ 23146 w 3123248"/>
                  <a:gd name="connsiteY5" fmla="*/ 18193 h 250507"/>
                  <a:gd name="connsiteX6" fmla="*/ 23146 w 3123248"/>
                  <a:gd name="connsiteY6" fmla="*/ 24289 h 250507"/>
                  <a:gd name="connsiteX7" fmla="*/ 27337 w 3123248"/>
                  <a:gd name="connsiteY7" fmla="*/ 24289 h 250507"/>
                  <a:gd name="connsiteX8" fmla="*/ 27337 w 3123248"/>
                  <a:gd name="connsiteY8" fmla="*/ 30385 h 250507"/>
                  <a:gd name="connsiteX9" fmla="*/ 100965 w 3123248"/>
                  <a:gd name="connsiteY9" fmla="*/ 30385 h 250507"/>
                  <a:gd name="connsiteX10" fmla="*/ 100965 w 3123248"/>
                  <a:gd name="connsiteY10" fmla="*/ 36385 h 250507"/>
                  <a:gd name="connsiteX11" fmla="*/ 122015 w 3123248"/>
                  <a:gd name="connsiteY11" fmla="*/ 36385 h 250507"/>
                  <a:gd name="connsiteX12" fmla="*/ 122015 w 3123248"/>
                  <a:gd name="connsiteY12" fmla="*/ 42481 h 250507"/>
                  <a:gd name="connsiteX13" fmla="*/ 128302 w 3123248"/>
                  <a:gd name="connsiteY13" fmla="*/ 42481 h 250507"/>
                  <a:gd name="connsiteX14" fmla="*/ 128302 w 3123248"/>
                  <a:gd name="connsiteY14" fmla="*/ 48577 h 250507"/>
                  <a:gd name="connsiteX15" fmla="*/ 170402 w 3123248"/>
                  <a:gd name="connsiteY15" fmla="*/ 48577 h 250507"/>
                  <a:gd name="connsiteX16" fmla="*/ 170402 w 3123248"/>
                  <a:gd name="connsiteY16" fmla="*/ 54578 h 250507"/>
                  <a:gd name="connsiteX17" fmla="*/ 185071 w 3123248"/>
                  <a:gd name="connsiteY17" fmla="*/ 54578 h 250507"/>
                  <a:gd name="connsiteX18" fmla="*/ 185071 w 3123248"/>
                  <a:gd name="connsiteY18" fmla="*/ 60674 h 250507"/>
                  <a:gd name="connsiteX19" fmla="*/ 214598 w 3123248"/>
                  <a:gd name="connsiteY19" fmla="*/ 60674 h 250507"/>
                  <a:gd name="connsiteX20" fmla="*/ 214598 w 3123248"/>
                  <a:gd name="connsiteY20" fmla="*/ 66770 h 250507"/>
                  <a:gd name="connsiteX21" fmla="*/ 216694 w 3123248"/>
                  <a:gd name="connsiteY21" fmla="*/ 66770 h 250507"/>
                  <a:gd name="connsiteX22" fmla="*/ 216694 w 3123248"/>
                  <a:gd name="connsiteY22" fmla="*/ 72771 h 250507"/>
                  <a:gd name="connsiteX23" fmla="*/ 239744 w 3123248"/>
                  <a:gd name="connsiteY23" fmla="*/ 72771 h 250507"/>
                  <a:gd name="connsiteX24" fmla="*/ 239744 w 3123248"/>
                  <a:gd name="connsiteY24" fmla="*/ 78867 h 250507"/>
                  <a:gd name="connsiteX25" fmla="*/ 252413 w 3123248"/>
                  <a:gd name="connsiteY25" fmla="*/ 78867 h 250507"/>
                  <a:gd name="connsiteX26" fmla="*/ 252413 w 3123248"/>
                  <a:gd name="connsiteY26" fmla="*/ 84963 h 250507"/>
                  <a:gd name="connsiteX27" fmla="*/ 288131 w 3123248"/>
                  <a:gd name="connsiteY27" fmla="*/ 84963 h 250507"/>
                  <a:gd name="connsiteX28" fmla="*/ 288131 w 3123248"/>
                  <a:gd name="connsiteY28" fmla="*/ 91059 h 250507"/>
                  <a:gd name="connsiteX29" fmla="*/ 403860 w 3123248"/>
                  <a:gd name="connsiteY29" fmla="*/ 91059 h 250507"/>
                  <a:gd name="connsiteX30" fmla="*/ 403860 w 3123248"/>
                  <a:gd name="connsiteY30" fmla="*/ 97060 h 250507"/>
                  <a:gd name="connsiteX31" fmla="*/ 441674 w 3123248"/>
                  <a:gd name="connsiteY31" fmla="*/ 97060 h 250507"/>
                  <a:gd name="connsiteX32" fmla="*/ 441674 w 3123248"/>
                  <a:gd name="connsiteY32" fmla="*/ 103251 h 250507"/>
                  <a:gd name="connsiteX33" fmla="*/ 494252 w 3123248"/>
                  <a:gd name="connsiteY33" fmla="*/ 103251 h 250507"/>
                  <a:gd name="connsiteX34" fmla="*/ 494252 w 3123248"/>
                  <a:gd name="connsiteY34" fmla="*/ 109347 h 250507"/>
                  <a:gd name="connsiteX35" fmla="*/ 513207 w 3123248"/>
                  <a:gd name="connsiteY35" fmla="*/ 109347 h 250507"/>
                  <a:gd name="connsiteX36" fmla="*/ 513207 w 3123248"/>
                  <a:gd name="connsiteY36" fmla="*/ 115443 h 250507"/>
                  <a:gd name="connsiteX37" fmla="*/ 523685 w 3123248"/>
                  <a:gd name="connsiteY37" fmla="*/ 115443 h 250507"/>
                  <a:gd name="connsiteX38" fmla="*/ 523685 w 3123248"/>
                  <a:gd name="connsiteY38" fmla="*/ 121634 h 250507"/>
                  <a:gd name="connsiteX39" fmla="*/ 557403 w 3123248"/>
                  <a:gd name="connsiteY39" fmla="*/ 121634 h 250507"/>
                  <a:gd name="connsiteX40" fmla="*/ 557403 w 3123248"/>
                  <a:gd name="connsiteY40" fmla="*/ 127730 h 250507"/>
                  <a:gd name="connsiteX41" fmla="*/ 563690 w 3123248"/>
                  <a:gd name="connsiteY41" fmla="*/ 127730 h 250507"/>
                  <a:gd name="connsiteX42" fmla="*/ 563690 w 3123248"/>
                  <a:gd name="connsiteY42" fmla="*/ 133826 h 250507"/>
                  <a:gd name="connsiteX43" fmla="*/ 578358 w 3123248"/>
                  <a:gd name="connsiteY43" fmla="*/ 133826 h 250507"/>
                  <a:gd name="connsiteX44" fmla="*/ 578358 w 3123248"/>
                  <a:gd name="connsiteY44" fmla="*/ 139922 h 250507"/>
                  <a:gd name="connsiteX45" fmla="*/ 591026 w 3123248"/>
                  <a:gd name="connsiteY45" fmla="*/ 139922 h 250507"/>
                  <a:gd name="connsiteX46" fmla="*/ 591026 w 3123248"/>
                  <a:gd name="connsiteY46" fmla="*/ 146113 h 250507"/>
                  <a:gd name="connsiteX47" fmla="*/ 616268 w 3123248"/>
                  <a:gd name="connsiteY47" fmla="*/ 146113 h 250507"/>
                  <a:gd name="connsiteX48" fmla="*/ 616268 w 3123248"/>
                  <a:gd name="connsiteY48" fmla="*/ 152209 h 250507"/>
                  <a:gd name="connsiteX49" fmla="*/ 845534 w 3123248"/>
                  <a:gd name="connsiteY49" fmla="*/ 152209 h 250507"/>
                  <a:gd name="connsiteX50" fmla="*/ 845534 w 3123248"/>
                  <a:gd name="connsiteY50" fmla="*/ 158401 h 250507"/>
                  <a:gd name="connsiteX51" fmla="*/ 959072 w 3123248"/>
                  <a:gd name="connsiteY51" fmla="*/ 158401 h 250507"/>
                  <a:gd name="connsiteX52" fmla="*/ 959072 w 3123248"/>
                  <a:gd name="connsiteY52" fmla="*/ 164592 h 250507"/>
                  <a:gd name="connsiteX53" fmla="*/ 1228249 w 3123248"/>
                  <a:gd name="connsiteY53" fmla="*/ 164592 h 250507"/>
                  <a:gd name="connsiteX54" fmla="*/ 1228249 w 3123248"/>
                  <a:gd name="connsiteY54" fmla="*/ 170878 h 250507"/>
                  <a:gd name="connsiteX55" fmla="*/ 1301877 w 3123248"/>
                  <a:gd name="connsiteY55" fmla="*/ 170878 h 250507"/>
                  <a:gd name="connsiteX56" fmla="*/ 1301877 w 3123248"/>
                  <a:gd name="connsiteY56" fmla="*/ 177165 h 250507"/>
                  <a:gd name="connsiteX57" fmla="*/ 1381792 w 3123248"/>
                  <a:gd name="connsiteY57" fmla="*/ 177165 h 250507"/>
                  <a:gd name="connsiteX58" fmla="*/ 1381792 w 3123248"/>
                  <a:gd name="connsiteY58" fmla="*/ 183451 h 250507"/>
                  <a:gd name="connsiteX59" fmla="*/ 1543717 w 3123248"/>
                  <a:gd name="connsiteY59" fmla="*/ 183451 h 250507"/>
                  <a:gd name="connsiteX60" fmla="*/ 1543717 w 3123248"/>
                  <a:gd name="connsiteY60" fmla="*/ 189928 h 250507"/>
                  <a:gd name="connsiteX61" fmla="*/ 1560576 w 3123248"/>
                  <a:gd name="connsiteY61" fmla="*/ 189928 h 250507"/>
                  <a:gd name="connsiteX62" fmla="*/ 1560576 w 3123248"/>
                  <a:gd name="connsiteY62" fmla="*/ 196310 h 250507"/>
                  <a:gd name="connsiteX63" fmla="*/ 1678400 w 3123248"/>
                  <a:gd name="connsiteY63" fmla="*/ 196310 h 250507"/>
                  <a:gd name="connsiteX64" fmla="*/ 1678400 w 3123248"/>
                  <a:gd name="connsiteY64" fmla="*/ 202787 h 250507"/>
                  <a:gd name="connsiteX65" fmla="*/ 1770888 w 3123248"/>
                  <a:gd name="connsiteY65" fmla="*/ 202787 h 250507"/>
                  <a:gd name="connsiteX66" fmla="*/ 1770888 w 3123248"/>
                  <a:gd name="connsiteY66" fmla="*/ 209169 h 250507"/>
                  <a:gd name="connsiteX67" fmla="*/ 1789843 w 3123248"/>
                  <a:gd name="connsiteY67" fmla="*/ 209169 h 250507"/>
                  <a:gd name="connsiteX68" fmla="*/ 1789843 w 3123248"/>
                  <a:gd name="connsiteY68" fmla="*/ 215646 h 250507"/>
                  <a:gd name="connsiteX69" fmla="*/ 2643664 w 3123248"/>
                  <a:gd name="connsiteY69" fmla="*/ 215646 h 250507"/>
                  <a:gd name="connsiteX70" fmla="*/ 2643664 w 3123248"/>
                  <a:gd name="connsiteY70" fmla="*/ 250507 h 250507"/>
                  <a:gd name="connsiteX71" fmla="*/ 3123248 w 3123248"/>
                  <a:gd name="connsiteY71" fmla="*/ 250507 h 250507"/>
                  <a:gd name="connsiteX0" fmla="*/ 0 w 3123248"/>
                  <a:gd name="connsiteY0" fmla="*/ 0 h 250507"/>
                  <a:gd name="connsiteX1" fmla="*/ 6382 w 3123248"/>
                  <a:gd name="connsiteY1" fmla="*/ 12192 h 250507"/>
                  <a:gd name="connsiteX2" fmla="*/ 14764 w 3123248"/>
                  <a:gd name="connsiteY2" fmla="*/ 12192 h 250507"/>
                  <a:gd name="connsiteX3" fmla="*/ 14764 w 3123248"/>
                  <a:gd name="connsiteY3" fmla="*/ 18193 h 250507"/>
                  <a:gd name="connsiteX4" fmla="*/ 23146 w 3123248"/>
                  <a:gd name="connsiteY4" fmla="*/ 18193 h 250507"/>
                  <a:gd name="connsiteX5" fmla="*/ 23146 w 3123248"/>
                  <a:gd name="connsiteY5" fmla="*/ 24289 h 250507"/>
                  <a:gd name="connsiteX6" fmla="*/ 27337 w 3123248"/>
                  <a:gd name="connsiteY6" fmla="*/ 24289 h 250507"/>
                  <a:gd name="connsiteX7" fmla="*/ 27337 w 3123248"/>
                  <a:gd name="connsiteY7" fmla="*/ 30385 h 250507"/>
                  <a:gd name="connsiteX8" fmla="*/ 100965 w 3123248"/>
                  <a:gd name="connsiteY8" fmla="*/ 30385 h 250507"/>
                  <a:gd name="connsiteX9" fmla="*/ 100965 w 3123248"/>
                  <a:gd name="connsiteY9" fmla="*/ 36385 h 250507"/>
                  <a:gd name="connsiteX10" fmla="*/ 122015 w 3123248"/>
                  <a:gd name="connsiteY10" fmla="*/ 36385 h 250507"/>
                  <a:gd name="connsiteX11" fmla="*/ 122015 w 3123248"/>
                  <a:gd name="connsiteY11" fmla="*/ 42481 h 250507"/>
                  <a:gd name="connsiteX12" fmla="*/ 128302 w 3123248"/>
                  <a:gd name="connsiteY12" fmla="*/ 42481 h 250507"/>
                  <a:gd name="connsiteX13" fmla="*/ 128302 w 3123248"/>
                  <a:gd name="connsiteY13" fmla="*/ 48577 h 250507"/>
                  <a:gd name="connsiteX14" fmla="*/ 170402 w 3123248"/>
                  <a:gd name="connsiteY14" fmla="*/ 48577 h 250507"/>
                  <a:gd name="connsiteX15" fmla="*/ 170402 w 3123248"/>
                  <a:gd name="connsiteY15" fmla="*/ 54578 h 250507"/>
                  <a:gd name="connsiteX16" fmla="*/ 185071 w 3123248"/>
                  <a:gd name="connsiteY16" fmla="*/ 54578 h 250507"/>
                  <a:gd name="connsiteX17" fmla="*/ 185071 w 3123248"/>
                  <a:gd name="connsiteY17" fmla="*/ 60674 h 250507"/>
                  <a:gd name="connsiteX18" fmla="*/ 214598 w 3123248"/>
                  <a:gd name="connsiteY18" fmla="*/ 60674 h 250507"/>
                  <a:gd name="connsiteX19" fmla="*/ 214598 w 3123248"/>
                  <a:gd name="connsiteY19" fmla="*/ 66770 h 250507"/>
                  <a:gd name="connsiteX20" fmla="*/ 216694 w 3123248"/>
                  <a:gd name="connsiteY20" fmla="*/ 66770 h 250507"/>
                  <a:gd name="connsiteX21" fmla="*/ 216694 w 3123248"/>
                  <a:gd name="connsiteY21" fmla="*/ 72771 h 250507"/>
                  <a:gd name="connsiteX22" fmla="*/ 239744 w 3123248"/>
                  <a:gd name="connsiteY22" fmla="*/ 72771 h 250507"/>
                  <a:gd name="connsiteX23" fmla="*/ 239744 w 3123248"/>
                  <a:gd name="connsiteY23" fmla="*/ 78867 h 250507"/>
                  <a:gd name="connsiteX24" fmla="*/ 252413 w 3123248"/>
                  <a:gd name="connsiteY24" fmla="*/ 78867 h 250507"/>
                  <a:gd name="connsiteX25" fmla="*/ 252413 w 3123248"/>
                  <a:gd name="connsiteY25" fmla="*/ 84963 h 250507"/>
                  <a:gd name="connsiteX26" fmla="*/ 288131 w 3123248"/>
                  <a:gd name="connsiteY26" fmla="*/ 84963 h 250507"/>
                  <a:gd name="connsiteX27" fmla="*/ 288131 w 3123248"/>
                  <a:gd name="connsiteY27" fmla="*/ 91059 h 250507"/>
                  <a:gd name="connsiteX28" fmla="*/ 403860 w 3123248"/>
                  <a:gd name="connsiteY28" fmla="*/ 91059 h 250507"/>
                  <a:gd name="connsiteX29" fmla="*/ 403860 w 3123248"/>
                  <a:gd name="connsiteY29" fmla="*/ 97060 h 250507"/>
                  <a:gd name="connsiteX30" fmla="*/ 441674 w 3123248"/>
                  <a:gd name="connsiteY30" fmla="*/ 97060 h 250507"/>
                  <a:gd name="connsiteX31" fmla="*/ 441674 w 3123248"/>
                  <a:gd name="connsiteY31" fmla="*/ 103251 h 250507"/>
                  <a:gd name="connsiteX32" fmla="*/ 494252 w 3123248"/>
                  <a:gd name="connsiteY32" fmla="*/ 103251 h 250507"/>
                  <a:gd name="connsiteX33" fmla="*/ 494252 w 3123248"/>
                  <a:gd name="connsiteY33" fmla="*/ 109347 h 250507"/>
                  <a:gd name="connsiteX34" fmla="*/ 513207 w 3123248"/>
                  <a:gd name="connsiteY34" fmla="*/ 109347 h 250507"/>
                  <a:gd name="connsiteX35" fmla="*/ 513207 w 3123248"/>
                  <a:gd name="connsiteY35" fmla="*/ 115443 h 250507"/>
                  <a:gd name="connsiteX36" fmla="*/ 523685 w 3123248"/>
                  <a:gd name="connsiteY36" fmla="*/ 115443 h 250507"/>
                  <a:gd name="connsiteX37" fmla="*/ 523685 w 3123248"/>
                  <a:gd name="connsiteY37" fmla="*/ 121634 h 250507"/>
                  <a:gd name="connsiteX38" fmla="*/ 557403 w 3123248"/>
                  <a:gd name="connsiteY38" fmla="*/ 121634 h 250507"/>
                  <a:gd name="connsiteX39" fmla="*/ 557403 w 3123248"/>
                  <a:gd name="connsiteY39" fmla="*/ 127730 h 250507"/>
                  <a:gd name="connsiteX40" fmla="*/ 563690 w 3123248"/>
                  <a:gd name="connsiteY40" fmla="*/ 127730 h 250507"/>
                  <a:gd name="connsiteX41" fmla="*/ 563690 w 3123248"/>
                  <a:gd name="connsiteY41" fmla="*/ 133826 h 250507"/>
                  <a:gd name="connsiteX42" fmla="*/ 578358 w 3123248"/>
                  <a:gd name="connsiteY42" fmla="*/ 133826 h 250507"/>
                  <a:gd name="connsiteX43" fmla="*/ 578358 w 3123248"/>
                  <a:gd name="connsiteY43" fmla="*/ 139922 h 250507"/>
                  <a:gd name="connsiteX44" fmla="*/ 591026 w 3123248"/>
                  <a:gd name="connsiteY44" fmla="*/ 139922 h 250507"/>
                  <a:gd name="connsiteX45" fmla="*/ 591026 w 3123248"/>
                  <a:gd name="connsiteY45" fmla="*/ 146113 h 250507"/>
                  <a:gd name="connsiteX46" fmla="*/ 616268 w 3123248"/>
                  <a:gd name="connsiteY46" fmla="*/ 146113 h 250507"/>
                  <a:gd name="connsiteX47" fmla="*/ 616268 w 3123248"/>
                  <a:gd name="connsiteY47" fmla="*/ 152209 h 250507"/>
                  <a:gd name="connsiteX48" fmla="*/ 845534 w 3123248"/>
                  <a:gd name="connsiteY48" fmla="*/ 152209 h 250507"/>
                  <a:gd name="connsiteX49" fmla="*/ 845534 w 3123248"/>
                  <a:gd name="connsiteY49" fmla="*/ 158401 h 250507"/>
                  <a:gd name="connsiteX50" fmla="*/ 959072 w 3123248"/>
                  <a:gd name="connsiteY50" fmla="*/ 158401 h 250507"/>
                  <a:gd name="connsiteX51" fmla="*/ 959072 w 3123248"/>
                  <a:gd name="connsiteY51" fmla="*/ 164592 h 250507"/>
                  <a:gd name="connsiteX52" fmla="*/ 1228249 w 3123248"/>
                  <a:gd name="connsiteY52" fmla="*/ 164592 h 250507"/>
                  <a:gd name="connsiteX53" fmla="*/ 1228249 w 3123248"/>
                  <a:gd name="connsiteY53" fmla="*/ 170878 h 250507"/>
                  <a:gd name="connsiteX54" fmla="*/ 1301877 w 3123248"/>
                  <a:gd name="connsiteY54" fmla="*/ 170878 h 250507"/>
                  <a:gd name="connsiteX55" fmla="*/ 1301877 w 3123248"/>
                  <a:gd name="connsiteY55" fmla="*/ 177165 h 250507"/>
                  <a:gd name="connsiteX56" fmla="*/ 1381792 w 3123248"/>
                  <a:gd name="connsiteY56" fmla="*/ 177165 h 250507"/>
                  <a:gd name="connsiteX57" fmla="*/ 1381792 w 3123248"/>
                  <a:gd name="connsiteY57" fmla="*/ 183451 h 250507"/>
                  <a:gd name="connsiteX58" fmla="*/ 1543717 w 3123248"/>
                  <a:gd name="connsiteY58" fmla="*/ 183451 h 250507"/>
                  <a:gd name="connsiteX59" fmla="*/ 1543717 w 3123248"/>
                  <a:gd name="connsiteY59" fmla="*/ 189928 h 250507"/>
                  <a:gd name="connsiteX60" fmla="*/ 1560576 w 3123248"/>
                  <a:gd name="connsiteY60" fmla="*/ 189928 h 250507"/>
                  <a:gd name="connsiteX61" fmla="*/ 1560576 w 3123248"/>
                  <a:gd name="connsiteY61" fmla="*/ 196310 h 250507"/>
                  <a:gd name="connsiteX62" fmla="*/ 1678400 w 3123248"/>
                  <a:gd name="connsiteY62" fmla="*/ 196310 h 250507"/>
                  <a:gd name="connsiteX63" fmla="*/ 1678400 w 3123248"/>
                  <a:gd name="connsiteY63" fmla="*/ 202787 h 250507"/>
                  <a:gd name="connsiteX64" fmla="*/ 1770888 w 3123248"/>
                  <a:gd name="connsiteY64" fmla="*/ 202787 h 250507"/>
                  <a:gd name="connsiteX65" fmla="*/ 1770888 w 3123248"/>
                  <a:gd name="connsiteY65" fmla="*/ 209169 h 250507"/>
                  <a:gd name="connsiteX66" fmla="*/ 1789843 w 3123248"/>
                  <a:gd name="connsiteY66" fmla="*/ 209169 h 250507"/>
                  <a:gd name="connsiteX67" fmla="*/ 1789843 w 3123248"/>
                  <a:gd name="connsiteY67" fmla="*/ 215646 h 250507"/>
                  <a:gd name="connsiteX68" fmla="*/ 2643664 w 3123248"/>
                  <a:gd name="connsiteY68" fmla="*/ 215646 h 250507"/>
                  <a:gd name="connsiteX69" fmla="*/ 2643664 w 3123248"/>
                  <a:gd name="connsiteY69" fmla="*/ 250507 h 250507"/>
                  <a:gd name="connsiteX70" fmla="*/ 3123248 w 3123248"/>
                  <a:gd name="connsiteY70" fmla="*/ 250507 h 250507"/>
                  <a:gd name="connsiteX0" fmla="*/ 0 w 3116866"/>
                  <a:gd name="connsiteY0" fmla="*/ 0 h 238315"/>
                  <a:gd name="connsiteX1" fmla="*/ 8382 w 3116866"/>
                  <a:gd name="connsiteY1" fmla="*/ 0 h 238315"/>
                  <a:gd name="connsiteX2" fmla="*/ 8382 w 3116866"/>
                  <a:gd name="connsiteY2" fmla="*/ 6001 h 238315"/>
                  <a:gd name="connsiteX3" fmla="*/ 16764 w 3116866"/>
                  <a:gd name="connsiteY3" fmla="*/ 6001 h 238315"/>
                  <a:gd name="connsiteX4" fmla="*/ 16764 w 3116866"/>
                  <a:gd name="connsiteY4" fmla="*/ 12097 h 238315"/>
                  <a:gd name="connsiteX5" fmla="*/ 20955 w 3116866"/>
                  <a:gd name="connsiteY5" fmla="*/ 12097 h 238315"/>
                  <a:gd name="connsiteX6" fmla="*/ 20955 w 3116866"/>
                  <a:gd name="connsiteY6" fmla="*/ 18193 h 238315"/>
                  <a:gd name="connsiteX7" fmla="*/ 94583 w 3116866"/>
                  <a:gd name="connsiteY7" fmla="*/ 18193 h 238315"/>
                  <a:gd name="connsiteX8" fmla="*/ 94583 w 3116866"/>
                  <a:gd name="connsiteY8" fmla="*/ 24193 h 238315"/>
                  <a:gd name="connsiteX9" fmla="*/ 115633 w 3116866"/>
                  <a:gd name="connsiteY9" fmla="*/ 24193 h 238315"/>
                  <a:gd name="connsiteX10" fmla="*/ 115633 w 3116866"/>
                  <a:gd name="connsiteY10" fmla="*/ 30289 h 238315"/>
                  <a:gd name="connsiteX11" fmla="*/ 121920 w 3116866"/>
                  <a:gd name="connsiteY11" fmla="*/ 30289 h 238315"/>
                  <a:gd name="connsiteX12" fmla="*/ 121920 w 3116866"/>
                  <a:gd name="connsiteY12" fmla="*/ 36385 h 238315"/>
                  <a:gd name="connsiteX13" fmla="*/ 164020 w 3116866"/>
                  <a:gd name="connsiteY13" fmla="*/ 36385 h 238315"/>
                  <a:gd name="connsiteX14" fmla="*/ 164020 w 3116866"/>
                  <a:gd name="connsiteY14" fmla="*/ 42386 h 238315"/>
                  <a:gd name="connsiteX15" fmla="*/ 178689 w 3116866"/>
                  <a:gd name="connsiteY15" fmla="*/ 42386 h 238315"/>
                  <a:gd name="connsiteX16" fmla="*/ 178689 w 3116866"/>
                  <a:gd name="connsiteY16" fmla="*/ 48482 h 238315"/>
                  <a:gd name="connsiteX17" fmla="*/ 208216 w 3116866"/>
                  <a:gd name="connsiteY17" fmla="*/ 48482 h 238315"/>
                  <a:gd name="connsiteX18" fmla="*/ 208216 w 3116866"/>
                  <a:gd name="connsiteY18" fmla="*/ 54578 h 238315"/>
                  <a:gd name="connsiteX19" fmla="*/ 210312 w 3116866"/>
                  <a:gd name="connsiteY19" fmla="*/ 54578 h 238315"/>
                  <a:gd name="connsiteX20" fmla="*/ 210312 w 3116866"/>
                  <a:gd name="connsiteY20" fmla="*/ 60579 h 238315"/>
                  <a:gd name="connsiteX21" fmla="*/ 233362 w 3116866"/>
                  <a:gd name="connsiteY21" fmla="*/ 60579 h 238315"/>
                  <a:gd name="connsiteX22" fmla="*/ 233362 w 3116866"/>
                  <a:gd name="connsiteY22" fmla="*/ 66675 h 238315"/>
                  <a:gd name="connsiteX23" fmla="*/ 246031 w 3116866"/>
                  <a:gd name="connsiteY23" fmla="*/ 66675 h 238315"/>
                  <a:gd name="connsiteX24" fmla="*/ 246031 w 3116866"/>
                  <a:gd name="connsiteY24" fmla="*/ 72771 h 238315"/>
                  <a:gd name="connsiteX25" fmla="*/ 281749 w 3116866"/>
                  <a:gd name="connsiteY25" fmla="*/ 72771 h 238315"/>
                  <a:gd name="connsiteX26" fmla="*/ 281749 w 3116866"/>
                  <a:gd name="connsiteY26" fmla="*/ 78867 h 238315"/>
                  <a:gd name="connsiteX27" fmla="*/ 397478 w 3116866"/>
                  <a:gd name="connsiteY27" fmla="*/ 78867 h 238315"/>
                  <a:gd name="connsiteX28" fmla="*/ 397478 w 3116866"/>
                  <a:gd name="connsiteY28" fmla="*/ 84868 h 238315"/>
                  <a:gd name="connsiteX29" fmla="*/ 435292 w 3116866"/>
                  <a:gd name="connsiteY29" fmla="*/ 84868 h 238315"/>
                  <a:gd name="connsiteX30" fmla="*/ 435292 w 3116866"/>
                  <a:gd name="connsiteY30" fmla="*/ 91059 h 238315"/>
                  <a:gd name="connsiteX31" fmla="*/ 487870 w 3116866"/>
                  <a:gd name="connsiteY31" fmla="*/ 91059 h 238315"/>
                  <a:gd name="connsiteX32" fmla="*/ 487870 w 3116866"/>
                  <a:gd name="connsiteY32" fmla="*/ 97155 h 238315"/>
                  <a:gd name="connsiteX33" fmla="*/ 506825 w 3116866"/>
                  <a:gd name="connsiteY33" fmla="*/ 97155 h 238315"/>
                  <a:gd name="connsiteX34" fmla="*/ 506825 w 3116866"/>
                  <a:gd name="connsiteY34" fmla="*/ 103251 h 238315"/>
                  <a:gd name="connsiteX35" fmla="*/ 517303 w 3116866"/>
                  <a:gd name="connsiteY35" fmla="*/ 103251 h 238315"/>
                  <a:gd name="connsiteX36" fmla="*/ 517303 w 3116866"/>
                  <a:gd name="connsiteY36" fmla="*/ 109442 h 238315"/>
                  <a:gd name="connsiteX37" fmla="*/ 551021 w 3116866"/>
                  <a:gd name="connsiteY37" fmla="*/ 109442 h 238315"/>
                  <a:gd name="connsiteX38" fmla="*/ 551021 w 3116866"/>
                  <a:gd name="connsiteY38" fmla="*/ 115538 h 238315"/>
                  <a:gd name="connsiteX39" fmla="*/ 557308 w 3116866"/>
                  <a:gd name="connsiteY39" fmla="*/ 115538 h 238315"/>
                  <a:gd name="connsiteX40" fmla="*/ 557308 w 3116866"/>
                  <a:gd name="connsiteY40" fmla="*/ 121634 h 238315"/>
                  <a:gd name="connsiteX41" fmla="*/ 571976 w 3116866"/>
                  <a:gd name="connsiteY41" fmla="*/ 121634 h 238315"/>
                  <a:gd name="connsiteX42" fmla="*/ 571976 w 3116866"/>
                  <a:gd name="connsiteY42" fmla="*/ 127730 h 238315"/>
                  <a:gd name="connsiteX43" fmla="*/ 584644 w 3116866"/>
                  <a:gd name="connsiteY43" fmla="*/ 127730 h 238315"/>
                  <a:gd name="connsiteX44" fmla="*/ 584644 w 3116866"/>
                  <a:gd name="connsiteY44" fmla="*/ 133921 h 238315"/>
                  <a:gd name="connsiteX45" fmla="*/ 609886 w 3116866"/>
                  <a:gd name="connsiteY45" fmla="*/ 133921 h 238315"/>
                  <a:gd name="connsiteX46" fmla="*/ 609886 w 3116866"/>
                  <a:gd name="connsiteY46" fmla="*/ 140017 h 238315"/>
                  <a:gd name="connsiteX47" fmla="*/ 839152 w 3116866"/>
                  <a:gd name="connsiteY47" fmla="*/ 140017 h 238315"/>
                  <a:gd name="connsiteX48" fmla="*/ 839152 w 3116866"/>
                  <a:gd name="connsiteY48" fmla="*/ 146209 h 238315"/>
                  <a:gd name="connsiteX49" fmla="*/ 952690 w 3116866"/>
                  <a:gd name="connsiteY49" fmla="*/ 146209 h 238315"/>
                  <a:gd name="connsiteX50" fmla="*/ 952690 w 3116866"/>
                  <a:gd name="connsiteY50" fmla="*/ 152400 h 238315"/>
                  <a:gd name="connsiteX51" fmla="*/ 1221867 w 3116866"/>
                  <a:gd name="connsiteY51" fmla="*/ 152400 h 238315"/>
                  <a:gd name="connsiteX52" fmla="*/ 1221867 w 3116866"/>
                  <a:gd name="connsiteY52" fmla="*/ 158686 h 238315"/>
                  <a:gd name="connsiteX53" fmla="*/ 1295495 w 3116866"/>
                  <a:gd name="connsiteY53" fmla="*/ 158686 h 238315"/>
                  <a:gd name="connsiteX54" fmla="*/ 1295495 w 3116866"/>
                  <a:gd name="connsiteY54" fmla="*/ 164973 h 238315"/>
                  <a:gd name="connsiteX55" fmla="*/ 1375410 w 3116866"/>
                  <a:gd name="connsiteY55" fmla="*/ 164973 h 238315"/>
                  <a:gd name="connsiteX56" fmla="*/ 1375410 w 3116866"/>
                  <a:gd name="connsiteY56" fmla="*/ 171259 h 238315"/>
                  <a:gd name="connsiteX57" fmla="*/ 1537335 w 3116866"/>
                  <a:gd name="connsiteY57" fmla="*/ 171259 h 238315"/>
                  <a:gd name="connsiteX58" fmla="*/ 1537335 w 3116866"/>
                  <a:gd name="connsiteY58" fmla="*/ 177736 h 238315"/>
                  <a:gd name="connsiteX59" fmla="*/ 1554194 w 3116866"/>
                  <a:gd name="connsiteY59" fmla="*/ 177736 h 238315"/>
                  <a:gd name="connsiteX60" fmla="*/ 1554194 w 3116866"/>
                  <a:gd name="connsiteY60" fmla="*/ 184118 h 238315"/>
                  <a:gd name="connsiteX61" fmla="*/ 1672018 w 3116866"/>
                  <a:gd name="connsiteY61" fmla="*/ 184118 h 238315"/>
                  <a:gd name="connsiteX62" fmla="*/ 1672018 w 3116866"/>
                  <a:gd name="connsiteY62" fmla="*/ 190595 h 238315"/>
                  <a:gd name="connsiteX63" fmla="*/ 1764506 w 3116866"/>
                  <a:gd name="connsiteY63" fmla="*/ 190595 h 238315"/>
                  <a:gd name="connsiteX64" fmla="*/ 1764506 w 3116866"/>
                  <a:gd name="connsiteY64" fmla="*/ 196977 h 238315"/>
                  <a:gd name="connsiteX65" fmla="*/ 1783461 w 3116866"/>
                  <a:gd name="connsiteY65" fmla="*/ 196977 h 238315"/>
                  <a:gd name="connsiteX66" fmla="*/ 1783461 w 3116866"/>
                  <a:gd name="connsiteY66" fmla="*/ 203454 h 238315"/>
                  <a:gd name="connsiteX67" fmla="*/ 2637282 w 3116866"/>
                  <a:gd name="connsiteY67" fmla="*/ 203454 h 238315"/>
                  <a:gd name="connsiteX68" fmla="*/ 2637282 w 3116866"/>
                  <a:gd name="connsiteY68" fmla="*/ 238315 h 238315"/>
                  <a:gd name="connsiteX69" fmla="*/ 3116866 w 3116866"/>
                  <a:gd name="connsiteY69" fmla="*/ 238315 h 238315"/>
                  <a:gd name="connsiteX0" fmla="*/ 0 w 3116866"/>
                  <a:gd name="connsiteY0" fmla="*/ 0 h 238315"/>
                  <a:gd name="connsiteX1" fmla="*/ 8382 w 3116866"/>
                  <a:gd name="connsiteY1" fmla="*/ 6001 h 238315"/>
                  <a:gd name="connsiteX2" fmla="*/ 16764 w 3116866"/>
                  <a:gd name="connsiteY2" fmla="*/ 6001 h 238315"/>
                  <a:gd name="connsiteX3" fmla="*/ 16764 w 3116866"/>
                  <a:gd name="connsiteY3" fmla="*/ 12097 h 238315"/>
                  <a:gd name="connsiteX4" fmla="*/ 20955 w 3116866"/>
                  <a:gd name="connsiteY4" fmla="*/ 12097 h 238315"/>
                  <a:gd name="connsiteX5" fmla="*/ 20955 w 3116866"/>
                  <a:gd name="connsiteY5" fmla="*/ 18193 h 238315"/>
                  <a:gd name="connsiteX6" fmla="*/ 94583 w 3116866"/>
                  <a:gd name="connsiteY6" fmla="*/ 18193 h 238315"/>
                  <a:gd name="connsiteX7" fmla="*/ 94583 w 3116866"/>
                  <a:gd name="connsiteY7" fmla="*/ 24193 h 238315"/>
                  <a:gd name="connsiteX8" fmla="*/ 115633 w 3116866"/>
                  <a:gd name="connsiteY8" fmla="*/ 24193 h 238315"/>
                  <a:gd name="connsiteX9" fmla="*/ 115633 w 3116866"/>
                  <a:gd name="connsiteY9" fmla="*/ 30289 h 238315"/>
                  <a:gd name="connsiteX10" fmla="*/ 121920 w 3116866"/>
                  <a:gd name="connsiteY10" fmla="*/ 30289 h 238315"/>
                  <a:gd name="connsiteX11" fmla="*/ 121920 w 3116866"/>
                  <a:gd name="connsiteY11" fmla="*/ 36385 h 238315"/>
                  <a:gd name="connsiteX12" fmla="*/ 164020 w 3116866"/>
                  <a:gd name="connsiteY12" fmla="*/ 36385 h 238315"/>
                  <a:gd name="connsiteX13" fmla="*/ 164020 w 3116866"/>
                  <a:gd name="connsiteY13" fmla="*/ 42386 h 238315"/>
                  <a:gd name="connsiteX14" fmla="*/ 178689 w 3116866"/>
                  <a:gd name="connsiteY14" fmla="*/ 42386 h 238315"/>
                  <a:gd name="connsiteX15" fmla="*/ 178689 w 3116866"/>
                  <a:gd name="connsiteY15" fmla="*/ 48482 h 238315"/>
                  <a:gd name="connsiteX16" fmla="*/ 208216 w 3116866"/>
                  <a:gd name="connsiteY16" fmla="*/ 48482 h 238315"/>
                  <a:gd name="connsiteX17" fmla="*/ 208216 w 3116866"/>
                  <a:gd name="connsiteY17" fmla="*/ 54578 h 238315"/>
                  <a:gd name="connsiteX18" fmla="*/ 210312 w 3116866"/>
                  <a:gd name="connsiteY18" fmla="*/ 54578 h 238315"/>
                  <a:gd name="connsiteX19" fmla="*/ 210312 w 3116866"/>
                  <a:gd name="connsiteY19" fmla="*/ 60579 h 238315"/>
                  <a:gd name="connsiteX20" fmla="*/ 233362 w 3116866"/>
                  <a:gd name="connsiteY20" fmla="*/ 60579 h 238315"/>
                  <a:gd name="connsiteX21" fmla="*/ 233362 w 3116866"/>
                  <a:gd name="connsiteY21" fmla="*/ 66675 h 238315"/>
                  <a:gd name="connsiteX22" fmla="*/ 246031 w 3116866"/>
                  <a:gd name="connsiteY22" fmla="*/ 66675 h 238315"/>
                  <a:gd name="connsiteX23" fmla="*/ 246031 w 3116866"/>
                  <a:gd name="connsiteY23" fmla="*/ 72771 h 238315"/>
                  <a:gd name="connsiteX24" fmla="*/ 281749 w 3116866"/>
                  <a:gd name="connsiteY24" fmla="*/ 72771 h 238315"/>
                  <a:gd name="connsiteX25" fmla="*/ 281749 w 3116866"/>
                  <a:gd name="connsiteY25" fmla="*/ 78867 h 238315"/>
                  <a:gd name="connsiteX26" fmla="*/ 397478 w 3116866"/>
                  <a:gd name="connsiteY26" fmla="*/ 78867 h 238315"/>
                  <a:gd name="connsiteX27" fmla="*/ 397478 w 3116866"/>
                  <a:gd name="connsiteY27" fmla="*/ 84868 h 238315"/>
                  <a:gd name="connsiteX28" fmla="*/ 435292 w 3116866"/>
                  <a:gd name="connsiteY28" fmla="*/ 84868 h 238315"/>
                  <a:gd name="connsiteX29" fmla="*/ 435292 w 3116866"/>
                  <a:gd name="connsiteY29" fmla="*/ 91059 h 238315"/>
                  <a:gd name="connsiteX30" fmla="*/ 487870 w 3116866"/>
                  <a:gd name="connsiteY30" fmla="*/ 91059 h 238315"/>
                  <a:gd name="connsiteX31" fmla="*/ 487870 w 3116866"/>
                  <a:gd name="connsiteY31" fmla="*/ 97155 h 238315"/>
                  <a:gd name="connsiteX32" fmla="*/ 506825 w 3116866"/>
                  <a:gd name="connsiteY32" fmla="*/ 97155 h 238315"/>
                  <a:gd name="connsiteX33" fmla="*/ 506825 w 3116866"/>
                  <a:gd name="connsiteY33" fmla="*/ 103251 h 238315"/>
                  <a:gd name="connsiteX34" fmla="*/ 517303 w 3116866"/>
                  <a:gd name="connsiteY34" fmla="*/ 103251 h 238315"/>
                  <a:gd name="connsiteX35" fmla="*/ 517303 w 3116866"/>
                  <a:gd name="connsiteY35" fmla="*/ 109442 h 238315"/>
                  <a:gd name="connsiteX36" fmla="*/ 551021 w 3116866"/>
                  <a:gd name="connsiteY36" fmla="*/ 109442 h 238315"/>
                  <a:gd name="connsiteX37" fmla="*/ 551021 w 3116866"/>
                  <a:gd name="connsiteY37" fmla="*/ 115538 h 238315"/>
                  <a:gd name="connsiteX38" fmla="*/ 557308 w 3116866"/>
                  <a:gd name="connsiteY38" fmla="*/ 115538 h 238315"/>
                  <a:gd name="connsiteX39" fmla="*/ 557308 w 3116866"/>
                  <a:gd name="connsiteY39" fmla="*/ 121634 h 238315"/>
                  <a:gd name="connsiteX40" fmla="*/ 571976 w 3116866"/>
                  <a:gd name="connsiteY40" fmla="*/ 121634 h 238315"/>
                  <a:gd name="connsiteX41" fmla="*/ 571976 w 3116866"/>
                  <a:gd name="connsiteY41" fmla="*/ 127730 h 238315"/>
                  <a:gd name="connsiteX42" fmla="*/ 584644 w 3116866"/>
                  <a:gd name="connsiteY42" fmla="*/ 127730 h 238315"/>
                  <a:gd name="connsiteX43" fmla="*/ 584644 w 3116866"/>
                  <a:gd name="connsiteY43" fmla="*/ 133921 h 238315"/>
                  <a:gd name="connsiteX44" fmla="*/ 609886 w 3116866"/>
                  <a:gd name="connsiteY44" fmla="*/ 133921 h 238315"/>
                  <a:gd name="connsiteX45" fmla="*/ 609886 w 3116866"/>
                  <a:gd name="connsiteY45" fmla="*/ 140017 h 238315"/>
                  <a:gd name="connsiteX46" fmla="*/ 839152 w 3116866"/>
                  <a:gd name="connsiteY46" fmla="*/ 140017 h 238315"/>
                  <a:gd name="connsiteX47" fmla="*/ 839152 w 3116866"/>
                  <a:gd name="connsiteY47" fmla="*/ 146209 h 238315"/>
                  <a:gd name="connsiteX48" fmla="*/ 952690 w 3116866"/>
                  <a:gd name="connsiteY48" fmla="*/ 146209 h 238315"/>
                  <a:gd name="connsiteX49" fmla="*/ 952690 w 3116866"/>
                  <a:gd name="connsiteY49" fmla="*/ 152400 h 238315"/>
                  <a:gd name="connsiteX50" fmla="*/ 1221867 w 3116866"/>
                  <a:gd name="connsiteY50" fmla="*/ 152400 h 238315"/>
                  <a:gd name="connsiteX51" fmla="*/ 1221867 w 3116866"/>
                  <a:gd name="connsiteY51" fmla="*/ 158686 h 238315"/>
                  <a:gd name="connsiteX52" fmla="*/ 1295495 w 3116866"/>
                  <a:gd name="connsiteY52" fmla="*/ 158686 h 238315"/>
                  <a:gd name="connsiteX53" fmla="*/ 1295495 w 3116866"/>
                  <a:gd name="connsiteY53" fmla="*/ 164973 h 238315"/>
                  <a:gd name="connsiteX54" fmla="*/ 1375410 w 3116866"/>
                  <a:gd name="connsiteY54" fmla="*/ 164973 h 238315"/>
                  <a:gd name="connsiteX55" fmla="*/ 1375410 w 3116866"/>
                  <a:gd name="connsiteY55" fmla="*/ 171259 h 238315"/>
                  <a:gd name="connsiteX56" fmla="*/ 1537335 w 3116866"/>
                  <a:gd name="connsiteY56" fmla="*/ 171259 h 238315"/>
                  <a:gd name="connsiteX57" fmla="*/ 1537335 w 3116866"/>
                  <a:gd name="connsiteY57" fmla="*/ 177736 h 238315"/>
                  <a:gd name="connsiteX58" fmla="*/ 1554194 w 3116866"/>
                  <a:gd name="connsiteY58" fmla="*/ 177736 h 238315"/>
                  <a:gd name="connsiteX59" fmla="*/ 1554194 w 3116866"/>
                  <a:gd name="connsiteY59" fmla="*/ 184118 h 238315"/>
                  <a:gd name="connsiteX60" fmla="*/ 1672018 w 3116866"/>
                  <a:gd name="connsiteY60" fmla="*/ 184118 h 238315"/>
                  <a:gd name="connsiteX61" fmla="*/ 1672018 w 3116866"/>
                  <a:gd name="connsiteY61" fmla="*/ 190595 h 238315"/>
                  <a:gd name="connsiteX62" fmla="*/ 1764506 w 3116866"/>
                  <a:gd name="connsiteY62" fmla="*/ 190595 h 238315"/>
                  <a:gd name="connsiteX63" fmla="*/ 1764506 w 3116866"/>
                  <a:gd name="connsiteY63" fmla="*/ 196977 h 238315"/>
                  <a:gd name="connsiteX64" fmla="*/ 1783461 w 3116866"/>
                  <a:gd name="connsiteY64" fmla="*/ 196977 h 238315"/>
                  <a:gd name="connsiteX65" fmla="*/ 1783461 w 3116866"/>
                  <a:gd name="connsiteY65" fmla="*/ 203454 h 238315"/>
                  <a:gd name="connsiteX66" fmla="*/ 2637282 w 3116866"/>
                  <a:gd name="connsiteY66" fmla="*/ 203454 h 238315"/>
                  <a:gd name="connsiteX67" fmla="*/ 2637282 w 3116866"/>
                  <a:gd name="connsiteY67" fmla="*/ 238315 h 238315"/>
                  <a:gd name="connsiteX68" fmla="*/ 3116866 w 3116866"/>
                  <a:gd name="connsiteY68" fmla="*/ 238315 h 238315"/>
                  <a:gd name="connsiteX0" fmla="*/ 0 w 3116866"/>
                  <a:gd name="connsiteY0" fmla="*/ 0 h 238315"/>
                  <a:gd name="connsiteX1" fmla="*/ 8382 w 3116866"/>
                  <a:gd name="connsiteY1" fmla="*/ 6001 h 238315"/>
                  <a:gd name="connsiteX2" fmla="*/ 16764 w 3116866"/>
                  <a:gd name="connsiteY2" fmla="*/ 6001 h 238315"/>
                  <a:gd name="connsiteX3" fmla="*/ 20955 w 3116866"/>
                  <a:gd name="connsiteY3" fmla="*/ 12097 h 238315"/>
                  <a:gd name="connsiteX4" fmla="*/ 20955 w 3116866"/>
                  <a:gd name="connsiteY4" fmla="*/ 18193 h 238315"/>
                  <a:gd name="connsiteX5" fmla="*/ 94583 w 3116866"/>
                  <a:gd name="connsiteY5" fmla="*/ 18193 h 238315"/>
                  <a:gd name="connsiteX6" fmla="*/ 94583 w 3116866"/>
                  <a:gd name="connsiteY6" fmla="*/ 24193 h 238315"/>
                  <a:gd name="connsiteX7" fmla="*/ 115633 w 3116866"/>
                  <a:gd name="connsiteY7" fmla="*/ 24193 h 238315"/>
                  <a:gd name="connsiteX8" fmla="*/ 115633 w 3116866"/>
                  <a:gd name="connsiteY8" fmla="*/ 30289 h 238315"/>
                  <a:gd name="connsiteX9" fmla="*/ 121920 w 3116866"/>
                  <a:gd name="connsiteY9" fmla="*/ 30289 h 238315"/>
                  <a:gd name="connsiteX10" fmla="*/ 121920 w 3116866"/>
                  <a:gd name="connsiteY10" fmla="*/ 36385 h 238315"/>
                  <a:gd name="connsiteX11" fmla="*/ 164020 w 3116866"/>
                  <a:gd name="connsiteY11" fmla="*/ 36385 h 238315"/>
                  <a:gd name="connsiteX12" fmla="*/ 164020 w 3116866"/>
                  <a:gd name="connsiteY12" fmla="*/ 42386 h 238315"/>
                  <a:gd name="connsiteX13" fmla="*/ 178689 w 3116866"/>
                  <a:gd name="connsiteY13" fmla="*/ 42386 h 238315"/>
                  <a:gd name="connsiteX14" fmla="*/ 178689 w 3116866"/>
                  <a:gd name="connsiteY14" fmla="*/ 48482 h 238315"/>
                  <a:gd name="connsiteX15" fmla="*/ 208216 w 3116866"/>
                  <a:gd name="connsiteY15" fmla="*/ 48482 h 238315"/>
                  <a:gd name="connsiteX16" fmla="*/ 208216 w 3116866"/>
                  <a:gd name="connsiteY16" fmla="*/ 54578 h 238315"/>
                  <a:gd name="connsiteX17" fmla="*/ 210312 w 3116866"/>
                  <a:gd name="connsiteY17" fmla="*/ 54578 h 238315"/>
                  <a:gd name="connsiteX18" fmla="*/ 210312 w 3116866"/>
                  <a:gd name="connsiteY18" fmla="*/ 60579 h 238315"/>
                  <a:gd name="connsiteX19" fmla="*/ 233362 w 3116866"/>
                  <a:gd name="connsiteY19" fmla="*/ 60579 h 238315"/>
                  <a:gd name="connsiteX20" fmla="*/ 233362 w 3116866"/>
                  <a:gd name="connsiteY20" fmla="*/ 66675 h 238315"/>
                  <a:gd name="connsiteX21" fmla="*/ 246031 w 3116866"/>
                  <a:gd name="connsiteY21" fmla="*/ 66675 h 238315"/>
                  <a:gd name="connsiteX22" fmla="*/ 246031 w 3116866"/>
                  <a:gd name="connsiteY22" fmla="*/ 72771 h 238315"/>
                  <a:gd name="connsiteX23" fmla="*/ 281749 w 3116866"/>
                  <a:gd name="connsiteY23" fmla="*/ 72771 h 238315"/>
                  <a:gd name="connsiteX24" fmla="*/ 281749 w 3116866"/>
                  <a:gd name="connsiteY24" fmla="*/ 78867 h 238315"/>
                  <a:gd name="connsiteX25" fmla="*/ 397478 w 3116866"/>
                  <a:gd name="connsiteY25" fmla="*/ 78867 h 238315"/>
                  <a:gd name="connsiteX26" fmla="*/ 397478 w 3116866"/>
                  <a:gd name="connsiteY26" fmla="*/ 84868 h 238315"/>
                  <a:gd name="connsiteX27" fmla="*/ 435292 w 3116866"/>
                  <a:gd name="connsiteY27" fmla="*/ 84868 h 238315"/>
                  <a:gd name="connsiteX28" fmla="*/ 435292 w 3116866"/>
                  <a:gd name="connsiteY28" fmla="*/ 91059 h 238315"/>
                  <a:gd name="connsiteX29" fmla="*/ 487870 w 3116866"/>
                  <a:gd name="connsiteY29" fmla="*/ 91059 h 238315"/>
                  <a:gd name="connsiteX30" fmla="*/ 487870 w 3116866"/>
                  <a:gd name="connsiteY30" fmla="*/ 97155 h 238315"/>
                  <a:gd name="connsiteX31" fmla="*/ 506825 w 3116866"/>
                  <a:gd name="connsiteY31" fmla="*/ 97155 h 238315"/>
                  <a:gd name="connsiteX32" fmla="*/ 506825 w 3116866"/>
                  <a:gd name="connsiteY32" fmla="*/ 103251 h 238315"/>
                  <a:gd name="connsiteX33" fmla="*/ 517303 w 3116866"/>
                  <a:gd name="connsiteY33" fmla="*/ 103251 h 238315"/>
                  <a:gd name="connsiteX34" fmla="*/ 517303 w 3116866"/>
                  <a:gd name="connsiteY34" fmla="*/ 109442 h 238315"/>
                  <a:gd name="connsiteX35" fmla="*/ 551021 w 3116866"/>
                  <a:gd name="connsiteY35" fmla="*/ 109442 h 238315"/>
                  <a:gd name="connsiteX36" fmla="*/ 551021 w 3116866"/>
                  <a:gd name="connsiteY36" fmla="*/ 115538 h 238315"/>
                  <a:gd name="connsiteX37" fmla="*/ 557308 w 3116866"/>
                  <a:gd name="connsiteY37" fmla="*/ 115538 h 238315"/>
                  <a:gd name="connsiteX38" fmla="*/ 557308 w 3116866"/>
                  <a:gd name="connsiteY38" fmla="*/ 121634 h 238315"/>
                  <a:gd name="connsiteX39" fmla="*/ 571976 w 3116866"/>
                  <a:gd name="connsiteY39" fmla="*/ 121634 h 238315"/>
                  <a:gd name="connsiteX40" fmla="*/ 571976 w 3116866"/>
                  <a:gd name="connsiteY40" fmla="*/ 127730 h 238315"/>
                  <a:gd name="connsiteX41" fmla="*/ 584644 w 3116866"/>
                  <a:gd name="connsiteY41" fmla="*/ 127730 h 238315"/>
                  <a:gd name="connsiteX42" fmla="*/ 584644 w 3116866"/>
                  <a:gd name="connsiteY42" fmla="*/ 133921 h 238315"/>
                  <a:gd name="connsiteX43" fmla="*/ 609886 w 3116866"/>
                  <a:gd name="connsiteY43" fmla="*/ 133921 h 238315"/>
                  <a:gd name="connsiteX44" fmla="*/ 609886 w 3116866"/>
                  <a:gd name="connsiteY44" fmla="*/ 140017 h 238315"/>
                  <a:gd name="connsiteX45" fmla="*/ 839152 w 3116866"/>
                  <a:gd name="connsiteY45" fmla="*/ 140017 h 238315"/>
                  <a:gd name="connsiteX46" fmla="*/ 839152 w 3116866"/>
                  <a:gd name="connsiteY46" fmla="*/ 146209 h 238315"/>
                  <a:gd name="connsiteX47" fmla="*/ 952690 w 3116866"/>
                  <a:gd name="connsiteY47" fmla="*/ 146209 h 238315"/>
                  <a:gd name="connsiteX48" fmla="*/ 952690 w 3116866"/>
                  <a:gd name="connsiteY48" fmla="*/ 152400 h 238315"/>
                  <a:gd name="connsiteX49" fmla="*/ 1221867 w 3116866"/>
                  <a:gd name="connsiteY49" fmla="*/ 152400 h 238315"/>
                  <a:gd name="connsiteX50" fmla="*/ 1221867 w 3116866"/>
                  <a:gd name="connsiteY50" fmla="*/ 158686 h 238315"/>
                  <a:gd name="connsiteX51" fmla="*/ 1295495 w 3116866"/>
                  <a:gd name="connsiteY51" fmla="*/ 158686 h 238315"/>
                  <a:gd name="connsiteX52" fmla="*/ 1295495 w 3116866"/>
                  <a:gd name="connsiteY52" fmla="*/ 164973 h 238315"/>
                  <a:gd name="connsiteX53" fmla="*/ 1375410 w 3116866"/>
                  <a:gd name="connsiteY53" fmla="*/ 164973 h 238315"/>
                  <a:gd name="connsiteX54" fmla="*/ 1375410 w 3116866"/>
                  <a:gd name="connsiteY54" fmla="*/ 171259 h 238315"/>
                  <a:gd name="connsiteX55" fmla="*/ 1537335 w 3116866"/>
                  <a:gd name="connsiteY55" fmla="*/ 171259 h 238315"/>
                  <a:gd name="connsiteX56" fmla="*/ 1537335 w 3116866"/>
                  <a:gd name="connsiteY56" fmla="*/ 177736 h 238315"/>
                  <a:gd name="connsiteX57" fmla="*/ 1554194 w 3116866"/>
                  <a:gd name="connsiteY57" fmla="*/ 177736 h 238315"/>
                  <a:gd name="connsiteX58" fmla="*/ 1554194 w 3116866"/>
                  <a:gd name="connsiteY58" fmla="*/ 184118 h 238315"/>
                  <a:gd name="connsiteX59" fmla="*/ 1672018 w 3116866"/>
                  <a:gd name="connsiteY59" fmla="*/ 184118 h 238315"/>
                  <a:gd name="connsiteX60" fmla="*/ 1672018 w 3116866"/>
                  <a:gd name="connsiteY60" fmla="*/ 190595 h 238315"/>
                  <a:gd name="connsiteX61" fmla="*/ 1764506 w 3116866"/>
                  <a:gd name="connsiteY61" fmla="*/ 190595 h 238315"/>
                  <a:gd name="connsiteX62" fmla="*/ 1764506 w 3116866"/>
                  <a:gd name="connsiteY62" fmla="*/ 196977 h 238315"/>
                  <a:gd name="connsiteX63" fmla="*/ 1783461 w 3116866"/>
                  <a:gd name="connsiteY63" fmla="*/ 196977 h 238315"/>
                  <a:gd name="connsiteX64" fmla="*/ 1783461 w 3116866"/>
                  <a:gd name="connsiteY64" fmla="*/ 203454 h 238315"/>
                  <a:gd name="connsiteX65" fmla="*/ 2637282 w 3116866"/>
                  <a:gd name="connsiteY65" fmla="*/ 203454 h 238315"/>
                  <a:gd name="connsiteX66" fmla="*/ 2637282 w 3116866"/>
                  <a:gd name="connsiteY66" fmla="*/ 238315 h 238315"/>
                  <a:gd name="connsiteX67" fmla="*/ 3116866 w 3116866"/>
                  <a:gd name="connsiteY67" fmla="*/ 238315 h 238315"/>
                  <a:gd name="connsiteX0" fmla="*/ 0 w 3116866"/>
                  <a:gd name="connsiteY0" fmla="*/ 0 h 238315"/>
                  <a:gd name="connsiteX1" fmla="*/ 16764 w 3116866"/>
                  <a:gd name="connsiteY1" fmla="*/ 6001 h 238315"/>
                  <a:gd name="connsiteX2" fmla="*/ 20955 w 3116866"/>
                  <a:gd name="connsiteY2" fmla="*/ 12097 h 238315"/>
                  <a:gd name="connsiteX3" fmla="*/ 20955 w 3116866"/>
                  <a:gd name="connsiteY3" fmla="*/ 18193 h 238315"/>
                  <a:gd name="connsiteX4" fmla="*/ 94583 w 3116866"/>
                  <a:gd name="connsiteY4" fmla="*/ 18193 h 238315"/>
                  <a:gd name="connsiteX5" fmla="*/ 94583 w 3116866"/>
                  <a:gd name="connsiteY5" fmla="*/ 24193 h 238315"/>
                  <a:gd name="connsiteX6" fmla="*/ 115633 w 3116866"/>
                  <a:gd name="connsiteY6" fmla="*/ 24193 h 238315"/>
                  <a:gd name="connsiteX7" fmla="*/ 115633 w 3116866"/>
                  <a:gd name="connsiteY7" fmla="*/ 30289 h 238315"/>
                  <a:gd name="connsiteX8" fmla="*/ 121920 w 3116866"/>
                  <a:gd name="connsiteY8" fmla="*/ 30289 h 238315"/>
                  <a:gd name="connsiteX9" fmla="*/ 121920 w 3116866"/>
                  <a:gd name="connsiteY9" fmla="*/ 36385 h 238315"/>
                  <a:gd name="connsiteX10" fmla="*/ 164020 w 3116866"/>
                  <a:gd name="connsiteY10" fmla="*/ 36385 h 238315"/>
                  <a:gd name="connsiteX11" fmla="*/ 164020 w 3116866"/>
                  <a:gd name="connsiteY11" fmla="*/ 42386 h 238315"/>
                  <a:gd name="connsiteX12" fmla="*/ 178689 w 3116866"/>
                  <a:gd name="connsiteY12" fmla="*/ 42386 h 238315"/>
                  <a:gd name="connsiteX13" fmla="*/ 178689 w 3116866"/>
                  <a:gd name="connsiteY13" fmla="*/ 48482 h 238315"/>
                  <a:gd name="connsiteX14" fmla="*/ 208216 w 3116866"/>
                  <a:gd name="connsiteY14" fmla="*/ 48482 h 238315"/>
                  <a:gd name="connsiteX15" fmla="*/ 208216 w 3116866"/>
                  <a:gd name="connsiteY15" fmla="*/ 54578 h 238315"/>
                  <a:gd name="connsiteX16" fmla="*/ 210312 w 3116866"/>
                  <a:gd name="connsiteY16" fmla="*/ 54578 h 238315"/>
                  <a:gd name="connsiteX17" fmla="*/ 210312 w 3116866"/>
                  <a:gd name="connsiteY17" fmla="*/ 60579 h 238315"/>
                  <a:gd name="connsiteX18" fmla="*/ 233362 w 3116866"/>
                  <a:gd name="connsiteY18" fmla="*/ 60579 h 238315"/>
                  <a:gd name="connsiteX19" fmla="*/ 233362 w 3116866"/>
                  <a:gd name="connsiteY19" fmla="*/ 66675 h 238315"/>
                  <a:gd name="connsiteX20" fmla="*/ 246031 w 3116866"/>
                  <a:gd name="connsiteY20" fmla="*/ 66675 h 238315"/>
                  <a:gd name="connsiteX21" fmla="*/ 246031 w 3116866"/>
                  <a:gd name="connsiteY21" fmla="*/ 72771 h 238315"/>
                  <a:gd name="connsiteX22" fmla="*/ 281749 w 3116866"/>
                  <a:gd name="connsiteY22" fmla="*/ 72771 h 238315"/>
                  <a:gd name="connsiteX23" fmla="*/ 281749 w 3116866"/>
                  <a:gd name="connsiteY23" fmla="*/ 78867 h 238315"/>
                  <a:gd name="connsiteX24" fmla="*/ 397478 w 3116866"/>
                  <a:gd name="connsiteY24" fmla="*/ 78867 h 238315"/>
                  <a:gd name="connsiteX25" fmla="*/ 397478 w 3116866"/>
                  <a:gd name="connsiteY25" fmla="*/ 84868 h 238315"/>
                  <a:gd name="connsiteX26" fmla="*/ 435292 w 3116866"/>
                  <a:gd name="connsiteY26" fmla="*/ 84868 h 238315"/>
                  <a:gd name="connsiteX27" fmla="*/ 435292 w 3116866"/>
                  <a:gd name="connsiteY27" fmla="*/ 91059 h 238315"/>
                  <a:gd name="connsiteX28" fmla="*/ 487870 w 3116866"/>
                  <a:gd name="connsiteY28" fmla="*/ 91059 h 238315"/>
                  <a:gd name="connsiteX29" fmla="*/ 487870 w 3116866"/>
                  <a:gd name="connsiteY29" fmla="*/ 97155 h 238315"/>
                  <a:gd name="connsiteX30" fmla="*/ 506825 w 3116866"/>
                  <a:gd name="connsiteY30" fmla="*/ 97155 h 238315"/>
                  <a:gd name="connsiteX31" fmla="*/ 506825 w 3116866"/>
                  <a:gd name="connsiteY31" fmla="*/ 103251 h 238315"/>
                  <a:gd name="connsiteX32" fmla="*/ 517303 w 3116866"/>
                  <a:gd name="connsiteY32" fmla="*/ 103251 h 238315"/>
                  <a:gd name="connsiteX33" fmla="*/ 517303 w 3116866"/>
                  <a:gd name="connsiteY33" fmla="*/ 109442 h 238315"/>
                  <a:gd name="connsiteX34" fmla="*/ 551021 w 3116866"/>
                  <a:gd name="connsiteY34" fmla="*/ 109442 h 238315"/>
                  <a:gd name="connsiteX35" fmla="*/ 551021 w 3116866"/>
                  <a:gd name="connsiteY35" fmla="*/ 115538 h 238315"/>
                  <a:gd name="connsiteX36" fmla="*/ 557308 w 3116866"/>
                  <a:gd name="connsiteY36" fmla="*/ 115538 h 238315"/>
                  <a:gd name="connsiteX37" fmla="*/ 557308 w 3116866"/>
                  <a:gd name="connsiteY37" fmla="*/ 121634 h 238315"/>
                  <a:gd name="connsiteX38" fmla="*/ 571976 w 3116866"/>
                  <a:gd name="connsiteY38" fmla="*/ 121634 h 238315"/>
                  <a:gd name="connsiteX39" fmla="*/ 571976 w 3116866"/>
                  <a:gd name="connsiteY39" fmla="*/ 127730 h 238315"/>
                  <a:gd name="connsiteX40" fmla="*/ 584644 w 3116866"/>
                  <a:gd name="connsiteY40" fmla="*/ 127730 h 238315"/>
                  <a:gd name="connsiteX41" fmla="*/ 584644 w 3116866"/>
                  <a:gd name="connsiteY41" fmla="*/ 133921 h 238315"/>
                  <a:gd name="connsiteX42" fmla="*/ 609886 w 3116866"/>
                  <a:gd name="connsiteY42" fmla="*/ 133921 h 238315"/>
                  <a:gd name="connsiteX43" fmla="*/ 609886 w 3116866"/>
                  <a:gd name="connsiteY43" fmla="*/ 140017 h 238315"/>
                  <a:gd name="connsiteX44" fmla="*/ 839152 w 3116866"/>
                  <a:gd name="connsiteY44" fmla="*/ 140017 h 238315"/>
                  <a:gd name="connsiteX45" fmla="*/ 839152 w 3116866"/>
                  <a:gd name="connsiteY45" fmla="*/ 146209 h 238315"/>
                  <a:gd name="connsiteX46" fmla="*/ 952690 w 3116866"/>
                  <a:gd name="connsiteY46" fmla="*/ 146209 h 238315"/>
                  <a:gd name="connsiteX47" fmla="*/ 952690 w 3116866"/>
                  <a:gd name="connsiteY47" fmla="*/ 152400 h 238315"/>
                  <a:gd name="connsiteX48" fmla="*/ 1221867 w 3116866"/>
                  <a:gd name="connsiteY48" fmla="*/ 152400 h 238315"/>
                  <a:gd name="connsiteX49" fmla="*/ 1221867 w 3116866"/>
                  <a:gd name="connsiteY49" fmla="*/ 158686 h 238315"/>
                  <a:gd name="connsiteX50" fmla="*/ 1295495 w 3116866"/>
                  <a:gd name="connsiteY50" fmla="*/ 158686 h 238315"/>
                  <a:gd name="connsiteX51" fmla="*/ 1295495 w 3116866"/>
                  <a:gd name="connsiteY51" fmla="*/ 164973 h 238315"/>
                  <a:gd name="connsiteX52" fmla="*/ 1375410 w 3116866"/>
                  <a:gd name="connsiteY52" fmla="*/ 164973 h 238315"/>
                  <a:gd name="connsiteX53" fmla="*/ 1375410 w 3116866"/>
                  <a:gd name="connsiteY53" fmla="*/ 171259 h 238315"/>
                  <a:gd name="connsiteX54" fmla="*/ 1537335 w 3116866"/>
                  <a:gd name="connsiteY54" fmla="*/ 171259 h 238315"/>
                  <a:gd name="connsiteX55" fmla="*/ 1537335 w 3116866"/>
                  <a:gd name="connsiteY55" fmla="*/ 177736 h 238315"/>
                  <a:gd name="connsiteX56" fmla="*/ 1554194 w 3116866"/>
                  <a:gd name="connsiteY56" fmla="*/ 177736 h 238315"/>
                  <a:gd name="connsiteX57" fmla="*/ 1554194 w 3116866"/>
                  <a:gd name="connsiteY57" fmla="*/ 184118 h 238315"/>
                  <a:gd name="connsiteX58" fmla="*/ 1672018 w 3116866"/>
                  <a:gd name="connsiteY58" fmla="*/ 184118 h 238315"/>
                  <a:gd name="connsiteX59" fmla="*/ 1672018 w 3116866"/>
                  <a:gd name="connsiteY59" fmla="*/ 190595 h 238315"/>
                  <a:gd name="connsiteX60" fmla="*/ 1764506 w 3116866"/>
                  <a:gd name="connsiteY60" fmla="*/ 190595 h 238315"/>
                  <a:gd name="connsiteX61" fmla="*/ 1764506 w 3116866"/>
                  <a:gd name="connsiteY61" fmla="*/ 196977 h 238315"/>
                  <a:gd name="connsiteX62" fmla="*/ 1783461 w 3116866"/>
                  <a:gd name="connsiteY62" fmla="*/ 196977 h 238315"/>
                  <a:gd name="connsiteX63" fmla="*/ 1783461 w 3116866"/>
                  <a:gd name="connsiteY63" fmla="*/ 203454 h 238315"/>
                  <a:gd name="connsiteX64" fmla="*/ 2637282 w 3116866"/>
                  <a:gd name="connsiteY64" fmla="*/ 203454 h 238315"/>
                  <a:gd name="connsiteX65" fmla="*/ 2637282 w 3116866"/>
                  <a:gd name="connsiteY65" fmla="*/ 238315 h 238315"/>
                  <a:gd name="connsiteX66" fmla="*/ 3116866 w 3116866"/>
                  <a:gd name="connsiteY66" fmla="*/ 238315 h 238315"/>
                  <a:gd name="connsiteX0" fmla="*/ 0 w 3100102"/>
                  <a:gd name="connsiteY0" fmla="*/ 0 h 232314"/>
                  <a:gd name="connsiteX1" fmla="*/ 4191 w 3100102"/>
                  <a:gd name="connsiteY1" fmla="*/ 6096 h 232314"/>
                  <a:gd name="connsiteX2" fmla="*/ 4191 w 3100102"/>
                  <a:gd name="connsiteY2" fmla="*/ 12192 h 232314"/>
                  <a:gd name="connsiteX3" fmla="*/ 77819 w 3100102"/>
                  <a:gd name="connsiteY3" fmla="*/ 12192 h 232314"/>
                  <a:gd name="connsiteX4" fmla="*/ 77819 w 3100102"/>
                  <a:gd name="connsiteY4" fmla="*/ 18192 h 232314"/>
                  <a:gd name="connsiteX5" fmla="*/ 98869 w 3100102"/>
                  <a:gd name="connsiteY5" fmla="*/ 18192 h 232314"/>
                  <a:gd name="connsiteX6" fmla="*/ 98869 w 3100102"/>
                  <a:gd name="connsiteY6" fmla="*/ 24288 h 232314"/>
                  <a:gd name="connsiteX7" fmla="*/ 105156 w 3100102"/>
                  <a:gd name="connsiteY7" fmla="*/ 24288 h 232314"/>
                  <a:gd name="connsiteX8" fmla="*/ 105156 w 3100102"/>
                  <a:gd name="connsiteY8" fmla="*/ 30384 h 232314"/>
                  <a:gd name="connsiteX9" fmla="*/ 147256 w 3100102"/>
                  <a:gd name="connsiteY9" fmla="*/ 30384 h 232314"/>
                  <a:gd name="connsiteX10" fmla="*/ 147256 w 3100102"/>
                  <a:gd name="connsiteY10" fmla="*/ 36385 h 232314"/>
                  <a:gd name="connsiteX11" fmla="*/ 161925 w 3100102"/>
                  <a:gd name="connsiteY11" fmla="*/ 36385 h 232314"/>
                  <a:gd name="connsiteX12" fmla="*/ 161925 w 3100102"/>
                  <a:gd name="connsiteY12" fmla="*/ 42481 h 232314"/>
                  <a:gd name="connsiteX13" fmla="*/ 191452 w 3100102"/>
                  <a:gd name="connsiteY13" fmla="*/ 42481 h 232314"/>
                  <a:gd name="connsiteX14" fmla="*/ 191452 w 3100102"/>
                  <a:gd name="connsiteY14" fmla="*/ 48577 h 232314"/>
                  <a:gd name="connsiteX15" fmla="*/ 193548 w 3100102"/>
                  <a:gd name="connsiteY15" fmla="*/ 48577 h 232314"/>
                  <a:gd name="connsiteX16" fmla="*/ 193548 w 3100102"/>
                  <a:gd name="connsiteY16" fmla="*/ 54578 h 232314"/>
                  <a:gd name="connsiteX17" fmla="*/ 216598 w 3100102"/>
                  <a:gd name="connsiteY17" fmla="*/ 54578 h 232314"/>
                  <a:gd name="connsiteX18" fmla="*/ 216598 w 3100102"/>
                  <a:gd name="connsiteY18" fmla="*/ 60674 h 232314"/>
                  <a:gd name="connsiteX19" fmla="*/ 229267 w 3100102"/>
                  <a:gd name="connsiteY19" fmla="*/ 60674 h 232314"/>
                  <a:gd name="connsiteX20" fmla="*/ 229267 w 3100102"/>
                  <a:gd name="connsiteY20" fmla="*/ 66770 h 232314"/>
                  <a:gd name="connsiteX21" fmla="*/ 264985 w 3100102"/>
                  <a:gd name="connsiteY21" fmla="*/ 66770 h 232314"/>
                  <a:gd name="connsiteX22" fmla="*/ 264985 w 3100102"/>
                  <a:gd name="connsiteY22" fmla="*/ 72866 h 232314"/>
                  <a:gd name="connsiteX23" fmla="*/ 380714 w 3100102"/>
                  <a:gd name="connsiteY23" fmla="*/ 72866 h 232314"/>
                  <a:gd name="connsiteX24" fmla="*/ 380714 w 3100102"/>
                  <a:gd name="connsiteY24" fmla="*/ 78867 h 232314"/>
                  <a:gd name="connsiteX25" fmla="*/ 418528 w 3100102"/>
                  <a:gd name="connsiteY25" fmla="*/ 78867 h 232314"/>
                  <a:gd name="connsiteX26" fmla="*/ 418528 w 3100102"/>
                  <a:gd name="connsiteY26" fmla="*/ 85058 h 232314"/>
                  <a:gd name="connsiteX27" fmla="*/ 471106 w 3100102"/>
                  <a:gd name="connsiteY27" fmla="*/ 85058 h 232314"/>
                  <a:gd name="connsiteX28" fmla="*/ 471106 w 3100102"/>
                  <a:gd name="connsiteY28" fmla="*/ 91154 h 232314"/>
                  <a:gd name="connsiteX29" fmla="*/ 490061 w 3100102"/>
                  <a:gd name="connsiteY29" fmla="*/ 91154 h 232314"/>
                  <a:gd name="connsiteX30" fmla="*/ 490061 w 3100102"/>
                  <a:gd name="connsiteY30" fmla="*/ 97250 h 232314"/>
                  <a:gd name="connsiteX31" fmla="*/ 500539 w 3100102"/>
                  <a:gd name="connsiteY31" fmla="*/ 97250 h 232314"/>
                  <a:gd name="connsiteX32" fmla="*/ 500539 w 3100102"/>
                  <a:gd name="connsiteY32" fmla="*/ 103441 h 232314"/>
                  <a:gd name="connsiteX33" fmla="*/ 534257 w 3100102"/>
                  <a:gd name="connsiteY33" fmla="*/ 103441 h 232314"/>
                  <a:gd name="connsiteX34" fmla="*/ 534257 w 3100102"/>
                  <a:gd name="connsiteY34" fmla="*/ 109537 h 232314"/>
                  <a:gd name="connsiteX35" fmla="*/ 540544 w 3100102"/>
                  <a:gd name="connsiteY35" fmla="*/ 109537 h 232314"/>
                  <a:gd name="connsiteX36" fmla="*/ 540544 w 3100102"/>
                  <a:gd name="connsiteY36" fmla="*/ 115633 h 232314"/>
                  <a:gd name="connsiteX37" fmla="*/ 555212 w 3100102"/>
                  <a:gd name="connsiteY37" fmla="*/ 115633 h 232314"/>
                  <a:gd name="connsiteX38" fmla="*/ 555212 w 3100102"/>
                  <a:gd name="connsiteY38" fmla="*/ 121729 h 232314"/>
                  <a:gd name="connsiteX39" fmla="*/ 567880 w 3100102"/>
                  <a:gd name="connsiteY39" fmla="*/ 121729 h 232314"/>
                  <a:gd name="connsiteX40" fmla="*/ 567880 w 3100102"/>
                  <a:gd name="connsiteY40" fmla="*/ 127920 h 232314"/>
                  <a:gd name="connsiteX41" fmla="*/ 593122 w 3100102"/>
                  <a:gd name="connsiteY41" fmla="*/ 127920 h 232314"/>
                  <a:gd name="connsiteX42" fmla="*/ 593122 w 3100102"/>
                  <a:gd name="connsiteY42" fmla="*/ 134016 h 232314"/>
                  <a:gd name="connsiteX43" fmla="*/ 822388 w 3100102"/>
                  <a:gd name="connsiteY43" fmla="*/ 134016 h 232314"/>
                  <a:gd name="connsiteX44" fmla="*/ 822388 w 3100102"/>
                  <a:gd name="connsiteY44" fmla="*/ 140208 h 232314"/>
                  <a:gd name="connsiteX45" fmla="*/ 935926 w 3100102"/>
                  <a:gd name="connsiteY45" fmla="*/ 140208 h 232314"/>
                  <a:gd name="connsiteX46" fmla="*/ 935926 w 3100102"/>
                  <a:gd name="connsiteY46" fmla="*/ 146399 h 232314"/>
                  <a:gd name="connsiteX47" fmla="*/ 1205103 w 3100102"/>
                  <a:gd name="connsiteY47" fmla="*/ 146399 h 232314"/>
                  <a:gd name="connsiteX48" fmla="*/ 1205103 w 3100102"/>
                  <a:gd name="connsiteY48" fmla="*/ 152685 h 232314"/>
                  <a:gd name="connsiteX49" fmla="*/ 1278731 w 3100102"/>
                  <a:gd name="connsiteY49" fmla="*/ 152685 h 232314"/>
                  <a:gd name="connsiteX50" fmla="*/ 1278731 w 3100102"/>
                  <a:gd name="connsiteY50" fmla="*/ 158972 h 232314"/>
                  <a:gd name="connsiteX51" fmla="*/ 1358646 w 3100102"/>
                  <a:gd name="connsiteY51" fmla="*/ 158972 h 232314"/>
                  <a:gd name="connsiteX52" fmla="*/ 1358646 w 3100102"/>
                  <a:gd name="connsiteY52" fmla="*/ 165258 h 232314"/>
                  <a:gd name="connsiteX53" fmla="*/ 1520571 w 3100102"/>
                  <a:gd name="connsiteY53" fmla="*/ 165258 h 232314"/>
                  <a:gd name="connsiteX54" fmla="*/ 1520571 w 3100102"/>
                  <a:gd name="connsiteY54" fmla="*/ 171735 h 232314"/>
                  <a:gd name="connsiteX55" fmla="*/ 1537430 w 3100102"/>
                  <a:gd name="connsiteY55" fmla="*/ 171735 h 232314"/>
                  <a:gd name="connsiteX56" fmla="*/ 1537430 w 3100102"/>
                  <a:gd name="connsiteY56" fmla="*/ 178117 h 232314"/>
                  <a:gd name="connsiteX57" fmla="*/ 1655254 w 3100102"/>
                  <a:gd name="connsiteY57" fmla="*/ 178117 h 232314"/>
                  <a:gd name="connsiteX58" fmla="*/ 1655254 w 3100102"/>
                  <a:gd name="connsiteY58" fmla="*/ 184594 h 232314"/>
                  <a:gd name="connsiteX59" fmla="*/ 1747742 w 3100102"/>
                  <a:gd name="connsiteY59" fmla="*/ 184594 h 232314"/>
                  <a:gd name="connsiteX60" fmla="*/ 1747742 w 3100102"/>
                  <a:gd name="connsiteY60" fmla="*/ 190976 h 232314"/>
                  <a:gd name="connsiteX61" fmla="*/ 1766697 w 3100102"/>
                  <a:gd name="connsiteY61" fmla="*/ 190976 h 232314"/>
                  <a:gd name="connsiteX62" fmla="*/ 1766697 w 3100102"/>
                  <a:gd name="connsiteY62" fmla="*/ 197453 h 232314"/>
                  <a:gd name="connsiteX63" fmla="*/ 2620518 w 3100102"/>
                  <a:gd name="connsiteY63" fmla="*/ 197453 h 232314"/>
                  <a:gd name="connsiteX64" fmla="*/ 2620518 w 3100102"/>
                  <a:gd name="connsiteY64" fmla="*/ 232314 h 232314"/>
                  <a:gd name="connsiteX65" fmla="*/ 3100102 w 3100102"/>
                  <a:gd name="connsiteY65" fmla="*/ 232314 h 232314"/>
                  <a:gd name="connsiteX0" fmla="*/ 0 w 3100102"/>
                  <a:gd name="connsiteY0" fmla="*/ 0 h 232314"/>
                  <a:gd name="connsiteX1" fmla="*/ 4191 w 3100102"/>
                  <a:gd name="connsiteY1" fmla="*/ 12192 h 232314"/>
                  <a:gd name="connsiteX2" fmla="*/ 77819 w 3100102"/>
                  <a:gd name="connsiteY2" fmla="*/ 12192 h 232314"/>
                  <a:gd name="connsiteX3" fmla="*/ 77819 w 3100102"/>
                  <a:gd name="connsiteY3" fmla="*/ 18192 h 232314"/>
                  <a:gd name="connsiteX4" fmla="*/ 98869 w 3100102"/>
                  <a:gd name="connsiteY4" fmla="*/ 18192 h 232314"/>
                  <a:gd name="connsiteX5" fmla="*/ 98869 w 3100102"/>
                  <a:gd name="connsiteY5" fmla="*/ 24288 h 232314"/>
                  <a:gd name="connsiteX6" fmla="*/ 105156 w 3100102"/>
                  <a:gd name="connsiteY6" fmla="*/ 24288 h 232314"/>
                  <a:gd name="connsiteX7" fmla="*/ 105156 w 3100102"/>
                  <a:gd name="connsiteY7" fmla="*/ 30384 h 232314"/>
                  <a:gd name="connsiteX8" fmla="*/ 147256 w 3100102"/>
                  <a:gd name="connsiteY8" fmla="*/ 30384 h 232314"/>
                  <a:gd name="connsiteX9" fmla="*/ 147256 w 3100102"/>
                  <a:gd name="connsiteY9" fmla="*/ 36385 h 232314"/>
                  <a:gd name="connsiteX10" fmla="*/ 161925 w 3100102"/>
                  <a:gd name="connsiteY10" fmla="*/ 36385 h 232314"/>
                  <a:gd name="connsiteX11" fmla="*/ 161925 w 3100102"/>
                  <a:gd name="connsiteY11" fmla="*/ 42481 h 232314"/>
                  <a:gd name="connsiteX12" fmla="*/ 191452 w 3100102"/>
                  <a:gd name="connsiteY12" fmla="*/ 42481 h 232314"/>
                  <a:gd name="connsiteX13" fmla="*/ 191452 w 3100102"/>
                  <a:gd name="connsiteY13" fmla="*/ 48577 h 232314"/>
                  <a:gd name="connsiteX14" fmla="*/ 193548 w 3100102"/>
                  <a:gd name="connsiteY14" fmla="*/ 48577 h 232314"/>
                  <a:gd name="connsiteX15" fmla="*/ 193548 w 3100102"/>
                  <a:gd name="connsiteY15" fmla="*/ 54578 h 232314"/>
                  <a:gd name="connsiteX16" fmla="*/ 216598 w 3100102"/>
                  <a:gd name="connsiteY16" fmla="*/ 54578 h 232314"/>
                  <a:gd name="connsiteX17" fmla="*/ 216598 w 3100102"/>
                  <a:gd name="connsiteY17" fmla="*/ 60674 h 232314"/>
                  <a:gd name="connsiteX18" fmla="*/ 229267 w 3100102"/>
                  <a:gd name="connsiteY18" fmla="*/ 60674 h 232314"/>
                  <a:gd name="connsiteX19" fmla="*/ 229267 w 3100102"/>
                  <a:gd name="connsiteY19" fmla="*/ 66770 h 232314"/>
                  <a:gd name="connsiteX20" fmla="*/ 264985 w 3100102"/>
                  <a:gd name="connsiteY20" fmla="*/ 66770 h 232314"/>
                  <a:gd name="connsiteX21" fmla="*/ 264985 w 3100102"/>
                  <a:gd name="connsiteY21" fmla="*/ 72866 h 232314"/>
                  <a:gd name="connsiteX22" fmla="*/ 380714 w 3100102"/>
                  <a:gd name="connsiteY22" fmla="*/ 72866 h 232314"/>
                  <a:gd name="connsiteX23" fmla="*/ 380714 w 3100102"/>
                  <a:gd name="connsiteY23" fmla="*/ 78867 h 232314"/>
                  <a:gd name="connsiteX24" fmla="*/ 418528 w 3100102"/>
                  <a:gd name="connsiteY24" fmla="*/ 78867 h 232314"/>
                  <a:gd name="connsiteX25" fmla="*/ 418528 w 3100102"/>
                  <a:gd name="connsiteY25" fmla="*/ 85058 h 232314"/>
                  <a:gd name="connsiteX26" fmla="*/ 471106 w 3100102"/>
                  <a:gd name="connsiteY26" fmla="*/ 85058 h 232314"/>
                  <a:gd name="connsiteX27" fmla="*/ 471106 w 3100102"/>
                  <a:gd name="connsiteY27" fmla="*/ 91154 h 232314"/>
                  <a:gd name="connsiteX28" fmla="*/ 490061 w 3100102"/>
                  <a:gd name="connsiteY28" fmla="*/ 91154 h 232314"/>
                  <a:gd name="connsiteX29" fmla="*/ 490061 w 3100102"/>
                  <a:gd name="connsiteY29" fmla="*/ 97250 h 232314"/>
                  <a:gd name="connsiteX30" fmla="*/ 500539 w 3100102"/>
                  <a:gd name="connsiteY30" fmla="*/ 97250 h 232314"/>
                  <a:gd name="connsiteX31" fmla="*/ 500539 w 3100102"/>
                  <a:gd name="connsiteY31" fmla="*/ 103441 h 232314"/>
                  <a:gd name="connsiteX32" fmla="*/ 534257 w 3100102"/>
                  <a:gd name="connsiteY32" fmla="*/ 103441 h 232314"/>
                  <a:gd name="connsiteX33" fmla="*/ 534257 w 3100102"/>
                  <a:gd name="connsiteY33" fmla="*/ 109537 h 232314"/>
                  <a:gd name="connsiteX34" fmla="*/ 540544 w 3100102"/>
                  <a:gd name="connsiteY34" fmla="*/ 109537 h 232314"/>
                  <a:gd name="connsiteX35" fmla="*/ 540544 w 3100102"/>
                  <a:gd name="connsiteY35" fmla="*/ 115633 h 232314"/>
                  <a:gd name="connsiteX36" fmla="*/ 555212 w 3100102"/>
                  <a:gd name="connsiteY36" fmla="*/ 115633 h 232314"/>
                  <a:gd name="connsiteX37" fmla="*/ 555212 w 3100102"/>
                  <a:gd name="connsiteY37" fmla="*/ 121729 h 232314"/>
                  <a:gd name="connsiteX38" fmla="*/ 567880 w 3100102"/>
                  <a:gd name="connsiteY38" fmla="*/ 121729 h 232314"/>
                  <a:gd name="connsiteX39" fmla="*/ 567880 w 3100102"/>
                  <a:gd name="connsiteY39" fmla="*/ 127920 h 232314"/>
                  <a:gd name="connsiteX40" fmla="*/ 593122 w 3100102"/>
                  <a:gd name="connsiteY40" fmla="*/ 127920 h 232314"/>
                  <a:gd name="connsiteX41" fmla="*/ 593122 w 3100102"/>
                  <a:gd name="connsiteY41" fmla="*/ 134016 h 232314"/>
                  <a:gd name="connsiteX42" fmla="*/ 822388 w 3100102"/>
                  <a:gd name="connsiteY42" fmla="*/ 134016 h 232314"/>
                  <a:gd name="connsiteX43" fmla="*/ 822388 w 3100102"/>
                  <a:gd name="connsiteY43" fmla="*/ 140208 h 232314"/>
                  <a:gd name="connsiteX44" fmla="*/ 935926 w 3100102"/>
                  <a:gd name="connsiteY44" fmla="*/ 140208 h 232314"/>
                  <a:gd name="connsiteX45" fmla="*/ 935926 w 3100102"/>
                  <a:gd name="connsiteY45" fmla="*/ 146399 h 232314"/>
                  <a:gd name="connsiteX46" fmla="*/ 1205103 w 3100102"/>
                  <a:gd name="connsiteY46" fmla="*/ 146399 h 232314"/>
                  <a:gd name="connsiteX47" fmla="*/ 1205103 w 3100102"/>
                  <a:gd name="connsiteY47" fmla="*/ 152685 h 232314"/>
                  <a:gd name="connsiteX48" fmla="*/ 1278731 w 3100102"/>
                  <a:gd name="connsiteY48" fmla="*/ 152685 h 232314"/>
                  <a:gd name="connsiteX49" fmla="*/ 1278731 w 3100102"/>
                  <a:gd name="connsiteY49" fmla="*/ 158972 h 232314"/>
                  <a:gd name="connsiteX50" fmla="*/ 1358646 w 3100102"/>
                  <a:gd name="connsiteY50" fmla="*/ 158972 h 232314"/>
                  <a:gd name="connsiteX51" fmla="*/ 1358646 w 3100102"/>
                  <a:gd name="connsiteY51" fmla="*/ 165258 h 232314"/>
                  <a:gd name="connsiteX52" fmla="*/ 1520571 w 3100102"/>
                  <a:gd name="connsiteY52" fmla="*/ 165258 h 232314"/>
                  <a:gd name="connsiteX53" fmla="*/ 1520571 w 3100102"/>
                  <a:gd name="connsiteY53" fmla="*/ 171735 h 232314"/>
                  <a:gd name="connsiteX54" fmla="*/ 1537430 w 3100102"/>
                  <a:gd name="connsiteY54" fmla="*/ 171735 h 232314"/>
                  <a:gd name="connsiteX55" fmla="*/ 1537430 w 3100102"/>
                  <a:gd name="connsiteY55" fmla="*/ 178117 h 232314"/>
                  <a:gd name="connsiteX56" fmla="*/ 1655254 w 3100102"/>
                  <a:gd name="connsiteY56" fmla="*/ 178117 h 232314"/>
                  <a:gd name="connsiteX57" fmla="*/ 1655254 w 3100102"/>
                  <a:gd name="connsiteY57" fmla="*/ 184594 h 232314"/>
                  <a:gd name="connsiteX58" fmla="*/ 1747742 w 3100102"/>
                  <a:gd name="connsiteY58" fmla="*/ 184594 h 232314"/>
                  <a:gd name="connsiteX59" fmla="*/ 1747742 w 3100102"/>
                  <a:gd name="connsiteY59" fmla="*/ 190976 h 232314"/>
                  <a:gd name="connsiteX60" fmla="*/ 1766697 w 3100102"/>
                  <a:gd name="connsiteY60" fmla="*/ 190976 h 232314"/>
                  <a:gd name="connsiteX61" fmla="*/ 1766697 w 3100102"/>
                  <a:gd name="connsiteY61" fmla="*/ 197453 h 232314"/>
                  <a:gd name="connsiteX62" fmla="*/ 2620518 w 3100102"/>
                  <a:gd name="connsiteY62" fmla="*/ 197453 h 232314"/>
                  <a:gd name="connsiteX63" fmla="*/ 2620518 w 3100102"/>
                  <a:gd name="connsiteY63" fmla="*/ 232314 h 232314"/>
                  <a:gd name="connsiteX64" fmla="*/ 3100102 w 3100102"/>
                  <a:gd name="connsiteY64" fmla="*/ 232314 h 232314"/>
                  <a:gd name="connsiteX0" fmla="*/ 0 w 3095911"/>
                  <a:gd name="connsiteY0" fmla="*/ 0 h 220122"/>
                  <a:gd name="connsiteX1" fmla="*/ 73628 w 3095911"/>
                  <a:gd name="connsiteY1" fmla="*/ 0 h 220122"/>
                  <a:gd name="connsiteX2" fmla="*/ 73628 w 3095911"/>
                  <a:gd name="connsiteY2" fmla="*/ 6000 h 220122"/>
                  <a:gd name="connsiteX3" fmla="*/ 94678 w 3095911"/>
                  <a:gd name="connsiteY3" fmla="*/ 6000 h 220122"/>
                  <a:gd name="connsiteX4" fmla="*/ 94678 w 3095911"/>
                  <a:gd name="connsiteY4" fmla="*/ 12096 h 220122"/>
                  <a:gd name="connsiteX5" fmla="*/ 100965 w 3095911"/>
                  <a:gd name="connsiteY5" fmla="*/ 12096 h 220122"/>
                  <a:gd name="connsiteX6" fmla="*/ 100965 w 3095911"/>
                  <a:gd name="connsiteY6" fmla="*/ 18192 h 220122"/>
                  <a:gd name="connsiteX7" fmla="*/ 143065 w 3095911"/>
                  <a:gd name="connsiteY7" fmla="*/ 18192 h 220122"/>
                  <a:gd name="connsiteX8" fmla="*/ 143065 w 3095911"/>
                  <a:gd name="connsiteY8" fmla="*/ 24193 h 220122"/>
                  <a:gd name="connsiteX9" fmla="*/ 157734 w 3095911"/>
                  <a:gd name="connsiteY9" fmla="*/ 24193 h 220122"/>
                  <a:gd name="connsiteX10" fmla="*/ 157734 w 3095911"/>
                  <a:gd name="connsiteY10" fmla="*/ 30289 h 220122"/>
                  <a:gd name="connsiteX11" fmla="*/ 187261 w 3095911"/>
                  <a:gd name="connsiteY11" fmla="*/ 30289 h 220122"/>
                  <a:gd name="connsiteX12" fmla="*/ 187261 w 3095911"/>
                  <a:gd name="connsiteY12" fmla="*/ 36385 h 220122"/>
                  <a:gd name="connsiteX13" fmla="*/ 189357 w 3095911"/>
                  <a:gd name="connsiteY13" fmla="*/ 36385 h 220122"/>
                  <a:gd name="connsiteX14" fmla="*/ 189357 w 3095911"/>
                  <a:gd name="connsiteY14" fmla="*/ 42386 h 220122"/>
                  <a:gd name="connsiteX15" fmla="*/ 212407 w 3095911"/>
                  <a:gd name="connsiteY15" fmla="*/ 42386 h 220122"/>
                  <a:gd name="connsiteX16" fmla="*/ 212407 w 3095911"/>
                  <a:gd name="connsiteY16" fmla="*/ 48482 h 220122"/>
                  <a:gd name="connsiteX17" fmla="*/ 225076 w 3095911"/>
                  <a:gd name="connsiteY17" fmla="*/ 48482 h 220122"/>
                  <a:gd name="connsiteX18" fmla="*/ 225076 w 3095911"/>
                  <a:gd name="connsiteY18" fmla="*/ 54578 h 220122"/>
                  <a:gd name="connsiteX19" fmla="*/ 260794 w 3095911"/>
                  <a:gd name="connsiteY19" fmla="*/ 54578 h 220122"/>
                  <a:gd name="connsiteX20" fmla="*/ 260794 w 3095911"/>
                  <a:gd name="connsiteY20" fmla="*/ 60674 h 220122"/>
                  <a:gd name="connsiteX21" fmla="*/ 376523 w 3095911"/>
                  <a:gd name="connsiteY21" fmla="*/ 60674 h 220122"/>
                  <a:gd name="connsiteX22" fmla="*/ 376523 w 3095911"/>
                  <a:gd name="connsiteY22" fmla="*/ 66675 h 220122"/>
                  <a:gd name="connsiteX23" fmla="*/ 414337 w 3095911"/>
                  <a:gd name="connsiteY23" fmla="*/ 66675 h 220122"/>
                  <a:gd name="connsiteX24" fmla="*/ 414337 w 3095911"/>
                  <a:gd name="connsiteY24" fmla="*/ 72866 h 220122"/>
                  <a:gd name="connsiteX25" fmla="*/ 466915 w 3095911"/>
                  <a:gd name="connsiteY25" fmla="*/ 72866 h 220122"/>
                  <a:gd name="connsiteX26" fmla="*/ 466915 w 3095911"/>
                  <a:gd name="connsiteY26" fmla="*/ 78962 h 220122"/>
                  <a:gd name="connsiteX27" fmla="*/ 485870 w 3095911"/>
                  <a:gd name="connsiteY27" fmla="*/ 78962 h 220122"/>
                  <a:gd name="connsiteX28" fmla="*/ 485870 w 3095911"/>
                  <a:gd name="connsiteY28" fmla="*/ 85058 h 220122"/>
                  <a:gd name="connsiteX29" fmla="*/ 496348 w 3095911"/>
                  <a:gd name="connsiteY29" fmla="*/ 85058 h 220122"/>
                  <a:gd name="connsiteX30" fmla="*/ 496348 w 3095911"/>
                  <a:gd name="connsiteY30" fmla="*/ 91249 h 220122"/>
                  <a:gd name="connsiteX31" fmla="*/ 530066 w 3095911"/>
                  <a:gd name="connsiteY31" fmla="*/ 91249 h 220122"/>
                  <a:gd name="connsiteX32" fmla="*/ 530066 w 3095911"/>
                  <a:gd name="connsiteY32" fmla="*/ 97345 h 220122"/>
                  <a:gd name="connsiteX33" fmla="*/ 536353 w 3095911"/>
                  <a:gd name="connsiteY33" fmla="*/ 97345 h 220122"/>
                  <a:gd name="connsiteX34" fmla="*/ 536353 w 3095911"/>
                  <a:gd name="connsiteY34" fmla="*/ 103441 h 220122"/>
                  <a:gd name="connsiteX35" fmla="*/ 551021 w 3095911"/>
                  <a:gd name="connsiteY35" fmla="*/ 103441 h 220122"/>
                  <a:gd name="connsiteX36" fmla="*/ 551021 w 3095911"/>
                  <a:gd name="connsiteY36" fmla="*/ 109537 h 220122"/>
                  <a:gd name="connsiteX37" fmla="*/ 563689 w 3095911"/>
                  <a:gd name="connsiteY37" fmla="*/ 109537 h 220122"/>
                  <a:gd name="connsiteX38" fmla="*/ 563689 w 3095911"/>
                  <a:gd name="connsiteY38" fmla="*/ 115728 h 220122"/>
                  <a:gd name="connsiteX39" fmla="*/ 588931 w 3095911"/>
                  <a:gd name="connsiteY39" fmla="*/ 115728 h 220122"/>
                  <a:gd name="connsiteX40" fmla="*/ 588931 w 3095911"/>
                  <a:gd name="connsiteY40" fmla="*/ 121824 h 220122"/>
                  <a:gd name="connsiteX41" fmla="*/ 818197 w 3095911"/>
                  <a:gd name="connsiteY41" fmla="*/ 121824 h 220122"/>
                  <a:gd name="connsiteX42" fmla="*/ 818197 w 3095911"/>
                  <a:gd name="connsiteY42" fmla="*/ 128016 h 220122"/>
                  <a:gd name="connsiteX43" fmla="*/ 931735 w 3095911"/>
                  <a:gd name="connsiteY43" fmla="*/ 128016 h 220122"/>
                  <a:gd name="connsiteX44" fmla="*/ 931735 w 3095911"/>
                  <a:gd name="connsiteY44" fmla="*/ 134207 h 220122"/>
                  <a:gd name="connsiteX45" fmla="*/ 1200912 w 3095911"/>
                  <a:gd name="connsiteY45" fmla="*/ 134207 h 220122"/>
                  <a:gd name="connsiteX46" fmla="*/ 1200912 w 3095911"/>
                  <a:gd name="connsiteY46" fmla="*/ 140493 h 220122"/>
                  <a:gd name="connsiteX47" fmla="*/ 1274540 w 3095911"/>
                  <a:gd name="connsiteY47" fmla="*/ 140493 h 220122"/>
                  <a:gd name="connsiteX48" fmla="*/ 1274540 w 3095911"/>
                  <a:gd name="connsiteY48" fmla="*/ 146780 h 220122"/>
                  <a:gd name="connsiteX49" fmla="*/ 1354455 w 3095911"/>
                  <a:gd name="connsiteY49" fmla="*/ 146780 h 220122"/>
                  <a:gd name="connsiteX50" fmla="*/ 1354455 w 3095911"/>
                  <a:gd name="connsiteY50" fmla="*/ 153066 h 220122"/>
                  <a:gd name="connsiteX51" fmla="*/ 1516380 w 3095911"/>
                  <a:gd name="connsiteY51" fmla="*/ 153066 h 220122"/>
                  <a:gd name="connsiteX52" fmla="*/ 1516380 w 3095911"/>
                  <a:gd name="connsiteY52" fmla="*/ 159543 h 220122"/>
                  <a:gd name="connsiteX53" fmla="*/ 1533239 w 3095911"/>
                  <a:gd name="connsiteY53" fmla="*/ 159543 h 220122"/>
                  <a:gd name="connsiteX54" fmla="*/ 1533239 w 3095911"/>
                  <a:gd name="connsiteY54" fmla="*/ 165925 h 220122"/>
                  <a:gd name="connsiteX55" fmla="*/ 1651063 w 3095911"/>
                  <a:gd name="connsiteY55" fmla="*/ 165925 h 220122"/>
                  <a:gd name="connsiteX56" fmla="*/ 1651063 w 3095911"/>
                  <a:gd name="connsiteY56" fmla="*/ 172402 h 220122"/>
                  <a:gd name="connsiteX57" fmla="*/ 1743551 w 3095911"/>
                  <a:gd name="connsiteY57" fmla="*/ 172402 h 220122"/>
                  <a:gd name="connsiteX58" fmla="*/ 1743551 w 3095911"/>
                  <a:gd name="connsiteY58" fmla="*/ 178784 h 220122"/>
                  <a:gd name="connsiteX59" fmla="*/ 1762506 w 3095911"/>
                  <a:gd name="connsiteY59" fmla="*/ 178784 h 220122"/>
                  <a:gd name="connsiteX60" fmla="*/ 1762506 w 3095911"/>
                  <a:gd name="connsiteY60" fmla="*/ 185261 h 220122"/>
                  <a:gd name="connsiteX61" fmla="*/ 2616327 w 3095911"/>
                  <a:gd name="connsiteY61" fmla="*/ 185261 h 220122"/>
                  <a:gd name="connsiteX62" fmla="*/ 2616327 w 3095911"/>
                  <a:gd name="connsiteY62" fmla="*/ 220122 h 220122"/>
                  <a:gd name="connsiteX63" fmla="*/ 3095911 w 3095911"/>
                  <a:gd name="connsiteY63" fmla="*/ 220122 h 220122"/>
                  <a:gd name="connsiteX0" fmla="*/ 0 w 3022283"/>
                  <a:gd name="connsiteY0" fmla="*/ 0 h 220122"/>
                  <a:gd name="connsiteX1" fmla="*/ 0 w 3022283"/>
                  <a:gd name="connsiteY1" fmla="*/ 6000 h 220122"/>
                  <a:gd name="connsiteX2" fmla="*/ 21050 w 3022283"/>
                  <a:gd name="connsiteY2" fmla="*/ 6000 h 220122"/>
                  <a:gd name="connsiteX3" fmla="*/ 21050 w 3022283"/>
                  <a:gd name="connsiteY3" fmla="*/ 12096 h 220122"/>
                  <a:gd name="connsiteX4" fmla="*/ 27337 w 3022283"/>
                  <a:gd name="connsiteY4" fmla="*/ 12096 h 220122"/>
                  <a:gd name="connsiteX5" fmla="*/ 27337 w 3022283"/>
                  <a:gd name="connsiteY5" fmla="*/ 18192 h 220122"/>
                  <a:gd name="connsiteX6" fmla="*/ 69437 w 3022283"/>
                  <a:gd name="connsiteY6" fmla="*/ 18192 h 220122"/>
                  <a:gd name="connsiteX7" fmla="*/ 69437 w 3022283"/>
                  <a:gd name="connsiteY7" fmla="*/ 24193 h 220122"/>
                  <a:gd name="connsiteX8" fmla="*/ 84106 w 3022283"/>
                  <a:gd name="connsiteY8" fmla="*/ 24193 h 220122"/>
                  <a:gd name="connsiteX9" fmla="*/ 84106 w 3022283"/>
                  <a:gd name="connsiteY9" fmla="*/ 30289 h 220122"/>
                  <a:gd name="connsiteX10" fmla="*/ 113633 w 3022283"/>
                  <a:gd name="connsiteY10" fmla="*/ 30289 h 220122"/>
                  <a:gd name="connsiteX11" fmla="*/ 113633 w 3022283"/>
                  <a:gd name="connsiteY11" fmla="*/ 36385 h 220122"/>
                  <a:gd name="connsiteX12" fmla="*/ 115729 w 3022283"/>
                  <a:gd name="connsiteY12" fmla="*/ 36385 h 220122"/>
                  <a:gd name="connsiteX13" fmla="*/ 115729 w 3022283"/>
                  <a:gd name="connsiteY13" fmla="*/ 42386 h 220122"/>
                  <a:gd name="connsiteX14" fmla="*/ 138779 w 3022283"/>
                  <a:gd name="connsiteY14" fmla="*/ 42386 h 220122"/>
                  <a:gd name="connsiteX15" fmla="*/ 138779 w 3022283"/>
                  <a:gd name="connsiteY15" fmla="*/ 48482 h 220122"/>
                  <a:gd name="connsiteX16" fmla="*/ 151448 w 3022283"/>
                  <a:gd name="connsiteY16" fmla="*/ 48482 h 220122"/>
                  <a:gd name="connsiteX17" fmla="*/ 151448 w 3022283"/>
                  <a:gd name="connsiteY17" fmla="*/ 54578 h 220122"/>
                  <a:gd name="connsiteX18" fmla="*/ 187166 w 3022283"/>
                  <a:gd name="connsiteY18" fmla="*/ 54578 h 220122"/>
                  <a:gd name="connsiteX19" fmla="*/ 187166 w 3022283"/>
                  <a:gd name="connsiteY19" fmla="*/ 60674 h 220122"/>
                  <a:gd name="connsiteX20" fmla="*/ 302895 w 3022283"/>
                  <a:gd name="connsiteY20" fmla="*/ 60674 h 220122"/>
                  <a:gd name="connsiteX21" fmla="*/ 302895 w 3022283"/>
                  <a:gd name="connsiteY21" fmla="*/ 66675 h 220122"/>
                  <a:gd name="connsiteX22" fmla="*/ 340709 w 3022283"/>
                  <a:gd name="connsiteY22" fmla="*/ 66675 h 220122"/>
                  <a:gd name="connsiteX23" fmla="*/ 340709 w 3022283"/>
                  <a:gd name="connsiteY23" fmla="*/ 72866 h 220122"/>
                  <a:gd name="connsiteX24" fmla="*/ 393287 w 3022283"/>
                  <a:gd name="connsiteY24" fmla="*/ 72866 h 220122"/>
                  <a:gd name="connsiteX25" fmla="*/ 393287 w 3022283"/>
                  <a:gd name="connsiteY25" fmla="*/ 78962 h 220122"/>
                  <a:gd name="connsiteX26" fmla="*/ 412242 w 3022283"/>
                  <a:gd name="connsiteY26" fmla="*/ 78962 h 220122"/>
                  <a:gd name="connsiteX27" fmla="*/ 412242 w 3022283"/>
                  <a:gd name="connsiteY27" fmla="*/ 85058 h 220122"/>
                  <a:gd name="connsiteX28" fmla="*/ 422720 w 3022283"/>
                  <a:gd name="connsiteY28" fmla="*/ 85058 h 220122"/>
                  <a:gd name="connsiteX29" fmla="*/ 422720 w 3022283"/>
                  <a:gd name="connsiteY29" fmla="*/ 91249 h 220122"/>
                  <a:gd name="connsiteX30" fmla="*/ 456438 w 3022283"/>
                  <a:gd name="connsiteY30" fmla="*/ 91249 h 220122"/>
                  <a:gd name="connsiteX31" fmla="*/ 456438 w 3022283"/>
                  <a:gd name="connsiteY31" fmla="*/ 97345 h 220122"/>
                  <a:gd name="connsiteX32" fmla="*/ 462725 w 3022283"/>
                  <a:gd name="connsiteY32" fmla="*/ 97345 h 220122"/>
                  <a:gd name="connsiteX33" fmla="*/ 462725 w 3022283"/>
                  <a:gd name="connsiteY33" fmla="*/ 103441 h 220122"/>
                  <a:gd name="connsiteX34" fmla="*/ 477393 w 3022283"/>
                  <a:gd name="connsiteY34" fmla="*/ 103441 h 220122"/>
                  <a:gd name="connsiteX35" fmla="*/ 477393 w 3022283"/>
                  <a:gd name="connsiteY35" fmla="*/ 109537 h 220122"/>
                  <a:gd name="connsiteX36" fmla="*/ 490061 w 3022283"/>
                  <a:gd name="connsiteY36" fmla="*/ 109537 h 220122"/>
                  <a:gd name="connsiteX37" fmla="*/ 490061 w 3022283"/>
                  <a:gd name="connsiteY37" fmla="*/ 115728 h 220122"/>
                  <a:gd name="connsiteX38" fmla="*/ 515303 w 3022283"/>
                  <a:gd name="connsiteY38" fmla="*/ 115728 h 220122"/>
                  <a:gd name="connsiteX39" fmla="*/ 515303 w 3022283"/>
                  <a:gd name="connsiteY39" fmla="*/ 121824 h 220122"/>
                  <a:gd name="connsiteX40" fmla="*/ 744569 w 3022283"/>
                  <a:gd name="connsiteY40" fmla="*/ 121824 h 220122"/>
                  <a:gd name="connsiteX41" fmla="*/ 744569 w 3022283"/>
                  <a:gd name="connsiteY41" fmla="*/ 128016 h 220122"/>
                  <a:gd name="connsiteX42" fmla="*/ 858107 w 3022283"/>
                  <a:gd name="connsiteY42" fmla="*/ 128016 h 220122"/>
                  <a:gd name="connsiteX43" fmla="*/ 858107 w 3022283"/>
                  <a:gd name="connsiteY43" fmla="*/ 134207 h 220122"/>
                  <a:gd name="connsiteX44" fmla="*/ 1127284 w 3022283"/>
                  <a:gd name="connsiteY44" fmla="*/ 134207 h 220122"/>
                  <a:gd name="connsiteX45" fmla="*/ 1127284 w 3022283"/>
                  <a:gd name="connsiteY45" fmla="*/ 140493 h 220122"/>
                  <a:gd name="connsiteX46" fmla="*/ 1200912 w 3022283"/>
                  <a:gd name="connsiteY46" fmla="*/ 140493 h 220122"/>
                  <a:gd name="connsiteX47" fmla="*/ 1200912 w 3022283"/>
                  <a:gd name="connsiteY47" fmla="*/ 146780 h 220122"/>
                  <a:gd name="connsiteX48" fmla="*/ 1280827 w 3022283"/>
                  <a:gd name="connsiteY48" fmla="*/ 146780 h 220122"/>
                  <a:gd name="connsiteX49" fmla="*/ 1280827 w 3022283"/>
                  <a:gd name="connsiteY49" fmla="*/ 153066 h 220122"/>
                  <a:gd name="connsiteX50" fmla="*/ 1442752 w 3022283"/>
                  <a:gd name="connsiteY50" fmla="*/ 153066 h 220122"/>
                  <a:gd name="connsiteX51" fmla="*/ 1442752 w 3022283"/>
                  <a:gd name="connsiteY51" fmla="*/ 159543 h 220122"/>
                  <a:gd name="connsiteX52" fmla="*/ 1459611 w 3022283"/>
                  <a:gd name="connsiteY52" fmla="*/ 159543 h 220122"/>
                  <a:gd name="connsiteX53" fmla="*/ 1459611 w 3022283"/>
                  <a:gd name="connsiteY53" fmla="*/ 165925 h 220122"/>
                  <a:gd name="connsiteX54" fmla="*/ 1577435 w 3022283"/>
                  <a:gd name="connsiteY54" fmla="*/ 165925 h 220122"/>
                  <a:gd name="connsiteX55" fmla="*/ 1577435 w 3022283"/>
                  <a:gd name="connsiteY55" fmla="*/ 172402 h 220122"/>
                  <a:gd name="connsiteX56" fmla="*/ 1669923 w 3022283"/>
                  <a:gd name="connsiteY56" fmla="*/ 172402 h 220122"/>
                  <a:gd name="connsiteX57" fmla="*/ 1669923 w 3022283"/>
                  <a:gd name="connsiteY57" fmla="*/ 178784 h 220122"/>
                  <a:gd name="connsiteX58" fmla="*/ 1688878 w 3022283"/>
                  <a:gd name="connsiteY58" fmla="*/ 178784 h 220122"/>
                  <a:gd name="connsiteX59" fmla="*/ 1688878 w 3022283"/>
                  <a:gd name="connsiteY59" fmla="*/ 185261 h 220122"/>
                  <a:gd name="connsiteX60" fmla="*/ 2542699 w 3022283"/>
                  <a:gd name="connsiteY60" fmla="*/ 185261 h 220122"/>
                  <a:gd name="connsiteX61" fmla="*/ 2542699 w 3022283"/>
                  <a:gd name="connsiteY61" fmla="*/ 220122 h 220122"/>
                  <a:gd name="connsiteX62" fmla="*/ 3022283 w 3022283"/>
                  <a:gd name="connsiteY62" fmla="*/ 220122 h 220122"/>
                  <a:gd name="connsiteX0" fmla="*/ 0 w 3022283"/>
                  <a:gd name="connsiteY0" fmla="*/ 0 h 214122"/>
                  <a:gd name="connsiteX1" fmla="*/ 21050 w 3022283"/>
                  <a:gd name="connsiteY1" fmla="*/ 0 h 214122"/>
                  <a:gd name="connsiteX2" fmla="*/ 21050 w 3022283"/>
                  <a:gd name="connsiteY2" fmla="*/ 6096 h 214122"/>
                  <a:gd name="connsiteX3" fmla="*/ 27337 w 3022283"/>
                  <a:gd name="connsiteY3" fmla="*/ 6096 h 214122"/>
                  <a:gd name="connsiteX4" fmla="*/ 27337 w 3022283"/>
                  <a:gd name="connsiteY4" fmla="*/ 12192 h 214122"/>
                  <a:gd name="connsiteX5" fmla="*/ 69437 w 3022283"/>
                  <a:gd name="connsiteY5" fmla="*/ 12192 h 214122"/>
                  <a:gd name="connsiteX6" fmla="*/ 69437 w 3022283"/>
                  <a:gd name="connsiteY6" fmla="*/ 18193 h 214122"/>
                  <a:gd name="connsiteX7" fmla="*/ 84106 w 3022283"/>
                  <a:gd name="connsiteY7" fmla="*/ 18193 h 214122"/>
                  <a:gd name="connsiteX8" fmla="*/ 84106 w 3022283"/>
                  <a:gd name="connsiteY8" fmla="*/ 24289 h 214122"/>
                  <a:gd name="connsiteX9" fmla="*/ 113633 w 3022283"/>
                  <a:gd name="connsiteY9" fmla="*/ 24289 h 214122"/>
                  <a:gd name="connsiteX10" fmla="*/ 113633 w 3022283"/>
                  <a:gd name="connsiteY10" fmla="*/ 30385 h 214122"/>
                  <a:gd name="connsiteX11" fmla="*/ 115729 w 3022283"/>
                  <a:gd name="connsiteY11" fmla="*/ 30385 h 214122"/>
                  <a:gd name="connsiteX12" fmla="*/ 115729 w 3022283"/>
                  <a:gd name="connsiteY12" fmla="*/ 36386 h 214122"/>
                  <a:gd name="connsiteX13" fmla="*/ 138779 w 3022283"/>
                  <a:gd name="connsiteY13" fmla="*/ 36386 h 214122"/>
                  <a:gd name="connsiteX14" fmla="*/ 138779 w 3022283"/>
                  <a:gd name="connsiteY14" fmla="*/ 42482 h 214122"/>
                  <a:gd name="connsiteX15" fmla="*/ 151448 w 3022283"/>
                  <a:gd name="connsiteY15" fmla="*/ 42482 h 214122"/>
                  <a:gd name="connsiteX16" fmla="*/ 151448 w 3022283"/>
                  <a:gd name="connsiteY16" fmla="*/ 48578 h 214122"/>
                  <a:gd name="connsiteX17" fmla="*/ 187166 w 3022283"/>
                  <a:gd name="connsiteY17" fmla="*/ 48578 h 214122"/>
                  <a:gd name="connsiteX18" fmla="*/ 187166 w 3022283"/>
                  <a:gd name="connsiteY18" fmla="*/ 54674 h 214122"/>
                  <a:gd name="connsiteX19" fmla="*/ 302895 w 3022283"/>
                  <a:gd name="connsiteY19" fmla="*/ 54674 h 214122"/>
                  <a:gd name="connsiteX20" fmla="*/ 302895 w 3022283"/>
                  <a:gd name="connsiteY20" fmla="*/ 60675 h 214122"/>
                  <a:gd name="connsiteX21" fmla="*/ 340709 w 3022283"/>
                  <a:gd name="connsiteY21" fmla="*/ 60675 h 214122"/>
                  <a:gd name="connsiteX22" fmla="*/ 340709 w 3022283"/>
                  <a:gd name="connsiteY22" fmla="*/ 66866 h 214122"/>
                  <a:gd name="connsiteX23" fmla="*/ 393287 w 3022283"/>
                  <a:gd name="connsiteY23" fmla="*/ 66866 h 214122"/>
                  <a:gd name="connsiteX24" fmla="*/ 393287 w 3022283"/>
                  <a:gd name="connsiteY24" fmla="*/ 72962 h 214122"/>
                  <a:gd name="connsiteX25" fmla="*/ 412242 w 3022283"/>
                  <a:gd name="connsiteY25" fmla="*/ 72962 h 214122"/>
                  <a:gd name="connsiteX26" fmla="*/ 412242 w 3022283"/>
                  <a:gd name="connsiteY26" fmla="*/ 79058 h 214122"/>
                  <a:gd name="connsiteX27" fmla="*/ 422720 w 3022283"/>
                  <a:gd name="connsiteY27" fmla="*/ 79058 h 214122"/>
                  <a:gd name="connsiteX28" fmla="*/ 422720 w 3022283"/>
                  <a:gd name="connsiteY28" fmla="*/ 85249 h 214122"/>
                  <a:gd name="connsiteX29" fmla="*/ 456438 w 3022283"/>
                  <a:gd name="connsiteY29" fmla="*/ 85249 h 214122"/>
                  <a:gd name="connsiteX30" fmla="*/ 456438 w 3022283"/>
                  <a:gd name="connsiteY30" fmla="*/ 91345 h 214122"/>
                  <a:gd name="connsiteX31" fmla="*/ 462725 w 3022283"/>
                  <a:gd name="connsiteY31" fmla="*/ 91345 h 214122"/>
                  <a:gd name="connsiteX32" fmla="*/ 462725 w 3022283"/>
                  <a:gd name="connsiteY32" fmla="*/ 97441 h 214122"/>
                  <a:gd name="connsiteX33" fmla="*/ 477393 w 3022283"/>
                  <a:gd name="connsiteY33" fmla="*/ 97441 h 214122"/>
                  <a:gd name="connsiteX34" fmla="*/ 477393 w 3022283"/>
                  <a:gd name="connsiteY34" fmla="*/ 103537 h 214122"/>
                  <a:gd name="connsiteX35" fmla="*/ 490061 w 3022283"/>
                  <a:gd name="connsiteY35" fmla="*/ 103537 h 214122"/>
                  <a:gd name="connsiteX36" fmla="*/ 490061 w 3022283"/>
                  <a:gd name="connsiteY36" fmla="*/ 109728 h 214122"/>
                  <a:gd name="connsiteX37" fmla="*/ 515303 w 3022283"/>
                  <a:gd name="connsiteY37" fmla="*/ 109728 h 214122"/>
                  <a:gd name="connsiteX38" fmla="*/ 515303 w 3022283"/>
                  <a:gd name="connsiteY38" fmla="*/ 115824 h 214122"/>
                  <a:gd name="connsiteX39" fmla="*/ 744569 w 3022283"/>
                  <a:gd name="connsiteY39" fmla="*/ 115824 h 214122"/>
                  <a:gd name="connsiteX40" fmla="*/ 744569 w 3022283"/>
                  <a:gd name="connsiteY40" fmla="*/ 122016 h 214122"/>
                  <a:gd name="connsiteX41" fmla="*/ 858107 w 3022283"/>
                  <a:gd name="connsiteY41" fmla="*/ 122016 h 214122"/>
                  <a:gd name="connsiteX42" fmla="*/ 858107 w 3022283"/>
                  <a:gd name="connsiteY42" fmla="*/ 128207 h 214122"/>
                  <a:gd name="connsiteX43" fmla="*/ 1127284 w 3022283"/>
                  <a:gd name="connsiteY43" fmla="*/ 128207 h 214122"/>
                  <a:gd name="connsiteX44" fmla="*/ 1127284 w 3022283"/>
                  <a:gd name="connsiteY44" fmla="*/ 134493 h 214122"/>
                  <a:gd name="connsiteX45" fmla="*/ 1200912 w 3022283"/>
                  <a:gd name="connsiteY45" fmla="*/ 134493 h 214122"/>
                  <a:gd name="connsiteX46" fmla="*/ 1200912 w 3022283"/>
                  <a:gd name="connsiteY46" fmla="*/ 140780 h 214122"/>
                  <a:gd name="connsiteX47" fmla="*/ 1280827 w 3022283"/>
                  <a:gd name="connsiteY47" fmla="*/ 140780 h 214122"/>
                  <a:gd name="connsiteX48" fmla="*/ 1280827 w 3022283"/>
                  <a:gd name="connsiteY48" fmla="*/ 147066 h 214122"/>
                  <a:gd name="connsiteX49" fmla="*/ 1442752 w 3022283"/>
                  <a:gd name="connsiteY49" fmla="*/ 147066 h 214122"/>
                  <a:gd name="connsiteX50" fmla="*/ 1442752 w 3022283"/>
                  <a:gd name="connsiteY50" fmla="*/ 153543 h 214122"/>
                  <a:gd name="connsiteX51" fmla="*/ 1459611 w 3022283"/>
                  <a:gd name="connsiteY51" fmla="*/ 153543 h 214122"/>
                  <a:gd name="connsiteX52" fmla="*/ 1459611 w 3022283"/>
                  <a:gd name="connsiteY52" fmla="*/ 159925 h 214122"/>
                  <a:gd name="connsiteX53" fmla="*/ 1577435 w 3022283"/>
                  <a:gd name="connsiteY53" fmla="*/ 159925 h 214122"/>
                  <a:gd name="connsiteX54" fmla="*/ 1577435 w 3022283"/>
                  <a:gd name="connsiteY54" fmla="*/ 166402 h 214122"/>
                  <a:gd name="connsiteX55" fmla="*/ 1669923 w 3022283"/>
                  <a:gd name="connsiteY55" fmla="*/ 166402 h 214122"/>
                  <a:gd name="connsiteX56" fmla="*/ 1669923 w 3022283"/>
                  <a:gd name="connsiteY56" fmla="*/ 172784 h 214122"/>
                  <a:gd name="connsiteX57" fmla="*/ 1688878 w 3022283"/>
                  <a:gd name="connsiteY57" fmla="*/ 172784 h 214122"/>
                  <a:gd name="connsiteX58" fmla="*/ 1688878 w 3022283"/>
                  <a:gd name="connsiteY58" fmla="*/ 179261 h 214122"/>
                  <a:gd name="connsiteX59" fmla="*/ 2542699 w 3022283"/>
                  <a:gd name="connsiteY59" fmla="*/ 179261 h 214122"/>
                  <a:gd name="connsiteX60" fmla="*/ 2542699 w 3022283"/>
                  <a:gd name="connsiteY60" fmla="*/ 214122 h 214122"/>
                  <a:gd name="connsiteX61" fmla="*/ 3022283 w 3022283"/>
                  <a:gd name="connsiteY61" fmla="*/ 214122 h 214122"/>
                  <a:gd name="connsiteX0" fmla="*/ 0 w 3001233"/>
                  <a:gd name="connsiteY0" fmla="*/ 0 h 214122"/>
                  <a:gd name="connsiteX1" fmla="*/ 0 w 3001233"/>
                  <a:gd name="connsiteY1" fmla="*/ 6096 h 214122"/>
                  <a:gd name="connsiteX2" fmla="*/ 6287 w 3001233"/>
                  <a:gd name="connsiteY2" fmla="*/ 6096 h 214122"/>
                  <a:gd name="connsiteX3" fmla="*/ 6287 w 3001233"/>
                  <a:gd name="connsiteY3" fmla="*/ 12192 h 214122"/>
                  <a:gd name="connsiteX4" fmla="*/ 48387 w 3001233"/>
                  <a:gd name="connsiteY4" fmla="*/ 12192 h 214122"/>
                  <a:gd name="connsiteX5" fmla="*/ 48387 w 3001233"/>
                  <a:gd name="connsiteY5" fmla="*/ 18193 h 214122"/>
                  <a:gd name="connsiteX6" fmla="*/ 63056 w 3001233"/>
                  <a:gd name="connsiteY6" fmla="*/ 18193 h 214122"/>
                  <a:gd name="connsiteX7" fmla="*/ 63056 w 3001233"/>
                  <a:gd name="connsiteY7" fmla="*/ 24289 h 214122"/>
                  <a:gd name="connsiteX8" fmla="*/ 92583 w 3001233"/>
                  <a:gd name="connsiteY8" fmla="*/ 24289 h 214122"/>
                  <a:gd name="connsiteX9" fmla="*/ 92583 w 3001233"/>
                  <a:gd name="connsiteY9" fmla="*/ 30385 h 214122"/>
                  <a:gd name="connsiteX10" fmla="*/ 94679 w 3001233"/>
                  <a:gd name="connsiteY10" fmla="*/ 30385 h 214122"/>
                  <a:gd name="connsiteX11" fmla="*/ 94679 w 3001233"/>
                  <a:gd name="connsiteY11" fmla="*/ 36386 h 214122"/>
                  <a:gd name="connsiteX12" fmla="*/ 117729 w 3001233"/>
                  <a:gd name="connsiteY12" fmla="*/ 36386 h 214122"/>
                  <a:gd name="connsiteX13" fmla="*/ 117729 w 3001233"/>
                  <a:gd name="connsiteY13" fmla="*/ 42482 h 214122"/>
                  <a:gd name="connsiteX14" fmla="*/ 130398 w 3001233"/>
                  <a:gd name="connsiteY14" fmla="*/ 42482 h 214122"/>
                  <a:gd name="connsiteX15" fmla="*/ 130398 w 3001233"/>
                  <a:gd name="connsiteY15" fmla="*/ 48578 h 214122"/>
                  <a:gd name="connsiteX16" fmla="*/ 166116 w 3001233"/>
                  <a:gd name="connsiteY16" fmla="*/ 48578 h 214122"/>
                  <a:gd name="connsiteX17" fmla="*/ 166116 w 3001233"/>
                  <a:gd name="connsiteY17" fmla="*/ 54674 h 214122"/>
                  <a:gd name="connsiteX18" fmla="*/ 281845 w 3001233"/>
                  <a:gd name="connsiteY18" fmla="*/ 54674 h 214122"/>
                  <a:gd name="connsiteX19" fmla="*/ 281845 w 3001233"/>
                  <a:gd name="connsiteY19" fmla="*/ 60675 h 214122"/>
                  <a:gd name="connsiteX20" fmla="*/ 319659 w 3001233"/>
                  <a:gd name="connsiteY20" fmla="*/ 60675 h 214122"/>
                  <a:gd name="connsiteX21" fmla="*/ 319659 w 3001233"/>
                  <a:gd name="connsiteY21" fmla="*/ 66866 h 214122"/>
                  <a:gd name="connsiteX22" fmla="*/ 372237 w 3001233"/>
                  <a:gd name="connsiteY22" fmla="*/ 66866 h 214122"/>
                  <a:gd name="connsiteX23" fmla="*/ 372237 w 3001233"/>
                  <a:gd name="connsiteY23" fmla="*/ 72962 h 214122"/>
                  <a:gd name="connsiteX24" fmla="*/ 391192 w 3001233"/>
                  <a:gd name="connsiteY24" fmla="*/ 72962 h 214122"/>
                  <a:gd name="connsiteX25" fmla="*/ 391192 w 3001233"/>
                  <a:gd name="connsiteY25" fmla="*/ 79058 h 214122"/>
                  <a:gd name="connsiteX26" fmla="*/ 401670 w 3001233"/>
                  <a:gd name="connsiteY26" fmla="*/ 79058 h 214122"/>
                  <a:gd name="connsiteX27" fmla="*/ 401670 w 3001233"/>
                  <a:gd name="connsiteY27" fmla="*/ 85249 h 214122"/>
                  <a:gd name="connsiteX28" fmla="*/ 435388 w 3001233"/>
                  <a:gd name="connsiteY28" fmla="*/ 85249 h 214122"/>
                  <a:gd name="connsiteX29" fmla="*/ 435388 w 3001233"/>
                  <a:gd name="connsiteY29" fmla="*/ 91345 h 214122"/>
                  <a:gd name="connsiteX30" fmla="*/ 441675 w 3001233"/>
                  <a:gd name="connsiteY30" fmla="*/ 91345 h 214122"/>
                  <a:gd name="connsiteX31" fmla="*/ 441675 w 3001233"/>
                  <a:gd name="connsiteY31" fmla="*/ 97441 h 214122"/>
                  <a:gd name="connsiteX32" fmla="*/ 456343 w 3001233"/>
                  <a:gd name="connsiteY32" fmla="*/ 97441 h 214122"/>
                  <a:gd name="connsiteX33" fmla="*/ 456343 w 3001233"/>
                  <a:gd name="connsiteY33" fmla="*/ 103537 h 214122"/>
                  <a:gd name="connsiteX34" fmla="*/ 469011 w 3001233"/>
                  <a:gd name="connsiteY34" fmla="*/ 103537 h 214122"/>
                  <a:gd name="connsiteX35" fmla="*/ 469011 w 3001233"/>
                  <a:gd name="connsiteY35" fmla="*/ 109728 h 214122"/>
                  <a:gd name="connsiteX36" fmla="*/ 494253 w 3001233"/>
                  <a:gd name="connsiteY36" fmla="*/ 109728 h 214122"/>
                  <a:gd name="connsiteX37" fmla="*/ 494253 w 3001233"/>
                  <a:gd name="connsiteY37" fmla="*/ 115824 h 214122"/>
                  <a:gd name="connsiteX38" fmla="*/ 723519 w 3001233"/>
                  <a:gd name="connsiteY38" fmla="*/ 115824 h 214122"/>
                  <a:gd name="connsiteX39" fmla="*/ 723519 w 3001233"/>
                  <a:gd name="connsiteY39" fmla="*/ 122016 h 214122"/>
                  <a:gd name="connsiteX40" fmla="*/ 837057 w 3001233"/>
                  <a:gd name="connsiteY40" fmla="*/ 122016 h 214122"/>
                  <a:gd name="connsiteX41" fmla="*/ 837057 w 3001233"/>
                  <a:gd name="connsiteY41" fmla="*/ 128207 h 214122"/>
                  <a:gd name="connsiteX42" fmla="*/ 1106234 w 3001233"/>
                  <a:gd name="connsiteY42" fmla="*/ 128207 h 214122"/>
                  <a:gd name="connsiteX43" fmla="*/ 1106234 w 3001233"/>
                  <a:gd name="connsiteY43" fmla="*/ 134493 h 214122"/>
                  <a:gd name="connsiteX44" fmla="*/ 1179862 w 3001233"/>
                  <a:gd name="connsiteY44" fmla="*/ 134493 h 214122"/>
                  <a:gd name="connsiteX45" fmla="*/ 1179862 w 3001233"/>
                  <a:gd name="connsiteY45" fmla="*/ 140780 h 214122"/>
                  <a:gd name="connsiteX46" fmla="*/ 1259777 w 3001233"/>
                  <a:gd name="connsiteY46" fmla="*/ 140780 h 214122"/>
                  <a:gd name="connsiteX47" fmla="*/ 1259777 w 3001233"/>
                  <a:gd name="connsiteY47" fmla="*/ 147066 h 214122"/>
                  <a:gd name="connsiteX48" fmla="*/ 1421702 w 3001233"/>
                  <a:gd name="connsiteY48" fmla="*/ 147066 h 214122"/>
                  <a:gd name="connsiteX49" fmla="*/ 1421702 w 3001233"/>
                  <a:gd name="connsiteY49" fmla="*/ 153543 h 214122"/>
                  <a:gd name="connsiteX50" fmla="*/ 1438561 w 3001233"/>
                  <a:gd name="connsiteY50" fmla="*/ 153543 h 214122"/>
                  <a:gd name="connsiteX51" fmla="*/ 1438561 w 3001233"/>
                  <a:gd name="connsiteY51" fmla="*/ 159925 h 214122"/>
                  <a:gd name="connsiteX52" fmla="*/ 1556385 w 3001233"/>
                  <a:gd name="connsiteY52" fmla="*/ 159925 h 214122"/>
                  <a:gd name="connsiteX53" fmla="*/ 1556385 w 3001233"/>
                  <a:gd name="connsiteY53" fmla="*/ 166402 h 214122"/>
                  <a:gd name="connsiteX54" fmla="*/ 1648873 w 3001233"/>
                  <a:gd name="connsiteY54" fmla="*/ 166402 h 214122"/>
                  <a:gd name="connsiteX55" fmla="*/ 1648873 w 3001233"/>
                  <a:gd name="connsiteY55" fmla="*/ 172784 h 214122"/>
                  <a:gd name="connsiteX56" fmla="*/ 1667828 w 3001233"/>
                  <a:gd name="connsiteY56" fmla="*/ 172784 h 214122"/>
                  <a:gd name="connsiteX57" fmla="*/ 1667828 w 3001233"/>
                  <a:gd name="connsiteY57" fmla="*/ 179261 h 214122"/>
                  <a:gd name="connsiteX58" fmla="*/ 2521649 w 3001233"/>
                  <a:gd name="connsiteY58" fmla="*/ 179261 h 214122"/>
                  <a:gd name="connsiteX59" fmla="*/ 2521649 w 3001233"/>
                  <a:gd name="connsiteY59" fmla="*/ 214122 h 214122"/>
                  <a:gd name="connsiteX60" fmla="*/ 3001233 w 3001233"/>
                  <a:gd name="connsiteY60" fmla="*/ 214122 h 214122"/>
                  <a:gd name="connsiteX0" fmla="*/ 0 w 3001233"/>
                  <a:gd name="connsiteY0" fmla="*/ 0 h 208026"/>
                  <a:gd name="connsiteX1" fmla="*/ 6287 w 3001233"/>
                  <a:gd name="connsiteY1" fmla="*/ 0 h 208026"/>
                  <a:gd name="connsiteX2" fmla="*/ 6287 w 3001233"/>
                  <a:gd name="connsiteY2" fmla="*/ 6096 h 208026"/>
                  <a:gd name="connsiteX3" fmla="*/ 48387 w 3001233"/>
                  <a:gd name="connsiteY3" fmla="*/ 6096 h 208026"/>
                  <a:gd name="connsiteX4" fmla="*/ 48387 w 3001233"/>
                  <a:gd name="connsiteY4" fmla="*/ 12097 h 208026"/>
                  <a:gd name="connsiteX5" fmla="*/ 63056 w 3001233"/>
                  <a:gd name="connsiteY5" fmla="*/ 12097 h 208026"/>
                  <a:gd name="connsiteX6" fmla="*/ 63056 w 3001233"/>
                  <a:gd name="connsiteY6" fmla="*/ 18193 h 208026"/>
                  <a:gd name="connsiteX7" fmla="*/ 92583 w 3001233"/>
                  <a:gd name="connsiteY7" fmla="*/ 18193 h 208026"/>
                  <a:gd name="connsiteX8" fmla="*/ 92583 w 3001233"/>
                  <a:gd name="connsiteY8" fmla="*/ 24289 h 208026"/>
                  <a:gd name="connsiteX9" fmla="*/ 94679 w 3001233"/>
                  <a:gd name="connsiteY9" fmla="*/ 24289 h 208026"/>
                  <a:gd name="connsiteX10" fmla="*/ 94679 w 3001233"/>
                  <a:gd name="connsiteY10" fmla="*/ 30290 h 208026"/>
                  <a:gd name="connsiteX11" fmla="*/ 117729 w 3001233"/>
                  <a:gd name="connsiteY11" fmla="*/ 30290 h 208026"/>
                  <a:gd name="connsiteX12" fmla="*/ 117729 w 3001233"/>
                  <a:gd name="connsiteY12" fmla="*/ 36386 h 208026"/>
                  <a:gd name="connsiteX13" fmla="*/ 130398 w 3001233"/>
                  <a:gd name="connsiteY13" fmla="*/ 36386 h 208026"/>
                  <a:gd name="connsiteX14" fmla="*/ 130398 w 3001233"/>
                  <a:gd name="connsiteY14" fmla="*/ 42482 h 208026"/>
                  <a:gd name="connsiteX15" fmla="*/ 166116 w 3001233"/>
                  <a:gd name="connsiteY15" fmla="*/ 42482 h 208026"/>
                  <a:gd name="connsiteX16" fmla="*/ 166116 w 3001233"/>
                  <a:gd name="connsiteY16" fmla="*/ 48578 h 208026"/>
                  <a:gd name="connsiteX17" fmla="*/ 281845 w 3001233"/>
                  <a:gd name="connsiteY17" fmla="*/ 48578 h 208026"/>
                  <a:gd name="connsiteX18" fmla="*/ 281845 w 3001233"/>
                  <a:gd name="connsiteY18" fmla="*/ 54579 h 208026"/>
                  <a:gd name="connsiteX19" fmla="*/ 319659 w 3001233"/>
                  <a:gd name="connsiteY19" fmla="*/ 54579 h 208026"/>
                  <a:gd name="connsiteX20" fmla="*/ 319659 w 3001233"/>
                  <a:gd name="connsiteY20" fmla="*/ 60770 h 208026"/>
                  <a:gd name="connsiteX21" fmla="*/ 372237 w 3001233"/>
                  <a:gd name="connsiteY21" fmla="*/ 60770 h 208026"/>
                  <a:gd name="connsiteX22" fmla="*/ 372237 w 3001233"/>
                  <a:gd name="connsiteY22" fmla="*/ 66866 h 208026"/>
                  <a:gd name="connsiteX23" fmla="*/ 391192 w 3001233"/>
                  <a:gd name="connsiteY23" fmla="*/ 66866 h 208026"/>
                  <a:gd name="connsiteX24" fmla="*/ 391192 w 3001233"/>
                  <a:gd name="connsiteY24" fmla="*/ 72962 h 208026"/>
                  <a:gd name="connsiteX25" fmla="*/ 401670 w 3001233"/>
                  <a:gd name="connsiteY25" fmla="*/ 72962 h 208026"/>
                  <a:gd name="connsiteX26" fmla="*/ 401670 w 3001233"/>
                  <a:gd name="connsiteY26" fmla="*/ 79153 h 208026"/>
                  <a:gd name="connsiteX27" fmla="*/ 435388 w 3001233"/>
                  <a:gd name="connsiteY27" fmla="*/ 79153 h 208026"/>
                  <a:gd name="connsiteX28" fmla="*/ 435388 w 3001233"/>
                  <a:gd name="connsiteY28" fmla="*/ 85249 h 208026"/>
                  <a:gd name="connsiteX29" fmla="*/ 441675 w 3001233"/>
                  <a:gd name="connsiteY29" fmla="*/ 85249 h 208026"/>
                  <a:gd name="connsiteX30" fmla="*/ 441675 w 3001233"/>
                  <a:gd name="connsiteY30" fmla="*/ 91345 h 208026"/>
                  <a:gd name="connsiteX31" fmla="*/ 456343 w 3001233"/>
                  <a:gd name="connsiteY31" fmla="*/ 91345 h 208026"/>
                  <a:gd name="connsiteX32" fmla="*/ 456343 w 3001233"/>
                  <a:gd name="connsiteY32" fmla="*/ 97441 h 208026"/>
                  <a:gd name="connsiteX33" fmla="*/ 469011 w 3001233"/>
                  <a:gd name="connsiteY33" fmla="*/ 97441 h 208026"/>
                  <a:gd name="connsiteX34" fmla="*/ 469011 w 3001233"/>
                  <a:gd name="connsiteY34" fmla="*/ 103632 h 208026"/>
                  <a:gd name="connsiteX35" fmla="*/ 494253 w 3001233"/>
                  <a:gd name="connsiteY35" fmla="*/ 103632 h 208026"/>
                  <a:gd name="connsiteX36" fmla="*/ 494253 w 3001233"/>
                  <a:gd name="connsiteY36" fmla="*/ 109728 h 208026"/>
                  <a:gd name="connsiteX37" fmla="*/ 723519 w 3001233"/>
                  <a:gd name="connsiteY37" fmla="*/ 109728 h 208026"/>
                  <a:gd name="connsiteX38" fmla="*/ 723519 w 3001233"/>
                  <a:gd name="connsiteY38" fmla="*/ 115920 h 208026"/>
                  <a:gd name="connsiteX39" fmla="*/ 837057 w 3001233"/>
                  <a:gd name="connsiteY39" fmla="*/ 115920 h 208026"/>
                  <a:gd name="connsiteX40" fmla="*/ 837057 w 3001233"/>
                  <a:gd name="connsiteY40" fmla="*/ 122111 h 208026"/>
                  <a:gd name="connsiteX41" fmla="*/ 1106234 w 3001233"/>
                  <a:gd name="connsiteY41" fmla="*/ 122111 h 208026"/>
                  <a:gd name="connsiteX42" fmla="*/ 1106234 w 3001233"/>
                  <a:gd name="connsiteY42" fmla="*/ 128397 h 208026"/>
                  <a:gd name="connsiteX43" fmla="*/ 1179862 w 3001233"/>
                  <a:gd name="connsiteY43" fmla="*/ 128397 h 208026"/>
                  <a:gd name="connsiteX44" fmla="*/ 1179862 w 3001233"/>
                  <a:gd name="connsiteY44" fmla="*/ 134684 h 208026"/>
                  <a:gd name="connsiteX45" fmla="*/ 1259777 w 3001233"/>
                  <a:gd name="connsiteY45" fmla="*/ 134684 h 208026"/>
                  <a:gd name="connsiteX46" fmla="*/ 1259777 w 3001233"/>
                  <a:gd name="connsiteY46" fmla="*/ 140970 h 208026"/>
                  <a:gd name="connsiteX47" fmla="*/ 1421702 w 3001233"/>
                  <a:gd name="connsiteY47" fmla="*/ 140970 h 208026"/>
                  <a:gd name="connsiteX48" fmla="*/ 1421702 w 3001233"/>
                  <a:gd name="connsiteY48" fmla="*/ 147447 h 208026"/>
                  <a:gd name="connsiteX49" fmla="*/ 1438561 w 3001233"/>
                  <a:gd name="connsiteY49" fmla="*/ 147447 h 208026"/>
                  <a:gd name="connsiteX50" fmla="*/ 1438561 w 3001233"/>
                  <a:gd name="connsiteY50" fmla="*/ 153829 h 208026"/>
                  <a:gd name="connsiteX51" fmla="*/ 1556385 w 3001233"/>
                  <a:gd name="connsiteY51" fmla="*/ 153829 h 208026"/>
                  <a:gd name="connsiteX52" fmla="*/ 1556385 w 3001233"/>
                  <a:gd name="connsiteY52" fmla="*/ 160306 h 208026"/>
                  <a:gd name="connsiteX53" fmla="*/ 1648873 w 3001233"/>
                  <a:gd name="connsiteY53" fmla="*/ 160306 h 208026"/>
                  <a:gd name="connsiteX54" fmla="*/ 1648873 w 3001233"/>
                  <a:gd name="connsiteY54" fmla="*/ 166688 h 208026"/>
                  <a:gd name="connsiteX55" fmla="*/ 1667828 w 3001233"/>
                  <a:gd name="connsiteY55" fmla="*/ 166688 h 208026"/>
                  <a:gd name="connsiteX56" fmla="*/ 1667828 w 3001233"/>
                  <a:gd name="connsiteY56" fmla="*/ 173165 h 208026"/>
                  <a:gd name="connsiteX57" fmla="*/ 2521649 w 3001233"/>
                  <a:gd name="connsiteY57" fmla="*/ 173165 h 208026"/>
                  <a:gd name="connsiteX58" fmla="*/ 2521649 w 3001233"/>
                  <a:gd name="connsiteY58" fmla="*/ 208026 h 208026"/>
                  <a:gd name="connsiteX59" fmla="*/ 3001233 w 3001233"/>
                  <a:gd name="connsiteY59" fmla="*/ 208026 h 208026"/>
                  <a:gd name="connsiteX0" fmla="*/ 0 w 3001233"/>
                  <a:gd name="connsiteY0" fmla="*/ 0 h 208026"/>
                  <a:gd name="connsiteX1" fmla="*/ 6287 w 3001233"/>
                  <a:gd name="connsiteY1" fmla="*/ 0 h 208026"/>
                  <a:gd name="connsiteX2" fmla="*/ 48387 w 3001233"/>
                  <a:gd name="connsiteY2" fmla="*/ 6096 h 208026"/>
                  <a:gd name="connsiteX3" fmla="*/ 48387 w 3001233"/>
                  <a:gd name="connsiteY3" fmla="*/ 12097 h 208026"/>
                  <a:gd name="connsiteX4" fmla="*/ 63056 w 3001233"/>
                  <a:gd name="connsiteY4" fmla="*/ 12097 h 208026"/>
                  <a:gd name="connsiteX5" fmla="*/ 63056 w 3001233"/>
                  <a:gd name="connsiteY5" fmla="*/ 18193 h 208026"/>
                  <a:gd name="connsiteX6" fmla="*/ 92583 w 3001233"/>
                  <a:gd name="connsiteY6" fmla="*/ 18193 h 208026"/>
                  <a:gd name="connsiteX7" fmla="*/ 92583 w 3001233"/>
                  <a:gd name="connsiteY7" fmla="*/ 24289 h 208026"/>
                  <a:gd name="connsiteX8" fmla="*/ 94679 w 3001233"/>
                  <a:gd name="connsiteY8" fmla="*/ 24289 h 208026"/>
                  <a:gd name="connsiteX9" fmla="*/ 94679 w 3001233"/>
                  <a:gd name="connsiteY9" fmla="*/ 30290 h 208026"/>
                  <a:gd name="connsiteX10" fmla="*/ 117729 w 3001233"/>
                  <a:gd name="connsiteY10" fmla="*/ 30290 h 208026"/>
                  <a:gd name="connsiteX11" fmla="*/ 117729 w 3001233"/>
                  <a:gd name="connsiteY11" fmla="*/ 36386 h 208026"/>
                  <a:gd name="connsiteX12" fmla="*/ 130398 w 3001233"/>
                  <a:gd name="connsiteY12" fmla="*/ 36386 h 208026"/>
                  <a:gd name="connsiteX13" fmla="*/ 130398 w 3001233"/>
                  <a:gd name="connsiteY13" fmla="*/ 42482 h 208026"/>
                  <a:gd name="connsiteX14" fmla="*/ 166116 w 3001233"/>
                  <a:gd name="connsiteY14" fmla="*/ 42482 h 208026"/>
                  <a:gd name="connsiteX15" fmla="*/ 166116 w 3001233"/>
                  <a:gd name="connsiteY15" fmla="*/ 48578 h 208026"/>
                  <a:gd name="connsiteX16" fmla="*/ 281845 w 3001233"/>
                  <a:gd name="connsiteY16" fmla="*/ 48578 h 208026"/>
                  <a:gd name="connsiteX17" fmla="*/ 281845 w 3001233"/>
                  <a:gd name="connsiteY17" fmla="*/ 54579 h 208026"/>
                  <a:gd name="connsiteX18" fmla="*/ 319659 w 3001233"/>
                  <a:gd name="connsiteY18" fmla="*/ 54579 h 208026"/>
                  <a:gd name="connsiteX19" fmla="*/ 319659 w 3001233"/>
                  <a:gd name="connsiteY19" fmla="*/ 60770 h 208026"/>
                  <a:gd name="connsiteX20" fmla="*/ 372237 w 3001233"/>
                  <a:gd name="connsiteY20" fmla="*/ 60770 h 208026"/>
                  <a:gd name="connsiteX21" fmla="*/ 372237 w 3001233"/>
                  <a:gd name="connsiteY21" fmla="*/ 66866 h 208026"/>
                  <a:gd name="connsiteX22" fmla="*/ 391192 w 3001233"/>
                  <a:gd name="connsiteY22" fmla="*/ 66866 h 208026"/>
                  <a:gd name="connsiteX23" fmla="*/ 391192 w 3001233"/>
                  <a:gd name="connsiteY23" fmla="*/ 72962 h 208026"/>
                  <a:gd name="connsiteX24" fmla="*/ 401670 w 3001233"/>
                  <a:gd name="connsiteY24" fmla="*/ 72962 h 208026"/>
                  <a:gd name="connsiteX25" fmla="*/ 401670 w 3001233"/>
                  <a:gd name="connsiteY25" fmla="*/ 79153 h 208026"/>
                  <a:gd name="connsiteX26" fmla="*/ 435388 w 3001233"/>
                  <a:gd name="connsiteY26" fmla="*/ 79153 h 208026"/>
                  <a:gd name="connsiteX27" fmla="*/ 435388 w 3001233"/>
                  <a:gd name="connsiteY27" fmla="*/ 85249 h 208026"/>
                  <a:gd name="connsiteX28" fmla="*/ 441675 w 3001233"/>
                  <a:gd name="connsiteY28" fmla="*/ 85249 h 208026"/>
                  <a:gd name="connsiteX29" fmla="*/ 441675 w 3001233"/>
                  <a:gd name="connsiteY29" fmla="*/ 91345 h 208026"/>
                  <a:gd name="connsiteX30" fmla="*/ 456343 w 3001233"/>
                  <a:gd name="connsiteY30" fmla="*/ 91345 h 208026"/>
                  <a:gd name="connsiteX31" fmla="*/ 456343 w 3001233"/>
                  <a:gd name="connsiteY31" fmla="*/ 97441 h 208026"/>
                  <a:gd name="connsiteX32" fmla="*/ 469011 w 3001233"/>
                  <a:gd name="connsiteY32" fmla="*/ 97441 h 208026"/>
                  <a:gd name="connsiteX33" fmla="*/ 469011 w 3001233"/>
                  <a:gd name="connsiteY33" fmla="*/ 103632 h 208026"/>
                  <a:gd name="connsiteX34" fmla="*/ 494253 w 3001233"/>
                  <a:gd name="connsiteY34" fmla="*/ 103632 h 208026"/>
                  <a:gd name="connsiteX35" fmla="*/ 494253 w 3001233"/>
                  <a:gd name="connsiteY35" fmla="*/ 109728 h 208026"/>
                  <a:gd name="connsiteX36" fmla="*/ 723519 w 3001233"/>
                  <a:gd name="connsiteY36" fmla="*/ 109728 h 208026"/>
                  <a:gd name="connsiteX37" fmla="*/ 723519 w 3001233"/>
                  <a:gd name="connsiteY37" fmla="*/ 115920 h 208026"/>
                  <a:gd name="connsiteX38" fmla="*/ 837057 w 3001233"/>
                  <a:gd name="connsiteY38" fmla="*/ 115920 h 208026"/>
                  <a:gd name="connsiteX39" fmla="*/ 837057 w 3001233"/>
                  <a:gd name="connsiteY39" fmla="*/ 122111 h 208026"/>
                  <a:gd name="connsiteX40" fmla="*/ 1106234 w 3001233"/>
                  <a:gd name="connsiteY40" fmla="*/ 122111 h 208026"/>
                  <a:gd name="connsiteX41" fmla="*/ 1106234 w 3001233"/>
                  <a:gd name="connsiteY41" fmla="*/ 128397 h 208026"/>
                  <a:gd name="connsiteX42" fmla="*/ 1179862 w 3001233"/>
                  <a:gd name="connsiteY42" fmla="*/ 128397 h 208026"/>
                  <a:gd name="connsiteX43" fmla="*/ 1179862 w 3001233"/>
                  <a:gd name="connsiteY43" fmla="*/ 134684 h 208026"/>
                  <a:gd name="connsiteX44" fmla="*/ 1259777 w 3001233"/>
                  <a:gd name="connsiteY44" fmla="*/ 134684 h 208026"/>
                  <a:gd name="connsiteX45" fmla="*/ 1259777 w 3001233"/>
                  <a:gd name="connsiteY45" fmla="*/ 140970 h 208026"/>
                  <a:gd name="connsiteX46" fmla="*/ 1421702 w 3001233"/>
                  <a:gd name="connsiteY46" fmla="*/ 140970 h 208026"/>
                  <a:gd name="connsiteX47" fmla="*/ 1421702 w 3001233"/>
                  <a:gd name="connsiteY47" fmla="*/ 147447 h 208026"/>
                  <a:gd name="connsiteX48" fmla="*/ 1438561 w 3001233"/>
                  <a:gd name="connsiteY48" fmla="*/ 147447 h 208026"/>
                  <a:gd name="connsiteX49" fmla="*/ 1438561 w 3001233"/>
                  <a:gd name="connsiteY49" fmla="*/ 153829 h 208026"/>
                  <a:gd name="connsiteX50" fmla="*/ 1556385 w 3001233"/>
                  <a:gd name="connsiteY50" fmla="*/ 153829 h 208026"/>
                  <a:gd name="connsiteX51" fmla="*/ 1556385 w 3001233"/>
                  <a:gd name="connsiteY51" fmla="*/ 160306 h 208026"/>
                  <a:gd name="connsiteX52" fmla="*/ 1648873 w 3001233"/>
                  <a:gd name="connsiteY52" fmla="*/ 160306 h 208026"/>
                  <a:gd name="connsiteX53" fmla="*/ 1648873 w 3001233"/>
                  <a:gd name="connsiteY53" fmla="*/ 166688 h 208026"/>
                  <a:gd name="connsiteX54" fmla="*/ 1667828 w 3001233"/>
                  <a:gd name="connsiteY54" fmla="*/ 166688 h 208026"/>
                  <a:gd name="connsiteX55" fmla="*/ 1667828 w 3001233"/>
                  <a:gd name="connsiteY55" fmla="*/ 173165 h 208026"/>
                  <a:gd name="connsiteX56" fmla="*/ 2521649 w 3001233"/>
                  <a:gd name="connsiteY56" fmla="*/ 173165 h 208026"/>
                  <a:gd name="connsiteX57" fmla="*/ 2521649 w 3001233"/>
                  <a:gd name="connsiteY57" fmla="*/ 208026 h 208026"/>
                  <a:gd name="connsiteX58" fmla="*/ 3001233 w 3001233"/>
                  <a:gd name="connsiteY58" fmla="*/ 208026 h 208026"/>
                  <a:gd name="connsiteX0" fmla="*/ 0 w 3001233"/>
                  <a:gd name="connsiteY0" fmla="*/ 0 h 208026"/>
                  <a:gd name="connsiteX1" fmla="*/ 48387 w 3001233"/>
                  <a:gd name="connsiteY1" fmla="*/ 6096 h 208026"/>
                  <a:gd name="connsiteX2" fmla="*/ 48387 w 3001233"/>
                  <a:gd name="connsiteY2" fmla="*/ 12097 h 208026"/>
                  <a:gd name="connsiteX3" fmla="*/ 63056 w 3001233"/>
                  <a:gd name="connsiteY3" fmla="*/ 12097 h 208026"/>
                  <a:gd name="connsiteX4" fmla="*/ 63056 w 3001233"/>
                  <a:gd name="connsiteY4" fmla="*/ 18193 h 208026"/>
                  <a:gd name="connsiteX5" fmla="*/ 92583 w 3001233"/>
                  <a:gd name="connsiteY5" fmla="*/ 18193 h 208026"/>
                  <a:gd name="connsiteX6" fmla="*/ 92583 w 3001233"/>
                  <a:gd name="connsiteY6" fmla="*/ 24289 h 208026"/>
                  <a:gd name="connsiteX7" fmla="*/ 94679 w 3001233"/>
                  <a:gd name="connsiteY7" fmla="*/ 24289 h 208026"/>
                  <a:gd name="connsiteX8" fmla="*/ 94679 w 3001233"/>
                  <a:gd name="connsiteY8" fmla="*/ 30290 h 208026"/>
                  <a:gd name="connsiteX9" fmla="*/ 117729 w 3001233"/>
                  <a:gd name="connsiteY9" fmla="*/ 30290 h 208026"/>
                  <a:gd name="connsiteX10" fmla="*/ 117729 w 3001233"/>
                  <a:gd name="connsiteY10" fmla="*/ 36386 h 208026"/>
                  <a:gd name="connsiteX11" fmla="*/ 130398 w 3001233"/>
                  <a:gd name="connsiteY11" fmla="*/ 36386 h 208026"/>
                  <a:gd name="connsiteX12" fmla="*/ 130398 w 3001233"/>
                  <a:gd name="connsiteY12" fmla="*/ 42482 h 208026"/>
                  <a:gd name="connsiteX13" fmla="*/ 166116 w 3001233"/>
                  <a:gd name="connsiteY13" fmla="*/ 42482 h 208026"/>
                  <a:gd name="connsiteX14" fmla="*/ 166116 w 3001233"/>
                  <a:gd name="connsiteY14" fmla="*/ 48578 h 208026"/>
                  <a:gd name="connsiteX15" fmla="*/ 281845 w 3001233"/>
                  <a:gd name="connsiteY15" fmla="*/ 48578 h 208026"/>
                  <a:gd name="connsiteX16" fmla="*/ 281845 w 3001233"/>
                  <a:gd name="connsiteY16" fmla="*/ 54579 h 208026"/>
                  <a:gd name="connsiteX17" fmla="*/ 319659 w 3001233"/>
                  <a:gd name="connsiteY17" fmla="*/ 54579 h 208026"/>
                  <a:gd name="connsiteX18" fmla="*/ 319659 w 3001233"/>
                  <a:gd name="connsiteY18" fmla="*/ 60770 h 208026"/>
                  <a:gd name="connsiteX19" fmla="*/ 372237 w 3001233"/>
                  <a:gd name="connsiteY19" fmla="*/ 60770 h 208026"/>
                  <a:gd name="connsiteX20" fmla="*/ 372237 w 3001233"/>
                  <a:gd name="connsiteY20" fmla="*/ 66866 h 208026"/>
                  <a:gd name="connsiteX21" fmla="*/ 391192 w 3001233"/>
                  <a:gd name="connsiteY21" fmla="*/ 66866 h 208026"/>
                  <a:gd name="connsiteX22" fmla="*/ 391192 w 3001233"/>
                  <a:gd name="connsiteY22" fmla="*/ 72962 h 208026"/>
                  <a:gd name="connsiteX23" fmla="*/ 401670 w 3001233"/>
                  <a:gd name="connsiteY23" fmla="*/ 72962 h 208026"/>
                  <a:gd name="connsiteX24" fmla="*/ 401670 w 3001233"/>
                  <a:gd name="connsiteY24" fmla="*/ 79153 h 208026"/>
                  <a:gd name="connsiteX25" fmla="*/ 435388 w 3001233"/>
                  <a:gd name="connsiteY25" fmla="*/ 79153 h 208026"/>
                  <a:gd name="connsiteX26" fmla="*/ 435388 w 3001233"/>
                  <a:gd name="connsiteY26" fmla="*/ 85249 h 208026"/>
                  <a:gd name="connsiteX27" fmla="*/ 441675 w 3001233"/>
                  <a:gd name="connsiteY27" fmla="*/ 85249 h 208026"/>
                  <a:gd name="connsiteX28" fmla="*/ 441675 w 3001233"/>
                  <a:gd name="connsiteY28" fmla="*/ 91345 h 208026"/>
                  <a:gd name="connsiteX29" fmla="*/ 456343 w 3001233"/>
                  <a:gd name="connsiteY29" fmla="*/ 91345 h 208026"/>
                  <a:gd name="connsiteX30" fmla="*/ 456343 w 3001233"/>
                  <a:gd name="connsiteY30" fmla="*/ 97441 h 208026"/>
                  <a:gd name="connsiteX31" fmla="*/ 469011 w 3001233"/>
                  <a:gd name="connsiteY31" fmla="*/ 97441 h 208026"/>
                  <a:gd name="connsiteX32" fmla="*/ 469011 w 3001233"/>
                  <a:gd name="connsiteY32" fmla="*/ 103632 h 208026"/>
                  <a:gd name="connsiteX33" fmla="*/ 494253 w 3001233"/>
                  <a:gd name="connsiteY33" fmla="*/ 103632 h 208026"/>
                  <a:gd name="connsiteX34" fmla="*/ 494253 w 3001233"/>
                  <a:gd name="connsiteY34" fmla="*/ 109728 h 208026"/>
                  <a:gd name="connsiteX35" fmla="*/ 723519 w 3001233"/>
                  <a:gd name="connsiteY35" fmla="*/ 109728 h 208026"/>
                  <a:gd name="connsiteX36" fmla="*/ 723519 w 3001233"/>
                  <a:gd name="connsiteY36" fmla="*/ 115920 h 208026"/>
                  <a:gd name="connsiteX37" fmla="*/ 837057 w 3001233"/>
                  <a:gd name="connsiteY37" fmla="*/ 115920 h 208026"/>
                  <a:gd name="connsiteX38" fmla="*/ 837057 w 3001233"/>
                  <a:gd name="connsiteY38" fmla="*/ 122111 h 208026"/>
                  <a:gd name="connsiteX39" fmla="*/ 1106234 w 3001233"/>
                  <a:gd name="connsiteY39" fmla="*/ 122111 h 208026"/>
                  <a:gd name="connsiteX40" fmla="*/ 1106234 w 3001233"/>
                  <a:gd name="connsiteY40" fmla="*/ 128397 h 208026"/>
                  <a:gd name="connsiteX41" fmla="*/ 1179862 w 3001233"/>
                  <a:gd name="connsiteY41" fmla="*/ 128397 h 208026"/>
                  <a:gd name="connsiteX42" fmla="*/ 1179862 w 3001233"/>
                  <a:gd name="connsiteY42" fmla="*/ 134684 h 208026"/>
                  <a:gd name="connsiteX43" fmla="*/ 1259777 w 3001233"/>
                  <a:gd name="connsiteY43" fmla="*/ 134684 h 208026"/>
                  <a:gd name="connsiteX44" fmla="*/ 1259777 w 3001233"/>
                  <a:gd name="connsiteY44" fmla="*/ 140970 h 208026"/>
                  <a:gd name="connsiteX45" fmla="*/ 1421702 w 3001233"/>
                  <a:gd name="connsiteY45" fmla="*/ 140970 h 208026"/>
                  <a:gd name="connsiteX46" fmla="*/ 1421702 w 3001233"/>
                  <a:gd name="connsiteY46" fmla="*/ 147447 h 208026"/>
                  <a:gd name="connsiteX47" fmla="*/ 1438561 w 3001233"/>
                  <a:gd name="connsiteY47" fmla="*/ 147447 h 208026"/>
                  <a:gd name="connsiteX48" fmla="*/ 1438561 w 3001233"/>
                  <a:gd name="connsiteY48" fmla="*/ 153829 h 208026"/>
                  <a:gd name="connsiteX49" fmla="*/ 1556385 w 3001233"/>
                  <a:gd name="connsiteY49" fmla="*/ 153829 h 208026"/>
                  <a:gd name="connsiteX50" fmla="*/ 1556385 w 3001233"/>
                  <a:gd name="connsiteY50" fmla="*/ 160306 h 208026"/>
                  <a:gd name="connsiteX51" fmla="*/ 1648873 w 3001233"/>
                  <a:gd name="connsiteY51" fmla="*/ 160306 h 208026"/>
                  <a:gd name="connsiteX52" fmla="*/ 1648873 w 3001233"/>
                  <a:gd name="connsiteY52" fmla="*/ 166688 h 208026"/>
                  <a:gd name="connsiteX53" fmla="*/ 1667828 w 3001233"/>
                  <a:gd name="connsiteY53" fmla="*/ 166688 h 208026"/>
                  <a:gd name="connsiteX54" fmla="*/ 1667828 w 3001233"/>
                  <a:gd name="connsiteY54" fmla="*/ 173165 h 208026"/>
                  <a:gd name="connsiteX55" fmla="*/ 2521649 w 3001233"/>
                  <a:gd name="connsiteY55" fmla="*/ 173165 h 208026"/>
                  <a:gd name="connsiteX56" fmla="*/ 2521649 w 3001233"/>
                  <a:gd name="connsiteY56" fmla="*/ 208026 h 208026"/>
                  <a:gd name="connsiteX57" fmla="*/ 3001233 w 3001233"/>
                  <a:gd name="connsiteY57" fmla="*/ 208026 h 208026"/>
                  <a:gd name="connsiteX0" fmla="*/ 0 w 2952846"/>
                  <a:gd name="connsiteY0" fmla="*/ 0 h 201930"/>
                  <a:gd name="connsiteX1" fmla="*/ 0 w 2952846"/>
                  <a:gd name="connsiteY1" fmla="*/ 6001 h 201930"/>
                  <a:gd name="connsiteX2" fmla="*/ 14669 w 2952846"/>
                  <a:gd name="connsiteY2" fmla="*/ 6001 h 201930"/>
                  <a:gd name="connsiteX3" fmla="*/ 14669 w 2952846"/>
                  <a:gd name="connsiteY3" fmla="*/ 12097 h 201930"/>
                  <a:gd name="connsiteX4" fmla="*/ 44196 w 2952846"/>
                  <a:gd name="connsiteY4" fmla="*/ 12097 h 201930"/>
                  <a:gd name="connsiteX5" fmla="*/ 44196 w 2952846"/>
                  <a:gd name="connsiteY5" fmla="*/ 18193 h 201930"/>
                  <a:gd name="connsiteX6" fmla="*/ 46292 w 2952846"/>
                  <a:gd name="connsiteY6" fmla="*/ 18193 h 201930"/>
                  <a:gd name="connsiteX7" fmla="*/ 46292 w 2952846"/>
                  <a:gd name="connsiteY7" fmla="*/ 24194 h 201930"/>
                  <a:gd name="connsiteX8" fmla="*/ 69342 w 2952846"/>
                  <a:gd name="connsiteY8" fmla="*/ 24194 h 201930"/>
                  <a:gd name="connsiteX9" fmla="*/ 69342 w 2952846"/>
                  <a:gd name="connsiteY9" fmla="*/ 30290 h 201930"/>
                  <a:gd name="connsiteX10" fmla="*/ 82011 w 2952846"/>
                  <a:gd name="connsiteY10" fmla="*/ 30290 h 201930"/>
                  <a:gd name="connsiteX11" fmla="*/ 82011 w 2952846"/>
                  <a:gd name="connsiteY11" fmla="*/ 36386 h 201930"/>
                  <a:gd name="connsiteX12" fmla="*/ 117729 w 2952846"/>
                  <a:gd name="connsiteY12" fmla="*/ 36386 h 201930"/>
                  <a:gd name="connsiteX13" fmla="*/ 117729 w 2952846"/>
                  <a:gd name="connsiteY13" fmla="*/ 42482 h 201930"/>
                  <a:gd name="connsiteX14" fmla="*/ 233458 w 2952846"/>
                  <a:gd name="connsiteY14" fmla="*/ 42482 h 201930"/>
                  <a:gd name="connsiteX15" fmla="*/ 233458 w 2952846"/>
                  <a:gd name="connsiteY15" fmla="*/ 48483 h 201930"/>
                  <a:gd name="connsiteX16" fmla="*/ 271272 w 2952846"/>
                  <a:gd name="connsiteY16" fmla="*/ 48483 h 201930"/>
                  <a:gd name="connsiteX17" fmla="*/ 271272 w 2952846"/>
                  <a:gd name="connsiteY17" fmla="*/ 54674 h 201930"/>
                  <a:gd name="connsiteX18" fmla="*/ 323850 w 2952846"/>
                  <a:gd name="connsiteY18" fmla="*/ 54674 h 201930"/>
                  <a:gd name="connsiteX19" fmla="*/ 323850 w 2952846"/>
                  <a:gd name="connsiteY19" fmla="*/ 60770 h 201930"/>
                  <a:gd name="connsiteX20" fmla="*/ 342805 w 2952846"/>
                  <a:gd name="connsiteY20" fmla="*/ 60770 h 201930"/>
                  <a:gd name="connsiteX21" fmla="*/ 342805 w 2952846"/>
                  <a:gd name="connsiteY21" fmla="*/ 66866 h 201930"/>
                  <a:gd name="connsiteX22" fmla="*/ 353283 w 2952846"/>
                  <a:gd name="connsiteY22" fmla="*/ 66866 h 201930"/>
                  <a:gd name="connsiteX23" fmla="*/ 353283 w 2952846"/>
                  <a:gd name="connsiteY23" fmla="*/ 73057 h 201930"/>
                  <a:gd name="connsiteX24" fmla="*/ 387001 w 2952846"/>
                  <a:gd name="connsiteY24" fmla="*/ 73057 h 201930"/>
                  <a:gd name="connsiteX25" fmla="*/ 387001 w 2952846"/>
                  <a:gd name="connsiteY25" fmla="*/ 79153 h 201930"/>
                  <a:gd name="connsiteX26" fmla="*/ 393288 w 2952846"/>
                  <a:gd name="connsiteY26" fmla="*/ 79153 h 201930"/>
                  <a:gd name="connsiteX27" fmla="*/ 393288 w 2952846"/>
                  <a:gd name="connsiteY27" fmla="*/ 85249 h 201930"/>
                  <a:gd name="connsiteX28" fmla="*/ 407956 w 2952846"/>
                  <a:gd name="connsiteY28" fmla="*/ 85249 h 201930"/>
                  <a:gd name="connsiteX29" fmla="*/ 407956 w 2952846"/>
                  <a:gd name="connsiteY29" fmla="*/ 91345 h 201930"/>
                  <a:gd name="connsiteX30" fmla="*/ 420624 w 2952846"/>
                  <a:gd name="connsiteY30" fmla="*/ 91345 h 201930"/>
                  <a:gd name="connsiteX31" fmla="*/ 420624 w 2952846"/>
                  <a:gd name="connsiteY31" fmla="*/ 97536 h 201930"/>
                  <a:gd name="connsiteX32" fmla="*/ 445866 w 2952846"/>
                  <a:gd name="connsiteY32" fmla="*/ 97536 h 201930"/>
                  <a:gd name="connsiteX33" fmla="*/ 445866 w 2952846"/>
                  <a:gd name="connsiteY33" fmla="*/ 103632 h 201930"/>
                  <a:gd name="connsiteX34" fmla="*/ 675132 w 2952846"/>
                  <a:gd name="connsiteY34" fmla="*/ 103632 h 201930"/>
                  <a:gd name="connsiteX35" fmla="*/ 675132 w 2952846"/>
                  <a:gd name="connsiteY35" fmla="*/ 109824 h 201930"/>
                  <a:gd name="connsiteX36" fmla="*/ 788670 w 2952846"/>
                  <a:gd name="connsiteY36" fmla="*/ 109824 h 201930"/>
                  <a:gd name="connsiteX37" fmla="*/ 788670 w 2952846"/>
                  <a:gd name="connsiteY37" fmla="*/ 116015 h 201930"/>
                  <a:gd name="connsiteX38" fmla="*/ 1057847 w 2952846"/>
                  <a:gd name="connsiteY38" fmla="*/ 116015 h 201930"/>
                  <a:gd name="connsiteX39" fmla="*/ 1057847 w 2952846"/>
                  <a:gd name="connsiteY39" fmla="*/ 122301 h 201930"/>
                  <a:gd name="connsiteX40" fmla="*/ 1131475 w 2952846"/>
                  <a:gd name="connsiteY40" fmla="*/ 122301 h 201930"/>
                  <a:gd name="connsiteX41" fmla="*/ 1131475 w 2952846"/>
                  <a:gd name="connsiteY41" fmla="*/ 128588 h 201930"/>
                  <a:gd name="connsiteX42" fmla="*/ 1211390 w 2952846"/>
                  <a:gd name="connsiteY42" fmla="*/ 128588 h 201930"/>
                  <a:gd name="connsiteX43" fmla="*/ 1211390 w 2952846"/>
                  <a:gd name="connsiteY43" fmla="*/ 134874 h 201930"/>
                  <a:gd name="connsiteX44" fmla="*/ 1373315 w 2952846"/>
                  <a:gd name="connsiteY44" fmla="*/ 134874 h 201930"/>
                  <a:gd name="connsiteX45" fmla="*/ 1373315 w 2952846"/>
                  <a:gd name="connsiteY45" fmla="*/ 141351 h 201930"/>
                  <a:gd name="connsiteX46" fmla="*/ 1390174 w 2952846"/>
                  <a:gd name="connsiteY46" fmla="*/ 141351 h 201930"/>
                  <a:gd name="connsiteX47" fmla="*/ 1390174 w 2952846"/>
                  <a:gd name="connsiteY47" fmla="*/ 147733 h 201930"/>
                  <a:gd name="connsiteX48" fmla="*/ 1507998 w 2952846"/>
                  <a:gd name="connsiteY48" fmla="*/ 147733 h 201930"/>
                  <a:gd name="connsiteX49" fmla="*/ 1507998 w 2952846"/>
                  <a:gd name="connsiteY49" fmla="*/ 154210 h 201930"/>
                  <a:gd name="connsiteX50" fmla="*/ 1600486 w 2952846"/>
                  <a:gd name="connsiteY50" fmla="*/ 154210 h 201930"/>
                  <a:gd name="connsiteX51" fmla="*/ 1600486 w 2952846"/>
                  <a:gd name="connsiteY51" fmla="*/ 160592 h 201930"/>
                  <a:gd name="connsiteX52" fmla="*/ 1619441 w 2952846"/>
                  <a:gd name="connsiteY52" fmla="*/ 160592 h 201930"/>
                  <a:gd name="connsiteX53" fmla="*/ 1619441 w 2952846"/>
                  <a:gd name="connsiteY53" fmla="*/ 167069 h 201930"/>
                  <a:gd name="connsiteX54" fmla="*/ 2473262 w 2952846"/>
                  <a:gd name="connsiteY54" fmla="*/ 167069 h 201930"/>
                  <a:gd name="connsiteX55" fmla="*/ 2473262 w 2952846"/>
                  <a:gd name="connsiteY55" fmla="*/ 201930 h 201930"/>
                  <a:gd name="connsiteX56" fmla="*/ 2952846 w 2952846"/>
                  <a:gd name="connsiteY56" fmla="*/ 201930 h 201930"/>
                  <a:gd name="connsiteX0" fmla="*/ 0 w 2952846"/>
                  <a:gd name="connsiteY0" fmla="*/ 0 h 201930"/>
                  <a:gd name="connsiteX1" fmla="*/ 14669 w 2952846"/>
                  <a:gd name="connsiteY1" fmla="*/ 6001 h 201930"/>
                  <a:gd name="connsiteX2" fmla="*/ 14669 w 2952846"/>
                  <a:gd name="connsiteY2" fmla="*/ 12097 h 201930"/>
                  <a:gd name="connsiteX3" fmla="*/ 44196 w 2952846"/>
                  <a:gd name="connsiteY3" fmla="*/ 12097 h 201930"/>
                  <a:gd name="connsiteX4" fmla="*/ 44196 w 2952846"/>
                  <a:gd name="connsiteY4" fmla="*/ 18193 h 201930"/>
                  <a:gd name="connsiteX5" fmla="*/ 46292 w 2952846"/>
                  <a:gd name="connsiteY5" fmla="*/ 18193 h 201930"/>
                  <a:gd name="connsiteX6" fmla="*/ 46292 w 2952846"/>
                  <a:gd name="connsiteY6" fmla="*/ 24194 h 201930"/>
                  <a:gd name="connsiteX7" fmla="*/ 69342 w 2952846"/>
                  <a:gd name="connsiteY7" fmla="*/ 24194 h 201930"/>
                  <a:gd name="connsiteX8" fmla="*/ 69342 w 2952846"/>
                  <a:gd name="connsiteY8" fmla="*/ 30290 h 201930"/>
                  <a:gd name="connsiteX9" fmla="*/ 82011 w 2952846"/>
                  <a:gd name="connsiteY9" fmla="*/ 30290 h 201930"/>
                  <a:gd name="connsiteX10" fmla="*/ 82011 w 2952846"/>
                  <a:gd name="connsiteY10" fmla="*/ 36386 h 201930"/>
                  <a:gd name="connsiteX11" fmla="*/ 117729 w 2952846"/>
                  <a:gd name="connsiteY11" fmla="*/ 36386 h 201930"/>
                  <a:gd name="connsiteX12" fmla="*/ 117729 w 2952846"/>
                  <a:gd name="connsiteY12" fmla="*/ 42482 h 201930"/>
                  <a:gd name="connsiteX13" fmla="*/ 233458 w 2952846"/>
                  <a:gd name="connsiteY13" fmla="*/ 42482 h 201930"/>
                  <a:gd name="connsiteX14" fmla="*/ 233458 w 2952846"/>
                  <a:gd name="connsiteY14" fmla="*/ 48483 h 201930"/>
                  <a:gd name="connsiteX15" fmla="*/ 271272 w 2952846"/>
                  <a:gd name="connsiteY15" fmla="*/ 48483 h 201930"/>
                  <a:gd name="connsiteX16" fmla="*/ 271272 w 2952846"/>
                  <a:gd name="connsiteY16" fmla="*/ 54674 h 201930"/>
                  <a:gd name="connsiteX17" fmla="*/ 323850 w 2952846"/>
                  <a:gd name="connsiteY17" fmla="*/ 54674 h 201930"/>
                  <a:gd name="connsiteX18" fmla="*/ 323850 w 2952846"/>
                  <a:gd name="connsiteY18" fmla="*/ 60770 h 201930"/>
                  <a:gd name="connsiteX19" fmla="*/ 342805 w 2952846"/>
                  <a:gd name="connsiteY19" fmla="*/ 60770 h 201930"/>
                  <a:gd name="connsiteX20" fmla="*/ 342805 w 2952846"/>
                  <a:gd name="connsiteY20" fmla="*/ 66866 h 201930"/>
                  <a:gd name="connsiteX21" fmla="*/ 353283 w 2952846"/>
                  <a:gd name="connsiteY21" fmla="*/ 66866 h 201930"/>
                  <a:gd name="connsiteX22" fmla="*/ 353283 w 2952846"/>
                  <a:gd name="connsiteY22" fmla="*/ 73057 h 201930"/>
                  <a:gd name="connsiteX23" fmla="*/ 387001 w 2952846"/>
                  <a:gd name="connsiteY23" fmla="*/ 73057 h 201930"/>
                  <a:gd name="connsiteX24" fmla="*/ 387001 w 2952846"/>
                  <a:gd name="connsiteY24" fmla="*/ 79153 h 201930"/>
                  <a:gd name="connsiteX25" fmla="*/ 393288 w 2952846"/>
                  <a:gd name="connsiteY25" fmla="*/ 79153 h 201930"/>
                  <a:gd name="connsiteX26" fmla="*/ 393288 w 2952846"/>
                  <a:gd name="connsiteY26" fmla="*/ 85249 h 201930"/>
                  <a:gd name="connsiteX27" fmla="*/ 407956 w 2952846"/>
                  <a:gd name="connsiteY27" fmla="*/ 85249 h 201930"/>
                  <a:gd name="connsiteX28" fmla="*/ 407956 w 2952846"/>
                  <a:gd name="connsiteY28" fmla="*/ 91345 h 201930"/>
                  <a:gd name="connsiteX29" fmla="*/ 420624 w 2952846"/>
                  <a:gd name="connsiteY29" fmla="*/ 91345 h 201930"/>
                  <a:gd name="connsiteX30" fmla="*/ 420624 w 2952846"/>
                  <a:gd name="connsiteY30" fmla="*/ 97536 h 201930"/>
                  <a:gd name="connsiteX31" fmla="*/ 445866 w 2952846"/>
                  <a:gd name="connsiteY31" fmla="*/ 97536 h 201930"/>
                  <a:gd name="connsiteX32" fmla="*/ 445866 w 2952846"/>
                  <a:gd name="connsiteY32" fmla="*/ 103632 h 201930"/>
                  <a:gd name="connsiteX33" fmla="*/ 675132 w 2952846"/>
                  <a:gd name="connsiteY33" fmla="*/ 103632 h 201930"/>
                  <a:gd name="connsiteX34" fmla="*/ 675132 w 2952846"/>
                  <a:gd name="connsiteY34" fmla="*/ 109824 h 201930"/>
                  <a:gd name="connsiteX35" fmla="*/ 788670 w 2952846"/>
                  <a:gd name="connsiteY35" fmla="*/ 109824 h 201930"/>
                  <a:gd name="connsiteX36" fmla="*/ 788670 w 2952846"/>
                  <a:gd name="connsiteY36" fmla="*/ 116015 h 201930"/>
                  <a:gd name="connsiteX37" fmla="*/ 1057847 w 2952846"/>
                  <a:gd name="connsiteY37" fmla="*/ 116015 h 201930"/>
                  <a:gd name="connsiteX38" fmla="*/ 1057847 w 2952846"/>
                  <a:gd name="connsiteY38" fmla="*/ 122301 h 201930"/>
                  <a:gd name="connsiteX39" fmla="*/ 1131475 w 2952846"/>
                  <a:gd name="connsiteY39" fmla="*/ 122301 h 201930"/>
                  <a:gd name="connsiteX40" fmla="*/ 1131475 w 2952846"/>
                  <a:gd name="connsiteY40" fmla="*/ 128588 h 201930"/>
                  <a:gd name="connsiteX41" fmla="*/ 1211390 w 2952846"/>
                  <a:gd name="connsiteY41" fmla="*/ 128588 h 201930"/>
                  <a:gd name="connsiteX42" fmla="*/ 1211390 w 2952846"/>
                  <a:gd name="connsiteY42" fmla="*/ 134874 h 201930"/>
                  <a:gd name="connsiteX43" fmla="*/ 1373315 w 2952846"/>
                  <a:gd name="connsiteY43" fmla="*/ 134874 h 201930"/>
                  <a:gd name="connsiteX44" fmla="*/ 1373315 w 2952846"/>
                  <a:gd name="connsiteY44" fmla="*/ 141351 h 201930"/>
                  <a:gd name="connsiteX45" fmla="*/ 1390174 w 2952846"/>
                  <a:gd name="connsiteY45" fmla="*/ 141351 h 201930"/>
                  <a:gd name="connsiteX46" fmla="*/ 1390174 w 2952846"/>
                  <a:gd name="connsiteY46" fmla="*/ 147733 h 201930"/>
                  <a:gd name="connsiteX47" fmla="*/ 1507998 w 2952846"/>
                  <a:gd name="connsiteY47" fmla="*/ 147733 h 201930"/>
                  <a:gd name="connsiteX48" fmla="*/ 1507998 w 2952846"/>
                  <a:gd name="connsiteY48" fmla="*/ 154210 h 201930"/>
                  <a:gd name="connsiteX49" fmla="*/ 1600486 w 2952846"/>
                  <a:gd name="connsiteY49" fmla="*/ 154210 h 201930"/>
                  <a:gd name="connsiteX50" fmla="*/ 1600486 w 2952846"/>
                  <a:gd name="connsiteY50" fmla="*/ 160592 h 201930"/>
                  <a:gd name="connsiteX51" fmla="*/ 1619441 w 2952846"/>
                  <a:gd name="connsiteY51" fmla="*/ 160592 h 201930"/>
                  <a:gd name="connsiteX52" fmla="*/ 1619441 w 2952846"/>
                  <a:gd name="connsiteY52" fmla="*/ 167069 h 201930"/>
                  <a:gd name="connsiteX53" fmla="*/ 2473262 w 2952846"/>
                  <a:gd name="connsiteY53" fmla="*/ 167069 h 201930"/>
                  <a:gd name="connsiteX54" fmla="*/ 2473262 w 2952846"/>
                  <a:gd name="connsiteY54" fmla="*/ 201930 h 201930"/>
                  <a:gd name="connsiteX55" fmla="*/ 2952846 w 2952846"/>
                  <a:gd name="connsiteY55" fmla="*/ 201930 h 201930"/>
                  <a:gd name="connsiteX0" fmla="*/ 0 w 2938177"/>
                  <a:gd name="connsiteY0" fmla="*/ 0 h 195929"/>
                  <a:gd name="connsiteX1" fmla="*/ 0 w 2938177"/>
                  <a:gd name="connsiteY1" fmla="*/ 6096 h 195929"/>
                  <a:gd name="connsiteX2" fmla="*/ 29527 w 2938177"/>
                  <a:gd name="connsiteY2" fmla="*/ 6096 h 195929"/>
                  <a:gd name="connsiteX3" fmla="*/ 29527 w 2938177"/>
                  <a:gd name="connsiteY3" fmla="*/ 12192 h 195929"/>
                  <a:gd name="connsiteX4" fmla="*/ 31623 w 2938177"/>
                  <a:gd name="connsiteY4" fmla="*/ 12192 h 195929"/>
                  <a:gd name="connsiteX5" fmla="*/ 31623 w 2938177"/>
                  <a:gd name="connsiteY5" fmla="*/ 18193 h 195929"/>
                  <a:gd name="connsiteX6" fmla="*/ 54673 w 2938177"/>
                  <a:gd name="connsiteY6" fmla="*/ 18193 h 195929"/>
                  <a:gd name="connsiteX7" fmla="*/ 54673 w 2938177"/>
                  <a:gd name="connsiteY7" fmla="*/ 24289 h 195929"/>
                  <a:gd name="connsiteX8" fmla="*/ 67342 w 2938177"/>
                  <a:gd name="connsiteY8" fmla="*/ 24289 h 195929"/>
                  <a:gd name="connsiteX9" fmla="*/ 67342 w 2938177"/>
                  <a:gd name="connsiteY9" fmla="*/ 30385 h 195929"/>
                  <a:gd name="connsiteX10" fmla="*/ 103060 w 2938177"/>
                  <a:gd name="connsiteY10" fmla="*/ 30385 h 195929"/>
                  <a:gd name="connsiteX11" fmla="*/ 103060 w 2938177"/>
                  <a:gd name="connsiteY11" fmla="*/ 36481 h 195929"/>
                  <a:gd name="connsiteX12" fmla="*/ 218789 w 2938177"/>
                  <a:gd name="connsiteY12" fmla="*/ 36481 h 195929"/>
                  <a:gd name="connsiteX13" fmla="*/ 218789 w 2938177"/>
                  <a:gd name="connsiteY13" fmla="*/ 42482 h 195929"/>
                  <a:gd name="connsiteX14" fmla="*/ 256603 w 2938177"/>
                  <a:gd name="connsiteY14" fmla="*/ 42482 h 195929"/>
                  <a:gd name="connsiteX15" fmla="*/ 256603 w 2938177"/>
                  <a:gd name="connsiteY15" fmla="*/ 48673 h 195929"/>
                  <a:gd name="connsiteX16" fmla="*/ 309181 w 2938177"/>
                  <a:gd name="connsiteY16" fmla="*/ 48673 h 195929"/>
                  <a:gd name="connsiteX17" fmla="*/ 309181 w 2938177"/>
                  <a:gd name="connsiteY17" fmla="*/ 54769 h 195929"/>
                  <a:gd name="connsiteX18" fmla="*/ 328136 w 2938177"/>
                  <a:gd name="connsiteY18" fmla="*/ 54769 h 195929"/>
                  <a:gd name="connsiteX19" fmla="*/ 328136 w 2938177"/>
                  <a:gd name="connsiteY19" fmla="*/ 60865 h 195929"/>
                  <a:gd name="connsiteX20" fmla="*/ 338614 w 2938177"/>
                  <a:gd name="connsiteY20" fmla="*/ 60865 h 195929"/>
                  <a:gd name="connsiteX21" fmla="*/ 338614 w 2938177"/>
                  <a:gd name="connsiteY21" fmla="*/ 67056 h 195929"/>
                  <a:gd name="connsiteX22" fmla="*/ 372332 w 2938177"/>
                  <a:gd name="connsiteY22" fmla="*/ 67056 h 195929"/>
                  <a:gd name="connsiteX23" fmla="*/ 372332 w 2938177"/>
                  <a:gd name="connsiteY23" fmla="*/ 73152 h 195929"/>
                  <a:gd name="connsiteX24" fmla="*/ 378619 w 2938177"/>
                  <a:gd name="connsiteY24" fmla="*/ 73152 h 195929"/>
                  <a:gd name="connsiteX25" fmla="*/ 378619 w 2938177"/>
                  <a:gd name="connsiteY25" fmla="*/ 79248 h 195929"/>
                  <a:gd name="connsiteX26" fmla="*/ 393287 w 2938177"/>
                  <a:gd name="connsiteY26" fmla="*/ 79248 h 195929"/>
                  <a:gd name="connsiteX27" fmla="*/ 393287 w 2938177"/>
                  <a:gd name="connsiteY27" fmla="*/ 85344 h 195929"/>
                  <a:gd name="connsiteX28" fmla="*/ 405955 w 2938177"/>
                  <a:gd name="connsiteY28" fmla="*/ 85344 h 195929"/>
                  <a:gd name="connsiteX29" fmla="*/ 405955 w 2938177"/>
                  <a:gd name="connsiteY29" fmla="*/ 91535 h 195929"/>
                  <a:gd name="connsiteX30" fmla="*/ 431197 w 2938177"/>
                  <a:gd name="connsiteY30" fmla="*/ 91535 h 195929"/>
                  <a:gd name="connsiteX31" fmla="*/ 431197 w 2938177"/>
                  <a:gd name="connsiteY31" fmla="*/ 97631 h 195929"/>
                  <a:gd name="connsiteX32" fmla="*/ 660463 w 2938177"/>
                  <a:gd name="connsiteY32" fmla="*/ 97631 h 195929"/>
                  <a:gd name="connsiteX33" fmla="*/ 660463 w 2938177"/>
                  <a:gd name="connsiteY33" fmla="*/ 103823 h 195929"/>
                  <a:gd name="connsiteX34" fmla="*/ 774001 w 2938177"/>
                  <a:gd name="connsiteY34" fmla="*/ 103823 h 195929"/>
                  <a:gd name="connsiteX35" fmla="*/ 774001 w 2938177"/>
                  <a:gd name="connsiteY35" fmla="*/ 110014 h 195929"/>
                  <a:gd name="connsiteX36" fmla="*/ 1043178 w 2938177"/>
                  <a:gd name="connsiteY36" fmla="*/ 110014 h 195929"/>
                  <a:gd name="connsiteX37" fmla="*/ 1043178 w 2938177"/>
                  <a:gd name="connsiteY37" fmla="*/ 116300 h 195929"/>
                  <a:gd name="connsiteX38" fmla="*/ 1116806 w 2938177"/>
                  <a:gd name="connsiteY38" fmla="*/ 116300 h 195929"/>
                  <a:gd name="connsiteX39" fmla="*/ 1116806 w 2938177"/>
                  <a:gd name="connsiteY39" fmla="*/ 122587 h 195929"/>
                  <a:gd name="connsiteX40" fmla="*/ 1196721 w 2938177"/>
                  <a:gd name="connsiteY40" fmla="*/ 122587 h 195929"/>
                  <a:gd name="connsiteX41" fmla="*/ 1196721 w 2938177"/>
                  <a:gd name="connsiteY41" fmla="*/ 128873 h 195929"/>
                  <a:gd name="connsiteX42" fmla="*/ 1358646 w 2938177"/>
                  <a:gd name="connsiteY42" fmla="*/ 128873 h 195929"/>
                  <a:gd name="connsiteX43" fmla="*/ 1358646 w 2938177"/>
                  <a:gd name="connsiteY43" fmla="*/ 135350 h 195929"/>
                  <a:gd name="connsiteX44" fmla="*/ 1375505 w 2938177"/>
                  <a:gd name="connsiteY44" fmla="*/ 135350 h 195929"/>
                  <a:gd name="connsiteX45" fmla="*/ 1375505 w 2938177"/>
                  <a:gd name="connsiteY45" fmla="*/ 141732 h 195929"/>
                  <a:gd name="connsiteX46" fmla="*/ 1493329 w 2938177"/>
                  <a:gd name="connsiteY46" fmla="*/ 141732 h 195929"/>
                  <a:gd name="connsiteX47" fmla="*/ 1493329 w 2938177"/>
                  <a:gd name="connsiteY47" fmla="*/ 148209 h 195929"/>
                  <a:gd name="connsiteX48" fmla="*/ 1585817 w 2938177"/>
                  <a:gd name="connsiteY48" fmla="*/ 148209 h 195929"/>
                  <a:gd name="connsiteX49" fmla="*/ 1585817 w 2938177"/>
                  <a:gd name="connsiteY49" fmla="*/ 154591 h 195929"/>
                  <a:gd name="connsiteX50" fmla="*/ 1604772 w 2938177"/>
                  <a:gd name="connsiteY50" fmla="*/ 154591 h 195929"/>
                  <a:gd name="connsiteX51" fmla="*/ 1604772 w 2938177"/>
                  <a:gd name="connsiteY51" fmla="*/ 161068 h 195929"/>
                  <a:gd name="connsiteX52" fmla="*/ 2458593 w 2938177"/>
                  <a:gd name="connsiteY52" fmla="*/ 161068 h 195929"/>
                  <a:gd name="connsiteX53" fmla="*/ 2458593 w 2938177"/>
                  <a:gd name="connsiteY53" fmla="*/ 195929 h 195929"/>
                  <a:gd name="connsiteX54" fmla="*/ 2938177 w 2938177"/>
                  <a:gd name="connsiteY54" fmla="*/ 195929 h 195929"/>
                  <a:gd name="connsiteX0" fmla="*/ 0 w 2938177"/>
                  <a:gd name="connsiteY0" fmla="*/ 0 h 195929"/>
                  <a:gd name="connsiteX1" fmla="*/ 29527 w 2938177"/>
                  <a:gd name="connsiteY1" fmla="*/ 6096 h 195929"/>
                  <a:gd name="connsiteX2" fmla="*/ 29527 w 2938177"/>
                  <a:gd name="connsiteY2" fmla="*/ 12192 h 195929"/>
                  <a:gd name="connsiteX3" fmla="*/ 31623 w 2938177"/>
                  <a:gd name="connsiteY3" fmla="*/ 12192 h 195929"/>
                  <a:gd name="connsiteX4" fmla="*/ 31623 w 2938177"/>
                  <a:gd name="connsiteY4" fmla="*/ 18193 h 195929"/>
                  <a:gd name="connsiteX5" fmla="*/ 54673 w 2938177"/>
                  <a:gd name="connsiteY5" fmla="*/ 18193 h 195929"/>
                  <a:gd name="connsiteX6" fmla="*/ 54673 w 2938177"/>
                  <a:gd name="connsiteY6" fmla="*/ 24289 h 195929"/>
                  <a:gd name="connsiteX7" fmla="*/ 67342 w 2938177"/>
                  <a:gd name="connsiteY7" fmla="*/ 24289 h 195929"/>
                  <a:gd name="connsiteX8" fmla="*/ 67342 w 2938177"/>
                  <a:gd name="connsiteY8" fmla="*/ 30385 h 195929"/>
                  <a:gd name="connsiteX9" fmla="*/ 103060 w 2938177"/>
                  <a:gd name="connsiteY9" fmla="*/ 30385 h 195929"/>
                  <a:gd name="connsiteX10" fmla="*/ 103060 w 2938177"/>
                  <a:gd name="connsiteY10" fmla="*/ 36481 h 195929"/>
                  <a:gd name="connsiteX11" fmla="*/ 218789 w 2938177"/>
                  <a:gd name="connsiteY11" fmla="*/ 36481 h 195929"/>
                  <a:gd name="connsiteX12" fmla="*/ 218789 w 2938177"/>
                  <a:gd name="connsiteY12" fmla="*/ 42482 h 195929"/>
                  <a:gd name="connsiteX13" fmla="*/ 256603 w 2938177"/>
                  <a:gd name="connsiteY13" fmla="*/ 42482 h 195929"/>
                  <a:gd name="connsiteX14" fmla="*/ 256603 w 2938177"/>
                  <a:gd name="connsiteY14" fmla="*/ 48673 h 195929"/>
                  <a:gd name="connsiteX15" fmla="*/ 309181 w 2938177"/>
                  <a:gd name="connsiteY15" fmla="*/ 48673 h 195929"/>
                  <a:gd name="connsiteX16" fmla="*/ 309181 w 2938177"/>
                  <a:gd name="connsiteY16" fmla="*/ 54769 h 195929"/>
                  <a:gd name="connsiteX17" fmla="*/ 328136 w 2938177"/>
                  <a:gd name="connsiteY17" fmla="*/ 54769 h 195929"/>
                  <a:gd name="connsiteX18" fmla="*/ 328136 w 2938177"/>
                  <a:gd name="connsiteY18" fmla="*/ 60865 h 195929"/>
                  <a:gd name="connsiteX19" fmla="*/ 338614 w 2938177"/>
                  <a:gd name="connsiteY19" fmla="*/ 60865 h 195929"/>
                  <a:gd name="connsiteX20" fmla="*/ 338614 w 2938177"/>
                  <a:gd name="connsiteY20" fmla="*/ 67056 h 195929"/>
                  <a:gd name="connsiteX21" fmla="*/ 372332 w 2938177"/>
                  <a:gd name="connsiteY21" fmla="*/ 67056 h 195929"/>
                  <a:gd name="connsiteX22" fmla="*/ 372332 w 2938177"/>
                  <a:gd name="connsiteY22" fmla="*/ 73152 h 195929"/>
                  <a:gd name="connsiteX23" fmla="*/ 378619 w 2938177"/>
                  <a:gd name="connsiteY23" fmla="*/ 73152 h 195929"/>
                  <a:gd name="connsiteX24" fmla="*/ 378619 w 2938177"/>
                  <a:gd name="connsiteY24" fmla="*/ 79248 h 195929"/>
                  <a:gd name="connsiteX25" fmla="*/ 393287 w 2938177"/>
                  <a:gd name="connsiteY25" fmla="*/ 79248 h 195929"/>
                  <a:gd name="connsiteX26" fmla="*/ 393287 w 2938177"/>
                  <a:gd name="connsiteY26" fmla="*/ 85344 h 195929"/>
                  <a:gd name="connsiteX27" fmla="*/ 405955 w 2938177"/>
                  <a:gd name="connsiteY27" fmla="*/ 85344 h 195929"/>
                  <a:gd name="connsiteX28" fmla="*/ 405955 w 2938177"/>
                  <a:gd name="connsiteY28" fmla="*/ 91535 h 195929"/>
                  <a:gd name="connsiteX29" fmla="*/ 431197 w 2938177"/>
                  <a:gd name="connsiteY29" fmla="*/ 91535 h 195929"/>
                  <a:gd name="connsiteX30" fmla="*/ 431197 w 2938177"/>
                  <a:gd name="connsiteY30" fmla="*/ 97631 h 195929"/>
                  <a:gd name="connsiteX31" fmla="*/ 660463 w 2938177"/>
                  <a:gd name="connsiteY31" fmla="*/ 97631 h 195929"/>
                  <a:gd name="connsiteX32" fmla="*/ 660463 w 2938177"/>
                  <a:gd name="connsiteY32" fmla="*/ 103823 h 195929"/>
                  <a:gd name="connsiteX33" fmla="*/ 774001 w 2938177"/>
                  <a:gd name="connsiteY33" fmla="*/ 103823 h 195929"/>
                  <a:gd name="connsiteX34" fmla="*/ 774001 w 2938177"/>
                  <a:gd name="connsiteY34" fmla="*/ 110014 h 195929"/>
                  <a:gd name="connsiteX35" fmla="*/ 1043178 w 2938177"/>
                  <a:gd name="connsiteY35" fmla="*/ 110014 h 195929"/>
                  <a:gd name="connsiteX36" fmla="*/ 1043178 w 2938177"/>
                  <a:gd name="connsiteY36" fmla="*/ 116300 h 195929"/>
                  <a:gd name="connsiteX37" fmla="*/ 1116806 w 2938177"/>
                  <a:gd name="connsiteY37" fmla="*/ 116300 h 195929"/>
                  <a:gd name="connsiteX38" fmla="*/ 1116806 w 2938177"/>
                  <a:gd name="connsiteY38" fmla="*/ 122587 h 195929"/>
                  <a:gd name="connsiteX39" fmla="*/ 1196721 w 2938177"/>
                  <a:gd name="connsiteY39" fmla="*/ 122587 h 195929"/>
                  <a:gd name="connsiteX40" fmla="*/ 1196721 w 2938177"/>
                  <a:gd name="connsiteY40" fmla="*/ 128873 h 195929"/>
                  <a:gd name="connsiteX41" fmla="*/ 1358646 w 2938177"/>
                  <a:gd name="connsiteY41" fmla="*/ 128873 h 195929"/>
                  <a:gd name="connsiteX42" fmla="*/ 1358646 w 2938177"/>
                  <a:gd name="connsiteY42" fmla="*/ 135350 h 195929"/>
                  <a:gd name="connsiteX43" fmla="*/ 1375505 w 2938177"/>
                  <a:gd name="connsiteY43" fmla="*/ 135350 h 195929"/>
                  <a:gd name="connsiteX44" fmla="*/ 1375505 w 2938177"/>
                  <a:gd name="connsiteY44" fmla="*/ 141732 h 195929"/>
                  <a:gd name="connsiteX45" fmla="*/ 1493329 w 2938177"/>
                  <a:gd name="connsiteY45" fmla="*/ 141732 h 195929"/>
                  <a:gd name="connsiteX46" fmla="*/ 1493329 w 2938177"/>
                  <a:gd name="connsiteY46" fmla="*/ 148209 h 195929"/>
                  <a:gd name="connsiteX47" fmla="*/ 1585817 w 2938177"/>
                  <a:gd name="connsiteY47" fmla="*/ 148209 h 195929"/>
                  <a:gd name="connsiteX48" fmla="*/ 1585817 w 2938177"/>
                  <a:gd name="connsiteY48" fmla="*/ 154591 h 195929"/>
                  <a:gd name="connsiteX49" fmla="*/ 1604772 w 2938177"/>
                  <a:gd name="connsiteY49" fmla="*/ 154591 h 195929"/>
                  <a:gd name="connsiteX50" fmla="*/ 1604772 w 2938177"/>
                  <a:gd name="connsiteY50" fmla="*/ 161068 h 195929"/>
                  <a:gd name="connsiteX51" fmla="*/ 2458593 w 2938177"/>
                  <a:gd name="connsiteY51" fmla="*/ 161068 h 195929"/>
                  <a:gd name="connsiteX52" fmla="*/ 2458593 w 2938177"/>
                  <a:gd name="connsiteY52" fmla="*/ 195929 h 195929"/>
                  <a:gd name="connsiteX53" fmla="*/ 2938177 w 2938177"/>
                  <a:gd name="connsiteY53" fmla="*/ 195929 h 195929"/>
                  <a:gd name="connsiteX0" fmla="*/ 0 w 2908650"/>
                  <a:gd name="connsiteY0" fmla="*/ 0 h 189833"/>
                  <a:gd name="connsiteX1" fmla="*/ 0 w 2908650"/>
                  <a:gd name="connsiteY1" fmla="*/ 6096 h 189833"/>
                  <a:gd name="connsiteX2" fmla="*/ 2096 w 2908650"/>
                  <a:gd name="connsiteY2" fmla="*/ 6096 h 189833"/>
                  <a:gd name="connsiteX3" fmla="*/ 2096 w 2908650"/>
                  <a:gd name="connsiteY3" fmla="*/ 12097 h 189833"/>
                  <a:gd name="connsiteX4" fmla="*/ 25146 w 2908650"/>
                  <a:gd name="connsiteY4" fmla="*/ 12097 h 189833"/>
                  <a:gd name="connsiteX5" fmla="*/ 25146 w 2908650"/>
                  <a:gd name="connsiteY5" fmla="*/ 18193 h 189833"/>
                  <a:gd name="connsiteX6" fmla="*/ 37815 w 2908650"/>
                  <a:gd name="connsiteY6" fmla="*/ 18193 h 189833"/>
                  <a:gd name="connsiteX7" fmla="*/ 37815 w 2908650"/>
                  <a:gd name="connsiteY7" fmla="*/ 24289 h 189833"/>
                  <a:gd name="connsiteX8" fmla="*/ 73533 w 2908650"/>
                  <a:gd name="connsiteY8" fmla="*/ 24289 h 189833"/>
                  <a:gd name="connsiteX9" fmla="*/ 73533 w 2908650"/>
                  <a:gd name="connsiteY9" fmla="*/ 30385 h 189833"/>
                  <a:gd name="connsiteX10" fmla="*/ 189262 w 2908650"/>
                  <a:gd name="connsiteY10" fmla="*/ 30385 h 189833"/>
                  <a:gd name="connsiteX11" fmla="*/ 189262 w 2908650"/>
                  <a:gd name="connsiteY11" fmla="*/ 36386 h 189833"/>
                  <a:gd name="connsiteX12" fmla="*/ 227076 w 2908650"/>
                  <a:gd name="connsiteY12" fmla="*/ 36386 h 189833"/>
                  <a:gd name="connsiteX13" fmla="*/ 227076 w 2908650"/>
                  <a:gd name="connsiteY13" fmla="*/ 42577 h 189833"/>
                  <a:gd name="connsiteX14" fmla="*/ 279654 w 2908650"/>
                  <a:gd name="connsiteY14" fmla="*/ 42577 h 189833"/>
                  <a:gd name="connsiteX15" fmla="*/ 279654 w 2908650"/>
                  <a:gd name="connsiteY15" fmla="*/ 48673 h 189833"/>
                  <a:gd name="connsiteX16" fmla="*/ 298609 w 2908650"/>
                  <a:gd name="connsiteY16" fmla="*/ 48673 h 189833"/>
                  <a:gd name="connsiteX17" fmla="*/ 298609 w 2908650"/>
                  <a:gd name="connsiteY17" fmla="*/ 54769 h 189833"/>
                  <a:gd name="connsiteX18" fmla="*/ 309087 w 2908650"/>
                  <a:gd name="connsiteY18" fmla="*/ 54769 h 189833"/>
                  <a:gd name="connsiteX19" fmla="*/ 309087 w 2908650"/>
                  <a:gd name="connsiteY19" fmla="*/ 60960 h 189833"/>
                  <a:gd name="connsiteX20" fmla="*/ 342805 w 2908650"/>
                  <a:gd name="connsiteY20" fmla="*/ 60960 h 189833"/>
                  <a:gd name="connsiteX21" fmla="*/ 342805 w 2908650"/>
                  <a:gd name="connsiteY21" fmla="*/ 67056 h 189833"/>
                  <a:gd name="connsiteX22" fmla="*/ 349092 w 2908650"/>
                  <a:gd name="connsiteY22" fmla="*/ 67056 h 189833"/>
                  <a:gd name="connsiteX23" fmla="*/ 349092 w 2908650"/>
                  <a:gd name="connsiteY23" fmla="*/ 73152 h 189833"/>
                  <a:gd name="connsiteX24" fmla="*/ 363760 w 2908650"/>
                  <a:gd name="connsiteY24" fmla="*/ 73152 h 189833"/>
                  <a:gd name="connsiteX25" fmla="*/ 363760 w 2908650"/>
                  <a:gd name="connsiteY25" fmla="*/ 79248 h 189833"/>
                  <a:gd name="connsiteX26" fmla="*/ 376428 w 2908650"/>
                  <a:gd name="connsiteY26" fmla="*/ 79248 h 189833"/>
                  <a:gd name="connsiteX27" fmla="*/ 376428 w 2908650"/>
                  <a:gd name="connsiteY27" fmla="*/ 85439 h 189833"/>
                  <a:gd name="connsiteX28" fmla="*/ 401670 w 2908650"/>
                  <a:gd name="connsiteY28" fmla="*/ 85439 h 189833"/>
                  <a:gd name="connsiteX29" fmla="*/ 401670 w 2908650"/>
                  <a:gd name="connsiteY29" fmla="*/ 91535 h 189833"/>
                  <a:gd name="connsiteX30" fmla="*/ 630936 w 2908650"/>
                  <a:gd name="connsiteY30" fmla="*/ 91535 h 189833"/>
                  <a:gd name="connsiteX31" fmla="*/ 630936 w 2908650"/>
                  <a:gd name="connsiteY31" fmla="*/ 97727 h 189833"/>
                  <a:gd name="connsiteX32" fmla="*/ 744474 w 2908650"/>
                  <a:gd name="connsiteY32" fmla="*/ 97727 h 189833"/>
                  <a:gd name="connsiteX33" fmla="*/ 744474 w 2908650"/>
                  <a:gd name="connsiteY33" fmla="*/ 103918 h 189833"/>
                  <a:gd name="connsiteX34" fmla="*/ 1013651 w 2908650"/>
                  <a:gd name="connsiteY34" fmla="*/ 103918 h 189833"/>
                  <a:gd name="connsiteX35" fmla="*/ 1013651 w 2908650"/>
                  <a:gd name="connsiteY35" fmla="*/ 110204 h 189833"/>
                  <a:gd name="connsiteX36" fmla="*/ 1087279 w 2908650"/>
                  <a:gd name="connsiteY36" fmla="*/ 110204 h 189833"/>
                  <a:gd name="connsiteX37" fmla="*/ 1087279 w 2908650"/>
                  <a:gd name="connsiteY37" fmla="*/ 116491 h 189833"/>
                  <a:gd name="connsiteX38" fmla="*/ 1167194 w 2908650"/>
                  <a:gd name="connsiteY38" fmla="*/ 116491 h 189833"/>
                  <a:gd name="connsiteX39" fmla="*/ 1167194 w 2908650"/>
                  <a:gd name="connsiteY39" fmla="*/ 122777 h 189833"/>
                  <a:gd name="connsiteX40" fmla="*/ 1329119 w 2908650"/>
                  <a:gd name="connsiteY40" fmla="*/ 122777 h 189833"/>
                  <a:gd name="connsiteX41" fmla="*/ 1329119 w 2908650"/>
                  <a:gd name="connsiteY41" fmla="*/ 129254 h 189833"/>
                  <a:gd name="connsiteX42" fmla="*/ 1345978 w 2908650"/>
                  <a:gd name="connsiteY42" fmla="*/ 129254 h 189833"/>
                  <a:gd name="connsiteX43" fmla="*/ 1345978 w 2908650"/>
                  <a:gd name="connsiteY43" fmla="*/ 135636 h 189833"/>
                  <a:gd name="connsiteX44" fmla="*/ 1463802 w 2908650"/>
                  <a:gd name="connsiteY44" fmla="*/ 135636 h 189833"/>
                  <a:gd name="connsiteX45" fmla="*/ 1463802 w 2908650"/>
                  <a:gd name="connsiteY45" fmla="*/ 142113 h 189833"/>
                  <a:gd name="connsiteX46" fmla="*/ 1556290 w 2908650"/>
                  <a:gd name="connsiteY46" fmla="*/ 142113 h 189833"/>
                  <a:gd name="connsiteX47" fmla="*/ 1556290 w 2908650"/>
                  <a:gd name="connsiteY47" fmla="*/ 148495 h 189833"/>
                  <a:gd name="connsiteX48" fmla="*/ 1575245 w 2908650"/>
                  <a:gd name="connsiteY48" fmla="*/ 148495 h 189833"/>
                  <a:gd name="connsiteX49" fmla="*/ 1575245 w 2908650"/>
                  <a:gd name="connsiteY49" fmla="*/ 154972 h 189833"/>
                  <a:gd name="connsiteX50" fmla="*/ 2429066 w 2908650"/>
                  <a:gd name="connsiteY50" fmla="*/ 154972 h 189833"/>
                  <a:gd name="connsiteX51" fmla="*/ 2429066 w 2908650"/>
                  <a:gd name="connsiteY51" fmla="*/ 189833 h 189833"/>
                  <a:gd name="connsiteX52" fmla="*/ 2908650 w 2908650"/>
                  <a:gd name="connsiteY52" fmla="*/ 189833 h 189833"/>
                  <a:gd name="connsiteX0" fmla="*/ 0 w 2908650"/>
                  <a:gd name="connsiteY0" fmla="*/ 0 h 189833"/>
                  <a:gd name="connsiteX1" fmla="*/ 0 w 2908650"/>
                  <a:gd name="connsiteY1" fmla="*/ 6096 h 189833"/>
                  <a:gd name="connsiteX2" fmla="*/ 2096 w 2908650"/>
                  <a:gd name="connsiteY2" fmla="*/ 12097 h 189833"/>
                  <a:gd name="connsiteX3" fmla="*/ 25146 w 2908650"/>
                  <a:gd name="connsiteY3" fmla="*/ 12097 h 189833"/>
                  <a:gd name="connsiteX4" fmla="*/ 25146 w 2908650"/>
                  <a:gd name="connsiteY4" fmla="*/ 18193 h 189833"/>
                  <a:gd name="connsiteX5" fmla="*/ 37815 w 2908650"/>
                  <a:gd name="connsiteY5" fmla="*/ 18193 h 189833"/>
                  <a:gd name="connsiteX6" fmla="*/ 37815 w 2908650"/>
                  <a:gd name="connsiteY6" fmla="*/ 24289 h 189833"/>
                  <a:gd name="connsiteX7" fmla="*/ 73533 w 2908650"/>
                  <a:gd name="connsiteY7" fmla="*/ 24289 h 189833"/>
                  <a:gd name="connsiteX8" fmla="*/ 73533 w 2908650"/>
                  <a:gd name="connsiteY8" fmla="*/ 30385 h 189833"/>
                  <a:gd name="connsiteX9" fmla="*/ 189262 w 2908650"/>
                  <a:gd name="connsiteY9" fmla="*/ 30385 h 189833"/>
                  <a:gd name="connsiteX10" fmla="*/ 189262 w 2908650"/>
                  <a:gd name="connsiteY10" fmla="*/ 36386 h 189833"/>
                  <a:gd name="connsiteX11" fmla="*/ 227076 w 2908650"/>
                  <a:gd name="connsiteY11" fmla="*/ 36386 h 189833"/>
                  <a:gd name="connsiteX12" fmla="*/ 227076 w 2908650"/>
                  <a:gd name="connsiteY12" fmla="*/ 42577 h 189833"/>
                  <a:gd name="connsiteX13" fmla="*/ 279654 w 2908650"/>
                  <a:gd name="connsiteY13" fmla="*/ 42577 h 189833"/>
                  <a:gd name="connsiteX14" fmla="*/ 279654 w 2908650"/>
                  <a:gd name="connsiteY14" fmla="*/ 48673 h 189833"/>
                  <a:gd name="connsiteX15" fmla="*/ 298609 w 2908650"/>
                  <a:gd name="connsiteY15" fmla="*/ 48673 h 189833"/>
                  <a:gd name="connsiteX16" fmla="*/ 298609 w 2908650"/>
                  <a:gd name="connsiteY16" fmla="*/ 54769 h 189833"/>
                  <a:gd name="connsiteX17" fmla="*/ 309087 w 2908650"/>
                  <a:gd name="connsiteY17" fmla="*/ 54769 h 189833"/>
                  <a:gd name="connsiteX18" fmla="*/ 309087 w 2908650"/>
                  <a:gd name="connsiteY18" fmla="*/ 60960 h 189833"/>
                  <a:gd name="connsiteX19" fmla="*/ 342805 w 2908650"/>
                  <a:gd name="connsiteY19" fmla="*/ 60960 h 189833"/>
                  <a:gd name="connsiteX20" fmla="*/ 342805 w 2908650"/>
                  <a:gd name="connsiteY20" fmla="*/ 67056 h 189833"/>
                  <a:gd name="connsiteX21" fmla="*/ 349092 w 2908650"/>
                  <a:gd name="connsiteY21" fmla="*/ 67056 h 189833"/>
                  <a:gd name="connsiteX22" fmla="*/ 349092 w 2908650"/>
                  <a:gd name="connsiteY22" fmla="*/ 73152 h 189833"/>
                  <a:gd name="connsiteX23" fmla="*/ 363760 w 2908650"/>
                  <a:gd name="connsiteY23" fmla="*/ 73152 h 189833"/>
                  <a:gd name="connsiteX24" fmla="*/ 363760 w 2908650"/>
                  <a:gd name="connsiteY24" fmla="*/ 79248 h 189833"/>
                  <a:gd name="connsiteX25" fmla="*/ 376428 w 2908650"/>
                  <a:gd name="connsiteY25" fmla="*/ 79248 h 189833"/>
                  <a:gd name="connsiteX26" fmla="*/ 376428 w 2908650"/>
                  <a:gd name="connsiteY26" fmla="*/ 85439 h 189833"/>
                  <a:gd name="connsiteX27" fmla="*/ 401670 w 2908650"/>
                  <a:gd name="connsiteY27" fmla="*/ 85439 h 189833"/>
                  <a:gd name="connsiteX28" fmla="*/ 401670 w 2908650"/>
                  <a:gd name="connsiteY28" fmla="*/ 91535 h 189833"/>
                  <a:gd name="connsiteX29" fmla="*/ 630936 w 2908650"/>
                  <a:gd name="connsiteY29" fmla="*/ 91535 h 189833"/>
                  <a:gd name="connsiteX30" fmla="*/ 630936 w 2908650"/>
                  <a:gd name="connsiteY30" fmla="*/ 97727 h 189833"/>
                  <a:gd name="connsiteX31" fmla="*/ 744474 w 2908650"/>
                  <a:gd name="connsiteY31" fmla="*/ 97727 h 189833"/>
                  <a:gd name="connsiteX32" fmla="*/ 744474 w 2908650"/>
                  <a:gd name="connsiteY32" fmla="*/ 103918 h 189833"/>
                  <a:gd name="connsiteX33" fmla="*/ 1013651 w 2908650"/>
                  <a:gd name="connsiteY33" fmla="*/ 103918 h 189833"/>
                  <a:gd name="connsiteX34" fmla="*/ 1013651 w 2908650"/>
                  <a:gd name="connsiteY34" fmla="*/ 110204 h 189833"/>
                  <a:gd name="connsiteX35" fmla="*/ 1087279 w 2908650"/>
                  <a:gd name="connsiteY35" fmla="*/ 110204 h 189833"/>
                  <a:gd name="connsiteX36" fmla="*/ 1087279 w 2908650"/>
                  <a:gd name="connsiteY36" fmla="*/ 116491 h 189833"/>
                  <a:gd name="connsiteX37" fmla="*/ 1167194 w 2908650"/>
                  <a:gd name="connsiteY37" fmla="*/ 116491 h 189833"/>
                  <a:gd name="connsiteX38" fmla="*/ 1167194 w 2908650"/>
                  <a:gd name="connsiteY38" fmla="*/ 122777 h 189833"/>
                  <a:gd name="connsiteX39" fmla="*/ 1329119 w 2908650"/>
                  <a:gd name="connsiteY39" fmla="*/ 122777 h 189833"/>
                  <a:gd name="connsiteX40" fmla="*/ 1329119 w 2908650"/>
                  <a:gd name="connsiteY40" fmla="*/ 129254 h 189833"/>
                  <a:gd name="connsiteX41" fmla="*/ 1345978 w 2908650"/>
                  <a:gd name="connsiteY41" fmla="*/ 129254 h 189833"/>
                  <a:gd name="connsiteX42" fmla="*/ 1345978 w 2908650"/>
                  <a:gd name="connsiteY42" fmla="*/ 135636 h 189833"/>
                  <a:gd name="connsiteX43" fmla="*/ 1463802 w 2908650"/>
                  <a:gd name="connsiteY43" fmla="*/ 135636 h 189833"/>
                  <a:gd name="connsiteX44" fmla="*/ 1463802 w 2908650"/>
                  <a:gd name="connsiteY44" fmla="*/ 142113 h 189833"/>
                  <a:gd name="connsiteX45" fmla="*/ 1556290 w 2908650"/>
                  <a:gd name="connsiteY45" fmla="*/ 142113 h 189833"/>
                  <a:gd name="connsiteX46" fmla="*/ 1556290 w 2908650"/>
                  <a:gd name="connsiteY46" fmla="*/ 148495 h 189833"/>
                  <a:gd name="connsiteX47" fmla="*/ 1575245 w 2908650"/>
                  <a:gd name="connsiteY47" fmla="*/ 148495 h 189833"/>
                  <a:gd name="connsiteX48" fmla="*/ 1575245 w 2908650"/>
                  <a:gd name="connsiteY48" fmla="*/ 154972 h 189833"/>
                  <a:gd name="connsiteX49" fmla="*/ 2429066 w 2908650"/>
                  <a:gd name="connsiteY49" fmla="*/ 154972 h 189833"/>
                  <a:gd name="connsiteX50" fmla="*/ 2429066 w 2908650"/>
                  <a:gd name="connsiteY50" fmla="*/ 189833 h 189833"/>
                  <a:gd name="connsiteX51" fmla="*/ 2908650 w 2908650"/>
                  <a:gd name="connsiteY51" fmla="*/ 189833 h 189833"/>
                  <a:gd name="connsiteX0" fmla="*/ 0 w 2908650"/>
                  <a:gd name="connsiteY0" fmla="*/ 0 h 189833"/>
                  <a:gd name="connsiteX1" fmla="*/ 2096 w 2908650"/>
                  <a:gd name="connsiteY1" fmla="*/ 12097 h 189833"/>
                  <a:gd name="connsiteX2" fmla="*/ 25146 w 2908650"/>
                  <a:gd name="connsiteY2" fmla="*/ 12097 h 189833"/>
                  <a:gd name="connsiteX3" fmla="*/ 25146 w 2908650"/>
                  <a:gd name="connsiteY3" fmla="*/ 18193 h 189833"/>
                  <a:gd name="connsiteX4" fmla="*/ 37815 w 2908650"/>
                  <a:gd name="connsiteY4" fmla="*/ 18193 h 189833"/>
                  <a:gd name="connsiteX5" fmla="*/ 37815 w 2908650"/>
                  <a:gd name="connsiteY5" fmla="*/ 24289 h 189833"/>
                  <a:gd name="connsiteX6" fmla="*/ 73533 w 2908650"/>
                  <a:gd name="connsiteY6" fmla="*/ 24289 h 189833"/>
                  <a:gd name="connsiteX7" fmla="*/ 73533 w 2908650"/>
                  <a:gd name="connsiteY7" fmla="*/ 30385 h 189833"/>
                  <a:gd name="connsiteX8" fmla="*/ 189262 w 2908650"/>
                  <a:gd name="connsiteY8" fmla="*/ 30385 h 189833"/>
                  <a:gd name="connsiteX9" fmla="*/ 189262 w 2908650"/>
                  <a:gd name="connsiteY9" fmla="*/ 36386 h 189833"/>
                  <a:gd name="connsiteX10" fmla="*/ 227076 w 2908650"/>
                  <a:gd name="connsiteY10" fmla="*/ 36386 h 189833"/>
                  <a:gd name="connsiteX11" fmla="*/ 227076 w 2908650"/>
                  <a:gd name="connsiteY11" fmla="*/ 42577 h 189833"/>
                  <a:gd name="connsiteX12" fmla="*/ 279654 w 2908650"/>
                  <a:gd name="connsiteY12" fmla="*/ 42577 h 189833"/>
                  <a:gd name="connsiteX13" fmla="*/ 279654 w 2908650"/>
                  <a:gd name="connsiteY13" fmla="*/ 48673 h 189833"/>
                  <a:gd name="connsiteX14" fmla="*/ 298609 w 2908650"/>
                  <a:gd name="connsiteY14" fmla="*/ 48673 h 189833"/>
                  <a:gd name="connsiteX15" fmla="*/ 298609 w 2908650"/>
                  <a:gd name="connsiteY15" fmla="*/ 54769 h 189833"/>
                  <a:gd name="connsiteX16" fmla="*/ 309087 w 2908650"/>
                  <a:gd name="connsiteY16" fmla="*/ 54769 h 189833"/>
                  <a:gd name="connsiteX17" fmla="*/ 309087 w 2908650"/>
                  <a:gd name="connsiteY17" fmla="*/ 60960 h 189833"/>
                  <a:gd name="connsiteX18" fmla="*/ 342805 w 2908650"/>
                  <a:gd name="connsiteY18" fmla="*/ 60960 h 189833"/>
                  <a:gd name="connsiteX19" fmla="*/ 342805 w 2908650"/>
                  <a:gd name="connsiteY19" fmla="*/ 67056 h 189833"/>
                  <a:gd name="connsiteX20" fmla="*/ 349092 w 2908650"/>
                  <a:gd name="connsiteY20" fmla="*/ 67056 h 189833"/>
                  <a:gd name="connsiteX21" fmla="*/ 349092 w 2908650"/>
                  <a:gd name="connsiteY21" fmla="*/ 73152 h 189833"/>
                  <a:gd name="connsiteX22" fmla="*/ 363760 w 2908650"/>
                  <a:gd name="connsiteY22" fmla="*/ 73152 h 189833"/>
                  <a:gd name="connsiteX23" fmla="*/ 363760 w 2908650"/>
                  <a:gd name="connsiteY23" fmla="*/ 79248 h 189833"/>
                  <a:gd name="connsiteX24" fmla="*/ 376428 w 2908650"/>
                  <a:gd name="connsiteY24" fmla="*/ 79248 h 189833"/>
                  <a:gd name="connsiteX25" fmla="*/ 376428 w 2908650"/>
                  <a:gd name="connsiteY25" fmla="*/ 85439 h 189833"/>
                  <a:gd name="connsiteX26" fmla="*/ 401670 w 2908650"/>
                  <a:gd name="connsiteY26" fmla="*/ 85439 h 189833"/>
                  <a:gd name="connsiteX27" fmla="*/ 401670 w 2908650"/>
                  <a:gd name="connsiteY27" fmla="*/ 91535 h 189833"/>
                  <a:gd name="connsiteX28" fmla="*/ 630936 w 2908650"/>
                  <a:gd name="connsiteY28" fmla="*/ 91535 h 189833"/>
                  <a:gd name="connsiteX29" fmla="*/ 630936 w 2908650"/>
                  <a:gd name="connsiteY29" fmla="*/ 97727 h 189833"/>
                  <a:gd name="connsiteX30" fmla="*/ 744474 w 2908650"/>
                  <a:gd name="connsiteY30" fmla="*/ 97727 h 189833"/>
                  <a:gd name="connsiteX31" fmla="*/ 744474 w 2908650"/>
                  <a:gd name="connsiteY31" fmla="*/ 103918 h 189833"/>
                  <a:gd name="connsiteX32" fmla="*/ 1013651 w 2908650"/>
                  <a:gd name="connsiteY32" fmla="*/ 103918 h 189833"/>
                  <a:gd name="connsiteX33" fmla="*/ 1013651 w 2908650"/>
                  <a:gd name="connsiteY33" fmla="*/ 110204 h 189833"/>
                  <a:gd name="connsiteX34" fmla="*/ 1087279 w 2908650"/>
                  <a:gd name="connsiteY34" fmla="*/ 110204 h 189833"/>
                  <a:gd name="connsiteX35" fmla="*/ 1087279 w 2908650"/>
                  <a:gd name="connsiteY35" fmla="*/ 116491 h 189833"/>
                  <a:gd name="connsiteX36" fmla="*/ 1167194 w 2908650"/>
                  <a:gd name="connsiteY36" fmla="*/ 116491 h 189833"/>
                  <a:gd name="connsiteX37" fmla="*/ 1167194 w 2908650"/>
                  <a:gd name="connsiteY37" fmla="*/ 122777 h 189833"/>
                  <a:gd name="connsiteX38" fmla="*/ 1329119 w 2908650"/>
                  <a:gd name="connsiteY38" fmla="*/ 122777 h 189833"/>
                  <a:gd name="connsiteX39" fmla="*/ 1329119 w 2908650"/>
                  <a:gd name="connsiteY39" fmla="*/ 129254 h 189833"/>
                  <a:gd name="connsiteX40" fmla="*/ 1345978 w 2908650"/>
                  <a:gd name="connsiteY40" fmla="*/ 129254 h 189833"/>
                  <a:gd name="connsiteX41" fmla="*/ 1345978 w 2908650"/>
                  <a:gd name="connsiteY41" fmla="*/ 135636 h 189833"/>
                  <a:gd name="connsiteX42" fmla="*/ 1463802 w 2908650"/>
                  <a:gd name="connsiteY42" fmla="*/ 135636 h 189833"/>
                  <a:gd name="connsiteX43" fmla="*/ 1463802 w 2908650"/>
                  <a:gd name="connsiteY43" fmla="*/ 142113 h 189833"/>
                  <a:gd name="connsiteX44" fmla="*/ 1556290 w 2908650"/>
                  <a:gd name="connsiteY44" fmla="*/ 142113 h 189833"/>
                  <a:gd name="connsiteX45" fmla="*/ 1556290 w 2908650"/>
                  <a:gd name="connsiteY45" fmla="*/ 148495 h 189833"/>
                  <a:gd name="connsiteX46" fmla="*/ 1575245 w 2908650"/>
                  <a:gd name="connsiteY46" fmla="*/ 148495 h 189833"/>
                  <a:gd name="connsiteX47" fmla="*/ 1575245 w 2908650"/>
                  <a:gd name="connsiteY47" fmla="*/ 154972 h 189833"/>
                  <a:gd name="connsiteX48" fmla="*/ 2429066 w 2908650"/>
                  <a:gd name="connsiteY48" fmla="*/ 154972 h 189833"/>
                  <a:gd name="connsiteX49" fmla="*/ 2429066 w 2908650"/>
                  <a:gd name="connsiteY49" fmla="*/ 189833 h 189833"/>
                  <a:gd name="connsiteX50" fmla="*/ 2908650 w 2908650"/>
                  <a:gd name="connsiteY50" fmla="*/ 189833 h 189833"/>
                  <a:gd name="connsiteX0" fmla="*/ 0 w 2906554"/>
                  <a:gd name="connsiteY0" fmla="*/ 0 h 177736"/>
                  <a:gd name="connsiteX1" fmla="*/ 23050 w 2906554"/>
                  <a:gd name="connsiteY1" fmla="*/ 0 h 177736"/>
                  <a:gd name="connsiteX2" fmla="*/ 23050 w 2906554"/>
                  <a:gd name="connsiteY2" fmla="*/ 6096 h 177736"/>
                  <a:gd name="connsiteX3" fmla="*/ 35719 w 2906554"/>
                  <a:gd name="connsiteY3" fmla="*/ 6096 h 177736"/>
                  <a:gd name="connsiteX4" fmla="*/ 35719 w 2906554"/>
                  <a:gd name="connsiteY4" fmla="*/ 12192 h 177736"/>
                  <a:gd name="connsiteX5" fmla="*/ 71437 w 2906554"/>
                  <a:gd name="connsiteY5" fmla="*/ 12192 h 177736"/>
                  <a:gd name="connsiteX6" fmla="*/ 71437 w 2906554"/>
                  <a:gd name="connsiteY6" fmla="*/ 18288 h 177736"/>
                  <a:gd name="connsiteX7" fmla="*/ 187166 w 2906554"/>
                  <a:gd name="connsiteY7" fmla="*/ 18288 h 177736"/>
                  <a:gd name="connsiteX8" fmla="*/ 187166 w 2906554"/>
                  <a:gd name="connsiteY8" fmla="*/ 24289 h 177736"/>
                  <a:gd name="connsiteX9" fmla="*/ 224980 w 2906554"/>
                  <a:gd name="connsiteY9" fmla="*/ 24289 h 177736"/>
                  <a:gd name="connsiteX10" fmla="*/ 224980 w 2906554"/>
                  <a:gd name="connsiteY10" fmla="*/ 30480 h 177736"/>
                  <a:gd name="connsiteX11" fmla="*/ 277558 w 2906554"/>
                  <a:gd name="connsiteY11" fmla="*/ 30480 h 177736"/>
                  <a:gd name="connsiteX12" fmla="*/ 277558 w 2906554"/>
                  <a:gd name="connsiteY12" fmla="*/ 36576 h 177736"/>
                  <a:gd name="connsiteX13" fmla="*/ 296513 w 2906554"/>
                  <a:gd name="connsiteY13" fmla="*/ 36576 h 177736"/>
                  <a:gd name="connsiteX14" fmla="*/ 296513 w 2906554"/>
                  <a:gd name="connsiteY14" fmla="*/ 42672 h 177736"/>
                  <a:gd name="connsiteX15" fmla="*/ 306991 w 2906554"/>
                  <a:gd name="connsiteY15" fmla="*/ 42672 h 177736"/>
                  <a:gd name="connsiteX16" fmla="*/ 306991 w 2906554"/>
                  <a:gd name="connsiteY16" fmla="*/ 48863 h 177736"/>
                  <a:gd name="connsiteX17" fmla="*/ 340709 w 2906554"/>
                  <a:gd name="connsiteY17" fmla="*/ 48863 h 177736"/>
                  <a:gd name="connsiteX18" fmla="*/ 340709 w 2906554"/>
                  <a:gd name="connsiteY18" fmla="*/ 54959 h 177736"/>
                  <a:gd name="connsiteX19" fmla="*/ 346996 w 2906554"/>
                  <a:gd name="connsiteY19" fmla="*/ 54959 h 177736"/>
                  <a:gd name="connsiteX20" fmla="*/ 346996 w 2906554"/>
                  <a:gd name="connsiteY20" fmla="*/ 61055 h 177736"/>
                  <a:gd name="connsiteX21" fmla="*/ 361664 w 2906554"/>
                  <a:gd name="connsiteY21" fmla="*/ 61055 h 177736"/>
                  <a:gd name="connsiteX22" fmla="*/ 361664 w 2906554"/>
                  <a:gd name="connsiteY22" fmla="*/ 67151 h 177736"/>
                  <a:gd name="connsiteX23" fmla="*/ 374332 w 2906554"/>
                  <a:gd name="connsiteY23" fmla="*/ 67151 h 177736"/>
                  <a:gd name="connsiteX24" fmla="*/ 374332 w 2906554"/>
                  <a:gd name="connsiteY24" fmla="*/ 73342 h 177736"/>
                  <a:gd name="connsiteX25" fmla="*/ 399574 w 2906554"/>
                  <a:gd name="connsiteY25" fmla="*/ 73342 h 177736"/>
                  <a:gd name="connsiteX26" fmla="*/ 399574 w 2906554"/>
                  <a:gd name="connsiteY26" fmla="*/ 79438 h 177736"/>
                  <a:gd name="connsiteX27" fmla="*/ 628840 w 2906554"/>
                  <a:gd name="connsiteY27" fmla="*/ 79438 h 177736"/>
                  <a:gd name="connsiteX28" fmla="*/ 628840 w 2906554"/>
                  <a:gd name="connsiteY28" fmla="*/ 85630 h 177736"/>
                  <a:gd name="connsiteX29" fmla="*/ 742378 w 2906554"/>
                  <a:gd name="connsiteY29" fmla="*/ 85630 h 177736"/>
                  <a:gd name="connsiteX30" fmla="*/ 742378 w 2906554"/>
                  <a:gd name="connsiteY30" fmla="*/ 91821 h 177736"/>
                  <a:gd name="connsiteX31" fmla="*/ 1011555 w 2906554"/>
                  <a:gd name="connsiteY31" fmla="*/ 91821 h 177736"/>
                  <a:gd name="connsiteX32" fmla="*/ 1011555 w 2906554"/>
                  <a:gd name="connsiteY32" fmla="*/ 98107 h 177736"/>
                  <a:gd name="connsiteX33" fmla="*/ 1085183 w 2906554"/>
                  <a:gd name="connsiteY33" fmla="*/ 98107 h 177736"/>
                  <a:gd name="connsiteX34" fmla="*/ 1085183 w 2906554"/>
                  <a:gd name="connsiteY34" fmla="*/ 104394 h 177736"/>
                  <a:gd name="connsiteX35" fmla="*/ 1165098 w 2906554"/>
                  <a:gd name="connsiteY35" fmla="*/ 104394 h 177736"/>
                  <a:gd name="connsiteX36" fmla="*/ 1165098 w 2906554"/>
                  <a:gd name="connsiteY36" fmla="*/ 110680 h 177736"/>
                  <a:gd name="connsiteX37" fmla="*/ 1327023 w 2906554"/>
                  <a:gd name="connsiteY37" fmla="*/ 110680 h 177736"/>
                  <a:gd name="connsiteX38" fmla="*/ 1327023 w 2906554"/>
                  <a:gd name="connsiteY38" fmla="*/ 117157 h 177736"/>
                  <a:gd name="connsiteX39" fmla="*/ 1343882 w 2906554"/>
                  <a:gd name="connsiteY39" fmla="*/ 117157 h 177736"/>
                  <a:gd name="connsiteX40" fmla="*/ 1343882 w 2906554"/>
                  <a:gd name="connsiteY40" fmla="*/ 123539 h 177736"/>
                  <a:gd name="connsiteX41" fmla="*/ 1461706 w 2906554"/>
                  <a:gd name="connsiteY41" fmla="*/ 123539 h 177736"/>
                  <a:gd name="connsiteX42" fmla="*/ 1461706 w 2906554"/>
                  <a:gd name="connsiteY42" fmla="*/ 130016 h 177736"/>
                  <a:gd name="connsiteX43" fmla="*/ 1554194 w 2906554"/>
                  <a:gd name="connsiteY43" fmla="*/ 130016 h 177736"/>
                  <a:gd name="connsiteX44" fmla="*/ 1554194 w 2906554"/>
                  <a:gd name="connsiteY44" fmla="*/ 136398 h 177736"/>
                  <a:gd name="connsiteX45" fmla="*/ 1573149 w 2906554"/>
                  <a:gd name="connsiteY45" fmla="*/ 136398 h 177736"/>
                  <a:gd name="connsiteX46" fmla="*/ 1573149 w 2906554"/>
                  <a:gd name="connsiteY46" fmla="*/ 142875 h 177736"/>
                  <a:gd name="connsiteX47" fmla="*/ 2426970 w 2906554"/>
                  <a:gd name="connsiteY47" fmla="*/ 142875 h 177736"/>
                  <a:gd name="connsiteX48" fmla="*/ 2426970 w 2906554"/>
                  <a:gd name="connsiteY48" fmla="*/ 177736 h 177736"/>
                  <a:gd name="connsiteX49" fmla="*/ 2906554 w 2906554"/>
                  <a:gd name="connsiteY49" fmla="*/ 177736 h 177736"/>
                  <a:gd name="connsiteX0" fmla="*/ 0 w 2883504"/>
                  <a:gd name="connsiteY0" fmla="*/ 0 h 177736"/>
                  <a:gd name="connsiteX1" fmla="*/ 0 w 2883504"/>
                  <a:gd name="connsiteY1" fmla="*/ 6096 h 177736"/>
                  <a:gd name="connsiteX2" fmla="*/ 12669 w 2883504"/>
                  <a:gd name="connsiteY2" fmla="*/ 6096 h 177736"/>
                  <a:gd name="connsiteX3" fmla="*/ 12669 w 2883504"/>
                  <a:gd name="connsiteY3" fmla="*/ 12192 h 177736"/>
                  <a:gd name="connsiteX4" fmla="*/ 48387 w 2883504"/>
                  <a:gd name="connsiteY4" fmla="*/ 12192 h 177736"/>
                  <a:gd name="connsiteX5" fmla="*/ 48387 w 2883504"/>
                  <a:gd name="connsiteY5" fmla="*/ 18288 h 177736"/>
                  <a:gd name="connsiteX6" fmla="*/ 164116 w 2883504"/>
                  <a:gd name="connsiteY6" fmla="*/ 18288 h 177736"/>
                  <a:gd name="connsiteX7" fmla="*/ 164116 w 2883504"/>
                  <a:gd name="connsiteY7" fmla="*/ 24289 h 177736"/>
                  <a:gd name="connsiteX8" fmla="*/ 201930 w 2883504"/>
                  <a:gd name="connsiteY8" fmla="*/ 24289 h 177736"/>
                  <a:gd name="connsiteX9" fmla="*/ 201930 w 2883504"/>
                  <a:gd name="connsiteY9" fmla="*/ 30480 h 177736"/>
                  <a:gd name="connsiteX10" fmla="*/ 254508 w 2883504"/>
                  <a:gd name="connsiteY10" fmla="*/ 30480 h 177736"/>
                  <a:gd name="connsiteX11" fmla="*/ 254508 w 2883504"/>
                  <a:gd name="connsiteY11" fmla="*/ 36576 h 177736"/>
                  <a:gd name="connsiteX12" fmla="*/ 273463 w 2883504"/>
                  <a:gd name="connsiteY12" fmla="*/ 36576 h 177736"/>
                  <a:gd name="connsiteX13" fmla="*/ 273463 w 2883504"/>
                  <a:gd name="connsiteY13" fmla="*/ 42672 h 177736"/>
                  <a:gd name="connsiteX14" fmla="*/ 283941 w 2883504"/>
                  <a:gd name="connsiteY14" fmla="*/ 42672 h 177736"/>
                  <a:gd name="connsiteX15" fmla="*/ 283941 w 2883504"/>
                  <a:gd name="connsiteY15" fmla="*/ 48863 h 177736"/>
                  <a:gd name="connsiteX16" fmla="*/ 317659 w 2883504"/>
                  <a:gd name="connsiteY16" fmla="*/ 48863 h 177736"/>
                  <a:gd name="connsiteX17" fmla="*/ 317659 w 2883504"/>
                  <a:gd name="connsiteY17" fmla="*/ 54959 h 177736"/>
                  <a:gd name="connsiteX18" fmla="*/ 323946 w 2883504"/>
                  <a:gd name="connsiteY18" fmla="*/ 54959 h 177736"/>
                  <a:gd name="connsiteX19" fmla="*/ 323946 w 2883504"/>
                  <a:gd name="connsiteY19" fmla="*/ 61055 h 177736"/>
                  <a:gd name="connsiteX20" fmla="*/ 338614 w 2883504"/>
                  <a:gd name="connsiteY20" fmla="*/ 61055 h 177736"/>
                  <a:gd name="connsiteX21" fmla="*/ 338614 w 2883504"/>
                  <a:gd name="connsiteY21" fmla="*/ 67151 h 177736"/>
                  <a:gd name="connsiteX22" fmla="*/ 351282 w 2883504"/>
                  <a:gd name="connsiteY22" fmla="*/ 67151 h 177736"/>
                  <a:gd name="connsiteX23" fmla="*/ 351282 w 2883504"/>
                  <a:gd name="connsiteY23" fmla="*/ 73342 h 177736"/>
                  <a:gd name="connsiteX24" fmla="*/ 376524 w 2883504"/>
                  <a:gd name="connsiteY24" fmla="*/ 73342 h 177736"/>
                  <a:gd name="connsiteX25" fmla="*/ 376524 w 2883504"/>
                  <a:gd name="connsiteY25" fmla="*/ 79438 h 177736"/>
                  <a:gd name="connsiteX26" fmla="*/ 605790 w 2883504"/>
                  <a:gd name="connsiteY26" fmla="*/ 79438 h 177736"/>
                  <a:gd name="connsiteX27" fmla="*/ 605790 w 2883504"/>
                  <a:gd name="connsiteY27" fmla="*/ 85630 h 177736"/>
                  <a:gd name="connsiteX28" fmla="*/ 719328 w 2883504"/>
                  <a:gd name="connsiteY28" fmla="*/ 85630 h 177736"/>
                  <a:gd name="connsiteX29" fmla="*/ 719328 w 2883504"/>
                  <a:gd name="connsiteY29" fmla="*/ 91821 h 177736"/>
                  <a:gd name="connsiteX30" fmla="*/ 988505 w 2883504"/>
                  <a:gd name="connsiteY30" fmla="*/ 91821 h 177736"/>
                  <a:gd name="connsiteX31" fmla="*/ 988505 w 2883504"/>
                  <a:gd name="connsiteY31" fmla="*/ 98107 h 177736"/>
                  <a:gd name="connsiteX32" fmla="*/ 1062133 w 2883504"/>
                  <a:gd name="connsiteY32" fmla="*/ 98107 h 177736"/>
                  <a:gd name="connsiteX33" fmla="*/ 1062133 w 2883504"/>
                  <a:gd name="connsiteY33" fmla="*/ 104394 h 177736"/>
                  <a:gd name="connsiteX34" fmla="*/ 1142048 w 2883504"/>
                  <a:gd name="connsiteY34" fmla="*/ 104394 h 177736"/>
                  <a:gd name="connsiteX35" fmla="*/ 1142048 w 2883504"/>
                  <a:gd name="connsiteY35" fmla="*/ 110680 h 177736"/>
                  <a:gd name="connsiteX36" fmla="*/ 1303973 w 2883504"/>
                  <a:gd name="connsiteY36" fmla="*/ 110680 h 177736"/>
                  <a:gd name="connsiteX37" fmla="*/ 1303973 w 2883504"/>
                  <a:gd name="connsiteY37" fmla="*/ 117157 h 177736"/>
                  <a:gd name="connsiteX38" fmla="*/ 1320832 w 2883504"/>
                  <a:gd name="connsiteY38" fmla="*/ 117157 h 177736"/>
                  <a:gd name="connsiteX39" fmla="*/ 1320832 w 2883504"/>
                  <a:gd name="connsiteY39" fmla="*/ 123539 h 177736"/>
                  <a:gd name="connsiteX40" fmla="*/ 1438656 w 2883504"/>
                  <a:gd name="connsiteY40" fmla="*/ 123539 h 177736"/>
                  <a:gd name="connsiteX41" fmla="*/ 1438656 w 2883504"/>
                  <a:gd name="connsiteY41" fmla="*/ 130016 h 177736"/>
                  <a:gd name="connsiteX42" fmla="*/ 1531144 w 2883504"/>
                  <a:gd name="connsiteY42" fmla="*/ 130016 h 177736"/>
                  <a:gd name="connsiteX43" fmla="*/ 1531144 w 2883504"/>
                  <a:gd name="connsiteY43" fmla="*/ 136398 h 177736"/>
                  <a:gd name="connsiteX44" fmla="*/ 1550099 w 2883504"/>
                  <a:gd name="connsiteY44" fmla="*/ 136398 h 177736"/>
                  <a:gd name="connsiteX45" fmla="*/ 1550099 w 2883504"/>
                  <a:gd name="connsiteY45" fmla="*/ 142875 h 177736"/>
                  <a:gd name="connsiteX46" fmla="*/ 2403920 w 2883504"/>
                  <a:gd name="connsiteY46" fmla="*/ 142875 h 177736"/>
                  <a:gd name="connsiteX47" fmla="*/ 2403920 w 2883504"/>
                  <a:gd name="connsiteY47" fmla="*/ 177736 h 177736"/>
                  <a:gd name="connsiteX48" fmla="*/ 2883504 w 2883504"/>
                  <a:gd name="connsiteY48" fmla="*/ 177736 h 177736"/>
                  <a:gd name="connsiteX0" fmla="*/ 0 w 2883504"/>
                  <a:gd name="connsiteY0" fmla="*/ 0 h 177736"/>
                  <a:gd name="connsiteX1" fmla="*/ 12669 w 2883504"/>
                  <a:gd name="connsiteY1" fmla="*/ 6096 h 177736"/>
                  <a:gd name="connsiteX2" fmla="*/ 12669 w 2883504"/>
                  <a:gd name="connsiteY2" fmla="*/ 12192 h 177736"/>
                  <a:gd name="connsiteX3" fmla="*/ 48387 w 2883504"/>
                  <a:gd name="connsiteY3" fmla="*/ 12192 h 177736"/>
                  <a:gd name="connsiteX4" fmla="*/ 48387 w 2883504"/>
                  <a:gd name="connsiteY4" fmla="*/ 18288 h 177736"/>
                  <a:gd name="connsiteX5" fmla="*/ 164116 w 2883504"/>
                  <a:gd name="connsiteY5" fmla="*/ 18288 h 177736"/>
                  <a:gd name="connsiteX6" fmla="*/ 164116 w 2883504"/>
                  <a:gd name="connsiteY6" fmla="*/ 24289 h 177736"/>
                  <a:gd name="connsiteX7" fmla="*/ 201930 w 2883504"/>
                  <a:gd name="connsiteY7" fmla="*/ 24289 h 177736"/>
                  <a:gd name="connsiteX8" fmla="*/ 201930 w 2883504"/>
                  <a:gd name="connsiteY8" fmla="*/ 30480 h 177736"/>
                  <a:gd name="connsiteX9" fmla="*/ 254508 w 2883504"/>
                  <a:gd name="connsiteY9" fmla="*/ 30480 h 177736"/>
                  <a:gd name="connsiteX10" fmla="*/ 254508 w 2883504"/>
                  <a:gd name="connsiteY10" fmla="*/ 36576 h 177736"/>
                  <a:gd name="connsiteX11" fmla="*/ 273463 w 2883504"/>
                  <a:gd name="connsiteY11" fmla="*/ 36576 h 177736"/>
                  <a:gd name="connsiteX12" fmla="*/ 273463 w 2883504"/>
                  <a:gd name="connsiteY12" fmla="*/ 42672 h 177736"/>
                  <a:gd name="connsiteX13" fmla="*/ 283941 w 2883504"/>
                  <a:gd name="connsiteY13" fmla="*/ 42672 h 177736"/>
                  <a:gd name="connsiteX14" fmla="*/ 283941 w 2883504"/>
                  <a:gd name="connsiteY14" fmla="*/ 48863 h 177736"/>
                  <a:gd name="connsiteX15" fmla="*/ 317659 w 2883504"/>
                  <a:gd name="connsiteY15" fmla="*/ 48863 h 177736"/>
                  <a:gd name="connsiteX16" fmla="*/ 317659 w 2883504"/>
                  <a:gd name="connsiteY16" fmla="*/ 54959 h 177736"/>
                  <a:gd name="connsiteX17" fmla="*/ 323946 w 2883504"/>
                  <a:gd name="connsiteY17" fmla="*/ 54959 h 177736"/>
                  <a:gd name="connsiteX18" fmla="*/ 323946 w 2883504"/>
                  <a:gd name="connsiteY18" fmla="*/ 61055 h 177736"/>
                  <a:gd name="connsiteX19" fmla="*/ 338614 w 2883504"/>
                  <a:gd name="connsiteY19" fmla="*/ 61055 h 177736"/>
                  <a:gd name="connsiteX20" fmla="*/ 338614 w 2883504"/>
                  <a:gd name="connsiteY20" fmla="*/ 67151 h 177736"/>
                  <a:gd name="connsiteX21" fmla="*/ 351282 w 2883504"/>
                  <a:gd name="connsiteY21" fmla="*/ 67151 h 177736"/>
                  <a:gd name="connsiteX22" fmla="*/ 351282 w 2883504"/>
                  <a:gd name="connsiteY22" fmla="*/ 73342 h 177736"/>
                  <a:gd name="connsiteX23" fmla="*/ 376524 w 2883504"/>
                  <a:gd name="connsiteY23" fmla="*/ 73342 h 177736"/>
                  <a:gd name="connsiteX24" fmla="*/ 376524 w 2883504"/>
                  <a:gd name="connsiteY24" fmla="*/ 79438 h 177736"/>
                  <a:gd name="connsiteX25" fmla="*/ 605790 w 2883504"/>
                  <a:gd name="connsiteY25" fmla="*/ 79438 h 177736"/>
                  <a:gd name="connsiteX26" fmla="*/ 605790 w 2883504"/>
                  <a:gd name="connsiteY26" fmla="*/ 85630 h 177736"/>
                  <a:gd name="connsiteX27" fmla="*/ 719328 w 2883504"/>
                  <a:gd name="connsiteY27" fmla="*/ 85630 h 177736"/>
                  <a:gd name="connsiteX28" fmla="*/ 719328 w 2883504"/>
                  <a:gd name="connsiteY28" fmla="*/ 91821 h 177736"/>
                  <a:gd name="connsiteX29" fmla="*/ 988505 w 2883504"/>
                  <a:gd name="connsiteY29" fmla="*/ 91821 h 177736"/>
                  <a:gd name="connsiteX30" fmla="*/ 988505 w 2883504"/>
                  <a:gd name="connsiteY30" fmla="*/ 98107 h 177736"/>
                  <a:gd name="connsiteX31" fmla="*/ 1062133 w 2883504"/>
                  <a:gd name="connsiteY31" fmla="*/ 98107 h 177736"/>
                  <a:gd name="connsiteX32" fmla="*/ 1062133 w 2883504"/>
                  <a:gd name="connsiteY32" fmla="*/ 104394 h 177736"/>
                  <a:gd name="connsiteX33" fmla="*/ 1142048 w 2883504"/>
                  <a:gd name="connsiteY33" fmla="*/ 104394 h 177736"/>
                  <a:gd name="connsiteX34" fmla="*/ 1142048 w 2883504"/>
                  <a:gd name="connsiteY34" fmla="*/ 110680 h 177736"/>
                  <a:gd name="connsiteX35" fmla="*/ 1303973 w 2883504"/>
                  <a:gd name="connsiteY35" fmla="*/ 110680 h 177736"/>
                  <a:gd name="connsiteX36" fmla="*/ 1303973 w 2883504"/>
                  <a:gd name="connsiteY36" fmla="*/ 117157 h 177736"/>
                  <a:gd name="connsiteX37" fmla="*/ 1320832 w 2883504"/>
                  <a:gd name="connsiteY37" fmla="*/ 117157 h 177736"/>
                  <a:gd name="connsiteX38" fmla="*/ 1320832 w 2883504"/>
                  <a:gd name="connsiteY38" fmla="*/ 123539 h 177736"/>
                  <a:gd name="connsiteX39" fmla="*/ 1438656 w 2883504"/>
                  <a:gd name="connsiteY39" fmla="*/ 123539 h 177736"/>
                  <a:gd name="connsiteX40" fmla="*/ 1438656 w 2883504"/>
                  <a:gd name="connsiteY40" fmla="*/ 130016 h 177736"/>
                  <a:gd name="connsiteX41" fmla="*/ 1531144 w 2883504"/>
                  <a:gd name="connsiteY41" fmla="*/ 130016 h 177736"/>
                  <a:gd name="connsiteX42" fmla="*/ 1531144 w 2883504"/>
                  <a:gd name="connsiteY42" fmla="*/ 136398 h 177736"/>
                  <a:gd name="connsiteX43" fmla="*/ 1550099 w 2883504"/>
                  <a:gd name="connsiteY43" fmla="*/ 136398 h 177736"/>
                  <a:gd name="connsiteX44" fmla="*/ 1550099 w 2883504"/>
                  <a:gd name="connsiteY44" fmla="*/ 142875 h 177736"/>
                  <a:gd name="connsiteX45" fmla="*/ 2403920 w 2883504"/>
                  <a:gd name="connsiteY45" fmla="*/ 142875 h 177736"/>
                  <a:gd name="connsiteX46" fmla="*/ 2403920 w 2883504"/>
                  <a:gd name="connsiteY46" fmla="*/ 177736 h 177736"/>
                  <a:gd name="connsiteX47" fmla="*/ 2883504 w 2883504"/>
                  <a:gd name="connsiteY47" fmla="*/ 177736 h 177736"/>
                  <a:gd name="connsiteX0" fmla="*/ 0 w 2870835"/>
                  <a:gd name="connsiteY0" fmla="*/ 0 h 171640"/>
                  <a:gd name="connsiteX1" fmla="*/ 0 w 2870835"/>
                  <a:gd name="connsiteY1" fmla="*/ 6096 h 171640"/>
                  <a:gd name="connsiteX2" fmla="*/ 35718 w 2870835"/>
                  <a:gd name="connsiteY2" fmla="*/ 6096 h 171640"/>
                  <a:gd name="connsiteX3" fmla="*/ 35718 w 2870835"/>
                  <a:gd name="connsiteY3" fmla="*/ 12192 h 171640"/>
                  <a:gd name="connsiteX4" fmla="*/ 151447 w 2870835"/>
                  <a:gd name="connsiteY4" fmla="*/ 12192 h 171640"/>
                  <a:gd name="connsiteX5" fmla="*/ 151447 w 2870835"/>
                  <a:gd name="connsiteY5" fmla="*/ 18193 h 171640"/>
                  <a:gd name="connsiteX6" fmla="*/ 189261 w 2870835"/>
                  <a:gd name="connsiteY6" fmla="*/ 18193 h 171640"/>
                  <a:gd name="connsiteX7" fmla="*/ 189261 w 2870835"/>
                  <a:gd name="connsiteY7" fmla="*/ 24384 h 171640"/>
                  <a:gd name="connsiteX8" fmla="*/ 241839 w 2870835"/>
                  <a:gd name="connsiteY8" fmla="*/ 24384 h 171640"/>
                  <a:gd name="connsiteX9" fmla="*/ 241839 w 2870835"/>
                  <a:gd name="connsiteY9" fmla="*/ 30480 h 171640"/>
                  <a:gd name="connsiteX10" fmla="*/ 260794 w 2870835"/>
                  <a:gd name="connsiteY10" fmla="*/ 30480 h 171640"/>
                  <a:gd name="connsiteX11" fmla="*/ 260794 w 2870835"/>
                  <a:gd name="connsiteY11" fmla="*/ 36576 h 171640"/>
                  <a:gd name="connsiteX12" fmla="*/ 271272 w 2870835"/>
                  <a:gd name="connsiteY12" fmla="*/ 36576 h 171640"/>
                  <a:gd name="connsiteX13" fmla="*/ 271272 w 2870835"/>
                  <a:gd name="connsiteY13" fmla="*/ 42767 h 171640"/>
                  <a:gd name="connsiteX14" fmla="*/ 304990 w 2870835"/>
                  <a:gd name="connsiteY14" fmla="*/ 42767 h 171640"/>
                  <a:gd name="connsiteX15" fmla="*/ 304990 w 2870835"/>
                  <a:gd name="connsiteY15" fmla="*/ 48863 h 171640"/>
                  <a:gd name="connsiteX16" fmla="*/ 311277 w 2870835"/>
                  <a:gd name="connsiteY16" fmla="*/ 48863 h 171640"/>
                  <a:gd name="connsiteX17" fmla="*/ 311277 w 2870835"/>
                  <a:gd name="connsiteY17" fmla="*/ 54959 h 171640"/>
                  <a:gd name="connsiteX18" fmla="*/ 325945 w 2870835"/>
                  <a:gd name="connsiteY18" fmla="*/ 54959 h 171640"/>
                  <a:gd name="connsiteX19" fmla="*/ 325945 w 2870835"/>
                  <a:gd name="connsiteY19" fmla="*/ 61055 h 171640"/>
                  <a:gd name="connsiteX20" fmla="*/ 338613 w 2870835"/>
                  <a:gd name="connsiteY20" fmla="*/ 61055 h 171640"/>
                  <a:gd name="connsiteX21" fmla="*/ 338613 w 2870835"/>
                  <a:gd name="connsiteY21" fmla="*/ 67246 h 171640"/>
                  <a:gd name="connsiteX22" fmla="*/ 363855 w 2870835"/>
                  <a:gd name="connsiteY22" fmla="*/ 67246 h 171640"/>
                  <a:gd name="connsiteX23" fmla="*/ 363855 w 2870835"/>
                  <a:gd name="connsiteY23" fmla="*/ 73342 h 171640"/>
                  <a:gd name="connsiteX24" fmla="*/ 593121 w 2870835"/>
                  <a:gd name="connsiteY24" fmla="*/ 73342 h 171640"/>
                  <a:gd name="connsiteX25" fmla="*/ 593121 w 2870835"/>
                  <a:gd name="connsiteY25" fmla="*/ 79534 h 171640"/>
                  <a:gd name="connsiteX26" fmla="*/ 706659 w 2870835"/>
                  <a:gd name="connsiteY26" fmla="*/ 79534 h 171640"/>
                  <a:gd name="connsiteX27" fmla="*/ 706659 w 2870835"/>
                  <a:gd name="connsiteY27" fmla="*/ 85725 h 171640"/>
                  <a:gd name="connsiteX28" fmla="*/ 975836 w 2870835"/>
                  <a:gd name="connsiteY28" fmla="*/ 85725 h 171640"/>
                  <a:gd name="connsiteX29" fmla="*/ 975836 w 2870835"/>
                  <a:gd name="connsiteY29" fmla="*/ 92011 h 171640"/>
                  <a:gd name="connsiteX30" fmla="*/ 1049464 w 2870835"/>
                  <a:gd name="connsiteY30" fmla="*/ 92011 h 171640"/>
                  <a:gd name="connsiteX31" fmla="*/ 1049464 w 2870835"/>
                  <a:gd name="connsiteY31" fmla="*/ 98298 h 171640"/>
                  <a:gd name="connsiteX32" fmla="*/ 1129379 w 2870835"/>
                  <a:gd name="connsiteY32" fmla="*/ 98298 h 171640"/>
                  <a:gd name="connsiteX33" fmla="*/ 1129379 w 2870835"/>
                  <a:gd name="connsiteY33" fmla="*/ 104584 h 171640"/>
                  <a:gd name="connsiteX34" fmla="*/ 1291304 w 2870835"/>
                  <a:gd name="connsiteY34" fmla="*/ 104584 h 171640"/>
                  <a:gd name="connsiteX35" fmla="*/ 1291304 w 2870835"/>
                  <a:gd name="connsiteY35" fmla="*/ 111061 h 171640"/>
                  <a:gd name="connsiteX36" fmla="*/ 1308163 w 2870835"/>
                  <a:gd name="connsiteY36" fmla="*/ 111061 h 171640"/>
                  <a:gd name="connsiteX37" fmla="*/ 1308163 w 2870835"/>
                  <a:gd name="connsiteY37" fmla="*/ 117443 h 171640"/>
                  <a:gd name="connsiteX38" fmla="*/ 1425987 w 2870835"/>
                  <a:gd name="connsiteY38" fmla="*/ 117443 h 171640"/>
                  <a:gd name="connsiteX39" fmla="*/ 1425987 w 2870835"/>
                  <a:gd name="connsiteY39" fmla="*/ 123920 h 171640"/>
                  <a:gd name="connsiteX40" fmla="*/ 1518475 w 2870835"/>
                  <a:gd name="connsiteY40" fmla="*/ 123920 h 171640"/>
                  <a:gd name="connsiteX41" fmla="*/ 1518475 w 2870835"/>
                  <a:gd name="connsiteY41" fmla="*/ 130302 h 171640"/>
                  <a:gd name="connsiteX42" fmla="*/ 1537430 w 2870835"/>
                  <a:gd name="connsiteY42" fmla="*/ 130302 h 171640"/>
                  <a:gd name="connsiteX43" fmla="*/ 1537430 w 2870835"/>
                  <a:gd name="connsiteY43" fmla="*/ 136779 h 171640"/>
                  <a:gd name="connsiteX44" fmla="*/ 2391251 w 2870835"/>
                  <a:gd name="connsiteY44" fmla="*/ 136779 h 171640"/>
                  <a:gd name="connsiteX45" fmla="*/ 2391251 w 2870835"/>
                  <a:gd name="connsiteY45" fmla="*/ 171640 h 171640"/>
                  <a:gd name="connsiteX46" fmla="*/ 2870835 w 2870835"/>
                  <a:gd name="connsiteY46" fmla="*/ 171640 h 171640"/>
                  <a:gd name="connsiteX0" fmla="*/ 0 w 2870835"/>
                  <a:gd name="connsiteY0" fmla="*/ 0 h 171640"/>
                  <a:gd name="connsiteX1" fmla="*/ 35718 w 2870835"/>
                  <a:gd name="connsiteY1" fmla="*/ 6096 h 171640"/>
                  <a:gd name="connsiteX2" fmla="*/ 35718 w 2870835"/>
                  <a:gd name="connsiteY2" fmla="*/ 12192 h 171640"/>
                  <a:gd name="connsiteX3" fmla="*/ 151447 w 2870835"/>
                  <a:gd name="connsiteY3" fmla="*/ 12192 h 171640"/>
                  <a:gd name="connsiteX4" fmla="*/ 151447 w 2870835"/>
                  <a:gd name="connsiteY4" fmla="*/ 18193 h 171640"/>
                  <a:gd name="connsiteX5" fmla="*/ 189261 w 2870835"/>
                  <a:gd name="connsiteY5" fmla="*/ 18193 h 171640"/>
                  <a:gd name="connsiteX6" fmla="*/ 189261 w 2870835"/>
                  <a:gd name="connsiteY6" fmla="*/ 24384 h 171640"/>
                  <a:gd name="connsiteX7" fmla="*/ 241839 w 2870835"/>
                  <a:gd name="connsiteY7" fmla="*/ 24384 h 171640"/>
                  <a:gd name="connsiteX8" fmla="*/ 241839 w 2870835"/>
                  <a:gd name="connsiteY8" fmla="*/ 30480 h 171640"/>
                  <a:gd name="connsiteX9" fmla="*/ 260794 w 2870835"/>
                  <a:gd name="connsiteY9" fmla="*/ 30480 h 171640"/>
                  <a:gd name="connsiteX10" fmla="*/ 260794 w 2870835"/>
                  <a:gd name="connsiteY10" fmla="*/ 36576 h 171640"/>
                  <a:gd name="connsiteX11" fmla="*/ 271272 w 2870835"/>
                  <a:gd name="connsiteY11" fmla="*/ 36576 h 171640"/>
                  <a:gd name="connsiteX12" fmla="*/ 271272 w 2870835"/>
                  <a:gd name="connsiteY12" fmla="*/ 42767 h 171640"/>
                  <a:gd name="connsiteX13" fmla="*/ 304990 w 2870835"/>
                  <a:gd name="connsiteY13" fmla="*/ 42767 h 171640"/>
                  <a:gd name="connsiteX14" fmla="*/ 304990 w 2870835"/>
                  <a:gd name="connsiteY14" fmla="*/ 48863 h 171640"/>
                  <a:gd name="connsiteX15" fmla="*/ 311277 w 2870835"/>
                  <a:gd name="connsiteY15" fmla="*/ 48863 h 171640"/>
                  <a:gd name="connsiteX16" fmla="*/ 311277 w 2870835"/>
                  <a:gd name="connsiteY16" fmla="*/ 54959 h 171640"/>
                  <a:gd name="connsiteX17" fmla="*/ 325945 w 2870835"/>
                  <a:gd name="connsiteY17" fmla="*/ 54959 h 171640"/>
                  <a:gd name="connsiteX18" fmla="*/ 325945 w 2870835"/>
                  <a:gd name="connsiteY18" fmla="*/ 61055 h 171640"/>
                  <a:gd name="connsiteX19" fmla="*/ 338613 w 2870835"/>
                  <a:gd name="connsiteY19" fmla="*/ 61055 h 171640"/>
                  <a:gd name="connsiteX20" fmla="*/ 338613 w 2870835"/>
                  <a:gd name="connsiteY20" fmla="*/ 67246 h 171640"/>
                  <a:gd name="connsiteX21" fmla="*/ 363855 w 2870835"/>
                  <a:gd name="connsiteY21" fmla="*/ 67246 h 171640"/>
                  <a:gd name="connsiteX22" fmla="*/ 363855 w 2870835"/>
                  <a:gd name="connsiteY22" fmla="*/ 73342 h 171640"/>
                  <a:gd name="connsiteX23" fmla="*/ 593121 w 2870835"/>
                  <a:gd name="connsiteY23" fmla="*/ 73342 h 171640"/>
                  <a:gd name="connsiteX24" fmla="*/ 593121 w 2870835"/>
                  <a:gd name="connsiteY24" fmla="*/ 79534 h 171640"/>
                  <a:gd name="connsiteX25" fmla="*/ 706659 w 2870835"/>
                  <a:gd name="connsiteY25" fmla="*/ 79534 h 171640"/>
                  <a:gd name="connsiteX26" fmla="*/ 706659 w 2870835"/>
                  <a:gd name="connsiteY26" fmla="*/ 85725 h 171640"/>
                  <a:gd name="connsiteX27" fmla="*/ 975836 w 2870835"/>
                  <a:gd name="connsiteY27" fmla="*/ 85725 h 171640"/>
                  <a:gd name="connsiteX28" fmla="*/ 975836 w 2870835"/>
                  <a:gd name="connsiteY28" fmla="*/ 92011 h 171640"/>
                  <a:gd name="connsiteX29" fmla="*/ 1049464 w 2870835"/>
                  <a:gd name="connsiteY29" fmla="*/ 92011 h 171640"/>
                  <a:gd name="connsiteX30" fmla="*/ 1049464 w 2870835"/>
                  <a:gd name="connsiteY30" fmla="*/ 98298 h 171640"/>
                  <a:gd name="connsiteX31" fmla="*/ 1129379 w 2870835"/>
                  <a:gd name="connsiteY31" fmla="*/ 98298 h 171640"/>
                  <a:gd name="connsiteX32" fmla="*/ 1129379 w 2870835"/>
                  <a:gd name="connsiteY32" fmla="*/ 104584 h 171640"/>
                  <a:gd name="connsiteX33" fmla="*/ 1291304 w 2870835"/>
                  <a:gd name="connsiteY33" fmla="*/ 104584 h 171640"/>
                  <a:gd name="connsiteX34" fmla="*/ 1291304 w 2870835"/>
                  <a:gd name="connsiteY34" fmla="*/ 111061 h 171640"/>
                  <a:gd name="connsiteX35" fmla="*/ 1308163 w 2870835"/>
                  <a:gd name="connsiteY35" fmla="*/ 111061 h 171640"/>
                  <a:gd name="connsiteX36" fmla="*/ 1308163 w 2870835"/>
                  <a:gd name="connsiteY36" fmla="*/ 117443 h 171640"/>
                  <a:gd name="connsiteX37" fmla="*/ 1425987 w 2870835"/>
                  <a:gd name="connsiteY37" fmla="*/ 117443 h 171640"/>
                  <a:gd name="connsiteX38" fmla="*/ 1425987 w 2870835"/>
                  <a:gd name="connsiteY38" fmla="*/ 123920 h 171640"/>
                  <a:gd name="connsiteX39" fmla="*/ 1518475 w 2870835"/>
                  <a:gd name="connsiteY39" fmla="*/ 123920 h 171640"/>
                  <a:gd name="connsiteX40" fmla="*/ 1518475 w 2870835"/>
                  <a:gd name="connsiteY40" fmla="*/ 130302 h 171640"/>
                  <a:gd name="connsiteX41" fmla="*/ 1537430 w 2870835"/>
                  <a:gd name="connsiteY41" fmla="*/ 130302 h 171640"/>
                  <a:gd name="connsiteX42" fmla="*/ 1537430 w 2870835"/>
                  <a:gd name="connsiteY42" fmla="*/ 136779 h 171640"/>
                  <a:gd name="connsiteX43" fmla="*/ 2391251 w 2870835"/>
                  <a:gd name="connsiteY43" fmla="*/ 136779 h 171640"/>
                  <a:gd name="connsiteX44" fmla="*/ 2391251 w 2870835"/>
                  <a:gd name="connsiteY44" fmla="*/ 171640 h 171640"/>
                  <a:gd name="connsiteX45" fmla="*/ 2870835 w 2870835"/>
                  <a:gd name="connsiteY45" fmla="*/ 171640 h 171640"/>
                  <a:gd name="connsiteX0" fmla="*/ 0 w 2835117"/>
                  <a:gd name="connsiteY0" fmla="*/ 0 h 165544"/>
                  <a:gd name="connsiteX1" fmla="*/ 0 w 2835117"/>
                  <a:gd name="connsiteY1" fmla="*/ 6096 h 165544"/>
                  <a:gd name="connsiteX2" fmla="*/ 115729 w 2835117"/>
                  <a:gd name="connsiteY2" fmla="*/ 6096 h 165544"/>
                  <a:gd name="connsiteX3" fmla="*/ 115729 w 2835117"/>
                  <a:gd name="connsiteY3" fmla="*/ 12097 h 165544"/>
                  <a:gd name="connsiteX4" fmla="*/ 153543 w 2835117"/>
                  <a:gd name="connsiteY4" fmla="*/ 12097 h 165544"/>
                  <a:gd name="connsiteX5" fmla="*/ 153543 w 2835117"/>
                  <a:gd name="connsiteY5" fmla="*/ 18288 h 165544"/>
                  <a:gd name="connsiteX6" fmla="*/ 206121 w 2835117"/>
                  <a:gd name="connsiteY6" fmla="*/ 18288 h 165544"/>
                  <a:gd name="connsiteX7" fmla="*/ 206121 w 2835117"/>
                  <a:gd name="connsiteY7" fmla="*/ 24384 h 165544"/>
                  <a:gd name="connsiteX8" fmla="*/ 225076 w 2835117"/>
                  <a:gd name="connsiteY8" fmla="*/ 24384 h 165544"/>
                  <a:gd name="connsiteX9" fmla="*/ 225076 w 2835117"/>
                  <a:gd name="connsiteY9" fmla="*/ 30480 h 165544"/>
                  <a:gd name="connsiteX10" fmla="*/ 235554 w 2835117"/>
                  <a:gd name="connsiteY10" fmla="*/ 30480 h 165544"/>
                  <a:gd name="connsiteX11" fmla="*/ 235554 w 2835117"/>
                  <a:gd name="connsiteY11" fmla="*/ 36671 h 165544"/>
                  <a:gd name="connsiteX12" fmla="*/ 269272 w 2835117"/>
                  <a:gd name="connsiteY12" fmla="*/ 36671 h 165544"/>
                  <a:gd name="connsiteX13" fmla="*/ 269272 w 2835117"/>
                  <a:gd name="connsiteY13" fmla="*/ 42767 h 165544"/>
                  <a:gd name="connsiteX14" fmla="*/ 275559 w 2835117"/>
                  <a:gd name="connsiteY14" fmla="*/ 42767 h 165544"/>
                  <a:gd name="connsiteX15" fmla="*/ 275559 w 2835117"/>
                  <a:gd name="connsiteY15" fmla="*/ 48863 h 165544"/>
                  <a:gd name="connsiteX16" fmla="*/ 290227 w 2835117"/>
                  <a:gd name="connsiteY16" fmla="*/ 48863 h 165544"/>
                  <a:gd name="connsiteX17" fmla="*/ 290227 w 2835117"/>
                  <a:gd name="connsiteY17" fmla="*/ 54959 h 165544"/>
                  <a:gd name="connsiteX18" fmla="*/ 302895 w 2835117"/>
                  <a:gd name="connsiteY18" fmla="*/ 54959 h 165544"/>
                  <a:gd name="connsiteX19" fmla="*/ 302895 w 2835117"/>
                  <a:gd name="connsiteY19" fmla="*/ 61150 h 165544"/>
                  <a:gd name="connsiteX20" fmla="*/ 328137 w 2835117"/>
                  <a:gd name="connsiteY20" fmla="*/ 61150 h 165544"/>
                  <a:gd name="connsiteX21" fmla="*/ 328137 w 2835117"/>
                  <a:gd name="connsiteY21" fmla="*/ 67246 h 165544"/>
                  <a:gd name="connsiteX22" fmla="*/ 557403 w 2835117"/>
                  <a:gd name="connsiteY22" fmla="*/ 67246 h 165544"/>
                  <a:gd name="connsiteX23" fmla="*/ 557403 w 2835117"/>
                  <a:gd name="connsiteY23" fmla="*/ 73438 h 165544"/>
                  <a:gd name="connsiteX24" fmla="*/ 670941 w 2835117"/>
                  <a:gd name="connsiteY24" fmla="*/ 73438 h 165544"/>
                  <a:gd name="connsiteX25" fmla="*/ 670941 w 2835117"/>
                  <a:gd name="connsiteY25" fmla="*/ 79629 h 165544"/>
                  <a:gd name="connsiteX26" fmla="*/ 940118 w 2835117"/>
                  <a:gd name="connsiteY26" fmla="*/ 79629 h 165544"/>
                  <a:gd name="connsiteX27" fmla="*/ 940118 w 2835117"/>
                  <a:gd name="connsiteY27" fmla="*/ 85915 h 165544"/>
                  <a:gd name="connsiteX28" fmla="*/ 1013746 w 2835117"/>
                  <a:gd name="connsiteY28" fmla="*/ 85915 h 165544"/>
                  <a:gd name="connsiteX29" fmla="*/ 1013746 w 2835117"/>
                  <a:gd name="connsiteY29" fmla="*/ 92202 h 165544"/>
                  <a:gd name="connsiteX30" fmla="*/ 1093661 w 2835117"/>
                  <a:gd name="connsiteY30" fmla="*/ 92202 h 165544"/>
                  <a:gd name="connsiteX31" fmla="*/ 1093661 w 2835117"/>
                  <a:gd name="connsiteY31" fmla="*/ 98488 h 165544"/>
                  <a:gd name="connsiteX32" fmla="*/ 1255586 w 2835117"/>
                  <a:gd name="connsiteY32" fmla="*/ 98488 h 165544"/>
                  <a:gd name="connsiteX33" fmla="*/ 1255586 w 2835117"/>
                  <a:gd name="connsiteY33" fmla="*/ 104965 h 165544"/>
                  <a:gd name="connsiteX34" fmla="*/ 1272445 w 2835117"/>
                  <a:gd name="connsiteY34" fmla="*/ 104965 h 165544"/>
                  <a:gd name="connsiteX35" fmla="*/ 1272445 w 2835117"/>
                  <a:gd name="connsiteY35" fmla="*/ 111347 h 165544"/>
                  <a:gd name="connsiteX36" fmla="*/ 1390269 w 2835117"/>
                  <a:gd name="connsiteY36" fmla="*/ 111347 h 165544"/>
                  <a:gd name="connsiteX37" fmla="*/ 1390269 w 2835117"/>
                  <a:gd name="connsiteY37" fmla="*/ 117824 h 165544"/>
                  <a:gd name="connsiteX38" fmla="*/ 1482757 w 2835117"/>
                  <a:gd name="connsiteY38" fmla="*/ 117824 h 165544"/>
                  <a:gd name="connsiteX39" fmla="*/ 1482757 w 2835117"/>
                  <a:gd name="connsiteY39" fmla="*/ 124206 h 165544"/>
                  <a:gd name="connsiteX40" fmla="*/ 1501712 w 2835117"/>
                  <a:gd name="connsiteY40" fmla="*/ 124206 h 165544"/>
                  <a:gd name="connsiteX41" fmla="*/ 1501712 w 2835117"/>
                  <a:gd name="connsiteY41" fmla="*/ 130683 h 165544"/>
                  <a:gd name="connsiteX42" fmla="*/ 2355533 w 2835117"/>
                  <a:gd name="connsiteY42" fmla="*/ 130683 h 165544"/>
                  <a:gd name="connsiteX43" fmla="*/ 2355533 w 2835117"/>
                  <a:gd name="connsiteY43" fmla="*/ 165544 h 165544"/>
                  <a:gd name="connsiteX44" fmla="*/ 2835117 w 2835117"/>
                  <a:gd name="connsiteY44" fmla="*/ 165544 h 165544"/>
                  <a:gd name="connsiteX0" fmla="*/ 0 w 2835117"/>
                  <a:gd name="connsiteY0" fmla="*/ 0 h 165544"/>
                  <a:gd name="connsiteX1" fmla="*/ 115729 w 2835117"/>
                  <a:gd name="connsiteY1" fmla="*/ 6096 h 165544"/>
                  <a:gd name="connsiteX2" fmla="*/ 115729 w 2835117"/>
                  <a:gd name="connsiteY2" fmla="*/ 12097 h 165544"/>
                  <a:gd name="connsiteX3" fmla="*/ 153543 w 2835117"/>
                  <a:gd name="connsiteY3" fmla="*/ 12097 h 165544"/>
                  <a:gd name="connsiteX4" fmla="*/ 153543 w 2835117"/>
                  <a:gd name="connsiteY4" fmla="*/ 18288 h 165544"/>
                  <a:gd name="connsiteX5" fmla="*/ 206121 w 2835117"/>
                  <a:gd name="connsiteY5" fmla="*/ 18288 h 165544"/>
                  <a:gd name="connsiteX6" fmla="*/ 206121 w 2835117"/>
                  <a:gd name="connsiteY6" fmla="*/ 24384 h 165544"/>
                  <a:gd name="connsiteX7" fmla="*/ 225076 w 2835117"/>
                  <a:gd name="connsiteY7" fmla="*/ 24384 h 165544"/>
                  <a:gd name="connsiteX8" fmla="*/ 225076 w 2835117"/>
                  <a:gd name="connsiteY8" fmla="*/ 30480 h 165544"/>
                  <a:gd name="connsiteX9" fmla="*/ 235554 w 2835117"/>
                  <a:gd name="connsiteY9" fmla="*/ 30480 h 165544"/>
                  <a:gd name="connsiteX10" fmla="*/ 235554 w 2835117"/>
                  <a:gd name="connsiteY10" fmla="*/ 36671 h 165544"/>
                  <a:gd name="connsiteX11" fmla="*/ 269272 w 2835117"/>
                  <a:gd name="connsiteY11" fmla="*/ 36671 h 165544"/>
                  <a:gd name="connsiteX12" fmla="*/ 269272 w 2835117"/>
                  <a:gd name="connsiteY12" fmla="*/ 42767 h 165544"/>
                  <a:gd name="connsiteX13" fmla="*/ 275559 w 2835117"/>
                  <a:gd name="connsiteY13" fmla="*/ 42767 h 165544"/>
                  <a:gd name="connsiteX14" fmla="*/ 275559 w 2835117"/>
                  <a:gd name="connsiteY14" fmla="*/ 48863 h 165544"/>
                  <a:gd name="connsiteX15" fmla="*/ 290227 w 2835117"/>
                  <a:gd name="connsiteY15" fmla="*/ 48863 h 165544"/>
                  <a:gd name="connsiteX16" fmla="*/ 290227 w 2835117"/>
                  <a:gd name="connsiteY16" fmla="*/ 54959 h 165544"/>
                  <a:gd name="connsiteX17" fmla="*/ 302895 w 2835117"/>
                  <a:gd name="connsiteY17" fmla="*/ 54959 h 165544"/>
                  <a:gd name="connsiteX18" fmla="*/ 302895 w 2835117"/>
                  <a:gd name="connsiteY18" fmla="*/ 61150 h 165544"/>
                  <a:gd name="connsiteX19" fmla="*/ 328137 w 2835117"/>
                  <a:gd name="connsiteY19" fmla="*/ 61150 h 165544"/>
                  <a:gd name="connsiteX20" fmla="*/ 328137 w 2835117"/>
                  <a:gd name="connsiteY20" fmla="*/ 67246 h 165544"/>
                  <a:gd name="connsiteX21" fmla="*/ 557403 w 2835117"/>
                  <a:gd name="connsiteY21" fmla="*/ 67246 h 165544"/>
                  <a:gd name="connsiteX22" fmla="*/ 557403 w 2835117"/>
                  <a:gd name="connsiteY22" fmla="*/ 73438 h 165544"/>
                  <a:gd name="connsiteX23" fmla="*/ 670941 w 2835117"/>
                  <a:gd name="connsiteY23" fmla="*/ 73438 h 165544"/>
                  <a:gd name="connsiteX24" fmla="*/ 670941 w 2835117"/>
                  <a:gd name="connsiteY24" fmla="*/ 79629 h 165544"/>
                  <a:gd name="connsiteX25" fmla="*/ 940118 w 2835117"/>
                  <a:gd name="connsiteY25" fmla="*/ 79629 h 165544"/>
                  <a:gd name="connsiteX26" fmla="*/ 940118 w 2835117"/>
                  <a:gd name="connsiteY26" fmla="*/ 85915 h 165544"/>
                  <a:gd name="connsiteX27" fmla="*/ 1013746 w 2835117"/>
                  <a:gd name="connsiteY27" fmla="*/ 85915 h 165544"/>
                  <a:gd name="connsiteX28" fmla="*/ 1013746 w 2835117"/>
                  <a:gd name="connsiteY28" fmla="*/ 92202 h 165544"/>
                  <a:gd name="connsiteX29" fmla="*/ 1093661 w 2835117"/>
                  <a:gd name="connsiteY29" fmla="*/ 92202 h 165544"/>
                  <a:gd name="connsiteX30" fmla="*/ 1093661 w 2835117"/>
                  <a:gd name="connsiteY30" fmla="*/ 98488 h 165544"/>
                  <a:gd name="connsiteX31" fmla="*/ 1255586 w 2835117"/>
                  <a:gd name="connsiteY31" fmla="*/ 98488 h 165544"/>
                  <a:gd name="connsiteX32" fmla="*/ 1255586 w 2835117"/>
                  <a:gd name="connsiteY32" fmla="*/ 104965 h 165544"/>
                  <a:gd name="connsiteX33" fmla="*/ 1272445 w 2835117"/>
                  <a:gd name="connsiteY33" fmla="*/ 104965 h 165544"/>
                  <a:gd name="connsiteX34" fmla="*/ 1272445 w 2835117"/>
                  <a:gd name="connsiteY34" fmla="*/ 111347 h 165544"/>
                  <a:gd name="connsiteX35" fmla="*/ 1390269 w 2835117"/>
                  <a:gd name="connsiteY35" fmla="*/ 111347 h 165544"/>
                  <a:gd name="connsiteX36" fmla="*/ 1390269 w 2835117"/>
                  <a:gd name="connsiteY36" fmla="*/ 117824 h 165544"/>
                  <a:gd name="connsiteX37" fmla="*/ 1482757 w 2835117"/>
                  <a:gd name="connsiteY37" fmla="*/ 117824 h 165544"/>
                  <a:gd name="connsiteX38" fmla="*/ 1482757 w 2835117"/>
                  <a:gd name="connsiteY38" fmla="*/ 124206 h 165544"/>
                  <a:gd name="connsiteX39" fmla="*/ 1501712 w 2835117"/>
                  <a:gd name="connsiteY39" fmla="*/ 124206 h 165544"/>
                  <a:gd name="connsiteX40" fmla="*/ 1501712 w 2835117"/>
                  <a:gd name="connsiteY40" fmla="*/ 130683 h 165544"/>
                  <a:gd name="connsiteX41" fmla="*/ 2355533 w 2835117"/>
                  <a:gd name="connsiteY41" fmla="*/ 130683 h 165544"/>
                  <a:gd name="connsiteX42" fmla="*/ 2355533 w 2835117"/>
                  <a:gd name="connsiteY42" fmla="*/ 165544 h 165544"/>
                  <a:gd name="connsiteX43" fmla="*/ 2835117 w 2835117"/>
                  <a:gd name="connsiteY43" fmla="*/ 165544 h 165544"/>
                  <a:gd name="connsiteX0" fmla="*/ 0 w 2719388"/>
                  <a:gd name="connsiteY0" fmla="*/ 0 h 159448"/>
                  <a:gd name="connsiteX1" fmla="*/ 0 w 2719388"/>
                  <a:gd name="connsiteY1" fmla="*/ 6001 h 159448"/>
                  <a:gd name="connsiteX2" fmla="*/ 37814 w 2719388"/>
                  <a:gd name="connsiteY2" fmla="*/ 6001 h 159448"/>
                  <a:gd name="connsiteX3" fmla="*/ 37814 w 2719388"/>
                  <a:gd name="connsiteY3" fmla="*/ 12192 h 159448"/>
                  <a:gd name="connsiteX4" fmla="*/ 90392 w 2719388"/>
                  <a:gd name="connsiteY4" fmla="*/ 12192 h 159448"/>
                  <a:gd name="connsiteX5" fmla="*/ 90392 w 2719388"/>
                  <a:gd name="connsiteY5" fmla="*/ 18288 h 159448"/>
                  <a:gd name="connsiteX6" fmla="*/ 109347 w 2719388"/>
                  <a:gd name="connsiteY6" fmla="*/ 18288 h 159448"/>
                  <a:gd name="connsiteX7" fmla="*/ 109347 w 2719388"/>
                  <a:gd name="connsiteY7" fmla="*/ 24384 h 159448"/>
                  <a:gd name="connsiteX8" fmla="*/ 119825 w 2719388"/>
                  <a:gd name="connsiteY8" fmla="*/ 24384 h 159448"/>
                  <a:gd name="connsiteX9" fmla="*/ 119825 w 2719388"/>
                  <a:gd name="connsiteY9" fmla="*/ 30575 h 159448"/>
                  <a:gd name="connsiteX10" fmla="*/ 153543 w 2719388"/>
                  <a:gd name="connsiteY10" fmla="*/ 30575 h 159448"/>
                  <a:gd name="connsiteX11" fmla="*/ 153543 w 2719388"/>
                  <a:gd name="connsiteY11" fmla="*/ 36671 h 159448"/>
                  <a:gd name="connsiteX12" fmla="*/ 159830 w 2719388"/>
                  <a:gd name="connsiteY12" fmla="*/ 36671 h 159448"/>
                  <a:gd name="connsiteX13" fmla="*/ 159830 w 2719388"/>
                  <a:gd name="connsiteY13" fmla="*/ 42767 h 159448"/>
                  <a:gd name="connsiteX14" fmla="*/ 174498 w 2719388"/>
                  <a:gd name="connsiteY14" fmla="*/ 42767 h 159448"/>
                  <a:gd name="connsiteX15" fmla="*/ 174498 w 2719388"/>
                  <a:gd name="connsiteY15" fmla="*/ 48863 h 159448"/>
                  <a:gd name="connsiteX16" fmla="*/ 187166 w 2719388"/>
                  <a:gd name="connsiteY16" fmla="*/ 48863 h 159448"/>
                  <a:gd name="connsiteX17" fmla="*/ 187166 w 2719388"/>
                  <a:gd name="connsiteY17" fmla="*/ 55054 h 159448"/>
                  <a:gd name="connsiteX18" fmla="*/ 212408 w 2719388"/>
                  <a:gd name="connsiteY18" fmla="*/ 55054 h 159448"/>
                  <a:gd name="connsiteX19" fmla="*/ 212408 w 2719388"/>
                  <a:gd name="connsiteY19" fmla="*/ 61150 h 159448"/>
                  <a:gd name="connsiteX20" fmla="*/ 441674 w 2719388"/>
                  <a:gd name="connsiteY20" fmla="*/ 61150 h 159448"/>
                  <a:gd name="connsiteX21" fmla="*/ 441674 w 2719388"/>
                  <a:gd name="connsiteY21" fmla="*/ 67342 h 159448"/>
                  <a:gd name="connsiteX22" fmla="*/ 555212 w 2719388"/>
                  <a:gd name="connsiteY22" fmla="*/ 67342 h 159448"/>
                  <a:gd name="connsiteX23" fmla="*/ 555212 w 2719388"/>
                  <a:gd name="connsiteY23" fmla="*/ 73533 h 159448"/>
                  <a:gd name="connsiteX24" fmla="*/ 824389 w 2719388"/>
                  <a:gd name="connsiteY24" fmla="*/ 73533 h 159448"/>
                  <a:gd name="connsiteX25" fmla="*/ 824389 w 2719388"/>
                  <a:gd name="connsiteY25" fmla="*/ 79819 h 159448"/>
                  <a:gd name="connsiteX26" fmla="*/ 898017 w 2719388"/>
                  <a:gd name="connsiteY26" fmla="*/ 79819 h 159448"/>
                  <a:gd name="connsiteX27" fmla="*/ 898017 w 2719388"/>
                  <a:gd name="connsiteY27" fmla="*/ 86106 h 159448"/>
                  <a:gd name="connsiteX28" fmla="*/ 977932 w 2719388"/>
                  <a:gd name="connsiteY28" fmla="*/ 86106 h 159448"/>
                  <a:gd name="connsiteX29" fmla="*/ 977932 w 2719388"/>
                  <a:gd name="connsiteY29" fmla="*/ 92392 h 159448"/>
                  <a:gd name="connsiteX30" fmla="*/ 1139857 w 2719388"/>
                  <a:gd name="connsiteY30" fmla="*/ 92392 h 159448"/>
                  <a:gd name="connsiteX31" fmla="*/ 1139857 w 2719388"/>
                  <a:gd name="connsiteY31" fmla="*/ 98869 h 159448"/>
                  <a:gd name="connsiteX32" fmla="*/ 1156716 w 2719388"/>
                  <a:gd name="connsiteY32" fmla="*/ 98869 h 159448"/>
                  <a:gd name="connsiteX33" fmla="*/ 1156716 w 2719388"/>
                  <a:gd name="connsiteY33" fmla="*/ 105251 h 159448"/>
                  <a:gd name="connsiteX34" fmla="*/ 1274540 w 2719388"/>
                  <a:gd name="connsiteY34" fmla="*/ 105251 h 159448"/>
                  <a:gd name="connsiteX35" fmla="*/ 1274540 w 2719388"/>
                  <a:gd name="connsiteY35" fmla="*/ 111728 h 159448"/>
                  <a:gd name="connsiteX36" fmla="*/ 1367028 w 2719388"/>
                  <a:gd name="connsiteY36" fmla="*/ 111728 h 159448"/>
                  <a:gd name="connsiteX37" fmla="*/ 1367028 w 2719388"/>
                  <a:gd name="connsiteY37" fmla="*/ 118110 h 159448"/>
                  <a:gd name="connsiteX38" fmla="*/ 1385983 w 2719388"/>
                  <a:gd name="connsiteY38" fmla="*/ 118110 h 159448"/>
                  <a:gd name="connsiteX39" fmla="*/ 1385983 w 2719388"/>
                  <a:gd name="connsiteY39" fmla="*/ 124587 h 159448"/>
                  <a:gd name="connsiteX40" fmla="*/ 2239804 w 2719388"/>
                  <a:gd name="connsiteY40" fmla="*/ 124587 h 159448"/>
                  <a:gd name="connsiteX41" fmla="*/ 2239804 w 2719388"/>
                  <a:gd name="connsiteY41" fmla="*/ 159448 h 159448"/>
                  <a:gd name="connsiteX42" fmla="*/ 2719388 w 2719388"/>
                  <a:gd name="connsiteY42" fmla="*/ 159448 h 159448"/>
                  <a:gd name="connsiteX0" fmla="*/ 0 w 2719388"/>
                  <a:gd name="connsiteY0" fmla="*/ 0 h 159448"/>
                  <a:gd name="connsiteX1" fmla="*/ 37814 w 2719388"/>
                  <a:gd name="connsiteY1" fmla="*/ 6001 h 159448"/>
                  <a:gd name="connsiteX2" fmla="*/ 37814 w 2719388"/>
                  <a:gd name="connsiteY2" fmla="*/ 12192 h 159448"/>
                  <a:gd name="connsiteX3" fmla="*/ 90392 w 2719388"/>
                  <a:gd name="connsiteY3" fmla="*/ 12192 h 159448"/>
                  <a:gd name="connsiteX4" fmla="*/ 90392 w 2719388"/>
                  <a:gd name="connsiteY4" fmla="*/ 18288 h 159448"/>
                  <a:gd name="connsiteX5" fmla="*/ 109347 w 2719388"/>
                  <a:gd name="connsiteY5" fmla="*/ 18288 h 159448"/>
                  <a:gd name="connsiteX6" fmla="*/ 109347 w 2719388"/>
                  <a:gd name="connsiteY6" fmla="*/ 24384 h 159448"/>
                  <a:gd name="connsiteX7" fmla="*/ 119825 w 2719388"/>
                  <a:gd name="connsiteY7" fmla="*/ 24384 h 159448"/>
                  <a:gd name="connsiteX8" fmla="*/ 119825 w 2719388"/>
                  <a:gd name="connsiteY8" fmla="*/ 30575 h 159448"/>
                  <a:gd name="connsiteX9" fmla="*/ 153543 w 2719388"/>
                  <a:gd name="connsiteY9" fmla="*/ 30575 h 159448"/>
                  <a:gd name="connsiteX10" fmla="*/ 153543 w 2719388"/>
                  <a:gd name="connsiteY10" fmla="*/ 36671 h 159448"/>
                  <a:gd name="connsiteX11" fmla="*/ 159830 w 2719388"/>
                  <a:gd name="connsiteY11" fmla="*/ 36671 h 159448"/>
                  <a:gd name="connsiteX12" fmla="*/ 159830 w 2719388"/>
                  <a:gd name="connsiteY12" fmla="*/ 42767 h 159448"/>
                  <a:gd name="connsiteX13" fmla="*/ 174498 w 2719388"/>
                  <a:gd name="connsiteY13" fmla="*/ 42767 h 159448"/>
                  <a:gd name="connsiteX14" fmla="*/ 174498 w 2719388"/>
                  <a:gd name="connsiteY14" fmla="*/ 48863 h 159448"/>
                  <a:gd name="connsiteX15" fmla="*/ 187166 w 2719388"/>
                  <a:gd name="connsiteY15" fmla="*/ 48863 h 159448"/>
                  <a:gd name="connsiteX16" fmla="*/ 187166 w 2719388"/>
                  <a:gd name="connsiteY16" fmla="*/ 55054 h 159448"/>
                  <a:gd name="connsiteX17" fmla="*/ 212408 w 2719388"/>
                  <a:gd name="connsiteY17" fmla="*/ 55054 h 159448"/>
                  <a:gd name="connsiteX18" fmla="*/ 212408 w 2719388"/>
                  <a:gd name="connsiteY18" fmla="*/ 61150 h 159448"/>
                  <a:gd name="connsiteX19" fmla="*/ 441674 w 2719388"/>
                  <a:gd name="connsiteY19" fmla="*/ 61150 h 159448"/>
                  <a:gd name="connsiteX20" fmla="*/ 441674 w 2719388"/>
                  <a:gd name="connsiteY20" fmla="*/ 67342 h 159448"/>
                  <a:gd name="connsiteX21" fmla="*/ 555212 w 2719388"/>
                  <a:gd name="connsiteY21" fmla="*/ 67342 h 159448"/>
                  <a:gd name="connsiteX22" fmla="*/ 555212 w 2719388"/>
                  <a:gd name="connsiteY22" fmla="*/ 73533 h 159448"/>
                  <a:gd name="connsiteX23" fmla="*/ 824389 w 2719388"/>
                  <a:gd name="connsiteY23" fmla="*/ 73533 h 159448"/>
                  <a:gd name="connsiteX24" fmla="*/ 824389 w 2719388"/>
                  <a:gd name="connsiteY24" fmla="*/ 79819 h 159448"/>
                  <a:gd name="connsiteX25" fmla="*/ 898017 w 2719388"/>
                  <a:gd name="connsiteY25" fmla="*/ 79819 h 159448"/>
                  <a:gd name="connsiteX26" fmla="*/ 898017 w 2719388"/>
                  <a:gd name="connsiteY26" fmla="*/ 86106 h 159448"/>
                  <a:gd name="connsiteX27" fmla="*/ 977932 w 2719388"/>
                  <a:gd name="connsiteY27" fmla="*/ 86106 h 159448"/>
                  <a:gd name="connsiteX28" fmla="*/ 977932 w 2719388"/>
                  <a:gd name="connsiteY28" fmla="*/ 92392 h 159448"/>
                  <a:gd name="connsiteX29" fmla="*/ 1139857 w 2719388"/>
                  <a:gd name="connsiteY29" fmla="*/ 92392 h 159448"/>
                  <a:gd name="connsiteX30" fmla="*/ 1139857 w 2719388"/>
                  <a:gd name="connsiteY30" fmla="*/ 98869 h 159448"/>
                  <a:gd name="connsiteX31" fmla="*/ 1156716 w 2719388"/>
                  <a:gd name="connsiteY31" fmla="*/ 98869 h 159448"/>
                  <a:gd name="connsiteX32" fmla="*/ 1156716 w 2719388"/>
                  <a:gd name="connsiteY32" fmla="*/ 105251 h 159448"/>
                  <a:gd name="connsiteX33" fmla="*/ 1274540 w 2719388"/>
                  <a:gd name="connsiteY33" fmla="*/ 105251 h 159448"/>
                  <a:gd name="connsiteX34" fmla="*/ 1274540 w 2719388"/>
                  <a:gd name="connsiteY34" fmla="*/ 111728 h 159448"/>
                  <a:gd name="connsiteX35" fmla="*/ 1367028 w 2719388"/>
                  <a:gd name="connsiteY35" fmla="*/ 111728 h 159448"/>
                  <a:gd name="connsiteX36" fmla="*/ 1367028 w 2719388"/>
                  <a:gd name="connsiteY36" fmla="*/ 118110 h 159448"/>
                  <a:gd name="connsiteX37" fmla="*/ 1385983 w 2719388"/>
                  <a:gd name="connsiteY37" fmla="*/ 118110 h 159448"/>
                  <a:gd name="connsiteX38" fmla="*/ 1385983 w 2719388"/>
                  <a:gd name="connsiteY38" fmla="*/ 124587 h 159448"/>
                  <a:gd name="connsiteX39" fmla="*/ 2239804 w 2719388"/>
                  <a:gd name="connsiteY39" fmla="*/ 124587 h 159448"/>
                  <a:gd name="connsiteX40" fmla="*/ 2239804 w 2719388"/>
                  <a:gd name="connsiteY40" fmla="*/ 159448 h 159448"/>
                  <a:gd name="connsiteX41" fmla="*/ 2719388 w 2719388"/>
                  <a:gd name="connsiteY41" fmla="*/ 159448 h 159448"/>
                  <a:gd name="connsiteX0" fmla="*/ 0 w 2681574"/>
                  <a:gd name="connsiteY0" fmla="*/ 0 h 153447"/>
                  <a:gd name="connsiteX1" fmla="*/ 0 w 2681574"/>
                  <a:gd name="connsiteY1" fmla="*/ 6191 h 153447"/>
                  <a:gd name="connsiteX2" fmla="*/ 52578 w 2681574"/>
                  <a:gd name="connsiteY2" fmla="*/ 6191 h 153447"/>
                  <a:gd name="connsiteX3" fmla="*/ 52578 w 2681574"/>
                  <a:gd name="connsiteY3" fmla="*/ 12287 h 153447"/>
                  <a:gd name="connsiteX4" fmla="*/ 71533 w 2681574"/>
                  <a:gd name="connsiteY4" fmla="*/ 12287 h 153447"/>
                  <a:gd name="connsiteX5" fmla="*/ 71533 w 2681574"/>
                  <a:gd name="connsiteY5" fmla="*/ 18383 h 153447"/>
                  <a:gd name="connsiteX6" fmla="*/ 82011 w 2681574"/>
                  <a:gd name="connsiteY6" fmla="*/ 18383 h 153447"/>
                  <a:gd name="connsiteX7" fmla="*/ 82011 w 2681574"/>
                  <a:gd name="connsiteY7" fmla="*/ 24574 h 153447"/>
                  <a:gd name="connsiteX8" fmla="*/ 115729 w 2681574"/>
                  <a:gd name="connsiteY8" fmla="*/ 24574 h 153447"/>
                  <a:gd name="connsiteX9" fmla="*/ 115729 w 2681574"/>
                  <a:gd name="connsiteY9" fmla="*/ 30670 h 153447"/>
                  <a:gd name="connsiteX10" fmla="*/ 122016 w 2681574"/>
                  <a:gd name="connsiteY10" fmla="*/ 30670 h 153447"/>
                  <a:gd name="connsiteX11" fmla="*/ 122016 w 2681574"/>
                  <a:gd name="connsiteY11" fmla="*/ 36766 h 153447"/>
                  <a:gd name="connsiteX12" fmla="*/ 136684 w 2681574"/>
                  <a:gd name="connsiteY12" fmla="*/ 36766 h 153447"/>
                  <a:gd name="connsiteX13" fmla="*/ 136684 w 2681574"/>
                  <a:gd name="connsiteY13" fmla="*/ 42862 h 153447"/>
                  <a:gd name="connsiteX14" fmla="*/ 149352 w 2681574"/>
                  <a:gd name="connsiteY14" fmla="*/ 42862 h 153447"/>
                  <a:gd name="connsiteX15" fmla="*/ 149352 w 2681574"/>
                  <a:gd name="connsiteY15" fmla="*/ 49053 h 153447"/>
                  <a:gd name="connsiteX16" fmla="*/ 174594 w 2681574"/>
                  <a:gd name="connsiteY16" fmla="*/ 49053 h 153447"/>
                  <a:gd name="connsiteX17" fmla="*/ 174594 w 2681574"/>
                  <a:gd name="connsiteY17" fmla="*/ 55149 h 153447"/>
                  <a:gd name="connsiteX18" fmla="*/ 403860 w 2681574"/>
                  <a:gd name="connsiteY18" fmla="*/ 55149 h 153447"/>
                  <a:gd name="connsiteX19" fmla="*/ 403860 w 2681574"/>
                  <a:gd name="connsiteY19" fmla="*/ 61341 h 153447"/>
                  <a:gd name="connsiteX20" fmla="*/ 517398 w 2681574"/>
                  <a:gd name="connsiteY20" fmla="*/ 61341 h 153447"/>
                  <a:gd name="connsiteX21" fmla="*/ 517398 w 2681574"/>
                  <a:gd name="connsiteY21" fmla="*/ 67532 h 153447"/>
                  <a:gd name="connsiteX22" fmla="*/ 786575 w 2681574"/>
                  <a:gd name="connsiteY22" fmla="*/ 67532 h 153447"/>
                  <a:gd name="connsiteX23" fmla="*/ 786575 w 2681574"/>
                  <a:gd name="connsiteY23" fmla="*/ 73818 h 153447"/>
                  <a:gd name="connsiteX24" fmla="*/ 860203 w 2681574"/>
                  <a:gd name="connsiteY24" fmla="*/ 73818 h 153447"/>
                  <a:gd name="connsiteX25" fmla="*/ 860203 w 2681574"/>
                  <a:gd name="connsiteY25" fmla="*/ 80105 h 153447"/>
                  <a:gd name="connsiteX26" fmla="*/ 940118 w 2681574"/>
                  <a:gd name="connsiteY26" fmla="*/ 80105 h 153447"/>
                  <a:gd name="connsiteX27" fmla="*/ 940118 w 2681574"/>
                  <a:gd name="connsiteY27" fmla="*/ 86391 h 153447"/>
                  <a:gd name="connsiteX28" fmla="*/ 1102043 w 2681574"/>
                  <a:gd name="connsiteY28" fmla="*/ 86391 h 153447"/>
                  <a:gd name="connsiteX29" fmla="*/ 1102043 w 2681574"/>
                  <a:gd name="connsiteY29" fmla="*/ 92868 h 153447"/>
                  <a:gd name="connsiteX30" fmla="*/ 1118902 w 2681574"/>
                  <a:gd name="connsiteY30" fmla="*/ 92868 h 153447"/>
                  <a:gd name="connsiteX31" fmla="*/ 1118902 w 2681574"/>
                  <a:gd name="connsiteY31" fmla="*/ 99250 h 153447"/>
                  <a:gd name="connsiteX32" fmla="*/ 1236726 w 2681574"/>
                  <a:gd name="connsiteY32" fmla="*/ 99250 h 153447"/>
                  <a:gd name="connsiteX33" fmla="*/ 1236726 w 2681574"/>
                  <a:gd name="connsiteY33" fmla="*/ 105727 h 153447"/>
                  <a:gd name="connsiteX34" fmla="*/ 1329214 w 2681574"/>
                  <a:gd name="connsiteY34" fmla="*/ 105727 h 153447"/>
                  <a:gd name="connsiteX35" fmla="*/ 1329214 w 2681574"/>
                  <a:gd name="connsiteY35" fmla="*/ 112109 h 153447"/>
                  <a:gd name="connsiteX36" fmla="*/ 1348169 w 2681574"/>
                  <a:gd name="connsiteY36" fmla="*/ 112109 h 153447"/>
                  <a:gd name="connsiteX37" fmla="*/ 1348169 w 2681574"/>
                  <a:gd name="connsiteY37" fmla="*/ 118586 h 153447"/>
                  <a:gd name="connsiteX38" fmla="*/ 2201990 w 2681574"/>
                  <a:gd name="connsiteY38" fmla="*/ 118586 h 153447"/>
                  <a:gd name="connsiteX39" fmla="*/ 2201990 w 2681574"/>
                  <a:gd name="connsiteY39" fmla="*/ 153447 h 153447"/>
                  <a:gd name="connsiteX40" fmla="*/ 2681574 w 2681574"/>
                  <a:gd name="connsiteY40" fmla="*/ 153447 h 153447"/>
                  <a:gd name="connsiteX0" fmla="*/ 0 w 2681574"/>
                  <a:gd name="connsiteY0" fmla="*/ 0 h 147256"/>
                  <a:gd name="connsiteX1" fmla="*/ 52578 w 2681574"/>
                  <a:gd name="connsiteY1" fmla="*/ 0 h 147256"/>
                  <a:gd name="connsiteX2" fmla="*/ 52578 w 2681574"/>
                  <a:gd name="connsiteY2" fmla="*/ 6096 h 147256"/>
                  <a:gd name="connsiteX3" fmla="*/ 71533 w 2681574"/>
                  <a:gd name="connsiteY3" fmla="*/ 6096 h 147256"/>
                  <a:gd name="connsiteX4" fmla="*/ 71533 w 2681574"/>
                  <a:gd name="connsiteY4" fmla="*/ 12192 h 147256"/>
                  <a:gd name="connsiteX5" fmla="*/ 82011 w 2681574"/>
                  <a:gd name="connsiteY5" fmla="*/ 12192 h 147256"/>
                  <a:gd name="connsiteX6" fmla="*/ 82011 w 2681574"/>
                  <a:gd name="connsiteY6" fmla="*/ 18383 h 147256"/>
                  <a:gd name="connsiteX7" fmla="*/ 115729 w 2681574"/>
                  <a:gd name="connsiteY7" fmla="*/ 18383 h 147256"/>
                  <a:gd name="connsiteX8" fmla="*/ 115729 w 2681574"/>
                  <a:gd name="connsiteY8" fmla="*/ 24479 h 147256"/>
                  <a:gd name="connsiteX9" fmla="*/ 122016 w 2681574"/>
                  <a:gd name="connsiteY9" fmla="*/ 24479 h 147256"/>
                  <a:gd name="connsiteX10" fmla="*/ 122016 w 2681574"/>
                  <a:gd name="connsiteY10" fmla="*/ 30575 h 147256"/>
                  <a:gd name="connsiteX11" fmla="*/ 136684 w 2681574"/>
                  <a:gd name="connsiteY11" fmla="*/ 30575 h 147256"/>
                  <a:gd name="connsiteX12" fmla="*/ 136684 w 2681574"/>
                  <a:gd name="connsiteY12" fmla="*/ 36671 h 147256"/>
                  <a:gd name="connsiteX13" fmla="*/ 149352 w 2681574"/>
                  <a:gd name="connsiteY13" fmla="*/ 36671 h 147256"/>
                  <a:gd name="connsiteX14" fmla="*/ 149352 w 2681574"/>
                  <a:gd name="connsiteY14" fmla="*/ 42862 h 147256"/>
                  <a:gd name="connsiteX15" fmla="*/ 174594 w 2681574"/>
                  <a:gd name="connsiteY15" fmla="*/ 42862 h 147256"/>
                  <a:gd name="connsiteX16" fmla="*/ 174594 w 2681574"/>
                  <a:gd name="connsiteY16" fmla="*/ 48958 h 147256"/>
                  <a:gd name="connsiteX17" fmla="*/ 403860 w 2681574"/>
                  <a:gd name="connsiteY17" fmla="*/ 48958 h 147256"/>
                  <a:gd name="connsiteX18" fmla="*/ 403860 w 2681574"/>
                  <a:gd name="connsiteY18" fmla="*/ 55150 h 147256"/>
                  <a:gd name="connsiteX19" fmla="*/ 517398 w 2681574"/>
                  <a:gd name="connsiteY19" fmla="*/ 55150 h 147256"/>
                  <a:gd name="connsiteX20" fmla="*/ 517398 w 2681574"/>
                  <a:gd name="connsiteY20" fmla="*/ 61341 h 147256"/>
                  <a:gd name="connsiteX21" fmla="*/ 786575 w 2681574"/>
                  <a:gd name="connsiteY21" fmla="*/ 61341 h 147256"/>
                  <a:gd name="connsiteX22" fmla="*/ 786575 w 2681574"/>
                  <a:gd name="connsiteY22" fmla="*/ 67627 h 147256"/>
                  <a:gd name="connsiteX23" fmla="*/ 860203 w 2681574"/>
                  <a:gd name="connsiteY23" fmla="*/ 67627 h 147256"/>
                  <a:gd name="connsiteX24" fmla="*/ 860203 w 2681574"/>
                  <a:gd name="connsiteY24" fmla="*/ 73914 h 147256"/>
                  <a:gd name="connsiteX25" fmla="*/ 940118 w 2681574"/>
                  <a:gd name="connsiteY25" fmla="*/ 73914 h 147256"/>
                  <a:gd name="connsiteX26" fmla="*/ 940118 w 2681574"/>
                  <a:gd name="connsiteY26" fmla="*/ 80200 h 147256"/>
                  <a:gd name="connsiteX27" fmla="*/ 1102043 w 2681574"/>
                  <a:gd name="connsiteY27" fmla="*/ 80200 h 147256"/>
                  <a:gd name="connsiteX28" fmla="*/ 1102043 w 2681574"/>
                  <a:gd name="connsiteY28" fmla="*/ 86677 h 147256"/>
                  <a:gd name="connsiteX29" fmla="*/ 1118902 w 2681574"/>
                  <a:gd name="connsiteY29" fmla="*/ 86677 h 147256"/>
                  <a:gd name="connsiteX30" fmla="*/ 1118902 w 2681574"/>
                  <a:gd name="connsiteY30" fmla="*/ 93059 h 147256"/>
                  <a:gd name="connsiteX31" fmla="*/ 1236726 w 2681574"/>
                  <a:gd name="connsiteY31" fmla="*/ 93059 h 147256"/>
                  <a:gd name="connsiteX32" fmla="*/ 1236726 w 2681574"/>
                  <a:gd name="connsiteY32" fmla="*/ 99536 h 147256"/>
                  <a:gd name="connsiteX33" fmla="*/ 1329214 w 2681574"/>
                  <a:gd name="connsiteY33" fmla="*/ 99536 h 147256"/>
                  <a:gd name="connsiteX34" fmla="*/ 1329214 w 2681574"/>
                  <a:gd name="connsiteY34" fmla="*/ 105918 h 147256"/>
                  <a:gd name="connsiteX35" fmla="*/ 1348169 w 2681574"/>
                  <a:gd name="connsiteY35" fmla="*/ 105918 h 147256"/>
                  <a:gd name="connsiteX36" fmla="*/ 1348169 w 2681574"/>
                  <a:gd name="connsiteY36" fmla="*/ 112395 h 147256"/>
                  <a:gd name="connsiteX37" fmla="*/ 2201990 w 2681574"/>
                  <a:gd name="connsiteY37" fmla="*/ 112395 h 147256"/>
                  <a:gd name="connsiteX38" fmla="*/ 2201990 w 2681574"/>
                  <a:gd name="connsiteY38" fmla="*/ 147256 h 147256"/>
                  <a:gd name="connsiteX39" fmla="*/ 2681574 w 2681574"/>
                  <a:gd name="connsiteY39" fmla="*/ 147256 h 147256"/>
                  <a:gd name="connsiteX0" fmla="*/ 0 w 2628996"/>
                  <a:gd name="connsiteY0" fmla="*/ 0 h 147256"/>
                  <a:gd name="connsiteX1" fmla="*/ 0 w 2628996"/>
                  <a:gd name="connsiteY1" fmla="*/ 6096 h 147256"/>
                  <a:gd name="connsiteX2" fmla="*/ 18955 w 2628996"/>
                  <a:gd name="connsiteY2" fmla="*/ 6096 h 147256"/>
                  <a:gd name="connsiteX3" fmla="*/ 18955 w 2628996"/>
                  <a:gd name="connsiteY3" fmla="*/ 12192 h 147256"/>
                  <a:gd name="connsiteX4" fmla="*/ 29433 w 2628996"/>
                  <a:gd name="connsiteY4" fmla="*/ 12192 h 147256"/>
                  <a:gd name="connsiteX5" fmla="*/ 29433 w 2628996"/>
                  <a:gd name="connsiteY5" fmla="*/ 18383 h 147256"/>
                  <a:gd name="connsiteX6" fmla="*/ 63151 w 2628996"/>
                  <a:gd name="connsiteY6" fmla="*/ 18383 h 147256"/>
                  <a:gd name="connsiteX7" fmla="*/ 63151 w 2628996"/>
                  <a:gd name="connsiteY7" fmla="*/ 24479 h 147256"/>
                  <a:gd name="connsiteX8" fmla="*/ 69438 w 2628996"/>
                  <a:gd name="connsiteY8" fmla="*/ 24479 h 147256"/>
                  <a:gd name="connsiteX9" fmla="*/ 69438 w 2628996"/>
                  <a:gd name="connsiteY9" fmla="*/ 30575 h 147256"/>
                  <a:gd name="connsiteX10" fmla="*/ 84106 w 2628996"/>
                  <a:gd name="connsiteY10" fmla="*/ 30575 h 147256"/>
                  <a:gd name="connsiteX11" fmla="*/ 84106 w 2628996"/>
                  <a:gd name="connsiteY11" fmla="*/ 36671 h 147256"/>
                  <a:gd name="connsiteX12" fmla="*/ 96774 w 2628996"/>
                  <a:gd name="connsiteY12" fmla="*/ 36671 h 147256"/>
                  <a:gd name="connsiteX13" fmla="*/ 96774 w 2628996"/>
                  <a:gd name="connsiteY13" fmla="*/ 42862 h 147256"/>
                  <a:gd name="connsiteX14" fmla="*/ 122016 w 2628996"/>
                  <a:gd name="connsiteY14" fmla="*/ 42862 h 147256"/>
                  <a:gd name="connsiteX15" fmla="*/ 122016 w 2628996"/>
                  <a:gd name="connsiteY15" fmla="*/ 48958 h 147256"/>
                  <a:gd name="connsiteX16" fmla="*/ 351282 w 2628996"/>
                  <a:gd name="connsiteY16" fmla="*/ 48958 h 147256"/>
                  <a:gd name="connsiteX17" fmla="*/ 351282 w 2628996"/>
                  <a:gd name="connsiteY17" fmla="*/ 55150 h 147256"/>
                  <a:gd name="connsiteX18" fmla="*/ 464820 w 2628996"/>
                  <a:gd name="connsiteY18" fmla="*/ 55150 h 147256"/>
                  <a:gd name="connsiteX19" fmla="*/ 464820 w 2628996"/>
                  <a:gd name="connsiteY19" fmla="*/ 61341 h 147256"/>
                  <a:gd name="connsiteX20" fmla="*/ 733997 w 2628996"/>
                  <a:gd name="connsiteY20" fmla="*/ 61341 h 147256"/>
                  <a:gd name="connsiteX21" fmla="*/ 733997 w 2628996"/>
                  <a:gd name="connsiteY21" fmla="*/ 67627 h 147256"/>
                  <a:gd name="connsiteX22" fmla="*/ 807625 w 2628996"/>
                  <a:gd name="connsiteY22" fmla="*/ 67627 h 147256"/>
                  <a:gd name="connsiteX23" fmla="*/ 807625 w 2628996"/>
                  <a:gd name="connsiteY23" fmla="*/ 73914 h 147256"/>
                  <a:gd name="connsiteX24" fmla="*/ 887540 w 2628996"/>
                  <a:gd name="connsiteY24" fmla="*/ 73914 h 147256"/>
                  <a:gd name="connsiteX25" fmla="*/ 887540 w 2628996"/>
                  <a:gd name="connsiteY25" fmla="*/ 80200 h 147256"/>
                  <a:gd name="connsiteX26" fmla="*/ 1049465 w 2628996"/>
                  <a:gd name="connsiteY26" fmla="*/ 80200 h 147256"/>
                  <a:gd name="connsiteX27" fmla="*/ 1049465 w 2628996"/>
                  <a:gd name="connsiteY27" fmla="*/ 86677 h 147256"/>
                  <a:gd name="connsiteX28" fmla="*/ 1066324 w 2628996"/>
                  <a:gd name="connsiteY28" fmla="*/ 86677 h 147256"/>
                  <a:gd name="connsiteX29" fmla="*/ 1066324 w 2628996"/>
                  <a:gd name="connsiteY29" fmla="*/ 93059 h 147256"/>
                  <a:gd name="connsiteX30" fmla="*/ 1184148 w 2628996"/>
                  <a:gd name="connsiteY30" fmla="*/ 93059 h 147256"/>
                  <a:gd name="connsiteX31" fmla="*/ 1184148 w 2628996"/>
                  <a:gd name="connsiteY31" fmla="*/ 99536 h 147256"/>
                  <a:gd name="connsiteX32" fmla="*/ 1276636 w 2628996"/>
                  <a:gd name="connsiteY32" fmla="*/ 99536 h 147256"/>
                  <a:gd name="connsiteX33" fmla="*/ 1276636 w 2628996"/>
                  <a:gd name="connsiteY33" fmla="*/ 105918 h 147256"/>
                  <a:gd name="connsiteX34" fmla="*/ 1295591 w 2628996"/>
                  <a:gd name="connsiteY34" fmla="*/ 105918 h 147256"/>
                  <a:gd name="connsiteX35" fmla="*/ 1295591 w 2628996"/>
                  <a:gd name="connsiteY35" fmla="*/ 112395 h 147256"/>
                  <a:gd name="connsiteX36" fmla="*/ 2149412 w 2628996"/>
                  <a:gd name="connsiteY36" fmla="*/ 112395 h 147256"/>
                  <a:gd name="connsiteX37" fmla="*/ 2149412 w 2628996"/>
                  <a:gd name="connsiteY37" fmla="*/ 147256 h 147256"/>
                  <a:gd name="connsiteX38" fmla="*/ 2628996 w 2628996"/>
                  <a:gd name="connsiteY38" fmla="*/ 147256 h 147256"/>
                  <a:gd name="connsiteX0" fmla="*/ 0 w 2628996"/>
                  <a:gd name="connsiteY0" fmla="*/ 0 h 147256"/>
                  <a:gd name="connsiteX1" fmla="*/ 18955 w 2628996"/>
                  <a:gd name="connsiteY1" fmla="*/ 6096 h 147256"/>
                  <a:gd name="connsiteX2" fmla="*/ 18955 w 2628996"/>
                  <a:gd name="connsiteY2" fmla="*/ 12192 h 147256"/>
                  <a:gd name="connsiteX3" fmla="*/ 29433 w 2628996"/>
                  <a:gd name="connsiteY3" fmla="*/ 12192 h 147256"/>
                  <a:gd name="connsiteX4" fmla="*/ 29433 w 2628996"/>
                  <a:gd name="connsiteY4" fmla="*/ 18383 h 147256"/>
                  <a:gd name="connsiteX5" fmla="*/ 63151 w 2628996"/>
                  <a:gd name="connsiteY5" fmla="*/ 18383 h 147256"/>
                  <a:gd name="connsiteX6" fmla="*/ 63151 w 2628996"/>
                  <a:gd name="connsiteY6" fmla="*/ 24479 h 147256"/>
                  <a:gd name="connsiteX7" fmla="*/ 69438 w 2628996"/>
                  <a:gd name="connsiteY7" fmla="*/ 24479 h 147256"/>
                  <a:gd name="connsiteX8" fmla="*/ 69438 w 2628996"/>
                  <a:gd name="connsiteY8" fmla="*/ 30575 h 147256"/>
                  <a:gd name="connsiteX9" fmla="*/ 84106 w 2628996"/>
                  <a:gd name="connsiteY9" fmla="*/ 30575 h 147256"/>
                  <a:gd name="connsiteX10" fmla="*/ 84106 w 2628996"/>
                  <a:gd name="connsiteY10" fmla="*/ 36671 h 147256"/>
                  <a:gd name="connsiteX11" fmla="*/ 96774 w 2628996"/>
                  <a:gd name="connsiteY11" fmla="*/ 36671 h 147256"/>
                  <a:gd name="connsiteX12" fmla="*/ 96774 w 2628996"/>
                  <a:gd name="connsiteY12" fmla="*/ 42862 h 147256"/>
                  <a:gd name="connsiteX13" fmla="*/ 122016 w 2628996"/>
                  <a:gd name="connsiteY13" fmla="*/ 42862 h 147256"/>
                  <a:gd name="connsiteX14" fmla="*/ 122016 w 2628996"/>
                  <a:gd name="connsiteY14" fmla="*/ 48958 h 147256"/>
                  <a:gd name="connsiteX15" fmla="*/ 351282 w 2628996"/>
                  <a:gd name="connsiteY15" fmla="*/ 48958 h 147256"/>
                  <a:gd name="connsiteX16" fmla="*/ 351282 w 2628996"/>
                  <a:gd name="connsiteY16" fmla="*/ 55150 h 147256"/>
                  <a:gd name="connsiteX17" fmla="*/ 464820 w 2628996"/>
                  <a:gd name="connsiteY17" fmla="*/ 55150 h 147256"/>
                  <a:gd name="connsiteX18" fmla="*/ 464820 w 2628996"/>
                  <a:gd name="connsiteY18" fmla="*/ 61341 h 147256"/>
                  <a:gd name="connsiteX19" fmla="*/ 733997 w 2628996"/>
                  <a:gd name="connsiteY19" fmla="*/ 61341 h 147256"/>
                  <a:gd name="connsiteX20" fmla="*/ 733997 w 2628996"/>
                  <a:gd name="connsiteY20" fmla="*/ 67627 h 147256"/>
                  <a:gd name="connsiteX21" fmla="*/ 807625 w 2628996"/>
                  <a:gd name="connsiteY21" fmla="*/ 67627 h 147256"/>
                  <a:gd name="connsiteX22" fmla="*/ 807625 w 2628996"/>
                  <a:gd name="connsiteY22" fmla="*/ 73914 h 147256"/>
                  <a:gd name="connsiteX23" fmla="*/ 887540 w 2628996"/>
                  <a:gd name="connsiteY23" fmla="*/ 73914 h 147256"/>
                  <a:gd name="connsiteX24" fmla="*/ 887540 w 2628996"/>
                  <a:gd name="connsiteY24" fmla="*/ 80200 h 147256"/>
                  <a:gd name="connsiteX25" fmla="*/ 1049465 w 2628996"/>
                  <a:gd name="connsiteY25" fmla="*/ 80200 h 147256"/>
                  <a:gd name="connsiteX26" fmla="*/ 1049465 w 2628996"/>
                  <a:gd name="connsiteY26" fmla="*/ 86677 h 147256"/>
                  <a:gd name="connsiteX27" fmla="*/ 1066324 w 2628996"/>
                  <a:gd name="connsiteY27" fmla="*/ 86677 h 147256"/>
                  <a:gd name="connsiteX28" fmla="*/ 1066324 w 2628996"/>
                  <a:gd name="connsiteY28" fmla="*/ 93059 h 147256"/>
                  <a:gd name="connsiteX29" fmla="*/ 1184148 w 2628996"/>
                  <a:gd name="connsiteY29" fmla="*/ 93059 h 147256"/>
                  <a:gd name="connsiteX30" fmla="*/ 1184148 w 2628996"/>
                  <a:gd name="connsiteY30" fmla="*/ 99536 h 147256"/>
                  <a:gd name="connsiteX31" fmla="*/ 1276636 w 2628996"/>
                  <a:gd name="connsiteY31" fmla="*/ 99536 h 147256"/>
                  <a:gd name="connsiteX32" fmla="*/ 1276636 w 2628996"/>
                  <a:gd name="connsiteY32" fmla="*/ 105918 h 147256"/>
                  <a:gd name="connsiteX33" fmla="*/ 1295591 w 2628996"/>
                  <a:gd name="connsiteY33" fmla="*/ 105918 h 147256"/>
                  <a:gd name="connsiteX34" fmla="*/ 1295591 w 2628996"/>
                  <a:gd name="connsiteY34" fmla="*/ 112395 h 147256"/>
                  <a:gd name="connsiteX35" fmla="*/ 2149412 w 2628996"/>
                  <a:gd name="connsiteY35" fmla="*/ 112395 h 147256"/>
                  <a:gd name="connsiteX36" fmla="*/ 2149412 w 2628996"/>
                  <a:gd name="connsiteY36" fmla="*/ 147256 h 147256"/>
                  <a:gd name="connsiteX37" fmla="*/ 2628996 w 2628996"/>
                  <a:gd name="connsiteY37" fmla="*/ 147256 h 147256"/>
                  <a:gd name="connsiteX0" fmla="*/ 0 w 2610041"/>
                  <a:gd name="connsiteY0" fmla="*/ 0 h 141160"/>
                  <a:gd name="connsiteX1" fmla="*/ 0 w 2610041"/>
                  <a:gd name="connsiteY1" fmla="*/ 6096 h 141160"/>
                  <a:gd name="connsiteX2" fmla="*/ 10478 w 2610041"/>
                  <a:gd name="connsiteY2" fmla="*/ 6096 h 141160"/>
                  <a:gd name="connsiteX3" fmla="*/ 10478 w 2610041"/>
                  <a:gd name="connsiteY3" fmla="*/ 12287 h 141160"/>
                  <a:gd name="connsiteX4" fmla="*/ 44196 w 2610041"/>
                  <a:gd name="connsiteY4" fmla="*/ 12287 h 141160"/>
                  <a:gd name="connsiteX5" fmla="*/ 44196 w 2610041"/>
                  <a:gd name="connsiteY5" fmla="*/ 18383 h 141160"/>
                  <a:gd name="connsiteX6" fmla="*/ 50483 w 2610041"/>
                  <a:gd name="connsiteY6" fmla="*/ 18383 h 141160"/>
                  <a:gd name="connsiteX7" fmla="*/ 50483 w 2610041"/>
                  <a:gd name="connsiteY7" fmla="*/ 24479 h 141160"/>
                  <a:gd name="connsiteX8" fmla="*/ 65151 w 2610041"/>
                  <a:gd name="connsiteY8" fmla="*/ 24479 h 141160"/>
                  <a:gd name="connsiteX9" fmla="*/ 65151 w 2610041"/>
                  <a:gd name="connsiteY9" fmla="*/ 30575 h 141160"/>
                  <a:gd name="connsiteX10" fmla="*/ 77819 w 2610041"/>
                  <a:gd name="connsiteY10" fmla="*/ 30575 h 141160"/>
                  <a:gd name="connsiteX11" fmla="*/ 77819 w 2610041"/>
                  <a:gd name="connsiteY11" fmla="*/ 36766 h 141160"/>
                  <a:gd name="connsiteX12" fmla="*/ 103061 w 2610041"/>
                  <a:gd name="connsiteY12" fmla="*/ 36766 h 141160"/>
                  <a:gd name="connsiteX13" fmla="*/ 103061 w 2610041"/>
                  <a:gd name="connsiteY13" fmla="*/ 42862 h 141160"/>
                  <a:gd name="connsiteX14" fmla="*/ 332327 w 2610041"/>
                  <a:gd name="connsiteY14" fmla="*/ 42862 h 141160"/>
                  <a:gd name="connsiteX15" fmla="*/ 332327 w 2610041"/>
                  <a:gd name="connsiteY15" fmla="*/ 49054 h 141160"/>
                  <a:gd name="connsiteX16" fmla="*/ 445865 w 2610041"/>
                  <a:gd name="connsiteY16" fmla="*/ 49054 h 141160"/>
                  <a:gd name="connsiteX17" fmla="*/ 445865 w 2610041"/>
                  <a:gd name="connsiteY17" fmla="*/ 55245 h 141160"/>
                  <a:gd name="connsiteX18" fmla="*/ 715042 w 2610041"/>
                  <a:gd name="connsiteY18" fmla="*/ 55245 h 141160"/>
                  <a:gd name="connsiteX19" fmla="*/ 715042 w 2610041"/>
                  <a:gd name="connsiteY19" fmla="*/ 61531 h 141160"/>
                  <a:gd name="connsiteX20" fmla="*/ 788670 w 2610041"/>
                  <a:gd name="connsiteY20" fmla="*/ 61531 h 141160"/>
                  <a:gd name="connsiteX21" fmla="*/ 788670 w 2610041"/>
                  <a:gd name="connsiteY21" fmla="*/ 67818 h 141160"/>
                  <a:gd name="connsiteX22" fmla="*/ 868585 w 2610041"/>
                  <a:gd name="connsiteY22" fmla="*/ 67818 h 141160"/>
                  <a:gd name="connsiteX23" fmla="*/ 868585 w 2610041"/>
                  <a:gd name="connsiteY23" fmla="*/ 74104 h 141160"/>
                  <a:gd name="connsiteX24" fmla="*/ 1030510 w 2610041"/>
                  <a:gd name="connsiteY24" fmla="*/ 74104 h 141160"/>
                  <a:gd name="connsiteX25" fmla="*/ 1030510 w 2610041"/>
                  <a:gd name="connsiteY25" fmla="*/ 80581 h 141160"/>
                  <a:gd name="connsiteX26" fmla="*/ 1047369 w 2610041"/>
                  <a:gd name="connsiteY26" fmla="*/ 80581 h 141160"/>
                  <a:gd name="connsiteX27" fmla="*/ 1047369 w 2610041"/>
                  <a:gd name="connsiteY27" fmla="*/ 86963 h 141160"/>
                  <a:gd name="connsiteX28" fmla="*/ 1165193 w 2610041"/>
                  <a:gd name="connsiteY28" fmla="*/ 86963 h 141160"/>
                  <a:gd name="connsiteX29" fmla="*/ 1165193 w 2610041"/>
                  <a:gd name="connsiteY29" fmla="*/ 93440 h 141160"/>
                  <a:gd name="connsiteX30" fmla="*/ 1257681 w 2610041"/>
                  <a:gd name="connsiteY30" fmla="*/ 93440 h 141160"/>
                  <a:gd name="connsiteX31" fmla="*/ 1257681 w 2610041"/>
                  <a:gd name="connsiteY31" fmla="*/ 99822 h 141160"/>
                  <a:gd name="connsiteX32" fmla="*/ 1276636 w 2610041"/>
                  <a:gd name="connsiteY32" fmla="*/ 99822 h 141160"/>
                  <a:gd name="connsiteX33" fmla="*/ 1276636 w 2610041"/>
                  <a:gd name="connsiteY33" fmla="*/ 106299 h 141160"/>
                  <a:gd name="connsiteX34" fmla="*/ 2130457 w 2610041"/>
                  <a:gd name="connsiteY34" fmla="*/ 106299 h 141160"/>
                  <a:gd name="connsiteX35" fmla="*/ 2130457 w 2610041"/>
                  <a:gd name="connsiteY35" fmla="*/ 141160 h 141160"/>
                  <a:gd name="connsiteX36" fmla="*/ 2610041 w 2610041"/>
                  <a:gd name="connsiteY36" fmla="*/ 141160 h 141160"/>
                  <a:gd name="connsiteX0" fmla="*/ 0 w 2610041"/>
                  <a:gd name="connsiteY0" fmla="*/ 0 h 141160"/>
                  <a:gd name="connsiteX1" fmla="*/ 10478 w 2610041"/>
                  <a:gd name="connsiteY1" fmla="*/ 6096 h 141160"/>
                  <a:gd name="connsiteX2" fmla="*/ 10478 w 2610041"/>
                  <a:gd name="connsiteY2" fmla="*/ 12287 h 141160"/>
                  <a:gd name="connsiteX3" fmla="*/ 44196 w 2610041"/>
                  <a:gd name="connsiteY3" fmla="*/ 12287 h 141160"/>
                  <a:gd name="connsiteX4" fmla="*/ 44196 w 2610041"/>
                  <a:gd name="connsiteY4" fmla="*/ 18383 h 141160"/>
                  <a:gd name="connsiteX5" fmla="*/ 50483 w 2610041"/>
                  <a:gd name="connsiteY5" fmla="*/ 18383 h 141160"/>
                  <a:gd name="connsiteX6" fmla="*/ 50483 w 2610041"/>
                  <a:gd name="connsiteY6" fmla="*/ 24479 h 141160"/>
                  <a:gd name="connsiteX7" fmla="*/ 65151 w 2610041"/>
                  <a:gd name="connsiteY7" fmla="*/ 24479 h 141160"/>
                  <a:gd name="connsiteX8" fmla="*/ 65151 w 2610041"/>
                  <a:gd name="connsiteY8" fmla="*/ 30575 h 141160"/>
                  <a:gd name="connsiteX9" fmla="*/ 77819 w 2610041"/>
                  <a:gd name="connsiteY9" fmla="*/ 30575 h 141160"/>
                  <a:gd name="connsiteX10" fmla="*/ 77819 w 2610041"/>
                  <a:gd name="connsiteY10" fmla="*/ 36766 h 141160"/>
                  <a:gd name="connsiteX11" fmla="*/ 103061 w 2610041"/>
                  <a:gd name="connsiteY11" fmla="*/ 36766 h 141160"/>
                  <a:gd name="connsiteX12" fmla="*/ 103061 w 2610041"/>
                  <a:gd name="connsiteY12" fmla="*/ 42862 h 141160"/>
                  <a:gd name="connsiteX13" fmla="*/ 332327 w 2610041"/>
                  <a:gd name="connsiteY13" fmla="*/ 42862 h 141160"/>
                  <a:gd name="connsiteX14" fmla="*/ 332327 w 2610041"/>
                  <a:gd name="connsiteY14" fmla="*/ 49054 h 141160"/>
                  <a:gd name="connsiteX15" fmla="*/ 445865 w 2610041"/>
                  <a:gd name="connsiteY15" fmla="*/ 49054 h 141160"/>
                  <a:gd name="connsiteX16" fmla="*/ 445865 w 2610041"/>
                  <a:gd name="connsiteY16" fmla="*/ 55245 h 141160"/>
                  <a:gd name="connsiteX17" fmla="*/ 715042 w 2610041"/>
                  <a:gd name="connsiteY17" fmla="*/ 55245 h 141160"/>
                  <a:gd name="connsiteX18" fmla="*/ 715042 w 2610041"/>
                  <a:gd name="connsiteY18" fmla="*/ 61531 h 141160"/>
                  <a:gd name="connsiteX19" fmla="*/ 788670 w 2610041"/>
                  <a:gd name="connsiteY19" fmla="*/ 61531 h 141160"/>
                  <a:gd name="connsiteX20" fmla="*/ 788670 w 2610041"/>
                  <a:gd name="connsiteY20" fmla="*/ 67818 h 141160"/>
                  <a:gd name="connsiteX21" fmla="*/ 868585 w 2610041"/>
                  <a:gd name="connsiteY21" fmla="*/ 67818 h 141160"/>
                  <a:gd name="connsiteX22" fmla="*/ 868585 w 2610041"/>
                  <a:gd name="connsiteY22" fmla="*/ 74104 h 141160"/>
                  <a:gd name="connsiteX23" fmla="*/ 1030510 w 2610041"/>
                  <a:gd name="connsiteY23" fmla="*/ 74104 h 141160"/>
                  <a:gd name="connsiteX24" fmla="*/ 1030510 w 2610041"/>
                  <a:gd name="connsiteY24" fmla="*/ 80581 h 141160"/>
                  <a:gd name="connsiteX25" fmla="*/ 1047369 w 2610041"/>
                  <a:gd name="connsiteY25" fmla="*/ 80581 h 141160"/>
                  <a:gd name="connsiteX26" fmla="*/ 1047369 w 2610041"/>
                  <a:gd name="connsiteY26" fmla="*/ 86963 h 141160"/>
                  <a:gd name="connsiteX27" fmla="*/ 1165193 w 2610041"/>
                  <a:gd name="connsiteY27" fmla="*/ 86963 h 141160"/>
                  <a:gd name="connsiteX28" fmla="*/ 1165193 w 2610041"/>
                  <a:gd name="connsiteY28" fmla="*/ 93440 h 141160"/>
                  <a:gd name="connsiteX29" fmla="*/ 1257681 w 2610041"/>
                  <a:gd name="connsiteY29" fmla="*/ 93440 h 141160"/>
                  <a:gd name="connsiteX30" fmla="*/ 1257681 w 2610041"/>
                  <a:gd name="connsiteY30" fmla="*/ 99822 h 141160"/>
                  <a:gd name="connsiteX31" fmla="*/ 1276636 w 2610041"/>
                  <a:gd name="connsiteY31" fmla="*/ 99822 h 141160"/>
                  <a:gd name="connsiteX32" fmla="*/ 1276636 w 2610041"/>
                  <a:gd name="connsiteY32" fmla="*/ 106299 h 141160"/>
                  <a:gd name="connsiteX33" fmla="*/ 2130457 w 2610041"/>
                  <a:gd name="connsiteY33" fmla="*/ 106299 h 141160"/>
                  <a:gd name="connsiteX34" fmla="*/ 2130457 w 2610041"/>
                  <a:gd name="connsiteY34" fmla="*/ 141160 h 141160"/>
                  <a:gd name="connsiteX35" fmla="*/ 2610041 w 2610041"/>
                  <a:gd name="connsiteY35" fmla="*/ 141160 h 141160"/>
                  <a:gd name="connsiteX0" fmla="*/ 0 w 2599563"/>
                  <a:gd name="connsiteY0" fmla="*/ 0 h 135064"/>
                  <a:gd name="connsiteX1" fmla="*/ 0 w 2599563"/>
                  <a:gd name="connsiteY1" fmla="*/ 6191 h 135064"/>
                  <a:gd name="connsiteX2" fmla="*/ 33718 w 2599563"/>
                  <a:gd name="connsiteY2" fmla="*/ 6191 h 135064"/>
                  <a:gd name="connsiteX3" fmla="*/ 33718 w 2599563"/>
                  <a:gd name="connsiteY3" fmla="*/ 12287 h 135064"/>
                  <a:gd name="connsiteX4" fmla="*/ 40005 w 2599563"/>
                  <a:gd name="connsiteY4" fmla="*/ 12287 h 135064"/>
                  <a:gd name="connsiteX5" fmla="*/ 40005 w 2599563"/>
                  <a:gd name="connsiteY5" fmla="*/ 18383 h 135064"/>
                  <a:gd name="connsiteX6" fmla="*/ 54673 w 2599563"/>
                  <a:gd name="connsiteY6" fmla="*/ 18383 h 135064"/>
                  <a:gd name="connsiteX7" fmla="*/ 54673 w 2599563"/>
                  <a:gd name="connsiteY7" fmla="*/ 24479 h 135064"/>
                  <a:gd name="connsiteX8" fmla="*/ 67341 w 2599563"/>
                  <a:gd name="connsiteY8" fmla="*/ 24479 h 135064"/>
                  <a:gd name="connsiteX9" fmla="*/ 67341 w 2599563"/>
                  <a:gd name="connsiteY9" fmla="*/ 30670 h 135064"/>
                  <a:gd name="connsiteX10" fmla="*/ 92583 w 2599563"/>
                  <a:gd name="connsiteY10" fmla="*/ 30670 h 135064"/>
                  <a:gd name="connsiteX11" fmla="*/ 92583 w 2599563"/>
                  <a:gd name="connsiteY11" fmla="*/ 36766 h 135064"/>
                  <a:gd name="connsiteX12" fmla="*/ 321849 w 2599563"/>
                  <a:gd name="connsiteY12" fmla="*/ 36766 h 135064"/>
                  <a:gd name="connsiteX13" fmla="*/ 321849 w 2599563"/>
                  <a:gd name="connsiteY13" fmla="*/ 42958 h 135064"/>
                  <a:gd name="connsiteX14" fmla="*/ 435387 w 2599563"/>
                  <a:gd name="connsiteY14" fmla="*/ 42958 h 135064"/>
                  <a:gd name="connsiteX15" fmla="*/ 435387 w 2599563"/>
                  <a:gd name="connsiteY15" fmla="*/ 49149 h 135064"/>
                  <a:gd name="connsiteX16" fmla="*/ 704564 w 2599563"/>
                  <a:gd name="connsiteY16" fmla="*/ 49149 h 135064"/>
                  <a:gd name="connsiteX17" fmla="*/ 704564 w 2599563"/>
                  <a:gd name="connsiteY17" fmla="*/ 55435 h 135064"/>
                  <a:gd name="connsiteX18" fmla="*/ 778192 w 2599563"/>
                  <a:gd name="connsiteY18" fmla="*/ 55435 h 135064"/>
                  <a:gd name="connsiteX19" fmla="*/ 778192 w 2599563"/>
                  <a:gd name="connsiteY19" fmla="*/ 61722 h 135064"/>
                  <a:gd name="connsiteX20" fmla="*/ 858107 w 2599563"/>
                  <a:gd name="connsiteY20" fmla="*/ 61722 h 135064"/>
                  <a:gd name="connsiteX21" fmla="*/ 858107 w 2599563"/>
                  <a:gd name="connsiteY21" fmla="*/ 68008 h 135064"/>
                  <a:gd name="connsiteX22" fmla="*/ 1020032 w 2599563"/>
                  <a:gd name="connsiteY22" fmla="*/ 68008 h 135064"/>
                  <a:gd name="connsiteX23" fmla="*/ 1020032 w 2599563"/>
                  <a:gd name="connsiteY23" fmla="*/ 74485 h 135064"/>
                  <a:gd name="connsiteX24" fmla="*/ 1036891 w 2599563"/>
                  <a:gd name="connsiteY24" fmla="*/ 74485 h 135064"/>
                  <a:gd name="connsiteX25" fmla="*/ 1036891 w 2599563"/>
                  <a:gd name="connsiteY25" fmla="*/ 80867 h 135064"/>
                  <a:gd name="connsiteX26" fmla="*/ 1154715 w 2599563"/>
                  <a:gd name="connsiteY26" fmla="*/ 80867 h 135064"/>
                  <a:gd name="connsiteX27" fmla="*/ 1154715 w 2599563"/>
                  <a:gd name="connsiteY27" fmla="*/ 87344 h 135064"/>
                  <a:gd name="connsiteX28" fmla="*/ 1247203 w 2599563"/>
                  <a:gd name="connsiteY28" fmla="*/ 87344 h 135064"/>
                  <a:gd name="connsiteX29" fmla="*/ 1247203 w 2599563"/>
                  <a:gd name="connsiteY29" fmla="*/ 93726 h 135064"/>
                  <a:gd name="connsiteX30" fmla="*/ 1266158 w 2599563"/>
                  <a:gd name="connsiteY30" fmla="*/ 93726 h 135064"/>
                  <a:gd name="connsiteX31" fmla="*/ 1266158 w 2599563"/>
                  <a:gd name="connsiteY31" fmla="*/ 100203 h 135064"/>
                  <a:gd name="connsiteX32" fmla="*/ 2119979 w 2599563"/>
                  <a:gd name="connsiteY32" fmla="*/ 100203 h 135064"/>
                  <a:gd name="connsiteX33" fmla="*/ 2119979 w 2599563"/>
                  <a:gd name="connsiteY33" fmla="*/ 135064 h 135064"/>
                  <a:gd name="connsiteX34" fmla="*/ 2599563 w 2599563"/>
                  <a:gd name="connsiteY34" fmla="*/ 135064 h 135064"/>
                  <a:gd name="connsiteX0" fmla="*/ 0 w 2599563"/>
                  <a:gd name="connsiteY0" fmla="*/ 0 h 135064"/>
                  <a:gd name="connsiteX1" fmla="*/ 33718 w 2599563"/>
                  <a:gd name="connsiteY1" fmla="*/ 6191 h 135064"/>
                  <a:gd name="connsiteX2" fmla="*/ 33718 w 2599563"/>
                  <a:gd name="connsiteY2" fmla="*/ 12287 h 135064"/>
                  <a:gd name="connsiteX3" fmla="*/ 40005 w 2599563"/>
                  <a:gd name="connsiteY3" fmla="*/ 12287 h 135064"/>
                  <a:gd name="connsiteX4" fmla="*/ 40005 w 2599563"/>
                  <a:gd name="connsiteY4" fmla="*/ 18383 h 135064"/>
                  <a:gd name="connsiteX5" fmla="*/ 54673 w 2599563"/>
                  <a:gd name="connsiteY5" fmla="*/ 18383 h 135064"/>
                  <a:gd name="connsiteX6" fmla="*/ 54673 w 2599563"/>
                  <a:gd name="connsiteY6" fmla="*/ 24479 h 135064"/>
                  <a:gd name="connsiteX7" fmla="*/ 67341 w 2599563"/>
                  <a:gd name="connsiteY7" fmla="*/ 24479 h 135064"/>
                  <a:gd name="connsiteX8" fmla="*/ 67341 w 2599563"/>
                  <a:gd name="connsiteY8" fmla="*/ 30670 h 135064"/>
                  <a:gd name="connsiteX9" fmla="*/ 92583 w 2599563"/>
                  <a:gd name="connsiteY9" fmla="*/ 30670 h 135064"/>
                  <a:gd name="connsiteX10" fmla="*/ 92583 w 2599563"/>
                  <a:gd name="connsiteY10" fmla="*/ 36766 h 135064"/>
                  <a:gd name="connsiteX11" fmla="*/ 321849 w 2599563"/>
                  <a:gd name="connsiteY11" fmla="*/ 36766 h 135064"/>
                  <a:gd name="connsiteX12" fmla="*/ 321849 w 2599563"/>
                  <a:gd name="connsiteY12" fmla="*/ 42958 h 135064"/>
                  <a:gd name="connsiteX13" fmla="*/ 435387 w 2599563"/>
                  <a:gd name="connsiteY13" fmla="*/ 42958 h 135064"/>
                  <a:gd name="connsiteX14" fmla="*/ 435387 w 2599563"/>
                  <a:gd name="connsiteY14" fmla="*/ 49149 h 135064"/>
                  <a:gd name="connsiteX15" fmla="*/ 704564 w 2599563"/>
                  <a:gd name="connsiteY15" fmla="*/ 49149 h 135064"/>
                  <a:gd name="connsiteX16" fmla="*/ 704564 w 2599563"/>
                  <a:gd name="connsiteY16" fmla="*/ 55435 h 135064"/>
                  <a:gd name="connsiteX17" fmla="*/ 778192 w 2599563"/>
                  <a:gd name="connsiteY17" fmla="*/ 55435 h 135064"/>
                  <a:gd name="connsiteX18" fmla="*/ 778192 w 2599563"/>
                  <a:gd name="connsiteY18" fmla="*/ 61722 h 135064"/>
                  <a:gd name="connsiteX19" fmla="*/ 858107 w 2599563"/>
                  <a:gd name="connsiteY19" fmla="*/ 61722 h 135064"/>
                  <a:gd name="connsiteX20" fmla="*/ 858107 w 2599563"/>
                  <a:gd name="connsiteY20" fmla="*/ 68008 h 135064"/>
                  <a:gd name="connsiteX21" fmla="*/ 1020032 w 2599563"/>
                  <a:gd name="connsiteY21" fmla="*/ 68008 h 135064"/>
                  <a:gd name="connsiteX22" fmla="*/ 1020032 w 2599563"/>
                  <a:gd name="connsiteY22" fmla="*/ 74485 h 135064"/>
                  <a:gd name="connsiteX23" fmla="*/ 1036891 w 2599563"/>
                  <a:gd name="connsiteY23" fmla="*/ 74485 h 135064"/>
                  <a:gd name="connsiteX24" fmla="*/ 1036891 w 2599563"/>
                  <a:gd name="connsiteY24" fmla="*/ 80867 h 135064"/>
                  <a:gd name="connsiteX25" fmla="*/ 1154715 w 2599563"/>
                  <a:gd name="connsiteY25" fmla="*/ 80867 h 135064"/>
                  <a:gd name="connsiteX26" fmla="*/ 1154715 w 2599563"/>
                  <a:gd name="connsiteY26" fmla="*/ 87344 h 135064"/>
                  <a:gd name="connsiteX27" fmla="*/ 1247203 w 2599563"/>
                  <a:gd name="connsiteY27" fmla="*/ 87344 h 135064"/>
                  <a:gd name="connsiteX28" fmla="*/ 1247203 w 2599563"/>
                  <a:gd name="connsiteY28" fmla="*/ 93726 h 135064"/>
                  <a:gd name="connsiteX29" fmla="*/ 1266158 w 2599563"/>
                  <a:gd name="connsiteY29" fmla="*/ 93726 h 135064"/>
                  <a:gd name="connsiteX30" fmla="*/ 1266158 w 2599563"/>
                  <a:gd name="connsiteY30" fmla="*/ 100203 h 135064"/>
                  <a:gd name="connsiteX31" fmla="*/ 2119979 w 2599563"/>
                  <a:gd name="connsiteY31" fmla="*/ 100203 h 135064"/>
                  <a:gd name="connsiteX32" fmla="*/ 2119979 w 2599563"/>
                  <a:gd name="connsiteY32" fmla="*/ 135064 h 135064"/>
                  <a:gd name="connsiteX33" fmla="*/ 2599563 w 2599563"/>
                  <a:gd name="connsiteY33" fmla="*/ 135064 h 135064"/>
                  <a:gd name="connsiteX0" fmla="*/ 0 w 2565845"/>
                  <a:gd name="connsiteY0" fmla="*/ 0 h 128873"/>
                  <a:gd name="connsiteX1" fmla="*/ 0 w 2565845"/>
                  <a:gd name="connsiteY1" fmla="*/ 6096 h 128873"/>
                  <a:gd name="connsiteX2" fmla="*/ 6287 w 2565845"/>
                  <a:gd name="connsiteY2" fmla="*/ 6096 h 128873"/>
                  <a:gd name="connsiteX3" fmla="*/ 6287 w 2565845"/>
                  <a:gd name="connsiteY3" fmla="*/ 12192 h 128873"/>
                  <a:gd name="connsiteX4" fmla="*/ 20955 w 2565845"/>
                  <a:gd name="connsiteY4" fmla="*/ 12192 h 128873"/>
                  <a:gd name="connsiteX5" fmla="*/ 20955 w 2565845"/>
                  <a:gd name="connsiteY5" fmla="*/ 18288 h 128873"/>
                  <a:gd name="connsiteX6" fmla="*/ 33623 w 2565845"/>
                  <a:gd name="connsiteY6" fmla="*/ 18288 h 128873"/>
                  <a:gd name="connsiteX7" fmla="*/ 33623 w 2565845"/>
                  <a:gd name="connsiteY7" fmla="*/ 24479 h 128873"/>
                  <a:gd name="connsiteX8" fmla="*/ 58865 w 2565845"/>
                  <a:gd name="connsiteY8" fmla="*/ 24479 h 128873"/>
                  <a:gd name="connsiteX9" fmla="*/ 58865 w 2565845"/>
                  <a:gd name="connsiteY9" fmla="*/ 30575 h 128873"/>
                  <a:gd name="connsiteX10" fmla="*/ 288131 w 2565845"/>
                  <a:gd name="connsiteY10" fmla="*/ 30575 h 128873"/>
                  <a:gd name="connsiteX11" fmla="*/ 288131 w 2565845"/>
                  <a:gd name="connsiteY11" fmla="*/ 36767 h 128873"/>
                  <a:gd name="connsiteX12" fmla="*/ 401669 w 2565845"/>
                  <a:gd name="connsiteY12" fmla="*/ 36767 h 128873"/>
                  <a:gd name="connsiteX13" fmla="*/ 401669 w 2565845"/>
                  <a:gd name="connsiteY13" fmla="*/ 42958 h 128873"/>
                  <a:gd name="connsiteX14" fmla="*/ 670846 w 2565845"/>
                  <a:gd name="connsiteY14" fmla="*/ 42958 h 128873"/>
                  <a:gd name="connsiteX15" fmla="*/ 670846 w 2565845"/>
                  <a:gd name="connsiteY15" fmla="*/ 49244 h 128873"/>
                  <a:gd name="connsiteX16" fmla="*/ 744474 w 2565845"/>
                  <a:gd name="connsiteY16" fmla="*/ 49244 h 128873"/>
                  <a:gd name="connsiteX17" fmla="*/ 744474 w 2565845"/>
                  <a:gd name="connsiteY17" fmla="*/ 55531 h 128873"/>
                  <a:gd name="connsiteX18" fmla="*/ 824389 w 2565845"/>
                  <a:gd name="connsiteY18" fmla="*/ 55531 h 128873"/>
                  <a:gd name="connsiteX19" fmla="*/ 824389 w 2565845"/>
                  <a:gd name="connsiteY19" fmla="*/ 61817 h 128873"/>
                  <a:gd name="connsiteX20" fmla="*/ 986314 w 2565845"/>
                  <a:gd name="connsiteY20" fmla="*/ 61817 h 128873"/>
                  <a:gd name="connsiteX21" fmla="*/ 986314 w 2565845"/>
                  <a:gd name="connsiteY21" fmla="*/ 68294 h 128873"/>
                  <a:gd name="connsiteX22" fmla="*/ 1003173 w 2565845"/>
                  <a:gd name="connsiteY22" fmla="*/ 68294 h 128873"/>
                  <a:gd name="connsiteX23" fmla="*/ 1003173 w 2565845"/>
                  <a:gd name="connsiteY23" fmla="*/ 74676 h 128873"/>
                  <a:gd name="connsiteX24" fmla="*/ 1120997 w 2565845"/>
                  <a:gd name="connsiteY24" fmla="*/ 74676 h 128873"/>
                  <a:gd name="connsiteX25" fmla="*/ 1120997 w 2565845"/>
                  <a:gd name="connsiteY25" fmla="*/ 81153 h 128873"/>
                  <a:gd name="connsiteX26" fmla="*/ 1213485 w 2565845"/>
                  <a:gd name="connsiteY26" fmla="*/ 81153 h 128873"/>
                  <a:gd name="connsiteX27" fmla="*/ 1213485 w 2565845"/>
                  <a:gd name="connsiteY27" fmla="*/ 87535 h 128873"/>
                  <a:gd name="connsiteX28" fmla="*/ 1232440 w 2565845"/>
                  <a:gd name="connsiteY28" fmla="*/ 87535 h 128873"/>
                  <a:gd name="connsiteX29" fmla="*/ 1232440 w 2565845"/>
                  <a:gd name="connsiteY29" fmla="*/ 94012 h 128873"/>
                  <a:gd name="connsiteX30" fmla="*/ 2086261 w 2565845"/>
                  <a:gd name="connsiteY30" fmla="*/ 94012 h 128873"/>
                  <a:gd name="connsiteX31" fmla="*/ 2086261 w 2565845"/>
                  <a:gd name="connsiteY31" fmla="*/ 128873 h 128873"/>
                  <a:gd name="connsiteX32" fmla="*/ 2565845 w 2565845"/>
                  <a:gd name="connsiteY32" fmla="*/ 128873 h 128873"/>
                  <a:gd name="connsiteX0" fmla="*/ 0 w 2565845"/>
                  <a:gd name="connsiteY0" fmla="*/ 0 h 128873"/>
                  <a:gd name="connsiteX1" fmla="*/ 6287 w 2565845"/>
                  <a:gd name="connsiteY1" fmla="*/ 6096 h 128873"/>
                  <a:gd name="connsiteX2" fmla="*/ 6287 w 2565845"/>
                  <a:gd name="connsiteY2" fmla="*/ 12192 h 128873"/>
                  <a:gd name="connsiteX3" fmla="*/ 20955 w 2565845"/>
                  <a:gd name="connsiteY3" fmla="*/ 12192 h 128873"/>
                  <a:gd name="connsiteX4" fmla="*/ 20955 w 2565845"/>
                  <a:gd name="connsiteY4" fmla="*/ 18288 h 128873"/>
                  <a:gd name="connsiteX5" fmla="*/ 33623 w 2565845"/>
                  <a:gd name="connsiteY5" fmla="*/ 18288 h 128873"/>
                  <a:gd name="connsiteX6" fmla="*/ 33623 w 2565845"/>
                  <a:gd name="connsiteY6" fmla="*/ 24479 h 128873"/>
                  <a:gd name="connsiteX7" fmla="*/ 58865 w 2565845"/>
                  <a:gd name="connsiteY7" fmla="*/ 24479 h 128873"/>
                  <a:gd name="connsiteX8" fmla="*/ 58865 w 2565845"/>
                  <a:gd name="connsiteY8" fmla="*/ 30575 h 128873"/>
                  <a:gd name="connsiteX9" fmla="*/ 288131 w 2565845"/>
                  <a:gd name="connsiteY9" fmla="*/ 30575 h 128873"/>
                  <a:gd name="connsiteX10" fmla="*/ 288131 w 2565845"/>
                  <a:gd name="connsiteY10" fmla="*/ 36767 h 128873"/>
                  <a:gd name="connsiteX11" fmla="*/ 401669 w 2565845"/>
                  <a:gd name="connsiteY11" fmla="*/ 36767 h 128873"/>
                  <a:gd name="connsiteX12" fmla="*/ 401669 w 2565845"/>
                  <a:gd name="connsiteY12" fmla="*/ 42958 h 128873"/>
                  <a:gd name="connsiteX13" fmla="*/ 670846 w 2565845"/>
                  <a:gd name="connsiteY13" fmla="*/ 42958 h 128873"/>
                  <a:gd name="connsiteX14" fmla="*/ 670846 w 2565845"/>
                  <a:gd name="connsiteY14" fmla="*/ 49244 h 128873"/>
                  <a:gd name="connsiteX15" fmla="*/ 744474 w 2565845"/>
                  <a:gd name="connsiteY15" fmla="*/ 49244 h 128873"/>
                  <a:gd name="connsiteX16" fmla="*/ 744474 w 2565845"/>
                  <a:gd name="connsiteY16" fmla="*/ 55531 h 128873"/>
                  <a:gd name="connsiteX17" fmla="*/ 824389 w 2565845"/>
                  <a:gd name="connsiteY17" fmla="*/ 55531 h 128873"/>
                  <a:gd name="connsiteX18" fmla="*/ 824389 w 2565845"/>
                  <a:gd name="connsiteY18" fmla="*/ 61817 h 128873"/>
                  <a:gd name="connsiteX19" fmla="*/ 986314 w 2565845"/>
                  <a:gd name="connsiteY19" fmla="*/ 61817 h 128873"/>
                  <a:gd name="connsiteX20" fmla="*/ 986314 w 2565845"/>
                  <a:gd name="connsiteY20" fmla="*/ 68294 h 128873"/>
                  <a:gd name="connsiteX21" fmla="*/ 1003173 w 2565845"/>
                  <a:gd name="connsiteY21" fmla="*/ 68294 h 128873"/>
                  <a:gd name="connsiteX22" fmla="*/ 1003173 w 2565845"/>
                  <a:gd name="connsiteY22" fmla="*/ 74676 h 128873"/>
                  <a:gd name="connsiteX23" fmla="*/ 1120997 w 2565845"/>
                  <a:gd name="connsiteY23" fmla="*/ 74676 h 128873"/>
                  <a:gd name="connsiteX24" fmla="*/ 1120997 w 2565845"/>
                  <a:gd name="connsiteY24" fmla="*/ 81153 h 128873"/>
                  <a:gd name="connsiteX25" fmla="*/ 1213485 w 2565845"/>
                  <a:gd name="connsiteY25" fmla="*/ 81153 h 128873"/>
                  <a:gd name="connsiteX26" fmla="*/ 1213485 w 2565845"/>
                  <a:gd name="connsiteY26" fmla="*/ 87535 h 128873"/>
                  <a:gd name="connsiteX27" fmla="*/ 1232440 w 2565845"/>
                  <a:gd name="connsiteY27" fmla="*/ 87535 h 128873"/>
                  <a:gd name="connsiteX28" fmla="*/ 1232440 w 2565845"/>
                  <a:gd name="connsiteY28" fmla="*/ 94012 h 128873"/>
                  <a:gd name="connsiteX29" fmla="*/ 2086261 w 2565845"/>
                  <a:gd name="connsiteY29" fmla="*/ 94012 h 128873"/>
                  <a:gd name="connsiteX30" fmla="*/ 2086261 w 2565845"/>
                  <a:gd name="connsiteY30" fmla="*/ 128873 h 128873"/>
                  <a:gd name="connsiteX31" fmla="*/ 2565845 w 2565845"/>
                  <a:gd name="connsiteY31" fmla="*/ 128873 h 128873"/>
                  <a:gd name="connsiteX0" fmla="*/ 0 w 2565845"/>
                  <a:gd name="connsiteY0" fmla="*/ 0 h 128873"/>
                  <a:gd name="connsiteX1" fmla="*/ 6287 w 2565845"/>
                  <a:gd name="connsiteY1" fmla="*/ 12192 h 128873"/>
                  <a:gd name="connsiteX2" fmla="*/ 20955 w 2565845"/>
                  <a:gd name="connsiteY2" fmla="*/ 12192 h 128873"/>
                  <a:gd name="connsiteX3" fmla="*/ 20955 w 2565845"/>
                  <a:gd name="connsiteY3" fmla="*/ 18288 h 128873"/>
                  <a:gd name="connsiteX4" fmla="*/ 33623 w 2565845"/>
                  <a:gd name="connsiteY4" fmla="*/ 18288 h 128873"/>
                  <a:gd name="connsiteX5" fmla="*/ 33623 w 2565845"/>
                  <a:gd name="connsiteY5" fmla="*/ 24479 h 128873"/>
                  <a:gd name="connsiteX6" fmla="*/ 58865 w 2565845"/>
                  <a:gd name="connsiteY6" fmla="*/ 24479 h 128873"/>
                  <a:gd name="connsiteX7" fmla="*/ 58865 w 2565845"/>
                  <a:gd name="connsiteY7" fmla="*/ 30575 h 128873"/>
                  <a:gd name="connsiteX8" fmla="*/ 288131 w 2565845"/>
                  <a:gd name="connsiteY8" fmla="*/ 30575 h 128873"/>
                  <a:gd name="connsiteX9" fmla="*/ 288131 w 2565845"/>
                  <a:gd name="connsiteY9" fmla="*/ 36767 h 128873"/>
                  <a:gd name="connsiteX10" fmla="*/ 401669 w 2565845"/>
                  <a:gd name="connsiteY10" fmla="*/ 36767 h 128873"/>
                  <a:gd name="connsiteX11" fmla="*/ 401669 w 2565845"/>
                  <a:gd name="connsiteY11" fmla="*/ 42958 h 128873"/>
                  <a:gd name="connsiteX12" fmla="*/ 670846 w 2565845"/>
                  <a:gd name="connsiteY12" fmla="*/ 42958 h 128873"/>
                  <a:gd name="connsiteX13" fmla="*/ 670846 w 2565845"/>
                  <a:gd name="connsiteY13" fmla="*/ 49244 h 128873"/>
                  <a:gd name="connsiteX14" fmla="*/ 744474 w 2565845"/>
                  <a:gd name="connsiteY14" fmla="*/ 49244 h 128873"/>
                  <a:gd name="connsiteX15" fmla="*/ 744474 w 2565845"/>
                  <a:gd name="connsiteY15" fmla="*/ 55531 h 128873"/>
                  <a:gd name="connsiteX16" fmla="*/ 824389 w 2565845"/>
                  <a:gd name="connsiteY16" fmla="*/ 55531 h 128873"/>
                  <a:gd name="connsiteX17" fmla="*/ 824389 w 2565845"/>
                  <a:gd name="connsiteY17" fmla="*/ 61817 h 128873"/>
                  <a:gd name="connsiteX18" fmla="*/ 986314 w 2565845"/>
                  <a:gd name="connsiteY18" fmla="*/ 61817 h 128873"/>
                  <a:gd name="connsiteX19" fmla="*/ 986314 w 2565845"/>
                  <a:gd name="connsiteY19" fmla="*/ 68294 h 128873"/>
                  <a:gd name="connsiteX20" fmla="*/ 1003173 w 2565845"/>
                  <a:gd name="connsiteY20" fmla="*/ 68294 h 128873"/>
                  <a:gd name="connsiteX21" fmla="*/ 1003173 w 2565845"/>
                  <a:gd name="connsiteY21" fmla="*/ 74676 h 128873"/>
                  <a:gd name="connsiteX22" fmla="*/ 1120997 w 2565845"/>
                  <a:gd name="connsiteY22" fmla="*/ 74676 h 128873"/>
                  <a:gd name="connsiteX23" fmla="*/ 1120997 w 2565845"/>
                  <a:gd name="connsiteY23" fmla="*/ 81153 h 128873"/>
                  <a:gd name="connsiteX24" fmla="*/ 1213485 w 2565845"/>
                  <a:gd name="connsiteY24" fmla="*/ 81153 h 128873"/>
                  <a:gd name="connsiteX25" fmla="*/ 1213485 w 2565845"/>
                  <a:gd name="connsiteY25" fmla="*/ 87535 h 128873"/>
                  <a:gd name="connsiteX26" fmla="*/ 1232440 w 2565845"/>
                  <a:gd name="connsiteY26" fmla="*/ 87535 h 128873"/>
                  <a:gd name="connsiteX27" fmla="*/ 1232440 w 2565845"/>
                  <a:gd name="connsiteY27" fmla="*/ 94012 h 128873"/>
                  <a:gd name="connsiteX28" fmla="*/ 2086261 w 2565845"/>
                  <a:gd name="connsiteY28" fmla="*/ 94012 h 128873"/>
                  <a:gd name="connsiteX29" fmla="*/ 2086261 w 2565845"/>
                  <a:gd name="connsiteY29" fmla="*/ 128873 h 128873"/>
                  <a:gd name="connsiteX30" fmla="*/ 2565845 w 2565845"/>
                  <a:gd name="connsiteY30" fmla="*/ 128873 h 128873"/>
                  <a:gd name="connsiteX0" fmla="*/ 0 w 2559558"/>
                  <a:gd name="connsiteY0" fmla="*/ 0 h 116681"/>
                  <a:gd name="connsiteX1" fmla="*/ 14668 w 2559558"/>
                  <a:gd name="connsiteY1" fmla="*/ 0 h 116681"/>
                  <a:gd name="connsiteX2" fmla="*/ 14668 w 2559558"/>
                  <a:gd name="connsiteY2" fmla="*/ 6096 h 116681"/>
                  <a:gd name="connsiteX3" fmla="*/ 27336 w 2559558"/>
                  <a:gd name="connsiteY3" fmla="*/ 6096 h 116681"/>
                  <a:gd name="connsiteX4" fmla="*/ 27336 w 2559558"/>
                  <a:gd name="connsiteY4" fmla="*/ 12287 h 116681"/>
                  <a:gd name="connsiteX5" fmla="*/ 52578 w 2559558"/>
                  <a:gd name="connsiteY5" fmla="*/ 12287 h 116681"/>
                  <a:gd name="connsiteX6" fmla="*/ 52578 w 2559558"/>
                  <a:gd name="connsiteY6" fmla="*/ 18383 h 116681"/>
                  <a:gd name="connsiteX7" fmla="*/ 281844 w 2559558"/>
                  <a:gd name="connsiteY7" fmla="*/ 18383 h 116681"/>
                  <a:gd name="connsiteX8" fmla="*/ 281844 w 2559558"/>
                  <a:gd name="connsiteY8" fmla="*/ 24575 h 116681"/>
                  <a:gd name="connsiteX9" fmla="*/ 395382 w 2559558"/>
                  <a:gd name="connsiteY9" fmla="*/ 24575 h 116681"/>
                  <a:gd name="connsiteX10" fmla="*/ 395382 w 2559558"/>
                  <a:gd name="connsiteY10" fmla="*/ 30766 h 116681"/>
                  <a:gd name="connsiteX11" fmla="*/ 664559 w 2559558"/>
                  <a:gd name="connsiteY11" fmla="*/ 30766 h 116681"/>
                  <a:gd name="connsiteX12" fmla="*/ 664559 w 2559558"/>
                  <a:gd name="connsiteY12" fmla="*/ 37052 h 116681"/>
                  <a:gd name="connsiteX13" fmla="*/ 738187 w 2559558"/>
                  <a:gd name="connsiteY13" fmla="*/ 37052 h 116681"/>
                  <a:gd name="connsiteX14" fmla="*/ 738187 w 2559558"/>
                  <a:gd name="connsiteY14" fmla="*/ 43339 h 116681"/>
                  <a:gd name="connsiteX15" fmla="*/ 818102 w 2559558"/>
                  <a:gd name="connsiteY15" fmla="*/ 43339 h 116681"/>
                  <a:gd name="connsiteX16" fmla="*/ 818102 w 2559558"/>
                  <a:gd name="connsiteY16" fmla="*/ 49625 h 116681"/>
                  <a:gd name="connsiteX17" fmla="*/ 980027 w 2559558"/>
                  <a:gd name="connsiteY17" fmla="*/ 49625 h 116681"/>
                  <a:gd name="connsiteX18" fmla="*/ 980027 w 2559558"/>
                  <a:gd name="connsiteY18" fmla="*/ 56102 h 116681"/>
                  <a:gd name="connsiteX19" fmla="*/ 996886 w 2559558"/>
                  <a:gd name="connsiteY19" fmla="*/ 56102 h 116681"/>
                  <a:gd name="connsiteX20" fmla="*/ 996886 w 2559558"/>
                  <a:gd name="connsiteY20" fmla="*/ 62484 h 116681"/>
                  <a:gd name="connsiteX21" fmla="*/ 1114710 w 2559558"/>
                  <a:gd name="connsiteY21" fmla="*/ 62484 h 116681"/>
                  <a:gd name="connsiteX22" fmla="*/ 1114710 w 2559558"/>
                  <a:gd name="connsiteY22" fmla="*/ 68961 h 116681"/>
                  <a:gd name="connsiteX23" fmla="*/ 1207198 w 2559558"/>
                  <a:gd name="connsiteY23" fmla="*/ 68961 h 116681"/>
                  <a:gd name="connsiteX24" fmla="*/ 1207198 w 2559558"/>
                  <a:gd name="connsiteY24" fmla="*/ 75343 h 116681"/>
                  <a:gd name="connsiteX25" fmla="*/ 1226153 w 2559558"/>
                  <a:gd name="connsiteY25" fmla="*/ 75343 h 116681"/>
                  <a:gd name="connsiteX26" fmla="*/ 1226153 w 2559558"/>
                  <a:gd name="connsiteY26" fmla="*/ 81820 h 116681"/>
                  <a:gd name="connsiteX27" fmla="*/ 2079974 w 2559558"/>
                  <a:gd name="connsiteY27" fmla="*/ 81820 h 116681"/>
                  <a:gd name="connsiteX28" fmla="*/ 2079974 w 2559558"/>
                  <a:gd name="connsiteY28" fmla="*/ 116681 h 116681"/>
                  <a:gd name="connsiteX29" fmla="*/ 2559558 w 2559558"/>
                  <a:gd name="connsiteY29" fmla="*/ 116681 h 116681"/>
                  <a:gd name="connsiteX0" fmla="*/ 0 w 2544890"/>
                  <a:gd name="connsiteY0" fmla="*/ 0 h 116681"/>
                  <a:gd name="connsiteX1" fmla="*/ 0 w 2544890"/>
                  <a:gd name="connsiteY1" fmla="*/ 6096 h 116681"/>
                  <a:gd name="connsiteX2" fmla="*/ 12668 w 2544890"/>
                  <a:gd name="connsiteY2" fmla="*/ 6096 h 116681"/>
                  <a:gd name="connsiteX3" fmla="*/ 12668 w 2544890"/>
                  <a:gd name="connsiteY3" fmla="*/ 12287 h 116681"/>
                  <a:gd name="connsiteX4" fmla="*/ 37910 w 2544890"/>
                  <a:gd name="connsiteY4" fmla="*/ 12287 h 116681"/>
                  <a:gd name="connsiteX5" fmla="*/ 37910 w 2544890"/>
                  <a:gd name="connsiteY5" fmla="*/ 18383 h 116681"/>
                  <a:gd name="connsiteX6" fmla="*/ 267176 w 2544890"/>
                  <a:gd name="connsiteY6" fmla="*/ 18383 h 116681"/>
                  <a:gd name="connsiteX7" fmla="*/ 267176 w 2544890"/>
                  <a:gd name="connsiteY7" fmla="*/ 24575 h 116681"/>
                  <a:gd name="connsiteX8" fmla="*/ 380714 w 2544890"/>
                  <a:gd name="connsiteY8" fmla="*/ 24575 h 116681"/>
                  <a:gd name="connsiteX9" fmla="*/ 380714 w 2544890"/>
                  <a:gd name="connsiteY9" fmla="*/ 30766 h 116681"/>
                  <a:gd name="connsiteX10" fmla="*/ 649891 w 2544890"/>
                  <a:gd name="connsiteY10" fmla="*/ 30766 h 116681"/>
                  <a:gd name="connsiteX11" fmla="*/ 649891 w 2544890"/>
                  <a:gd name="connsiteY11" fmla="*/ 37052 h 116681"/>
                  <a:gd name="connsiteX12" fmla="*/ 723519 w 2544890"/>
                  <a:gd name="connsiteY12" fmla="*/ 37052 h 116681"/>
                  <a:gd name="connsiteX13" fmla="*/ 723519 w 2544890"/>
                  <a:gd name="connsiteY13" fmla="*/ 43339 h 116681"/>
                  <a:gd name="connsiteX14" fmla="*/ 803434 w 2544890"/>
                  <a:gd name="connsiteY14" fmla="*/ 43339 h 116681"/>
                  <a:gd name="connsiteX15" fmla="*/ 803434 w 2544890"/>
                  <a:gd name="connsiteY15" fmla="*/ 49625 h 116681"/>
                  <a:gd name="connsiteX16" fmla="*/ 965359 w 2544890"/>
                  <a:gd name="connsiteY16" fmla="*/ 49625 h 116681"/>
                  <a:gd name="connsiteX17" fmla="*/ 965359 w 2544890"/>
                  <a:gd name="connsiteY17" fmla="*/ 56102 h 116681"/>
                  <a:gd name="connsiteX18" fmla="*/ 982218 w 2544890"/>
                  <a:gd name="connsiteY18" fmla="*/ 56102 h 116681"/>
                  <a:gd name="connsiteX19" fmla="*/ 982218 w 2544890"/>
                  <a:gd name="connsiteY19" fmla="*/ 62484 h 116681"/>
                  <a:gd name="connsiteX20" fmla="*/ 1100042 w 2544890"/>
                  <a:gd name="connsiteY20" fmla="*/ 62484 h 116681"/>
                  <a:gd name="connsiteX21" fmla="*/ 1100042 w 2544890"/>
                  <a:gd name="connsiteY21" fmla="*/ 68961 h 116681"/>
                  <a:gd name="connsiteX22" fmla="*/ 1192530 w 2544890"/>
                  <a:gd name="connsiteY22" fmla="*/ 68961 h 116681"/>
                  <a:gd name="connsiteX23" fmla="*/ 1192530 w 2544890"/>
                  <a:gd name="connsiteY23" fmla="*/ 75343 h 116681"/>
                  <a:gd name="connsiteX24" fmla="*/ 1211485 w 2544890"/>
                  <a:gd name="connsiteY24" fmla="*/ 75343 h 116681"/>
                  <a:gd name="connsiteX25" fmla="*/ 1211485 w 2544890"/>
                  <a:gd name="connsiteY25" fmla="*/ 81820 h 116681"/>
                  <a:gd name="connsiteX26" fmla="*/ 2065306 w 2544890"/>
                  <a:gd name="connsiteY26" fmla="*/ 81820 h 116681"/>
                  <a:gd name="connsiteX27" fmla="*/ 2065306 w 2544890"/>
                  <a:gd name="connsiteY27" fmla="*/ 116681 h 116681"/>
                  <a:gd name="connsiteX28" fmla="*/ 2544890 w 2544890"/>
                  <a:gd name="connsiteY28" fmla="*/ 116681 h 116681"/>
                  <a:gd name="connsiteX0" fmla="*/ 0 w 2544890"/>
                  <a:gd name="connsiteY0" fmla="*/ 0 h 110585"/>
                  <a:gd name="connsiteX1" fmla="*/ 12668 w 2544890"/>
                  <a:gd name="connsiteY1" fmla="*/ 0 h 110585"/>
                  <a:gd name="connsiteX2" fmla="*/ 12668 w 2544890"/>
                  <a:gd name="connsiteY2" fmla="*/ 6191 h 110585"/>
                  <a:gd name="connsiteX3" fmla="*/ 37910 w 2544890"/>
                  <a:gd name="connsiteY3" fmla="*/ 6191 h 110585"/>
                  <a:gd name="connsiteX4" fmla="*/ 37910 w 2544890"/>
                  <a:gd name="connsiteY4" fmla="*/ 12287 h 110585"/>
                  <a:gd name="connsiteX5" fmla="*/ 267176 w 2544890"/>
                  <a:gd name="connsiteY5" fmla="*/ 12287 h 110585"/>
                  <a:gd name="connsiteX6" fmla="*/ 267176 w 2544890"/>
                  <a:gd name="connsiteY6" fmla="*/ 18479 h 110585"/>
                  <a:gd name="connsiteX7" fmla="*/ 380714 w 2544890"/>
                  <a:gd name="connsiteY7" fmla="*/ 18479 h 110585"/>
                  <a:gd name="connsiteX8" fmla="*/ 380714 w 2544890"/>
                  <a:gd name="connsiteY8" fmla="*/ 24670 h 110585"/>
                  <a:gd name="connsiteX9" fmla="*/ 649891 w 2544890"/>
                  <a:gd name="connsiteY9" fmla="*/ 24670 h 110585"/>
                  <a:gd name="connsiteX10" fmla="*/ 649891 w 2544890"/>
                  <a:gd name="connsiteY10" fmla="*/ 30956 h 110585"/>
                  <a:gd name="connsiteX11" fmla="*/ 723519 w 2544890"/>
                  <a:gd name="connsiteY11" fmla="*/ 30956 h 110585"/>
                  <a:gd name="connsiteX12" fmla="*/ 723519 w 2544890"/>
                  <a:gd name="connsiteY12" fmla="*/ 37243 h 110585"/>
                  <a:gd name="connsiteX13" fmla="*/ 803434 w 2544890"/>
                  <a:gd name="connsiteY13" fmla="*/ 37243 h 110585"/>
                  <a:gd name="connsiteX14" fmla="*/ 803434 w 2544890"/>
                  <a:gd name="connsiteY14" fmla="*/ 43529 h 110585"/>
                  <a:gd name="connsiteX15" fmla="*/ 965359 w 2544890"/>
                  <a:gd name="connsiteY15" fmla="*/ 43529 h 110585"/>
                  <a:gd name="connsiteX16" fmla="*/ 965359 w 2544890"/>
                  <a:gd name="connsiteY16" fmla="*/ 50006 h 110585"/>
                  <a:gd name="connsiteX17" fmla="*/ 982218 w 2544890"/>
                  <a:gd name="connsiteY17" fmla="*/ 50006 h 110585"/>
                  <a:gd name="connsiteX18" fmla="*/ 982218 w 2544890"/>
                  <a:gd name="connsiteY18" fmla="*/ 56388 h 110585"/>
                  <a:gd name="connsiteX19" fmla="*/ 1100042 w 2544890"/>
                  <a:gd name="connsiteY19" fmla="*/ 56388 h 110585"/>
                  <a:gd name="connsiteX20" fmla="*/ 1100042 w 2544890"/>
                  <a:gd name="connsiteY20" fmla="*/ 62865 h 110585"/>
                  <a:gd name="connsiteX21" fmla="*/ 1192530 w 2544890"/>
                  <a:gd name="connsiteY21" fmla="*/ 62865 h 110585"/>
                  <a:gd name="connsiteX22" fmla="*/ 1192530 w 2544890"/>
                  <a:gd name="connsiteY22" fmla="*/ 69247 h 110585"/>
                  <a:gd name="connsiteX23" fmla="*/ 1211485 w 2544890"/>
                  <a:gd name="connsiteY23" fmla="*/ 69247 h 110585"/>
                  <a:gd name="connsiteX24" fmla="*/ 1211485 w 2544890"/>
                  <a:gd name="connsiteY24" fmla="*/ 75724 h 110585"/>
                  <a:gd name="connsiteX25" fmla="*/ 2065306 w 2544890"/>
                  <a:gd name="connsiteY25" fmla="*/ 75724 h 110585"/>
                  <a:gd name="connsiteX26" fmla="*/ 2065306 w 2544890"/>
                  <a:gd name="connsiteY26" fmla="*/ 110585 h 110585"/>
                  <a:gd name="connsiteX27" fmla="*/ 2544890 w 2544890"/>
                  <a:gd name="connsiteY27" fmla="*/ 110585 h 110585"/>
                  <a:gd name="connsiteX0" fmla="*/ 0 w 2532222"/>
                  <a:gd name="connsiteY0" fmla="*/ 0 h 110585"/>
                  <a:gd name="connsiteX1" fmla="*/ 0 w 2532222"/>
                  <a:gd name="connsiteY1" fmla="*/ 6191 h 110585"/>
                  <a:gd name="connsiteX2" fmla="*/ 25242 w 2532222"/>
                  <a:gd name="connsiteY2" fmla="*/ 6191 h 110585"/>
                  <a:gd name="connsiteX3" fmla="*/ 25242 w 2532222"/>
                  <a:gd name="connsiteY3" fmla="*/ 12287 h 110585"/>
                  <a:gd name="connsiteX4" fmla="*/ 254508 w 2532222"/>
                  <a:gd name="connsiteY4" fmla="*/ 12287 h 110585"/>
                  <a:gd name="connsiteX5" fmla="*/ 254508 w 2532222"/>
                  <a:gd name="connsiteY5" fmla="*/ 18479 h 110585"/>
                  <a:gd name="connsiteX6" fmla="*/ 368046 w 2532222"/>
                  <a:gd name="connsiteY6" fmla="*/ 18479 h 110585"/>
                  <a:gd name="connsiteX7" fmla="*/ 368046 w 2532222"/>
                  <a:gd name="connsiteY7" fmla="*/ 24670 h 110585"/>
                  <a:gd name="connsiteX8" fmla="*/ 637223 w 2532222"/>
                  <a:gd name="connsiteY8" fmla="*/ 24670 h 110585"/>
                  <a:gd name="connsiteX9" fmla="*/ 637223 w 2532222"/>
                  <a:gd name="connsiteY9" fmla="*/ 30956 h 110585"/>
                  <a:gd name="connsiteX10" fmla="*/ 710851 w 2532222"/>
                  <a:gd name="connsiteY10" fmla="*/ 30956 h 110585"/>
                  <a:gd name="connsiteX11" fmla="*/ 710851 w 2532222"/>
                  <a:gd name="connsiteY11" fmla="*/ 37243 h 110585"/>
                  <a:gd name="connsiteX12" fmla="*/ 790766 w 2532222"/>
                  <a:gd name="connsiteY12" fmla="*/ 37243 h 110585"/>
                  <a:gd name="connsiteX13" fmla="*/ 790766 w 2532222"/>
                  <a:gd name="connsiteY13" fmla="*/ 43529 h 110585"/>
                  <a:gd name="connsiteX14" fmla="*/ 952691 w 2532222"/>
                  <a:gd name="connsiteY14" fmla="*/ 43529 h 110585"/>
                  <a:gd name="connsiteX15" fmla="*/ 952691 w 2532222"/>
                  <a:gd name="connsiteY15" fmla="*/ 50006 h 110585"/>
                  <a:gd name="connsiteX16" fmla="*/ 969550 w 2532222"/>
                  <a:gd name="connsiteY16" fmla="*/ 50006 h 110585"/>
                  <a:gd name="connsiteX17" fmla="*/ 969550 w 2532222"/>
                  <a:gd name="connsiteY17" fmla="*/ 56388 h 110585"/>
                  <a:gd name="connsiteX18" fmla="*/ 1087374 w 2532222"/>
                  <a:gd name="connsiteY18" fmla="*/ 56388 h 110585"/>
                  <a:gd name="connsiteX19" fmla="*/ 1087374 w 2532222"/>
                  <a:gd name="connsiteY19" fmla="*/ 62865 h 110585"/>
                  <a:gd name="connsiteX20" fmla="*/ 1179862 w 2532222"/>
                  <a:gd name="connsiteY20" fmla="*/ 62865 h 110585"/>
                  <a:gd name="connsiteX21" fmla="*/ 1179862 w 2532222"/>
                  <a:gd name="connsiteY21" fmla="*/ 69247 h 110585"/>
                  <a:gd name="connsiteX22" fmla="*/ 1198817 w 2532222"/>
                  <a:gd name="connsiteY22" fmla="*/ 69247 h 110585"/>
                  <a:gd name="connsiteX23" fmla="*/ 1198817 w 2532222"/>
                  <a:gd name="connsiteY23" fmla="*/ 75724 h 110585"/>
                  <a:gd name="connsiteX24" fmla="*/ 2052638 w 2532222"/>
                  <a:gd name="connsiteY24" fmla="*/ 75724 h 110585"/>
                  <a:gd name="connsiteX25" fmla="*/ 2052638 w 2532222"/>
                  <a:gd name="connsiteY25" fmla="*/ 110585 h 110585"/>
                  <a:gd name="connsiteX26" fmla="*/ 2532222 w 2532222"/>
                  <a:gd name="connsiteY26" fmla="*/ 110585 h 110585"/>
                  <a:gd name="connsiteX0" fmla="*/ 0 w 2532222"/>
                  <a:gd name="connsiteY0" fmla="*/ 0 h 110585"/>
                  <a:gd name="connsiteX1" fmla="*/ 25242 w 2532222"/>
                  <a:gd name="connsiteY1" fmla="*/ 6191 h 110585"/>
                  <a:gd name="connsiteX2" fmla="*/ 25242 w 2532222"/>
                  <a:gd name="connsiteY2" fmla="*/ 12287 h 110585"/>
                  <a:gd name="connsiteX3" fmla="*/ 254508 w 2532222"/>
                  <a:gd name="connsiteY3" fmla="*/ 12287 h 110585"/>
                  <a:gd name="connsiteX4" fmla="*/ 254508 w 2532222"/>
                  <a:gd name="connsiteY4" fmla="*/ 18479 h 110585"/>
                  <a:gd name="connsiteX5" fmla="*/ 368046 w 2532222"/>
                  <a:gd name="connsiteY5" fmla="*/ 18479 h 110585"/>
                  <a:gd name="connsiteX6" fmla="*/ 368046 w 2532222"/>
                  <a:gd name="connsiteY6" fmla="*/ 24670 h 110585"/>
                  <a:gd name="connsiteX7" fmla="*/ 637223 w 2532222"/>
                  <a:gd name="connsiteY7" fmla="*/ 24670 h 110585"/>
                  <a:gd name="connsiteX8" fmla="*/ 637223 w 2532222"/>
                  <a:gd name="connsiteY8" fmla="*/ 30956 h 110585"/>
                  <a:gd name="connsiteX9" fmla="*/ 710851 w 2532222"/>
                  <a:gd name="connsiteY9" fmla="*/ 30956 h 110585"/>
                  <a:gd name="connsiteX10" fmla="*/ 710851 w 2532222"/>
                  <a:gd name="connsiteY10" fmla="*/ 37243 h 110585"/>
                  <a:gd name="connsiteX11" fmla="*/ 790766 w 2532222"/>
                  <a:gd name="connsiteY11" fmla="*/ 37243 h 110585"/>
                  <a:gd name="connsiteX12" fmla="*/ 790766 w 2532222"/>
                  <a:gd name="connsiteY12" fmla="*/ 43529 h 110585"/>
                  <a:gd name="connsiteX13" fmla="*/ 952691 w 2532222"/>
                  <a:gd name="connsiteY13" fmla="*/ 43529 h 110585"/>
                  <a:gd name="connsiteX14" fmla="*/ 952691 w 2532222"/>
                  <a:gd name="connsiteY14" fmla="*/ 50006 h 110585"/>
                  <a:gd name="connsiteX15" fmla="*/ 969550 w 2532222"/>
                  <a:gd name="connsiteY15" fmla="*/ 50006 h 110585"/>
                  <a:gd name="connsiteX16" fmla="*/ 969550 w 2532222"/>
                  <a:gd name="connsiteY16" fmla="*/ 56388 h 110585"/>
                  <a:gd name="connsiteX17" fmla="*/ 1087374 w 2532222"/>
                  <a:gd name="connsiteY17" fmla="*/ 56388 h 110585"/>
                  <a:gd name="connsiteX18" fmla="*/ 1087374 w 2532222"/>
                  <a:gd name="connsiteY18" fmla="*/ 62865 h 110585"/>
                  <a:gd name="connsiteX19" fmla="*/ 1179862 w 2532222"/>
                  <a:gd name="connsiteY19" fmla="*/ 62865 h 110585"/>
                  <a:gd name="connsiteX20" fmla="*/ 1179862 w 2532222"/>
                  <a:gd name="connsiteY20" fmla="*/ 69247 h 110585"/>
                  <a:gd name="connsiteX21" fmla="*/ 1198817 w 2532222"/>
                  <a:gd name="connsiteY21" fmla="*/ 69247 h 110585"/>
                  <a:gd name="connsiteX22" fmla="*/ 1198817 w 2532222"/>
                  <a:gd name="connsiteY22" fmla="*/ 75724 h 110585"/>
                  <a:gd name="connsiteX23" fmla="*/ 2052638 w 2532222"/>
                  <a:gd name="connsiteY23" fmla="*/ 75724 h 110585"/>
                  <a:gd name="connsiteX24" fmla="*/ 2052638 w 2532222"/>
                  <a:gd name="connsiteY24" fmla="*/ 110585 h 110585"/>
                  <a:gd name="connsiteX25" fmla="*/ 2532222 w 2532222"/>
                  <a:gd name="connsiteY25" fmla="*/ 110585 h 110585"/>
                  <a:gd name="connsiteX0" fmla="*/ 0 w 2506980"/>
                  <a:gd name="connsiteY0" fmla="*/ 0 h 104394"/>
                  <a:gd name="connsiteX1" fmla="*/ 0 w 2506980"/>
                  <a:gd name="connsiteY1" fmla="*/ 6096 h 104394"/>
                  <a:gd name="connsiteX2" fmla="*/ 229266 w 2506980"/>
                  <a:gd name="connsiteY2" fmla="*/ 6096 h 104394"/>
                  <a:gd name="connsiteX3" fmla="*/ 229266 w 2506980"/>
                  <a:gd name="connsiteY3" fmla="*/ 12288 h 104394"/>
                  <a:gd name="connsiteX4" fmla="*/ 342804 w 2506980"/>
                  <a:gd name="connsiteY4" fmla="*/ 12288 h 104394"/>
                  <a:gd name="connsiteX5" fmla="*/ 342804 w 2506980"/>
                  <a:gd name="connsiteY5" fmla="*/ 18479 h 104394"/>
                  <a:gd name="connsiteX6" fmla="*/ 611981 w 2506980"/>
                  <a:gd name="connsiteY6" fmla="*/ 18479 h 104394"/>
                  <a:gd name="connsiteX7" fmla="*/ 611981 w 2506980"/>
                  <a:gd name="connsiteY7" fmla="*/ 24765 h 104394"/>
                  <a:gd name="connsiteX8" fmla="*/ 685609 w 2506980"/>
                  <a:gd name="connsiteY8" fmla="*/ 24765 h 104394"/>
                  <a:gd name="connsiteX9" fmla="*/ 685609 w 2506980"/>
                  <a:gd name="connsiteY9" fmla="*/ 31052 h 104394"/>
                  <a:gd name="connsiteX10" fmla="*/ 765524 w 2506980"/>
                  <a:gd name="connsiteY10" fmla="*/ 31052 h 104394"/>
                  <a:gd name="connsiteX11" fmla="*/ 765524 w 2506980"/>
                  <a:gd name="connsiteY11" fmla="*/ 37338 h 104394"/>
                  <a:gd name="connsiteX12" fmla="*/ 927449 w 2506980"/>
                  <a:gd name="connsiteY12" fmla="*/ 37338 h 104394"/>
                  <a:gd name="connsiteX13" fmla="*/ 927449 w 2506980"/>
                  <a:gd name="connsiteY13" fmla="*/ 43815 h 104394"/>
                  <a:gd name="connsiteX14" fmla="*/ 944308 w 2506980"/>
                  <a:gd name="connsiteY14" fmla="*/ 43815 h 104394"/>
                  <a:gd name="connsiteX15" fmla="*/ 944308 w 2506980"/>
                  <a:gd name="connsiteY15" fmla="*/ 50197 h 104394"/>
                  <a:gd name="connsiteX16" fmla="*/ 1062132 w 2506980"/>
                  <a:gd name="connsiteY16" fmla="*/ 50197 h 104394"/>
                  <a:gd name="connsiteX17" fmla="*/ 1062132 w 2506980"/>
                  <a:gd name="connsiteY17" fmla="*/ 56674 h 104394"/>
                  <a:gd name="connsiteX18" fmla="*/ 1154620 w 2506980"/>
                  <a:gd name="connsiteY18" fmla="*/ 56674 h 104394"/>
                  <a:gd name="connsiteX19" fmla="*/ 1154620 w 2506980"/>
                  <a:gd name="connsiteY19" fmla="*/ 63056 h 104394"/>
                  <a:gd name="connsiteX20" fmla="*/ 1173575 w 2506980"/>
                  <a:gd name="connsiteY20" fmla="*/ 63056 h 104394"/>
                  <a:gd name="connsiteX21" fmla="*/ 1173575 w 2506980"/>
                  <a:gd name="connsiteY21" fmla="*/ 69533 h 104394"/>
                  <a:gd name="connsiteX22" fmla="*/ 2027396 w 2506980"/>
                  <a:gd name="connsiteY22" fmla="*/ 69533 h 104394"/>
                  <a:gd name="connsiteX23" fmla="*/ 2027396 w 2506980"/>
                  <a:gd name="connsiteY23" fmla="*/ 104394 h 104394"/>
                  <a:gd name="connsiteX24" fmla="*/ 2506980 w 2506980"/>
                  <a:gd name="connsiteY24" fmla="*/ 104394 h 104394"/>
                  <a:gd name="connsiteX0" fmla="*/ 0 w 2506980"/>
                  <a:gd name="connsiteY0" fmla="*/ 0 h 104394"/>
                  <a:gd name="connsiteX1" fmla="*/ 229266 w 2506980"/>
                  <a:gd name="connsiteY1" fmla="*/ 6096 h 104394"/>
                  <a:gd name="connsiteX2" fmla="*/ 229266 w 2506980"/>
                  <a:gd name="connsiteY2" fmla="*/ 12288 h 104394"/>
                  <a:gd name="connsiteX3" fmla="*/ 342804 w 2506980"/>
                  <a:gd name="connsiteY3" fmla="*/ 12288 h 104394"/>
                  <a:gd name="connsiteX4" fmla="*/ 342804 w 2506980"/>
                  <a:gd name="connsiteY4" fmla="*/ 18479 h 104394"/>
                  <a:gd name="connsiteX5" fmla="*/ 611981 w 2506980"/>
                  <a:gd name="connsiteY5" fmla="*/ 18479 h 104394"/>
                  <a:gd name="connsiteX6" fmla="*/ 611981 w 2506980"/>
                  <a:gd name="connsiteY6" fmla="*/ 24765 h 104394"/>
                  <a:gd name="connsiteX7" fmla="*/ 685609 w 2506980"/>
                  <a:gd name="connsiteY7" fmla="*/ 24765 h 104394"/>
                  <a:gd name="connsiteX8" fmla="*/ 685609 w 2506980"/>
                  <a:gd name="connsiteY8" fmla="*/ 31052 h 104394"/>
                  <a:gd name="connsiteX9" fmla="*/ 765524 w 2506980"/>
                  <a:gd name="connsiteY9" fmla="*/ 31052 h 104394"/>
                  <a:gd name="connsiteX10" fmla="*/ 765524 w 2506980"/>
                  <a:gd name="connsiteY10" fmla="*/ 37338 h 104394"/>
                  <a:gd name="connsiteX11" fmla="*/ 927449 w 2506980"/>
                  <a:gd name="connsiteY11" fmla="*/ 37338 h 104394"/>
                  <a:gd name="connsiteX12" fmla="*/ 927449 w 2506980"/>
                  <a:gd name="connsiteY12" fmla="*/ 43815 h 104394"/>
                  <a:gd name="connsiteX13" fmla="*/ 944308 w 2506980"/>
                  <a:gd name="connsiteY13" fmla="*/ 43815 h 104394"/>
                  <a:gd name="connsiteX14" fmla="*/ 944308 w 2506980"/>
                  <a:gd name="connsiteY14" fmla="*/ 50197 h 104394"/>
                  <a:gd name="connsiteX15" fmla="*/ 1062132 w 2506980"/>
                  <a:gd name="connsiteY15" fmla="*/ 50197 h 104394"/>
                  <a:gd name="connsiteX16" fmla="*/ 1062132 w 2506980"/>
                  <a:gd name="connsiteY16" fmla="*/ 56674 h 104394"/>
                  <a:gd name="connsiteX17" fmla="*/ 1154620 w 2506980"/>
                  <a:gd name="connsiteY17" fmla="*/ 56674 h 104394"/>
                  <a:gd name="connsiteX18" fmla="*/ 1154620 w 2506980"/>
                  <a:gd name="connsiteY18" fmla="*/ 63056 h 104394"/>
                  <a:gd name="connsiteX19" fmla="*/ 1173575 w 2506980"/>
                  <a:gd name="connsiteY19" fmla="*/ 63056 h 104394"/>
                  <a:gd name="connsiteX20" fmla="*/ 1173575 w 2506980"/>
                  <a:gd name="connsiteY20" fmla="*/ 69533 h 104394"/>
                  <a:gd name="connsiteX21" fmla="*/ 2027396 w 2506980"/>
                  <a:gd name="connsiteY21" fmla="*/ 69533 h 104394"/>
                  <a:gd name="connsiteX22" fmla="*/ 2027396 w 2506980"/>
                  <a:gd name="connsiteY22" fmla="*/ 104394 h 104394"/>
                  <a:gd name="connsiteX23" fmla="*/ 2506980 w 2506980"/>
                  <a:gd name="connsiteY23" fmla="*/ 104394 h 104394"/>
                  <a:gd name="connsiteX0" fmla="*/ 0 w 2277714"/>
                  <a:gd name="connsiteY0" fmla="*/ 0 h 98298"/>
                  <a:gd name="connsiteX1" fmla="*/ 0 w 2277714"/>
                  <a:gd name="connsiteY1" fmla="*/ 6192 h 98298"/>
                  <a:gd name="connsiteX2" fmla="*/ 113538 w 2277714"/>
                  <a:gd name="connsiteY2" fmla="*/ 6192 h 98298"/>
                  <a:gd name="connsiteX3" fmla="*/ 113538 w 2277714"/>
                  <a:gd name="connsiteY3" fmla="*/ 12383 h 98298"/>
                  <a:gd name="connsiteX4" fmla="*/ 382715 w 2277714"/>
                  <a:gd name="connsiteY4" fmla="*/ 12383 h 98298"/>
                  <a:gd name="connsiteX5" fmla="*/ 382715 w 2277714"/>
                  <a:gd name="connsiteY5" fmla="*/ 18669 h 98298"/>
                  <a:gd name="connsiteX6" fmla="*/ 456343 w 2277714"/>
                  <a:gd name="connsiteY6" fmla="*/ 18669 h 98298"/>
                  <a:gd name="connsiteX7" fmla="*/ 456343 w 2277714"/>
                  <a:gd name="connsiteY7" fmla="*/ 24956 h 98298"/>
                  <a:gd name="connsiteX8" fmla="*/ 536258 w 2277714"/>
                  <a:gd name="connsiteY8" fmla="*/ 24956 h 98298"/>
                  <a:gd name="connsiteX9" fmla="*/ 536258 w 2277714"/>
                  <a:gd name="connsiteY9" fmla="*/ 31242 h 98298"/>
                  <a:gd name="connsiteX10" fmla="*/ 698183 w 2277714"/>
                  <a:gd name="connsiteY10" fmla="*/ 31242 h 98298"/>
                  <a:gd name="connsiteX11" fmla="*/ 698183 w 2277714"/>
                  <a:gd name="connsiteY11" fmla="*/ 37719 h 98298"/>
                  <a:gd name="connsiteX12" fmla="*/ 715042 w 2277714"/>
                  <a:gd name="connsiteY12" fmla="*/ 37719 h 98298"/>
                  <a:gd name="connsiteX13" fmla="*/ 715042 w 2277714"/>
                  <a:gd name="connsiteY13" fmla="*/ 44101 h 98298"/>
                  <a:gd name="connsiteX14" fmla="*/ 832866 w 2277714"/>
                  <a:gd name="connsiteY14" fmla="*/ 44101 h 98298"/>
                  <a:gd name="connsiteX15" fmla="*/ 832866 w 2277714"/>
                  <a:gd name="connsiteY15" fmla="*/ 50578 h 98298"/>
                  <a:gd name="connsiteX16" fmla="*/ 925354 w 2277714"/>
                  <a:gd name="connsiteY16" fmla="*/ 50578 h 98298"/>
                  <a:gd name="connsiteX17" fmla="*/ 925354 w 2277714"/>
                  <a:gd name="connsiteY17" fmla="*/ 56960 h 98298"/>
                  <a:gd name="connsiteX18" fmla="*/ 944309 w 2277714"/>
                  <a:gd name="connsiteY18" fmla="*/ 56960 h 98298"/>
                  <a:gd name="connsiteX19" fmla="*/ 944309 w 2277714"/>
                  <a:gd name="connsiteY19" fmla="*/ 63437 h 98298"/>
                  <a:gd name="connsiteX20" fmla="*/ 1798130 w 2277714"/>
                  <a:gd name="connsiteY20" fmla="*/ 63437 h 98298"/>
                  <a:gd name="connsiteX21" fmla="*/ 1798130 w 2277714"/>
                  <a:gd name="connsiteY21" fmla="*/ 98298 h 98298"/>
                  <a:gd name="connsiteX22" fmla="*/ 2277714 w 2277714"/>
                  <a:gd name="connsiteY22" fmla="*/ 98298 h 98298"/>
                  <a:gd name="connsiteX0" fmla="*/ 0 w 2277714"/>
                  <a:gd name="connsiteY0" fmla="*/ 0 h 98298"/>
                  <a:gd name="connsiteX1" fmla="*/ 113538 w 2277714"/>
                  <a:gd name="connsiteY1" fmla="*/ 6192 h 98298"/>
                  <a:gd name="connsiteX2" fmla="*/ 113538 w 2277714"/>
                  <a:gd name="connsiteY2" fmla="*/ 12383 h 98298"/>
                  <a:gd name="connsiteX3" fmla="*/ 382715 w 2277714"/>
                  <a:gd name="connsiteY3" fmla="*/ 12383 h 98298"/>
                  <a:gd name="connsiteX4" fmla="*/ 382715 w 2277714"/>
                  <a:gd name="connsiteY4" fmla="*/ 18669 h 98298"/>
                  <a:gd name="connsiteX5" fmla="*/ 456343 w 2277714"/>
                  <a:gd name="connsiteY5" fmla="*/ 18669 h 98298"/>
                  <a:gd name="connsiteX6" fmla="*/ 456343 w 2277714"/>
                  <a:gd name="connsiteY6" fmla="*/ 24956 h 98298"/>
                  <a:gd name="connsiteX7" fmla="*/ 536258 w 2277714"/>
                  <a:gd name="connsiteY7" fmla="*/ 24956 h 98298"/>
                  <a:gd name="connsiteX8" fmla="*/ 536258 w 2277714"/>
                  <a:gd name="connsiteY8" fmla="*/ 31242 h 98298"/>
                  <a:gd name="connsiteX9" fmla="*/ 698183 w 2277714"/>
                  <a:gd name="connsiteY9" fmla="*/ 31242 h 98298"/>
                  <a:gd name="connsiteX10" fmla="*/ 698183 w 2277714"/>
                  <a:gd name="connsiteY10" fmla="*/ 37719 h 98298"/>
                  <a:gd name="connsiteX11" fmla="*/ 715042 w 2277714"/>
                  <a:gd name="connsiteY11" fmla="*/ 37719 h 98298"/>
                  <a:gd name="connsiteX12" fmla="*/ 715042 w 2277714"/>
                  <a:gd name="connsiteY12" fmla="*/ 44101 h 98298"/>
                  <a:gd name="connsiteX13" fmla="*/ 832866 w 2277714"/>
                  <a:gd name="connsiteY13" fmla="*/ 44101 h 98298"/>
                  <a:gd name="connsiteX14" fmla="*/ 832866 w 2277714"/>
                  <a:gd name="connsiteY14" fmla="*/ 50578 h 98298"/>
                  <a:gd name="connsiteX15" fmla="*/ 925354 w 2277714"/>
                  <a:gd name="connsiteY15" fmla="*/ 50578 h 98298"/>
                  <a:gd name="connsiteX16" fmla="*/ 925354 w 2277714"/>
                  <a:gd name="connsiteY16" fmla="*/ 56960 h 98298"/>
                  <a:gd name="connsiteX17" fmla="*/ 944309 w 2277714"/>
                  <a:gd name="connsiteY17" fmla="*/ 56960 h 98298"/>
                  <a:gd name="connsiteX18" fmla="*/ 944309 w 2277714"/>
                  <a:gd name="connsiteY18" fmla="*/ 63437 h 98298"/>
                  <a:gd name="connsiteX19" fmla="*/ 1798130 w 2277714"/>
                  <a:gd name="connsiteY19" fmla="*/ 63437 h 98298"/>
                  <a:gd name="connsiteX20" fmla="*/ 1798130 w 2277714"/>
                  <a:gd name="connsiteY20" fmla="*/ 98298 h 98298"/>
                  <a:gd name="connsiteX21" fmla="*/ 2277714 w 2277714"/>
                  <a:gd name="connsiteY21" fmla="*/ 98298 h 98298"/>
                  <a:gd name="connsiteX0" fmla="*/ 0 w 2164176"/>
                  <a:gd name="connsiteY0" fmla="*/ 0 h 92106"/>
                  <a:gd name="connsiteX1" fmla="*/ 0 w 2164176"/>
                  <a:gd name="connsiteY1" fmla="*/ 6191 h 92106"/>
                  <a:gd name="connsiteX2" fmla="*/ 269177 w 2164176"/>
                  <a:gd name="connsiteY2" fmla="*/ 6191 h 92106"/>
                  <a:gd name="connsiteX3" fmla="*/ 269177 w 2164176"/>
                  <a:gd name="connsiteY3" fmla="*/ 12477 h 92106"/>
                  <a:gd name="connsiteX4" fmla="*/ 342805 w 2164176"/>
                  <a:gd name="connsiteY4" fmla="*/ 12477 h 92106"/>
                  <a:gd name="connsiteX5" fmla="*/ 342805 w 2164176"/>
                  <a:gd name="connsiteY5" fmla="*/ 18764 h 92106"/>
                  <a:gd name="connsiteX6" fmla="*/ 422720 w 2164176"/>
                  <a:gd name="connsiteY6" fmla="*/ 18764 h 92106"/>
                  <a:gd name="connsiteX7" fmla="*/ 422720 w 2164176"/>
                  <a:gd name="connsiteY7" fmla="*/ 25050 h 92106"/>
                  <a:gd name="connsiteX8" fmla="*/ 584645 w 2164176"/>
                  <a:gd name="connsiteY8" fmla="*/ 25050 h 92106"/>
                  <a:gd name="connsiteX9" fmla="*/ 584645 w 2164176"/>
                  <a:gd name="connsiteY9" fmla="*/ 31527 h 92106"/>
                  <a:gd name="connsiteX10" fmla="*/ 601504 w 2164176"/>
                  <a:gd name="connsiteY10" fmla="*/ 31527 h 92106"/>
                  <a:gd name="connsiteX11" fmla="*/ 601504 w 2164176"/>
                  <a:gd name="connsiteY11" fmla="*/ 37909 h 92106"/>
                  <a:gd name="connsiteX12" fmla="*/ 719328 w 2164176"/>
                  <a:gd name="connsiteY12" fmla="*/ 37909 h 92106"/>
                  <a:gd name="connsiteX13" fmla="*/ 719328 w 2164176"/>
                  <a:gd name="connsiteY13" fmla="*/ 44386 h 92106"/>
                  <a:gd name="connsiteX14" fmla="*/ 811816 w 2164176"/>
                  <a:gd name="connsiteY14" fmla="*/ 44386 h 92106"/>
                  <a:gd name="connsiteX15" fmla="*/ 811816 w 2164176"/>
                  <a:gd name="connsiteY15" fmla="*/ 50768 h 92106"/>
                  <a:gd name="connsiteX16" fmla="*/ 830771 w 2164176"/>
                  <a:gd name="connsiteY16" fmla="*/ 50768 h 92106"/>
                  <a:gd name="connsiteX17" fmla="*/ 830771 w 2164176"/>
                  <a:gd name="connsiteY17" fmla="*/ 57245 h 92106"/>
                  <a:gd name="connsiteX18" fmla="*/ 1684592 w 2164176"/>
                  <a:gd name="connsiteY18" fmla="*/ 57245 h 92106"/>
                  <a:gd name="connsiteX19" fmla="*/ 1684592 w 2164176"/>
                  <a:gd name="connsiteY19" fmla="*/ 92106 h 92106"/>
                  <a:gd name="connsiteX20" fmla="*/ 2164176 w 2164176"/>
                  <a:gd name="connsiteY20" fmla="*/ 92106 h 92106"/>
                  <a:gd name="connsiteX0" fmla="*/ 0 w 2164176"/>
                  <a:gd name="connsiteY0" fmla="*/ 0 h 92106"/>
                  <a:gd name="connsiteX1" fmla="*/ 269177 w 2164176"/>
                  <a:gd name="connsiteY1" fmla="*/ 6191 h 92106"/>
                  <a:gd name="connsiteX2" fmla="*/ 269177 w 2164176"/>
                  <a:gd name="connsiteY2" fmla="*/ 12477 h 92106"/>
                  <a:gd name="connsiteX3" fmla="*/ 342805 w 2164176"/>
                  <a:gd name="connsiteY3" fmla="*/ 12477 h 92106"/>
                  <a:gd name="connsiteX4" fmla="*/ 342805 w 2164176"/>
                  <a:gd name="connsiteY4" fmla="*/ 18764 h 92106"/>
                  <a:gd name="connsiteX5" fmla="*/ 422720 w 2164176"/>
                  <a:gd name="connsiteY5" fmla="*/ 18764 h 92106"/>
                  <a:gd name="connsiteX6" fmla="*/ 422720 w 2164176"/>
                  <a:gd name="connsiteY6" fmla="*/ 25050 h 92106"/>
                  <a:gd name="connsiteX7" fmla="*/ 584645 w 2164176"/>
                  <a:gd name="connsiteY7" fmla="*/ 25050 h 92106"/>
                  <a:gd name="connsiteX8" fmla="*/ 584645 w 2164176"/>
                  <a:gd name="connsiteY8" fmla="*/ 31527 h 92106"/>
                  <a:gd name="connsiteX9" fmla="*/ 601504 w 2164176"/>
                  <a:gd name="connsiteY9" fmla="*/ 31527 h 92106"/>
                  <a:gd name="connsiteX10" fmla="*/ 601504 w 2164176"/>
                  <a:gd name="connsiteY10" fmla="*/ 37909 h 92106"/>
                  <a:gd name="connsiteX11" fmla="*/ 719328 w 2164176"/>
                  <a:gd name="connsiteY11" fmla="*/ 37909 h 92106"/>
                  <a:gd name="connsiteX12" fmla="*/ 719328 w 2164176"/>
                  <a:gd name="connsiteY12" fmla="*/ 44386 h 92106"/>
                  <a:gd name="connsiteX13" fmla="*/ 811816 w 2164176"/>
                  <a:gd name="connsiteY13" fmla="*/ 44386 h 92106"/>
                  <a:gd name="connsiteX14" fmla="*/ 811816 w 2164176"/>
                  <a:gd name="connsiteY14" fmla="*/ 50768 h 92106"/>
                  <a:gd name="connsiteX15" fmla="*/ 830771 w 2164176"/>
                  <a:gd name="connsiteY15" fmla="*/ 50768 h 92106"/>
                  <a:gd name="connsiteX16" fmla="*/ 830771 w 2164176"/>
                  <a:gd name="connsiteY16" fmla="*/ 57245 h 92106"/>
                  <a:gd name="connsiteX17" fmla="*/ 1684592 w 2164176"/>
                  <a:gd name="connsiteY17" fmla="*/ 57245 h 92106"/>
                  <a:gd name="connsiteX18" fmla="*/ 1684592 w 2164176"/>
                  <a:gd name="connsiteY18" fmla="*/ 92106 h 92106"/>
                  <a:gd name="connsiteX19" fmla="*/ 2164176 w 2164176"/>
                  <a:gd name="connsiteY19" fmla="*/ 92106 h 92106"/>
                  <a:gd name="connsiteX0" fmla="*/ 0 w 1894999"/>
                  <a:gd name="connsiteY0" fmla="*/ 0 h 85915"/>
                  <a:gd name="connsiteX1" fmla="*/ 0 w 1894999"/>
                  <a:gd name="connsiteY1" fmla="*/ 6286 h 85915"/>
                  <a:gd name="connsiteX2" fmla="*/ 73628 w 1894999"/>
                  <a:gd name="connsiteY2" fmla="*/ 6286 h 85915"/>
                  <a:gd name="connsiteX3" fmla="*/ 73628 w 1894999"/>
                  <a:gd name="connsiteY3" fmla="*/ 12573 h 85915"/>
                  <a:gd name="connsiteX4" fmla="*/ 153543 w 1894999"/>
                  <a:gd name="connsiteY4" fmla="*/ 12573 h 85915"/>
                  <a:gd name="connsiteX5" fmla="*/ 153543 w 1894999"/>
                  <a:gd name="connsiteY5" fmla="*/ 18859 h 85915"/>
                  <a:gd name="connsiteX6" fmla="*/ 315468 w 1894999"/>
                  <a:gd name="connsiteY6" fmla="*/ 18859 h 85915"/>
                  <a:gd name="connsiteX7" fmla="*/ 315468 w 1894999"/>
                  <a:gd name="connsiteY7" fmla="*/ 25336 h 85915"/>
                  <a:gd name="connsiteX8" fmla="*/ 332327 w 1894999"/>
                  <a:gd name="connsiteY8" fmla="*/ 25336 h 85915"/>
                  <a:gd name="connsiteX9" fmla="*/ 332327 w 1894999"/>
                  <a:gd name="connsiteY9" fmla="*/ 31718 h 85915"/>
                  <a:gd name="connsiteX10" fmla="*/ 450151 w 1894999"/>
                  <a:gd name="connsiteY10" fmla="*/ 31718 h 85915"/>
                  <a:gd name="connsiteX11" fmla="*/ 450151 w 1894999"/>
                  <a:gd name="connsiteY11" fmla="*/ 38195 h 85915"/>
                  <a:gd name="connsiteX12" fmla="*/ 542639 w 1894999"/>
                  <a:gd name="connsiteY12" fmla="*/ 38195 h 85915"/>
                  <a:gd name="connsiteX13" fmla="*/ 542639 w 1894999"/>
                  <a:gd name="connsiteY13" fmla="*/ 44577 h 85915"/>
                  <a:gd name="connsiteX14" fmla="*/ 561594 w 1894999"/>
                  <a:gd name="connsiteY14" fmla="*/ 44577 h 85915"/>
                  <a:gd name="connsiteX15" fmla="*/ 561594 w 1894999"/>
                  <a:gd name="connsiteY15" fmla="*/ 51054 h 85915"/>
                  <a:gd name="connsiteX16" fmla="*/ 1415415 w 1894999"/>
                  <a:gd name="connsiteY16" fmla="*/ 51054 h 85915"/>
                  <a:gd name="connsiteX17" fmla="*/ 1415415 w 1894999"/>
                  <a:gd name="connsiteY17" fmla="*/ 85915 h 85915"/>
                  <a:gd name="connsiteX18" fmla="*/ 1894999 w 1894999"/>
                  <a:gd name="connsiteY18" fmla="*/ 85915 h 85915"/>
                  <a:gd name="connsiteX0" fmla="*/ 0 w 1894999"/>
                  <a:gd name="connsiteY0" fmla="*/ 0 h 85915"/>
                  <a:gd name="connsiteX1" fmla="*/ 73628 w 1894999"/>
                  <a:gd name="connsiteY1" fmla="*/ 6286 h 85915"/>
                  <a:gd name="connsiteX2" fmla="*/ 73628 w 1894999"/>
                  <a:gd name="connsiteY2" fmla="*/ 12573 h 85915"/>
                  <a:gd name="connsiteX3" fmla="*/ 153543 w 1894999"/>
                  <a:gd name="connsiteY3" fmla="*/ 12573 h 85915"/>
                  <a:gd name="connsiteX4" fmla="*/ 153543 w 1894999"/>
                  <a:gd name="connsiteY4" fmla="*/ 18859 h 85915"/>
                  <a:gd name="connsiteX5" fmla="*/ 315468 w 1894999"/>
                  <a:gd name="connsiteY5" fmla="*/ 18859 h 85915"/>
                  <a:gd name="connsiteX6" fmla="*/ 315468 w 1894999"/>
                  <a:gd name="connsiteY6" fmla="*/ 25336 h 85915"/>
                  <a:gd name="connsiteX7" fmla="*/ 332327 w 1894999"/>
                  <a:gd name="connsiteY7" fmla="*/ 25336 h 85915"/>
                  <a:gd name="connsiteX8" fmla="*/ 332327 w 1894999"/>
                  <a:gd name="connsiteY8" fmla="*/ 31718 h 85915"/>
                  <a:gd name="connsiteX9" fmla="*/ 450151 w 1894999"/>
                  <a:gd name="connsiteY9" fmla="*/ 31718 h 85915"/>
                  <a:gd name="connsiteX10" fmla="*/ 450151 w 1894999"/>
                  <a:gd name="connsiteY10" fmla="*/ 38195 h 85915"/>
                  <a:gd name="connsiteX11" fmla="*/ 542639 w 1894999"/>
                  <a:gd name="connsiteY11" fmla="*/ 38195 h 85915"/>
                  <a:gd name="connsiteX12" fmla="*/ 542639 w 1894999"/>
                  <a:gd name="connsiteY12" fmla="*/ 44577 h 85915"/>
                  <a:gd name="connsiteX13" fmla="*/ 561594 w 1894999"/>
                  <a:gd name="connsiteY13" fmla="*/ 44577 h 85915"/>
                  <a:gd name="connsiteX14" fmla="*/ 561594 w 1894999"/>
                  <a:gd name="connsiteY14" fmla="*/ 51054 h 85915"/>
                  <a:gd name="connsiteX15" fmla="*/ 1415415 w 1894999"/>
                  <a:gd name="connsiteY15" fmla="*/ 51054 h 85915"/>
                  <a:gd name="connsiteX16" fmla="*/ 1415415 w 1894999"/>
                  <a:gd name="connsiteY16" fmla="*/ 85915 h 85915"/>
                  <a:gd name="connsiteX17" fmla="*/ 1894999 w 1894999"/>
                  <a:gd name="connsiteY17" fmla="*/ 85915 h 85915"/>
                  <a:gd name="connsiteX0" fmla="*/ 0 w 1821371"/>
                  <a:gd name="connsiteY0" fmla="*/ 0 h 79629"/>
                  <a:gd name="connsiteX1" fmla="*/ 0 w 1821371"/>
                  <a:gd name="connsiteY1" fmla="*/ 6287 h 79629"/>
                  <a:gd name="connsiteX2" fmla="*/ 79915 w 1821371"/>
                  <a:gd name="connsiteY2" fmla="*/ 6287 h 79629"/>
                  <a:gd name="connsiteX3" fmla="*/ 79915 w 1821371"/>
                  <a:gd name="connsiteY3" fmla="*/ 12573 h 79629"/>
                  <a:gd name="connsiteX4" fmla="*/ 241840 w 1821371"/>
                  <a:gd name="connsiteY4" fmla="*/ 12573 h 79629"/>
                  <a:gd name="connsiteX5" fmla="*/ 241840 w 1821371"/>
                  <a:gd name="connsiteY5" fmla="*/ 19050 h 79629"/>
                  <a:gd name="connsiteX6" fmla="*/ 258699 w 1821371"/>
                  <a:gd name="connsiteY6" fmla="*/ 19050 h 79629"/>
                  <a:gd name="connsiteX7" fmla="*/ 258699 w 1821371"/>
                  <a:gd name="connsiteY7" fmla="*/ 25432 h 79629"/>
                  <a:gd name="connsiteX8" fmla="*/ 376523 w 1821371"/>
                  <a:gd name="connsiteY8" fmla="*/ 25432 h 79629"/>
                  <a:gd name="connsiteX9" fmla="*/ 376523 w 1821371"/>
                  <a:gd name="connsiteY9" fmla="*/ 31909 h 79629"/>
                  <a:gd name="connsiteX10" fmla="*/ 469011 w 1821371"/>
                  <a:gd name="connsiteY10" fmla="*/ 31909 h 79629"/>
                  <a:gd name="connsiteX11" fmla="*/ 469011 w 1821371"/>
                  <a:gd name="connsiteY11" fmla="*/ 38291 h 79629"/>
                  <a:gd name="connsiteX12" fmla="*/ 487966 w 1821371"/>
                  <a:gd name="connsiteY12" fmla="*/ 38291 h 79629"/>
                  <a:gd name="connsiteX13" fmla="*/ 487966 w 1821371"/>
                  <a:gd name="connsiteY13" fmla="*/ 44768 h 79629"/>
                  <a:gd name="connsiteX14" fmla="*/ 1341787 w 1821371"/>
                  <a:gd name="connsiteY14" fmla="*/ 44768 h 79629"/>
                  <a:gd name="connsiteX15" fmla="*/ 1341787 w 1821371"/>
                  <a:gd name="connsiteY15" fmla="*/ 79629 h 79629"/>
                  <a:gd name="connsiteX16" fmla="*/ 1821371 w 1821371"/>
                  <a:gd name="connsiteY16" fmla="*/ 79629 h 79629"/>
                  <a:gd name="connsiteX0" fmla="*/ 0 w 1821371"/>
                  <a:gd name="connsiteY0" fmla="*/ 0 h 79629"/>
                  <a:gd name="connsiteX1" fmla="*/ 79915 w 1821371"/>
                  <a:gd name="connsiteY1" fmla="*/ 6287 h 79629"/>
                  <a:gd name="connsiteX2" fmla="*/ 79915 w 1821371"/>
                  <a:gd name="connsiteY2" fmla="*/ 12573 h 79629"/>
                  <a:gd name="connsiteX3" fmla="*/ 241840 w 1821371"/>
                  <a:gd name="connsiteY3" fmla="*/ 12573 h 79629"/>
                  <a:gd name="connsiteX4" fmla="*/ 241840 w 1821371"/>
                  <a:gd name="connsiteY4" fmla="*/ 19050 h 79629"/>
                  <a:gd name="connsiteX5" fmla="*/ 258699 w 1821371"/>
                  <a:gd name="connsiteY5" fmla="*/ 19050 h 79629"/>
                  <a:gd name="connsiteX6" fmla="*/ 258699 w 1821371"/>
                  <a:gd name="connsiteY6" fmla="*/ 25432 h 79629"/>
                  <a:gd name="connsiteX7" fmla="*/ 376523 w 1821371"/>
                  <a:gd name="connsiteY7" fmla="*/ 25432 h 79629"/>
                  <a:gd name="connsiteX8" fmla="*/ 376523 w 1821371"/>
                  <a:gd name="connsiteY8" fmla="*/ 31909 h 79629"/>
                  <a:gd name="connsiteX9" fmla="*/ 469011 w 1821371"/>
                  <a:gd name="connsiteY9" fmla="*/ 31909 h 79629"/>
                  <a:gd name="connsiteX10" fmla="*/ 469011 w 1821371"/>
                  <a:gd name="connsiteY10" fmla="*/ 38291 h 79629"/>
                  <a:gd name="connsiteX11" fmla="*/ 487966 w 1821371"/>
                  <a:gd name="connsiteY11" fmla="*/ 38291 h 79629"/>
                  <a:gd name="connsiteX12" fmla="*/ 487966 w 1821371"/>
                  <a:gd name="connsiteY12" fmla="*/ 44768 h 79629"/>
                  <a:gd name="connsiteX13" fmla="*/ 1341787 w 1821371"/>
                  <a:gd name="connsiteY13" fmla="*/ 44768 h 79629"/>
                  <a:gd name="connsiteX14" fmla="*/ 1341787 w 1821371"/>
                  <a:gd name="connsiteY14" fmla="*/ 79629 h 79629"/>
                  <a:gd name="connsiteX15" fmla="*/ 1821371 w 1821371"/>
                  <a:gd name="connsiteY15" fmla="*/ 79629 h 79629"/>
                  <a:gd name="connsiteX0" fmla="*/ 0 w 1741456"/>
                  <a:gd name="connsiteY0" fmla="*/ 0 h 73342"/>
                  <a:gd name="connsiteX1" fmla="*/ 0 w 1741456"/>
                  <a:gd name="connsiteY1" fmla="*/ 6286 h 73342"/>
                  <a:gd name="connsiteX2" fmla="*/ 161925 w 1741456"/>
                  <a:gd name="connsiteY2" fmla="*/ 6286 h 73342"/>
                  <a:gd name="connsiteX3" fmla="*/ 161925 w 1741456"/>
                  <a:gd name="connsiteY3" fmla="*/ 12763 h 73342"/>
                  <a:gd name="connsiteX4" fmla="*/ 178784 w 1741456"/>
                  <a:gd name="connsiteY4" fmla="*/ 12763 h 73342"/>
                  <a:gd name="connsiteX5" fmla="*/ 178784 w 1741456"/>
                  <a:gd name="connsiteY5" fmla="*/ 19145 h 73342"/>
                  <a:gd name="connsiteX6" fmla="*/ 296608 w 1741456"/>
                  <a:gd name="connsiteY6" fmla="*/ 19145 h 73342"/>
                  <a:gd name="connsiteX7" fmla="*/ 296608 w 1741456"/>
                  <a:gd name="connsiteY7" fmla="*/ 25622 h 73342"/>
                  <a:gd name="connsiteX8" fmla="*/ 389096 w 1741456"/>
                  <a:gd name="connsiteY8" fmla="*/ 25622 h 73342"/>
                  <a:gd name="connsiteX9" fmla="*/ 389096 w 1741456"/>
                  <a:gd name="connsiteY9" fmla="*/ 32004 h 73342"/>
                  <a:gd name="connsiteX10" fmla="*/ 408051 w 1741456"/>
                  <a:gd name="connsiteY10" fmla="*/ 32004 h 73342"/>
                  <a:gd name="connsiteX11" fmla="*/ 408051 w 1741456"/>
                  <a:gd name="connsiteY11" fmla="*/ 38481 h 73342"/>
                  <a:gd name="connsiteX12" fmla="*/ 1261872 w 1741456"/>
                  <a:gd name="connsiteY12" fmla="*/ 38481 h 73342"/>
                  <a:gd name="connsiteX13" fmla="*/ 1261872 w 1741456"/>
                  <a:gd name="connsiteY13" fmla="*/ 73342 h 73342"/>
                  <a:gd name="connsiteX14" fmla="*/ 1741456 w 1741456"/>
                  <a:gd name="connsiteY14" fmla="*/ 73342 h 73342"/>
                  <a:gd name="connsiteX0" fmla="*/ 0 w 1741456"/>
                  <a:gd name="connsiteY0" fmla="*/ 0 h 73342"/>
                  <a:gd name="connsiteX1" fmla="*/ 161925 w 1741456"/>
                  <a:gd name="connsiteY1" fmla="*/ 6286 h 73342"/>
                  <a:gd name="connsiteX2" fmla="*/ 161925 w 1741456"/>
                  <a:gd name="connsiteY2" fmla="*/ 12763 h 73342"/>
                  <a:gd name="connsiteX3" fmla="*/ 178784 w 1741456"/>
                  <a:gd name="connsiteY3" fmla="*/ 12763 h 73342"/>
                  <a:gd name="connsiteX4" fmla="*/ 178784 w 1741456"/>
                  <a:gd name="connsiteY4" fmla="*/ 19145 h 73342"/>
                  <a:gd name="connsiteX5" fmla="*/ 296608 w 1741456"/>
                  <a:gd name="connsiteY5" fmla="*/ 19145 h 73342"/>
                  <a:gd name="connsiteX6" fmla="*/ 296608 w 1741456"/>
                  <a:gd name="connsiteY6" fmla="*/ 25622 h 73342"/>
                  <a:gd name="connsiteX7" fmla="*/ 389096 w 1741456"/>
                  <a:gd name="connsiteY7" fmla="*/ 25622 h 73342"/>
                  <a:gd name="connsiteX8" fmla="*/ 389096 w 1741456"/>
                  <a:gd name="connsiteY8" fmla="*/ 32004 h 73342"/>
                  <a:gd name="connsiteX9" fmla="*/ 408051 w 1741456"/>
                  <a:gd name="connsiteY9" fmla="*/ 32004 h 73342"/>
                  <a:gd name="connsiteX10" fmla="*/ 408051 w 1741456"/>
                  <a:gd name="connsiteY10" fmla="*/ 38481 h 73342"/>
                  <a:gd name="connsiteX11" fmla="*/ 1261872 w 1741456"/>
                  <a:gd name="connsiteY11" fmla="*/ 38481 h 73342"/>
                  <a:gd name="connsiteX12" fmla="*/ 1261872 w 1741456"/>
                  <a:gd name="connsiteY12" fmla="*/ 73342 h 73342"/>
                  <a:gd name="connsiteX13" fmla="*/ 1741456 w 1741456"/>
                  <a:gd name="connsiteY13" fmla="*/ 73342 h 73342"/>
                  <a:gd name="connsiteX0" fmla="*/ 0 w 1579531"/>
                  <a:gd name="connsiteY0" fmla="*/ 0 h 67056"/>
                  <a:gd name="connsiteX1" fmla="*/ 0 w 1579531"/>
                  <a:gd name="connsiteY1" fmla="*/ 6477 h 67056"/>
                  <a:gd name="connsiteX2" fmla="*/ 16859 w 1579531"/>
                  <a:gd name="connsiteY2" fmla="*/ 6477 h 67056"/>
                  <a:gd name="connsiteX3" fmla="*/ 16859 w 1579531"/>
                  <a:gd name="connsiteY3" fmla="*/ 12859 h 67056"/>
                  <a:gd name="connsiteX4" fmla="*/ 134683 w 1579531"/>
                  <a:gd name="connsiteY4" fmla="*/ 12859 h 67056"/>
                  <a:gd name="connsiteX5" fmla="*/ 134683 w 1579531"/>
                  <a:gd name="connsiteY5" fmla="*/ 19336 h 67056"/>
                  <a:gd name="connsiteX6" fmla="*/ 227171 w 1579531"/>
                  <a:gd name="connsiteY6" fmla="*/ 19336 h 67056"/>
                  <a:gd name="connsiteX7" fmla="*/ 227171 w 1579531"/>
                  <a:gd name="connsiteY7" fmla="*/ 25718 h 67056"/>
                  <a:gd name="connsiteX8" fmla="*/ 246126 w 1579531"/>
                  <a:gd name="connsiteY8" fmla="*/ 25718 h 67056"/>
                  <a:gd name="connsiteX9" fmla="*/ 246126 w 1579531"/>
                  <a:gd name="connsiteY9" fmla="*/ 32195 h 67056"/>
                  <a:gd name="connsiteX10" fmla="*/ 1099947 w 1579531"/>
                  <a:gd name="connsiteY10" fmla="*/ 32195 h 67056"/>
                  <a:gd name="connsiteX11" fmla="*/ 1099947 w 1579531"/>
                  <a:gd name="connsiteY11" fmla="*/ 67056 h 67056"/>
                  <a:gd name="connsiteX12" fmla="*/ 1579531 w 1579531"/>
                  <a:gd name="connsiteY12" fmla="*/ 67056 h 67056"/>
                  <a:gd name="connsiteX0" fmla="*/ 0 w 1579531"/>
                  <a:gd name="connsiteY0" fmla="*/ 0 h 60579"/>
                  <a:gd name="connsiteX1" fmla="*/ 16859 w 1579531"/>
                  <a:gd name="connsiteY1" fmla="*/ 0 h 60579"/>
                  <a:gd name="connsiteX2" fmla="*/ 16859 w 1579531"/>
                  <a:gd name="connsiteY2" fmla="*/ 6382 h 60579"/>
                  <a:gd name="connsiteX3" fmla="*/ 134683 w 1579531"/>
                  <a:gd name="connsiteY3" fmla="*/ 6382 h 60579"/>
                  <a:gd name="connsiteX4" fmla="*/ 134683 w 1579531"/>
                  <a:gd name="connsiteY4" fmla="*/ 12859 h 60579"/>
                  <a:gd name="connsiteX5" fmla="*/ 227171 w 1579531"/>
                  <a:gd name="connsiteY5" fmla="*/ 12859 h 60579"/>
                  <a:gd name="connsiteX6" fmla="*/ 227171 w 1579531"/>
                  <a:gd name="connsiteY6" fmla="*/ 19241 h 60579"/>
                  <a:gd name="connsiteX7" fmla="*/ 246126 w 1579531"/>
                  <a:gd name="connsiteY7" fmla="*/ 19241 h 60579"/>
                  <a:gd name="connsiteX8" fmla="*/ 246126 w 1579531"/>
                  <a:gd name="connsiteY8" fmla="*/ 25718 h 60579"/>
                  <a:gd name="connsiteX9" fmla="*/ 1099947 w 1579531"/>
                  <a:gd name="connsiteY9" fmla="*/ 25718 h 60579"/>
                  <a:gd name="connsiteX10" fmla="*/ 1099947 w 1579531"/>
                  <a:gd name="connsiteY10" fmla="*/ 60579 h 60579"/>
                  <a:gd name="connsiteX11" fmla="*/ 1579531 w 1579531"/>
                  <a:gd name="connsiteY11" fmla="*/ 60579 h 60579"/>
                  <a:gd name="connsiteX0" fmla="*/ 0 w 1562672"/>
                  <a:gd name="connsiteY0" fmla="*/ 0 h 60579"/>
                  <a:gd name="connsiteX1" fmla="*/ 0 w 1562672"/>
                  <a:gd name="connsiteY1" fmla="*/ 6382 h 60579"/>
                  <a:gd name="connsiteX2" fmla="*/ 117824 w 1562672"/>
                  <a:gd name="connsiteY2" fmla="*/ 6382 h 60579"/>
                  <a:gd name="connsiteX3" fmla="*/ 117824 w 1562672"/>
                  <a:gd name="connsiteY3" fmla="*/ 12859 h 60579"/>
                  <a:gd name="connsiteX4" fmla="*/ 210312 w 1562672"/>
                  <a:gd name="connsiteY4" fmla="*/ 12859 h 60579"/>
                  <a:gd name="connsiteX5" fmla="*/ 210312 w 1562672"/>
                  <a:gd name="connsiteY5" fmla="*/ 19241 h 60579"/>
                  <a:gd name="connsiteX6" fmla="*/ 229267 w 1562672"/>
                  <a:gd name="connsiteY6" fmla="*/ 19241 h 60579"/>
                  <a:gd name="connsiteX7" fmla="*/ 229267 w 1562672"/>
                  <a:gd name="connsiteY7" fmla="*/ 25718 h 60579"/>
                  <a:gd name="connsiteX8" fmla="*/ 1083088 w 1562672"/>
                  <a:gd name="connsiteY8" fmla="*/ 25718 h 60579"/>
                  <a:gd name="connsiteX9" fmla="*/ 1083088 w 1562672"/>
                  <a:gd name="connsiteY9" fmla="*/ 60579 h 60579"/>
                  <a:gd name="connsiteX10" fmla="*/ 1562672 w 1562672"/>
                  <a:gd name="connsiteY10" fmla="*/ 60579 h 60579"/>
                  <a:gd name="connsiteX0" fmla="*/ 0 w 1562672"/>
                  <a:gd name="connsiteY0" fmla="*/ 0 h 54197"/>
                  <a:gd name="connsiteX1" fmla="*/ 117824 w 1562672"/>
                  <a:gd name="connsiteY1" fmla="*/ 0 h 54197"/>
                  <a:gd name="connsiteX2" fmla="*/ 117824 w 1562672"/>
                  <a:gd name="connsiteY2" fmla="*/ 6477 h 54197"/>
                  <a:gd name="connsiteX3" fmla="*/ 210312 w 1562672"/>
                  <a:gd name="connsiteY3" fmla="*/ 6477 h 54197"/>
                  <a:gd name="connsiteX4" fmla="*/ 210312 w 1562672"/>
                  <a:gd name="connsiteY4" fmla="*/ 12859 h 54197"/>
                  <a:gd name="connsiteX5" fmla="*/ 229267 w 1562672"/>
                  <a:gd name="connsiteY5" fmla="*/ 12859 h 54197"/>
                  <a:gd name="connsiteX6" fmla="*/ 229267 w 1562672"/>
                  <a:gd name="connsiteY6" fmla="*/ 19336 h 54197"/>
                  <a:gd name="connsiteX7" fmla="*/ 1083088 w 1562672"/>
                  <a:gd name="connsiteY7" fmla="*/ 19336 h 54197"/>
                  <a:gd name="connsiteX8" fmla="*/ 1083088 w 1562672"/>
                  <a:gd name="connsiteY8" fmla="*/ 54197 h 54197"/>
                  <a:gd name="connsiteX9" fmla="*/ 1562672 w 1562672"/>
                  <a:gd name="connsiteY9" fmla="*/ 54197 h 54197"/>
                  <a:gd name="connsiteX0" fmla="*/ 0 w 1516791"/>
                  <a:gd name="connsiteY0" fmla="*/ 2526 h 54197"/>
                  <a:gd name="connsiteX1" fmla="*/ 71943 w 1516791"/>
                  <a:gd name="connsiteY1" fmla="*/ 0 h 54197"/>
                  <a:gd name="connsiteX2" fmla="*/ 71943 w 1516791"/>
                  <a:gd name="connsiteY2" fmla="*/ 6477 h 54197"/>
                  <a:gd name="connsiteX3" fmla="*/ 164431 w 1516791"/>
                  <a:gd name="connsiteY3" fmla="*/ 6477 h 54197"/>
                  <a:gd name="connsiteX4" fmla="*/ 164431 w 1516791"/>
                  <a:gd name="connsiteY4" fmla="*/ 12859 h 54197"/>
                  <a:gd name="connsiteX5" fmla="*/ 183386 w 1516791"/>
                  <a:gd name="connsiteY5" fmla="*/ 12859 h 54197"/>
                  <a:gd name="connsiteX6" fmla="*/ 183386 w 1516791"/>
                  <a:gd name="connsiteY6" fmla="*/ 19336 h 54197"/>
                  <a:gd name="connsiteX7" fmla="*/ 1037207 w 1516791"/>
                  <a:gd name="connsiteY7" fmla="*/ 19336 h 54197"/>
                  <a:gd name="connsiteX8" fmla="*/ 1037207 w 1516791"/>
                  <a:gd name="connsiteY8" fmla="*/ 54197 h 54197"/>
                  <a:gd name="connsiteX9" fmla="*/ 1516791 w 1516791"/>
                  <a:gd name="connsiteY9" fmla="*/ 54197 h 54197"/>
                  <a:gd name="connsiteX0" fmla="*/ 0 w 1506595"/>
                  <a:gd name="connsiteY0" fmla="*/ 1263 h 54197"/>
                  <a:gd name="connsiteX1" fmla="*/ 61747 w 1506595"/>
                  <a:gd name="connsiteY1" fmla="*/ 0 h 54197"/>
                  <a:gd name="connsiteX2" fmla="*/ 61747 w 1506595"/>
                  <a:gd name="connsiteY2" fmla="*/ 6477 h 54197"/>
                  <a:gd name="connsiteX3" fmla="*/ 154235 w 1506595"/>
                  <a:gd name="connsiteY3" fmla="*/ 6477 h 54197"/>
                  <a:gd name="connsiteX4" fmla="*/ 154235 w 1506595"/>
                  <a:gd name="connsiteY4" fmla="*/ 12859 h 54197"/>
                  <a:gd name="connsiteX5" fmla="*/ 173190 w 1506595"/>
                  <a:gd name="connsiteY5" fmla="*/ 12859 h 54197"/>
                  <a:gd name="connsiteX6" fmla="*/ 173190 w 1506595"/>
                  <a:gd name="connsiteY6" fmla="*/ 19336 h 54197"/>
                  <a:gd name="connsiteX7" fmla="*/ 1027011 w 1506595"/>
                  <a:gd name="connsiteY7" fmla="*/ 19336 h 54197"/>
                  <a:gd name="connsiteX8" fmla="*/ 1027011 w 1506595"/>
                  <a:gd name="connsiteY8" fmla="*/ 54197 h 54197"/>
                  <a:gd name="connsiteX9" fmla="*/ 1506595 w 1506595"/>
                  <a:gd name="connsiteY9" fmla="*/ 54197 h 54197"/>
                  <a:gd name="connsiteX0" fmla="*/ 0 w 1444848"/>
                  <a:gd name="connsiteY0" fmla="*/ 0 h 54197"/>
                  <a:gd name="connsiteX1" fmla="*/ 0 w 1444848"/>
                  <a:gd name="connsiteY1" fmla="*/ 6477 h 54197"/>
                  <a:gd name="connsiteX2" fmla="*/ 92488 w 1444848"/>
                  <a:gd name="connsiteY2" fmla="*/ 6477 h 54197"/>
                  <a:gd name="connsiteX3" fmla="*/ 92488 w 1444848"/>
                  <a:gd name="connsiteY3" fmla="*/ 12859 h 54197"/>
                  <a:gd name="connsiteX4" fmla="*/ 111443 w 1444848"/>
                  <a:gd name="connsiteY4" fmla="*/ 12859 h 54197"/>
                  <a:gd name="connsiteX5" fmla="*/ 111443 w 1444848"/>
                  <a:gd name="connsiteY5" fmla="*/ 19336 h 54197"/>
                  <a:gd name="connsiteX6" fmla="*/ 965264 w 1444848"/>
                  <a:gd name="connsiteY6" fmla="*/ 19336 h 54197"/>
                  <a:gd name="connsiteX7" fmla="*/ 965264 w 1444848"/>
                  <a:gd name="connsiteY7" fmla="*/ 54197 h 54197"/>
                  <a:gd name="connsiteX8" fmla="*/ 1444848 w 1444848"/>
                  <a:gd name="connsiteY8" fmla="*/ 54197 h 54197"/>
                  <a:gd name="connsiteX0" fmla="*/ 0 w 1444848"/>
                  <a:gd name="connsiteY0" fmla="*/ 0 h 47720"/>
                  <a:gd name="connsiteX1" fmla="*/ 92488 w 1444848"/>
                  <a:gd name="connsiteY1" fmla="*/ 0 h 47720"/>
                  <a:gd name="connsiteX2" fmla="*/ 92488 w 1444848"/>
                  <a:gd name="connsiteY2" fmla="*/ 6382 h 47720"/>
                  <a:gd name="connsiteX3" fmla="*/ 111443 w 1444848"/>
                  <a:gd name="connsiteY3" fmla="*/ 6382 h 47720"/>
                  <a:gd name="connsiteX4" fmla="*/ 111443 w 1444848"/>
                  <a:gd name="connsiteY4" fmla="*/ 12859 h 47720"/>
                  <a:gd name="connsiteX5" fmla="*/ 965264 w 1444848"/>
                  <a:gd name="connsiteY5" fmla="*/ 12859 h 47720"/>
                  <a:gd name="connsiteX6" fmla="*/ 965264 w 1444848"/>
                  <a:gd name="connsiteY6" fmla="*/ 47720 h 47720"/>
                  <a:gd name="connsiteX7" fmla="*/ 1444848 w 1444848"/>
                  <a:gd name="connsiteY7" fmla="*/ 47720 h 47720"/>
                  <a:gd name="connsiteX0" fmla="*/ 0 w 1352360"/>
                  <a:gd name="connsiteY0" fmla="*/ 0 h 47720"/>
                  <a:gd name="connsiteX1" fmla="*/ 0 w 1352360"/>
                  <a:gd name="connsiteY1" fmla="*/ 6382 h 47720"/>
                  <a:gd name="connsiteX2" fmla="*/ 18955 w 1352360"/>
                  <a:gd name="connsiteY2" fmla="*/ 6382 h 47720"/>
                  <a:gd name="connsiteX3" fmla="*/ 18955 w 1352360"/>
                  <a:gd name="connsiteY3" fmla="*/ 12859 h 47720"/>
                  <a:gd name="connsiteX4" fmla="*/ 872776 w 1352360"/>
                  <a:gd name="connsiteY4" fmla="*/ 12859 h 47720"/>
                  <a:gd name="connsiteX5" fmla="*/ 872776 w 1352360"/>
                  <a:gd name="connsiteY5" fmla="*/ 47720 h 47720"/>
                  <a:gd name="connsiteX6" fmla="*/ 1352360 w 1352360"/>
                  <a:gd name="connsiteY6" fmla="*/ 47720 h 47720"/>
                  <a:gd name="connsiteX0" fmla="*/ 0 w 1352360"/>
                  <a:gd name="connsiteY0" fmla="*/ 0 h 41338"/>
                  <a:gd name="connsiteX1" fmla="*/ 18955 w 1352360"/>
                  <a:gd name="connsiteY1" fmla="*/ 0 h 41338"/>
                  <a:gd name="connsiteX2" fmla="*/ 18955 w 1352360"/>
                  <a:gd name="connsiteY2" fmla="*/ 6477 h 41338"/>
                  <a:gd name="connsiteX3" fmla="*/ 872776 w 1352360"/>
                  <a:gd name="connsiteY3" fmla="*/ 6477 h 41338"/>
                  <a:gd name="connsiteX4" fmla="*/ 872776 w 1352360"/>
                  <a:gd name="connsiteY4" fmla="*/ 41338 h 41338"/>
                  <a:gd name="connsiteX5" fmla="*/ 1352360 w 1352360"/>
                  <a:gd name="connsiteY5" fmla="*/ 41338 h 41338"/>
                  <a:gd name="connsiteX0" fmla="*/ 0 w 1333405"/>
                  <a:gd name="connsiteY0" fmla="*/ 0 h 41338"/>
                  <a:gd name="connsiteX1" fmla="*/ 0 w 1333405"/>
                  <a:gd name="connsiteY1" fmla="*/ 6477 h 41338"/>
                  <a:gd name="connsiteX2" fmla="*/ 853821 w 1333405"/>
                  <a:gd name="connsiteY2" fmla="*/ 6477 h 41338"/>
                  <a:gd name="connsiteX3" fmla="*/ 853821 w 1333405"/>
                  <a:gd name="connsiteY3" fmla="*/ 41338 h 41338"/>
                  <a:gd name="connsiteX4" fmla="*/ 1333405 w 1333405"/>
                  <a:gd name="connsiteY4" fmla="*/ 41338 h 41338"/>
                  <a:gd name="connsiteX0" fmla="*/ 0 w 1333405"/>
                  <a:gd name="connsiteY0" fmla="*/ 0 h 34861"/>
                  <a:gd name="connsiteX1" fmla="*/ 853821 w 1333405"/>
                  <a:gd name="connsiteY1" fmla="*/ 0 h 34861"/>
                  <a:gd name="connsiteX2" fmla="*/ 853821 w 1333405"/>
                  <a:gd name="connsiteY2" fmla="*/ 34861 h 34861"/>
                  <a:gd name="connsiteX3" fmla="*/ 1333405 w 1333405"/>
                  <a:gd name="connsiteY3" fmla="*/ 34861 h 34861"/>
                  <a:gd name="connsiteX0" fmla="*/ 0 w 1333405"/>
                  <a:gd name="connsiteY0" fmla="*/ 25 h 34886"/>
                  <a:gd name="connsiteX1" fmla="*/ 589873 w 1333405"/>
                  <a:gd name="connsiteY1" fmla="*/ 0 h 34886"/>
                  <a:gd name="connsiteX2" fmla="*/ 853821 w 1333405"/>
                  <a:gd name="connsiteY2" fmla="*/ 25 h 34886"/>
                  <a:gd name="connsiteX3" fmla="*/ 853821 w 1333405"/>
                  <a:gd name="connsiteY3" fmla="*/ 34886 h 34886"/>
                  <a:gd name="connsiteX4" fmla="*/ 1333405 w 1333405"/>
                  <a:gd name="connsiteY4" fmla="*/ 34886 h 34886"/>
                  <a:gd name="connsiteX0" fmla="*/ 0 w 743532"/>
                  <a:gd name="connsiteY0" fmla="*/ 0 h 34886"/>
                  <a:gd name="connsiteX1" fmla="*/ 263948 w 743532"/>
                  <a:gd name="connsiteY1" fmla="*/ 25 h 34886"/>
                  <a:gd name="connsiteX2" fmla="*/ 263948 w 743532"/>
                  <a:gd name="connsiteY2" fmla="*/ 34886 h 34886"/>
                  <a:gd name="connsiteX3" fmla="*/ 743532 w 743532"/>
                  <a:gd name="connsiteY3" fmla="*/ 34886 h 34886"/>
                </a:gdLst>
                <a:ahLst/>
                <a:cxnLst>
                  <a:cxn ang="0">
                    <a:pos x="connsiteX0" y="connsiteY0"/>
                  </a:cxn>
                  <a:cxn ang="0">
                    <a:pos x="connsiteX1" y="connsiteY1"/>
                  </a:cxn>
                  <a:cxn ang="0">
                    <a:pos x="connsiteX2" y="connsiteY2"/>
                  </a:cxn>
                  <a:cxn ang="0">
                    <a:pos x="connsiteX3" y="connsiteY3"/>
                  </a:cxn>
                </a:cxnLst>
                <a:rect l="l" t="t" r="r" b="b"/>
                <a:pathLst>
                  <a:path w="743532" h="34886">
                    <a:moveTo>
                      <a:pt x="0" y="0"/>
                    </a:moveTo>
                    <a:lnTo>
                      <a:pt x="263948" y="25"/>
                    </a:lnTo>
                    <a:lnTo>
                      <a:pt x="263948" y="34886"/>
                    </a:lnTo>
                    <a:lnTo>
                      <a:pt x="743532" y="34886"/>
                    </a:lnTo>
                  </a:path>
                </a:pathLst>
              </a:custGeom>
              <a:noFill/>
              <a:ln w="12700" cap="flat" cmpd="sng" algn="ctr">
                <a:solidFill>
                  <a:schemeClr val="tx1">
                    <a:lumMod val="50000"/>
                    <a:lumOff val="50000"/>
                  </a:schemeClr>
                </a:solidFill>
                <a:prstDash val="solid"/>
                <a:miter lim="800000"/>
              </a:ln>
              <a:effectLst/>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1375" name="Group 1374">
                <a:extLst>
                  <a:ext uri="{FF2B5EF4-FFF2-40B4-BE49-F238E27FC236}">
                    <a16:creationId xmlns:a16="http://schemas.microsoft.com/office/drawing/2014/main" id="{1A0C62C1-2842-528F-1408-373DEFE44DA8}"/>
                  </a:ext>
                </a:extLst>
              </p:cNvPr>
              <p:cNvGrpSpPr/>
              <p:nvPr/>
            </p:nvGrpSpPr>
            <p:grpSpPr>
              <a:xfrm>
                <a:off x="8911260" y="2907839"/>
                <a:ext cx="1369277" cy="178615"/>
                <a:chOff x="8911260" y="1070482"/>
                <a:chExt cx="1369277" cy="178615"/>
              </a:xfrm>
            </p:grpSpPr>
            <p:grpSp>
              <p:nvGrpSpPr>
                <p:cNvPr id="1376" name="Group 1375">
                  <a:extLst>
                    <a:ext uri="{FF2B5EF4-FFF2-40B4-BE49-F238E27FC236}">
                      <a16:creationId xmlns:a16="http://schemas.microsoft.com/office/drawing/2014/main" id="{1997C34B-396F-C98C-6EDF-4C0F48940278}"/>
                    </a:ext>
                  </a:extLst>
                </p:cNvPr>
                <p:cNvGrpSpPr/>
                <p:nvPr/>
              </p:nvGrpSpPr>
              <p:grpSpPr>
                <a:xfrm>
                  <a:off x="8911260" y="1070482"/>
                  <a:ext cx="68895" cy="90004"/>
                  <a:chOff x="1773255" y="1810053"/>
                  <a:chExt cx="84653" cy="84653"/>
                </a:xfrm>
              </p:grpSpPr>
              <p:cxnSp>
                <p:nvCxnSpPr>
                  <p:cNvPr id="1440" name="Straight Connector 1439">
                    <a:extLst>
                      <a:ext uri="{FF2B5EF4-FFF2-40B4-BE49-F238E27FC236}">
                        <a16:creationId xmlns:a16="http://schemas.microsoft.com/office/drawing/2014/main" id="{CFFABF24-438E-F0B1-C4D2-41A0F504B3D8}"/>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41" name="Straight Connector 1440">
                    <a:extLst>
                      <a:ext uri="{FF2B5EF4-FFF2-40B4-BE49-F238E27FC236}">
                        <a16:creationId xmlns:a16="http://schemas.microsoft.com/office/drawing/2014/main" id="{ED134B70-F3DF-C969-C01B-B0A43B2B26D8}"/>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77" name="Group 1376">
                  <a:extLst>
                    <a:ext uri="{FF2B5EF4-FFF2-40B4-BE49-F238E27FC236}">
                      <a16:creationId xmlns:a16="http://schemas.microsoft.com/office/drawing/2014/main" id="{B1F57E0D-0EEE-406E-8488-5FEB2CB740EC}"/>
                    </a:ext>
                  </a:extLst>
                </p:cNvPr>
                <p:cNvGrpSpPr/>
                <p:nvPr/>
              </p:nvGrpSpPr>
              <p:grpSpPr>
                <a:xfrm>
                  <a:off x="8942268" y="1070482"/>
                  <a:ext cx="68895" cy="90004"/>
                  <a:chOff x="1773255" y="1810053"/>
                  <a:chExt cx="84653" cy="84653"/>
                </a:xfrm>
              </p:grpSpPr>
              <p:cxnSp>
                <p:nvCxnSpPr>
                  <p:cNvPr id="1438" name="Straight Connector 1437">
                    <a:extLst>
                      <a:ext uri="{FF2B5EF4-FFF2-40B4-BE49-F238E27FC236}">
                        <a16:creationId xmlns:a16="http://schemas.microsoft.com/office/drawing/2014/main" id="{9D5D2201-D744-28E1-62BA-4F1B572CB2CC}"/>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39" name="Straight Connector 1438">
                    <a:extLst>
                      <a:ext uri="{FF2B5EF4-FFF2-40B4-BE49-F238E27FC236}">
                        <a16:creationId xmlns:a16="http://schemas.microsoft.com/office/drawing/2014/main" id="{CCCA2681-4889-DB9D-F631-B005C5570E5E}"/>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78" name="Group 1377">
                  <a:extLst>
                    <a:ext uri="{FF2B5EF4-FFF2-40B4-BE49-F238E27FC236}">
                      <a16:creationId xmlns:a16="http://schemas.microsoft.com/office/drawing/2014/main" id="{BD27D77B-9E8B-3EA2-6D7F-27EF20C8CF82}"/>
                    </a:ext>
                  </a:extLst>
                </p:cNvPr>
                <p:cNvGrpSpPr/>
                <p:nvPr/>
              </p:nvGrpSpPr>
              <p:grpSpPr>
                <a:xfrm>
                  <a:off x="8946143" y="1070482"/>
                  <a:ext cx="68895" cy="90004"/>
                  <a:chOff x="1773255" y="1810053"/>
                  <a:chExt cx="84653" cy="84653"/>
                </a:xfrm>
              </p:grpSpPr>
              <p:cxnSp>
                <p:nvCxnSpPr>
                  <p:cNvPr id="1436" name="Straight Connector 1435">
                    <a:extLst>
                      <a:ext uri="{FF2B5EF4-FFF2-40B4-BE49-F238E27FC236}">
                        <a16:creationId xmlns:a16="http://schemas.microsoft.com/office/drawing/2014/main" id="{DC629B54-F6B5-898E-03EF-CF23474B93D1}"/>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37" name="Straight Connector 1436">
                    <a:extLst>
                      <a:ext uri="{FF2B5EF4-FFF2-40B4-BE49-F238E27FC236}">
                        <a16:creationId xmlns:a16="http://schemas.microsoft.com/office/drawing/2014/main" id="{DAABC259-D5DE-224D-59EE-06FF31678C8A}"/>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79" name="Group 1378">
                  <a:extLst>
                    <a:ext uri="{FF2B5EF4-FFF2-40B4-BE49-F238E27FC236}">
                      <a16:creationId xmlns:a16="http://schemas.microsoft.com/office/drawing/2014/main" id="{F7767FAC-9DC9-9201-4650-6757382A5AAA}"/>
                    </a:ext>
                  </a:extLst>
                </p:cNvPr>
                <p:cNvGrpSpPr/>
                <p:nvPr/>
              </p:nvGrpSpPr>
              <p:grpSpPr>
                <a:xfrm>
                  <a:off x="8996531" y="1070482"/>
                  <a:ext cx="68895" cy="90004"/>
                  <a:chOff x="1773255" y="1810053"/>
                  <a:chExt cx="84653" cy="84653"/>
                </a:xfrm>
              </p:grpSpPr>
              <p:cxnSp>
                <p:nvCxnSpPr>
                  <p:cNvPr id="1434" name="Straight Connector 1433">
                    <a:extLst>
                      <a:ext uri="{FF2B5EF4-FFF2-40B4-BE49-F238E27FC236}">
                        <a16:creationId xmlns:a16="http://schemas.microsoft.com/office/drawing/2014/main" id="{B58D0D41-AE66-9BFF-F362-55D99251BAF6}"/>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35" name="Straight Connector 1434">
                    <a:extLst>
                      <a:ext uri="{FF2B5EF4-FFF2-40B4-BE49-F238E27FC236}">
                        <a16:creationId xmlns:a16="http://schemas.microsoft.com/office/drawing/2014/main" id="{87781028-A95A-9D63-BEFC-F50156DE3093}"/>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80" name="Group 1379">
                  <a:extLst>
                    <a:ext uri="{FF2B5EF4-FFF2-40B4-BE49-F238E27FC236}">
                      <a16:creationId xmlns:a16="http://schemas.microsoft.com/office/drawing/2014/main" id="{959859F4-9998-1765-7B8C-220AA1506D49}"/>
                    </a:ext>
                  </a:extLst>
                </p:cNvPr>
                <p:cNvGrpSpPr/>
                <p:nvPr/>
              </p:nvGrpSpPr>
              <p:grpSpPr>
                <a:xfrm>
                  <a:off x="9050794" y="1070482"/>
                  <a:ext cx="68895" cy="90004"/>
                  <a:chOff x="1773255" y="1810053"/>
                  <a:chExt cx="84653" cy="84653"/>
                </a:xfrm>
              </p:grpSpPr>
              <p:cxnSp>
                <p:nvCxnSpPr>
                  <p:cNvPr id="1432" name="Straight Connector 1431">
                    <a:extLst>
                      <a:ext uri="{FF2B5EF4-FFF2-40B4-BE49-F238E27FC236}">
                        <a16:creationId xmlns:a16="http://schemas.microsoft.com/office/drawing/2014/main" id="{F2C212B7-3F3D-63E9-91AC-BFD5B02770FD}"/>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33" name="Straight Connector 1432">
                    <a:extLst>
                      <a:ext uri="{FF2B5EF4-FFF2-40B4-BE49-F238E27FC236}">
                        <a16:creationId xmlns:a16="http://schemas.microsoft.com/office/drawing/2014/main" id="{801A8ED5-26FD-2E41-6239-9E4725F85E59}"/>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81" name="Group 1380">
                  <a:extLst>
                    <a:ext uri="{FF2B5EF4-FFF2-40B4-BE49-F238E27FC236}">
                      <a16:creationId xmlns:a16="http://schemas.microsoft.com/office/drawing/2014/main" id="{E8E34AE7-D2E0-DA31-C2C2-3062D98ABD2E}"/>
                    </a:ext>
                  </a:extLst>
                </p:cNvPr>
                <p:cNvGrpSpPr/>
                <p:nvPr/>
              </p:nvGrpSpPr>
              <p:grpSpPr>
                <a:xfrm>
                  <a:off x="9143817" y="1070482"/>
                  <a:ext cx="68895" cy="90004"/>
                  <a:chOff x="1773255" y="1810053"/>
                  <a:chExt cx="84653" cy="84653"/>
                </a:xfrm>
              </p:grpSpPr>
              <p:cxnSp>
                <p:nvCxnSpPr>
                  <p:cNvPr id="1430" name="Straight Connector 1429">
                    <a:extLst>
                      <a:ext uri="{FF2B5EF4-FFF2-40B4-BE49-F238E27FC236}">
                        <a16:creationId xmlns:a16="http://schemas.microsoft.com/office/drawing/2014/main" id="{807E1F6E-8665-0D78-C516-F921A169433A}"/>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31" name="Straight Connector 1430">
                    <a:extLst>
                      <a:ext uri="{FF2B5EF4-FFF2-40B4-BE49-F238E27FC236}">
                        <a16:creationId xmlns:a16="http://schemas.microsoft.com/office/drawing/2014/main" id="{898654D4-9FB1-055C-DBD8-6D9BA88F06A6}"/>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82" name="Group 1381">
                  <a:extLst>
                    <a:ext uri="{FF2B5EF4-FFF2-40B4-BE49-F238E27FC236}">
                      <a16:creationId xmlns:a16="http://schemas.microsoft.com/office/drawing/2014/main" id="{FB96640F-7730-DE80-4025-526ED254AE80}"/>
                    </a:ext>
                  </a:extLst>
                </p:cNvPr>
                <p:cNvGrpSpPr/>
                <p:nvPr/>
              </p:nvGrpSpPr>
              <p:grpSpPr>
                <a:xfrm>
                  <a:off x="9172887" y="1070482"/>
                  <a:ext cx="68895" cy="90004"/>
                  <a:chOff x="1773255" y="1810053"/>
                  <a:chExt cx="84653" cy="84653"/>
                </a:xfrm>
              </p:grpSpPr>
              <p:cxnSp>
                <p:nvCxnSpPr>
                  <p:cNvPr id="1428" name="Straight Connector 1427">
                    <a:extLst>
                      <a:ext uri="{FF2B5EF4-FFF2-40B4-BE49-F238E27FC236}">
                        <a16:creationId xmlns:a16="http://schemas.microsoft.com/office/drawing/2014/main" id="{054BF280-9849-AFDD-CBCA-676AF53EA502}"/>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29" name="Straight Connector 1428">
                    <a:extLst>
                      <a:ext uri="{FF2B5EF4-FFF2-40B4-BE49-F238E27FC236}">
                        <a16:creationId xmlns:a16="http://schemas.microsoft.com/office/drawing/2014/main" id="{8997DACA-45B6-2BCE-9E14-7D114BBACD00}"/>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83" name="Group 1382">
                  <a:extLst>
                    <a:ext uri="{FF2B5EF4-FFF2-40B4-BE49-F238E27FC236}">
                      <a16:creationId xmlns:a16="http://schemas.microsoft.com/office/drawing/2014/main" id="{170AA026-6277-9C83-87F4-CEA3DD08C757}"/>
                    </a:ext>
                  </a:extLst>
                </p:cNvPr>
                <p:cNvGrpSpPr/>
                <p:nvPr/>
              </p:nvGrpSpPr>
              <p:grpSpPr>
                <a:xfrm>
                  <a:off x="9180639" y="1070482"/>
                  <a:ext cx="68895" cy="90004"/>
                  <a:chOff x="1773255" y="1810053"/>
                  <a:chExt cx="84653" cy="84653"/>
                </a:xfrm>
              </p:grpSpPr>
              <p:cxnSp>
                <p:nvCxnSpPr>
                  <p:cNvPr id="1426" name="Straight Connector 1425">
                    <a:extLst>
                      <a:ext uri="{FF2B5EF4-FFF2-40B4-BE49-F238E27FC236}">
                        <a16:creationId xmlns:a16="http://schemas.microsoft.com/office/drawing/2014/main" id="{E40F9FBA-5A7E-204D-5800-CEA4543BA5F6}"/>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27" name="Straight Connector 1426">
                    <a:extLst>
                      <a:ext uri="{FF2B5EF4-FFF2-40B4-BE49-F238E27FC236}">
                        <a16:creationId xmlns:a16="http://schemas.microsoft.com/office/drawing/2014/main" id="{8D605AFD-1C4B-1677-1DBC-7C2F1BB124CE}"/>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84" name="Group 1383">
                  <a:extLst>
                    <a:ext uri="{FF2B5EF4-FFF2-40B4-BE49-F238E27FC236}">
                      <a16:creationId xmlns:a16="http://schemas.microsoft.com/office/drawing/2014/main" id="{ADC3BA00-D6F4-156B-D94C-4CD40B10444C}"/>
                    </a:ext>
                  </a:extLst>
                </p:cNvPr>
                <p:cNvGrpSpPr/>
                <p:nvPr/>
              </p:nvGrpSpPr>
              <p:grpSpPr>
                <a:xfrm>
                  <a:off x="9196143" y="1070482"/>
                  <a:ext cx="68895" cy="90004"/>
                  <a:chOff x="1773255" y="1810053"/>
                  <a:chExt cx="84653" cy="84653"/>
                </a:xfrm>
              </p:grpSpPr>
              <p:cxnSp>
                <p:nvCxnSpPr>
                  <p:cNvPr id="1424" name="Straight Connector 1423">
                    <a:extLst>
                      <a:ext uri="{FF2B5EF4-FFF2-40B4-BE49-F238E27FC236}">
                        <a16:creationId xmlns:a16="http://schemas.microsoft.com/office/drawing/2014/main" id="{75B96B35-F2DE-7B57-BBF3-3A494CA0B7A8}"/>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25" name="Straight Connector 1424">
                    <a:extLst>
                      <a:ext uri="{FF2B5EF4-FFF2-40B4-BE49-F238E27FC236}">
                        <a16:creationId xmlns:a16="http://schemas.microsoft.com/office/drawing/2014/main" id="{E8FE83A3-C8F2-B545-3F5E-AAC7E040D9AC}"/>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85" name="Group 1384">
                  <a:extLst>
                    <a:ext uri="{FF2B5EF4-FFF2-40B4-BE49-F238E27FC236}">
                      <a16:creationId xmlns:a16="http://schemas.microsoft.com/office/drawing/2014/main" id="{8C8211EC-44F8-CDC1-767E-94174A336B1D}"/>
                    </a:ext>
                  </a:extLst>
                </p:cNvPr>
                <p:cNvGrpSpPr/>
                <p:nvPr/>
              </p:nvGrpSpPr>
              <p:grpSpPr>
                <a:xfrm>
                  <a:off x="9215523" y="1070482"/>
                  <a:ext cx="68895" cy="90004"/>
                  <a:chOff x="1773255" y="1810053"/>
                  <a:chExt cx="84653" cy="84653"/>
                </a:xfrm>
              </p:grpSpPr>
              <p:cxnSp>
                <p:nvCxnSpPr>
                  <p:cNvPr id="1422" name="Straight Connector 1421">
                    <a:extLst>
                      <a:ext uri="{FF2B5EF4-FFF2-40B4-BE49-F238E27FC236}">
                        <a16:creationId xmlns:a16="http://schemas.microsoft.com/office/drawing/2014/main" id="{B051674F-51FC-F171-A026-A01F3E7F346F}"/>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23" name="Straight Connector 1422">
                    <a:extLst>
                      <a:ext uri="{FF2B5EF4-FFF2-40B4-BE49-F238E27FC236}">
                        <a16:creationId xmlns:a16="http://schemas.microsoft.com/office/drawing/2014/main" id="{E7E141BF-D4B6-60B8-AC5C-93AE1F4973AF}"/>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86" name="Group 1385">
                  <a:extLst>
                    <a:ext uri="{FF2B5EF4-FFF2-40B4-BE49-F238E27FC236}">
                      <a16:creationId xmlns:a16="http://schemas.microsoft.com/office/drawing/2014/main" id="{3F001541-EBA3-32BC-7068-C391AC947DF6}"/>
                    </a:ext>
                  </a:extLst>
                </p:cNvPr>
                <p:cNvGrpSpPr/>
                <p:nvPr/>
              </p:nvGrpSpPr>
              <p:grpSpPr>
                <a:xfrm>
                  <a:off x="9325987" y="1159093"/>
                  <a:ext cx="68895" cy="90004"/>
                  <a:chOff x="1773255" y="1810053"/>
                  <a:chExt cx="84653" cy="84653"/>
                </a:xfrm>
              </p:grpSpPr>
              <p:cxnSp>
                <p:nvCxnSpPr>
                  <p:cNvPr id="1420" name="Straight Connector 1419">
                    <a:extLst>
                      <a:ext uri="{FF2B5EF4-FFF2-40B4-BE49-F238E27FC236}">
                        <a16:creationId xmlns:a16="http://schemas.microsoft.com/office/drawing/2014/main" id="{41A91D7C-BDC3-3F6F-78CF-265532A35AF0}"/>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21" name="Straight Connector 1420">
                    <a:extLst>
                      <a:ext uri="{FF2B5EF4-FFF2-40B4-BE49-F238E27FC236}">
                        <a16:creationId xmlns:a16="http://schemas.microsoft.com/office/drawing/2014/main" id="{6186F8E9-4B1D-2CFE-A92D-92C5F089FC7A}"/>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87" name="Group 1386">
                  <a:extLst>
                    <a:ext uri="{FF2B5EF4-FFF2-40B4-BE49-F238E27FC236}">
                      <a16:creationId xmlns:a16="http://schemas.microsoft.com/office/drawing/2014/main" id="{014890D8-2C8C-999F-101F-22EB609461FA}"/>
                    </a:ext>
                  </a:extLst>
                </p:cNvPr>
                <p:cNvGrpSpPr/>
                <p:nvPr/>
              </p:nvGrpSpPr>
              <p:grpSpPr>
                <a:xfrm>
                  <a:off x="9364747" y="1159093"/>
                  <a:ext cx="68895" cy="90004"/>
                  <a:chOff x="1773255" y="1810053"/>
                  <a:chExt cx="84653" cy="84653"/>
                </a:xfrm>
              </p:grpSpPr>
              <p:cxnSp>
                <p:nvCxnSpPr>
                  <p:cNvPr id="1418" name="Straight Connector 1417">
                    <a:extLst>
                      <a:ext uri="{FF2B5EF4-FFF2-40B4-BE49-F238E27FC236}">
                        <a16:creationId xmlns:a16="http://schemas.microsoft.com/office/drawing/2014/main" id="{F99DDE26-FCC6-3B79-EEDC-F761C2C0B502}"/>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19" name="Straight Connector 1418">
                    <a:extLst>
                      <a:ext uri="{FF2B5EF4-FFF2-40B4-BE49-F238E27FC236}">
                        <a16:creationId xmlns:a16="http://schemas.microsoft.com/office/drawing/2014/main" id="{AFF02AE2-2435-4822-B2E0-46447E4CF41C}"/>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88" name="Group 1387">
                  <a:extLst>
                    <a:ext uri="{FF2B5EF4-FFF2-40B4-BE49-F238E27FC236}">
                      <a16:creationId xmlns:a16="http://schemas.microsoft.com/office/drawing/2014/main" id="{EE9C6B3D-FC18-E19C-739E-CA35EE37FD0E}"/>
                    </a:ext>
                  </a:extLst>
                </p:cNvPr>
                <p:cNvGrpSpPr/>
                <p:nvPr/>
              </p:nvGrpSpPr>
              <p:grpSpPr>
                <a:xfrm>
                  <a:off x="9442266" y="1159093"/>
                  <a:ext cx="68895" cy="90004"/>
                  <a:chOff x="1773255" y="1810053"/>
                  <a:chExt cx="84653" cy="84653"/>
                </a:xfrm>
              </p:grpSpPr>
              <p:cxnSp>
                <p:nvCxnSpPr>
                  <p:cNvPr id="1416" name="Straight Connector 1415">
                    <a:extLst>
                      <a:ext uri="{FF2B5EF4-FFF2-40B4-BE49-F238E27FC236}">
                        <a16:creationId xmlns:a16="http://schemas.microsoft.com/office/drawing/2014/main" id="{328C1A22-26EC-B253-9495-4007EB744694}"/>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17" name="Straight Connector 1416">
                    <a:extLst>
                      <a:ext uri="{FF2B5EF4-FFF2-40B4-BE49-F238E27FC236}">
                        <a16:creationId xmlns:a16="http://schemas.microsoft.com/office/drawing/2014/main" id="{2F95F1F3-4B3B-259F-CFC0-A2B15E8FDEE6}"/>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89" name="Group 1388">
                  <a:extLst>
                    <a:ext uri="{FF2B5EF4-FFF2-40B4-BE49-F238E27FC236}">
                      <a16:creationId xmlns:a16="http://schemas.microsoft.com/office/drawing/2014/main" id="{FA613D0F-0A4C-A955-7143-4082CF24E339}"/>
                    </a:ext>
                  </a:extLst>
                </p:cNvPr>
                <p:cNvGrpSpPr/>
                <p:nvPr/>
              </p:nvGrpSpPr>
              <p:grpSpPr>
                <a:xfrm>
                  <a:off x="9467460" y="1159093"/>
                  <a:ext cx="68895" cy="90004"/>
                  <a:chOff x="1773255" y="1810053"/>
                  <a:chExt cx="84653" cy="84653"/>
                </a:xfrm>
              </p:grpSpPr>
              <p:cxnSp>
                <p:nvCxnSpPr>
                  <p:cNvPr id="1414" name="Straight Connector 1413">
                    <a:extLst>
                      <a:ext uri="{FF2B5EF4-FFF2-40B4-BE49-F238E27FC236}">
                        <a16:creationId xmlns:a16="http://schemas.microsoft.com/office/drawing/2014/main" id="{88CDBF7C-55C4-AF7A-5F4A-A7257EAB6694}"/>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15" name="Straight Connector 1414">
                    <a:extLst>
                      <a:ext uri="{FF2B5EF4-FFF2-40B4-BE49-F238E27FC236}">
                        <a16:creationId xmlns:a16="http://schemas.microsoft.com/office/drawing/2014/main" id="{A0FE3CB1-F10E-3DD8-3493-E1A679EDF5AB}"/>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90" name="Group 1389">
                  <a:extLst>
                    <a:ext uri="{FF2B5EF4-FFF2-40B4-BE49-F238E27FC236}">
                      <a16:creationId xmlns:a16="http://schemas.microsoft.com/office/drawing/2014/main" id="{6B35E4AF-8366-B85F-52BC-5139ADA96959}"/>
                    </a:ext>
                  </a:extLst>
                </p:cNvPr>
                <p:cNvGrpSpPr/>
                <p:nvPr/>
              </p:nvGrpSpPr>
              <p:grpSpPr>
                <a:xfrm>
                  <a:off x="9498468" y="1159093"/>
                  <a:ext cx="68895" cy="90004"/>
                  <a:chOff x="1773255" y="1810053"/>
                  <a:chExt cx="84653" cy="84653"/>
                </a:xfrm>
              </p:grpSpPr>
              <p:cxnSp>
                <p:nvCxnSpPr>
                  <p:cNvPr id="1412" name="Straight Connector 1411">
                    <a:extLst>
                      <a:ext uri="{FF2B5EF4-FFF2-40B4-BE49-F238E27FC236}">
                        <a16:creationId xmlns:a16="http://schemas.microsoft.com/office/drawing/2014/main" id="{249C4AEC-0F40-EF6D-13DC-948DF9859C60}"/>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13" name="Straight Connector 1412">
                    <a:extLst>
                      <a:ext uri="{FF2B5EF4-FFF2-40B4-BE49-F238E27FC236}">
                        <a16:creationId xmlns:a16="http://schemas.microsoft.com/office/drawing/2014/main" id="{202279BE-1A32-E389-991C-67920188975A}"/>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91" name="Group 1390">
                  <a:extLst>
                    <a:ext uri="{FF2B5EF4-FFF2-40B4-BE49-F238E27FC236}">
                      <a16:creationId xmlns:a16="http://schemas.microsoft.com/office/drawing/2014/main" id="{66978E0F-9137-7976-8ABC-6E9D9918D5D2}"/>
                    </a:ext>
                  </a:extLst>
                </p:cNvPr>
                <p:cNvGrpSpPr/>
                <p:nvPr/>
              </p:nvGrpSpPr>
              <p:grpSpPr>
                <a:xfrm>
                  <a:off x="9548855" y="1159093"/>
                  <a:ext cx="68895" cy="90004"/>
                  <a:chOff x="1773255" y="1810053"/>
                  <a:chExt cx="84653" cy="84653"/>
                </a:xfrm>
              </p:grpSpPr>
              <p:cxnSp>
                <p:nvCxnSpPr>
                  <p:cNvPr id="1410" name="Straight Connector 1409">
                    <a:extLst>
                      <a:ext uri="{FF2B5EF4-FFF2-40B4-BE49-F238E27FC236}">
                        <a16:creationId xmlns:a16="http://schemas.microsoft.com/office/drawing/2014/main" id="{453AEE97-AC58-7C9D-0F79-57464CC87812}"/>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11" name="Straight Connector 1410">
                    <a:extLst>
                      <a:ext uri="{FF2B5EF4-FFF2-40B4-BE49-F238E27FC236}">
                        <a16:creationId xmlns:a16="http://schemas.microsoft.com/office/drawing/2014/main" id="{46892436-1151-1BED-6244-6BC7FD0B2D91}"/>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92" name="Group 1391">
                  <a:extLst>
                    <a:ext uri="{FF2B5EF4-FFF2-40B4-BE49-F238E27FC236}">
                      <a16:creationId xmlns:a16="http://schemas.microsoft.com/office/drawing/2014/main" id="{FC3093D8-BDB2-3559-3D3C-D05F7BF11057}"/>
                    </a:ext>
                  </a:extLst>
                </p:cNvPr>
                <p:cNvGrpSpPr/>
                <p:nvPr/>
              </p:nvGrpSpPr>
              <p:grpSpPr>
                <a:xfrm>
                  <a:off x="9676760" y="1159093"/>
                  <a:ext cx="68895" cy="90004"/>
                  <a:chOff x="1773255" y="1810053"/>
                  <a:chExt cx="84653" cy="84653"/>
                </a:xfrm>
              </p:grpSpPr>
              <p:cxnSp>
                <p:nvCxnSpPr>
                  <p:cNvPr id="1408" name="Straight Connector 1407">
                    <a:extLst>
                      <a:ext uri="{FF2B5EF4-FFF2-40B4-BE49-F238E27FC236}">
                        <a16:creationId xmlns:a16="http://schemas.microsoft.com/office/drawing/2014/main" id="{BE165688-8AF0-621E-5C79-0CEA040F9BDE}"/>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09" name="Straight Connector 1408">
                    <a:extLst>
                      <a:ext uri="{FF2B5EF4-FFF2-40B4-BE49-F238E27FC236}">
                        <a16:creationId xmlns:a16="http://schemas.microsoft.com/office/drawing/2014/main" id="{23061F08-5500-1364-613B-A7CBBE13330C}"/>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93" name="Group 1392">
                  <a:extLst>
                    <a:ext uri="{FF2B5EF4-FFF2-40B4-BE49-F238E27FC236}">
                      <a16:creationId xmlns:a16="http://schemas.microsoft.com/office/drawing/2014/main" id="{2C78B3E5-78A4-2AD7-84EC-8CDA42D8A51B}"/>
                    </a:ext>
                  </a:extLst>
                </p:cNvPr>
                <p:cNvGrpSpPr/>
                <p:nvPr/>
              </p:nvGrpSpPr>
              <p:grpSpPr>
                <a:xfrm>
                  <a:off x="9701955" y="1159093"/>
                  <a:ext cx="68895" cy="90004"/>
                  <a:chOff x="1773255" y="1810053"/>
                  <a:chExt cx="84653" cy="84653"/>
                </a:xfrm>
              </p:grpSpPr>
              <p:cxnSp>
                <p:nvCxnSpPr>
                  <p:cNvPr id="1406" name="Straight Connector 1405">
                    <a:extLst>
                      <a:ext uri="{FF2B5EF4-FFF2-40B4-BE49-F238E27FC236}">
                        <a16:creationId xmlns:a16="http://schemas.microsoft.com/office/drawing/2014/main" id="{E40A1455-0D51-F2EB-76E7-8D56F3C9457F}"/>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07" name="Straight Connector 1406">
                    <a:extLst>
                      <a:ext uri="{FF2B5EF4-FFF2-40B4-BE49-F238E27FC236}">
                        <a16:creationId xmlns:a16="http://schemas.microsoft.com/office/drawing/2014/main" id="{CE8F67AE-CCB6-ED4D-7771-2994A90B07A7}"/>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94" name="Group 1393">
                  <a:extLst>
                    <a:ext uri="{FF2B5EF4-FFF2-40B4-BE49-F238E27FC236}">
                      <a16:creationId xmlns:a16="http://schemas.microsoft.com/office/drawing/2014/main" id="{DC0B9DAD-9CD3-B329-70DD-D17AC54D8F0E}"/>
                    </a:ext>
                  </a:extLst>
                </p:cNvPr>
                <p:cNvGrpSpPr/>
                <p:nvPr/>
              </p:nvGrpSpPr>
              <p:grpSpPr>
                <a:xfrm>
                  <a:off x="9794978" y="1159093"/>
                  <a:ext cx="68895" cy="90004"/>
                  <a:chOff x="1773255" y="1810053"/>
                  <a:chExt cx="84653" cy="84653"/>
                </a:xfrm>
              </p:grpSpPr>
              <p:cxnSp>
                <p:nvCxnSpPr>
                  <p:cNvPr id="1404" name="Straight Connector 1403">
                    <a:extLst>
                      <a:ext uri="{FF2B5EF4-FFF2-40B4-BE49-F238E27FC236}">
                        <a16:creationId xmlns:a16="http://schemas.microsoft.com/office/drawing/2014/main" id="{E966509E-98BE-D9EE-3A5F-2F6A9B30264A}"/>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05" name="Straight Connector 1404">
                    <a:extLst>
                      <a:ext uri="{FF2B5EF4-FFF2-40B4-BE49-F238E27FC236}">
                        <a16:creationId xmlns:a16="http://schemas.microsoft.com/office/drawing/2014/main" id="{DE804CC9-C113-44CC-2BB3-8DCC9D1CDEB0}"/>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95" name="Group 1394">
                  <a:extLst>
                    <a:ext uri="{FF2B5EF4-FFF2-40B4-BE49-F238E27FC236}">
                      <a16:creationId xmlns:a16="http://schemas.microsoft.com/office/drawing/2014/main" id="{8A48DBD4-0047-5B00-8A67-FAA14D7CA918}"/>
                    </a:ext>
                  </a:extLst>
                </p:cNvPr>
                <p:cNvGrpSpPr/>
                <p:nvPr/>
              </p:nvGrpSpPr>
              <p:grpSpPr>
                <a:xfrm>
                  <a:off x="9917070" y="1159093"/>
                  <a:ext cx="68895" cy="90004"/>
                  <a:chOff x="1773255" y="1810053"/>
                  <a:chExt cx="84653" cy="84653"/>
                </a:xfrm>
              </p:grpSpPr>
              <p:cxnSp>
                <p:nvCxnSpPr>
                  <p:cNvPr id="1402" name="Straight Connector 1401">
                    <a:extLst>
                      <a:ext uri="{FF2B5EF4-FFF2-40B4-BE49-F238E27FC236}">
                        <a16:creationId xmlns:a16="http://schemas.microsoft.com/office/drawing/2014/main" id="{E92A64D7-5300-895A-18EF-0CE5C6F00CE0}"/>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03" name="Straight Connector 1402">
                    <a:extLst>
                      <a:ext uri="{FF2B5EF4-FFF2-40B4-BE49-F238E27FC236}">
                        <a16:creationId xmlns:a16="http://schemas.microsoft.com/office/drawing/2014/main" id="{F9037634-7EEF-2404-8147-D2431F4665AA}"/>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96" name="Group 1395">
                  <a:extLst>
                    <a:ext uri="{FF2B5EF4-FFF2-40B4-BE49-F238E27FC236}">
                      <a16:creationId xmlns:a16="http://schemas.microsoft.com/office/drawing/2014/main" id="{CB87E567-75B9-9556-D93D-621EA025B232}"/>
                    </a:ext>
                  </a:extLst>
                </p:cNvPr>
                <p:cNvGrpSpPr/>
                <p:nvPr/>
              </p:nvGrpSpPr>
              <p:grpSpPr>
                <a:xfrm>
                  <a:off x="10021720" y="1159093"/>
                  <a:ext cx="68895" cy="90004"/>
                  <a:chOff x="1773255" y="1810053"/>
                  <a:chExt cx="84653" cy="84653"/>
                </a:xfrm>
              </p:grpSpPr>
              <p:cxnSp>
                <p:nvCxnSpPr>
                  <p:cNvPr id="1400" name="Straight Connector 1399">
                    <a:extLst>
                      <a:ext uri="{FF2B5EF4-FFF2-40B4-BE49-F238E27FC236}">
                        <a16:creationId xmlns:a16="http://schemas.microsoft.com/office/drawing/2014/main" id="{956E603F-864C-33EB-34F1-31C548CD6ABD}"/>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401" name="Straight Connector 1400">
                    <a:extLst>
                      <a:ext uri="{FF2B5EF4-FFF2-40B4-BE49-F238E27FC236}">
                        <a16:creationId xmlns:a16="http://schemas.microsoft.com/office/drawing/2014/main" id="{7B3DB9B0-2DBB-E593-A11F-C77CDA964488}"/>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397" name="Group 1396">
                  <a:extLst>
                    <a:ext uri="{FF2B5EF4-FFF2-40B4-BE49-F238E27FC236}">
                      <a16:creationId xmlns:a16="http://schemas.microsoft.com/office/drawing/2014/main" id="{42A731C9-AEDF-8514-78AF-4F6C56E371C1}"/>
                    </a:ext>
                  </a:extLst>
                </p:cNvPr>
                <p:cNvGrpSpPr/>
                <p:nvPr/>
              </p:nvGrpSpPr>
              <p:grpSpPr>
                <a:xfrm>
                  <a:off x="10211642" y="1159093"/>
                  <a:ext cx="68895" cy="90004"/>
                  <a:chOff x="1773255" y="1810053"/>
                  <a:chExt cx="84653" cy="84653"/>
                </a:xfrm>
              </p:grpSpPr>
              <p:cxnSp>
                <p:nvCxnSpPr>
                  <p:cNvPr id="1398" name="Straight Connector 1397">
                    <a:extLst>
                      <a:ext uri="{FF2B5EF4-FFF2-40B4-BE49-F238E27FC236}">
                        <a16:creationId xmlns:a16="http://schemas.microsoft.com/office/drawing/2014/main" id="{35ABC537-DA22-2AC0-E5BE-BF0A5DB96AD1}"/>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399" name="Straight Connector 1398">
                    <a:extLst>
                      <a:ext uri="{FF2B5EF4-FFF2-40B4-BE49-F238E27FC236}">
                        <a16:creationId xmlns:a16="http://schemas.microsoft.com/office/drawing/2014/main" id="{8855FF65-29D2-7DC9-F951-FDFEB246EECF}"/>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grpSp>
        <p:grpSp>
          <p:nvGrpSpPr>
            <p:cNvPr id="1165" name="Group 1164">
              <a:extLst>
                <a:ext uri="{FF2B5EF4-FFF2-40B4-BE49-F238E27FC236}">
                  <a16:creationId xmlns:a16="http://schemas.microsoft.com/office/drawing/2014/main" id="{F03DF698-451F-CC8D-05C6-2CF8E0F7B939}"/>
                </a:ext>
              </a:extLst>
            </p:cNvPr>
            <p:cNvGrpSpPr/>
            <p:nvPr/>
          </p:nvGrpSpPr>
          <p:grpSpPr>
            <a:xfrm>
              <a:off x="3541537" y="1786872"/>
              <a:ext cx="3001609" cy="1489292"/>
              <a:chOff x="3110873" y="1525826"/>
              <a:chExt cx="4306628" cy="1453194"/>
            </a:xfrm>
          </p:grpSpPr>
          <p:sp>
            <p:nvSpPr>
              <p:cNvPr id="1261" name="Graphic 1300">
                <a:extLst>
                  <a:ext uri="{FF2B5EF4-FFF2-40B4-BE49-F238E27FC236}">
                    <a16:creationId xmlns:a16="http://schemas.microsoft.com/office/drawing/2014/main" id="{E85AA645-9CDA-368C-5936-B4E93E56F702}"/>
                  </a:ext>
                </a:extLst>
              </p:cNvPr>
              <p:cNvSpPr/>
              <p:nvPr/>
            </p:nvSpPr>
            <p:spPr>
              <a:xfrm>
                <a:off x="3123784" y="1569976"/>
                <a:ext cx="4293717" cy="1392806"/>
              </a:xfrm>
              <a:custGeom>
                <a:avLst/>
                <a:gdLst>
                  <a:gd name="connsiteX0" fmla="*/ 0 w 3810952"/>
                  <a:gd name="connsiteY0" fmla="*/ 0 h 608171"/>
                  <a:gd name="connsiteX1" fmla="*/ 113538 w 3810952"/>
                  <a:gd name="connsiteY1" fmla="*/ 0 h 608171"/>
                  <a:gd name="connsiteX2" fmla="*/ 113538 w 3810952"/>
                  <a:gd name="connsiteY2" fmla="*/ 5906 h 608171"/>
                  <a:gd name="connsiteX3" fmla="*/ 153543 w 3810952"/>
                  <a:gd name="connsiteY3" fmla="*/ 5906 h 608171"/>
                  <a:gd name="connsiteX4" fmla="*/ 153543 w 3810952"/>
                  <a:gd name="connsiteY4" fmla="*/ 12002 h 608171"/>
                  <a:gd name="connsiteX5" fmla="*/ 161925 w 3810952"/>
                  <a:gd name="connsiteY5" fmla="*/ 12002 h 608171"/>
                  <a:gd name="connsiteX6" fmla="*/ 161925 w 3810952"/>
                  <a:gd name="connsiteY6" fmla="*/ 18002 h 608171"/>
                  <a:gd name="connsiteX7" fmla="*/ 172498 w 3810952"/>
                  <a:gd name="connsiteY7" fmla="*/ 18002 h 608171"/>
                  <a:gd name="connsiteX8" fmla="*/ 172498 w 3810952"/>
                  <a:gd name="connsiteY8" fmla="*/ 24003 h 608171"/>
                  <a:gd name="connsiteX9" fmla="*/ 222980 w 3810952"/>
                  <a:gd name="connsiteY9" fmla="*/ 24003 h 608171"/>
                  <a:gd name="connsiteX10" fmla="*/ 222980 w 3810952"/>
                  <a:gd name="connsiteY10" fmla="*/ 30099 h 608171"/>
                  <a:gd name="connsiteX11" fmla="*/ 231362 w 3810952"/>
                  <a:gd name="connsiteY11" fmla="*/ 30099 h 608171"/>
                  <a:gd name="connsiteX12" fmla="*/ 231362 w 3810952"/>
                  <a:gd name="connsiteY12" fmla="*/ 42196 h 608171"/>
                  <a:gd name="connsiteX13" fmla="*/ 237649 w 3810952"/>
                  <a:gd name="connsiteY13" fmla="*/ 42196 h 608171"/>
                  <a:gd name="connsiteX14" fmla="*/ 237649 w 3810952"/>
                  <a:gd name="connsiteY14" fmla="*/ 48292 h 608171"/>
                  <a:gd name="connsiteX15" fmla="*/ 241840 w 3810952"/>
                  <a:gd name="connsiteY15" fmla="*/ 48292 h 608171"/>
                  <a:gd name="connsiteX16" fmla="*/ 241840 w 3810952"/>
                  <a:gd name="connsiteY16" fmla="*/ 54388 h 608171"/>
                  <a:gd name="connsiteX17" fmla="*/ 246031 w 3810952"/>
                  <a:gd name="connsiteY17" fmla="*/ 54388 h 608171"/>
                  <a:gd name="connsiteX18" fmla="*/ 246031 w 3810952"/>
                  <a:gd name="connsiteY18" fmla="*/ 60484 h 608171"/>
                  <a:gd name="connsiteX19" fmla="*/ 248126 w 3810952"/>
                  <a:gd name="connsiteY19" fmla="*/ 60484 h 608171"/>
                  <a:gd name="connsiteX20" fmla="*/ 248126 w 3810952"/>
                  <a:gd name="connsiteY20" fmla="*/ 66485 h 608171"/>
                  <a:gd name="connsiteX21" fmla="*/ 250317 w 3810952"/>
                  <a:gd name="connsiteY21" fmla="*/ 66485 h 608171"/>
                  <a:gd name="connsiteX22" fmla="*/ 250317 w 3810952"/>
                  <a:gd name="connsiteY22" fmla="*/ 72581 h 608171"/>
                  <a:gd name="connsiteX23" fmla="*/ 260794 w 3810952"/>
                  <a:gd name="connsiteY23" fmla="*/ 72581 h 608171"/>
                  <a:gd name="connsiteX24" fmla="*/ 260794 w 3810952"/>
                  <a:gd name="connsiteY24" fmla="*/ 78677 h 608171"/>
                  <a:gd name="connsiteX25" fmla="*/ 267081 w 3810952"/>
                  <a:gd name="connsiteY25" fmla="*/ 78677 h 608171"/>
                  <a:gd name="connsiteX26" fmla="*/ 267081 w 3810952"/>
                  <a:gd name="connsiteY26" fmla="*/ 84677 h 608171"/>
                  <a:gd name="connsiteX27" fmla="*/ 281845 w 3810952"/>
                  <a:gd name="connsiteY27" fmla="*/ 84677 h 608171"/>
                  <a:gd name="connsiteX28" fmla="*/ 281845 w 3810952"/>
                  <a:gd name="connsiteY28" fmla="*/ 90773 h 608171"/>
                  <a:gd name="connsiteX29" fmla="*/ 290227 w 3810952"/>
                  <a:gd name="connsiteY29" fmla="*/ 90773 h 608171"/>
                  <a:gd name="connsiteX30" fmla="*/ 290227 w 3810952"/>
                  <a:gd name="connsiteY30" fmla="*/ 96869 h 608171"/>
                  <a:gd name="connsiteX31" fmla="*/ 300800 w 3810952"/>
                  <a:gd name="connsiteY31" fmla="*/ 96869 h 608171"/>
                  <a:gd name="connsiteX32" fmla="*/ 300800 w 3810952"/>
                  <a:gd name="connsiteY32" fmla="*/ 102870 h 608171"/>
                  <a:gd name="connsiteX33" fmla="*/ 313373 w 3810952"/>
                  <a:gd name="connsiteY33" fmla="*/ 102870 h 608171"/>
                  <a:gd name="connsiteX34" fmla="*/ 313373 w 3810952"/>
                  <a:gd name="connsiteY34" fmla="*/ 108966 h 608171"/>
                  <a:gd name="connsiteX35" fmla="*/ 319659 w 3810952"/>
                  <a:gd name="connsiteY35" fmla="*/ 108966 h 608171"/>
                  <a:gd name="connsiteX36" fmla="*/ 319659 w 3810952"/>
                  <a:gd name="connsiteY36" fmla="*/ 121063 h 608171"/>
                  <a:gd name="connsiteX37" fmla="*/ 323850 w 3810952"/>
                  <a:gd name="connsiteY37" fmla="*/ 121063 h 608171"/>
                  <a:gd name="connsiteX38" fmla="*/ 323850 w 3810952"/>
                  <a:gd name="connsiteY38" fmla="*/ 127159 h 608171"/>
                  <a:gd name="connsiteX39" fmla="*/ 336518 w 3810952"/>
                  <a:gd name="connsiteY39" fmla="*/ 127159 h 608171"/>
                  <a:gd name="connsiteX40" fmla="*/ 336518 w 3810952"/>
                  <a:gd name="connsiteY40" fmla="*/ 133255 h 608171"/>
                  <a:gd name="connsiteX41" fmla="*/ 351187 w 3810952"/>
                  <a:gd name="connsiteY41" fmla="*/ 133255 h 608171"/>
                  <a:gd name="connsiteX42" fmla="*/ 351187 w 3810952"/>
                  <a:gd name="connsiteY42" fmla="*/ 139256 h 608171"/>
                  <a:gd name="connsiteX43" fmla="*/ 355473 w 3810952"/>
                  <a:gd name="connsiteY43" fmla="*/ 139256 h 608171"/>
                  <a:gd name="connsiteX44" fmla="*/ 355473 w 3810952"/>
                  <a:gd name="connsiteY44" fmla="*/ 145352 h 608171"/>
                  <a:gd name="connsiteX45" fmla="*/ 365950 w 3810952"/>
                  <a:gd name="connsiteY45" fmla="*/ 145352 h 608171"/>
                  <a:gd name="connsiteX46" fmla="*/ 365950 w 3810952"/>
                  <a:gd name="connsiteY46" fmla="*/ 151448 h 608171"/>
                  <a:gd name="connsiteX47" fmla="*/ 374333 w 3810952"/>
                  <a:gd name="connsiteY47" fmla="*/ 151448 h 608171"/>
                  <a:gd name="connsiteX48" fmla="*/ 374333 w 3810952"/>
                  <a:gd name="connsiteY48" fmla="*/ 157544 h 608171"/>
                  <a:gd name="connsiteX49" fmla="*/ 389096 w 3810952"/>
                  <a:gd name="connsiteY49" fmla="*/ 157544 h 608171"/>
                  <a:gd name="connsiteX50" fmla="*/ 389096 w 3810952"/>
                  <a:gd name="connsiteY50" fmla="*/ 163544 h 608171"/>
                  <a:gd name="connsiteX51" fmla="*/ 393287 w 3810952"/>
                  <a:gd name="connsiteY51" fmla="*/ 163544 h 608171"/>
                  <a:gd name="connsiteX52" fmla="*/ 393287 w 3810952"/>
                  <a:gd name="connsiteY52" fmla="*/ 169640 h 608171"/>
                  <a:gd name="connsiteX53" fmla="*/ 397478 w 3810952"/>
                  <a:gd name="connsiteY53" fmla="*/ 169640 h 608171"/>
                  <a:gd name="connsiteX54" fmla="*/ 397478 w 3810952"/>
                  <a:gd name="connsiteY54" fmla="*/ 175736 h 608171"/>
                  <a:gd name="connsiteX55" fmla="*/ 410147 w 3810952"/>
                  <a:gd name="connsiteY55" fmla="*/ 175736 h 608171"/>
                  <a:gd name="connsiteX56" fmla="*/ 410147 w 3810952"/>
                  <a:gd name="connsiteY56" fmla="*/ 181737 h 608171"/>
                  <a:gd name="connsiteX57" fmla="*/ 439579 w 3810952"/>
                  <a:gd name="connsiteY57" fmla="*/ 181737 h 608171"/>
                  <a:gd name="connsiteX58" fmla="*/ 439579 w 3810952"/>
                  <a:gd name="connsiteY58" fmla="*/ 187833 h 608171"/>
                  <a:gd name="connsiteX59" fmla="*/ 447961 w 3810952"/>
                  <a:gd name="connsiteY59" fmla="*/ 187833 h 608171"/>
                  <a:gd name="connsiteX60" fmla="*/ 447961 w 3810952"/>
                  <a:gd name="connsiteY60" fmla="*/ 193929 h 608171"/>
                  <a:gd name="connsiteX61" fmla="*/ 450056 w 3810952"/>
                  <a:gd name="connsiteY61" fmla="*/ 193929 h 608171"/>
                  <a:gd name="connsiteX62" fmla="*/ 450056 w 3810952"/>
                  <a:gd name="connsiteY62" fmla="*/ 199930 h 608171"/>
                  <a:gd name="connsiteX63" fmla="*/ 464820 w 3810952"/>
                  <a:gd name="connsiteY63" fmla="*/ 199930 h 608171"/>
                  <a:gd name="connsiteX64" fmla="*/ 464820 w 3810952"/>
                  <a:gd name="connsiteY64" fmla="*/ 212122 h 608171"/>
                  <a:gd name="connsiteX65" fmla="*/ 466916 w 3810952"/>
                  <a:gd name="connsiteY65" fmla="*/ 212122 h 608171"/>
                  <a:gd name="connsiteX66" fmla="*/ 466916 w 3810952"/>
                  <a:gd name="connsiteY66" fmla="*/ 218123 h 608171"/>
                  <a:gd name="connsiteX67" fmla="*/ 473202 w 3810952"/>
                  <a:gd name="connsiteY67" fmla="*/ 218123 h 608171"/>
                  <a:gd name="connsiteX68" fmla="*/ 473202 w 3810952"/>
                  <a:gd name="connsiteY68" fmla="*/ 224219 h 608171"/>
                  <a:gd name="connsiteX69" fmla="*/ 477393 w 3810952"/>
                  <a:gd name="connsiteY69" fmla="*/ 224219 h 608171"/>
                  <a:gd name="connsiteX70" fmla="*/ 477393 w 3810952"/>
                  <a:gd name="connsiteY70" fmla="*/ 230315 h 608171"/>
                  <a:gd name="connsiteX71" fmla="*/ 494252 w 3810952"/>
                  <a:gd name="connsiteY71" fmla="*/ 230315 h 608171"/>
                  <a:gd name="connsiteX72" fmla="*/ 494252 w 3810952"/>
                  <a:gd name="connsiteY72" fmla="*/ 242411 h 608171"/>
                  <a:gd name="connsiteX73" fmla="*/ 498443 w 3810952"/>
                  <a:gd name="connsiteY73" fmla="*/ 242411 h 608171"/>
                  <a:gd name="connsiteX74" fmla="*/ 498443 w 3810952"/>
                  <a:gd name="connsiteY74" fmla="*/ 248507 h 608171"/>
                  <a:gd name="connsiteX75" fmla="*/ 521589 w 3810952"/>
                  <a:gd name="connsiteY75" fmla="*/ 248507 h 608171"/>
                  <a:gd name="connsiteX76" fmla="*/ 521589 w 3810952"/>
                  <a:gd name="connsiteY76" fmla="*/ 254603 h 608171"/>
                  <a:gd name="connsiteX77" fmla="*/ 525780 w 3810952"/>
                  <a:gd name="connsiteY77" fmla="*/ 254603 h 608171"/>
                  <a:gd name="connsiteX78" fmla="*/ 525780 w 3810952"/>
                  <a:gd name="connsiteY78" fmla="*/ 260604 h 608171"/>
                  <a:gd name="connsiteX79" fmla="*/ 532067 w 3810952"/>
                  <a:gd name="connsiteY79" fmla="*/ 260604 h 608171"/>
                  <a:gd name="connsiteX80" fmla="*/ 532067 w 3810952"/>
                  <a:gd name="connsiteY80" fmla="*/ 272796 h 608171"/>
                  <a:gd name="connsiteX81" fmla="*/ 551021 w 3810952"/>
                  <a:gd name="connsiteY81" fmla="*/ 272796 h 608171"/>
                  <a:gd name="connsiteX82" fmla="*/ 551021 w 3810952"/>
                  <a:gd name="connsiteY82" fmla="*/ 278797 h 608171"/>
                  <a:gd name="connsiteX83" fmla="*/ 559403 w 3810952"/>
                  <a:gd name="connsiteY83" fmla="*/ 278797 h 608171"/>
                  <a:gd name="connsiteX84" fmla="*/ 559403 w 3810952"/>
                  <a:gd name="connsiteY84" fmla="*/ 284893 h 608171"/>
                  <a:gd name="connsiteX85" fmla="*/ 572072 w 3810952"/>
                  <a:gd name="connsiteY85" fmla="*/ 284893 h 608171"/>
                  <a:gd name="connsiteX86" fmla="*/ 572072 w 3810952"/>
                  <a:gd name="connsiteY86" fmla="*/ 290989 h 608171"/>
                  <a:gd name="connsiteX87" fmla="*/ 588931 w 3810952"/>
                  <a:gd name="connsiteY87" fmla="*/ 290989 h 608171"/>
                  <a:gd name="connsiteX88" fmla="*/ 588931 w 3810952"/>
                  <a:gd name="connsiteY88" fmla="*/ 296990 h 608171"/>
                  <a:gd name="connsiteX89" fmla="*/ 616268 w 3810952"/>
                  <a:gd name="connsiteY89" fmla="*/ 296990 h 608171"/>
                  <a:gd name="connsiteX90" fmla="*/ 616268 w 3810952"/>
                  <a:gd name="connsiteY90" fmla="*/ 303086 h 608171"/>
                  <a:gd name="connsiteX91" fmla="*/ 618363 w 3810952"/>
                  <a:gd name="connsiteY91" fmla="*/ 303086 h 608171"/>
                  <a:gd name="connsiteX92" fmla="*/ 618363 w 3810952"/>
                  <a:gd name="connsiteY92" fmla="*/ 309182 h 608171"/>
                  <a:gd name="connsiteX93" fmla="*/ 628840 w 3810952"/>
                  <a:gd name="connsiteY93" fmla="*/ 309182 h 608171"/>
                  <a:gd name="connsiteX94" fmla="*/ 628840 w 3810952"/>
                  <a:gd name="connsiteY94" fmla="*/ 315182 h 608171"/>
                  <a:gd name="connsiteX95" fmla="*/ 635127 w 3810952"/>
                  <a:gd name="connsiteY95" fmla="*/ 315182 h 608171"/>
                  <a:gd name="connsiteX96" fmla="*/ 635127 w 3810952"/>
                  <a:gd name="connsiteY96" fmla="*/ 327374 h 608171"/>
                  <a:gd name="connsiteX97" fmla="*/ 643604 w 3810952"/>
                  <a:gd name="connsiteY97" fmla="*/ 327374 h 608171"/>
                  <a:gd name="connsiteX98" fmla="*/ 643604 w 3810952"/>
                  <a:gd name="connsiteY98" fmla="*/ 333375 h 608171"/>
                  <a:gd name="connsiteX99" fmla="*/ 649891 w 3810952"/>
                  <a:gd name="connsiteY99" fmla="*/ 333375 h 608171"/>
                  <a:gd name="connsiteX100" fmla="*/ 649891 w 3810952"/>
                  <a:gd name="connsiteY100" fmla="*/ 345567 h 608171"/>
                  <a:gd name="connsiteX101" fmla="*/ 651986 w 3810952"/>
                  <a:gd name="connsiteY101" fmla="*/ 345567 h 608171"/>
                  <a:gd name="connsiteX102" fmla="*/ 651986 w 3810952"/>
                  <a:gd name="connsiteY102" fmla="*/ 351663 h 608171"/>
                  <a:gd name="connsiteX103" fmla="*/ 664559 w 3810952"/>
                  <a:gd name="connsiteY103" fmla="*/ 351663 h 608171"/>
                  <a:gd name="connsiteX104" fmla="*/ 664559 w 3810952"/>
                  <a:gd name="connsiteY104" fmla="*/ 357664 h 608171"/>
                  <a:gd name="connsiteX105" fmla="*/ 687705 w 3810952"/>
                  <a:gd name="connsiteY105" fmla="*/ 357664 h 608171"/>
                  <a:gd name="connsiteX106" fmla="*/ 687705 w 3810952"/>
                  <a:gd name="connsiteY106" fmla="*/ 363760 h 608171"/>
                  <a:gd name="connsiteX107" fmla="*/ 694087 w 3810952"/>
                  <a:gd name="connsiteY107" fmla="*/ 363760 h 608171"/>
                  <a:gd name="connsiteX108" fmla="*/ 694087 w 3810952"/>
                  <a:gd name="connsiteY108" fmla="*/ 369856 h 608171"/>
                  <a:gd name="connsiteX109" fmla="*/ 702469 w 3810952"/>
                  <a:gd name="connsiteY109" fmla="*/ 369856 h 608171"/>
                  <a:gd name="connsiteX110" fmla="*/ 702469 w 3810952"/>
                  <a:gd name="connsiteY110" fmla="*/ 375857 h 608171"/>
                  <a:gd name="connsiteX111" fmla="*/ 710851 w 3810952"/>
                  <a:gd name="connsiteY111" fmla="*/ 375857 h 608171"/>
                  <a:gd name="connsiteX112" fmla="*/ 710851 w 3810952"/>
                  <a:gd name="connsiteY112" fmla="*/ 381953 h 608171"/>
                  <a:gd name="connsiteX113" fmla="*/ 715042 w 3810952"/>
                  <a:gd name="connsiteY113" fmla="*/ 381953 h 608171"/>
                  <a:gd name="connsiteX114" fmla="*/ 715042 w 3810952"/>
                  <a:gd name="connsiteY114" fmla="*/ 388049 h 608171"/>
                  <a:gd name="connsiteX115" fmla="*/ 788670 w 3810952"/>
                  <a:gd name="connsiteY115" fmla="*/ 388049 h 608171"/>
                  <a:gd name="connsiteX116" fmla="*/ 788670 w 3810952"/>
                  <a:gd name="connsiteY116" fmla="*/ 394049 h 608171"/>
                  <a:gd name="connsiteX117" fmla="*/ 809720 w 3810952"/>
                  <a:gd name="connsiteY117" fmla="*/ 394049 h 608171"/>
                  <a:gd name="connsiteX118" fmla="*/ 809720 w 3810952"/>
                  <a:gd name="connsiteY118" fmla="*/ 400145 h 608171"/>
                  <a:gd name="connsiteX119" fmla="*/ 816007 w 3810952"/>
                  <a:gd name="connsiteY119" fmla="*/ 400145 h 608171"/>
                  <a:gd name="connsiteX120" fmla="*/ 816007 w 3810952"/>
                  <a:gd name="connsiteY120" fmla="*/ 406241 h 608171"/>
                  <a:gd name="connsiteX121" fmla="*/ 858107 w 3810952"/>
                  <a:gd name="connsiteY121" fmla="*/ 406241 h 608171"/>
                  <a:gd name="connsiteX122" fmla="*/ 858107 w 3810952"/>
                  <a:gd name="connsiteY122" fmla="*/ 412242 h 608171"/>
                  <a:gd name="connsiteX123" fmla="*/ 872776 w 3810952"/>
                  <a:gd name="connsiteY123" fmla="*/ 412242 h 608171"/>
                  <a:gd name="connsiteX124" fmla="*/ 872776 w 3810952"/>
                  <a:gd name="connsiteY124" fmla="*/ 418338 h 608171"/>
                  <a:gd name="connsiteX125" fmla="*/ 902303 w 3810952"/>
                  <a:gd name="connsiteY125" fmla="*/ 418338 h 608171"/>
                  <a:gd name="connsiteX126" fmla="*/ 902303 w 3810952"/>
                  <a:gd name="connsiteY126" fmla="*/ 424434 h 608171"/>
                  <a:gd name="connsiteX127" fmla="*/ 904399 w 3810952"/>
                  <a:gd name="connsiteY127" fmla="*/ 424434 h 608171"/>
                  <a:gd name="connsiteX128" fmla="*/ 904399 w 3810952"/>
                  <a:gd name="connsiteY128" fmla="*/ 430435 h 608171"/>
                  <a:gd name="connsiteX129" fmla="*/ 927449 w 3810952"/>
                  <a:gd name="connsiteY129" fmla="*/ 430435 h 608171"/>
                  <a:gd name="connsiteX130" fmla="*/ 927449 w 3810952"/>
                  <a:gd name="connsiteY130" fmla="*/ 436531 h 608171"/>
                  <a:gd name="connsiteX131" fmla="*/ 940118 w 3810952"/>
                  <a:gd name="connsiteY131" fmla="*/ 436531 h 608171"/>
                  <a:gd name="connsiteX132" fmla="*/ 940118 w 3810952"/>
                  <a:gd name="connsiteY132" fmla="*/ 442627 h 608171"/>
                  <a:gd name="connsiteX133" fmla="*/ 975836 w 3810952"/>
                  <a:gd name="connsiteY133" fmla="*/ 442627 h 608171"/>
                  <a:gd name="connsiteX134" fmla="*/ 975836 w 3810952"/>
                  <a:gd name="connsiteY134" fmla="*/ 448723 h 608171"/>
                  <a:gd name="connsiteX135" fmla="*/ 1091565 w 3810952"/>
                  <a:gd name="connsiteY135" fmla="*/ 448723 h 608171"/>
                  <a:gd name="connsiteX136" fmla="*/ 1091565 w 3810952"/>
                  <a:gd name="connsiteY136" fmla="*/ 454724 h 608171"/>
                  <a:gd name="connsiteX137" fmla="*/ 1129379 w 3810952"/>
                  <a:gd name="connsiteY137" fmla="*/ 454724 h 608171"/>
                  <a:gd name="connsiteX138" fmla="*/ 1129379 w 3810952"/>
                  <a:gd name="connsiteY138" fmla="*/ 460915 h 608171"/>
                  <a:gd name="connsiteX139" fmla="*/ 1181957 w 3810952"/>
                  <a:gd name="connsiteY139" fmla="*/ 460915 h 608171"/>
                  <a:gd name="connsiteX140" fmla="*/ 1181957 w 3810952"/>
                  <a:gd name="connsiteY140" fmla="*/ 467011 h 608171"/>
                  <a:gd name="connsiteX141" fmla="*/ 1200912 w 3810952"/>
                  <a:gd name="connsiteY141" fmla="*/ 467011 h 608171"/>
                  <a:gd name="connsiteX142" fmla="*/ 1200912 w 3810952"/>
                  <a:gd name="connsiteY142" fmla="*/ 473107 h 608171"/>
                  <a:gd name="connsiteX143" fmla="*/ 1211390 w 3810952"/>
                  <a:gd name="connsiteY143" fmla="*/ 473107 h 608171"/>
                  <a:gd name="connsiteX144" fmla="*/ 1211390 w 3810952"/>
                  <a:gd name="connsiteY144" fmla="*/ 479298 h 608171"/>
                  <a:gd name="connsiteX145" fmla="*/ 1245108 w 3810952"/>
                  <a:gd name="connsiteY145" fmla="*/ 479298 h 608171"/>
                  <a:gd name="connsiteX146" fmla="*/ 1245108 w 3810952"/>
                  <a:gd name="connsiteY146" fmla="*/ 485394 h 608171"/>
                  <a:gd name="connsiteX147" fmla="*/ 1251395 w 3810952"/>
                  <a:gd name="connsiteY147" fmla="*/ 485394 h 608171"/>
                  <a:gd name="connsiteX148" fmla="*/ 1251395 w 3810952"/>
                  <a:gd name="connsiteY148" fmla="*/ 491490 h 608171"/>
                  <a:gd name="connsiteX149" fmla="*/ 1266063 w 3810952"/>
                  <a:gd name="connsiteY149" fmla="*/ 491490 h 608171"/>
                  <a:gd name="connsiteX150" fmla="*/ 1266063 w 3810952"/>
                  <a:gd name="connsiteY150" fmla="*/ 497586 h 608171"/>
                  <a:gd name="connsiteX151" fmla="*/ 1278731 w 3810952"/>
                  <a:gd name="connsiteY151" fmla="*/ 497586 h 608171"/>
                  <a:gd name="connsiteX152" fmla="*/ 1278731 w 3810952"/>
                  <a:gd name="connsiteY152" fmla="*/ 503777 h 608171"/>
                  <a:gd name="connsiteX153" fmla="*/ 1303973 w 3810952"/>
                  <a:gd name="connsiteY153" fmla="*/ 503777 h 608171"/>
                  <a:gd name="connsiteX154" fmla="*/ 1303973 w 3810952"/>
                  <a:gd name="connsiteY154" fmla="*/ 509873 h 608171"/>
                  <a:gd name="connsiteX155" fmla="*/ 1533239 w 3810952"/>
                  <a:gd name="connsiteY155" fmla="*/ 509873 h 608171"/>
                  <a:gd name="connsiteX156" fmla="*/ 1533239 w 3810952"/>
                  <a:gd name="connsiteY156" fmla="*/ 516065 h 608171"/>
                  <a:gd name="connsiteX157" fmla="*/ 1646777 w 3810952"/>
                  <a:gd name="connsiteY157" fmla="*/ 516065 h 608171"/>
                  <a:gd name="connsiteX158" fmla="*/ 1646777 w 3810952"/>
                  <a:gd name="connsiteY158" fmla="*/ 522256 h 608171"/>
                  <a:gd name="connsiteX159" fmla="*/ 1915954 w 3810952"/>
                  <a:gd name="connsiteY159" fmla="*/ 522256 h 608171"/>
                  <a:gd name="connsiteX160" fmla="*/ 1915954 w 3810952"/>
                  <a:gd name="connsiteY160" fmla="*/ 528542 h 608171"/>
                  <a:gd name="connsiteX161" fmla="*/ 1989582 w 3810952"/>
                  <a:gd name="connsiteY161" fmla="*/ 528542 h 608171"/>
                  <a:gd name="connsiteX162" fmla="*/ 1989582 w 3810952"/>
                  <a:gd name="connsiteY162" fmla="*/ 534829 h 608171"/>
                  <a:gd name="connsiteX163" fmla="*/ 2069497 w 3810952"/>
                  <a:gd name="connsiteY163" fmla="*/ 534829 h 608171"/>
                  <a:gd name="connsiteX164" fmla="*/ 2069497 w 3810952"/>
                  <a:gd name="connsiteY164" fmla="*/ 541115 h 608171"/>
                  <a:gd name="connsiteX165" fmla="*/ 2231422 w 3810952"/>
                  <a:gd name="connsiteY165" fmla="*/ 541115 h 608171"/>
                  <a:gd name="connsiteX166" fmla="*/ 2231422 w 3810952"/>
                  <a:gd name="connsiteY166" fmla="*/ 547592 h 608171"/>
                  <a:gd name="connsiteX167" fmla="*/ 2248281 w 3810952"/>
                  <a:gd name="connsiteY167" fmla="*/ 547592 h 608171"/>
                  <a:gd name="connsiteX168" fmla="*/ 2248281 w 3810952"/>
                  <a:gd name="connsiteY168" fmla="*/ 553974 h 608171"/>
                  <a:gd name="connsiteX169" fmla="*/ 2366105 w 3810952"/>
                  <a:gd name="connsiteY169" fmla="*/ 553974 h 608171"/>
                  <a:gd name="connsiteX170" fmla="*/ 2366105 w 3810952"/>
                  <a:gd name="connsiteY170" fmla="*/ 560451 h 608171"/>
                  <a:gd name="connsiteX171" fmla="*/ 2458593 w 3810952"/>
                  <a:gd name="connsiteY171" fmla="*/ 560451 h 608171"/>
                  <a:gd name="connsiteX172" fmla="*/ 2458593 w 3810952"/>
                  <a:gd name="connsiteY172" fmla="*/ 566833 h 608171"/>
                  <a:gd name="connsiteX173" fmla="*/ 2477548 w 3810952"/>
                  <a:gd name="connsiteY173" fmla="*/ 566833 h 608171"/>
                  <a:gd name="connsiteX174" fmla="*/ 2477548 w 3810952"/>
                  <a:gd name="connsiteY174" fmla="*/ 573310 h 608171"/>
                  <a:gd name="connsiteX175" fmla="*/ 3331369 w 3810952"/>
                  <a:gd name="connsiteY175" fmla="*/ 573310 h 608171"/>
                  <a:gd name="connsiteX176" fmla="*/ 3331369 w 3810952"/>
                  <a:gd name="connsiteY176" fmla="*/ 608171 h 608171"/>
                  <a:gd name="connsiteX177" fmla="*/ 3810953 w 3810952"/>
                  <a:gd name="connsiteY177" fmla="*/ 608171 h 608171"/>
                  <a:gd name="connsiteX0" fmla="*/ 0 w 3331369"/>
                  <a:gd name="connsiteY0" fmla="*/ 0 h 608171"/>
                  <a:gd name="connsiteX1" fmla="*/ 113538 w 3331369"/>
                  <a:gd name="connsiteY1" fmla="*/ 0 h 608171"/>
                  <a:gd name="connsiteX2" fmla="*/ 113538 w 3331369"/>
                  <a:gd name="connsiteY2" fmla="*/ 5906 h 608171"/>
                  <a:gd name="connsiteX3" fmla="*/ 153543 w 3331369"/>
                  <a:gd name="connsiteY3" fmla="*/ 5906 h 608171"/>
                  <a:gd name="connsiteX4" fmla="*/ 153543 w 3331369"/>
                  <a:gd name="connsiteY4" fmla="*/ 12002 h 608171"/>
                  <a:gd name="connsiteX5" fmla="*/ 161925 w 3331369"/>
                  <a:gd name="connsiteY5" fmla="*/ 12002 h 608171"/>
                  <a:gd name="connsiteX6" fmla="*/ 161925 w 3331369"/>
                  <a:gd name="connsiteY6" fmla="*/ 18002 h 608171"/>
                  <a:gd name="connsiteX7" fmla="*/ 172498 w 3331369"/>
                  <a:gd name="connsiteY7" fmla="*/ 18002 h 608171"/>
                  <a:gd name="connsiteX8" fmla="*/ 172498 w 3331369"/>
                  <a:gd name="connsiteY8" fmla="*/ 24003 h 608171"/>
                  <a:gd name="connsiteX9" fmla="*/ 222980 w 3331369"/>
                  <a:gd name="connsiteY9" fmla="*/ 24003 h 608171"/>
                  <a:gd name="connsiteX10" fmla="*/ 222980 w 3331369"/>
                  <a:gd name="connsiteY10" fmla="*/ 30099 h 608171"/>
                  <a:gd name="connsiteX11" fmla="*/ 231362 w 3331369"/>
                  <a:gd name="connsiteY11" fmla="*/ 30099 h 608171"/>
                  <a:gd name="connsiteX12" fmla="*/ 231362 w 3331369"/>
                  <a:gd name="connsiteY12" fmla="*/ 42196 h 608171"/>
                  <a:gd name="connsiteX13" fmla="*/ 237649 w 3331369"/>
                  <a:gd name="connsiteY13" fmla="*/ 42196 h 608171"/>
                  <a:gd name="connsiteX14" fmla="*/ 237649 w 3331369"/>
                  <a:gd name="connsiteY14" fmla="*/ 48292 h 608171"/>
                  <a:gd name="connsiteX15" fmla="*/ 241840 w 3331369"/>
                  <a:gd name="connsiteY15" fmla="*/ 48292 h 608171"/>
                  <a:gd name="connsiteX16" fmla="*/ 241840 w 3331369"/>
                  <a:gd name="connsiteY16" fmla="*/ 54388 h 608171"/>
                  <a:gd name="connsiteX17" fmla="*/ 246031 w 3331369"/>
                  <a:gd name="connsiteY17" fmla="*/ 54388 h 608171"/>
                  <a:gd name="connsiteX18" fmla="*/ 246031 w 3331369"/>
                  <a:gd name="connsiteY18" fmla="*/ 60484 h 608171"/>
                  <a:gd name="connsiteX19" fmla="*/ 248126 w 3331369"/>
                  <a:gd name="connsiteY19" fmla="*/ 60484 h 608171"/>
                  <a:gd name="connsiteX20" fmla="*/ 248126 w 3331369"/>
                  <a:gd name="connsiteY20" fmla="*/ 66485 h 608171"/>
                  <a:gd name="connsiteX21" fmla="*/ 250317 w 3331369"/>
                  <a:gd name="connsiteY21" fmla="*/ 66485 h 608171"/>
                  <a:gd name="connsiteX22" fmla="*/ 250317 w 3331369"/>
                  <a:gd name="connsiteY22" fmla="*/ 72581 h 608171"/>
                  <a:gd name="connsiteX23" fmla="*/ 260794 w 3331369"/>
                  <a:gd name="connsiteY23" fmla="*/ 72581 h 608171"/>
                  <a:gd name="connsiteX24" fmla="*/ 260794 w 3331369"/>
                  <a:gd name="connsiteY24" fmla="*/ 78677 h 608171"/>
                  <a:gd name="connsiteX25" fmla="*/ 267081 w 3331369"/>
                  <a:gd name="connsiteY25" fmla="*/ 78677 h 608171"/>
                  <a:gd name="connsiteX26" fmla="*/ 267081 w 3331369"/>
                  <a:gd name="connsiteY26" fmla="*/ 84677 h 608171"/>
                  <a:gd name="connsiteX27" fmla="*/ 281845 w 3331369"/>
                  <a:gd name="connsiteY27" fmla="*/ 84677 h 608171"/>
                  <a:gd name="connsiteX28" fmla="*/ 281845 w 3331369"/>
                  <a:gd name="connsiteY28" fmla="*/ 90773 h 608171"/>
                  <a:gd name="connsiteX29" fmla="*/ 290227 w 3331369"/>
                  <a:gd name="connsiteY29" fmla="*/ 90773 h 608171"/>
                  <a:gd name="connsiteX30" fmla="*/ 290227 w 3331369"/>
                  <a:gd name="connsiteY30" fmla="*/ 96869 h 608171"/>
                  <a:gd name="connsiteX31" fmla="*/ 300800 w 3331369"/>
                  <a:gd name="connsiteY31" fmla="*/ 96869 h 608171"/>
                  <a:gd name="connsiteX32" fmla="*/ 300800 w 3331369"/>
                  <a:gd name="connsiteY32" fmla="*/ 102870 h 608171"/>
                  <a:gd name="connsiteX33" fmla="*/ 313373 w 3331369"/>
                  <a:gd name="connsiteY33" fmla="*/ 102870 h 608171"/>
                  <a:gd name="connsiteX34" fmla="*/ 313373 w 3331369"/>
                  <a:gd name="connsiteY34" fmla="*/ 108966 h 608171"/>
                  <a:gd name="connsiteX35" fmla="*/ 319659 w 3331369"/>
                  <a:gd name="connsiteY35" fmla="*/ 108966 h 608171"/>
                  <a:gd name="connsiteX36" fmla="*/ 319659 w 3331369"/>
                  <a:gd name="connsiteY36" fmla="*/ 121063 h 608171"/>
                  <a:gd name="connsiteX37" fmla="*/ 323850 w 3331369"/>
                  <a:gd name="connsiteY37" fmla="*/ 121063 h 608171"/>
                  <a:gd name="connsiteX38" fmla="*/ 323850 w 3331369"/>
                  <a:gd name="connsiteY38" fmla="*/ 127159 h 608171"/>
                  <a:gd name="connsiteX39" fmla="*/ 336518 w 3331369"/>
                  <a:gd name="connsiteY39" fmla="*/ 127159 h 608171"/>
                  <a:gd name="connsiteX40" fmla="*/ 336518 w 3331369"/>
                  <a:gd name="connsiteY40" fmla="*/ 133255 h 608171"/>
                  <a:gd name="connsiteX41" fmla="*/ 351187 w 3331369"/>
                  <a:gd name="connsiteY41" fmla="*/ 133255 h 608171"/>
                  <a:gd name="connsiteX42" fmla="*/ 351187 w 3331369"/>
                  <a:gd name="connsiteY42" fmla="*/ 139256 h 608171"/>
                  <a:gd name="connsiteX43" fmla="*/ 355473 w 3331369"/>
                  <a:gd name="connsiteY43" fmla="*/ 139256 h 608171"/>
                  <a:gd name="connsiteX44" fmla="*/ 355473 w 3331369"/>
                  <a:gd name="connsiteY44" fmla="*/ 145352 h 608171"/>
                  <a:gd name="connsiteX45" fmla="*/ 365950 w 3331369"/>
                  <a:gd name="connsiteY45" fmla="*/ 145352 h 608171"/>
                  <a:gd name="connsiteX46" fmla="*/ 365950 w 3331369"/>
                  <a:gd name="connsiteY46" fmla="*/ 151448 h 608171"/>
                  <a:gd name="connsiteX47" fmla="*/ 374333 w 3331369"/>
                  <a:gd name="connsiteY47" fmla="*/ 151448 h 608171"/>
                  <a:gd name="connsiteX48" fmla="*/ 374333 w 3331369"/>
                  <a:gd name="connsiteY48" fmla="*/ 157544 h 608171"/>
                  <a:gd name="connsiteX49" fmla="*/ 389096 w 3331369"/>
                  <a:gd name="connsiteY49" fmla="*/ 157544 h 608171"/>
                  <a:gd name="connsiteX50" fmla="*/ 389096 w 3331369"/>
                  <a:gd name="connsiteY50" fmla="*/ 163544 h 608171"/>
                  <a:gd name="connsiteX51" fmla="*/ 393287 w 3331369"/>
                  <a:gd name="connsiteY51" fmla="*/ 163544 h 608171"/>
                  <a:gd name="connsiteX52" fmla="*/ 393287 w 3331369"/>
                  <a:gd name="connsiteY52" fmla="*/ 169640 h 608171"/>
                  <a:gd name="connsiteX53" fmla="*/ 397478 w 3331369"/>
                  <a:gd name="connsiteY53" fmla="*/ 169640 h 608171"/>
                  <a:gd name="connsiteX54" fmla="*/ 397478 w 3331369"/>
                  <a:gd name="connsiteY54" fmla="*/ 175736 h 608171"/>
                  <a:gd name="connsiteX55" fmla="*/ 410147 w 3331369"/>
                  <a:gd name="connsiteY55" fmla="*/ 175736 h 608171"/>
                  <a:gd name="connsiteX56" fmla="*/ 410147 w 3331369"/>
                  <a:gd name="connsiteY56" fmla="*/ 181737 h 608171"/>
                  <a:gd name="connsiteX57" fmla="*/ 439579 w 3331369"/>
                  <a:gd name="connsiteY57" fmla="*/ 181737 h 608171"/>
                  <a:gd name="connsiteX58" fmla="*/ 439579 w 3331369"/>
                  <a:gd name="connsiteY58" fmla="*/ 187833 h 608171"/>
                  <a:gd name="connsiteX59" fmla="*/ 447961 w 3331369"/>
                  <a:gd name="connsiteY59" fmla="*/ 187833 h 608171"/>
                  <a:gd name="connsiteX60" fmla="*/ 447961 w 3331369"/>
                  <a:gd name="connsiteY60" fmla="*/ 193929 h 608171"/>
                  <a:gd name="connsiteX61" fmla="*/ 450056 w 3331369"/>
                  <a:gd name="connsiteY61" fmla="*/ 193929 h 608171"/>
                  <a:gd name="connsiteX62" fmla="*/ 450056 w 3331369"/>
                  <a:gd name="connsiteY62" fmla="*/ 199930 h 608171"/>
                  <a:gd name="connsiteX63" fmla="*/ 464820 w 3331369"/>
                  <a:gd name="connsiteY63" fmla="*/ 199930 h 608171"/>
                  <a:gd name="connsiteX64" fmla="*/ 464820 w 3331369"/>
                  <a:gd name="connsiteY64" fmla="*/ 212122 h 608171"/>
                  <a:gd name="connsiteX65" fmla="*/ 466916 w 3331369"/>
                  <a:gd name="connsiteY65" fmla="*/ 212122 h 608171"/>
                  <a:gd name="connsiteX66" fmla="*/ 466916 w 3331369"/>
                  <a:gd name="connsiteY66" fmla="*/ 218123 h 608171"/>
                  <a:gd name="connsiteX67" fmla="*/ 473202 w 3331369"/>
                  <a:gd name="connsiteY67" fmla="*/ 218123 h 608171"/>
                  <a:gd name="connsiteX68" fmla="*/ 473202 w 3331369"/>
                  <a:gd name="connsiteY68" fmla="*/ 224219 h 608171"/>
                  <a:gd name="connsiteX69" fmla="*/ 477393 w 3331369"/>
                  <a:gd name="connsiteY69" fmla="*/ 224219 h 608171"/>
                  <a:gd name="connsiteX70" fmla="*/ 477393 w 3331369"/>
                  <a:gd name="connsiteY70" fmla="*/ 230315 h 608171"/>
                  <a:gd name="connsiteX71" fmla="*/ 494252 w 3331369"/>
                  <a:gd name="connsiteY71" fmla="*/ 230315 h 608171"/>
                  <a:gd name="connsiteX72" fmla="*/ 494252 w 3331369"/>
                  <a:gd name="connsiteY72" fmla="*/ 242411 h 608171"/>
                  <a:gd name="connsiteX73" fmla="*/ 498443 w 3331369"/>
                  <a:gd name="connsiteY73" fmla="*/ 242411 h 608171"/>
                  <a:gd name="connsiteX74" fmla="*/ 498443 w 3331369"/>
                  <a:gd name="connsiteY74" fmla="*/ 248507 h 608171"/>
                  <a:gd name="connsiteX75" fmla="*/ 521589 w 3331369"/>
                  <a:gd name="connsiteY75" fmla="*/ 248507 h 608171"/>
                  <a:gd name="connsiteX76" fmla="*/ 521589 w 3331369"/>
                  <a:gd name="connsiteY76" fmla="*/ 254603 h 608171"/>
                  <a:gd name="connsiteX77" fmla="*/ 525780 w 3331369"/>
                  <a:gd name="connsiteY77" fmla="*/ 254603 h 608171"/>
                  <a:gd name="connsiteX78" fmla="*/ 525780 w 3331369"/>
                  <a:gd name="connsiteY78" fmla="*/ 260604 h 608171"/>
                  <a:gd name="connsiteX79" fmla="*/ 532067 w 3331369"/>
                  <a:gd name="connsiteY79" fmla="*/ 260604 h 608171"/>
                  <a:gd name="connsiteX80" fmla="*/ 532067 w 3331369"/>
                  <a:gd name="connsiteY80" fmla="*/ 272796 h 608171"/>
                  <a:gd name="connsiteX81" fmla="*/ 551021 w 3331369"/>
                  <a:gd name="connsiteY81" fmla="*/ 272796 h 608171"/>
                  <a:gd name="connsiteX82" fmla="*/ 551021 w 3331369"/>
                  <a:gd name="connsiteY82" fmla="*/ 278797 h 608171"/>
                  <a:gd name="connsiteX83" fmla="*/ 559403 w 3331369"/>
                  <a:gd name="connsiteY83" fmla="*/ 278797 h 608171"/>
                  <a:gd name="connsiteX84" fmla="*/ 559403 w 3331369"/>
                  <a:gd name="connsiteY84" fmla="*/ 284893 h 608171"/>
                  <a:gd name="connsiteX85" fmla="*/ 572072 w 3331369"/>
                  <a:gd name="connsiteY85" fmla="*/ 284893 h 608171"/>
                  <a:gd name="connsiteX86" fmla="*/ 572072 w 3331369"/>
                  <a:gd name="connsiteY86" fmla="*/ 290989 h 608171"/>
                  <a:gd name="connsiteX87" fmla="*/ 588931 w 3331369"/>
                  <a:gd name="connsiteY87" fmla="*/ 290989 h 608171"/>
                  <a:gd name="connsiteX88" fmla="*/ 588931 w 3331369"/>
                  <a:gd name="connsiteY88" fmla="*/ 296990 h 608171"/>
                  <a:gd name="connsiteX89" fmla="*/ 616268 w 3331369"/>
                  <a:gd name="connsiteY89" fmla="*/ 296990 h 608171"/>
                  <a:gd name="connsiteX90" fmla="*/ 616268 w 3331369"/>
                  <a:gd name="connsiteY90" fmla="*/ 303086 h 608171"/>
                  <a:gd name="connsiteX91" fmla="*/ 618363 w 3331369"/>
                  <a:gd name="connsiteY91" fmla="*/ 303086 h 608171"/>
                  <a:gd name="connsiteX92" fmla="*/ 618363 w 3331369"/>
                  <a:gd name="connsiteY92" fmla="*/ 309182 h 608171"/>
                  <a:gd name="connsiteX93" fmla="*/ 628840 w 3331369"/>
                  <a:gd name="connsiteY93" fmla="*/ 309182 h 608171"/>
                  <a:gd name="connsiteX94" fmla="*/ 628840 w 3331369"/>
                  <a:gd name="connsiteY94" fmla="*/ 315182 h 608171"/>
                  <a:gd name="connsiteX95" fmla="*/ 635127 w 3331369"/>
                  <a:gd name="connsiteY95" fmla="*/ 315182 h 608171"/>
                  <a:gd name="connsiteX96" fmla="*/ 635127 w 3331369"/>
                  <a:gd name="connsiteY96" fmla="*/ 327374 h 608171"/>
                  <a:gd name="connsiteX97" fmla="*/ 643604 w 3331369"/>
                  <a:gd name="connsiteY97" fmla="*/ 327374 h 608171"/>
                  <a:gd name="connsiteX98" fmla="*/ 643604 w 3331369"/>
                  <a:gd name="connsiteY98" fmla="*/ 333375 h 608171"/>
                  <a:gd name="connsiteX99" fmla="*/ 649891 w 3331369"/>
                  <a:gd name="connsiteY99" fmla="*/ 333375 h 608171"/>
                  <a:gd name="connsiteX100" fmla="*/ 649891 w 3331369"/>
                  <a:gd name="connsiteY100" fmla="*/ 345567 h 608171"/>
                  <a:gd name="connsiteX101" fmla="*/ 651986 w 3331369"/>
                  <a:gd name="connsiteY101" fmla="*/ 345567 h 608171"/>
                  <a:gd name="connsiteX102" fmla="*/ 651986 w 3331369"/>
                  <a:gd name="connsiteY102" fmla="*/ 351663 h 608171"/>
                  <a:gd name="connsiteX103" fmla="*/ 664559 w 3331369"/>
                  <a:gd name="connsiteY103" fmla="*/ 351663 h 608171"/>
                  <a:gd name="connsiteX104" fmla="*/ 664559 w 3331369"/>
                  <a:gd name="connsiteY104" fmla="*/ 357664 h 608171"/>
                  <a:gd name="connsiteX105" fmla="*/ 687705 w 3331369"/>
                  <a:gd name="connsiteY105" fmla="*/ 357664 h 608171"/>
                  <a:gd name="connsiteX106" fmla="*/ 687705 w 3331369"/>
                  <a:gd name="connsiteY106" fmla="*/ 363760 h 608171"/>
                  <a:gd name="connsiteX107" fmla="*/ 694087 w 3331369"/>
                  <a:gd name="connsiteY107" fmla="*/ 363760 h 608171"/>
                  <a:gd name="connsiteX108" fmla="*/ 694087 w 3331369"/>
                  <a:gd name="connsiteY108" fmla="*/ 369856 h 608171"/>
                  <a:gd name="connsiteX109" fmla="*/ 702469 w 3331369"/>
                  <a:gd name="connsiteY109" fmla="*/ 369856 h 608171"/>
                  <a:gd name="connsiteX110" fmla="*/ 702469 w 3331369"/>
                  <a:gd name="connsiteY110" fmla="*/ 375857 h 608171"/>
                  <a:gd name="connsiteX111" fmla="*/ 710851 w 3331369"/>
                  <a:gd name="connsiteY111" fmla="*/ 375857 h 608171"/>
                  <a:gd name="connsiteX112" fmla="*/ 710851 w 3331369"/>
                  <a:gd name="connsiteY112" fmla="*/ 381953 h 608171"/>
                  <a:gd name="connsiteX113" fmla="*/ 715042 w 3331369"/>
                  <a:gd name="connsiteY113" fmla="*/ 381953 h 608171"/>
                  <a:gd name="connsiteX114" fmla="*/ 715042 w 3331369"/>
                  <a:gd name="connsiteY114" fmla="*/ 388049 h 608171"/>
                  <a:gd name="connsiteX115" fmla="*/ 788670 w 3331369"/>
                  <a:gd name="connsiteY115" fmla="*/ 388049 h 608171"/>
                  <a:gd name="connsiteX116" fmla="*/ 788670 w 3331369"/>
                  <a:gd name="connsiteY116" fmla="*/ 394049 h 608171"/>
                  <a:gd name="connsiteX117" fmla="*/ 809720 w 3331369"/>
                  <a:gd name="connsiteY117" fmla="*/ 394049 h 608171"/>
                  <a:gd name="connsiteX118" fmla="*/ 809720 w 3331369"/>
                  <a:gd name="connsiteY118" fmla="*/ 400145 h 608171"/>
                  <a:gd name="connsiteX119" fmla="*/ 816007 w 3331369"/>
                  <a:gd name="connsiteY119" fmla="*/ 400145 h 608171"/>
                  <a:gd name="connsiteX120" fmla="*/ 816007 w 3331369"/>
                  <a:gd name="connsiteY120" fmla="*/ 406241 h 608171"/>
                  <a:gd name="connsiteX121" fmla="*/ 858107 w 3331369"/>
                  <a:gd name="connsiteY121" fmla="*/ 406241 h 608171"/>
                  <a:gd name="connsiteX122" fmla="*/ 858107 w 3331369"/>
                  <a:gd name="connsiteY122" fmla="*/ 412242 h 608171"/>
                  <a:gd name="connsiteX123" fmla="*/ 872776 w 3331369"/>
                  <a:gd name="connsiteY123" fmla="*/ 412242 h 608171"/>
                  <a:gd name="connsiteX124" fmla="*/ 872776 w 3331369"/>
                  <a:gd name="connsiteY124" fmla="*/ 418338 h 608171"/>
                  <a:gd name="connsiteX125" fmla="*/ 902303 w 3331369"/>
                  <a:gd name="connsiteY125" fmla="*/ 418338 h 608171"/>
                  <a:gd name="connsiteX126" fmla="*/ 902303 w 3331369"/>
                  <a:gd name="connsiteY126" fmla="*/ 424434 h 608171"/>
                  <a:gd name="connsiteX127" fmla="*/ 904399 w 3331369"/>
                  <a:gd name="connsiteY127" fmla="*/ 424434 h 608171"/>
                  <a:gd name="connsiteX128" fmla="*/ 904399 w 3331369"/>
                  <a:gd name="connsiteY128" fmla="*/ 430435 h 608171"/>
                  <a:gd name="connsiteX129" fmla="*/ 927449 w 3331369"/>
                  <a:gd name="connsiteY129" fmla="*/ 430435 h 608171"/>
                  <a:gd name="connsiteX130" fmla="*/ 927449 w 3331369"/>
                  <a:gd name="connsiteY130" fmla="*/ 436531 h 608171"/>
                  <a:gd name="connsiteX131" fmla="*/ 940118 w 3331369"/>
                  <a:gd name="connsiteY131" fmla="*/ 436531 h 608171"/>
                  <a:gd name="connsiteX132" fmla="*/ 940118 w 3331369"/>
                  <a:gd name="connsiteY132" fmla="*/ 442627 h 608171"/>
                  <a:gd name="connsiteX133" fmla="*/ 975836 w 3331369"/>
                  <a:gd name="connsiteY133" fmla="*/ 442627 h 608171"/>
                  <a:gd name="connsiteX134" fmla="*/ 975836 w 3331369"/>
                  <a:gd name="connsiteY134" fmla="*/ 448723 h 608171"/>
                  <a:gd name="connsiteX135" fmla="*/ 1091565 w 3331369"/>
                  <a:gd name="connsiteY135" fmla="*/ 448723 h 608171"/>
                  <a:gd name="connsiteX136" fmla="*/ 1091565 w 3331369"/>
                  <a:gd name="connsiteY136" fmla="*/ 454724 h 608171"/>
                  <a:gd name="connsiteX137" fmla="*/ 1129379 w 3331369"/>
                  <a:gd name="connsiteY137" fmla="*/ 454724 h 608171"/>
                  <a:gd name="connsiteX138" fmla="*/ 1129379 w 3331369"/>
                  <a:gd name="connsiteY138" fmla="*/ 460915 h 608171"/>
                  <a:gd name="connsiteX139" fmla="*/ 1181957 w 3331369"/>
                  <a:gd name="connsiteY139" fmla="*/ 460915 h 608171"/>
                  <a:gd name="connsiteX140" fmla="*/ 1181957 w 3331369"/>
                  <a:gd name="connsiteY140" fmla="*/ 467011 h 608171"/>
                  <a:gd name="connsiteX141" fmla="*/ 1200912 w 3331369"/>
                  <a:gd name="connsiteY141" fmla="*/ 467011 h 608171"/>
                  <a:gd name="connsiteX142" fmla="*/ 1200912 w 3331369"/>
                  <a:gd name="connsiteY142" fmla="*/ 473107 h 608171"/>
                  <a:gd name="connsiteX143" fmla="*/ 1211390 w 3331369"/>
                  <a:gd name="connsiteY143" fmla="*/ 473107 h 608171"/>
                  <a:gd name="connsiteX144" fmla="*/ 1211390 w 3331369"/>
                  <a:gd name="connsiteY144" fmla="*/ 479298 h 608171"/>
                  <a:gd name="connsiteX145" fmla="*/ 1245108 w 3331369"/>
                  <a:gd name="connsiteY145" fmla="*/ 479298 h 608171"/>
                  <a:gd name="connsiteX146" fmla="*/ 1245108 w 3331369"/>
                  <a:gd name="connsiteY146" fmla="*/ 485394 h 608171"/>
                  <a:gd name="connsiteX147" fmla="*/ 1251395 w 3331369"/>
                  <a:gd name="connsiteY147" fmla="*/ 485394 h 608171"/>
                  <a:gd name="connsiteX148" fmla="*/ 1251395 w 3331369"/>
                  <a:gd name="connsiteY148" fmla="*/ 491490 h 608171"/>
                  <a:gd name="connsiteX149" fmla="*/ 1266063 w 3331369"/>
                  <a:gd name="connsiteY149" fmla="*/ 491490 h 608171"/>
                  <a:gd name="connsiteX150" fmla="*/ 1266063 w 3331369"/>
                  <a:gd name="connsiteY150" fmla="*/ 497586 h 608171"/>
                  <a:gd name="connsiteX151" fmla="*/ 1278731 w 3331369"/>
                  <a:gd name="connsiteY151" fmla="*/ 497586 h 608171"/>
                  <a:gd name="connsiteX152" fmla="*/ 1278731 w 3331369"/>
                  <a:gd name="connsiteY152" fmla="*/ 503777 h 608171"/>
                  <a:gd name="connsiteX153" fmla="*/ 1303973 w 3331369"/>
                  <a:gd name="connsiteY153" fmla="*/ 503777 h 608171"/>
                  <a:gd name="connsiteX154" fmla="*/ 1303973 w 3331369"/>
                  <a:gd name="connsiteY154" fmla="*/ 509873 h 608171"/>
                  <a:gd name="connsiteX155" fmla="*/ 1533239 w 3331369"/>
                  <a:gd name="connsiteY155" fmla="*/ 509873 h 608171"/>
                  <a:gd name="connsiteX156" fmla="*/ 1533239 w 3331369"/>
                  <a:gd name="connsiteY156" fmla="*/ 516065 h 608171"/>
                  <a:gd name="connsiteX157" fmla="*/ 1646777 w 3331369"/>
                  <a:gd name="connsiteY157" fmla="*/ 516065 h 608171"/>
                  <a:gd name="connsiteX158" fmla="*/ 1646777 w 3331369"/>
                  <a:gd name="connsiteY158" fmla="*/ 522256 h 608171"/>
                  <a:gd name="connsiteX159" fmla="*/ 1915954 w 3331369"/>
                  <a:gd name="connsiteY159" fmla="*/ 522256 h 608171"/>
                  <a:gd name="connsiteX160" fmla="*/ 1915954 w 3331369"/>
                  <a:gd name="connsiteY160" fmla="*/ 528542 h 608171"/>
                  <a:gd name="connsiteX161" fmla="*/ 1989582 w 3331369"/>
                  <a:gd name="connsiteY161" fmla="*/ 528542 h 608171"/>
                  <a:gd name="connsiteX162" fmla="*/ 1989582 w 3331369"/>
                  <a:gd name="connsiteY162" fmla="*/ 534829 h 608171"/>
                  <a:gd name="connsiteX163" fmla="*/ 2069497 w 3331369"/>
                  <a:gd name="connsiteY163" fmla="*/ 534829 h 608171"/>
                  <a:gd name="connsiteX164" fmla="*/ 2069497 w 3331369"/>
                  <a:gd name="connsiteY164" fmla="*/ 541115 h 608171"/>
                  <a:gd name="connsiteX165" fmla="*/ 2231422 w 3331369"/>
                  <a:gd name="connsiteY165" fmla="*/ 541115 h 608171"/>
                  <a:gd name="connsiteX166" fmla="*/ 2231422 w 3331369"/>
                  <a:gd name="connsiteY166" fmla="*/ 547592 h 608171"/>
                  <a:gd name="connsiteX167" fmla="*/ 2248281 w 3331369"/>
                  <a:gd name="connsiteY167" fmla="*/ 547592 h 608171"/>
                  <a:gd name="connsiteX168" fmla="*/ 2248281 w 3331369"/>
                  <a:gd name="connsiteY168" fmla="*/ 553974 h 608171"/>
                  <a:gd name="connsiteX169" fmla="*/ 2366105 w 3331369"/>
                  <a:gd name="connsiteY169" fmla="*/ 553974 h 608171"/>
                  <a:gd name="connsiteX170" fmla="*/ 2366105 w 3331369"/>
                  <a:gd name="connsiteY170" fmla="*/ 560451 h 608171"/>
                  <a:gd name="connsiteX171" fmla="*/ 2458593 w 3331369"/>
                  <a:gd name="connsiteY171" fmla="*/ 560451 h 608171"/>
                  <a:gd name="connsiteX172" fmla="*/ 2458593 w 3331369"/>
                  <a:gd name="connsiteY172" fmla="*/ 566833 h 608171"/>
                  <a:gd name="connsiteX173" fmla="*/ 2477548 w 3331369"/>
                  <a:gd name="connsiteY173" fmla="*/ 566833 h 608171"/>
                  <a:gd name="connsiteX174" fmla="*/ 2477548 w 3331369"/>
                  <a:gd name="connsiteY174" fmla="*/ 573310 h 608171"/>
                  <a:gd name="connsiteX175" fmla="*/ 3331369 w 3331369"/>
                  <a:gd name="connsiteY175" fmla="*/ 573310 h 608171"/>
                  <a:gd name="connsiteX176" fmla="*/ 3331369 w 3331369"/>
                  <a:gd name="connsiteY176" fmla="*/ 608171 h 608171"/>
                  <a:gd name="connsiteX0" fmla="*/ 0 w 3331369"/>
                  <a:gd name="connsiteY0" fmla="*/ 0 h 573310"/>
                  <a:gd name="connsiteX1" fmla="*/ 113538 w 3331369"/>
                  <a:gd name="connsiteY1" fmla="*/ 0 h 573310"/>
                  <a:gd name="connsiteX2" fmla="*/ 113538 w 3331369"/>
                  <a:gd name="connsiteY2" fmla="*/ 5906 h 573310"/>
                  <a:gd name="connsiteX3" fmla="*/ 153543 w 3331369"/>
                  <a:gd name="connsiteY3" fmla="*/ 5906 h 573310"/>
                  <a:gd name="connsiteX4" fmla="*/ 153543 w 3331369"/>
                  <a:gd name="connsiteY4" fmla="*/ 12002 h 573310"/>
                  <a:gd name="connsiteX5" fmla="*/ 161925 w 3331369"/>
                  <a:gd name="connsiteY5" fmla="*/ 12002 h 573310"/>
                  <a:gd name="connsiteX6" fmla="*/ 161925 w 3331369"/>
                  <a:gd name="connsiteY6" fmla="*/ 18002 h 573310"/>
                  <a:gd name="connsiteX7" fmla="*/ 172498 w 3331369"/>
                  <a:gd name="connsiteY7" fmla="*/ 18002 h 573310"/>
                  <a:gd name="connsiteX8" fmla="*/ 172498 w 3331369"/>
                  <a:gd name="connsiteY8" fmla="*/ 24003 h 573310"/>
                  <a:gd name="connsiteX9" fmla="*/ 222980 w 3331369"/>
                  <a:gd name="connsiteY9" fmla="*/ 24003 h 573310"/>
                  <a:gd name="connsiteX10" fmla="*/ 222980 w 3331369"/>
                  <a:gd name="connsiteY10" fmla="*/ 30099 h 573310"/>
                  <a:gd name="connsiteX11" fmla="*/ 231362 w 3331369"/>
                  <a:gd name="connsiteY11" fmla="*/ 30099 h 573310"/>
                  <a:gd name="connsiteX12" fmla="*/ 231362 w 3331369"/>
                  <a:gd name="connsiteY12" fmla="*/ 42196 h 573310"/>
                  <a:gd name="connsiteX13" fmla="*/ 237649 w 3331369"/>
                  <a:gd name="connsiteY13" fmla="*/ 42196 h 573310"/>
                  <a:gd name="connsiteX14" fmla="*/ 237649 w 3331369"/>
                  <a:gd name="connsiteY14" fmla="*/ 48292 h 573310"/>
                  <a:gd name="connsiteX15" fmla="*/ 241840 w 3331369"/>
                  <a:gd name="connsiteY15" fmla="*/ 48292 h 573310"/>
                  <a:gd name="connsiteX16" fmla="*/ 241840 w 3331369"/>
                  <a:gd name="connsiteY16" fmla="*/ 54388 h 573310"/>
                  <a:gd name="connsiteX17" fmla="*/ 246031 w 3331369"/>
                  <a:gd name="connsiteY17" fmla="*/ 54388 h 573310"/>
                  <a:gd name="connsiteX18" fmla="*/ 246031 w 3331369"/>
                  <a:gd name="connsiteY18" fmla="*/ 60484 h 573310"/>
                  <a:gd name="connsiteX19" fmla="*/ 248126 w 3331369"/>
                  <a:gd name="connsiteY19" fmla="*/ 60484 h 573310"/>
                  <a:gd name="connsiteX20" fmla="*/ 248126 w 3331369"/>
                  <a:gd name="connsiteY20" fmla="*/ 66485 h 573310"/>
                  <a:gd name="connsiteX21" fmla="*/ 250317 w 3331369"/>
                  <a:gd name="connsiteY21" fmla="*/ 66485 h 573310"/>
                  <a:gd name="connsiteX22" fmla="*/ 250317 w 3331369"/>
                  <a:gd name="connsiteY22" fmla="*/ 72581 h 573310"/>
                  <a:gd name="connsiteX23" fmla="*/ 260794 w 3331369"/>
                  <a:gd name="connsiteY23" fmla="*/ 72581 h 573310"/>
                  <a:gd name="connsiteX24" fmla="*/ 260794 w 3331369"/>
                  <a:gd name="connsiteY24" fmla="*/ 78677 h 573310"/>
                  <a:gd name="connsiteX25" fmla="*/ 267081 w 3331369"/>
                  <a:gd name="connsiteY25" fmla="*/ 78677 h 573310"/>
                  <a:gd name="connsiteX26" fmla="*/ 267081 w 3331369"/>
                  <a:gd name="connsiteY26" fmla="*/ 84677 h 573310"/>
                  <a:gd name="connsiteX27" fmla="*/ 281845 w 3331369"/>
                  <a:gd name="connsiteY27" fmla="*/ 84677 h 573310"/>
                  <a:gd name="connsiteX28" fmla="*/ 281845 w 3331369"/>
                  <a:gd name="connsiteY28" fmla="*/ 90773 h 573310"/>
                  <a:gd name="connsiteX29" fmla="*/ 290227 w 3331369"/>
                  <a:gd name="connsiteY29" fmla="*/ 90773 h 573310"/>
                  <a:gd name="connsiteX30" fmla="*/ 290227 w 3331369"/>
                  <a:gd name="connsiteY30" fmla="*/ 96869 h 573310"/>
                  <a:gd name="connsiteX31" fmla="*/ 300800 w 3331369"/>
                  <a:gd name="connsiteY31" fmla="*/ 96869 h 573310"/>
                  <a:gd name="connsiteX32" fmla="*/ 300800 w 3331369"/>
                  <a:gd name="connsiteY32" fmla="*/ 102870 h 573310"/>
                  <a:gd name="connsiteX33" fmla="*/ 313373 w 3331369"/>
                  <a:gd name="connsiteY33" fmla="*/ 102870 h 573310"/>
                  <a:gd name="connsiteX34" fmla="*/ 313373 w 3331369"/>
                  <a:gd name="connsiteY34" fmla="*/ 108966 h 573310"/>
                  <a:gd name="connsiteX35" fmla="*/ 319659 w 3331369"/>
                  <a:gd name="connsiteY35" fmla="*/ 108966 h 573310"/>
                  <a:gd name="connsiteX36" fmla="*/ 319659 w 3331369"/>
                  <a:gd name="connsiteY36" fmla="*/ 121063 h 573310"/>
                  <a:gd name="connsiteX37" fmla="*/ 323850 w 3331369"/>
                  <a:gd name="connsiteY37" fmla="*/ 121063 h 573310"/>
                  <a:gd name="connsiteX38" fmla="*/ 323850 w 3331369"/>
                  <a:gd name="connsiteY38" fmla="*/ 127159 h 573310"/>
                  <a:gd name="connsiteX39" fmla="*/ 336518 w 3331369"/>
                  <a:gd name="connsiteY39" fmla="*/ 127159 h 573310"/>
                  <a:gd name="connsiteX40" fmla="*/ 336518 w 3331369"/>
                  <a:gd name="connsiteY40" fmla="*/ 133255 h 573310"/>
                  <a:gd name="connsiteX41" fmla="*/ 351187 w 3331369"/>
                  <a:gd name="connsiteY41" fmla="*/ 133255 h 573310"/>
                  <a:gd name="connsiteX42" fmla="*/ 351187 w 3331369"/>
                  <a:gd name="connsiteY42" fmla="*/ 139256 h 573310"/>
                  <a:gd name="connsiteX43" fmla="*/ 355473 w 3331369"/>
                  <a:gd name="connsiteY43" fmla="*/ 139256 h 573310"/>
                  <a:gd name="connsiteX44" fmla="*/ 355473 w 3331369"/>
                  <a:gd name="connsiteY44" fmla="*/ 145352 h 573310"/>
                  <a:gd name="connsiteX45" fmla="*/ 365950 w 3331369"/>
                  <a:gd name="connsiteY45" fmla="*/ 145352 h 573310"/>
                  <a:gd name="connsiteX46" fmla="*/ 365950 w 3331369"/>
                  <a:gd name="connsiteY46" fmla="*/ 151448 h 573310"/>
                  <a:gd name="connsiteX47" fmla="*/ 374333 w 3331369"/>
                  <a:gd name="connsiteY47" fmla="*/ 151448 h 573310"/>
                  <a:gd name="connsiteX48" fmla="*/ 374333 w 3331369"/>
                  <a:gd name="connsiteY48" fmla="*/ 157544 h 573310"/>
                  <a:gd name="connsiteX49" fmla="*/ 389096 w 3331369"/>
                  <a:gd name="connsiteY49" fmla="*/ 157544 h 573310"/>
                  <a:gd name="connsiteX50" fmla="*/ 389096 w 3331369"/>
                  <a:gd name="connsiteY50" fmla="*/ 163544 h 573310"/>
                  <a:gd name="connsiteX51" fmla="*/ 393287 w 3331369"/>
                  <a:gd name="connsiteY51" fmla="*/ 163544 h 573310"/>
                  <a:gd name="connsiteX52" fmla="*/ 393287 w 3331369"/>
                  <a:gd name="connsiteY52" fmla="*/ 169640 h 573310"/>
                  <a:gd name="connsiteX53" fmla="*/ 397478 w 3331369"/>
                  <a:gd name="connsiteY53" fmla="*/ 169640 h 573310"/>
                  <a:gd name="connsiteX54" fmla="*/ 397478 w 3331369"/>
                  <a:gd name="connsiteY54" fmla="*/ 175736 h 573310"/>
                  <a:gd name="connsiteX55" fmla="*/ 410147 w 3331369"/>
                  <a:gd name="connsiteY55" fmla="*/ 175736 h 573310"/>
                  <a:gd name="connsiteX56" fmla="*/ 410147 w 3331369"/>
                  <a:gd name="connsiteY56" fmla="*/ 181737 h 573310"/>
                  <a:gd name="connsiteX57" fmla="*/ 439579 w 3331369"/>
                  <a:gd name="connsiteY57" fmla="*/ 181737 h 573310"/>
                  <a:gd name="connsiteX58" fmla="*/ 439579 w 3331369"/>
                  <a:gd name="connsiteY58" fmla="*/ 187833 h 573310"/>
                  <a:gd name="connsiteX59" fmla="*/ 447961 w 3331369"/>
                  <a:gd name="connsiteY59" fmla="*/ 187833 h 573310"/>
                  <a:gd name="connsiteX60" fmla="*/ 447961 w 3331369"/>
                  <a:gd name="connsiteY60" fmla="*/ 193929 h 573310"/>
                  <a:gd name="connsiteX61" fmla="*/ 450056 w 3331369"/>
                  <a:gd name="connsiteY61" fmla="*/ 193929 h 573310"/>
                  <a:gd name="connsiteX62" fmla="*/ 450056 w 3331369"/>
                  <a:gd name="connsiteY62" fmla="*/ 199930 h 573310"/>
                  <a:gd name="connsiteX63" fmla="*/ 464820 w 3331369"/>
                  <a:gd name="connsiteY63" fmla="*/ 199930 h 573310"/>
                  <a:gd name="connsiteX64" fmla="*/ 464820 w 3331369"/>
                  <a:gd name="connsiteY64" fmla="*/ 212122 h 573310"/>
                  <a:gd name="connsiteX65" fmla="*/ 466916 w 3331369"/>
                  <a:gd name="connsiteY65" fmla="*/ 212122 h 573310"/>
                  <a:gd name="connsiteX66" fmla="*/ 466916 w 3331369"/>
                  <a:gd name="connsiteY66" fmla="*/ 218123 h 573310"/>
                  <a:gd name="connsiteX67" fmla="*/ 473202 w 3331369"/>
                  <a:gd name="connsiteY67" fmla="*/ 218123 h 573310"/>
                  <a:gd name="connsiteX68" fmla="*/ 473202 w 3331369"/>
                  <a:gd name="connsiteY68" fmla="*/ 224219 h 573310"/>
                  <a:gd name="connsiteX69" fmla="*/ 477393 w 3331369"/>
                  <a:gd name="connsiteY69" fmla="*/ 224219 h 573310"/>
                  <a:gd name="connsiteX70" fmla="*/ 477393 w 3331369"/>
                  <a:gd name="connsiteY70" fmla="*/ 230315 h 573310"/>
                  <a:gd name="connsiteX71" fmla="*/ 494252 w 3331369"/>
                  <a:gd name="connsiteY71" fmla="*/ 230315 h 573310"/>
                  <a:gd name="connsiteX72" fmla="*/ 494252 w 3331369"/>
                  <a:gd name="connsiteY72" fmla="*/ 242411 h 573310"/>
                  <a:gd name="connsiteX73" fmla="*/ 498443 w 3331369"/>
                  <a:gd name="connsiteY73" fmla="*/ 242411 h 573310"/>
                  <a:gd name="connsiteX74" fmla="*/ 498443 w 3331369"/>
                  <a:gd name="connsiteY74" fmla="*/ 248507 h 573310"/>
                  <a:gd name="connsiteX75" fmla="*/ 521589 w 3331369"/>
                  <a:gd name="connsiteY75" fmla="*/ 248507 h 573310"/>
                  <a:gd name="connsiteX76" fmla="*/ 521589 w 3331369"/>
                  <a:gd name="connsiteY76" fmla="*/ 254603 h 573310"/>
                  <a:gd name="connsiteX77" fmla="*/ 525780 w 3331369"/>
                  <a:gd name="connsiteY77" fmla="*/ 254603 h 573310"/>
                  <a:gd name="connsiteX78" fmla="*/ 525780 w 3331369"/>
                  <a:gd name="connsiteY78" fmla="*/ 260604 h 573310"/>
                  <a:gd name="connsiteX79" fmla="*/ 532067 w 3331369"/>
                  <a:gd name="connsiteY79" fmla="*/ 260604 h 573310"/>
                  <a:gd name="connsiteX80" fmla="*/ 532067 w 3331369"/>
                  <a:gd name="connsiteY80" fmla="*/ 272796 h 573310"/>
                  <a:gd name="connsiteX81" fmla="*/ 551021 w 3331369"/>
                  <a:gd name="connsiteY81" fmla="*/ 272796 h 573310"/>
                  <a:gd name="connsiteX82" fmla="*/ 551021 w 3331369"/>
                  <a:gd name="connsiteY82" fmla="*/ 278797 h 573310"/>
                  <a:gd name="connsiteX83" fmla="*/ 559403 w 3331369"/>
                  <a:gd name="connsiteY83" fmla="*/ 278797 h 573310"/>
                  <a:gd name="connsiteX84" fmla="*/ 559403 w 3331369"/>
                  <a:gd name="connsiteY84" fmla="*/ 284893 h 573310"/>
                  <a:gd name="connsiteX85" fmla="*/ 572072 w 3331369"/>
                  <a:gd name="connsiteY85" fmla="*/ 284893 h 573310"/>
                  <a:gd name="connsiteX86" fmla="*/ 572072 w 3331369"/>
                  <a:gd name="connsiteY86" fmla="*/ 290989 h 573310"/>
                  <a:gd name="connsiteX87" fmla="*/ 588931 w 3331369"/>
                  <a:gd name="connsiteY87" fmla="*/ 290989 h 573310"/>
                  <a:gd name="connsiteX88" fmla="*/ 588931 w 3331369"/>
                  <a:gd name="connsiteY88" fmla="*/ 296990 h 573310"/>
                  <a:gd name="connsiteX89" fmla="*/ 616268 w 3331369"/>
                  <a:gd name="connsiteY89" fmla="*/ 296990 h 573310"/>
                  <a:gd name="connsiteX90" fmla="*/ 616268 w 3331369"/>
                  <a:gd name="connsiteY90" fmla="*/ 303086 h 573310"/>
                  <a:gd name="connsiteX91" fmla="*/ 618363 w 3331369"/>
                  <a:gd name="connsiteY91" fmla="*/ 303086 h 573310"/>
                  <a:gd name="connsiteX92" fmla="*/ 618363 w 3331369"/>
                  <a:gd name="connsiteY92" fmla="*/ 309182 h 573310"/>
                  <a:gd name="connsiteX93" fmla="*/ 628840 w 3331369"/>
                  <a:gd name="connsiteY93" fmla="*/ 309182 h 573310"/>
                  <a:gd name="connsiteX94" fmla="*/ 628840 w 3331369"/>
                  <a:gd name="connsiteY94" fmla="*/ 315182 h 573310"/>
                  <a:gd name="connsiteX95" fmla="*/ 635127 w 3331369"/>
                  <a:gd name="connsiteY95" fmla="*/ 315182 h 573310"/>
                  <a:gd name="connsiteX96" fmla="*/ 635127 w 3331369"/>
                  <a:gd name="connsiteY96" fmla="*/ 327374 h 573310"/>
                  <a:gd name="connsiteX97" fmla="*/ 643604 w 3331369"/>
                  <a:gd name="connsiteY97" fmla="*/ 327374 h 573310"/>
                  <a:gd name="connsiteX98" fmla="*/ 643604 w 3331369"/>
                  <a:gd name="connsiteY98" fmla="*/ 333375 h 573310"/>
                  <a:gd name="connsiteX99" fmla="*/ 649891 w 3331369"/>
                  <a:gd name="connsiteY99" fmla="*/ 333375 h 573310"/>
                  <a:gd name="connsiteX100" fmla="*/ 649891 w 3331369"/>
                  <a:gd name="connsiteY100" fmla="*/ 345567 h 573310"/>
                  <a:gd name="connsiteX101" fmla="*/ 651986 w 3331369"/>
                  <a:gd name="connsiteY101" fmla="*/ 345567 h 573310"/>
                  <a:gd name="connsiteX102" fmla="*/ 651986 w 3331369"/>
                  <a:gd name="connsiteY102" fmla="*/ 351663 h 573310"/>
                  <a:gd name="connsiteX103" fmla="*/ 664559 w 3331369"/>
                  <a:gd name="connsiteY103" fmla="*/ 351663 h 573310"/>
                  <a:gd name="connsiteX104" fmla="*/ 664559 w 3331369"/>
                  <a:gd name="connsiteY104" fmla="*/ 357664 h 573310"/>
                  <a:gd name="connsiteX105" fmla="*/ 687705 w 3331369"/>
                  <a:gd name="connsiteY105" fmla="*/ 357664 h 573310"/>
                  <a:gd name="connsiteX106" fmla="*/ 687705 w 3331369"/>
                  <a:gd name="connsiteY106" fmla="*/ 363760 h 573310"/>
                  <a:gd name="connsiteX107" fmla="*/ 694087 w 3331369"/>
                  <a:gd name="connsiteY107" fmla="*/ 363760 h 573310"/>
                  <a:gd name="connsiteX108" fmla="*/ 694087 w 3331369"/>
                  <a:gd name="connsiteY108" fmla="*/ 369856 h 573310"/>
                  <a:gd name="connsiteX109" fmla="*/ 702469 w 3331369"/>
                  <a:gd name="connsiteY109" fmla="*/ 369856 h 573310"/>
                  <a:gd name="connsiteX110" fmla="*/ 702469 w 3331369"/>
                  <a:gd name="connsiteY110" fmla="*/ 375857 h 573310"/>
                  <a:gd name="connsiteX111" fmla="*/ 710851 w 3331369"/>
                  <a:gd name="connsiteY111" fmla="*/ 375857 h 573310"/>
                  <a:gd name="connsiteX112" fmla="*/ 710851 w 3331369"/>
                  <a:gd name="connsiteY112" fmla="*/ 381953 h 573310"/>
                  <a:gd name="connsiteX113" fmla="*/ 715042 w 3331369"/>
                  <a:gd name="connsiteY113" fmla="*/ 381953 h 573310"/>
                  <a:gd name="connsiteX114" fmla="*/ 715042 w 3331369"/>
                  <a:gd name="connsiteY114" fmla="*/ 388049 h 573310"/>
                  <a:gd name="connsiteX115" fmla="*/ 788670 w 3331369"/>
                  <a:gd name="connsiteY115" fmla="*/ 388049 h 573310"/>
                  <a:gd name="connsiteX116" fmla="*/ 788670 w 3331369"/>
                  <a:gd name="connsiteY116" fmla="*/ 394049 h 573310"/>
                  <a:gd name="connsiteX117" fmla="*/ 809720 w 3331369"/>
                  <a:gd name="connsiteY117" fmla="*/ 394049 h 573310"/>
                  <a:gd name="connsiteX118" fmla="*/ 809720 w 3331369"/>
                  <a:gd name="connsiteY118" fmla="*/ 400145 h 573310"/>
                  <a:gd name="connsiteX119" fmla="*/ 816007 w 3331369"/>
                  <a:gd name="connsiteY119" fmla="*/ 400145 h 573310"/>
                  <a:gd name="connsiteX120" fmla="*/ 816007 w 3331369"/>
                  <a:gd name="connsiteY120" fmla="*/ 406241 h 573310"/>
                  <a:gd name="connsiteX121" fmla="*/ 858107 w 3331369"/>
                  <a:gd name="connsiteY121" fmla="*/ 406241 h 573310"/>
                  <a:gd name="connsiteX122" fmla="*/ 858107 w 3331369"/>
                  <a:gd name="connsiteY122" fmla="*/ 412242 h 573310"/>
                  <a:gd name="connsiteX123" fmla="*/ 872776 w 3331369"/>
                  <a:gd name="connsiteY123" fmla="*/ 412242 h 573310"/>
                  <a:gd name="connsiteX124" fmla="*/ 872776 w 3331369"/>
                  <a:gd name="connsiteY124" fmla="*/ 418338 h 573310"/>
                  <a:gd name="connsiteX125" fmla="*/ 902303 w 3331369"/>
                  <a:gd name="connsiteY125" fmla="*/ 418338 h 573310"/>
                  <a:gd name="connsiteX126" fmla="*/ 902303 w 3331369"/>
                  <a:gd name="connsiteY126" fmla="*/ 424434 h 573310"/>
                  <a:gd name="connsiteX127" fmla="*/ 904399 w 3331369"/>
                  <a:gd name="connsiteY127" fmla="*/ 424434 h 573310"/>
                  <a:gd name="connsiteX128" fmla="*/ 904399 w 3331369"/>
                  <a:gd name="connsiteY128" fmla="*/ 430435 h 573310"/>
                  <a:gd name="connsiteX129" fmla="*/ 927449 w 3331369"/>
                  <a:gd name="connsiteY129" fmla="*/ 430435 h 573310"/>
                  <a:gd name="connsiteX130" fmla="*/ 927449 w 3331369"/>
                  <a:gd name="connsiteY130" fmla="*/ 436531 h 573310"/>
                  <a:gd name="connsiteX131" fmla="*/ 940118 w 3331369"/>
                  <a:gd name="connsiteY131" fmla="*/ 436531 h 573310"/>
                  <a:gd name="connsiteX132" fmla="*/ 940118 w 3331369"/>
                  <a:gd name="connsiteY132" fmla="*/ 442627 h 573310"/>
                  <a:gd name="connsiteX133" fmla="*/ 975836 w 3331369"/>
                  <a:gd name="connsiteY133" fmla="*/ 442627 h 573310"/>
                  <a:gd name="connsiteX134" fmla="*/ 975836 w 3331369"/>
                  <a:gd name="connsiteY134" fmla="*/ 448723 h 573310"/>
                  <a:gd name="connsiteX135" fmla="*/ 1091565 w 3331369"/>
                  <a:gd name="connsiteY135" fmla="*/ 448723 h 573310"/>
                  <a:gd name="connsiteX136" fmla="*/ 1091565 w 3331369"/>
                  <a:gd name="connsiteY136" fmla="*/ 454724 h 573310"/>
                  <a:gd name="connsiteX137" fmla="*/ 1129379 w 3331369"/>
                  <a:gd name="connsiteY137" fmla="*/ 454724 h 573310"/>
                  <a:gd name="connsiteX138" fmla="*/ 1129379 w 3331369"/>
                  <a:gd name="connsiteY138" fmla="*/ 460915 h 573310"/>
                  <a:gd name="connsiteX139" fmla="*/ 1181957 w 3331369"/>
                  <a:gd name="connsiteY139" fmla="*/ 460915 h 573310"/>
                  <a:gd name="connsiteX140" fmla="*/ 1181957 w 3331369"/>
                  <a:gd name="connsiteY140" fmla="*/ 467011 h 573310"/>
                  <a:gd name="connsiteX141" fmla="*/ 1200912 w 3331369"/>
                  <a:gd name="connsiteY141" fmla="*/ 467011 h 573310"/>
                  <a:gd name="connsiteX142" fmla="*/ 1200912 w 3331369"/>
                  <a:gd name="connsiteY142" fmla="*/ 473107 h 573310"/>
                  <a:gd name="connsiteX143" fmla="*/ 1211390 w 3331369"/>
                  <a:gd name="connsiteY143" fmla="*/ 473107 h 573310"/>
                  <a:gd name="connsiteX144" fmla="*/ 1211390 w 3331369"/>
                  <a:gd name="connsiteY144" fmla="*/ 479298 h 573310"/>
                  <a:gd name="connsiteX145" fmla="*/ 1245108 w 3331369"/>
                  <a:gd name="connsiteY145" fmla="*/ 479298 h 573310"/>
                  <a:gd name="connsiteX146" fmla="*/ 1245108 w 3331369"/>
                  <a:gd name="connsiteY146" fmla="*/ 485394 h 573310"/>
                  <a:gd name="connsiteX147" fmla="*/ 1251395 w 3331369"/>
                  <a:gd name="connsiteY147" fmla="*/ 485394 h 573310"/>
                  <a:gd name="connsiteX148" fmla="*/ 1251395 w 3331369"/>
                  <a:gd name="connsiteY148" fmla="*/ 491490 h 573310"/>
                  <a:gd name="connsiteX149" fmla="*/ 1266063 w 3331369"/>
                  <a:gd name="connsiteY149" fmla="*/ 491490 h 573310"/>
                  <a:gd name="connsiteX150" fmla="*/ 1266063 w 3331369"/>
                  <a:gd name="connsiteY150" fmla="*/ 497586 h 573310"/>
                  <a:gd name="connsiteX151" fmla="*/ 1278731 w 3331369"/>
                  <a:gd name="connsiteY151" fmla="*/ 497586 h 573310"/>
                  <a:gd name="connsiteX152" fmla="*/ 1278731 w 3331369"/>
                  <a:gd name="connsiteY152" fmla="*/ 503777 h 573310"/>
                  <a:gd name="connsiteX153" fmla="*/ 1303973 w 3331369"/>
                  <a:gd name="connsiteY153" fmla="*/ 503777 h 573310"/>
                  <a:gd name="connsiteX154" fmla="*/ 1303973 w 3331369"/>
                  <a:gd name="connsiteY154" fmla="*/ 509873 h 573310"/>
                  <a:gd name="connsiteX155" fmla="*/ 1533239 w 3331369"/>
                  <a:gd name="connsiteY155" fmla="*/ 509873 h 573310"/>
                  <a:gd name="connsiteX156" fmla="*/ 1533239 w 3331369"/>
                  <a:gd name="connsiteY156" fmla="*/ 516065 h 573310"/>
                  <a:gd name="connsiteX157" fmla="*/ 1646777 w 3331369"/>
                  <a:gd name="connsiteY157" fmla="*/ 516065 h 573310"/>
                  <a:gd name="connsiteX158" fmla="*/ 1646777 w 3331369"/>
                  <a:gd name="connsiteY158" fmla="*/ 522256 h 573310"/>
                  <a:gd name="connsiteX159" fmla="*/ 1915954 w 3331369"/>
                  <a:gd name="connsiteY159" fmla="*/ 522256 h 573310"/>
                  <a:gd name="connsiteX160" fmla="*/ 1915954 w 3331369"/>
                  <a:gd name="connsiteY160" fmla="*/ 528542 h 573310"/>
                  <a:gd name="connsiteX161" fmla="*/ 1989582 w 3331369"/>
                  <a:gd name="connsiteY161" fmla="*/ 528542 h 573310"/>
                  <a:gd name="connsiteX162" fmla="*/ 1989582 w 3331369"/>
                  <a:gd name="connsiteY162" fmla="*/ 534829 h 573310"/>
                  <a:gd name="connsiteX163" fmla="*/ 2069497 w 3331369"/>
                  <a:gd name="connsiteY163" fmla="*/ 534829 h 573310"/>
                  <a:gd name="connsiteX164" fmla="*/ 2069497 w 3331369"/>
                  <a:gd name="connsiteY164" fmla="*/ 541115 h 573310"/>
                  <a:gd name="connsiteX165" fmla="*/ 2231422 w 3331369"/>
                  <a:gd name="connsiteY165" fmla="*/ 541115 h 573310"/>
                  <a:gd name="connsiteX166" fmla="*/ 2231422 w 3331369"/>
                  <a:gd name="connsiteY166" fmla="*/ 547592 h 573310"/>
                  <a:gd name="connsiteX167" fmla="*/ 2248281 w 3331369"/>
                  <a:gd name="connsiteY167" fmla="*/ 547592 h 573310"/>
                  <a:gd name="connsiteX168" fmla="*/ 2248281 w 3331369"/>
                  <a:gd name="connsiteY168" fmla="*/ 553974 h 573310"/>
                  <a:gd name="connsiteX169" fmla="*/ 2366105 w 3331369"/>
                  <a:gd name="connsiteY169" fmla="*/ 553974 h 573310"/>
                  <a:gd name="connsiteX170" fmla="*/ 2366105 w 3331369"/>
                  <a:gd name="connsiteY170" fmla="*/ 560451 h 573310"/>
                  <a:gd name="connsiteX171" fmla="*/ 2458593 w 3331369"/>
                  <a:gd name="connsiteY171" fmla="*/ 560451 h 573310"/>
                  <a:gd name="connsiteX172" fmla="*/ 2458593 w 3331369"/>
                  <a:gd name="connsiteY172" fmla="*/ 566833 h 573310"/>
                  <a:gd name="connsiteX173" fmla="*/ 2477548 w 3331369"/>
                  <a:gd name="connsiteY173" fmla="*/ 566833 h 573310"/>
                  <a:gd name="connsiteX174" fmla="*/ 2477548 w 3331369"/>
                  <a:gd name="connsiteY174" fmla="*/ 573310 h 573310"/>
                  <a:gd name="connsiteX175" fmla="*/ 3331369 w 3331369"/>
                  <a:gd name="connsiteY175" fmla="*/ 573310 h 573310"/>
                  <a:gd name="connsiteX0" fmla="*/ 0 w 2477548"/>
                  <a:gd name="connsiteY0" fmla="*/ 0 h 573310"/>
                  <a:gd name="connsiteX1" fmla="*/ 113538 w 2477548"/>
                  <a:gd name="connsiteY1" fmla="*/ 0 h 573310"/>
                  <a:gd name="connsiteX2" fmla="*/ 113538 w 2477548"/>
                  <a:gd name="connsiteY2" fmla="*/ 5906 h 573310"/>
                  <a:gd name="connsiteX3" fmla="*/ 153543 w 2477548"/>
                  <a:gd name="connsiteY3" fmla="*/ 5906 h 573310"/>
                  <a:gd name="connsiteX4" fmla="*/ 153543 w 2477548"/>
                  <a:gd name="connsiteY4" fmla="*/ 12002 h 573310"/>
                  <a:gd name="connsiteX5" fmla="*/ 161925 w 2477548"/>
                  <a:gd name="connsiteY5" fmla="*/ 12002 h 573310"/>
                  <a:gd name="connsiteX6" fmla="*/ 161925 w 2477548"/>
                  <a:gd name="connsiteY6" fmla="*/ 18002 h 573310"/>
                  <a:gd name="connsiteX7" fmla="*/ 172498 w 2477548"/>
                  <a:gd name="connsiteY7" fmla="*/ 18002 h 573310"/>
                  <a:gd name="connsiteX8" fmla="*/ 172498 w 2477548"/>
                  <a:gd name="connsiteY8" fmla="*/ 24003 h 573310"/>
                  <a:gd name="connsiteX9" fmla="*/ 222980 w 2477548"/>
                  <a:gd name="connsiteY9" fmla="*/ 24003 h 573310"/>
                  <a:gd name="connsiteX10" fmla="*/ 222980 w 2477548"/>
                  <a:gd name="connsiteY10" fmla="*/ 30099 h 573310"/>
                  <a:gd name="connsiteX11" fmla="*/ 231362 w 2477548"/>
                  <a:gd name="connsiteY11" fmla="*/ 30099 h 573310"/>
                  <a:gd name="connsiteX12" fmla="*/ 231362 w 2477548"/>
                  <a:gd name="connsiteY12" fmla="*/ 42196 h 573310"/>
                  <a:gd name="connsiteX13" fmla="*/ 237649 w 2477548"/>
                  <a:gd name="connsiteY13" fmla="*/ 42196 h 573310"/>
                  <a:gd name="connsiteX14" fmla="*/ 237649 w 2477548"/>
                  <a:gd name="connsiteY14" fmla="*/ 48292 h 573310"/>
                  <a:gd name="connsiteX15" fmla="*/ 241840 w 2477548"/>
                  <a:gd name="connsiteY15" fmla="*/ 48292 h 573310"/>
                  <a:gd name="connsiteX16" fmla="*/ 241840 w 2477548"/>
                  <a:gd name="connsiteY16" fmla="*/ 54388 h 573310"/>
                  <a:gd name="connsiteX17" fmla="*/ 246031 w 2477548"/>
                  <a:gd name="connsiteY17" fmla="*/ 54388 h 573310"/>
                  <a:gd name="connsiteX18" fmla="*/ 246031 w 2477548"/>
                  <a:gd name="connsiteY18" fmla="*/ 60484 h 573310"/>
                  <a:gd name="connsiteX19" fmla="*/ 248126 w 2477548"/>
                  <a:gd name="connsiteY19" fmla="*/ 60484 h 573310"/>
                  <a:gd name="connsiteX20" fmla="*/ 248126 w 2477548"/>
                  <a:gd name="connsiteY20" fmla="*/ 66485 h 573310"/>
                  <a:gd name="connsiteX21" fmla="*/ 250317 w 2477548"/>
                  <a:gd name="connsiteY21" fmla="*/ 66485 h 573310"/>
                  <a:gd name="connsiteX22" fmla="*/ 250317 w 2477548"/>
                  <a:gd name="connsiteY22" fmla="*/ 72581 h 573310"/>
                  <a:gd name="connsiteX23" fmla="*/ 260794 w 2477548"/>
                  <a:gd name="connsiteY23" fmla="*/ 72581 h 573310"/>
                  <a:gd name="connsiteX24" fmla="*/ 260794 w 2477548"/>
                  <a:gd name="connsiteY24" fmla="*/ 78677 h 573310"/>
                  <a:gd name="connsiteX25" fmla="*/ 267081 w 2477548"/>
                  <a:gd name="connsiteY25" fmla="*/ 78677 h 573310"/>
                  <a:gd name="connsiteX26" fmla="*/ 267081 w 2477548"/>
                  <a:gd name="connsiteY26" fmla="*/ 84677 h 573310"/>
                  <a:gd name="connsiteX27" fmla="*/ 281845 w 2477548"/>
                  <a:gd name="connsiteY27" fmla="*/ 84677 h 573310"/>
                  <a:gd name="connsiteX28" fmla="*/ 281845 w 2477548"/>
                  <a:gd name="connsiteY28" fmla="*/ 90773 h 573310"/>
                  <a:gd name="connsiteX29" fmla="*/ 290227 w 2477548"/>
                  <a:gd name="connsiteY29" fmla="*/ 90773 h 573310"/>
                  <a:gd name="connsiteX30" fmla="*/ 290227 w 2477548"/>
                  <a:gd name="connsiteY30" fmla="*/ 96869 h 573310"/>
                  <a:gd name="connsiteX31" fmla="*/ 300800 w 2477548"/>
                  <a:gd name="connsiteY31" fmla="*/ 96869 h 573310"/>
                  <a:gd name="connsiteX32" fmla="*/ 300800 w 2477548"/>
                  <a:gd name="connsiteY32" fmla="*/ 102870 h 573310"/>
                  <a:gd name="connsiteX33" fmla="*/ 313373 w 2477548"/>
                  <a:gd name="connsiteY33" fmla="*/ 102870 h 573310"/>
                  <a:gd name="connsiteX34" fmla="*/ 313373 w 2477548"/>
                  <a:gd name="connsiteY34" fmla="*/ 108966 h 573310"/>
                  <a:gd name="connsiteX35" fmla="*/ 319659 w 2477548"/>
                  <a:gd name="connsiteY35" fmla="*/ 108966 h 573310"/>
                  <a:gd name="connsiteX36" fmla="*/ 319659 w 2477548"/>
                  <a:gd name="connsiteY36" fmla="*/ 121063 h 573310"/>
                  <a:gd name="connsiteX37" fmla="*/ 323850 w 2477548"/>
                  <a:gd name="connsiteY37" fmla="*/ 121063 h 573310"/>
                  <a:gd name="connsiteX38" fmla="*/ 323850 w 2477548"/>
                  <a:gd name="connsiteY38" fmla="*/ 127159 h 573310"/>
                  <a:gd name="connsiteX39" fmla="*/ 336518 w 2477548"/>
                  <a:gd name="connsiteY39" fmla="*/ 127159 h 573310"/>
                  <a:gd name="connsiteX40" fmla="*/ 336518 w 2477548"/>
                  <a:gd name="connsiteY40" fmla="*/ 133255 h 573310"/>
                  <a:gd name="connsiteX41" fmla="*/ 351187 w 2477548"/>
                  <a:gd name="connsiteY41" fmla="*/ 133255 h 573310"/>
                  <a:gd name="connsiteX42" fmla="*/ 351187 w 2477548"/>
                  <a:gd name="connsiteY42" fmla="*/ 139256 h 573310"/>
                  <a:gd name="connsiteX43" fmla="*/ 355473 w 2477548"/>
                  <a:gd name="connsiteY43" fmla="*/ 139256 h 573310"/>
                  <a:gd name="connsiteX44" fmla="*/ 355473 w 2477548"/>
                  <a:gd name="connsiteY44" fmla="*/ 145352 h 573310"/>
                  <a:gd name="connsiteX45" fmla="*/ 365950 w 2477548"/>
                  <a:gd name="connsiteY45" fmla="*/ 145352 h 573310"/>
                  <a:gd name="connsiteX46" fmla="*/ 365950 w 2477548"/>
                  <a:gd name="connsiteY46" fmla="*/ 151448 h 573310"/>
                  <a:gd name="connsiteX47" fmla="*/ 374333 w 2477548"/>
                  <a:gd name="connsiteY47" fmla="*/ 151448 h 573310"/>
                  <a:gd name="connsiteX48" fmla="*/ 374333 w 2477548"/>
                  <a:gd name="connsiteY48" fmla="*/ 157544 h 573310"/>
                  <a:gd name="connsiteX49" fmla="*/ 389096 w 2477548"/>
                  <a:gd name="connsiteY49" fmla="*/ 157544 h 573310"/>
                  <a:gd name="connsiteX50" fmla="*/ 389096 w 2477548"/>
                  <a:gd name="connsiteY50" fmla="*/ 163544 h 573310"/>
                  <a:gd name="connsiteX51" fmla="*/ 393287 w 2477548"/>
                  <a:gd name="connsiteY51" fmla="*/ 163544 h 573310"/>
                  <a:gd name="connsiteX52" fmla="*/ 393287 w 2477548"/>
                  <a:gd name="connsiteY52" fmla="*/ 169640 h 573310"/>
                  <a:gd name="connsiteX53" fmla="*/ 397478 w 2477548"/>
                  <a:gd name="connsiteY53" fmla="*/ 169640 h 573310"/>
                  <a:gd name="connsiteX54" fmla="*/ 397478 w 2477548"/>
                  <a:gd name="connsiteY54" fmla="*/ 175736 h 573310"/>
                  <a:gd name="connsiteX55" fmla="*/ 410147 w 2477548"/>
                  <a:gd name="connsiteY55" fmla="*/ 175736 h 573310"/>
                  <a:gd name="connsiteX56" fmla="*/ 410147 w 2477548"/>
                  <a:gd name="connsiteY56" fmla="*/ 181737 h 573310"/>
                  <a:gd name="connsiteX57" fmla="*/ 439579 w 2477548"/>
                  <a:gd name="connsiteY57" fmla="*/ 181737 h 573310"/>
                  <a:gd name="connsiteX58" fmla="*/ 439579 w 2477548"/>
                  <a:gd name="connsiteY58" fmla="*/ 187833 h 573310"/>
                  <a:gd name="connsiteX59" fmla="*/ 447961 w 2477548"/>
                  <a:gd name="connsiteY59" fmla="*/ 187833 h 573310"/>
                  <a:gd name="connsiteX60" fmla="*/ 447961 w 2477548"/>
                  <a:gd name="connsiteY60" fmla="*/ 193929 h 573310"/>
                  <a:gd name="connsiteX61" fmla="*/ 450056 w 2477548"/>
                  <a:gd name="connsiteY61" fmla="*/ 193929 h 573310"/>
                  <a:gd name="connsiteX62" fmla="*/ 450056 w 2477548"/>
                  <a:gd name="connsiteY62" fmla="*/ 199930 h 573310"/>
                  <a:gd name="connsiteX63" fmla="*/ 464820 w 2477548"/>
                  <a:gd name="connsiteY63" fmla="*/ 199930 h 573310"/>
                  <a:gd name="connsiteX64" fmla="*/ 464820 w 2477548"/>
                  <a:gd name="connsiteY64" fmla="*/ 212122 h 573310"/>
                  <a:gd name="connsiteX65" fmla="*/ 466916 w 2477548"/>
                  <a:gd name="connsiteY65" fmla="*/ 212122 h 573310"/>
                  <a:gd name="connsiteX66" fmla="*/ 466916 w 2477548"/>
                  <a:gd name="connsiteY66" fmla="*/ 218123 h 573310"/>
                  <a:gd name="connsiteX67" fmla="*/ 473202 w 2477548"/>
                  <a:gd name="connsiteY67" fmla="*/ 218123 h 573310"/>
                  <a:gd name="connsiteX68" fmla="*/ 473202 w 2477548"/>
                  <a:gd name="connsiteY68" fmla="*/ 224219 h 573310"/>
                  <a:gd name="connsiteX69" fmla="*/ 477393 w 2477548"/>
                  <a:gd name="connsiteY69" fmla="*/ 224219 h 573310"/>
                  <a:gd name="connsiteX70" fmla="*/ 477393 w 2477548"/>
                  <a:gd name="connsiteY70" fmla="*/ 230315 h 573310"/>
                  <a:gd name="connsiteX71" fmla="*/ 494252 w 2477548"/>
                  <a:gd name="connsiteY71" fmla="*/ 230315 h 573310"/>
                  <a:gd name="connsiteX72" fmla="*/ 494252 w 2477548"/>
                  <a:gd name="connsiteY72" fmla="*/ 242411 h 573310"/>
                  <a:gd name="connsiteX73" fmla="*/ 498443 w 2477548"/>
                  <a:gd name="connsiteY73" fmla="*/ 242411 h 573310"/>
                  <a:gd name="connsiteX74" fmla="*/ 498443 w 2477548"/>
                  <a:gd name="connsiteY74" fmla="*/ 248507 h 573310"/>
                  <a:gd name="connsiteX75" fmla="*/ 521589 w 2477548"/>
                  <a:gd name="connsiteY75" fmla="*/ 248507 h 573310"/>
                  <a:gd name="connsiteX76" fmla="*/ 521589 w 2477548"/>
                  <a:gd name="connsiteY76" fmla="*/ 254603 h 573310"/>
                  <a:gd name="connsiteX77" fmla="*/ 525780 w 2477548"/>
                  <a:gd name="connsiteY77" fmla="*/ 254603 h 573310"/>
                  <a:gd name="connsiteX78" fmla="*/ 525780 w 2477548"/>
                  <a:gd name="connsiteY78" fmla="*/ 260604 h 573310"/>
                  <a:gd name="connsiteX79" fmla="*/ 532067 w 2477548"/>
                  <a:gd name="connsiteY79" fmla="*/ 260604 h 573310"/>
                  <a:gd name="connsiteX80" fmla="*/ 532067 w 2477548"/>
                  <a:gd name="connsiteY80" fmla="*/ 272796 h 573310"/>
                  <a:gd name="connsiteX81" fmla="*/ 551021 w 2477548"/>
                  <a:gd name="connsiteY81" fmla="*/ 272796 h 573310"/>
                  <a:gd name="connsiteX82" fmla="*/ 551021 w 2477548"/>
                  <a:gd name="connsiteY82" fmla="*/ 278797 h 573310"/>
                  <a:gd name="connsiteX83" fmla="*/ 559403 w 2477548"/>
                  <a:gd name="connsiteY83" fmla="*/ 278797 h 573310"/>
                  <a:gd name="connsiteX84" fmla="*/ 559403 w 2477548"/>
                  <a:gd name="connsiteY84" fmla="*/ 284893 h 573310"/>
                  <a:gd name="connsiteX85" fmla="*/ 572072 w 2477548"/>
                  <a:gd name="connsiteY85" fmla="*/ 284893 h 573310"/>
                  <a:gd name="connsiteX86" fmla="*/ 572072 w 2477548"/>
                  <a:gd name="connsiteY86" fmla="*/ 290989 h 573310"/>
                  <a:gd name="connsiteX87" fmla="*/ 588931 w 2477548"/>
                  <a:gd name="connsiteY87" fmla="*/ 290989 h 573310"/>
                  <a:gd name="connsiteX88" fmla="*/ 588931 w 2477548"/>
                  <a:gd name="connsiteY88" fmla="*/ 296990 h 573310"/>
                  <a:gd name="connsiteX89" fmla="*/ 616268 w 2477548"/>
                  <a:gd name="connsiteY89" fmla="*/ 296990 h 573310"/>
                  <a:gd name="connsiteX90" fmla="*/ 616268 w 2477548"/>
                  <a:gd name="connsiteY90" fmla="*/ 303086 h 573310"/>
                  <a:gd name="connsiteX91" fmla="*/ 618363 w 2477548"/>
                  <a:gd name="connsiteY91" fmla="*/ 303086 h 573310"/>
                  <a:gd name="connsiteX92" fmla="*/ 618363 w 2477548"/>
                  <a:gd name="connsiteY92" fmla="*/ 309182 h 573310"/>
                  <a:gd name="connsiteX93" fmla="*/ 628840 w 2477548"/>
                  <a:gd name="connsiteY93" fmla="*/ 309182 h 573310"/>
                  <a:gd name="connsiteX94" fmla="*/ 628840 w 2477548"/>
                  <a:gd name="connsiteY94" fmla="*/ 315182 h 573310"/>
                  <a:gd name="connsiteX95" fmla="*/ 635127 w 2477548"/>
                  <a:gd name="connsiteY95" fmla="*/ 315182 h 573310"/>
                  <a:gd name="connsiteX96" fmla="*/ 635127 w 2477548"/>
                  <a:gd name="connsiteY96" fmla="*/ 327374 h 573310"/>
                  <a:gd name="connsiteX97" fmla="*/ 643604 w 2477548"/>
                  <a:gd name="connsiteY97" fmla="*/ 327374 h 573310"/>
                  <a:gd name="connsiteX98" fmla="*/ 643604 w 2477548"/>
                  <a:gd name="connsiteY98" fmla="*/ 333375 h 573310"/>
                  <a:gd name="connsiteX99" fmla="*/ 649891 w 2477548"/>
                  <a:gd name="connsiteY99" fmla="*/ 333375 h 573310"/>
                  <a:gd name="connsiteX100" fmla="*/ 649891 w 2477548"/>
                  <a:gd name="connsiteY100" fmla="*/ 345567 h 573310"/>
                  <a:gd name="connsiteX101" fmla="*/ 651986 w 2477548"/>
                  <a:gd name="connsiteY101" fmla="*/ 345567 h 573310"/>
                  <a:gd name="connsiteX102" fmla="*/ 651986 w 2477548"/>
                  <a:gd name="connsiteY102" fmla="*/ 351663 h 573310"/>
                  <a:gd name="connsiteX103" fmla="*/ 664559 w 2477548"/>
                  <a:gd name="connsiteY103" fmla="*/ 351663 h 573310"/>
                  <a:gd name="connsiteX104" fmla="*/ 664559 w 2477548"/>
                  <a:gd name="connsiteY104" fmla="*/ 357664 h 573310"/>
                  <a:gd name="connsiteX105" fmla="*/ 687705 w 2477548"/>
                  <a:gd name="connsiteY105" fmla="*/ 357664 h 573310"/>
                  <a:gd name="connsiteX106" fmla="*/ 687705 w 2477548"/>
                  <a:gd name="connsiteY106" fmla="*/ 363760 h 573310"/>
                  <a:gd name="connsiteX107" fmla="*/ 694087 w 2477548"/>
                  <a:gd name="connsiteY107" fmla="*/ 363760 h 573310"/>
                  <a:gd name="connsiteX108" fmla="*/ 694087 w 2477548"/>
                  <a:gd name="connsiteY108" fmla="*/ 369856 h 573310"/>
                  <a:gd name="connsiteX109" fmla="*/ 702469 w 2477548"/>
                  <a:gd name="connsiteY109" fmla="*/ 369856 h 573310"/>
                  <a:gd name="connsiteX110" fmla="*/ 702469 w 2477548"/>
                  <a:gd name="connsiteY110" fmla="*/ 375857 h 573310"/>
                  <a:gd name="connsiteX111" fmla="*/ 710851 w 2477548"/>
                  <a:gd name="connsiteY111" fmla="*/ 375857 h 573310"/>
                  <a:gd name="connsiteX112" fmla="*/ 710851 w 2477548"/>
                  <a:gd name="connsiteY112" fmla="*/ 381953 h 573310"/>
                  <a:gd name="connsiteX113" fmla="*/ 715042 w 2477548"/>
                  <a:gd name="connsiteY113" fmla="*/ 381953 h 573310"/>
                  <a:gd name="connsiteX114" fmla="*/ 715042 w 2477548"/>
                  <a:gd name="connsiteY114" fmla="*/ 388049 h 573310"/>
                  <a:gd name="connsiteX115" fmla="*/ 788670 w 2477548"/>
                  <a:gd name="connsiteY115" fmla="*/ 388049 h 573310"/>
                  <a:gd name="connsiteX116" fmla="*/ 788670 w 2477548"/>
                  <a:gd name="connsiteY116" fmla="*/ 394049 h 573310"/>
                  <a:gd name="connsiteX117" fmla="*/ 809720 w 2477548"/>
                  <a:gd name="connsiteY117" fmla="*/ 394049 h 573310"/>
                  <a:gd name="connsiteX118" fmla="*/ 809720 w 2477548"/>
                  <a:gd name="connsiteY118" fmla="*/ 400145 h 573310"/>
                  <a:gd name="connsiteX119" fmla="*/ 816007 w 2477548"/>
                  <a:gd name="connsiteY119" fmla="*/ 400145 h 573310"/>
                  <a:gd name="connsiteX120" fmla="*/ 816007 w 2477548"/>
                  <a:gd name="connsiteY120" fmla="*/ 406241 h 573310"/>
                  <a:gd name="connsiteX121" fmla="*/ 858107 w 2477548"/>
                  <a:gd name="connsiteY121" fmla="*/ 406241 h 573310"/>
                  <a:gd name="connsiteX122" fmla="*/ 858107 w 2477548"/>
                  <a:gd name="connsiteY122" fmla="*/ 412242 h 573310"/>
                  <a:gd name="connsiteX123" fmla="*/ 872776 w 2477548"/>
                  <a:gd name="connsiteY123" fmla="*/ 412242 h 573310"/>
                  <a:gd name="connsiteX124" fmla="*/ 872776 w 2477548"/>
                  <a:gd name="connsiteY124" fmla="*/ 418338 h 573310"/>
                  <a:gd name="connsiteX125" fmla="*/ 902303 w 2477548"/>
                  <a:gd name="connsiteY125" fmla="*/ 418338 h 573310"/>
                  <a:gd name="connsiteX126" fmla="*/ 902303 w 2477548"/>
                  <a:gd name="connsiteY126" fmla="*/ 424434 h 573310"/>
                  <a:gd name="connsiteX127" fmla="*/ 904399 w 2477548"/>
                  <a:gd name="connsiteY127" fmla="*/ 424434 h 573310"/>
                  <a:gd name="connsiteX128" fmla="*/ 904399 w 2477548"/>
                  <a:gd name="connsiteY128" fmla="*/ 430435 h 573310"/>
                  <a:gd name="connsiteX129" fmla="*/ 927449 w 2477548"/>
                  <a:gd name="connsiteY129" fmla="*/ 430435 h 573310"/>
                  <a:gd name="connsiteX130" fmla="*/ 927449 w 2477548"/>
                  <a:gd name="connsiteY130" fmla="*/ 436531 h 573310"/>
                  <a:gd name="connsiteX131" fmla="*/ 940118 w 2477548"/>
                  <a:gd name="connsiteY131" fmla="*/ 436531 h 573310"/>
                  <a:gd name="connsiteX132" fmla="*/ 940118 w 2477548"/>
                  <a:gd name="connsiteY132" fmla="*/ 442627 h 573310"/>
                  <a:gd name="connsiteX133" fmla="*/ 975836 w 2477548"/>
                  <a:gd name="connsiteY133" fmla="*/ 442627 h 573310"/>
                  <a:gd name="connsiteX134" fmla="*/ 975836 w 2477548"/>
                  <a:gd name="connsiteY134" fmla="*/ 448723 h 573310"/>
                  <a:gd name="connsiteX135" fmla="*/ 1091565 w 2477548"/>
                  <a:gd name="connsiteY135" fmla="*/ 448723 h 573310"/>
                  <a:gd name="connsiteX136" fmla="*/ 1091565 w 2477548"/>
                  <a:gd name="connsiteY136" fmla="*/ 454724 h 573310"/>
                  <a:gd name="connsiteX137" fmla="*/ 1129379 w 2477548"/>
                  <a:gd name="connsiteY137" fmla="*/ 454724 h 573310"/>
                  <a:gd name="connsiteX138" fmla="*/ 1129379 w 2477548"/>
                  <a:gd name="connsiteY138" fmla="*/ 460915 h 573310"/>
                  <a:gd name="connsiteX139" fmla="*/ 1181957 w 2477548"/>
                  <a:gd name="connsiteY139" fmla="*/ 460915 h 573310"/>
                  <a:gd name="connsiteX140" fmla="*/ 1181957 w 2477548"/>
                  <a:gd name="connsiteY140" fmla="*/ 467011 h 573310"/>
                  <a:gd name="connsiteX141" fmla="*/ 1200912 w 2477548"/>
                  <a:gd name="connsiteY141" fmla="*/ 467011 h 573310"/>
                  <a:gd name="connsiteX142" fmla="*/ 1200912 w 2477548"/>
                  <a:gd name="connsiteY142" fmla="*/ 473107 h 573310"/>
                  <a:gd name="connsiteX143" fmla="*/ 1211390 w 2477548"/>
                  <a:gd name="connsiteY143" fmla="*/ 473107 h 573310"/>
                  <a:gd name="connsiteX144" fmla="*/ 1211390 w 2477548"/>
                  <a:gd name="connsiteY144" fmla="*/ 479298 h 573310"/>
                  <a:gd name="connsiteX145" fmla="*/ 1245108 w 2477548"/>
                  <a:gd name="connsiteY145" fmla="*/ 479298 h 573310"/>
                  <a:gd name="connsiteX146" fmla="*/ 1245108 w 2477548"/>
                  <a:gd name="connsiteY146" fmla="*/ 485394 h 573310"/>
                  <a:gd name="connsiteX147" fmla="*/ 1251395 w 2477548"/>
                  <a:gd name="connsiteY147" fmla="*/ 485394 h 573310"/>
                  <a:gd name="connsiteX148" fmla="*/ 1251395 w 2477548"/>
                  <a:gd name="connsiteY148" fmla="*/ 491490 h 573310"/>
                  <a:gd name="connsiteX149" fmla="*/ 1266063 w 2477548"/>
                  <a:gd name="connsiteY149" fmla="*/ 491490 h 573310"/>
                  <a:gd name="connsiteX150" fmla="*/ 1266063 w 2477548"/>
                  <a:gd name="connsiteY150" fmla="*/ 497586 h 573310"/>
                  <a:gd name="connsiteX151" fmla="*/ 1278731 w 2477548"/>
                  <a:gd name="connsiteY151" fmla="*/ 497586 h 573310"/>
                  <a:gd name="connsiteX152" fmla="*/ 1278731 w 2477548"/>
                  <a:gd name="connsiteY152" fmla="*/ 503777 h 573310"/>
                  <a:gd name="connsiteX153" fmla="*/ 1303973 w 2477548"/>
                  <a:gd name="connsiteY153" fmla="*/ 503777 h 573310"/>
                  <a:gd name="connsiteX154" fmla="*/ 1303973 w 2477548"/>
                  <a:gd name="connsiteY154" fmla="*/ 509873 h 573310"/>
                  <a:gd name="connsiteX155" fmla="*/ 1533239 w 2477548"/>
                  <a:gd name="connsiteY155" fmla="*/ 509873 h 573310"/>
                  <a:gd name="connsiteX156" fmla="*/ 1533239 w 2477548"/>
                  <a:gd name="connsiteY156" fmla="*/ 516065 h 573310"/>
                  <a:gd name="connsiteX157" fmla="*/ 1646777 w 2477548"/>
                  <a:gd name="connsiteY157" fmla="*/ 516065 h 573310"/>
                  <a:gd name="connsiteX158" fmla="*/ 1646777 w 2477548"/>
                  <a:gd name="connsiteY158" fmla="*/ 522256 h 573310"/>
                  <a:gd name="connsiteX159" fmla="*/ 1915954 w 2477548"/>
                  <a:gd name="connsiteY159" fmla="*/ 522256 h 573310"/>
                  <a:gd name="connsiteX160" fmla="*/ 1915954 w 2477548"/>
                  <a:gd name="connsiteY160" fmla="*/ 528542 h 573310"/>
                  <a:gd name="connsiteX161" fmla="*/ 1989582 w 2477548"/>
                  <a:gd name="connsiteY161" fmla="*/ 528542 h 573310"/>
                  <a:gd name="connsiteX162" fmla="*/ 1989582 w 2477548"/>
                  <a:gd name="connsiteY162" fmla="*/ 534829 h 573310"/>
                  <a:gd name="connsiteX163" fmla="*/ 2069497 w 2477548"/>
                  <a:gd name="connsiteY163" fmla="*/ 534829 h 573310"/>
                  <a:gd name="connsiteX164" fmla="*/ 2069497 w 2477548"/>
                  <a:gd name="connsiteY164" fmla="*/ 541115 h 573310"/>
                  <a:gd name="connsiteX165" fmla="*/ 2231422 w 2477548"/>
                  <a:gd name="connsiteY165" fmla="*/ 541115 h 573310"/>
                  <a:gd name="connsiteX166" fmla="*/ 2231422 w 2477548"/>
                  <a:gd name="connsiteY166" fmla="*/ 547592 h 573310"/>
                  <a:gd name="connsiteX167" fmla="*/ 2248281 w 2477548"/>
                  <a:gd name="connsiteY167" fmla="*/ 547592 h 573310"/>
                  <a:gd name="connsiteX168" fmla="*/ 2248281 w 2477548"/>
                  <a:gd name="connsiteY168" fmla="*/ 553974 h 573310"/>
                  <a:gd name="connsiteX169" fmla="*/ 2366105 w 2477548"/>
                  <a:gd name="connsiteY169" fmla="*/ 553974 h 573310"/>
                  <a:gd name="connsiteX170" fmla="*/ 2366105 w 2477548"/>
                  <a:gd name="connsiteY170" fmla="*/ 560451 h 573310"/>
                  <a:gd name="connsiteX171" fmla="*/ 2458593 w 2477548"/>
                  <a:gd name="connsiteY171" fmla="*/ 560451 h 573310"/>
                  <a:gd name="connsiteX172" fmla="*/ 2458593 w 2477548"/>
                  <a:gd name="connsiteY172" fmla="*/ 566833 h 573310"/>
                  <a:gd name="connsiteX173" fmla="*/ 2477548 w 2477548"/>
                  <a:gd name="connsiteY173" fmla="*/ 566833 h 573310"/>
                  <a:gd name="connsiteX174" fmla="*/ 2477548 w 2477548"/>
                  <a:gd name="connsiteY174" fmla="*/ 573310 h 573310"/>
                  <a:gd name="connsiteX0" fmla="*/ 0 w 2477548"/>
                  <a:gd name="connsiteY0" fmla="*/ 0 h 566833"/>
                  <a:gd name="connsiteX1" fmla="*/ 113538 w 2477548"/>
                  <a:gd name="connsiteY1" fmla="*/ 0 h 566833"/>
                  <a:gd name="connsiteX2" fmla="*/ 113538 w 2477548"/>
                  <a:gd name="connsiteY2" fmla="*/ 5906 h 566833"/>
                  <a:gd name="connsiteX3" fmla="*/ 153543 w 2477548"/>
                  <a:gd name="connsiteY3" fmla="*/ 5906 h 566833"/>
                  <a:gd name="connsiteX4" fmla="*/ 153543 w 2477548"/>
                  <a:gd name="connsiteY4" fmla="*/ 12002 h 566833"/>
                  <a:gd name="connsiteX5" fmla="*/ 161925 w 2477548"/>
                  <a:gd name="connsiteY5" fmla="*/ 12002 h 566833"/>
                  <a:gd name="connsiteX6" fmla="*/ 161925 w 2477548"/>
                  <a:gd name="connsiteY6" fmla="*/ 18002 h 566833"/>
                  <a:gd name="connsiteX7" fmla="*/ 172498 w 2477548"/>
                  <a:gd name="connsiteY7" fmla="*/ 18002 h 566833"/>
                  <a:gd name="connsiteX8" fmla="*/ 172498 w 2477548"/>
                  <a:gd name="connsiteY8" fmla="*/ 24003 h 566833"/>
                  <a:gd name="connsiteX9" fmla="*/ 222980 w 2477548"/>
                  <a:gd name="connsiteY9" fmla="*/ 24003 h 566833"/>
                  <a:gd name="connsiteX10" fmla="*/ 222980 w 2477548"/>
                  <a:gd name="connsiteY10" fmla="*/ 30099 h 566833"/>
                  <a:gd name="connsiteX11" fmla="*/ 231362 w 2477548"/>
                  <a:gd name="connsiteY11" fmla="*/ 30099 h 566833"/>
                  <a:gd name="connsiteX12" fmla="*/ 231362 w 2477548"/>
                  <a:gd name="connsiteY12" fmla="*/ 42196 h 566833"/>
                  <a:gd name="connsiteX13" fmla="*/ 237649 w 2477548"/>
                  <a:gd name="connsiteY13" fmla="*/ 42196 h 566833"/>
                  <a:gd name="connsiteX14" fmla="*/ 237649 w 2477548"/>
                  <a:gd name="connsiteY14" fmla="*/ 48292 h 566833"/>
                  <a:gd name="connsiteX15" fmla="*/ 241840 w 2477548"/>
                  <a:gd name="connsiteY15" fmla="*/ 48292 h 566833"/>
                  <a:gd name="connsiteX16" fmla="*/ 241840 w 2477548"/>
                  <a:gd name="connsiteY16" fmla="*/ 54388 h 566833"/>
                  <a:gd name="connsiteX17" fmla="*/ 246031 w 2477548"/>
                  <a:gd name="connsiteY17" fmla="*/ 54388 h 566833"/>
                  <a:gd name="connsiteX18" fmla="*/ 246031 w 2477548"/>
                  <a:gd name="connsiteY18" fmla="*/ 60484 h 566833"/>
                  <a:gd name="connsiteX19" fmla="*/ 248126 w 2477548"/>
                  <a:gd name="connsiteY19" fmla="*/ 60484 h 566833"/>
                  <a:gd name="connsiteX20" fmla="*/ 248126 w 2477548"/>
                  <a:gd name="connsiteY20" fmla="*/ 66485 h 566833"/>
                  <a:gd name="connsiteX21" fmla="*/ 250317 w 2477548"/>
                  <a:gd name="connsiteY21" fmla="*/ 66485 h 566833"/>
                  <a:gd name="connsiteX22" fmla="*/ 250317 w 2477548"/>
                  <a:gd name="connsiteY22" fmla="*/ 72581 h 566833"/>
                  <a:gd name="connsiteX23" fmla="*/ 260794 w 2477548"/>
                  <a:gd name="connsiteY23" fmla="*/ 72581 h 566833"/>
                  <a:gd name="connsiteX24" fmla="*/ 260794 w 2477548"/>
                  <a:gd name="connsiteY24" fmla="*/ 78677 h 566833"/>
                  <a:gd name="connsiteX25" fmla="*/ 267081 w 2477548"/>
                  <a:gd name="connsiteY25" fmla="*/ 78677 h 566833"/>
                  <a:gd name="connsiteX26" fmla="*/ 267081 w 2477548"/>
                  <a:gd name="connsiteY26" fmla="*/ 84677 h 566833"/>
                  <a:gd name="connsiteX27" fmla="*/ 281845 w 2477548"/>
                  <a:gd name="connsiteY27" fmla="*/ 84677 h 566833"/>
                  <a:gd name="connsiteX28" fmla="*/ 281845 w 2477548"/>
                  <a:gd name="connsiteY28" fmla="*/ 90773 h 566833"/>
                  <a:gd name="connsiteX29" fmla="*/ 290227 w 2477548"/>
                  <a:gd name="connsiteY29" fmla="*/ 90773 h 566833"/>
                  <a:gd name="connsiteX30" fmla="*/ 290227 w 2477548"/>
                  <a:gd name="connsiteY30" fmla="*/ 96869 h 566833"/>
                  <a:gd name="connsiteX31" fmla="*/ 300800 w 2477548"/>
                  <a:gd name="connsiteY31" fmla="*/ 96869 h 566833"/>
                  <a:gd name="connsiteX32" fmla="*/ 300800 w 2477548"/>
                  <a:gd name="connsiteY32" fmla="*/ 102870 h 566833"/>
                  <a:gd name="connsiteX33" fmla="*/ 313373 w 2477548"/>
                  <a:gd name="connsiteY33" fmla="*/ 102870 h 566833"/>
                  <a:gd name="connsiteX34" fmla="*/ 313373 w 2477548"/>
                  <a:gd name="connsiteY34" fmla="*/ 108966 h 566833"/>
                  <a:gd name="connsiteX35" fmla="*/ 319659 w 2477548"/>
                  <a:gd name="connsiteY35" fmla="*/ 108966 h 566833"/>
                  <a:gd name="connsiteX36" fmla="*/ 319659 w 2477548"/>
                  <a:gd name="connsiteY36" fmla="*/ 121063 h 566833"/>
                  <a:gd name="connsiteX37" fmla="*/ 323850 w 2477548"/>
                  <a:gd name="connsiteY37" fmla="*/ 121063 h 566833"/>
                  <a:gd name="connsiteX38" fmla="*/ 323850 w 2477548"/>
                  <a:gd name="connsiteY38" fmla="*/ 127159 h 566833"/>
                  <a:gd name="connsiteX39" fmla="*/ 336518 w 2477548"/>
                  <a:gd name="connsiteY39" fmla="*/ 127159 h 566833"/>
                  <a:gd name="connsiteX40" fmla="*/ 336518 w 2477548"/>
                  <a:gd name="connsiteY40" fmla="*/ 133255 h 566833"/>
                  <a:gd name="connsiteX41" fmla="*/ 351187 w 2477548"/>
                  <a:gd name="connsiteY41" fmla="*/ 133255 h 566833"/>
                  <a:gd name="connsiteX42" fmla="*/ 351187 w 2477548"/>
                  <a:gd name="connsiteY42" fmla="*/ 139256 h 566833"/>
                  <a:gd name="connsiteX43" fmla="*/ 355473 w 2477548"/>
                  <a:gd name="connsiteY43" fmla="*/ 139256 h 566833"/>
                  <a:gd name="connsiteX44" fmla="*/ 355473 w 2477548"/>
                  <a:gd name="connsiteY44" fmla="*/ 145352 h 566833"/>
                  <a:gd name="connsiteX45" fmla="*/ 365950 w 2477548"/>
                  <a:gd name="connsiteY45" fmla="*/ 145352 h 566833"/>
                  <a:gd name="connsiteX46" fmla="*/ 365950 w 2477548"/>
                  <a:gd name="connsiteY46" fmla="*/ 151448 h 566833"/>
                  <a:gd name="connsiteX47" fmla="*/ 374333 w 2477548"/>
                  <a:gd name="connsiteY47" fmla="*/ 151448 h 566833"/>
                  <a:gd name="connsiteX48" fmla="*/ 374333 w 2477548"/>
                  <a:gd name="connsiteY48" fmla="*/ 157544 h 566833"/>
                  <a:gd name="connsiteX49" fmla="*/ 389096 w 2477548"/>
                  <a:gd name="connsiteY49" fmla="*/ 157544 h 566833"/>
                  <a:gd name="connsiteX50" fmla="*/ 389096 w 2477548"/>
                  <a:gd name="connsiteY50" fmla="*/ 163544 h 566833"/>
                  <a:gd name="connsiteX51" fmla="*/ 393287 w 2477548"/>
                  <a:gd name="connsiteY51" fmla="*/ 163544 h 566833"/>
                  <a:gd name="connsiteX52" fmla="*/ 393287 w 2477548"/>
                  <a:gd name="connsiteY52" fmla="*/ 169640 h 566833"/>
                  <a:gd name="connsiteX53" fmla="*/ 397478 w 2477548"/>
                  <a:gd name="connsiteY53" fmla="*/ 169640 h 566833"/>
                  <a:gd name="connsiteX54" fmla="*/ 397478 w 2477548"/>
                  <a:gd name="connsiteY54" fmla="*/ 175736 h 566833"/>
                  <a:gd name="connsiteX55" fmla="*/ 410147 w 2477548"/>
                  <a:gd name="connsiteY55" fmla="*/ 175736 h 566833"/>
                  <a:gd name="connsiteX56" fmla="*/ 410147 w 2477548"/>
                  <a:gd name="connsiteY56" fmla="*/ 181737 h 566833"/>
                  <a:gd name="connsiteX57" fmla="*/ 439579 w 2477548"/>
                  <a:gd name="connsiteY57" fmla="*/ 181737 h 566833"/>
                  <a:gd name="connsiteX58" fmla="*/ 439579 w 2477548"/>
                  <a:gd name="connsiteY58" fmla="*/ 187833 h 566833"/>
                  <a:gd name="connsiteX59" fmla="*/ 447961 w 2477548"/>
                  <a:gd name="connsiteY59" fmla="*/ 187833 h 566833"/>
                  <a:gd name="connsiteX60" fmla="*/ 447961 w 2477548"/>
                  <a:gd name="connsiteY60" fmla="*/ 193929 h 566833"/>
                  <a:gd name="connsiteX61" fmla="*/ 450056 w 2477548"/>
                  <a:gd name="connsiteY61" fmla="*/ 193929 h 566833"/>
                  <a:gd name="connsiteX62" fmla="*/ 450056 w 2477548"/>
                  <a:gd name="connsiteY62" fmla="*/ 199930 h 566833"/>
                  <a:gd name="connsiteX63" fmla="*/ 464820 w 2477548"/>
                  <a:gd name="connsiteY63" fmla="*/ 199930 h 566833"/>
                  <a:gd name="connsiteX64" fmla="*/ 464820 w 2477548"/>
                  <a:gd name="connsiteY64" fmla="*/ 212122 h 566833"/>
                  <a:gd name="connsiteX65" fmla="*/ 466916 w 2477548"/>
                  <a:gd name="connsiteY65" fmla="*/ 212122 h 566833"/>
                  <a:gd name="connsiteX66" fmla="*/ 466916 w 2477548"/>
                  <a:gd name="connsiteY66" fmla="*/ 218123 h 566833"/>
                  <a:gd name="connsiteX67" fmla="*/ 473202 w 2477548"/>
                  <a:gd name="connsiteY67" fmla="*/ 218123 h 566833"/>
                  <a:gd name="connsiteX68" fmla="*/ 473202 w 2477548"/>
                  <a:gd name="connsiteY68" fmla="*/ 224219 h 566833"/>
                  <a:gd name="connsiteX69" fmla="*/ 477393 w 2477548"/>
                  <a:gd name="connsiteY69" fmla="*/ 224219 h 566833"/>
                  <a:gd name="connsiteX70" fmla="*/ 477393 w 2477548"/>
                  <a:gd name="connsiteY70" fmla="*/ 230315 h 566833"/>
                  <a:gd name="connsiteX71" fmla="*/ 494252 w 2477548"/>
                  <a:gd name="connsiteY71" fmla="*/ 230315 h 566833"/>
                  <a:gd name="connsiteX72" fmla="*/ 494252 w 2477548"/>
                  <a:gd name="connsiteY72" fmla="*/ 242411 h 566833"/>
                  <a:gd name="connsiteX73" fmla="*/ 498443 w 2477548"/>
                  <a:gd name="connsiteY73" fmla="*/ 242411 h 566833"/>
                  <a:gd name="connsiteX74" fmla="*/ 498443 w 2477548"/>
                  <a:gd name="connsiteY74" fmla="*/ 248507 h 566833"/>
                  <a:gd name="connsiteX75" fmla="*/ 521589 w 2477548"/>
                  <a:gd name="connsiteY75" fmla="*/ 248507 h 566833"/>
                  <a:gd name="connsiteX76" fmla="*/ 521589 w 2477548"/>
                  <a:gd name="connsiteY76" fmla="*/ 254603 h 566833"/>
                  <a:gd name="connsiteX77" fmla="*/ 525780 w 2477548"/>
                  <a:gd name="connsiteY77" fmla="*/ 254603 h 566833"/>
                  <a:gd name="connsiteX78" fmla="*/ 525780 w 2477548"/>
                  <a:gd name="connsiteY78" fmla="*/ 260604 h 566833"/>
                  <a:gd name="connsiteX79" fmla="*/ 532067 w 2477548"/>
                  <a:gd name="connsiteY79" fmla="*/ 260604 h 566833"/>
                  <a:gd name="connsiteX80" fmla="*/ 532067 w 2477548"/>
                  <a:gd name="connsiteY80" fmla="*/ 272796 h 566833"/>
                  <a:gd name="connsiteX81" fmla="*/ 551021 w 2477548"/>
                  <a:gd name="connsiteY81" fmla="*/ 272796 h 566833"/>
                  <a:gd name="connsiteX82" fmla="*/ 551021 w 2477548"/>
                  <a:gd name="connsiteY82" fmla="*/ 278797 h 566833"/>
                  <a:gd name="connsiteX83" fmla="*/ 559403 w 2477548"/>
                  <a:gd name="connsiteY83" fmla="*/ 278797 h 566833"/>
                  <a:gd name="connsiteX84" fmla="*/ 559403 w 2477548"/>
                  <a:gd name="connsiteY84" fmla="*/ 284893 h 566833"/>
                  <a:gd name="connsiteX85" fmla="*/ 572072 w 2477548"/>
                  <a:gd name="connsiteY85" fmla="*/ 284893 h 566833"/>
                  <a:gd name="connsiteX86" fmla="*/ 572072 w 2477548"/>
                  <a:gd name="connsiteY86" fmla="*/ 290989 h 566833"/>
                  <a:gd name="connsiteX87" fmla="*/ 588931 w 2477548"/>
                  <a:gd name="connsiteY87" fmla="*/ 290989 h 566833"/>
                  <a:gd name="connsiteX88" fmla="*/ 588931 w 2477548"/>
                  <a:gd name="connsiteY88" fmla="*/ 296990 h 566833"/>
                  <a:gd name="connsiteX89" fmla="*/ 616268 w 2477548"/>
                  <a:gd name="connsiteY89" fmla="*/ 296990 h 566833"/>
                  <a:gd name="connsiteX90" fmla="*/ 616268 w 2477548"/>
                  <a:gd name="connsiteY90" fmla="*/ 303086 h 566833"/>
                  <a:gd name="connsiteX91" fmla="*/ 618363 w 2477548"/>
                  <a:gd name="connsiteY91" fmla="*/ 303086 h 566833"/>
                  <a:gd name="connsiteX92" fmla="*/ 618363 w 2477548"/>
                  <a:gd name="connsiteY92" fmla="*/ 309182 h 566833"/>
                  <a:gd name="connsiteX93" fmla="*/ 628840 w 2477548"/>
                  <a:gd name="connsiteY93" fmla="*/ 309182 h 566833"/>
                  <a:gd name="connsiteX94" fmla="*/ 628840 w 2477548"/>
                  <a:gd name="connsiteY94" fmla="*/ 315182 h 566833"/>
                  <a:gd name="connsiteX95" fmla="*/ 635127 w 2477548"/>
                  <a:gd name="connsiteY95" fmla="*/ 315182 h 566833"/>
                  <a:gd name="connsiteX96" fmla="*/ 635127 w 2477548"/>
                  <a:gd name="connsiteY96" fmla="*/ 327374 h 566833"/>
                  <a:gd name="connsiteX97" fmla="*/ 643604 w 2477548"/>
                  <a:gd name="connsiteY97" fmla="*/ 327374 h 566833"/>
                  <a:gd name="connsiteX98" fmla="*/ 643604 w 2477548"/>
                  <a:gd name="connsiteY98" fmla="*/ 333375 h 566833"/>
                  <a:gd name="connsiteX99" fmla="*/ 649891 w 2477548"/>
                  <a:gd name="connsiteY99" fmla="*/ 333375 h 566833"/>
                  <a:gd name="connsiteX100" fmla="*/ 649891 w 2477548"/>
                  <a:gd name="connsiteY100" fmla="*/ 345567 h 566833"/>
                  <a:gd name="connsiteX101" fmla="*/ 651986 w 2477548"/>
                  <a:gd name="connsiteY101" fmla="*/ 345567 h 566833"/>
                  <a:gd name="connsiteX102" fmla="*/ 651986 w 2477548"/>
                  <a:gd name="connsiteY102" fmla="*/ 351663 h 566833"/>
                  <a:gd name="connsiteX103" fmla="*/ 664559 w 2477548"/>
                  <a:gd name="connsiteY103" fmla="*/ 351663 h 566833"/>
                  <a:gd name="connsiteX104" fmla="*/ 664559 w 2477548"/>
                  <a:gd name="connsiteY104" fmla="*/ 357664 h 566833"/>
                  <a:gd name="connsiteX105" fmla="*/ 687705 w 2477548"/>
                  <a:gd name="connsiteY105" fmla="*/ 357664 h 566833"/>
                  <a:gd name="connsiteX106" fmla="*/ 687705 w 2477548"/>
                  <a:gd name="connsiteY106" fmla="*/ 363760 h 566833"/>
                  <a:gd name="connsiteX107" fmla="*/ 694087 w 2477548"/>
                  <a:gd name="connsiteY107" fmla="*/ 363760 h 566833"/>
                  <a:gd name="connsiteX108" fmla="*/ 694087 w 2477548"/>
                  <a:gd name="connsiteY108" fmla="*/ 369856 h 566833"/>
                  <a:gd name="connsiteX109" fmla="*/ 702469 w 2477548"/>
                  <a:gd name="connsiteY109" fmla="*/ 369856 h 566833"/>
                  <a:gd name="connsiteX110" fmla="*/ 702469 w 2477548"/>
                  <a:gd name="connsiteY110" fmla="*/ 375857 h 566833"/>
                  <a:gd name="connsiteX111" fmla="*/ 710851 w 2477548"/>
                  <a:gd name="connsiteY111" fmla="*/ 375857 h 566833"/>
                  <a:gd name="connsiteX112" fmla="*/ 710851 w 2477548"/>
                  <a:gd name="connsiteY112" fmla="*/ 381953 h 566833"/>
                  <a:gd name="connsiteX113" fmla="*/ 715042 w 2477548"/>
                  <a:gd name="connsiteY113" fmla="*/ 381953 h 566833"/>
                  <a:gd name="connsiteX114" fmla="*/ 715042 w 2477548"/>
                  <a:gd name="connsiteY114" fmla="*/ 388049 h 566833"/>
                  <a:gd name="connsiteX115" fmla="*/ 788670 w 2477548"/>
                  <a:gd name="connsiteY115" fmla="*/ 388049 h 566833"/>
                  <a:gd name="connsiteX116" fmla="*/ 788670 w 2477548"/>
                  <a:gd name="connsiteY116" fmla="*/ 394049 h 566833"/>
                  <a:gd name="connsiteX117" fmla="*/ 809720 w 2477548"/>
                  <a:gd name="connsiteY117" fmla="*/ 394049 h 566833"/>
                  <a:gd name="connsiteX118" fmla="*/ 809720 w 2477548"/>
                  <a:gd name="connsiteY118" fmla="*/ 400145 h 566833"/>
                  <a:gd name="connsiteX119" fmla="*/ 816007 w 2477548"/>
                  <a:gd name="connsiteY119" fmla="*/ 400145 h 566833"/>
                  <a:gd name="connsiteX120" fmla="*/ 816007 w 2477548"/>
                  <a:gd name="connsiteY120" fmla="*/ 406241 h 566833"/>
                  <a:gd name="connsiteX121" fmla="*/ 858107 w 2477548"/>
                  <a:gd name="connsiteY121" fmla="*/ 406241 h 566833"/>
                  <a:gd name="connsiteX122" fmla="*/ 858107 w 2477548"/>
                  <a:gd name="connsiteY122" fmla="*/ 412242 h 566833"/>
                  <a:gd name="connsiteX123" fmla="*/ 872776 w 2477548"/>
                  <a:gd name="connsiteY123" fmla="*/ 412242 h 566833"/>
                  <a:gd name="connsiteX124" fmla="*/ 872776 w 2477548"/>
                  <a:gd name="connsiteY124" fmla="*/ 418338 h 566833"/>
                  <a:gd name="connsiteX125" fmla="*/ 902303 w 2477548"/>
                  <a:gd name="connsiteY125" fmla="*/ 418338 h 566833"/>
                  <a:gd name="connsiteX126" fmla="*/ 902303 w 2477548"/>
                  <a:gd name="connsiteY126" fmla="*/ 424434 h 566833"/>
                  <a:gd name="connsiteX127" fmla="*/ 904399 w 2477548"/>
                  <a:gd name="connsiteY127" fmla="*/ 424434 h 566833"/>
                  <a:gd name="connsiteX128" fmla="*/ 904399 w 2477548"/>
                  <a:gd name="connsiteY128" fmla="*/ 430435 h 566833"/>
                  <a:gd name="connsiteX129" fmla="*/ 927449 w 2477548"/>
                  <a:gd name="connsiteY129" fmla="*/ 430435 h 566833"/>
                  <a:gd name="connsiteX130" fmla="*/ 927449 w 2477548"/>
                  <a:gd name="connsiteY130" fmla="*/ 436531 h 566833"/>
                  <a:gd name="connsiteX131" fmla="*/ 940118 w 2477548"/>
                  <a:gd name="connsiteY131" fmla="*/ 436531 h 566833"/>
                  <a:gd name="connsiteX132" fmla="*/ 940118 w 2477548"/>
                  <a:gd name="connsiteY132" fmla="*/ 442627 h 566833"/>
                  <a:gd name="connsiteX133" fmla="*/ 975836 w 2477548"/>
                  <a:gd name="connsiteY133" fmla="*/ 442627 h 566833"/>
                  <a:gd name="connsiteX134" fmla="*/ 975836 w 2477548"/>
                  <a:gd name="connsiteY134" fmla="*/ 448723 h 566833"/>
                  <a:gd name="connsiteX135" fmla="*/ 1091565 w 2477548"/>
                  <a:gd name="connsiteY135" fmla="*/ 448723 h 566833"/>
                  <a:gd name="connsiteX136" fmla="*/ 1091565 w 2477548"/>
                  <a:gd name="connsiteY136" fmla="*/ 454724 h 566833"/>
                  <a:gd name="connsiteX137" fmla="*/ 1129379 w 2477548"/>
                  <a:gd name="connsiteY137" fmla="*/ 454724 h 566833"/>
                  <a:gd name="connsiteX138" fmla="*/ 1129379 w 2477548"/>
                  <a:gd name="connsiteY138" fmla="*/ 460915 h 566833"/>
                  <a:gd name="connsiteX139" fmla="*/ 1181957 w 2477548"/>
                  <a:gd name="connsiteY139" fmla="*/ 460915 h 566833"/>
                  <a:gd name="connsiteX140" fmla="*/ 1181957 w 2477548"/>
                  <a:gd name="connsiteY140" fmla="*/ 467011 h 566833"/>
                  <a:gd name="connsiteX141" fmla="*/ 1200912 w 2477548"/>
                  <a:gd name="connsiteY141" fmla="*/ 467011 h 566833"/>
                  <a:gd name="connsiteX142" fmla="*/ 1200912 w 2477548"/>
                  <a:gd name="connsiteY142" fmla="*/ 473107 h 566833"/>
                  <a:gd name="connsiteX143" fmla="*/ 1211390 w 2477548"/>
                  <a:gd name="connsiteY143" fmla="*/ 473107 h 566833"/>
                  <a:gd name="connsiteX144" fmla="*/ 1211390 w 2477548"/>
                  <a:gd name="connsiteY144" fmla="*/ 479298 h 566833"/>
                  <a:gd name="connsiteX145" fmla="*/ 1245108 w 2477548"/>
                  <a:gd name="connsiteY145" fmla="*/ 479298 h 566833"/>
                  <a:gd name="connsiteX146" fmla="*/ 1245108 w 2477548"/>
                  <a:gd name="connsiteY146" fmla="*/ 485394 h 566833"/>
                  <a:gd name="connsiteX147" fmla="*/ 1251395 w 2477548"/>
                  <a:gd name="connsiteY147" fmla="*/ 485394 h 566833"/>
                  <a:gd name="connsiteX148" fmla="*/ 1251395 w 2477548"/>
                  <a:gd name="connsiteY148" fmla="*/ 491490 h 566833"/>
                  <a:gd name="connsiteX149" fmla="*/ 1266063 w 2477548"/>
                  <a:gd name="connsiteY149" fmla="*/ 491490 h 566833"/>
                  <a:gd name="connsiteX150" fmla="*/ 1266063 w 2477548"/>
                  <a:gd name="connsiteY150" fmla="*/ 497586 h 566833"/>
                  <a:gd name="connsiteX151" fmla="*/ 1278731 w 2477548"/>
                  <a:gd name="connsiteY151" fmla="*/ 497586 h 566833"/>
                  <a:gd name="connsiteX152" fmla="*/ 1278731 w 2477548"/>
                  <a:gd name="connsiteY152" fmla="*/ 503777 h 566833"/>
                  <a:gd name="connsiteX153" fmla="*/ 1303973 w 2477548"/>
                  <a:gd name="connsiteY153" fmla="*/ 503777 h 566833"/>
                  <a:gd name="connsiteX154" fmla="*/ 1303973 w 2477548"/>
                  <a:gd name="connsiteY154" fmla="*/ 509873 h 566833"/>
                  <a:gd name="connsiteX155" fmla="*/ 1533239 w 2477548"/>
                  <a:gd name="connsiteY155" fmla="*/ 509873 h 566833"/>
                  <a:gd name="connsiteX156" fmla="*/ 1533239 w 2477548"/>
                  <a:gd name="connsiteY156" fmla="*/ 516065 h 566833"/>
                  <a:gd name="connsiteX157" fmla="*/ 1646777 w 2477548"/>
                  <a:gd name="connsiteY157" fmla="*/ 516065 h 566833"/>
                  <a:gd name="connsiteX158" fmla="*/ 1646777 w 2477548"/>
                  <a:gd name="connsiteY158" fmla="*/ 522256 h 566833"/>
                  <a:gd name="connsiteX159" fmla="*/ 1915954 w 2477548"/>
                  <a:gd name="connsiteY159" fmla="*/ 522256 h 566833"/>
                  <a:gd name="connsiteX160" fmla="*/ 1915954 w 2477548"/>
                  <a:gd name="connsiteY160" fmla="*/ 528542 h 566833"/>
                  <a:gd name="connsiteX161" fmla="*/ 1989582 w 2477548"/>
                  <a:gd name="connsiteY161" fmla="*/ 528542 h 566833"/>
                  <a:gd name="connsiteX162" fmla="*/ 1989582 w 2477548"/>
                  <a:gd name="connsiteY162" fmla="*/ 534829 h 566833"/>
                  <a:gd name="connsiteX163" fmla="*/ 2069497 w 2477548"/>
                  <a:gd name="connsiteY163" fmla="*/ 534829 h 566833"/>
                  <a:gd name="connsiteX164" fmla="*/ 2069497 w 2477548"/>
                  <a:gd name="connsiteY164" fmla="*/ 541115 h 566833"/>
                  <a:gd name="connsiteX165" fmla="*/ 2231422 w 2477548"/>
                  <a:gd name="connsiteY165" fmla="*/ 541115 h 566833"/>
                  <a:gd name="connsiteX166" fmla="*/ 2231422 w 2477548"/>
                  <a:gd name="connsiteY166" fmla="*/ 547592 h 566833"/>
                  <a:gd name="connsiteX167" fmla="*/ 2248281 w 2477548"/>
                  <a:gd name="connsiteY167" fmla="*/ 547592 h 566833"/>
                  <a:gd name="connsiteX168" fmla="*/ 2248281 w 2477548"/>
                  <a:gd name="connsiteY168" fmla="*/ 553974 h 566833"/>
                  <a:gd name="connsiteX169" fmla="*/ 2366105 w 2477548"/>
                  <a:gd name="connsiteY169" fmla="*/ 553974 h 566833"/>
                  <a:gd name="connsiteX170" fmla="*/ 2366105 w 2477548"/>
                  <a:gd name="connsiteY170" fmla="*/ 560451 h 566833"/>
                  <a:gd name="connsiteX171" fmla="*/ 2458593 w 2477548"/>
                  <a:gd name="connsiteY171" fmla="*/ 560451 h 566833"/>
                  <a:gd name="connsiteX172" fmla="*/ 2458593 w 2477548"/>
                  <a:gd name="connsiteY172" fmla="*/ 566833 h 566833"/>
                  <a:gd name="connsiteX173" fmla="*/ 2477548 w 2477548"/>
                  <a:gd name="connsiteY173" fmla="*/ 566833 h 566833"/>
                  <a:gd name="connsiteX0" fmla="*/ 0 w 2458593"/>
                  <a:gd name="connsiteY0" fmla="*/ 0 h 566833"/>
                  <a:gd name="connsiteX1" fmla="*/ 113538 w 2458593"/>
                  <a:gd name="connsiteY1" fmla="*/ 0 h 566833"/>
                  <a:gd name="connsiteX2" fmla="*/ 113538 w 2458593"/>
                  <a:gd name="connsiteY2" fmla="*/ 5906 h 566833"/>
                  <a:gd name="connsiteX3" fmla="*/ 153543 w 2458593"/>
                  <a:gd name="connsiteY3" fmla="*/ 5906 h 566833"/>
                  <a:gd name="connsiteX4" fmla="*/ 153543 w 2458593"/>
                  <a:gd name="connsiteY4" fmla="*/ 12002 h 566833"/>
                  <a:gd name="connsiteX5" fmla="*/ 161925 w 2458593"/>
                  <a:gd name="connsiteY5" fmla="*/ 12002 h 566833"/>
                  <a:gd name="connsiteX6" fmla="*/ 161925 w 2458593"/>
                  <a:gd name="connsiteY6" fmla="*/ 18002 h 566833"/>
                  <a:gd name="connsiteX7" fmla="*/ 172498 w 2458593"/>
                  <a:gd name="connsiteY7" fmla="*/ 18002 h 566833"/>
                  <a:gd name="connsiteX8" fmla="*/ 172498 w 2458593"/>
                  <a:gd name="connsiteY8" fmla="*/ 24003 h 566833"/>
                  <a:gd name="connsiteX9" fmla="*/ 222980 w 2458593"/>
                  <a:gd name="connsiteY9" fmla="*/ 24003 h 566833"/>
                  <a:gd name="connsiteX10" fmla="*/ 222980 w 2458593"/>
                  <a:gd name="connsiteY10" fmla="*/ 30099 h 566833"/>
                  <a:gd name="connsiteX11" fmla="*/ 231362 w 2458593"/>
                  <a:gd name="connsiteY11" fmla="*/ 30099 h 566833"/>
                  <a:gd name="connsiteX12" fmla="*/ 231362 w 2458593"/>
                  <a:gd name="connsiteY12" fmla="*/ 42196 h 566833"/>
                  <a:gd name="connsiteX13" fmla="*/ 237649 w 2458593"/>
                  <a:gd name="connsiteY13" fmla="*/ 42196 h 566833"/>
                  <a:gd name="connsiteX14" fmla="*/ 237649 w 2458593"/>
                  <a:gd name="connsiteY14" fmla="*/ 48292 h 566833"/>
                  <a:gd name="connsiteX15" fmla="*/ 241840 w 2458593"/>
                  <a:gd name="connsiteY15" fmla="*/ 48292 h 566833"/>
                  <a:gd name="connsiteX16" fmla="*/ 241840 w 2458593"/>
                  <a:gd name="connsiteY16" fmla="*/ 54388 h 566833"/>
                  <a:gd name="connsiteX17" fmla="*/ 246031 w 2458593"/>
                  <a:gd name="connsiteY17" fmla="*/ 54388 h 566833"/>
                  <a:gd name="connsiteX18" fmla="*/ 246031 w 2458593"/>
                  <a:gd name="connsiteY18" fmla="*/ 60484 h 566833"/>
                  <a:gd name="connsiteX19" fmla="*/ 248126 w 2458593"/>
                  <a:gd name="connsiteY19" fmla="*/ 60484 h 566833"/>
                  <a:gd name="connsiteX20" fmla="*/ 248126 w 2458593"/>
                  <a:gd name="connsiteY20" fmla="*/ 66485 h 566833"/>
                  <a:gd name="connsiteX21" fmla="*/ 250317 w 2458593"/>
                  <a:gd name="connsiteY21" fmla="*/ 66485 h 566833"/>
                  <a:gd name="connsiteX22" fmla="*/ 250317 w 2458593"/>
                  <a:gd name="connsiteY22" fmla="*/ 72581 h 566833"/>
                  <a:gd name="connsiteX23" fmla="*/ 260794 w 2458593"/>
                  <a:gd name="connsiteY23" fmla="*/ 72581 h 566833"/>
                  <a:gd name="connsiteX24" fmla="*/ 260794 w 2458593"/>
                  <a:gd name="connsiteY24" fmla="*/ 78677 h 566833"/>
                  <a:gd name="connsiteX25" fmla="*/ 267081 w 2458593"/>
                  <a:gd name="connsiteY25" fmla="*/ 78677 h 566833"/>
                  <a:gd name="connsiteX26" fmla="*/ 267081 w 2458593"/>
                  <a:gd name="connsiteY26" fmla="*/ 84677 h 566833"/>
                  <a:gd name="connsiteX27" fmla="*/ 281845 w 2458593"/>
                  <a:gd name="connsiteY27" fmla="*/ 84677 h 566833"/>
                  <a:gd name="connsiteX28" fmla="*/ 281845 w 2458593"/>
                  <a:gd name="connsiteY28" fmla="*/ 90773 h 566833"/>
                  <a:gd name="connsiteX29" fmla="*/ 290227 w 2458593"/>
                  <a:gd name="connsiteY29" fmla="*/ 90773 h 566833"/>
                  <a:gd name="connsiteX30" fmla="*/ 290227 w 2458593"/>
                  <a:gd name="connsiteY30" fmla="*/ 96869 h 566833"/>
                  <a:gd name="connsiteX31" fmla="*/ 300800 w 2458593"/>
                  <a:gd name="connsiteY31" fmla="*/ 96869 h 566833"/>
                  <a:gd name="connsiteX32" fmla="*/ 300800 w 2458593"/>
                  <a:gd name="connsiteY32" fmla="*/ 102870 h 566833"/>
                  <a:gd name="connsiteX33" fmla="*/ 313373 w 2458593"/>
                  <a:gd name="connsiteY33" fmla="*/ 102870 h 566833"/>
                  <a:gd name="connsiteX34" fmla="*/ 313373 w 2458593"/>
                  <a:gd name="connsiteY34" fmla="*/ 108966 h 566833"/>
                  <a:gd name="connsiteX35" fmla="*/ 319659 w 2458593"/>
                  <a:gd name="connsiteY35" fmla="*/ 108966 h 566833"/>
                  <a:gd name="connsiteX36" fmla="*/ 319659 w 2458593"/>
                  <a:gd name="connsiteY36" fmla="*/ 121063 h 566833"/>
                  <a:gd name="connsiteX37" fmla="*/ 323850 w 2458593"/>
                  <a:gd name="connsiteY37" fmla="*/ 121063 h 566833"/>
                  <a:gd name="connsiteX38" fmla="*/ 323850 w 2458593"/>
                  <a:gd name="connsiteY38" fmla="*/ 127159 h 566833"/>
                  <a:gd name="connsiteX39" fmla="*/ 336518 w 2458593"/>
                  <a:gd name="connsiteY39" fmla="*/ 127159 h 566833"/>
                  <a:gd name="connsiteX40" fmla="*/ 336518 w 2458593"/>
                  <a:gd name="connsiteY40" fmla="*/ 133255 h 566833"/>
                  <a:gd name="connsiteX41" fmla="*/ 351187 w 2458593"/>
                  <a:gd name="connsiteY41" fmla="*/ 133255 h 566833"/>
                  <a:gd name="connsiteX42" fmla="*/ 351187 w 2458593"/>
                  <a:gd name="connsiteY42" fmla="*/ 139256 h 566833"/>
                  <a:gd name="connsiteX43" fmla="*/ 355473 w 2458593"/>
                  <a:gd name="connsiteY43" fmla="*/ 139256 h 566833"/>
                  <a:gd name="connsiteX44" fmla="*/ 355473 w 2458593"/>
                  <a:gd name="connsiteY44" fmla="*/ 145352 h 566833"/>
                  <a:gd name="connsiteX45" fmla="*/ 365950 w 2458593"/>
                  <a:gd name="connsiteY45" fmla="*/ 145352 h 566833"/>
                  <a:gd name="connsiteX46" fmla="*/ 365950 w 2458593"/>
                  <a:gd name="connsiteY46" fmla="*/ 151448 h 566833"/>
                  <a:gd name="connsiteX47" fmla="*/ 374333 w 2458593"/>
                  <a:gd name="connsiteY47" fmla="*/ 151448 h 566833"/>
                  <a:gd name="connsiteX48" fmla="*/ 374333 w 2458593"/>
                  <a:gd name="connsiteY48" fmla="*/ 157544 h 566833"/>
                  <a:gd name="connsiteX49" fmla="*/ 389096 w 2458593"/>
                  <a:gd name="connsiteY49" fmla="*/ 157544 h 566833"/>
                  <a:gd name="connsiteX50" fmla="*/ 389096 w 2458593"/>
                  <a:gd name="connsiteY50" fmla="*/ 163544 h 566833"/>
                  <a:gd name="connsiteX51" fmla="*/ 393287 w 2458593"/>
                  <a:gd name="connsiteY51" fmla="*/ 163544 h 566833"/>
                  <a:gd name="connsiteX52" fmla="*/ 393287 w 2458593"/>
                  <a:gd name="connsiteY52" fmla="*/ 169640 h 566833"/>
                  <a:gd name="connsiteX53" fmla="*/ 397478 w 2458593"/>
                  <a:gd name="connsiteY53" fmla="*/ 169640 h 566833"/>
                  <a:gd name="connsiteX54" fmla="*/ 397478 w 2458593"/>
                  <a:gd name="connsiteY54" fmla="*/ 175736 h 566833"/>
                  <a:gd name="connsiteX55" fmla="*/ 410147 w 2458593"/>
                  <a:gd name="connsiteY55" fmla="*/ 175736 h 566833"/>
                  <a:gd name="connsiteX56" fmla="*/ 410147 w 2458593"/>
                  <a:gd name="connsiteY56" fmla="*/ 181737 h 566833"/>
                  <a:gd name="connsiteX57" fmla="*/ 439579 w 2458593"/>
                  <a:gd name="connsiteY57" fmla="*/ 181737 h 566833"/>
                  <a:gd name="connsiteX58" fmla="*/ 439579 w 2458593"/>
                  <a:gd name="connsiteY58" fmla="*/ 187833 h 566833"/>
                  <a:gd name="connsiteX59" fmla="*/ 447961 w 2458593"/>
                  <a:gd name="connsiteY59" fmla="*/ 187833 h 566833"/>
                  <a:gd name="connsiteX60" fmla="*/ 447961 w 2458593"/>
                  <a:gd name="connsiteY60" fmla="*/ 193929 h 566833"/>
                  <a:gd name="connsiteX61" fmla="*/ 450056 w 2458593"/>
                  <a:gd name="connsiteY61" fmla="*/ 193929 h 566833"/>
                  <a:gd name="connsiteX62" fmla="*/ 450056 w 2458593"/>
                  <a:gd name="connsiteY62" fmla="*/ 199930 h 566833"/>
                  <a:gd name="connsiteX63" fmla="*/ 464820 w 2458593"/>
                  <a:gd name="connsiteY63" fmla="*/ 199930 h 566833"/>
                  <a:gd name="connsiteX64" fmla="*/ 464820 w 2458593"/>
                  <a:gd name="connsiteY64" fmla="*/ 212122 h 566833"/>
                  <a:gd name="connsiteX65" fmla="*/ 466916 w 2458593"/>
                  <a:gd name="connsiteY65" fmla="*/ 212122 h 566833"/>
                  <a:gd name="connsiteX66" fmla="*/ 466916 w 2458593"/>
                  <a:gd name="connsiteY66" fmla="*/ 218123 h 566833"/>
                  <a:gd name="connsiteX67" fmla="*/ 473202 w 2458593"/>
                  <a:gd name="connsiteY67" fmla="*/ 218123 h 566833"/>
                  <a:gd name="connsiteX68" fmla="*/ 473202 w 2458593"/>
                  <a:gd name="connsiteY68" fmla="*/ 224219 h 566833"/>
                  <a:gd name="connsiteX69" fmla="*/ 477393 w 2458593"/>
                  <a:gd name="connsiteY69" fmla="*/ 224219 h 566833"/>
                  <a:gd name="connsiteX70" fmla="*/ 477393 w 2458593"/>
                  <a:gd name="connsiteY70" fmla="*/ 230315 h 566833"/>
                  <a:gd name="connsiteX71" fmla="*/ 494252 w 2458593"/>
                  <a:gd name="connsiteY71" fmla="*/ 230315 h 566833"/>
                  <a:gd name="connsiteX72" fmla="*/ 494252 w 2458593"/>
                  <a:gd name="connsiteY72" fmla="*/ 242411 h 566833"/>
                  <a:gd name="connsiteX73" fmla="*/ 498443 w 2458593"/>
                  <a:gd name="connsiteY73" fmla="*/ 242411 h 566833"/>
                  <a:gd name="connsiteX74" fmla="*/ 498443 w 2458593"/>
                  <a:gd name="connsiteY74" fmla="*/ 248507 h 566833"/>
                  <a:gd name="connsiteX75" fmla="*/ 521589 w 2458593"/>
                  <a:gd name="connsiteY75" fmla="*/ 248507 h 566833"/>
                  <a:gd name="connsiteX76" fmla="*/ 521589 w 2458593"/>
                  <a:gd name="connsiteY76" fmla="*/ 254603 h 566833"/>
                  <a:gd name="connsiteX77" fmla="*/ 525780 w 2458593"/>
                  <a:gd name="connsiteY77" fmla="*/ 254603 h 566833"/>
                  <a:gd name="connsiteX78" fmla="*/ 525780 w 2458593"/>
                  <a:gd name="connsiteY78" fmla="*/ 260604 h 566833"/>
                  <a:gd name="connsiteX79" fmla="*/ 532067 w 2458593"/>
                  <a:gd name="connsiteY79" fmla="*/ 260604 h 566833"/>
                  <a:gd name="connsiteX80" fmla="*/ 532067 w 2458593"/>
                  <a:gd name="connsiteY80" fmla="*/ 272796 h 566833"/>
                  <a:gd name="connsiteX81" fmla="*/ 551021 w 2458593"/>
                  <a:gd name="connsiteY81" fmla="*/ 272796 h 566833"/>
                  <a:gd name="connsiteX82" fmla="*/ 551021 w 2458593"/>
                  <a:gd name="connsiteY82" fmla="*/ 278797 h 566833"/>
                  <a:gd name="connsiteX83" fmla="*/ 559403 w 2458593"/>
                  <a:gd name="connsiteY83" fmla="*/ 278797 h 566833"/>
                  <a:gd name="connsiteX84" fmla="*/ 559403 w 2458593"/>
                  <a:gd name="connsiteY84" fmla="*/ 284893 h 566833"/>
                  <a:gd name="connsiteX85" fmla="*/ 572072 w 2458593"/>
                  <a:gd name="connsiteY85" fmla="*/ 284893 h 566833"/>
                  <a:gd name="connsiteX86" fmla="*/ 572072 w 2458593"/>
                  <a:gd name="connsiteY86" fmla="*/ 290989 h 566833"/>
                  <a:gd name="connsiteX87" fmla="*/ 588931 w 2458593"/>
                  <a:gd name="connsiteY87" fmla="*/ 290989 h 566833"/>
                  <a:gd name="connsiteX88" fmla="*/ 588931 w 2458593"/>
                  <a:gd name="connsiteY88" fmla="*/ 296990 h 566833"/>
                  <a:gd name="connsiteX89" fmla="*/ 616268 w 2458593"/>
                  <a:gd name="connsiteY89" fmla="*/ 296990 h 566833"/>
                  <a:gd name="connsiteX90" fmla="*/ 616268 w 2458593"/>
                  <a:gd name="connsiteY90" fmla="*/ 303086 h 566833"/>
                  <a:gd name="connsiteX91" fmla="*/ 618363 w 2458593"/>
                  <a:gd name="connsiteY91" fmla="*/ 303086 h 566833"/>
                  <a:gd name="connsiteX92" fmla="*/ 618363 w 2458593"/>
                  <a:gd name="connsiteY92" fmla="*/ 309182 h 566833"/>
                  <a:gd name="connsiteX93" fmla="*/ 628840 w 2458593"/>
                  <a:gd name="connsiteY93" fmla="*/ 309182 h 566833"/>
                  <a:gd name="connsiteX94" fmla="*/ 628840 w 2458593"/>
                  <a:gd name="connsiteY94" fmla="*/ 315182 h 566833"/>
                  <a:gd name="connsiteX95" fmla="*/ 635127 w 2458593"/>
                  <a:gd name="connsiteY95" fmla="*/ 315182 h 566833"/>
                  <a:gd name="connsiteX96" fmla="*/ 635127 w 2458593"/>
                  <a:gd name="connsiteY96" fmla="*/ 327374 h 566833"/>
                  <a:gd name="connsiteX97" fmla="*/ 643604 w 2458593"/>
                  <a:gd name="connsiteY97" fmla="*/ 327374 h 566833"/>
                  <a:gd name="connsiteX98" fmla="*/ 643604 w 2458593"/>
                  <a:gd name="connsiteY98" fmla="*/ 333375 h 566833"/>
                  <a:gd name="connsiteX99" fmla="*/ 649891 w 2458593"/>
                  <a:gd name="connsiteY99" fmla="*/ 333375 h 566833"/>
                  <a:gd name="connsiteX100" fmla="*/ 649891 w 2458593"/>
                  <a:gd name="connsiteY100" fmla="*/ 345567 h 566833"/>
                  <a:gd name="connsiteX101" fmla="*/ 651986 w 2458593"/>
                  <a:gd name="connsiteY101" fmla="*/ 345567 h 566833"/>
                  <a:gd name="connsiteX102" fmla="*/ 651986 w 2458593"/>
                  <a:gd name="connsiteY102" fmla="*/ 351663 h 566833"/>
                  <a:gd name="connsiteX103" fmla="*/ 664559 w 2458593"/>
                  <a:gd name="connsiteY103" fmla="*/ 351663 h 566833"/>
                  <a:gd name="connsiteX104" fmla="*/ 664559 w 2458593"/>
                  <a:gd name="connsiteY104" fmla="*/ 357664 h 566833"/>
                  <a:gd name="connsiteX105" fmla="*/ 687705 w 2458593"/>
                  <a:gd name="connsiteY105" fmla="*/ 357664 h 566833"/>
                  <a:gd name="connsiteX106" fmla="*/ 687705 w 2458593"/>
                  <a:gd name="connsiteY106" fmla="*/ 363760 h 566833"/>
                  <a:gd name="connsiteX107" fmla="*/ 694087 w 2458593"/>
                  <a:gd name="connsiteY107" fmla="*/ 363760 h 566833"/>
                  <a:gd name="connsiteX108" fmla="*/ 694087 w 2458593"/>
                  <a:gd name="connsiteY108" fmla="*/ 369856 h 566833"/>
                  <a:gd name="connsiteX109" fmla="*/ 702469 w 2458593"/>
                  <a:gd name="connsiteY109" fmla="*/ 369856 h 566833"/>
                  <a:gd name="connsiteX110" fmla="*/ 702469 w 2458593"/>
                  <a:gd name="connsiteY110" fmla="*/ 375857 h 566833"/>
                  <a:gd name="connsiteX111" fmla="*/ 710851 w 2458593"/>
                  <a:gd name="connsiteY111" fmla="*/ 375857 h 566833"/>
                  <a:gd name="connsiteX112" fmla="*/ 710851 w 2458593"/>
                  <a:gd name="connsiteY112" fmla="*/ 381953 h 566833"/>
                  <a:gd name="connsiteX113" fmla="*/ 715042 w 2458593"/>
                  <a:gd name="connsiteY113" fmla="*/ 381953 h 566833"/>
                  <a:gd name="connsiteX114" fmla="*/ 715042 w 2458593"/>
                  <a:gd name="connsiteY114" fmla="*/ 388049 h 566833"/>
                  <a:gd name="connsiteX115" fmla="*/ 788670 w 2458593"/>
                  <a:gd name="connsiteY115" fmla="*/ 388049 h 566833"/>
                  <a:gd name="connsiteX116" fmla="*/ 788670 w 2458593"/>
                  <a:gd name="connsiteY116" fmla="*/ 394049 h 566833"/>
                  <a:gd name="connsiteX117" fmla="*/ 809720 w 2458593"/>
                  <a:gd name="connsiteY117" fmla="*/ 394049 h 566833"/>
                  <a:gd name="connsiteX118" fmla="*/ 809720 w 2458593"/>
                  <a:gd name="connsiteY118" fmla="*/ 400145 h 566833"/>
                  <a:gd name="connsiteX119" fmla="*/ 816007 w 2458593"/>
                  <a:gd name="connsiteY119" fmla="*/ 400145 h 566833"/>
                  <a:gd name="connsiteX120" fmla="*/ 816007 w 2458593"/>
                  <a:gd name="connsiteY120" fmla="*/ 406241 h 566833"/>
                  <a:gd name="connsiteX121" fmla="*/ 858107 w 2458593"/>
                  <a:gd name="connsiteY121" fmla="*/ 406241 h 566833"/>
                  <a:gd name="connsiteX122" fmla="*/ 858107 w 2458593"/>
                  <a:gd name="connsiteY122" fmla="*/ 412242 h 566833"/>
                  <a:gd name="connsiteX123" fmla="*/ 872776 w 2458593"/>
                  <a:gd name="connsiteY123" fmla="*/ 412242 h 566833"/>
                  <a:gd name="connsiteX124" fmla="*/ 872776 w 2458593"/>
                  <a:gd name="connsiteY124" fmla="*/ 418338 h 566833"/>
                  <a:gd name="connsiteX125" fmla="*/ 902303 w 2458593"/>
                  <a:gd name="connsiteY125" fmla="*/ 418338 h 566833"/>
                  <a:gd name="connsiteX126" fmla="*/ 902303 w 2458593"/>
                  <a:gd name="connsiteY126" fmla="*/ 424434 h 566833"/>
                  <a:gd name="connsiteX127" fmla="*/ 904399 w 2458593"/>
                  <a:gd name="connsiteY127" fmla="*/ 424434 h 566833"/>
                  <a:gd name="connsiteX128" fmla="*/ 904399 w 2458593"/>
                  <a:gd name="connsiteY128" fmla="*/ 430435 h 566833"/>
                  <a:gd name="connsiteX129" fmla="*/ 927449 w 2458593"/>
                  <a:gd name="connsiteY129" fmla="*/ 430435 h 566833"/>
                  <a:gd name="connsiteX130" fmla="*/ 927449 w 2458593"/>
                  <a:gd name="connsiteY130" fmla="*/ 436531 h 566833"/>
                  <a:gd name="connsiteX131" fmla="*/ 940118 w 2458593"/>
                  <a:gd name="connsiteY131" fmla="*/ 436531 h 566833"/>
                  <a:gd name="connsiteX132" fmla="*/ 940118 w 2458593"/>
                  <a:gd name="connsiteY132" fmla="*/ 442627 h 566833"/>
                  <a:gd name="connsiteX133" fmla="*/ 975836 w 2458593"/>
                  <a:gd name="connsiteY133" fmla="*/ 442627 h 566833"/>
                  <a:gd name="connsiteX134" fmla="*/ 975836 w 2458593"/>
                  <a:gd name="connsiteY134" fmla="*/ 448723 h 566833"/>
                  <a:gd name="connsiteX135" fmla="*/ 1091565 w 2458593"/>
                  <a:gd name="connsiteY135" fmla="*/ 448723 h 566833"/>
                  <a:gd name="connsiteX136" fmla="*/ 1091565 w 2458593"/>
                  <a:gd name="connsiteY136" fmla="*/ 454724 h 566833"/>
                  <a:gd name="connsiteX137" fmla="*/ 1129379 w 2458593"/>
                  <a:gd name="connsiteY137" fmla="*/ 454724 h 566833"/>
                  <a:gd name="connsiteX138" fmla="*/ 1129379 w 2458593"/>
                  <a:gd name="connsiteY138" fmla="*/ 460915 h 566833"/>
                  <a:gd name="connsiteX139" fmla="*/ 1181957 w 2458593"/>
                  <a:gd name="connsiteY139" fmla="*/ 460915 h 566833"/>
                  <a:gd name="connsiteX140" fmla="*/ 1181957 w 2458593"/>
                  <a:gd name="connsiteY140" fmla="*/ 467011 h 566833"/>
                  <a:gd name="connsiteX141" fmla="*/ 1200912 w 2458593"/>
                  <a:gd name="connsiteY141" fmla="*/ 467011 h 566833"/>
                  <a:gd name="connsiteX142" fmla="*/ 1200912 w 2458593"/>
                  <a:gd name="connsiteY142" fmla="*/ 473107 h 566833"/>
                  <a:gd name="connsiteX143" fmla="*/ 1211390 w 2458593"/>
                  <a:gd name="connsiteY143" fmla="*/ 473107 h 566833"/>
                  <a:gd name="connsiteX144" fmla="*/ 1211390 w 2458593"/>
                  <a:gd name="connsiteY144" fmla="*/ 479298 h 566833"/>
                  <a:gd name="connsiteX145" fmla="*/ 1245108 w 2458593"/>
                  <a:gd name="connsiteY145" fmla="*/ 479298 h 566833"/>
                  <a:gd name="connsiteX146" fmla="*/ 1245108 w 2458593"/>
                  <a:gd name="connsiteY146" fmla="*/ 485394 h 566833"/>
                  <a:gd name="connsiteX147" fmla="*/ 1251395 w 2458593"/>
                  <a:gd name="connsiteY147" fmla="*/ 485394 h 566833"/>
                  <a:gd name="connsiteX148" fmla="*/ 1251395 w 2458593"/>
                  <a:gd name="connsiteY148" fmla="*/ 491490 h 566833"/>
                  <a:gd name="connsiteX149" fmla="*/ 1266063 w 2458593"/>
                  <a:gd name="connsiteY149" fmla="*/ 491490 h 566833"/>
                  <a:gd name="connsiteX150" fmla="*/ 1266063 w 2458593"/>
                  <a:gd name="connsiteY150" fmla="*/ 497586 h 566833"/>
                  <a:gd name="connsiteX151" fmla="*/ 1278731 w 2458593"/>
                  <a:gd name="connsiteY151" fmla="*/ 497586 h 566833"/>
                  <a:gd name="connsiteX152" fmla="*/ 1278731 w 2458593"/>
                  <a:gd name="connsiteY152" fmla="*/ 503777 h 566833"/>
                  <a:gd name="connsiteX153" fmla="*/ 1303973 w 2458593"/>
                  <a:gd name="connsiteY153" fmla="*/ 503777 h 566833"/>
                  <a:gd name="connsiteX154" fmla="*/ 1303973 w 2458593"/>
                  <a:gd name="connsiteY154" fmla="*/ 509873 h 566833"/>
                  <a:gd name="connsiteX155" fmla="*/ 1533239 w 2458593"/>
                  <a:gd name="connsiteY155" fmla="*/ 509873 h 566833"/>
                  <a:gd name="connsiteX156" fmla="*/ 1533239 w 2458593"/>
                  <a:gd name="connsiteY156" fmla="*/ 516065 h 566833"/>
                  <a:gd name="connsiteX157" fmla="*/ 1646777 w 2458593"/>
                  <a:gd name="connsiteY157" fmla="*/ 516065 h 566833"/>
                  <a:gd name="connsiteX158" fmla="*/ 1646777 w 2458593"/>
                  <a:gd name="connsiteY158" fmla="*/ 522256 h 566833"/>
                  <a:gd name="connsiteX159" fmla="*/ 1915954 w 2458593"/>
                  <a:gd name="connsiteY159" fmla="*/ 522256 h 566833"/>
                  <a:gd name="connsiteX160" fmla="*/ 1915954 w 2458593"/>
                  <a:gd name="connsiteY160" fmla="*/ 528542 h 566833"/>
                  <a:gd name="connsiteX161" fmla="*/ 1989582 w 2458593"/>
                  <a:gd name="connsiteY161" fmla="*/ 528542 h 566833"/>
                  <a:gd name="connsiteX162" fmla="*/ 1989582 w 2458593"/>
                  <a:gd name="connsiteY162" fmla="*/ 534829 h 566833"/>
                  <a:gd name="connsiteX163" fmla="*/ 2069497 w 2458593"/>
                  <a:gd name="connsiteY163" fmla="*/ 534829 h 566833"/>
                  <a:gd name="connsiteX164" fmla="*/ 2069497 w 2458593"/>
                  <a:gd name="connsiteY164" fmla="*/ 541115 h 566833"/>
                  <a:gd name="connsiteX165" fmla="*/ 2231422 w 2458593"/>
                  <a:gd name="connsiteY165" fmla="*/ 541115 h 566833"/>
                  <a:gd name="connsiteX166" fmla="*/ 2231422 w 2458593"/>
                  <a:gd name="connsiteY166" fmla="*/ 547592 h 566833"/>
                  <a:gd name="connsiteX167" fmla="*/ 2248281 w 2458593"/>
                  <a:gd name="connsiteY167" fmla="*/ 547592 h 566833"/>
                  <a:gd name="connsiteX168" fmla="*/ 2248281 w 2458593"/>
                  <a:gd name="connsiteY168" fmla="*/ 553974 h 566833"/>
                  <a:gd name="connsiteX169" fmla="*/ 2366105 w 2458593"/>
                  <a:gd name="connsiteY169" fmla="*/ 553974 h 566833"/>
                  <a:gd name="connsiteX170" fmla="*/ 2366105 w 2458593"/>
                  <a:gd name="connsiteY170" fmla="*/ 560451 h 566833"/>
                  <a:gd name="connsiteX171" fmla="*/ 2458593 w 2458593"/>
                  <a:gd name="connsiteY171" fmla="*/ 560451 h 566833"/>
                  <a:gd name="connsiteX172" fmla="*/ 2458593 w 2458593"/>
                  <a:gd name="connsiteY172" fmla="*/ 566833 h 566833"/>
                  <a:gd name="connsiteX0" fmla="*/ 0 w 2458593"/>
                  <a:gd name="connsiteY0" fmla="*/ 0 h 560451"/>
                  <a:gd name="connsiteX1" fmla="*/ 113538 w 2458593"/>
                  <a:gd name="connsiteY1" fmla="*/ 0 h 560451"/>
                  <a:gd name="connsiteX2" fmla="*/ 113538 w 2458593"/>
                  <a:gd name="connsiteY2" fmla="*/ 5906 h 560451"/>
                  <a:gd name="connsiteX3" fmla="*/ 153543 w 2458593"/>
                  <a:gd name="connsiteY3" fmla="*/ 5906 h 560451"/>
                  <a:gd name="connsiteX4" fmla="*/ 153543 w 2458593"/>
                  <a:gd name="connsiteY4" fmla="*/ 12002 h 560451"/>
                  <a:gd name="connsiteX5" fmla="*/ 161925 w 2458593"/>
                  <a:gd name="connsiteY5" fmla="*/ 12002 h 560451"/>
                  <a:gd name="connsiteX6" fmla="*/ 161925 w 2458593"/>
                  <a:gd name="connsiteY6" fmla="*/ 18002 h 560451"/>
                  <a:gd name="connsiteX7" fmla="*/ 172498 w 2458593"/>
                  <a:gd name="connsiteY7" fmla="*/ 18002 h 560451"/>
                  <a:gd name="connsiteX8" fmla="*/ 172498 w 2458593"/>
                  <a:gd name="connsiteY8" fmla="*/ 24003 h 560451"/>
                  <a:gd name="connsiteX9" fmla="*/ 222980 w 2458593"/>
                  <a:gd name="connsiteY9" fmla="*/ 24003 h 560451"/>
                  <a:gd name="connsiteX10" fmla="*/ 222980 w 2458593"/>
                  <a:gd name="connsiteY10" fmla="*/ 30099 h 560451"/>
                  <a:gd name="connsiteX11" fmla="*/ 231362 w 2458593"/>
                  <a:gd name="connsiteY11" fmla="*/ 30099 h 560451"/>
                  <a:gd name="connsiteX12" fmla="*/ 231362 w 2458593"/>
                  <a:gd name="connsiteY12" fmla="*/ 42196 h 560451"/>
                  <a:gd name="connsiteX13" fmla="*/ 237649 w 2458593"/>
                  <a:gd name="connsiteY13" fmla="*/ 42196 h 560451"/>
                  <a:gd name="connsiteX14" fmla="*/ 237649 w 2458593"/>
                  <a:gd name="connsiteY14" fmla="*/ 48292 h 560451"/>
                  <a:gd name="connsiteX15" fmla="*/ 241840 w 2458593"/>
                  <a:gd name="connsiteY15" fmla="*/ 48292 h 560451"/>
                  <a:gd name="connsiteX16" fmla="*/ 241840 w 2458593"/>
                  <a:gd name="connsiteY16" fmla="*/ 54388 h 560451"/>
                  <a:gd name="connsiteX17" fmla="*/ 246031 w 2458593"/>
                  <a:gd name="connsiteY17" fmla="*/ 54388 h 560451"/>
                  <a:gd name="connsiteX18" fmla="*/ 246031 w 2458593"/>
                  <a:gd name="connsiteY18" fmla="*/ 60484 h 560451"/>
                  <a:gd name="connsiteX19" fmla="*/ 248126 w 2458593"/>
                  <a:gd name="connsiteY19" fmla="*/ 60484 h 560451"/>
                  <a:gd name="connsiteX20" fmla="*/ 248126 w 2458593"/>
                  <a:gd name="connsiteY20" fmla="*/ 66485 h 560451"/>
                  <a:gd name="connsiteX21" fmla="*/ 250317 w 2458593"/>
                  <a:gd name="connsiteY21" fmla="*/ 66485 h 560451"/>
                  <a:gd name="connsiteX22" fmla="*/ 250317 w 2458593"/>
                  <a:gd name="connsiteY22" fmla="*/ 72581 h 560451"/>
                  <a:gd name="connsiteX23" fmla="*/ 260794 w 2458593"/>
                  <a:gd name="connsiteY23" fmla="*/ 72581 h 560451"/>
                  <a:gd name="connsiteX24" fmla="*/ 260794 w 2458593"/>
                  <a:gd name="connsiteY24" fmla="*/ 78677 h 560451"/>
                  <a:gd name="connsiteX25" fmla="*/ 267081 w 2458593"/>
                  <a:gd name="connsiteY25" fmla="*/ 78677 h 560451"/>
                  <a:gd name="connsiteX26" fmla="*/ 267081 w 2458593"/>
                  <a:gd name="connsiteY26" fmla="*/ 84677 h 560451"/>
                  <a:gd name="connsiteX27" fmla="*/ 281845 w 2458593"/>
                  <a:gd name="connsiteY27" fmla="*/ 84677 h 560451"/>
                  <a:gd name="connsiteX28" fmla="*/ 281845 w 2458593"/>
                  <a:gd name="connsiteY28" fmla="*/ 90773 h 560451"/>
                  <a:gd name="connsiteX29" fmla="*/ 290227 w 2458593"/>
                  <a:gd name="connsiteY29" fmla="*/ 90773 h 560451"/>
                  <a:gd name="connsiteX30" fmla="*/ 290227 w 2458593"/>
                  <a:gd name="connsiteY30" fmla="*/ 96869 h 560451"/>
                  <a:gd name="connsiteX31" fmla="*/ 300800 w 2458593"/>
                  <a:gd name="connsiteY31" fmla="*/ 96869 h 560451"/>
                  <a:gd name="connsiteX32" fmla="*/ 300800 w 2458593"/>
                  <a:gd name="connsiteY32" fmla="*/ 102870 h 560451"/>
                  <a:gd name="connsiteX33" fmla="*/ 313373 w 2458593"/>
                  <a:gd name="connsiteY33" fmla="*/ 102870 h 560451"/>
                  <a:gd name="connsiteX34" fmla="*/ 313373 w 2458593"/>
                  <a:gd name="connsiteY34" fmla="*/ 108966 h 560451"/>
                  <a:gd name="connsiteX35" fmla="*/ 319659 w 2458593"/>
                  <a:gd name="connsiteY35" fmla="*/ 108966 h 560451"/>
                  <a:gd name="connsiteX36" fmla="*/ 319659 w 2458593"/>
                  <a:gd name="connsiteY36" fmla="*/ 121063 h 560451"/>
                  <a:gd name="connsiteX37" fmla="*/ 323850 w 2458593"/>
                  <a:gd name="connsiteY37" fmla="*/ 121063 h 560451"/>
                  <a:gd name="connsiteX38" fmla="*/ 323850 w 2458593"/>
                  <a:gd name="connsiteY38" fmla="*/ 127159 h 560451"/>
                  <a:gd name="connsiteX39" fmla="*/ 336518 w 2458593"/>
                  <a:gd name="connsiteY39" fmla="*/ 127159 h 560451"/>
                  <a:gd name="connsiteX40" fmla="*/ 336518 w 2458593"/>
                  <a:gd name="connsiteY40" fmla="*/ 133255 h 560451"/>
                  <a:gd name="connsiteX41" fmla="*/ 351187 w 2458593"/>
                  <a:gd name="connsiteY41" fmla="*/ 133255 h 560451"/>
                  <a:gd name="connsiteX42" fmla="*/ 351187 w 2458593"/>
                  <a:gd name="connsiteY42" fmla="*/ 139256 h 560451"/>
                  <a:gd name="connsiteX43" fmla="*/ 355473 w 2458593"/>
                  <a:gd name="connsiteY43" fmla="*/ 139256 h 560451"/>
                  <a:gd name="connsiteX44" fmla="*/ 355473 w 2458593"/>
                  <a:gd name="connsiteY44" fmla="*/ 145352 h 560451"/>
                  <a:gd name="connsiteX45" fmla="*/ 365950 w 2458593"/>
                  <a:gd name="connsiteY45" fmla="*/ 145352 h 560451"/>
                  <a:gd name="connsiteX46" fmla="*/ 365950 w 2458593"/>
                  <a:gd name="connsiteY46" fmla="*/ 151448 h 560451"/>
                  <a:gd name="connsiteX47" fmla="*/ 374333 w 2458593"/>
                  <a:gd name="connsiteY47" fmla="*/ 151448 h 560451"/>
                  <a:gd name="connsiteX48" fmla="*/ 374333 w 2458593"/>
                  <a:gd name="connsiteY48" fmla="*/ 157544 h 560451"/>
                  <a:gd name="connsiteX49" fmla="*/ 389096 w 2458593"/>
                  <a:gd name="connsiteY49" fmla="*/ 157544 h 560451"/>
                  <a:gd name="connsiteX50" fmla="*/ 389096 w 2458593"/>
                  <a:gd name="connsiteY50" fmla="*/ 163544 h 560451"/>
                  <a:gd name="connsiteX51" fmla="*/ 393287 w 2458593"/>
                  <a:gd name="connsiteY51" fmla="*/ 163544 h 560451"/>
                  <a:gd name="connsiteX52" fmla="*/ 393287 w 2458593"/>
                  <a:gd name="connsiteY52" fmla="*/ 169640 h 560451"/>
                  <a:gd name="connsiteX53" fmla="*/ 397478 w 2458593"/>
                  <a:gd name="connsiteY53" fmla="*/ 169640 h 560451"/>
                  <a:gd name="connsiteX54" fmla="*/ 397478 w 2458593"/>
                  <a:gd name="connsiteY54" fmla="*/ 175736 h 560451"/>
                  <a:gd name="connsiteX55" fmla="*/ 410147 w 2458593"/>
                  <a:gd name="connsiteY55" fmla="*/ 175736 h 560451"/>
                  <a:gd name="connsiteX56" fmla="*/ 410147 w 2458593"/>
                  <a:gd name="connsiteY56" fmla="*/ 181737 h 560451"/>
                  <a:gd name="connsiteX57" fmla="*/ 439579 w 2458593"/>
                  <a:gd name="connsiteY57" fmla="*/ 181737 h 560451"/>
                  <a:gd name="connsiteX58" fmla="*/ 439579 w 2458593"/>
                  <a:gd name="connsiteY58" fmla="*/ 187833 h 560451"/>
                  <a:gd name="connsiteX59" fmla="*/ 447961 w 2458593"/>
                  <a:gd name="connsiteY59" fmla="*/ 187833 h 560451"/>
                  <a:gd name="connsiteX60" fmla="*/ 447961 w 2458593"/>
                  <a:gd name="connsiteY60" fmla="*/ 193929 h 560451"/>
                  <a:gd name="connsiteX61" fmla="*/ 450056 w 2458593"/>
                  <a:gd name="connsiteY61" fmla="*/ 193929 h 560451"/>
                  <a:gd name="connsiteX62" fmla="*/ 450056 w 2458593"/>
                  <a:gd name="connsiteY62" fmla="*/ 199930 h 560451"/>
                  <a:gd name="connsiteX63" fmla="*/ 464820 w 2458593"/>
                  <a:gd name="connsiteY63" fmla="*/ 199930 h 560451"/>
                  <a:gd name="connsiteX64" fmla="*/ 464820 w 2458593"/>
                  <a:gd name="connsiteY64" fmla="*/ 212122 h 560451"/>
                  <a:gd name="connsiteX65" fmla="*/ 466916 w 2458593"/>
                  <a:gd name="connsiteY65" fmla="*/ 212122 h 560451"/>
                  <a:gd name="connsiteX66" fmla="*/ 466916 w 2458593"/>
                  <a:gd name="connsiteY66" fmla="*/ 218123 h 560451"/>
                  <a:gd name="connsiteX67" fmla="*/ 473202 w 2458593"/>
                  <a:gd name="connsiteY67" fmla="*/ 218123 h 560451"/>
                  <a:gd name="connsiteX68" fmla="*/ 473202 w 2458593"/>
                  <a:gd name="connsiteY68" fmla="*/ 224219 h 560451"/>
                  <a:gd name="connsiteX69" fmla="*/ 477393 w 2458593"/>
                  <a:gd name="connsiteY69" fmla="*/ 224219 h 560451"/>
                  <a:gd name="connsiteX70" fmla="*/ 477393 w 2458593"/>
                  <a:gd name="connsiteY70" fmla="*/ 230315 h 560451"/>
                  <a:gd name="connsiteX71" fmla="*/ 494252 w 2458593"/>
                  <a:gd name="connsiteY71" fmla="*/ 230315 h 560451"/>
                  <a:gd name="connsiteX72" fmla="*/ 494252 w 2458593"/>
                  <a:gd name="connsiteY72" fmla="*/ 242411 h 560451"/>
                  <a:gd name="connsiteX73" fmla="*/ 498443 w 2458593"/>
                  <a:gd name="connsiteY73" fmla="*/ 242411 h 560451"/>
                  <a:gd name="connsiteX74" fmla="*/ 498443 w 2458593"/>
                  <a:gd name="connsiteY74" fmla="*/ 248507 h 560451"/>
                  <a:gd name="connsiteX75" fmla="*/ 521589 w 2458593"/>
                  <a:gd name="connsiteY75" fmla="*/ 248507 h 560451"/>
                  <a:gd name="connsiteX76" fmla="*/ 521589 w 2458593"/>
                  <a:gd name="connsiteY76" fmla="*/ 254603 h 560451"/>
                  <a:gd name="connsiteX77" fmla="*/ 525780 w 2458593"/>
                  <a:gd name="connsiteY77" fmla="*/ 254603 h 560451"/>
                  <a:gd name="connsiteX78" fmla="*/ 525780 w 2458593"/>
                  <a:gd name="connsiteY78" fmla="*/ 260604 h 560451"/>
                  <a:gd name="connsiteX79" fmla="*/ 532067 w 2458593"/>
                  <a:gd name="connsiteY79" fmla="*/ 260604 h 560451"/>
                  <a:gd name="connsiteX80" fmla="*/ 532067 w 2458593"/>
                  <a:gd name="connsiteY80" fmla="*/ 272796 h 560451"/>
                  <a:gd name="connsiteX81" fmla="*/ 551021 w 2458593"/>
                  <a:gd name="connsiteY81" fmla="*/ 272796 h 560451"/>
                  <a:gd name="connsiteX82" fmla="*/ 551021 w 2458593"/>
                  <a:gd name="connsiteY82" fmla="*/ 278797 h 560451"/>
                  <a:gd name="connsiteX83" fmla="*/ 559403 w 2458593"/>
                  <a:gd name="connsiteY83" fmla="*/ 278797 h 560451"/>
                  <a:gd name="connsiteX84" fmla="*/ 559403 w 2458593"/>
                  <a:gd name="connsiteY84" fmla="*/ 284893 h 560451"/>
                  <a:gd name="connsiteX85" fmla="*/ 572072 w 2458593"/>
                  <a:gd name="connsiteY85" fmla="*/ 284893 h 560451"/>
                  <a:gd name="connsiteX86" fmla="*/ 572072 w 2458593"/>
                  <a:gd name="connsiteY86" fmla="*/ 290989 h 560451"/>
                  <a:gd name="connsiteX87" fmla="*/ 588931 w 2458593"/>
                  <a:gd name="connsiteY87" fmla="*/ 290989 h 560451"/>
                  <a:gd name="connsiteX88" fmla="*/ 588931 w 2458593"/>
                  <a:gd name="connsiteY88" fmla="*/ 296990 h 560451"/>
                  <a:gd name="connsiteX89" fmla="*/ 616268 w 2458593"/>
                  <a:gd name="connsiteY89" fmla="*/ 296990 h 560451"/>
                  <a:gd name="connsiteX90" fmla="*/ 616268 w 2458593"/>
                  <a:gd name="connsiteY90" fmla="*/ 303086 h 560451"/>
                  <a:gd name="connsiteX91" fmla="*/ 618363 w 2458593"/>
                  <a:gd name="connsiteY91" fmla="*/ 303086 h 560451"/>
                  <a:gd name="connsiteX92" fmla="*/ 618363 w 2458593"/>
                  <a:gd name="connsiteY92" fmla="*/ 309182 h 560451"/>
                  <a:gd name="connsiteX93" fmla="*/ 628840 w 2458593"/>
                  <a:gd name="connsiteY93" fmla="*/ 309182 h 560451"/>
                  <a:gd name="connsiteX94" fmla="*/ 628840 w 2458593"/>
                  <a:gd name="connsiteY94" fmla="*/ 315182 h 560451"/>
                  <a:gd name="connsiteX95" fmla="*/ 635127 w 2458593"/>
                  <a:gd name="connsiteY95" fmla="*/ 315182 h 560451"/>
                  <a:gd name="connsiteX96" fmla="*/ 635127 w 2458593"/>
                  <a:gd name="connsiteY96" fmla="*/ 327374 h 560451"/>
                  <a:gd name="connsiteX97" fmla="*/ 643604 w 2458593"/>
                  <a:gd name="connsiteY97" fmla="*/ 327374 h 560451"/>
                  <a:gd name="connsiteX98" fmla="*/ 643604 w 2458593"/>
                  <a:gd name="connsiteY98" fmla="*/ 333375 h 560451"/>
                  <a:gd name="connsiteX99" fmla="*/ 649891 w 2458593"/>
                  <a:gd name="connsiteY99" fmla="*/ 333375 h 560451"/>
                  <a:gd name="connsiteX100" fmla="*/ 649891 w 2458593"/>
                  <a:gd name="connsiteY100" fmla="*/ 345567 h 560451"/>
                  <a:gd name="connsiteX101" fmla="*/ 651986 w 2458593"/>
                  <a:gd name="connsiteY101" fmla="*/ 345567 h 560451"/>
                  <a:gd name="connsiteX102" fmla="*/ 651986 w 2458593"/>
                  <a:gd name="connsiteY102" fmla="*/ 351663 h 560451"/>
                  <a:gd name="connsiteX103" fmla="*/ 664559 w 2458593"/>
                  <a:gd name="connsiteY103" fmla="*/ 351663 h 560451"/>
                  <a:gd name="connsiteX104" fmla="*/ 664559 w 2458593"/>
                  <a:gd name="connsiteY104" fmla="*/ 357664 h 560451"/>
                  <a:gd name="connsiteX105" fmla="*/ 687705 w 2458593"/>
                  <a:gd name="connsiteY105" fmla="*/ 357664 h 560451"/>
                  <a:gd name="connsiteX106" fmla="*/ 687705 w 2458593"/>
                  <a:gd name="connsiteY106" fmla="*/ 363760 h 560451"/>
                  <a:gd name="connsiteX107" fmla="*/ 694087 w 2458593"/>
                  <a:gd name="connsiteY107" fmla="*/ 363760 h 560451"/>
                  <a:gd name="connsiteX108" fmla="*/ 694087 w 2458593"/>
                  <a:gd name="connsiteY108" fmla="*/ 369856 h 560451"/>
                  <a:gd name="connsiteX109" fmla="*/ 702469 w 2458593"/>
                  <a:gd name="connsiteY109" fmla="*/ 369856 h 560451"/>
                  <a:gd name="connsiteX110" fmla="*/ 702469 w 2458593"/>
                  <a:gd name="connsiteY110" fmla="*/ 375857 h 560451"/>
                  <a:gd name="connsiteX111" fmla="*/ 710851 w 2458593"/>
                  <a:gd name="connsiteY111" fmla="*/ 375857 h 560451"/>
                  <a:gd name="connsiteX112" fmla="*/ 710851 w 2458593"/>
                  <a:gd name="connsiteY112" fmla="*/ 381953 h 560451"/>
                  <a:gd name="connsiteX113" fmla="*/ 715042 w 2458593"/>
                  <a:gd name="connsiteY113" fmla="*/ 381953 h 560451"/>
                  <a:gd name="connsiteX114" fmla="*/ 715042 w 2458593"/>
                  <a:gd name="connsiteY114" fmla="*/ 388049 h 560451"/>
                  <a:gd name="connsiteX115" fmla="*/ 788670 w 2458593"/>
                  <a:gd name="connsiteY115" fmla="*/ 388049 h 560451"/>
                  <a:gd name="connsiteX116" fmla="*/ 788670 w 2458593"/>
                  <a:gd name="connsiteY116" fmla="*/ 394049 h 560451"/>
                  <a:gd name="connsiteX117" fmla="*/ 809720 w 2458593"/>
                  <a:gd name="connsiteY117" fmla="*/ 394049 h 560451"/>
                  <a:gd name="connsiteX118" fmla="*/ 809720 w 2458593"/>
                  <a:gd name="connsiteY118" fmla="*/ 400145 h 560451"/>
                  <a:gd name="connsiteX119" fmla="*/ 816007 w 2458593"/>
                  <a:gd name="connsiteY119" fmla="*/ 400145 h 560451"/>
                  <a:gd name="connsiteX120" fmla="*/ 816007 w 2458593"/>
                  <a:gd name="connsiteY120" fmla="*/ 406241 h 560451"/>
                  <a:gd name="connsiteX121" fmla="*/ 858107 w 2458593"/>
                  <a:gd name="connsiteY121" fmla="*/ 406241 h 560451"/>
                  <a:gd name="connsiteX122" fmla="*/ 858107 w 2458593"/>
                  <a:gd name="connsiteY122" fmla="*/ 412242 h 560451"/>
                  <a:gd name="connsiteX123" fmla="*/ 872776 w 2458593"/>
                  <a:gd name="connsiteY123" fmla="*/ 412242 h 560451"/>
                  <a:gd name="connsiteX124" fmla="*/ 872776 w 2458593"/>
                  <a:gd name="connsiteY124" fmla="*/ 418338 h 560451"/>
                  <a:gd name="connsiteX125" fmla="*/ 902303 w 2458593"/>
                  <a:gd name="connsiteY125" fmla="*/ 418338 h 560451"/>
                  <a:gd name="connsiteX126" fmla="*/ 902303 w 2458593"/>
                  <a:gd name="connsiteY126" fmla="*/ 424434 h 560451"/>
                  <a:gd name="connsiteX127" fmla="*/ 904399 w 2458593"/>
                  <a:gd name="connsiteY127" fmla="*/ 424434 h 560451"/>
                  <a:gd name="connsiteX128" fmla="*/ 904399 w 2458593"/>
                  <a:gd name="connsiteY128" fmla="*/ 430435 h 560451"/>
                  <a:gd name="connsiteX129" fmla="*/ 927449 w 2458593"/>
                  <a:gd name="connsiteY129" fmla="*/ 430435 h 560451"/>
                  <a:gd name="connsiteX130" fmla="*/ 927449 w 2458593"/>
                  <a:gd name="connsiteY130" fmla="*/ 436531 h 560451"/>
                  <a:gd name="connsiteX131" fmla="*/ 940118 w 2458593"/>
                  <a:gd name="connsiteY131" fmla="*/ 436531 h 560451"/>
                  <a:gd name="connsiteX132" fmla="*/ 940118 w 2458593"/>
                  <a:gd name="connsiteY132" fmla="*/ 442627 h 560451"/>
                  <a:gd name="connsiteX133" fmla="*/ 975836 w 2458593"/>
                  <a:gd name="connsiteY133" fmla="*/ 442627 h 560451"/>
                  <a:gd name="connsiteX134" fmla="*/ 975836 w 2458593"/>
                  <a:gd name="connsiteY134" fmla="*/ 448723 h 560451"/>
                  <a:gd name="connsiteX135" fmla="*/ 1091565 w 2458593"/>
                  <a:gd name="connsiteY135" fmla="*/ 448723 h 560451"/>
                  <a:gd name="connsiteX136" fmla="*/ 1091565 w 2458593"/>
                  <a:gd name="connsiteY136" fmla="*/ 454724 h 560451"/>
                  <a:gd name="connsiteX137" fmla="*/ 1129379 w 2458593"/>
                  <a:gd name="connsiteY137" fmla="*/ 454724 h 560451"/>
                  <a:gd name="connsiteX138" fmla="*/ 1129379 w 2458593"/>
                  <a:gd name="connsiteY138" fmla="*/ 460915 h 560451"/>
                  <a:gd name="connsiteX139" fmla="*/ 1181957 w 2458593"/>
                  <a:gd name="connsiteY139" fmla="*/ 460915 h 560451"/>
                  <a:gd name="connsiteX140" fmla="*/ 1181957 w 2458593"/>
                  <a:gd name="connsiteY140" fmla="*/ 467011 h 560451"/>
                  <a:gd name="connsiteX141" fmla="*/ 1200912 w 2458593"/>
                  <a:gd name="connsiteY141" fmla="*/ 467011 h 560451"/>
                  <a:gd name="connsiteX142" fmla="*/ 1200912 w 2458593"/>
                  <a:gd name="connsiteY142" fmla="*/ 473107 h 560451"/>
                  <a:gd name="connsiteX143" fmla="*/ 1211390 w 2458593"/>
                  <a:gd name="connsiteY143" fmla="*/ 473107 h 560451"/>
                  <a:gd name="connsiteX144" fmla="*/ 1211390 w 2458593"/>
                  <a:gd name="connsiteY144" fmla="*/ 479298 h 560451"/>
                  <a:gd name="connsiteX145" fmla="*/ 1245108 w 2458593"/>
                  <a:gd name="connsiteY145" fmla="*/ 479298 h 560451"/>
                  <a:gd name="connsiteX146" fmla="*/ 1245108 w 2458593"/>
                  <a:gd name="connsiteY146" fmla="*/ 485394 h 560451"/>
                  <a:gd name="connsiteX147" fmla="*/ 1251395 w 2458593"/>
                  <a:gd name="connsiteY147" fmla="*/ 485394 h 560451"/>
                  <a:gd name="connsiteX148" fmla="*/ 1251395 w 2458593"/>
                  <a:gd name="connsiteY148" fmla="*/ 491490 h 560451"/>
                  <a:gd name="connsiteX149" fmla="*/ 1266063 w 2458593"/>
                  <a:gd name="connsiteY149" fmla="*/ 491490 h 560451"/>
                  <a:gd name="connsiteX150" fmla="*/ 1266063 w 2458593"/>
                  <a:gd name="connsiteY150" fmla="*/ 497586 h 560451"/>
                  <a:gd name="connsiteX151" fmla="*/ 1278731 w 2458593"/>
                  <a:gd name="connsiteY151" fmla="*/ 497586 h 560451"/>
                  <a:gd name="connsiteX152" fmla="*/ 1278731 w 2458593"/>
                  <a:gd name="connsiteY152" fmla="*/ 503777 h 560451"/>
                  <a:gd name="connsiteX153" fmla="*/ 1303973 w 2458593"/>
                  <a:gd name="connsiteY153" fmla="*/ 503777 h 560451"/>
                  <a:gd name="connsiteX154" fmla="*/ 1303973 w 2458593"/>
                  <a:gd name="connsiteY154" fmla="*/ 509873 h 560451"/>
                  <a:gd name="connsiteX155" fmla="*/ 1533239 w 2458593"/>
                  <a:gd name="connsiteY155" fmla="*/ 509873 h 560451"/>
                  <a:gd name="connsiteX156" fmla="*/ 1533239 w 2458593"/>
                  <a:gd name="connsiteY156" fmla="*/ 516065 h 560451"/>
                  <a:gd name="connsiteX157" fmla="*/ 1646777 w 2458593"/>
                  <a:gd name="connsiteY157" fmla="*/ 516065 h 560451"/>
                  <a:gd name="connsiteX158" fmla="*/ 1646777 w 2458593"/>
                  <a:gd name="connsiteY158" fmla="*/ 522256 h 560451"/>
                  <a:gd name="connsiteX159" fmla="*/ 1915954 w 2458593"/>
                  <a:gd name="connsiteY159" fmla="*/ 522256 h 560451"/>
                  <a:gd name="connsiteX160" fmla="*/ 1915954 w 2458593"/>
                  <a:gd name="connsiteY160" fmla="*/ 528542 h 560451"/>
                  <a:gd name="connsiteX161" fmla="*/ 1989582 w 2458593"/>
                  <a:gd name="connsiteY161" fmla="*/ 528542 h 560451"/>
                  <a:gd name="connsiteX162" fmla="*/ 1989582 w 2458593"/>
                  <a:gd name="connsiteY162" fmla="*/ 534829 h 560451"/>
                  <a:gd name="connsiteX163" fmla="*/ 2069497 w 2458593"/>
                  <a:gd name="connsiteY163" fmla="*/ 534829 h 560451"/>
                  <a:gd name="connsiteX164" fmla="*/ 2069497 w 2458593"/>
                  <a:gd name="connsiteY164" fmla="*/ 541115 h 560451"/>
                  <a:gd name="connsiteX165" fmla="*/ 2231422 w 2458593"/>
                  <a:gd name="connsiteY165" fmla="*/ 541115 h 560451"/>
                  <a:gd name="connsiteX166" fmla="*/ 2231422 w 2458593"/>
                  <a:gd name="connsiteY166" fmla="*/ 547592 h 560451"/>
                  <a:gd name="connsiteX167" fmla="*/ 2248281 w 2458593"/>
                  <a:gd name="connsiteY167" fmla="*/ 547592 h 560451"/>
                  <a:gd name="connsiteX168" fmla="*/ 2248281 w 2458593"/>
                  <a:gd name="connsiteY168" fmla="*/ 553974 h 560451"/>
                  <a:gd name="connsiteX169" fmla="*/ 2366105 w 2458593"/>
                  <a:gd name="connsiteY169" fmla="*/ 553974 h 560451"/>
                  <a:gd name="connsiteX170" fmla="*/ 2366105 w 2458593"/>
                  <a:gd name="connsiteY170" fmla="*/ 560451 h 560451"/>
                  <a:gd name="connsiteX171" fmla="*/ 2458593 w 2458593"/>
                  <a:gd name="connsiteY171" fmla="*/ 560451 h 560451"/>
                  <a:gd name="connsiteX0" fmla="*/ 0 w 2366105"/>
                  <a:gd name="connsiteY0" fmla="*/ 0 h 560451"/>
                  <a:gd name="connsiteX1" fmla="*/ 113538 w 2366105"/>
                  <a:gd name="connsiteY1" fmla="*/ 0 h 560451"/>
                  <a:gd name="connsiteX2" fmla="*/ 113538 w 2366105"/>
                  <a:gd name="connsiteY2" fmla="*/ 5906 h 560451"/>
                  <a:gd name="connsiteX3" fmla="*/ 153543 w 2366105"/>
                  <a:gd name="connsiteY3" fmla="*/ 5906 h 560451"/>
                  <a:gd name="connsiteX4" fmla="*/ 153543 w 2366105"/>
                  <a:gd name="connsiteY4" fmla="*/ 12002 h 560451"/>
                  <a:gd name="connsiteX5" fmla="*/ 161925 w 2366105"/>
                  <a:gd name="connsiteY5" fmla="*/ 12002 h 560451"/>
                  <a:gd name="connsiteX6" fmla="*/ 161925 w 2366105"/>
                  <a:gd name="connsiteY6" fmla="*/ 18002 h 560451"/>
                  <a:gd name="connsiteX7" fmla="*/ 172498 w 2366105"/>
                  <a:gd name="connsiteY7" fmla="*/ 18002 h 560451"/>
                  <a:gd name="connsiteX8" fmla="*/ 172498 w 2366105"/>
                  <a:gd name="connsiteY8" fmla="*/ 24003 h 560451"/>
                  <a:gd name="connsiteX9" fmla="*/ 222980 w 2366105"/>
                  <a:gd name="connsiteY9" fmla="*/ 24003 h 560451"/>
                  <a:gd name="connsiteX10" fmla="*/ 222980 w 2366105"/>
                  <a:gd name="connsiteY10" fmla="*/ 30099 h 560451"/>
                  <a:gd name="connsiteX11" fmla="*/ 231362 w 2366105"/>
                  <a:gd name="connsiteY11" fmla="*/ 30099 h 560451"/>
                  <a:gd name="connsiteX12" fmla="*/ 231362 w 2366105"/>
                  <a:gd name="connsiteY12" fmla="*/ 42196 h 560451"/>
                  <a:gd name="connsiteX13" fmla="*/ 237649 w 2366105"/>
                  <a:gd name="connsiteY13" fmla="*/ 42196 h 560451"/>
                  <a:gd name="connsiteX14" fmla="*/ 237649 w 2366105"/>
                  <a:gd name="connsiteY14" fmla="*/ 48292 h 560451"/>
                  <a:gd name="connsiteX15" fmla="*/ 241840 w 2366105"/>
                  <a:gd name="connsiteY15" fmla="*/ 48292 h 560451"/>
                  <a:gd name="connsiteX16" fmla="*/ 241840 w 2366105"/>
                  <a:gd name="connsiteY16" fmla="*/ 54388 h 560451"/>
                  <a:gd name="connsiteX17" fmla="*/ 246031 w 2366105"/>
                  <a:gd name="connsiteY17" fmla="*/ 54388 h 560451"/>
                  <a:gd name="connsiteX18" fmla="*/ 246031 w 2366105"/>
                  <a:gd name="connsiteY18" fmla="*/ 60484 h 560451"/>
                  <a:gd name="connsiteX19" fmla="*/ 248126 w 2366105"/>
                  <a:gd name="connsiteY19" fmla="*/ 60484 h 560451"/>
                  <a:gd name="connsiteX20" fmla="*/ 248126 w 2366105"/>
                  <a:gd name="connsiteY20" fmla="*/ 66485 h 560451"/>
                  <a:gd name="connsiteX21" fmla="*/ 250317 w 2366105"/>
                  <a:gd name="connsiteY21" fmla="*/ 66485 h 560451"/>
                  <a:gd name="connsiteX22" fmla="*/ 250317 w 2366105"/>
                  <a:gd name="connsiteY22" fmla="*/ 72581 h 560451"/>
                  <a:gd name="connsiteX23" fmla="*/ 260794 w 2366105"/>
                  <a:gd name="connsiteY23" fmla="*/ 72581 h 560451"/>
                  <a:gd name="connsiteX24" fmla="*/ 260794 w 2366105"/>
                  <a:gd name="connsiteY24" fmla="*/ 78677 h 560451"/>
                  <a:gd name="connsiteX25" fmla="*/ 267081 w 2366105"/>
                  <a:gd name="connsiteY25" fmla="*/ 78677 h 560451"/>
                  <a:gd name="connsiteX26" fmla="*/ 267081 w 2366105"/>
                  <a:gd name="connsiteY26" fmla="*/ 84677 h 560451"/>
                  <a:gd name="connsiteX27" fmla="*/ 281845 w 2366105"/>
                  <a:gd name="connsiteY27" fmla="*/ 84677 h 560451"/>
                  <a:gd name="connsiteX28" fmla="*/ 281845 w 2366105"/>
                  <a:gd name="connsiteY28" fmla="*/ 90773 h 560451"/>
                  <a:gd name="connsiteX29" fmla="*/ 290227 w 2366105"/>
                  <a:gd name="connsiteY29" fmla="*/ 90773 h 560451"/>
                  <a:gd name="connsiteX30" fmla="*/ 290227 w 2366105"/>
                  <a:gd name="connsiteY30" fmla="*/ 96869 h 560451"/>
                  <a:gd name="connsiteX31" fmla="*/ 300800 w 2366105"/>
                  <a:gd name="connsiteY31" fmla="*/ 96869 h 560451"/>
                  <a:gd name="connsiteX32" fmla="*/ 300800 w 2366105"/>
                  <a:gd name="connsiteY32" fmla="*/ 102870 h 560451"/>
                  <a:gd name="connsiteX33" fmla="*/ 313373 w 2366105"/>
                  <a:gd name="connsiteY33" fmla="*/ 102870 h 560451"/>
                  <a:gd name="connsiteX34" fmla="*/ 313373 w 2366105"/>
                  <a:gd name="connsiteY34" fmla="*/ 108966 h 560451"/>
                  <a:gd name="connsiteX35" fmla="*/ 319659 w 2366105"/>
                  <a:gd name="connsiteY35" fmla="*/ 108966 h 560451"/>
                  <a:gd name="connsiteX36" fmla="*/ 319659 w 2366105"/>
                  <a:gd name="connsiteY36" fmla="*/ 121063 h 560451"/>
                  <a:gd name="connsiteX37" fmla="*/ 323850 w 2366105"/>
                  <a:gd name="connsiteY37" fmla="*/ 121063 h 560451"/>
                  <a:gd name="connsiteX38" fmla="*/ 323850 w 2366105"/>
                  <a:gd name="connsiteY38" fmla="*/ 127159 h 560451"/>
                  <a:gd name="connsiteX39" fmla="*/ 336518 w 2366105"/>
                  <a:gd name="connsiteY39" fmla="*/ 127159 h 560451"/>
                  <a:gd name="connsiteX40" fmla="*/ 336518 w 2366105"/>
                  <a:gd name="connsiteY40" fmla="*/ 133255 h 560451"/>
                  <a:gd name="connsiteX41" fmla="*/ 351187 w 2366105"/>
                  <a:gd name="connsiteY41" fmla="*/ 133255 h 560451"/>
                  <a:gd name="connsiteX42" fmla="*/ 351187 w 2366105"/>
                  <a:gd name="connsiteY42" fmla="*/ 139256 h 560451"/>
                  <a:gd name="connsiteX43" fmla="*/ 355473 w 2366105"/>
                  <a:gd name="connsiteY43" fmla="*/ 139256 h 560451"/>
                  <a:gd name="connsiteX44" fmla="*/ 355473 w 2366105"/>
                  <a:gd name="connsiteY44" fmla="*/ 145352 h 560451"/>
                  <a:gd name="connsiteX45" fmla="*/ 365950 w 2366105"/>
                  <a:gd name="connsiteY45" fmla="*/ 145352 h 560451"/>
                  <a:gd name="connsiteX46" fmla="*/ 365950 w 2366105"/>
                  <a:gd name="connsiteY46" fmla="*/ 151448 h 560451"/>
                  <a:gd name="connsiteX47" fmla="*/ 374333 w 2366105"/>
                  <a:gd name="connsiteY47" fmla="*/ 151448 h 560451"/>
                  <a:gd name="connsiteX48" fmla="*/ 374333 w 2366105"/>
                  <a:gd name="connsiteY48" fmla="*/ 157544 h 560451"/>
                  <a:gd name="connsiteX49" fmla="*/ 389096 w 2366105"/>
                  <a:gd name="connsiteY49" fmla="*/ 157544 h 560451"/>
                  <a:gd name="connsiteX50" fmla="*/ 389096 w 2366105"/>
                  <a:gd name="connsiteY50" fmla="*/ 163544 h 560451"/>
                  <a:gd name="connsiteX51" fmla="*/ 393287 w 2366105"/>
                  <a:gd name="connsiteY51" fmla="*/ 163544 h 560451"/>
                  <a:gd name="connsiteX52" fmla="*/ 393287 w 2366105"/>
                  <a:gd name="connsiteY52" fmla="*/ 169640 h 560451"/>
                  <a:gd name="connsiteX53" fmla="*/ 397478 w 2366105"/>
                  <a:gd name="connsiteY53" fmla="*/ 169640 h 560451"/>
                  <a:gd name="connsiteX54" fmla="*/ 397478 w 2366105"/>
                  <a:gd name="connsiteY54" fmla="*/ 175736 h 560451"/>
                  <a:gd name="connsiteX55" fmla="*/ 410147 w 2366105"/>
                  <a:gd name="connsiteY55" fmla="*/ 175736 h 560451"/>
                  <a:gd name="connsiteX56" fmla="*/ 410147 w 2366105"/>
                  <a:gd name="connsiteY56" fmla="*/ 181737 h 560451"/>
                  <a:gd name="connsiteX57" fmla="*/ 439579 w 2366105"/>
                  <a:gd name="connsiteY57" fmla="*/ 181737 h 560451"/>
                  <a:gd name="connsiteX58" fmla="*/ 439579 w 2366105"/>
                  <a:gd name="connsiteY58" fmla="*/ 187833 h 560451"/>
                  <a:gd name="connsiteX59" fmla="*/ 447961 w 2366105"/>
                  <a:gd name="connsiteY59" fmla="*/ 187833 h 560451"/>
                  <a:gd name="connsiteX60" fmla="*/ 447961 w 2366105"/>
                  <a:gd name="connsiteY60" fmla="*/ 193929 h 560451"/>
                  <a:gd name="connsiteX61" fmla="*/ 450056 w 2366105"/>
                  <a:gd name="connsiteY61" fmla="*/ 193929 h 560451"/>
                  <a:gd name="connsiteX62" fmla="*/ 450056 w 2366105"/>
                  <a:gd name="connsiteY62" fmla="*/ 199930 h 560451"/>
                  <a:gd name="connsiteX63" fmla="*/ 464820 w 2366105"/>
                  <a:gd name="connsiteY63" fmla="*/ 199930 h 560451"/>
                  <a:gd name="connsiteX64" fmla="*/ 464820 w 2366105"/>
                  <a:gd name="connsiteY64" fmla="*/ 212122 h 560451"/>
                  <a:gd name="connsiteX65" fmla="*/ 466916 w 2366105"/>
                  <a:gd name="connsiteY65" fmla="*/ 212122 h 560451"/>
                  <a:gd name="connsiteX66" fmla="*/ 466916 w 2366105"/>
                  <a:gd name="connsiteY66" fmla="*/ 218123 h 560451"/>
                  <a:gd name="connsiteX67" fmla="*/ 473202 w 2366105"/>
                  <a:gd name="connsiteY67" fmla="*/ 218123 h 560451"/>
                  <a:gd name="connsiteX68" fmla="*/ 473202 w 2366105"/>
                  <a:gd name="connsiteY68" fmla="*/ 224219 h 560451"/>
                  <a:gd name="connsiteX69" fmla="*/ 477393 w 2366105"/>
                  <a:gd name="connsiteY69" fmla="*/ 224219 h 560451"/>
                  <a:gd name="connsiteX70" fmla="*/ 477393 w 2366105"/>
                  <a:gd name="connsiteY70" fmla="*/ 230315 h 560451"/>
                  <a:gd name="connsiteX71" fmla="*/ 494252 w 2366105"/>
                  <a:gd name="connsiteY71" fmla="*/ 230315 h 560451"/>
                  <a:gd name="connsiteX72" fmla="*/ 494252 w 2366105"/>
                  <a:gd name="connsiteY72" fmla="*/ 242411 h 560451"/>
                  <a:gd name="connsiteX73" fmla="*/ 498443 w 2366105"/>
                  <a:gd name="connsiteY73" fmla="*/ 242411 h 560451"/>
                  <a:gd name="connsiteX74" fmla="*/ 498443 w 2366105"/>
                  <a:gd name="connsiteY74" fmla="*/ 248507 h 560451"/>
                  <a:gd name="connsiteX75" fmla="*/ 521589 w 2366105"/>
                  <a:gd name="connsiteY75" fmla="*/ 248507 h 560451"/>
                  <a:gd name="connsiteX76" fmla="*/ 521589 w 2366105"/>
                  <a:gd name="connsiteY76" fmla="*/ 254603 h 560451"/>
                  <a:gd name="connsiteX77" fmla="*/ 525780 w 2366105"/>
                  <a:gd name="connsiteY77" fmla="*/ 254603 h 560451"/>
                  <a:gd name="connsiteX78" fmla="*/ 525780 w 2366105"/>
                  <a:gd name="connsiteY78" fmla="*/ 260604 h 560451"/>
                  <a:gd name="connsiteX79" fmla="*/ 532067 w 2366105"/>
                  <a:gd name="connsiteY79" fmla="*/ 260604 h 560451"/>
                  <a:gd name="connsiteX80" fmla="*/ 532067 w 2366105"/>
                  <a:gd name="connsiteY80" fmla="*/ 272796 h 560451"/>
                  <a:gd name="connsiteX81" fmla="*/ 551021 w 2366105"/>
                  <a:gd name="connsiteY81" fmla="*/ 272796 h 560451"/>
                  <a:gd name="connsiteX82" fmla="*/ 551021 w 2366105"/>
                  <a:gd name="connsiteY82" fmla="*/ 278797 h 560451"/>
                  <a:gd name="connsiteX83" fmla="*/ 559403 w 2366105"/>
                  <a:gd name="connsiteY83" fmla="*/ 278797 h 560451"/>
                  <a:gd name="connsiteX84" fmla="*/ 559403 w 2366105"/>
                  <a:gd name="connsiteY84" fmla="*/ 284893 h 560451"/>
                  <a:gd name="connsiteX85" fmla="*/ 572072 w 2366105"/>
                  <a:gd name="connsiteY85" fmla="*/ 284893 h 560451"/>
                  <a:gd name="connsiteX86" fmla="*/ 572072 w 2366105"/>
                  <a:gd name="connsiteY86" fmla="*/ 290989 h 560451"/>
                  <a:gd name="connsiteX87" fmla="*/ 588931 w 2366105"/>
                  <a:gd name="connsiteY87" fmla="*/ 290989 h 560451"/>
                  <a:gd name="connsiteX88" fmla="*/ 588931 w 2366105"/>
                  <a:gd name="connsiteY88" fmla="*/ 296990 h 560451"/>
                  <a:gd name="connsiteX89" fmla="*/ 616268 w 2366105"/>
                  <a:gd name="connsiteY89" fmla="*/ 296990 h 560451"/>
                  <a:gd name="connsiteX90" fmla="*/ 616268 w 2366105"/>
                  <a:gd name="connsiteY90" fmla="*/ 303086 h 560451"/>
                  <a:gd name="connsiteX91" fmla="*/ 618363 w 2366105"/>
                  <a:gd name="connsiteY91" fmla="*/ 303086 h 560451"/>
                  <a:gd name="connsiteX92" fmla="*/ 618363 w 2366105"/>
                  <a:gd name="connsiteY92" fmla="*/ 309182 h 560451"/>
                  <a:gd name="connsiteX93" fmla="*/ 628840 w 2366105"/>
                  <a:gd name="connsiteY93" fmla="*/ 309182 h 560451"/>
                  <a:gd name="connsiteX94" fmla="*/ 628840 w 2366105"/>
                  <a:gd name="connsiteY94" fmla="*/ 315182 h 560451"/>
                  <a:gd name="connsiteX95" fmla="*/ 635127 w 2366105"/>
                  <a:gd name="connsiteY95" fmla="*/ 315182 h 560451"/>
                  <a:gd name="connsiteX96" fmla="*/ 635127 w 2366105"/>
                  <a:gd name="connsiteY96" fmla="*/ 327374 h 560451"/>
                  <a:gd name="connsiteX97" fmla="*/ 643604 w 2366105"/>
                  <a:gd name="connsiteY97" fmla="*/ 327374 h 560451"/>
                  <a:gd name="connsiteX98" fmla="*/ 643604 w 2366105"/>
                  <a:gd name="connsiteY98" fmla="*/ 333375 h 560451"/>
                  <a:gd name="connsiteX99" fmla="*/ 649891 w 2366105"/>
                  <a:gd name="connsiteY99" fmla="*/ 333375 h 560451"/>
                  <a:gd name="connsiteX100" fmla="*/ 649891 w 2366105"/>
                  <a:gd name="connsiteY100" fmla="*/ 345567 h 560451"/>
                  <a:gd name="connsiteX101" fmla="*/ 651986 w 2366105"/>
                  <a:gd name="connsiteY101" fmla="*/ 345567 h 560451"/>
                  <a:gd name="connsiteX102" fmla="*/ 651986 w 2366105"/>
                  <a:gd name="connsiteY102" fmla="*/ 351663 h 560451"/>
                  <a:gd name="connsiteX103" fmla="*/ 664559 w 2366105"/>
                  <a:gd name="connsiteY103" fmla="*/ 351663 h 560451"/>
                  <a:gd name="connsiteX104" fmla="*/ 664559 w 2366105"/>
                  <a:gd name="connsiteY104" fmla="*/ 357664 h 560451"/>
                  <a:gd name="connsiteX105" fmla="*/ 687705 w 2366105"/>
                  <a:gd name="connsiteY105" fmla="*/ 357664 h 560451"/>
                  <a:gd name="connsiteX106" fmla="*/ 687705 w 2366105"/>
                  <a:gd name="connsiteY106" fmla="*/ 363760 h 560451"/>
                  <a:gd name="connsiteX107" fmla="*/ 694087 w 2366105"/>
                  <a:gd name="connsiteY107" fmla="*/ 363760 h 560451"/>
                  <a:gd name="connsiteX108" fmla="*/ 694087 w 2366105"/>
                  <a:gd name="connsiteY108" fmla="*/ 369856 h 560451"/>
                  <a:gd name="connsiteX109" fmla="*/ 702469 w 2366105"/>
                  <a:gd name="connsiteY109" fmla="*/ 369856 h 560451"/>
                  <a:gd name="connsiteX110" fmla="*/ 702469 w 2366105"/>
                  <a:gd name="connsiteY110" fmla="*/ 375857 h 560451"/>
                  <a:gd name="connsiteX111" fmla="*/ 710851 w 2366105"/>
                  <a:gd name="connsiteY111" fmla="*/ 375857 h 560451"/>
                  <a:gd name="connsiteX112" fmla="*/ 710851 w 2366105"/>
                  <a:gd name="connsiteY112" fmla="*/ 381953 h 560451"/>
                  <a:gd name="connsiteX113" fmla="*/ 715042 w 2366105"/>
                  <a:gd name="connsiteY113" fmla="*/ 381953 h 560451"/>
                  <a:gd name="connsiteX114" fmla="*/ 715042 w 2366105"/>
                  <a:gd name="connsiteY114" fmla="*/ 388049 h 560451"/>
                  <a:gd name="connsiteX115" fmla="*/ 788670 w 2366105"/>
                  <a:gd name="connsiteY115" fmla="*/ 388049 h 560451"/>
                  <a:gd name="connsiteX116" fmla="*/ 788670 w 2366105"/>
                  <a:gd name="connsiteY116" fmla="*/ 394049 h 560451"/>
                  <a:gd name="connsiteX117" fmla="*/ 809720 w 2366105"/>
                  <a:gd name="connsiteY117" fmla="*/ 394049 h 560451"/>
                  <a:gd name="connsiteX118" fmla="*/ 809720 w 2366105"/>
                  <a:gd name="connsiteY118" fmla="*/ 400145 h 560451"/>
                  <a:gd name="connsiteX119" fmla="*/ 816007 w 2366105"/>
                  <a:gd name="connsiteY119" fmla="*/ 400145 h 560451"/>
                  <a:gd name="connsiteX120" fmla="*/ 816007 w 2366105"/>
                  <a:gd name="connsiteY120" fmla="*/ 406241 h 560451"/>
                  <a:gd name="connsiteX121" fmla="*/ 858107 w 2366105"/>
                  <a:gd name="connsiteY121" fmla="*/ 406241 h 560451"/>
                  <a:gd name="connsiteX122" fmla="*/ 858107 w 2366105"/>
                  <a:gd name="connsiteY122" fmla="*/ 412242 h 560451"/>
                  <a:gd name="connsiteX123" fmla="*/ 872776 w 2366105"/>
                  <a:gd name="connsiteY123" fmla="*/ 412242 h 560451"/>
                  <a:gd name="connsiteX124" fmla="*/ 872776 w 2366105"/>
                  <a:gd name="connsiteY124" fmla="*/ 418338 h 560451"/>
                  <a:gd name="connsiteX125" fmla="*/ 902303 w 2366105"/>
                  <a:gd name="connsiteY125" fmla="*/ 418338 h 560451"/>
                  <a:gd name="connsiteX126" fmla="*/ 902303 w 2366105"/>
                  <a:gd name="connsiteY126" fmla="*/ 424434 h 560451"/>
                  <a:gd name="connsiteX127" fmla="*/ 904399 w 2366105"/>
                  <a:gd name="connsiteY127" fmla="*/ 424434 h 560451"/>
                  <a:gd name="connsiteX128" fmla="*/ 904399 w 2366105"/>
                  <a:gd name="connsiteY128" fmla="*/ 430435 h 560451"/>
                  <a:gd name="connsiteX129" fmla="*/ 927449 w 2366105"/>
                  <a:gd name="connsiteY129" fmla="*/ 430435 h 560451"/>
                  <a:gd name="connsiteX130" fmla="*/ 927449 w 2366105"/>
                  <a:gd name="connsiteY130" fmla="*/ 436531 h 560451"/>
                  <a:gd name="connsiteX131" fmla="*/ 940118 w 2366105"/>
                  <a:gd name="connsiteY131" fmla="*/ 436531 h 560451"/>
                  <a:gd name="connsiteX132" fmla="*/ 940118 w 2366105"/>
                  <a:gd name="connsiteY132" fmla="*/ 442627 h 560451"/>
                  <a:gd name="connsiteX133" fmla="*/ 975836 w 2366105"/>
                  <a:gd name="connsiteY133" fmla="*/ 442627 h 560451"/>
                  <a:gd name="connsiteX134" fmla="*/ 975836 w 2366105"/>
                  <a:gd name="connsiteY134" fmla="*/ 448723 h 560451"/>
                  <a:gd name="connsiteX135" fmla="*/ 1091565 w 2366105"/>
                  <a:gd name="connsiteY135" fmla="*/ 448723 h 560451"/>
                  <a:gd name="connsiteX136" fmla="*/ 1091565 w 2366105"/>
                  <a:gd name="connsiteY136" fmla="*/ 454724 h 560451"/>
                  <a:gd name="connsiteX137" fmla="*/ 1129379 w 2366105"/>
                  <a:gd name="connsiteY137" fmla="*/ 454724 h 560451"/>
                  <a:gd name="connsiteX138" fmla="*/ 1129379 w 2366105"/>
                  <a:gd name="connsiteY138" fmla="*/ 460915 h 560451"/>
                  <a:gd name="connsiteX139" fmla="*/ 1181957 w 2366105"/>
                  <a:gd name="connsiteY139" fmla="*/ 460915 h 560451"/>
                  <a:gd name="connsiteX140" fmla="*/ 1181957 w 2366105"/>
                  <a:gd name="connsiteY140" fmla="*/ 467011 h 560451"/>
                  <a:gd name="connsiteX141" fmla="*/ 1200912 w 2366105"/>
                  <a:gd name="connsiteY141" fmla="*/ 467011 h 560451"/>
                  <a:gd name="connsiteX142" fmla="*/ 1200912 w 2366105"/>
                  <a:gd name="connsiteY142" fmla="*/ 473107 h 560451"/>
                  <a:gd name="connsiteX143" fmla="*/ 1211390 w 2366105"/>
                  <a:gd name="connsiteY143" fmla="*/ 473107 h 560451"/>
                  <a:gd name="connsiteX144" fmla="*/ 1211390 w 2366105"/>
                  <a:gd name="connsiteY144" fmla="*/ 479298 h 560451"/>
                  <a:gd name="connsiteX145" fmla="*/ 1245108 w 2366105"/>
                  <a:gd name="connsiteY145" fmla="*/ 479298 h 560451"/>
                  <a:gd name="connsiteX146" fmla="*/ 1245108 w 2366105"/>
                  <a:gd name="connsiteY146" fmla="*/ 485394 h 560451"/>
                  <a:gd name="connsiteX147" fmla="*/ 1251395 w 2366105"/>
                  <a:gd name="connsiteY147" fmla="*/ 485394 h 560451"/>
                  <a:gd name="connsiteX148" fmla="*/ 1251395 w 2366105"/>
                  <a:gd name="connsiteY148" fmla="*/ 491490 h 560451"/>
                  <a:gd name="connsiteX149" fmla="*/ 1266063 w 2366105"/>
                  <a:gd name="connsiteY149" fmla="*/ 491490 h 560451"/>
                  <a:gd name="connsiteX150" fmla="*/ 1266063 w 2366105"/>
                  <a:gd name="connsiteY150" fmla="*/ 497586 h 560451"/>
                  <a:gd name="connsiteX151" fmla="*/ 1278731 w 2366105"/>
                  <a:gd name="connsiteY151" fmla="*/ 497586 h 560451"/>
                  <a:gd name="connsiteX152" fmla="*/ 1278731 w 2366105"/>
                  <a:gd name="connsiteY152" fmla="*/ 503777 h 560451"/>
                  <a:gd name="connsiteX153" fmla="*/ 1303973 w 2366105"/>
                  <a:gd name="connsiteY153" fmla="*/ 503777 h 560451"/>
                  <a:gd name="connsiteX154" fmla="*/ 1303973 w 2366105"/>
                  <a:gd name="connsiteY154" fmla="*/ 509873 h 560451"/>
                  <a:gd name="connsiteX155" fmla="*/ 1533239 w 2366105"/>
                  <a:gd name="connsiteY155" fmla="*/ 509873 h 560451"/>
                  <a:gd name="connsiteX156" fmla="*/ 1533239 w 2366105"/>
                  <a:gd name="connsiteY156" fmla="*/ 516065 h 560451"/>
                  <a:gd name="connsiteX157" fmla="*/ 1646777 w 2366105"/>
                  <a:gd name="connsiteY157" fmla="*/ 516065 h 560451"/>
                  <a:gd name="connsiteX158" fmla="*/ 1646777 w 2366105"/>
                  <a:gd name="connsiteY158" fmla="*/ 522256 h 560451"/>
                  <a:gd name="connsiteX159" fmla="*/ 1915954 w 2366105"/>
                  <a:gd name="connsiteY159" fmla="*/ 522256 h 560451"/>
                  <a:gd name="connsiteX160" fmla="*/ 1915954 w 2366105"/>
                  <a:gd name="connsiteY160" fmla="*/ 528542 h 560451"/>
                  <a:gd name="connsiteX161" fmla="*/ 1989582 w 2366105"/>
                  <a:gd name="connsiteY161" fmla="*/ 528542 h 560451"/>
                  <a:gd name="connsiteX162" fmla="*/ 1989582 w 2366105"/>
                  <a:gd name="connsiteY162" fmla="*/ 534829 h 560451"/>
                  <a:gd name="connsiteX163" fmla="*/ 2069497 w 2366105"/>
                  <a:gd name="connsiteY163" fmla="*/ 534829 h 560451"/>
                  <a:gd name="connsiteX164" fmla="*/ 2069497 w 2366105"/>
                  <a:gd name="connsiteY164" fmla="*/ 541115 h 560451"/>
                  <a:gd name="connsiteX165" fmla="*/ 2231422 w 2366105"/>
                  <a:gd name="connsiteY165" fmla="*/ 541115 h 560451"/>
                  <a:gd name="connsiteX166" fmla="*/ 2231422 w 2366105"/>
                  <a:gd name="connsiteY166" fmla="*/ 547592 h 560451"/>
                  <a:gd name="connsiteX167" fmla="*/ 2248281 w 2366105"/>
                  <a:gd name="connsiteY167" fmla="*/ 547592 h 560451"/>
                  <a:gd name="connsiteX168" fmla="*/ 2248281 w 2366105"/>
                  <a:gd name="connsiteY168" fmla="*/ 553974 h 560451"/>
                  <a:gd name="connsiteX169" fmla="*/ 2366105 w 2366105"/>
                  <a:gd name="connsiteY169" fmla="*/ 553974 h 560451"/>
                  <a:gd name="connsiteX170" fmla="*/ 2366105 w 2366105"/>
                  <a:gd name="connsiteY170" fmla="*/ 560451 h 560451"/>
                  <a:gd name="connsiteX0" fmla="*/ 0 w 2366105"/>
                  <a:gd name="connsiteY0" fmla="*/ 0 h 553974"/>
                  <a:gd name="connsiteX1" fmla="*/ 113538 w 2366105"/>
                  <a:gd name="connsiteY1" fmla="*/ 0 h 553974"/>
                  <a:gd name="connsiteX2" fmla="*/ 113538 w 2366105"/>
                  <a:gd name="connsiteY2" fmla="*/ 5906 h 553974"/>
                  <a:gd name="connsiteX3" fmla="*/ 153543 w 2366105"/>
                  <a:gd name="connsiteY3" fmla="*/ 5906 h 553974"/>
                  <a:gd name="connsiteX4" fmla="*/ 153543 w 2366105"/>
                  <a:gd name="connsiteY4" fmla="*/ 12002 h 553974"/>
                  <a:gd name="connsiteX5" fmla="*/ 161925 w 2366105"/>
                  <a:gd name="connsiteY5" fmla="*/ 12002 h 553974"/>
                  <a:gd name="connsiteX6" fmla="*/ 161925 w 2366105"/>
                  <a:gd name="connsiteY6" fmla="*/ 18002 h 553974"/>
                  <a:gd name="connsiteX7" fmla="*/ 172498 w 2366105"/>
                  <a:gd name="connsiteY7" fmla="*/ 18002 h 553974"/>
                  <a:gd name="connsiteX8" fmla="*/ 172498 w 2366105"/>
                  <a:gd name="connsiteY8" fmla="*/ 24003 h 553974"/>
                  <a:gd name="connsiteX9" fmla="*/ 222980 w 2366105"/>
                  <a:gd name="connsiteY9" fmla="*/ 24003 h 553974"/>
                  <a:gd name="connsiteX10" fmla="*/ 222980 w 2366105"/>
                  <a:gd name="connsiteY10" fmla="*/ 30099 h 553974"/>
                  <a:gd name="connsiteX11" fmla="*/ 231362 w 2366105"/>
                  <a:gd name="connsiteY11" fmla="*/ 30099 h 553974"/>
                  <a:gd name="connsiteX12" fmla="*/ 231362 w 2366105"/>
                  <a:gd name="connsiteY12" fmla="*/ 42196 h 553974"/>
                  <a:gd name="connsiteX13" fmla="*/ 237649 w 2366105"/>
                  <a:gd name="connsiteY13" fmla="*/ 42196 h 553974"/>
                  <a:gd name="connsiteX14" fmla="*/ 237649 w 2366105"/>
                  <a:gd name="connsiteY14" fmla="*/ 48292 h 553974"/>
                  <a:gd name="connsiteX15" fmla="*/ 241840 w 2366105"/>
                  <a:gd name="connsiteY15" fmla="*/ 48292 h 553974"/>
                  <a:gd name="connsiteX16" fmla="*/ 241840 w 2366105"/>
                  <a:gd name="connsiteY16" fmla="*/ 54388 h 553974"/>
                  <a:gd name="connsiteX17" fmla="*/ 246031 w 2366105"/>
                  <a:gd name="connsiteY17" fmla="*/ 54388 h 553974"/>
                  <a:gd name="connsiteX18" fmla="*/ 246031 w 2366105"/>
                  <a:gd name="connsiteY18" fmla="*/ 60484 h 553974"/>
                  <a:gd name="connsiteX19" fmla="*/ 248126 w 2366105"/>
                  <a:gd name="connsiteY19" fmla="*/ 60484 h 553974"/>
                  <a:gd name="connsiteX20" fmla="*/ 248126 w 2366105"/>
                  <a:gd name="connsiteY20" fmla="*/ 66485 h 553974"/>
                  <a:gd name="connsiteX21" fmla="*/ 250317 w 2366105"/>
                  <a:gd name="connsiteY21" fmla="*/ 66485 h 553974"/>
                  <a:gd name="connsiteX22" fmla="*/ 250317 w 2366105"/>
                  <a:gd name="connsiteY22" fmla="*/ 72581 h 553974"/>
                  <a:gd name="connsiteX23" fmla="*/ 260794 w 2366105"/>
                  <a:gd name="connsiteY23" fmla="*/ 72581 h 553974"/>
                  <a:gd name="connsiteX24" fmla="*/ 260794 w 2366105"/>
                  <a:gd name="connsiteY24" fmla="*/ 78677 h 553974"/>
                  <a:gd name="connsiteX25" fmla="*/ 267081 w 2366105"/>
                  <a:gd name="connsiteY25" fmla="*/ 78677 h 553974"/>
                  <a:gd name="connsiteX26" fmla="*/ 267081 w 2366105"/>
                  <a:gd name="connsiteY26" fmla="*/ 84677 h 553974"/>
                  <a:gd name="connsiteX27" fmla="*/ 281845 w 2366105"/>
                  <a:gd name="connsiteY27" fmla="*/ 84677 h 553974"/>
                  <a:gd name="connsiteX28" fmla="*/ 281845 w 2366105"/>
                  <a:gd name="connsiteY28" fmla="*/ 90773 h 553974"/>
                  <a:gd name="connsiteX29" fmla="*/ 290227 w 2366105"/>
                  <a:gd name="connsiteY29" fmla="*/ 90773 h 553974"/>
                  <a:gd name="connsiteX30" fmla="*/ 290227 w 2366105"/>
                  <a:gd name="connsiteY30" fmla="*/ 96869 h 553974"/>
                  <a:gd name="connsiteX31" fmla="*/ 300800 w 2366105"/>
                  <a:gd name="connsiteY31" fmla="*/ 96869 h 553974"/>
                  <a:gd name="connsiteX32" fmla="*/ 300800 w 2366105"/>
                  <a:gd name="connsiteY32" fmla="*/ 102870 h 553974"/>
                  <a:gd name="connsiteX33" fmla="*/ 313373 w 2366105"/>
                  <a:gd name="connsiteY33" fmla="*/ 102870 h 553974"/>
                  <a:gd name="connsiteX34" fmla="*/ 313373 w 2366105"/>
                  <a:gd name="connsiteY34" fmla="*/ 108966 h 553974"/>
                  <a:gd name="connsiteX35" fmla="*/ 319659 w 2366105"/>
                  <a:gd name="connsiteY35" fmla="*/ 108966 h 553974"/>
                  <a:gd name="connsiteX36" fmla="*/ 319659 w 2366105"/>
                  <a:gd name="connsiteY36" fmla="*/ 121063 h 553974"/>
                  <a:gd name="connsiteX37" fmla="*/ 323850 w 2366105"/>
                  <a:gd name="connsiteY37" fmla="*/ 121063 h 553974"/>
                  <a:gd name="connsiteX38" fmla="*/ 323850 w 2366105"/>
                  <a:gd name="connsiteY38" fmla="*/ 127159 h 553974"/>
                  <a:gd name="connsiteX39" fmla="*/ 336518 w 2366105"/>
                  <a:gd name="connsiteY39" fmla="*/ 127159 h 553974"/>
                  <a:gd name="connsiteX40" fmla="*/ 336518 w 2366105"/>
                  <a:gd name="connsiteY40" fmla="*/ 133255 h 553974"/>
                  <a:gd name="connsiteX41" fmla="*/ 351187 w 2366105"/>
                  <a:gd name="connsiteY41" fmla="*/ 133255 h 553974"/>
                  <a:gd name="connsiteX42" fmla="*/ 351187 w 2366105"/>
                  <a:gd name="connsiteY42" fmla="*/ 139256 h 553974"/>
                  <a:gd name="connsiteX43" fmla="*/ 355473 w 2366105"/>
                  <a:gd name="connsiteY43" fmla="*/ 139256 h 553974"/>
                  <a:gd name="connsiteX44" fmla="*/ 355473 w 2366105"/>
                  <a:gd name="connsiteY44" fmla="*/ 145352 h 553974"/>
                  <a:gd name="connsiteX45" fmla="*/ 365950 w 2366105"/>
                  <a:gd name="connsiteY45" fmla="*/ 145352 h 553974"/>
                  <a:gd name="connsiteX46" fmla="*/ 365950 w 2366105"/>
                  <a:gd name="connsiteY46" fmla="*/ 151448 h 553974"/>
                  <a:gd name="connsiteX47" fmla="*/ 374333 w 2366105"/>
                  <a:gd name="connsiteY47" fmla="*/ 151448 h 553974"/>
                  <a:gd name="connsiteX48" fmla="*/ 374333 w 2366105"/>
                  <a:gd name="connsiteY48" fmla="*/ 157544 h 553974"/>
                  <a:gd name="connsiteX49" fmla="*/ 389096 w 2366105"/>
                  <a:gd name="connsiteY49" fmla="*/ 157544 h 553974"/>
                  <a:gd name="connsiteX50" fmla="*/ 389096 w 2366105"/>
                  <a:gd name="connsiteY50" fmla="*/ 163544 h 553974"/>
                  <a:gd name="connsiteX51" fmla="*/ 393287 w 2366105"/>
                  <a:gd name="connsiteY51" fmla="*/ 163544 h 553974"/>
                  <a:gd name="connsiteX52" fmla="*/ 393287 w 2366105"/>
                  <a:gd name="connsiteY52" fmla="*/ 169640 h 553974"/>
                  <a:gd name="connsiteX53" fmla="*/ 397478 w 2366105"/>
                  <a:gd name="connsiteY53" fmla="*/ 169640 h 553974"/>
                  <a:gd name="connsiteX54" fmla="*/ 397478 w 2366105"/>
                  <a:gd name="connsiteY54" fmla="*/ 175736 h 553974"/>
                  <a:gd name="connsiteX55" fmla="*/ 410147 w 2366105"/>
                  <a:gd name="connsiteY55" fmla="*/ 175736 h 553974"/>
                  <a:gd name="connsiteX56" fmla="*/ 410147 w 2366105"/>
                  <a:gd name="connsiteY56" fmla="*/ 181737 h 553974"/>
                  <a:gd name="connsiteX57" fmla="*/ 439579 w 2366105"/>
                  <a:gd name="connsiteY57" fmla="*/ 181737 h 553974"/>
                  <a:gd name="connsiteX58" fmla="*/ 439579 w 2366105"/>
                  <a:gd name="connsiteY58" fmla="*/ 187833 h 553974"/>
                  <a:gd name="connsiteX59" fmla="*/ 447961 w 2366105"/>
                  <a:gd name="connsiteY59" fmla="*/ 187833 h 553974"/>
                  <a:gd name="connsiteX60" fmla="*/ 447961 w 2366105"/>
                  <a:gd name="connsiteY60" fmla="*/ 193929 h 553974"/>
                  <a:gd name="connsiteX61" fmla="*/ 450056 w 2366105"/>
                  <a:gd name="connsiteY61" fmla="*/ 193929 h 553974"/>
                  <a:gd name="connsiteX62" fmla="*/ 450056 w 2366105"/>
                  <a:gd name="connsiteY62" fmla="*/ 199930 h 553974"/>
                  <a:gd name="connsiteX63" fmla="*/ 464820 w 2366105"/>
                  <a:gd name="connsiteY63" fmla="*/ 199930 h 553974"/>
                  <a:gd name="connsiteX64" fmla="*/ 464820 w 2366105"/>
                  <a:gd name="connsiteY64" fmla="*/ 212122 h 553974"/>
                  <a:gd name="connsiteX65" fmla="*/ 466916 w 2366105"/>
                  <a:gd name="connsiteY65" fmla="*/ 212122 h 553974"/>
                  <a:gd name="connsiteX66" fmla="*/ 466916 w 2366105"/>
                  <a:gd name="connsiteY66" fmla="*/ 218123 h 553974"/>
                  <a:gd name="connsiteX67" fmla="*/ 473202 w 2366105"/>
                  <a:gd name="connsiteY67" fmla="*/ 218123 h 553974"/>
                  <a:gd name="connsiteX68" fmla="*/ 473202 w 2366105"/>
                  <a:gd name="connsiteY68" fmla="*/ 224219 h 553974"/>
                  <a:gd name="connsiteX69" fmla="*/ 477393 w 2366105"/>
                  <a:gd name="connsiteY69" fmla="*/ 224219 h 553974"/>
                  <a:gd name="connsiteX70" fmla="*/ 477393 w 2366105"/>
                  <a:gd name="connsiteY70" fmla="*/ 230315 h 553974"/>
                  <a:gd name="connsiteX71" fmla="*/ 494252 w 2366105"/>
                  <a:gd name="connsiteY71" fmla="*/ 230315 h 553974"/>
                  <a:gd name="connsiteX72" fmla="*/ 494252 w 2366105"/>
                  <a:gd name="connsiteY72" fmla="*/ 242411 h 553974"/>
                  <a:gd name="connsiteX73" fmla="*/ 498443 w 2366105"/>
                  <a:gd name="connsiteY73" fmla="*/ 242411 h 553974"/>
                  <a:gd name="connsiteX74" fmla="*/ 498443 w 2366105"/>
                  <a:gd name="connsiteY74" fmla="*/ 248507 h 553974"/>
                  <a:gd name="connsiteX75" fmla="*/ 521589 w 2366105"/>
                  <a:gd name="connsiteY75" fmla="*/ 248507 h 553974"/>
                  <a:gd name="connsiteX76" fmla="*/ 521589 w 2366105"/>
                  <a:gd name="connsiteY76" fmla="*/ 254603 h 553974"/>
                  <a:gd name="connsiteX77" fmla="*/ 525780 w 2366105"/>
                  <a:gd name="connsiteY77" fmla="*/ 254603 h 553974"/>
                  <a:gd name="connsiteX78" fmla="*/ 525780 w 2366105"/>
                  <a:gd name="connsiteY78" fmla="*/ 260604 h 553974"/>
                  <a:gd name="connsiteX79" fmla="*/ 532067 w 2366105"/>
                  <a:gd name="connsiteY79" fmla="*/ 260604 h 553974"/>
                  <a:gd name="connsiteX80" fmla="*/ 532067 w 2366105"/>
                  <a:gd name="connsiteY80" fmla="*/ 272796 h 553974"/>
                  <a:gd name="connsiteX81" fmla="*/ 551021 w 2366105"/>
                  <a:gd name="connsiteY81" fmla="*/ 272796 h 553974"/>
                  <a:gd name="connsiteX82" fmla="*/ 551021 w 2366105"/>
                  <a:gd name="connsiteY82" fmla="*/ 278797 h 553974"/>
                  <a:gd name="connsiteX83" fmla="*/ 559403 w 2366105"/>
                  <a:gd name="connsiteY83" fmla="*/ 278797 h 553974"/>
                  <a:gd name="connsiteX84" fmla="*/ 559403 w 2366105"/>
                  <a:gd name="connsiteY84" fmla="*/ 284893 h 553974"/>
                  <a:gd name="connsiteX85" fmla="*/ 572072 w 2366105"/>
                  <a:gd name="connsiteY85" fmla="*/ 284893 h 553974"/>
                  <a:gd name="connsiteX86" fmla="*/ 572072 w 2366105"/>
                  <a:gd name="connsiteY86" fmla="*/ 290989 h 553974"/>
                  <a:gd name="connsiteX87" fmla="*/ 588931 w 2366105"/>
                  <a:gd name="connsiteY87" fmla="*/ 290989 h 553974"/>
                  <a:gd name="connsiteX88" fmla="*/ 588931 w 2366105"/>
                  <a:gd name="connsiteY88" fmla="*/ 296990 h 553974"/>
                  <a:gd name="connsiteX89" fmla="*/ 616268 w 2366105"/>
                  <a:gd name="connsiteY89" fmla="*/ 296990 h 553974"/>
                  <a:gd name="connsiteX90" fmla="*/ 616268 w 2366105"/>
                  <a:gd name="connsiteY90" fmla="*/ 303086 h 553974"/>
                  <a:gd name="connsiteX91" fmla="*/ 618363 w 2366105"/>
                  <a:gd name="connsiteY91" fmla="*/ 303086 h 553974"/>
                  <a:gd name="connsiteX92" fmla="*/ 618363 w 2366105"/>
                  <a:gd name="connsiteY92" fmla="*/ 309182 h 553974"/>
                  <a:gd name="connsiteX93" fmla="*/ 628840 w 2366105"/>
                  <a:gd name="connsiteY93" fmla="*/ 309182 h 553974"/>
                  <a:gd name="connsiteX94" fmla="*/ 628840 w 2366105"/>
                  <a:gd name="connsiteY94" fmla="*/ 315182 h 553974"/>
                  <a:gd name="connsiteX95" fmla="*/ 635127 w 2366105"/>
                  <a:gd name="connsiteY95" fmla="*/ 315182 h 553974"/>
                  <a:gd name="connsiteX96" fmla="*/ 635127 w 2366105"/>
                  <a:gd name="connsiteY96" fmla="*/ 327374 h 553974"/>
                  <a:gd name="connsiteX97" fmla="*/ 643604 w 2366105"/>
                  <a:gd name="connsiteY97" fmla="*/ 327374 h 553974"/>
                  <a:gd name="connsiteX98" fmla="*/ 643604 w 2366105"/>
                  <a:gd name="connsiteY98" fmla="*/ 333375 h 553974"/>
                  <a:gd name="connsiteX99" fmla="*/ 649891 w 2366105"/>
                  <a:gd name="connsiteY99" fmla="*/ 333375 h 553974"/>
                  <a:gd name="connsiteX100" fmla="*/ 649891 w 2366105"/>
                  <a:gd name="connsiteY100" fmla="*/ 345567 h 553974"/>
                  <a:gd name="connsiteX101" fmla="*/ 651986 w 2366105"/>
                  <a:gd name="connsiteY101" fmla="*/ 345567 h 553974"/>
                  <a:gd name="connsiteX102" fmla="*/ 651986 w 2366105"/>
                  <a:gd name="connsiteY102" fmla="*/ 351663 h 553974"/>
                  <a:gd name="connsiteX103" fmla="*/ 664559 w 2366105"/>
                  <a:gd name="connsiteY103" fmla="*/ 351663 h 553974"/>
                  <a:gd name="connsiteX104" fmla="*/ 664559 w 2366105"/>
                  <a:gd name="connsiteY104" fmla="*/ 357664 h 553974"/>
                  <a:gd name="connsiteX105" fmla="*/ 687705 w 2366105"/>
                  <a:gd name="connsiteY105" fmla="*/ 357664 h 553974"/>
                  <a:gd name="connsiteX106" fmla="*/ 687705 w 2366105"/>
                  <a:gd name="connsiteY106" fmla="*/ 363760 h 553974"/>
                  <a:gd name="connsiteX107" fmla="*/ 694087 w 2366105"/>
                  <a:gd name="connsiteY107" fmla="*/ 363760 h 553974"/>
                  <a:gd name="connsiteX108" fmla="*/ 694087 w 2366105"/>
                  <a:gd name="connsiteY108" fmla="*/ 369856 h 553974"/>
                  <a:gd name="connsiteX109" fmla="*/ 702469 w 2366105"/>
                  <a:gd name="connsiteY109" fmla="*/ 369856 h 553974"/>
                  <a:gd name="connsiteX110" fmla="*/ 702469 w 2366105"/>
                  <a:gd name="connsiteY110" fmla="*/ 375857 h 553974"/>
                  <a:gd name="connsiteX111" fmla="*/ 710851 w 2366105"/>
                  <a:gd name="connsiteY111" fmla="*/ 375857 h 553974"/>
                  <a:gd name="connsiteX112" fmla="*/ 710851 w 2366105"/>
                  <a:gd name="connsiteY112" fmla="*/ 381953 h 553974"/>
                  <a:gd name="connsiteX113" fmla="*/ 715042 w 2366105"/>
                  <a:gd name="connsiteY113" fmla="*/ 381953 h 553974"/>
                  <a:gd name="connsiteX114" fmla="*/ 715042 w 2366105"/>
                  <a:gd name="connsiteY114" fmla="*/ 388049 h 553974"/>
                  <a:gd name="connsiteX115" fmla="*/ 788670 w 2366105"/>
                  <a:gd name="connsiteY115" fmla="*/ 388049 h 553974"/>
                  <a:gd name="connsiteX116" fmla="*/ 788670 w 2366105"/>
                  <a:gd name="connsiteY116" fmla="*/ 394049 h 553974"/>
                  <a:gd name="connsiteX117" fmla="*/ 809720 w 2366105"/>
                  <a:gd name="connsiteY117" fmla="*/ 394049 h 553974"/>
                  <a:gd name="connsiteX118" fmla="*/ 809720 w 2366105"/>
                  <a:gd name="connsiteY118" fmla="*/ 400145 h 553974"/>
                  <a:gd name="connsiteX119" fmla="*/ 816007 w 2366105"/>
                  <a:gd name="connsiteY119" fmla="*/ 400145 h 553974"/>
                  <a:gd name="connsiteX120" fmla="*/ 816007 w 2366105"/>
                  <a:gd name="connsiteY120" fmla="*/ 406241 h 553974"/>
                  <a:gd name="connsiteX121" fmla="*/ 858107 w 2366105"/>
                  <a:gd name="connsiteY121" fmla="*/ 406241 h 553974"/>
                  <a:gd name="connsiteX122" fmla="*/ 858107 w 2366105"/>
                  <a:gd name="connsiteY122" fmla="*/ 412242 h 553974"/>
                  <a:gd name="connsiteX123" fmla="*/ 872776 w 2366105"/>
                  <a:gd name="connsiteY123" fmla="*/ 412242 h 553974"/>
                  <a:gd name="connsiteX124" fmla="*/ 872776 w 2366105"/>
                  <a:gd name="connsiteY124" fmla="*/ 418338 h 553974"/>
                  <a:gd name="connsiteX125" fmla="*/ 902303 w 2366105"/>
                  <a:gd name="connsiteY125" fmla="*/ 418338 h 553974"/>
                  <a:gd name="connsiteX126" fmla="*/ 902303 w 2366105"/>
                  <a:gd name="connsiteY126" fmla="*/ 424434 h 553974"/>
                  <a:gd name="connsiteX127" fmla="*/ 904399 w 2366105"/>
                  <a:gd name="connsiteY127" fmla="*/ 424434 h 553974"/>
                  <a:gd name="connsiteX128" fmla="*/ 904399 w 2366105"/>
                  <a:gd name="connsiteY128" fmla="*/ 430435 h 553974"/>
                  <a:gd name="connsiteX129" fmla="*/ 927449 w 2366105"/>
                  <a:gd name="connsiteY129" fmla="*/ 430435 h 553974"/>
                  <a:gd name="connsiteX130" fmla="*/ 927449 w 2366105"/>
                  <a:gd name="connsiteY130" fmla="*/ 436531 h 553974"/>
                  <a:gd name="connsiteX131" fmla="*/ 940118 w 2366105"/>
                  <a:gd name="connsiteY131" fmla="*/ 436531 h 553974"/>
                  <a:gd name="connsiteX132" fmla="*/ 940118 w 2366105"/>
                  <a:gd name="connsiteY132" fmla="*/ 442627 h 553974"/>
                  <a:gd name="connsiteX133" fmla="*/ 975836 w 2366105"/>
                  <a:gd name="connsiteY133" fmla="*/ 442627 h 553974"/>
                  <a:gd name="connsiteX134" fmla="*/ 975836 w 2366105"/>
                  <a:gd name="connsiteY134" fmla="*/ 448723 h 553974"/>
                  <a:gd name="connsiteX135" fmla="*/ 1091565 w 2366105"/>
                  <a:gd name="connsiteY135" fmla="*/ 448723 h 553974"/>
                  <a:gd name="connsiteX136" fmla="*/ 1091565 w 2366105"/>
                  <a:gd name="connsiteY136" fmla="*/ 454724 h 553974"/>
                  <a:gd name="connsiteX137" fmla="*/ 1129379 w 2366105"/>
                  <a:gd name="connsiteY137" fmla="*/ 454724 h 553974"/>
                  <a:gd name="connsiteX138" fmla="*/ 1129379 w 2366105"/>
                  <a:gd name="connsiteY138" fmla="*/ 460915 h 553974"/>
                  <a:gd name="connsiteX139" fmla="*/ 1181957 w 2366105"/>
                  <a:gd name="connsiteY139" fmla="*/ 460915 h 553974"/>
                  <a:gd name="connsiteX140" fmla="*/ 1181957 w 2366105"/>
                  <a:gd name="connsiteY140" fmla="*/ 467011 h 553974"/>
                  <a:gd name="connsiteX141" fmla="*/ 1200912 w 2366105"/>
                  <a:gd name="connsiteY141" fmla="*/ 467011 h 553974"/>
                  <a:gd name="connsiteX142" fmla="*/ 1200912 w 2366105"/>
                  <a:gd name="connsiteY142" fmla="*/ 473107 h 553974"/>
                  <a:gd name="connsiteX143" fmla="*/ 1211390 w 2366105"/>
                  <a:gd name="connsiteY143" fmla="*/ 473107 h 553974"/>
                  <a:gd name="connsiteX144" fmla="*/ 1211390 w 2366105"/>
                  <a:gd name="connsiteY144" fmla="*/ 479298 h 553974"/>
                  <a:gd name="connsiteX145" fmla="*/ 1245108 w 2366105"/>
                  <a:gd name="connsiteY145" fmla="*/ 479298 h 553974"/>
                  <a:gd name="connsiteX146" fmla="*/ 1245108 w 2366105"/>
                  <a:gd name="connsiteY146" fmla="*/ 485394 h 553974"/>
                  <a:gd name="connsiteX147" fmla="*/ 1251395 w 2366105"/>
                  <a:gd name="connsiteY147" fmla="*/ 485394 h 553974"/>
                  <a:gd name="connsiteX148" fmla="*/ 1251395 w 2366105"/>
                  <a:gd name="connsiteY148" fmla="*/ 491490 h 553974"/>
                  <a:gd name="connsiteX149" fmla="*/ 1266063 w 2366105"/>
                  <a:gd name="connsiteY149" fmla="*/ 491490 h 553974"/>
                  <a:gd name="connsiteX150" fmla="*/ 1266063 w 2366105"/>
                  <a:gd name="connsiteY150" fmla="*/ 497586 h 553974"/>
                  <a:gd name="connsiteX151" fmla="*/ 1278731 w 2366105"/>
                  <a:gd name="connsiteY151" fmla="*/ 497586 h 553974"/>
                  <a:gd name="connsiteX152" fmla="*/ 1278731 w 2366105"/>
                  <a:gd name="connsiteY152" fmla="*/ 503777 h 553974"/>
                  <a:gd name="connsiteX153" fmla="*/ 1303973 w 2366105"/>
                  <a:gd name="connsiteY153" fmla="*/ 503777 h 553974"/>
                  <a:gd name="connsiteX154" fmla="*/ 1303973 w 2366105"/>
                  <a:gd name="connsiteY154" fmla="*/ 509873 h 553974"/>
                  <a:gd name="connsiteX155" fmla="*/ 1533239 w 2366105"/>
                  <a:gd name="connsiteY155" fmla="*/ 509873 h 553974"/>
                  <a:gd name="connsiteX156" fmla="*/ 1533239 w 2366105"/>
                  <a:gd name="connsiteY156" fmla="*/ 516065 h 553974"/>
                  <a:gd name="connsiteX157" fmla="*/ 1646777 w 2366105"/>
                  <a:gd name="connsiteY157" fmla="*/ 516065 h 553974"/>
                  <a:gd name="connsiteX158" fmla="*/ 1646777 w 2366105"/>
                  <a:gd name="connsiteY158" fmla="*/ 522256 h 553974"/>
                  <a:gd name="connsiteX159" fmla="*/ 1915954 w 2366105"/>
                  <a:gd name="connsiteY159" fmla="*/ 522256 h 553974"/>
                  <a:gd name="connsiteX160" fmla="*/ 1915954 w 2366105"/>
                  <a:gd name="connsiteY160" fmla="*/ 528542 h 553974"/>
                  <a:gd name="connsiteX161" fmla="*/ 1989582 w 2366105"/>
                  <a:gd name="connsiteY161" fmla="*/ 528542 h 553974"/>
                  <a:gd name="connsiteX162" fmla="*/ 1989582 w 2366105"/>
                  <a:gd name="connsiteY162" fmla="*/ 534829 h 553974"/>
                  <a:gd name="connsiteX163" fmla="*/ 2069497 w 2366105"/>
                  <a:gd name="connsiteY163" fmla="*/ 534829 h 553974"/>
                  <a:gd name="connsiteX164" fmla="*/ 2069497 w 2366105"/>
                  <a:gd name="connsiteY164" fmla="*/ 541115 h 553974"/>
                  <a:gd name="connsiteX165" fmla="*/ 2231422 w 2366105"/>
                  <a:gd name="connsiteY165" fmla="*/ 541115 h 553974"/>
                  <a:gd name="connsiteX166" fmla="*/ 2231422 w 2366105"/>
                  <a:gd name="connsiteY166" fmla="*/ 547592 h 553974"/>
                  <a:gd name="connsiteX167" fmla="*/ 2248281 w 2366105"/>
                  <a:gd name="connsiteY167" fmla="*/ 547592 h 553974"/>
                  <a:gd name="connsiteX168" fmla="*/ 2248281 w 2366105"/>
                  <a:gd name="connsiteY168" fmla="*/ 553974 h 553974"/>
                  <a:gd name="connsiteX169" fmla="*/ 2366105 w 2366105"/>
                  <a:gd name="connsiteY169" fmla="*/ 553974 h 553974"/>
                  <a:gd name="connsiteX0" fmla="*/ 0 w 2320122"/>
                  <a:gd name="connsiteY0" fmla="*/ 0 h 553974"/>
                  <a:gd name="connsiteX1" fmla="*/ 113538 w 2320122"/>
                  <a:gd name="connsiteY1" fmla="*/ 0 h 553974"/>
                  <a:gd name="connsiteX2" fmla="*/ 113538 w 2320122"/>
                  <a:gd name="connsiteY2" fmla="*/ 5906 h 553974"/>
                  <a:gd name="connsiteX3" fmla="*/ 153543 w 2320122"/>
                  <a:gd name="connsiteY3" fmla="*/ 5906 h 553974"/>
                  <a:gd name="connsiteX4" fmla="*/ 153543 w 2320122"/>
                  <a:gd name="connsiteY4" fmla="*/ 12002 h 553974"/>
                  <a:gd name="connsiteX5" fmla="*/ 161925 w 2320122"/>
                  <a:gd name="connsiteY5" fmla="*/ 12002 h 553974"/>
                  <a:gd name="connsiteX6" fmla="*/ 161925 w 2320122"/>
                  <a:gd name="connsiteY6" fmla="*/ 18002 h 553974"/>
                  <a:gd name="connsiteX7" fmla="*/ 172498 w 2320122"/>
                  <a:gd name="connsiteY7" fmla="*/ 18002 h 553974"/>
                  <a:gd name="connsiteX8" fmla="*/ 172498 w 2320122"/>
                  <a:gd name="connsiteY8" fmla="*/ 24003 h 553974"/>
                  <a:gd name="connsiteX9" fmla="*/ 222980 w 2320122"/>
                  <a:gd name="connsiteY9" fmla="*/ 24003 h 553974"/>
                  <a:gd name="connsiteX10" fmla="*/ 222980 w 2320122"/>
                  <a:gd name="connsiteY10" fmla="*/ 30099 h 553974"/>
                  <a:gd name="connsiteX11" fmla="*/ 231362 w 2320122"/>
                  <a:gd name="connsiteY11" fmla="*/ 30099 h 553974"/>
                  <a:gd name="connsiteX12" fmla="*/ 231362 w 2320122"/>
                  <a:gd name="connsiteY12" fmla="*/ 42196 h 553974"/>
                  <a:gd name="connsiteX13" fmla="*/ 237649 w 2320122"/>
                  <a:gd name="connsiteY13" fmla="*/ 42196 h 553974"/>
                  <a:gd name="connsiteX14" fmla="*/ 237649 w 2320122"/>
                  <a:gd name="connsiteY14" fmla="*/ 48292 h 553974"/>
                  <a:gd name="connsiteX15" fmla="*/ 241840 w 2320122"/>
                  <a:gd name="connsiteY15" fmla="*/ 48292 h 553974"/>
                  <a:gd name="connsiteX16" fmla="*/ 241840 w 2320122"/>
                  <a:gd name="connsiteY16" fmla="*/ 54388 h 553974"/>
                  <a:gd name="connsiteX17" fmla="*/ 246031 w 2320122"/>
                  <a:gd name="connsiteY17" fmla="*/ 54388 h 553974"/>
                  <a:gd name="connsiteX18" fmla="*/ 246031 w 2320122"/>
                  <a:gd name="connsiteY18" fmla="*/ 60484 h 553974"/>
                  <a:gd name="connsiteX19" fmla="*/ 248126 w 2320122"/>
                  <a:gd name="connsiteY19" fmla="*/ 60484 h 553974"/>
                  <a:gd name="connsiteX20" fmla="*/ 248126 w 2320122"/>
                  <a:gd name="connsiteY20" fmla="*/ 66485 h 553974"/>
                  <a:gd name="connsiteX21" fmla="*/ 250317 w 2320122"/>
                  <a:gd name="connsiteY21" fmla="*/ 66485 h 553974"/>
                  <a:gd name="connsiteX22" fmla="*/ 250317 w 2320122"/>
                  <a:gd name="connsiteY22" fmla="*/ 72581 h 553974"/>
                  <a:gd name="connsiteX23" fmla="*/ 260794 w 2320122"/>
                  <a:gd name="connsiteY23" fmla="*/ 72581 h 553974"/>
                  <a:gd name="connsiteX24" fmla="*/ 260794 w 2320122"/>
                  <a:gd name="connsiteY24" fmla="*/ 78677 h 553974"/>
                  <a:gd name="connsiteX25" fmla="*/ 267081 w 2320122"/>
                  <a:gd name="connsiteY25" fmla="*/ 78677 h 553974"/>
                  <a:gd name="connsiteX26" fmla="*/ 267081 w 2320122"/>
                  <a:gd name="connsiteY26" fmla="*/ 84677 h 553974"/>
                  <a:gd name="connsiteX27" fmla="*/ 281845 w 2320122"/>
                  <a:gd name="connsiteY27" fmla="*/ 84677 h 553974"/>
                  <a:gd name="connsiteX28" fmla="*/ 281845 w 2320122"/>
                  <a:gd name="connsiteY28" fmla="*/ 90773 h 553974"/>
                  <a:gd name="connsiteX29" fmla="*/ 290227 w 2320122"/>
                  <a:gd name="connsiteY29" fmla="*/ 90773 h 553974"/>
                  <a:gd name="connsiteX30" fmla="*/ 290227 w 2320122"/>
                  <a:gd name="connsiteY30" fmla="*/ 96869 h 553974"/>
                  <a:gd name="connsiteX31" fmla="*/ 300800 w 2320122"/>
                  <a:gd name="connsiteY31" fmla="*/ 96869 h 553974"/>
                  <a:gd name="connsiteX32" fmla="*/ 300800 w 2320122"/>
                  <a:gd name="connsiteY32" fmla="*/ 102870 h 553974"/>
                  <a:gd name="connsiteX33" fmla="*/ 313373 w 2320122"/>
                  <a:gd name="connsiteY33" fmla="*/ 102870 h 553974"/>
                  <a:gd name="connsiteX34" fmla="*/ 313373 w 2320122"/>
                  <a:gd name="connsiteY34" fmla="*/ 108966 h 553974"/>
                  <a:gd name="connsiteX35" fmla="*/ 319659 w 2320122"/>
                  <a:gd name="connsiteY35" fmla="*/ 108966 h 553974"/>
                  <a:gd name="connsiteX36" fmla="*/ 319659 w 2320122"/>
                  <a:gd name="connsiteY36" fmla="*/ 121063 h 553974"/>
                  <a:gd name="connsiteX37" fmla="*/ 323850 w 2320122"/>
                  <a:gd name="connsiteY37" fmla="*/ 121063 h 553974"/>
                  <a:gd name="connsiteX38" fmla="*/ 323850 w 2320122"/>
                  <a:gd name="connsiteY38" fmla="*/ 127159 h 553974"/>
                  <a:gd name="connsiteX39" fmla="*/ 336518 w 2320122"/>
                  <a:gd name="connsiteY39" fmla="*/ 127159 h 553974"/>
                  <a:gd name="connsiteX40" fmla="*/ 336518 w 2320122"/>
                  <a:gd name="connsiteY40" fmla="*/ 133255 h 553974"/>
                  <a:gd name="connsiteX41" fmla="*/ 351187 w 2320122"/>
                  <a:gd name="connsiteY41" fmla="*/ 133255 h 553974"/>
                  <a:gd name="connsiteX42" fmla="*/ 351187 w 2320122"/>
                  <a:gd name="connsiteY42" fmla="*/ 139256 h 553974"/>
                  <a:gd name="connsiteX43" fmla="*/ 355473 w 2320122"/>
                  <a:gd name="connsiteY43" fmla="*/ 139256 h 553974"/>
                  <a:gd name="connsiteX44" fmla="*/ 355473 w 2320122"/>
                  <a:gd name="connsiteY44" fmla="*/ 145352 h 553974"/>
                  <a:gd name="connsiteX45" fmla="*/ 365950 w 2320122"/>
                  <a:gd name="connsiteY45" fmla="*/ 145352 h 553974"/>
                  <a:gd name="connsiteX46" fmla="*/ 365950 w 2320122"/>
                  <a:gd name="connsiteY46" fmla="*/ 151448 h 553974"/>
                  <a:gd name="connsiteX47" fmla="*/ 374333 w 2320122"/>
                  <a:gd name="connsiteY47" fmla="*/ 151448 h 553974"/>
                  <a:gd name="connsiteX48" fmla="*/ 374333 w 2320122"/>
                  <a:gd name="connsiteY48" fmla="*/ 157544 h 553974"/>
                  <a:gd name="connsiteX49" fmla="*/ 389096 w 2320122"/>
                  <a:gd name="connsiteY49" fmla="*/ 157544 h 553974"/>
                  <a:gd name="connsiteX50" fmla="*/ 389096 w 2320122"/>
                  <a:gd name="connsiteY50" fmla="*/ 163544 h 553974"/>
                  <a:gd name="connsiteX51" fmla="*/ 393287 w 2320122"/>
                  <a:gd name="connsiteY51" fmla="*/ 163544 h 553974"/>
                  <a:gd name="connsiteX52" fmla="*/ 393287 w 2320122"/>
                  <a:gd name="connsiteY52" fmla="*/ 169640 h 553974"/>
                  <a:gd name="connsiteX53" fmla="*/ 397478 w 2320122"/>
                  <a:gd name="connsiteY53" fmla="*/ 169640 h 553974"/>
                  <a:gd name="connsiteX54" fmla="*/ 397478 w 2320122"/>
                  <a:gd name="connsiteY54" fmla="*/ 175736 h 553974"/>
                  <a:gd name="connsiteX55" fmla="*/ 410147 w 2320122"/>
                  <a:gd name="connsiteY55" fmla="*/ 175736 h 553974"/>
                  <a:gd name="connsiteX56" fmla="*/ 410147 w 2320122"/>
                  <a:gd name="connsiteY56" fmla="*/ 181737 h 553974"/>
                  <a:gd name="connsiteX57" fmla="*/ 439579 w 2320122"/>
                  <a:gd name="connsiteY57" fmla="*/ 181737 h 553974"/>
                  <a:gd name="connsiteX58" fmla="*/ 439579 w 2320122"/>
                  <a:gd name="connsiteY58" fmla="*/ 187833 h 553974"/>
                  <a:gd name="connsiteX59" fmla="*/ 447961 w 2320122"/>
                  <a:gd name="connsiteY59" fmla="*/ 187833 h 553974"/>
                  <a:gd name="connsiteX60" fmla="*/ 447961 w 2320122"/>
                  <a:gd name="connsiteY60" fmla="*/ 193929 h 553974"/>
                  <a:gd name="connsiteX61" fmla="*/ 450056 w 2320122"/>
                  <a:gd name="connsiteY61" fmla="*/ 193929 h 553974"/>
                  <a:gd name="connsiteX62" fmla="*/ 450056 w 2320122"/>
                  <a:gd name="connsiteY62" fmla="*/ 199930 h 553974"/>
                  <a:gd name="connsiteX63" fmla="*/ 464820 w 2320122"/>
                  <a:gd name="connsiteY63" fmla="*/ 199930 h 553974"/>
                  <a:gd name="connsiteX64" fmla="*/ 464820 w 2320122"/>
                  <a:gd name="connsiteY64" fmla="*/ 212122 h 553974"/>
                  <a:gd name="connsiteX65" fmla="*/ 466916 w 2320122"/>
                  <a:gd name="connsiteY65" fmla="*/ 212122 h 553974"/>
                  <a:gd name="connsiteX66" fmla="*/ 466916 w 2320122"/>
                  <a:gd name="connsiteY66" fmla="*/ 218123 h 553974"/>
                  <a:gd name="connsiteX67" fmla="*/ 473202 w 2320122"/>
                  <a:gd name="connsiteY67" fmla="*/ 218123 h 553974"/>
                  <a:gd name="connsiteX68" fmla="*/ 473202 w 2320122"/>
                  <a:gd name="connsiteY68" fmla="*/ 224219 h 553974"/>
                  <a:gd name="connsiteX69" fmla="*/ 477393 w 2320122"/>
                  <a:gd name="connsiteY69" fmla="*/ 224219 h 553974"/>
                  <a:gd name="connsiteX70" fmla="*/ 477393 w 2320122"/>
                  <a:gd name="connsiteY70" fmla="*/ 230315 h 553974"/>
                  <a:gd name="connsiteX71" fmla="*/ 494252 w 2320122"/>
                  <a:gd name="connsiteY71" fmla="*/ 230315 h 553974"/>
                  <a:gd name="connsiteX72" fmla="*/ 494252 w 2320122"/>
                  <a:gd name="connsiteY72" fmla="*/ 242411 h 553974"/>
                  <a:gd name="connsiteX73" fmla="*/ 498443 w 2320122"/>
                  <a:gd name="connsiteY73" fmla="*/ 242411 h 553974"/>
                  <a:gd name="connsiteX74" fmla="*/ 498443 w 2320122"/>
                  <a:gd name="connsiteY74" fmla="*/ 248507 h 553974"/>
                  <a:gd name="connsiteX75" fmla="*/ 521589 w 2320122"/>
                  <a:gd name="connsiteY75" fmla="*/ 248507 h 553974"/>
                  <a:gd name="connsiteX76" fmla="*/ 521589 w 2320122"/>
                  <a:gd name="connsiteY76" fmla="*/ 254603 h 553974"/>
                  <a:gd name="connsiteX77" fmla="*/ 525780 w 2320122"/>
                  <a:gd name="connsiteY77" fmla="*/ 254603 h 553974"/>
                  <a:gd name="connsiteX78" fmla="*/ 525780 w 2320122"/>
                  <a:gd name="connsiteY78" fmla="*/ 260604 h 553974"/>
                  <a:gd name="connsiteX79" fmla="*/ 532067 w 2320122"/>
                  <a:gd name="connsiteY79" fmla="*/ 260604 h 553974"/>
                  <a:gd name="connsiteX80" fmla="*/ 532067 w 2320122"/>
                  <a:gd name="connsiteY80" fmla="*/ 272796 h 553974"/>
                  <a:gd name="connsiteX81" fmla="*/ 551021 w 2320122"/>
                  <a:gd name="connsiteY81" fmla="*/ 272796 h 553974"/>
                  <a:gd name="connsiteX82" fmla="*/ 551021 w 2320122"/>
                  <a:gd name="connsiteY82" fmla="*/ 278797 h 553974"/>
                  <a:gd name="connsiteX83" fmla="*/ 559403 w 2320122"/>
                  <a:gd name="connsiteY83" fmla="*/ 278797 h 553974"/>
                  <a:gd name="connsiteX84" fmla="*/ 559403 w 2320122"/>
                  <a:gd name="connsiteY84" fmla="*/ 284893 h 553974"/>
                  <a:gd name="connsiteX85" fmla="*/ 572072 w 2320122"/>
                  <a:gd name="connsiteY85" fmla="*/ 284893 h 553974"/>
                  <a:gd name="connsiteX86" fmla="*/ 572072 w 2320122"/>
                  <a:gd name="connsiteY86" fmla="*/ 290989 h 553974"/>
                  <a:gd name="connsiteX87" fmla="*/ 588931 w 2320122"/>
                  <a:gd name="connsiteY87" fmla="*/ 290989 h 553974"/>
                  <a:gd name="connsiteX88" fmla="*/ 588931 w 2320122"/>
                  <a:gd name="connsiteY88" fmla="*/ 296990 h 553974"/>
                  <a:gd name="connsiteX89" fmla="*/ 616268 w 2320122"/>
                  <a:gd name="connsiteY89" fmla="*/ 296990 h 553974"/>
                  <a:gd name="connsiteX90" fmla="*/ 616268 w 2320122"/>
                  <a:gd name="connsiteY90" fmla="*/ 303086 h 553974"/>
                  <a:gd name="connsiteX91" fmla="*/ 618363 w 2320122"/>
                  <a:gd name="connsiteY91" fmla="*/ 303086 h 553974"/>
                  <a:gd name="connsiteX92" fmla="*/ 618363 w 2320122"/>
                  <a:gd name="connsiteY92" fmla="*/ 309182 h 553974"/>
                  <a:gd name="connsiteX93" fmla="*/ 628840 w 2320122"/>
                  <a:gd name="connsiteY93" fmla="*/ 309182 h 553974"/>
                  <a:gd name="connsiteX94" fmla="*/ 628840 w 2320122"/>
                  <a:gd name="connsiteY94" fmla="*/ 315182 h 553974"/>
                  <a:gd name="connsiteX95" fmla="*/ 635127 w 2320122"/>
                  <a:gd name="connsiteY95" fmla="*/ 315182 h 553974"/>
                  <a:gd name="connsiteX96" fmla="*/ 635127 w 2320122"/>
                  <a:gd name="connsiteY96" fmla="*/ 327374 h 553974"/>
                  <a:gd name="connsiteX97" fmla="*/ 643604 w 2320122"/>
                  <a:gd name="connsiteY97" fmla="*/ 327374 h 553974"/>
                  <a:gd name="connsiteX98" fmla="*/ 643604 w 2320122"/>
                  <a:gd name="connsiteY98" fmla="*/ 333375 h 553974"/>
                  <a:gd name="connsiteX99" fmla="*/ 649891 w 2320122"/>
                  <a:gd name="connsiteY99" fmla="*/ 333375 h 553974"/>
                  <a:gd name="connsiteX100" fmla="*/ 649891 w 2320122"/>
                  <a:gd name="connsiteY100" fmla="*/ 345567 h 553974"/>
                  <a:gd name="connsiteX101" fmla="*/ 651986 w 2320122"/>
                  <a:gd name="connsiteY101" fmla="*/ 345567 h 553974"/>
                  <a:gd name="connsiteX102" fmla="*/ 651986 w 2320122"/>
                  <a:gd name="connsiteY102" fmla="*/ 351663 h 553974"/>
                  <a:gd name="connsiteX103" fmla="*/ 664559 w 2320122"/>
                  <a:gd name="connsiteY103" fmla="*/ 351663 h 553974"/>
                  <a:gd name="connsiteX104" fmla="*/ 664559 w 2320122"/>
                  <a:gd name="connsiteY104" fmla="*/ 357664 h 553974"/>
                  <a:gd name="connsiteX105" fmla="*/ 687705 w 2320122"/>
                  <a:gd name="connsiteY105" fmla="*/ 357664 h 553974"/>
                  <a:gd name="connsiteX106" fmla="*/ 687705 w 2320122"/>
                  <a:gd name="connsiteY106" fmla="*/ 363760 h 553974"/>
                  <a:gd name="connsiteX107" fmla="*/ 694087 w 2320122"/>
                  <a:gd name="connsiteY107" fmla="*/ 363760 h 553974"/>
                  <a:gd name="connsiteX108" fmla="*/ 694087 w 2320122"/>
                  <a:gd name="connsiteY108" fmla="*/ 369856 h 553974"/>
                  <a:gd name="connsiteX109" fmla="*/ 702469 w 2320122"/>
                  <a:gd name="connsiteY109" fmla="*/ 369856 h 553974"/>
                  <a:gd name="connsiteX110" fmla="*/ 702469 w 2320122"/>
                  <a:gd name="connsiteY110" fmla="*/ 375857 h 553974"/>
                  <a:gd name="connsiteX111" fmla="*/ 710851 w 2320122"/>
                  <a:gd name="connsiteY111" fmla="*/ 375857 h 553974"/>
                  <a:gd name="connsiteX112" fmla="*/ 710851 w 2320122"/>
                  <a:gd name="connsiteY112" fmla="*/ 381953 h 553974"/>
                  <a:gd name="connsiteX113" fmla="*/ 715042 w 2320122"/>
                  <a:gd name="connsiteY113" fmla="*/ 381953 h 553974"/>
                  <a:gd name="connsiteX114" fmla="*/ 715042 w 2320122"/>
                  <a:gd name="connsiteY114" fmla="*/ 388049 h 553974"/>
                  <a:gd name="connsiteX115" fmla="*/ 788670 w 2320122"/>
                  <a:gd name="connsiteY115" fmla="*/ 388049 h 553974"/>
                  <a:gd name="connsiteX116" fmla="*/ 788670 w 2320122"/>
                  <a:gd name="connsiteY116" fmla="*/ 394049 h 553974"/>
                  <a:gd name="connsiteX117" fmla="*/ 809720 w 2320122"/>
                  <a:gd name="connsiteY117" fmla="*/ 394049 h 553974"/>
                  <a:gd name="connsiteX118" fmla="*/ 809720 w 2320122"/>
                  <a:gd name="connsiteY118" fmla="*/ 400145 h 553974"/>
                  <a:gd name="connsiteX119" fmla="*/ 816007 w 2320122"/>
                  <a:gd name="connsiteY119" fmla="*/ 400145 h 553974"/>
                  <a:gd name="connsiteX120" fmla="*/ 816007 w 2320122"/>
                  <a:gd name="connsiteY120" fmla="*/ 406241 h 553974"/>
                  <a:gd name="connsiteX121" fmla="*/ 858107 w 2320122"/>
                  <a:gd name="connsiteY121" fmla="*/ 406241 h 553974"/>
                  <a:gd name="connsiteX122" fmla="*/ 858107 w 2320122"/>
                  <a:gd name="connsiteY122" fmla="*/ 412242 h 553974"/>
                  <a:gd name="connsiteX123" fmla="*/ 872776 w 2320122"/>
                  <a:gd name="connsiteY123" fmla="*/ 412242 h 553974"/>
                  <a:gd name="connsiteX124" fmla="*/ 872776 w 2320122"/>
                  <a:gd name="connsiteY124" fmla="*/ 418338 h 553974"/>
                  <a:gd name="connsiteX125" fmla="*/ 902303 w 2320122"/>
                  <a:gd name="connsiteY125" fmla="*/ 418338 h 553974"/>
                  <a:gd name="connsiteX126" fmla="*/ 902303 w 2320122"/>
                  <a:gd name="connsiteY126" fmla="*/ 424434 h 553974"/>
                  <a:gd name="connsiteX127" fmla="*/ 904399 w 2320122"/>
                  <a:gd name="connsiteY127" fmla="*/ 424434 h 553974"/>
                  <a:gd name="connsiteX128" fmla="*/ 904399 w 2320122"/>
                  <a:gd name="connsiteY128" fmla="*/ 430435 h 553974"/>
                  <a:gd name="connsiteX129" fmla="*/ 927449 w 2320122"/>
                  <a:gd name="connsiteY129" fmla="*/ 430435 h 553974"/>
                  <a:gd name="connsiteX130" fmla="*/ 927449 w 2320122"/>
                  <a:gd name="connsiteY130" fmla="*/ 436531 h 553974"/>
                  <a:gd name="connsiteX131" fmla="*/ 940118 w 2320122"/>
                  <a:gd name="connsiteY131" fmla="*/ 436531 h 553974"/>
                  <a:gd name="connsiteX132" fmla="*/ 940118 w 2320122"/>
                  <a:gd name="connsiteY132" fmla="*/ 442627 h 553974"/>
                  <a:gd name="connsiteX133" fmla="*/ 975836 w 2320122"/>
                  <a:gd name="connsiteY133" fmla="*/ 442627 h 553974"/>
                  <a:gd name="connsiteX134" fmla="*/ 975836 w 2320122"/>
                  <a:gd name="connsiteY134" fmla="*/ 448723 h 553974"/>
                  <a:gd name="connsiteX135" fmla="*/ 1091565 w 2320122"/>
                  <a:gd name="connsiteY135" fmla="*/ 448723 h 553974"/>
                  <a:gd name="connsiteX136" fmla="*/ 1091565 w 2320122"/>
                  <a:gd name="connsiteY136" fmla="*/ 454724 h 553974"/>
                  <a:gd name="connsiteX137" fmla="*/ 1129379 w 2320122"/>
                  <a:gd name="connsiteY137" fmla="*/ 454724 h 553974"/>
                  <a:gd name="connsiteX138" fmla="*/ 1129379 w 2320122"/>
                  <a:gd name="connsiteY138" fmla="*/ 460915 h 553974"/>
                  <a:gd name="connsiteX139" fmla="*/ 1181957 w 2320122"/>
                  <a:gd name="connsiteY139" fmla="*/ 460915 h 553974"/>
                  <a:gd name="connsiteX140" fmla="*/ 1181957 w 2320122"/>
                  <a:gd name="connsiteY140" fmla="*/ 467011 h 553974"/>
                  <a:gd name="connsiteX141" fmla="*/ 1200912 w 2320122"/>
                  <a:gd name="connsiteY141" fmla="*/ 467011 h 553974"/>
                  <a:gd name="connsiteX142" fmla="*/ 1200912 w 2320122"/>
                  <a:gd name="connsiteY142" fmla="*/ 473107 h 553974"/>
                  <a:gd name="connsiteX143" fmla="*/ 1211390 w 2320122"/>
                  <a:gd name="connsiteY143" fmla="*/ 473107 h 553974"/>
                  <a:gd name="connsiteX144" fmla="*/ 1211390 w 2320122"/>
                  <a:gd name="connsiteY144" fmla="*/ 479298 h 553974"/>
                  <a:gd name="connsiteX145" fmla="*/ 1245108 w 2320122"/>
                  <a:gd name="connsiteY145" fmla="*/ 479298 h 553974"/>
                  <a:gd name="connsiteX146" fmla="*/ 1245108 w 2320122"/>
                  <a:gd name="connsiteY146" fmla="*/ 485394 h 553974"/>
                  <a:gd name="connsiteX147" fmla="*/ 1251395 w 2320122"/>
                  <a:gd name="connsiteY147" fmla="*/ 485394 h 553974"/>
                  <a:gd name="connsiteX148" fmla="*/ 1251395 w 2320122"/>
                  <a:gd name="connsiteY148" fmla="*/ 491490 h 553974"/>
                  <a:gd name="connsiteX149" fmla="*/ 1266063 w 2320122"/>
                  <a:gd name="connsiteY149" fmla="*/ 491490 h 553974"/>
                  <a:gd name="connsiteX150" fmla="*/ 1266063 w 2320122"/>
                  <a:gd name="connsiteY150" fmla="*/ 497586 h 553974"/>
                  <a:gd name="connsiteX151" fmla="*/ 1278731 w 2320122"/>
                  <a:gd name="connsiteY151" fmla="*/ 497586 h 553974"/>
                  <a:gd name="connsiteX152" fmla="*/ 1278731 w 2320122"/>
                  <a:gd name="connsiteY152" fmla="*/ 503777 h 553974"/>
                  <a:gd name="connsiteX153" fmla="*/ 1303973 w 2320122"/>
                  <a:gd name="connsiteY153" fmla="*/ 503777 h 553974"/>
                  <a:gd name="connsiteX154" fmla="*/ 1303973 w 2320122"/>
                  <a:gd name="connsiteY154" fmla="*/ 509873 h 553974"/>
                  <a:gd name="connsiteX155" fmla="*/ 1533239 w 2320122"/>
                  <a:gd name="connsiteY155" fmla="*/ 509873 h 553974"/>
                  <a:gd name="connsiteX156" fmla="*/ 1533239 w 2320122"/>
                  <a:gd name="connsiteY156" fmla="*/ 516065 h 553974"/>
                  <a:gd name="connsiteX157" fmla="*/ 1646777 w 2320122"/>
                  <a:gd name="connsiteY157" fmla="*/ 516065 h 553974"/>
                  <a:gd name="connsiteX158" fmla="*/ 1646777 w 2320122"/>
                  <a:gd name="connsiteY158" fmla="*/ 522256 h 553974"/>
                  <a:gd name="connsiteX159" fmla="*/ 1915954 w 2320122"/>
                  <a:gd name="connsiteY159" fmla="*/ 522256 h 553974"/>
                  <a:gd name="connsiteX160" fmla="*/ 1915954 w 2320122"/>
                  <a:gd name="connsiteY160" fmla="*/ 528542 h 553974"/>
                  <a:gd name="connsiteX161" fmla="*/ 1989582 w 2320122"/>
                  <a:gd name="connsiteY161" fmla="*/ 528542 h 553974"/>
                  <a:gd name="connsiteX162" fmla="*/ 1989582 w 2320122"/>
                  <a:gd name="connsiteY162" fmla="*/ 534829 h 553974"/>
                  <a:gd name="connsiteX163" fmla="*/ 2069497 w 2320122"/>
                  <a:gd name="connsiteY163" fmla="*/ 534829 h 553974"/>
                  <a:gd name="connsiteX164" fmla="*/ 2069497 w 2320122"/>
                  <a:gd name="connsiteY164" fmla="*/ 541115 h 553974"/>
                  <a:gd name="connsiteX165" fmla="*/ 2231422 w 2320122"/>
                  <a:gd name="connsiteY165" fmla="*/ 541115 h 553974"/>
                  <a:gd name="connsiteX166" fmla="*/ 2231422 w 2320122"/>
                  <a:gd name="connsiteY166" fmla="*/ 547592 h 553974"/>
                  <a:gd name="connsiteX167" fmla="*/ 2248281 w 2320122"/>
                  <a:gd name="connsiteY167" fmla="*/ 547592 h 553974"/>
                  <a:gd name="connsiteX168" fmla="*/ 2248281 w 2320122"/>
                  <a:gd name="connsiteY168" fmla="*/ 553974 h 553974"/>
                  <a:gd name="connsiteX169" fmla="*/ 2320122 w 2320122"/>
                  <a:gd name="connsiteY169" fmla="*/ 553974 h 553974"/>
                  <a:gd name="connsiteX0" fmla="*/ 0 w 2301430"/>
                  <a:gd name="connsiteY0" fmla="*/ 0 h 553974"/>
                  <a:gd name="connsiteX1" fmla="*/ 113538 w 2301430"/>
                  <a:gd name="connsiteY1" fmla="*/ 0 h 553974"/>
                  <a:gd name="connsiteX2" fmla="*/ 113538 w 2301430"/>
                  <a:gd name="connsiteY2" fmla="*/ 5906 h 553974"/>
                  <a:gd name="connsiteX3" fmla="*/ 153543 w 2301430"/>
                  <a:gd name="connsiteY3" fmla="*/ 5906 h 553974"/>
                  <a:gd name="connsiteX4" fmla="*/ 153543 w 2301430"/>
                  <a:gd name="connsiteY4" fmla="*/ 12002 h 553974"/>
                  <a:gd name="connsiteX5" fmla="*/ 161925 w 2301430"/>
                  <a:gd name="connsiteY5" fmla="*/ 12002 h 553974"/>
                  <a:gd name="connsiteX6" fmla="*/ 161925 w 2301430"/>
                  <a:gd name="connsiteY6" fmla="*/ 18002 h 553974"/>
                  <a:gd name="connsiteX7" fmla="*/ 172498 w 2301430"/>
                  <a:gd name="connsiteY7" fmla="*/ 18002 h 553974"/>
                  <a:gd name="connsiteX8" fmla="*/ 172498 w 2301430"/>
                  <a:gd name="connsiteY8" fmla="*/ 24003 h 553974"/>
                  <a:gd name="connsiteX9" fmla="*/ 222980 w 2301430"/>
                  <a:gd name="connsiteY9" fmla="*/ 24003 h 553974"/>
                  <a:gd name="connsiteX10" fmla="*/ 222980 w 2301430"/>
                  <a:gd name="connsiteY10" fmla="*/ 30099 h 553974"/>
                  <a:gd name="connsiteX11" fmla="*/ 231362 w 2301430"/>
                  <a:gd name="connsiteY11" fmla="*/ 30099 h 553974"/>
                  <a:gd name="connsiteX12" fmla="*/ 231362 w 2301430"/>
                  <a:gd name="connsiteY12" fmla="*/ 42196 h 553974"/>
                  <a:gd name="connsiteX13" fmla="*/ 237649 w 2301430"/>
                  <a:gd name="connsiteY13" fmla="*/ 42196 h 553974"/>
                  <a:gd name="connsiteX14" fmla="*/ 237649 w 2301430"/>
                  <a:gd name="connsiteY14" fmla="*/ 48292 h 553974"/>
                  <a:gd name="connsiteX15" fmla="*/ 241840 w 2301430"/>
                  <a:gd name="connsiteY15" fmla="*/ 48292 h 553974"/>
                  <a:gd name="connsiteX16" fmla="*/ 241840 w 2301430"/>
                  <a:gd name="connsiteY16" fmla="*/ 54388 h 553974"/>
                  <a:gd name="connsiteX17" fmla="*/ 246031 w 2301430"/>
                  <a:gd name="connsiteY17" fmla="*/ 54388 h 553974"/>
                  <a:gd name="connsiteX18" fmla="*/ 246031 w 2301430"/>
                  <a:gd name="connsiteY18" fmla="*/ 60484 h 553974"/>
                  <a:gd name="connsiteX19" fmla="*/ 248126 w 2301430"/>
                  <a:gd name="connsiteY19" fmla="*/ 60484 h 553974"/>
                  <a:gd name="connsiteX20" fmla="*/ 248126 w 2301430"/>
                  <a:gd name="connsiteY20" fmla="*/ 66485 h 553974"/>
                  <a:gd name="connsiteX21" fmla="*/ 250317 w 2301430"/>
                  <a:gd name="connsiteY21" fmla="*/ 66485 h 553974"/>
                  <a:gd name="connsiteX22" fmla="*/ 250317 w 2301430"/>
                  <a:gd name="connsiteY22" fmla="*/ 72581 h 553974"/>
                  <a:gd name="connsiteX23" fmla="*/ 260794 w 2301430"/>
                  <a:gd name="connsiteY23" fmla="*/ 72581 h 553974"/>
                  <a:gd name="connsiteX24" fmla="*/ 260794 w 2301430"/>
                  <a:gd name="connsiteY24" fmla="*/ 78677 h 553974"/>
                  <a:gd name="connsiteX25" fmla="*/ 267081 w 2301430"/>
                  <a:gd name="connsiteY25" fmla="*/ 78677 h 553974"/>
                  <a:gd name="connsiteX26" fmla="*/ 267081 w 2301430"/>
                  <a:gd name="connsiteY26" fmla="*/ 84677 h 553974"/>
                  <a:gd name="connsiteX27" fmla="*/ 281845 w 2301430"/>
                  <a:gd name="connsiteY27" fmla="*/ 84677 h 553974"/>
                  <a:gd name="connsiteX28" fmla="*/ 281845 w 2301430"/>
                  <a:gd name="connsiteY28" fmla="*/ 90773 h 553974"/>
                  <a:gd name="connsiteX29" fmla="*/ 290227 w 2301430"/>
                  <a:gd name="connsiteY29" fmla="*/ 90773 h 553974"/>
                  <a:gd name="connsiteX30" fmla="*/ 290227 w 2301430"/>
                  <a:gd name="connsiteY30" fmla="*/ 96869 h 553974"/>
                  <a:gd name="connsiteX31" fmla="*/ 300800 w 2301430"/>
                  <a:gd name="connsiteY31" fmla="*/ 96869 h 553974"/>
                  <a:gd name="connsiteX32" fmla="*/ 300800 w 2301430"/>
                  <a:gd name="connsiteY32" fmla="*/ 102870 h 553974"/>
                  <a:gd name="connsiteX33" fmla="*/ 313373 w 2301430"/>
                  <a:gd name="connsiteY33" fmla="*/ 102870 h 553974"/>
                  <a:gd name="connsiteX34" fmla="*/ 313373 w 2301430"/>
                  <a:gd name="connsiteY34" fmla="*/ 108966 h 553974"/>
                  <a:gd name="connsiteX35" fmla="*/ 319659 w 2301430"/>
                  <a:gd name="connsiteY35" fmla="*/ 108966 h 553974"/>
                  <a:gd name="connsiteX36" fmla="*/ 319659 w 2301430"/>
                  <a:gd name="connsiteY36" fmla="*/ 121063 h 553974"/>
                  <a:gd name="connsiteX37" fmla="*/ 323850 w 2301430"/>
                  <a:gd name="connsiteY37" fmla="*/ 121063 h 553974"/>
                  <a:gd name="connsiteX38" fmla="*/ 323850 w 2301430"/>
                  <a:gd name="connsiteY38" fmla="*/ 127159 h 553974"/>
                  <a:gd name="connsiteX39" fmla="*/ 336518 w 2301430"/>
                  <a:gd name="connsiteY39" fmla="*/ 127159 h 553974"/>
                  <a:gd name="connsiteX40" fmla="*/ 336518 w 2301430"/>
                  <a:gd name="connsiteY40" fmla="*/ 133255 h 553974"/>
                  <a:gd name="connsiteX41" fmla="*/ 351187 w 2301430"/>
                  <a:gd name="connsiteY41" fmla="*/ 133255 h 553974"/>
                  <a:gd name="connsiteX42" fmla="*/ 351187 w 2301430"/>
                  <a:gd name="connsiteY42" fmla="*/ 139256 h 553974"/>
                  <a:gd name="connsiteX43" fmla="*/ 355473 w 2301430"/>
                  <a:gd name="connsiteY43" fmla="*/ 139256 h 553974"/>
                  <a:gd name="connsiteX44" fmla="*/ 355473 w 2301430"/>
                  <a:gd name="connsiteY44" fmla="*/ 145352 h 553974"/>
                  <a:gd name="connsiteX45" fmla="*/ 365950 w 2301430"/>
                  <a:gd name="connsiteY45" fmla="*/ 145352 h 553974"/>
                  <a:gd name="connsiteX46" fmla="*/ 365950 w 2301430"/>
                  <a:gd name="connsiteY46" fmla="*/ 151448 h 553974"/>
                  <a:gd name="connsiteX47" fmla="*/ 374333 w 2301430"/>
                  <a:gd name="connsiteY47" fmla="*/ 151448 h 553974"/>
                  <a:gd name="connsiteX48" fmla="*/ 374333 w 2301430"/>
                  <a:gd name="connsiteY48" fmla="*/ 157544 h 553974"/>
                  <a:gd name="connsiteX49" fmla="*/ 389096 w 2301430"/>
                  <a:gd name="connsiteY49" fmla="*/ 157544 h 553974"/>
                  <a:gd name="connsiteX50" fmla="*/ 389096 w 2301430"/>
                  <a:gd name="connsiteY50" fmla="*/ 163544 h 553974"/>
                  <a:gd name="connsiteX51" fmla="*/ 393287 w 2301430"/>
                  <a:gd name="connsiteY51" fmla="*/ 163544 h 553974"/>
                  <a:gd name="connsiteX52" fmla="*/ 393287 w 2301430"/>
                  <a:gd name="connsiteY52" fmla="*/ 169640 h 553974"/>
                  <a:gd name="connsiteX53" fmla="*/ 397478 w 2301430"/>
                  <a:gd name="connsiteY53" fmla="*/ 169640 h 553974"/>
                  <a:gd name="connsiteX54" fmla="*/ 397478 w 2301430"/>
                  <a:gd name="connsiteY54" fmla="*/ 175736 h 553974"/>
                  <a:gd name="connsiteX55" fmla="*/ 410147 w 2301430"/>
                  <a:gd name="connsiteY55" fmla="*/ 175736 h 553974"/>
                  <a:gd name="connsiteX56" fmla="*/ 410147 w 2301430"/>
                  <a:gd name="connsiteY56" fmla="*/ 181737 h 553974"/>
                  <a:gd name="connsiteX57" fmla="*/ 439579 w 2301430"/>
                  <a:gd name="connsiteY57" fmla="*/ 181737 h 553974"/>
                  <a:gd name="connsiteX58" fmla="*/ 439579 w 2301430"/>
                  <a:gd name="connsiteY58" fmla="*/ 187833 h 553974"/>
                  <a:gd name="connsiteX59" fmla="*/ 447961 w 2301430"/>
                  <a:gd name="connsiteY59" fmla="*/ 187833 h 553974"/>
                  <a:gd name="connsiteX60" fmla="*/ 447961 w 2301430"/>
                  <a:gd name="connsiteY60" fmla="*/ 193929 h 553974"/>
                  <a:gd name="connsiteX61" fmla="*/ 450056 w 2301430"/>
                  <a:gd name="connsiteY61" fmla="*/ 193929 h 553974"/>
                  <a:gd name="connsiteX62" fmla="*/ 450056 w 2301430"/>
                  <a:gd name="connsiteY62" fmla="*/ 199930 h 553974"/>
                  <a:gd name="connsiteX63" fmla="*/ 464820 w 2301430"/>
                  <a:gd name="connsiteY63" fmla="*/ 199930 h 553974"/>
                  <a:gd name="connsiteX64" fmla="*/ 464820 w 2301430"/>
                  <a:gd name="connsiteY64" fmla="*/ 212122 h 553974"/>
                  <a:gd name="connsiteX65" fmla="*/ 466916 w 2301430"/>
                  <a:gd name="connsiteY65" fmla="*/ 212122 h 553974"/>
                  <a:gd name="connsiteX66" fmla="*/ 466916 w 2301430"/>
                  <a:gd name="connsiteY66" fmla="*/ 218123 h 553974"/>
                  <a:gd name="connsiteX67" fmla="*/ 473202 w 2301430"/>
                  <a:gd name="connsiteY67" fmla="*/ 218123 h 553974"/>
                  <a:gd name="connsiteX68" fmla="*/ 473202 w 2301430"/>
                  <a:gd name="connsiteY68" fmla="*/ 224219 h 553974"/>
                  <a:gd name="connsiteX69" fmla="*/ 477393 w 2301430"/>
                  <a:gd name="connsiteY69" fmla="*/ 224219 h 553974"/>
                  <a:gd name="connsiteX70" fmla="*/ 477393 w 2301430"/>
                  <a:gd name="connsiteY70" fmla="*/ 230315 h 553974"/>
                  <a:gd name="connsiteX71" fmla="*/ 494252 w 2301430"/>
                  <a:gd name="connsiteY71" fmla="*/ 230315 h 553974"/>
                  <a:gd name="connsiteX72" fmla="*/ 494252 w 2301430"/>
                  <a:gd name="connsiteY72" fmla="*/ 242411 h 553974"/>
                  <a:gd name="connsiteX73" fmla="*/ 498443 w 2301430"/>
                  <a:gd name="connsiteY73" fmla="*/ 242411 h 553974"/>
                  <a:gd name="connsiteX74" fmla="*/ 498443 w 2301430"/>
                  <a:gd name="connsiteY74" fmla="*/ 248507 h 553974"/>
                  <a:gd name="connsiteX75" fmla="*/ 521589 w 2301430"/>
                  <a:gd name="connsiteY75" fmla="*/ 248507 h 553974"/>
                  <a:gd name="connsiteX76" fmla="*/ 521589 w 2301430"/>
                  <a:gd name="connsiteY76" fmla="*/ 254603 h 553974"/>
                  <a:gd name="connsiteX77" fmla="*/ 525780 w 2301430"/>
                  <a:gd name="connsiteY77" fmla="*/ 254603 h 553974"/>
                  <a:gd name="connsiteX78" fmla="*/ 525780 w 2301430"/>
                  <a:gd name="connsiteY78" fmla="*/ 260604 h 553974"/>
                  <a:gd name="connsiteX79" fmla="*/ 532067 w 2301430"/>
                  <a:gd name="connsiteY79" fmla="*/ 260604 h 553974"/>
                  <a:gd name="connsiteX80" fmla="*/ 532067 w 2301430"/>
                  <a:gd name="connsiteY80" fmla="*/ 272796 h 553974"/>
                  <a:gd name="connsiteX81" fmla="*/ 551021 w 2301430"/>
                  <a:gd name="connsiteY81" fmla="*/ 272796 h 553974"/>
                  <a:gd name="connsiteX82" fmla="*/ 551021 w 2301430"/>
                  <a:gd name="connsiteY82" fmla="*/ 278797 h 553974"/>
                  <a:gd name="connsiteX83" fmla="*/ 559403 w 2301430"/>
                  <a:gd name="connsiteY83" fmla="*/ 278797 h 553974"/>
                  <a:gd name="connsiteX84" fmla="*/ 559403 w 2301430"/>
                  <a:gd name="connsiteY84" fmla="*/ 284893 h 553974"/>
                  <a:gd name="connsiteX85" fmla="*/ 572072 w 2301430"/>
                  <a:gd name="connsiteY85" fmla="*/ 284893 h 553974"/>
                  <a:gd name="connsiteX86" fmla="*/ 572072 w 2301430"/>
                  <a:gd name="connsiteY86" fmla="*/ 290989 h 553974"/>
                  <a:gd name="connsiteX87" fmla="*/ 588931 w 2301430"/>
                  <a:gd name="connsiteY87" fmla="*/ 290989 h 553974"/>
                  <a:gd name="connsiteX88" fmla="*/ 588931 w 2301430"/>
                  <a:gd name="connsiteY88" fmla="*/ 296990 h 553974"/>
                  <a:gd name="connsiteX89" fmla="*/ 616268 w 2301430"/>
                  <a:gd name="connsiteY89" fmla="*/ 296990 h 553974"/>
                  <a:gd name="connsiteX90" fmla="*/ 616268 w 2301430"/>
                  <a:gd name="connsiteY90" fmla="*/ 303086 h 553974"/>
                  <a:gd name="connsiteX91" fmla="*/ 618363 w 2301430"/>
                  <a:gd name="connsiteY91" fmla="*/ 303086 h 553974"/>
                  <a:gd name="connsiteX92" fmla="*/ 618363 w 2301430"/>
                  <a:gd name="connsiteY92" fmla="*/ 309182 h 553974"/>
                  <a:gd name="connsiteX93" fmla="*/ 628840 w 2301430"/>
                  <a:gd name="connsiteY93" fmla="*/ 309182 h 553974"/>
                  <a:gd name="connsiteX94" fmla="*/ 628840 w 2301430"/>
                  <a:gd name="connsiteY94" fmla="*/ 315182 h 553974"/>
                  <a:gd name="connsiteX95" fmla="*/ 635127 w 2301430"/>
                  <a:gd name="connsiteY95" fmla="*/ 315182 h 553974"/>
                  <a:gd name="connsiteX96" fmla="*/ 635127 w 2301430"/>
                  <a:gd name="connsiteY96" fmla="*/ 327374 h 553974"/>
                  <a:gd name="connsiteX97" fmla="*/ 643604 w 2301430"/>
                  <a:gd name="connsiteY97" fmla="*/ 327374 h 553974"/>
                  <a:gd name="connsiteX98" fmla="*/ 643604 w 2301430"/>
                  <a:gd name="connsiteY98" fmla="*/ 333375 h 553974"/>
                  <a:gd name="connsiteX99" fmla="*/ 649891 w 2301430"/>
                  <a:gd name="connsiteY99" fmla="*/ 333375 h 553974"/>
                  <a:gd name="connsiteX100" fmla="*/ 649891 w 2301430"/>
                  <a:gd name="connsiteY100" fmla="*/ 345567 h 553974"/>
                  <a:gd name="connsiteX101" fmla="*/ 651986 w 2301430"/>
                  <a:gd name="connsiteY101" fmla="*/ 345567 h 553974"/>
                  <a:gd name="connsiteX102" fmla="*/ 651986 w 2301430"/>
                  <a:gd name="connsiteY102" fmla="*/ 351663 h 553974"/>
                  <a:gd name="connsiteX103" fmla="*/ 664559 w 2301430"/>
                  <a:gd name="connsiteY103" fmla="*/ 351663 h 553974"/>
                  <a:gd name="connsiteX104" fmla="*/ 664559 w 2301430"/>
                  <a:gd name="connsiteY104" fmla="*/ 357664 h 553974"/>
                  <a:gd name="connsiteX105" fmla="*/ 687705 w 2301430"/>
                  <a:gd name="connsiteY105" fmla="*/ 357664 h 553974"/>
                  <a:gd name="connsiteX106" fmla="*/ 687705 w 2301430"/>
                  <a:gd name="connsiteY106" fmla="*/ 363760 h 553974"/>
                  <a:gd name="connsiteX107" fmla="*/ 694087 w 2301430"/>
                  <a:gd name="connsiteY107" fmla="*/ 363760 h 553974"/>
                  <a:gd name="connsiteX108" fmla="*/ 694087 w 2301430"/>
                  <a:gd name="connsiteY108" fmla="*/ 369856 h 553974"/>
                  <a:gd name="connsiteX109" fmla="*/ 702469 w 2301430"/>
                  <a:gd name="connsiteY109" fmla="*/ 369856 h 553974"/>
                  <a:gd name="connsiteX110" fmla="*/ 702469 w 2301430"/>
                  <a:gd name="connsiteY110" fmla="*/ 375857 h 553974"/>
                  <a:gd name="connsiteX111" fmla="*/ 710851 w 2301430"/>
                  <a:gd name="connsiteY111" fmla="*/ 375857 h 553974"/>
                  <a:gd name="connsiteX112" fmla="*/ 710851 w 2301430"/>
                  <a:gd name="connsiteY112" fmla="*/ 381953 h 553974"/>
                  <a:gd name="connsiteX113" fmla="*/ 715042 w 2301430"/>
                  <a:gd name="connsiteY113" fmla="*/ 381953 h 553974"/>
                  <a:gd name="connsiteX114" fmla="*/ 715042 w 2301430"/>
                  <a:gd name="connsiteY114" fmla="*/ 388049 h 553974"/>
                  <a:gd name="connsiteX115" fmla="*/ 788670 w 2301430"/>
                  <a:gd name="connsiteY115" fmla="*/ 388049 h 553974"/>
                  <a:gd name="connsiteX116" fmla="*/ 788670 w 2301430"/>
                  <a:gd name="connsiteY116" fmla="*/ 394049 h 553974"/>
                  <a:gd name="connsiteX117" fmla="*/ 809720 w 2301430"/>
                  <a:gd name="connsiteY117" fmla="*/ 394049 h 553974"/>
                  <a:gd name="connsiteX118" fmla="*/ 809720 w 2301430"/>
                  <a:gd name="connsiteY118" fmla="*/ 400145 h 553974"/>
                  <a:gd name="connsiteX119" fmla="*/ 816007 w 2301430"/>
                  <a:gd name="connsiteY119" fmla="*/ 400145 h 553974"/>
                  <a:gd name="connsiteX120" fmla="*/ 816007 w 2301430"/>
                  <a:gd name="connsiteY120" fmla="*/ 406241 h 553974"/>
                  <a:gd name="connsiteX121" fmla="*/ 858107 w 2301430"/>
                  <a:gd name="connsiteY121" fmla="*/ 406241 h 553974"/>
                  <a:gd name="connsiteX122" fmla="*/ 858107 w 2301430"/>
                  <a:gd name="connsiteY122" fmla="*/ 412242 h 553974"/>
                  <a:gd name="connsiteX123" fmla="*/ 872776 w 2301430"/>
                  <a:gd name="connsiteY123" fmla="*/ 412242 h 553974"/>
                  <a:gd name="connsiteX124" fmla="*/ 872776 w 2301430"/>
                  <a:gd name="connsiteY124" fmla="*/ 418338 h 553974"/>
                  <a:gd name="connsiteX125" fmla="*/ 902303 w 2301430"/>
                  <a:gd name="connsiteY125" fmla="*/ 418338 h 553974"/>
                  <a:gd name="connsiteX126" fmla="*/ 902303 w 2301430"/>
                  <a:gd name="connsiteY126" fmla="*/ 424434 h 553974"/>
                  <a:gd name="connsiteX127" fmla="*/ 904399 w 2301430"/>
                  <a:gd name="connsiteY127" fmla="*/ 424434 h 553974"/>
                  <a:gd name="connsiteX128" fmla="*/ 904399 w 2301430"/>
                  <a:gd name="connsiteY128" fmla="*/ 430435 h 553974"/>
                  <a:gd name="connsiteX129" fmla="*/ 927449 w 2301430"/>
                  <a:gd name="connsiteY129" fmla="*/ 430435 h 553974"/>
                  <a:gd name="connsiteX130" fmla="*/ 927449 w 2301430"/>
                  <a:gd name="connsiteY130" fmla="*/ 436531 h 553974"/>
                  <a:gd name="connsiteX131" fmla="*/ 940118 w 2301430"/>
                  <a:gd name="connsiteY131" fmla="*/ 436531 h 553974"/>
                  <a:gd name="connsiteX132" fmla="*/ 940118 w 2301430"/>
                  <a:gd name="connsiteY132" fmla="*/ 442627 h 553974"/>
                  <a:gd name="connsiteX133" fmla="*/ 975836 w 2301430"/>
                  <a:gd name="connsiteY133" fmla="*/ 442627 h 553974"/>
                  <a:gd name="connsiteX134" fmla="*/ 975836 w 2301430"/>
                  <a:gd name="connsiteY134" fmla="*/ 448723 h 553974"/>
                  <a:gd name="connsiteX135" fmla="*/ 1091565 w 2301430"/>
                  <a:gd name="connsiteY135" fmla="*/ 448723 h 553974"/>
                  <a:gd name="connsiteX136" fmla="*/ 1091565 w 2301430"/>
                  <a:gd name="connsiteY136" fmla="*/ 454724 h 553974"/>
                  <a:gd name="connsiteX137" fmla="*/ 1129379 w 2301430"/>
                  <a:gd name="connsiteY137" fmla="*/ 454724 h 553974"/>
                  <a:gd name="connsiteX138" fmla="*/ 1129379 w 2301430"/>
                  <a:gd name="connsiteY138" fmla="*/ 460915 h 553974"/>
                  <a:gd name="connsiteX139" fmla="*/ 1181957 w 2301430"/>
                  <a:gd name="connsiteY139" fmla="*/ 460915 h 553974"/>
                  <a:gd name="connsiteX140" fmla="*/ 1181957 w 2301430"/>
                  <a:gd name="connsiteY140" fmla="*/ 467011 h 553974"/>
                  <a:gd name="connsiteX141" fmla="*/ 1200912 w 2301430"/>
                  <a:gd name="connsiteY141" fmla="*/ 467011 h 553974"/>
                  <a:gd name="connsiteX142" fmla="*/ 1200912 w 2301430"/>
                  <a:gd name="connsiteY142" fmla="*/ 473107 h 553974"/>
                  <a:gd name="connsiteX143" fmla="*/ 1211390 w 2301430"/>
                  <a:gd name="connsiteY143" fmla="*/ 473107 h 553974"/>
                  <a:gd name="connsiteX144" fmla="*/ 1211390 w 2301430"/>
                  <a:gd name="connsiteY144" fmla="*/ 479298 h 553974"/>
                  <a:gd name="connsiteX145" fmla="*/ 1245108 w 2301430"/>
                  <a:gd name="connsiteY145" fmla="*/ 479298 h 553974"/>
                  <a:gd name="connsiteX146" fmla="*/ 1245108 w 2301430"/>
                  <a:gd name="connsiteY146" fmla="*/ 485394 h 553974"/>
                  <a:gd name="connsiteX147" fmla="*/ 1251395 w 2301430"/>
                  <a:gd name="connsiteY147" fmla="*/ 485394 h 553974"/>
                  <a:gd name="connsiteX148" fmla="*/ 1251395 w 2301430"/>
                  <a:gd name="connsiteY148" fmla="*/ 491490 h 553974"/>
                  <a:gd name="connsiteX149" fmla="*/ 1266063 w 2301430"/>
                  <a:gd name="connsiteY149" fmla="*/ 491490 h 553974"/>
                  <a:gd name="connsiteX150" fmla="*/ 1266063 w 2301430"/>
                  <a:gd name="connsiteY150" fmla="*/ 497586 h 553974"/>
                  <a:gd name="connsiteX151" fmla="*/ 1278731 w 2301430"/>
                  <a:gd name="connsiteY151" fmla="*/ 497586 h 553974"/>
                  <a:gd name="connsiteX152" fmla="*/ 1278731 w 2301430"/>
                  <a:gd name="connsiteY152" fmla="*/ 503777 h 553974"/>
                  <a:gd name="connsiteX153" fmla="*/ 1303973 w 2301430"/>
                  <a:gd name="connsiteY153" fmla="*/ 503777 h 553974"/>
                  <a:gd name="connsiteX154" fmla="*/ 1303973 w 2301430"/>
                  <a:gd name="connsiteY154" fmla="*/ 509873 h 553974"/>
                  <a:gd name="connsiteX155" fmla="*/ 1533239 w 2301430"/>
                  <a:gd name="connsiteY155" fmla="*/ 509873 h 553974"/>
                  <a:gd name="connsiteX156" fmla="*/ 1533239 w 2301430"/>
                  <a:gd name="connsiteY156" fmla="*/ 516065 h 553974"/>
                  <a:gd name="connsiteX157" fmla="*/ 1646777 w 2301430"/>
                  <a:gd name="connsiteY157" fmla="*/ 516065 h 553974"/>
                  <a:gd name="connsiteX158" fmla="*/ 1646777 w 2301430"/>
                  <a:gd name="connsiteY158" fmla="*/ 522256 h 553974"/>
                  <a:gd name="connsiteX159" fmla="*/ 1915954 w 2301430"/>
                  <a:gd name="connsiteY159" fmla="*/ 522256 h 553974"/>
                  <a:gd name="connsiteX160" fmla="*/ 1915954 w 2301430"/>
                  <a:gd name="connsiteY160" fmla="*/ 528542 h 553974"/>
                  <a:gd name="connsiteX161" fmla="*/ 1989582 w 2301430"/>
                  <a:gd name="connsiteY161" fmla="*/ 528542 h 553974"/>
                  <a:gd name="connsiteX162" fmla="*/ 1989582 w 2301430"/>
                  <a:gd name="connsiteY162" fmla="*/ 534829 h 553974"/>
                  <a:gd name="connsiteX163" fmla="*/ 2069497 w 2301430"/>
                  <a:gd name="connsiteY163" fmla="*/ 534829 h 553974"/>
                  <a:gd name="connsiteX164" fmla="*/ 2069497 w 2301430"/>
                  <a:gd name="connsiteY164" fmla="*/ 541115 h 553974"/>
                  <a:gd name="connsiteX165" fmla="*/ 2231422 w 2301430"/>
                  <a:gd name="connsiteY165" fmla="*/ 541115 h 553974"/>
                  <a:gd name="connsiteX166" fmla="*/ 2231422 w 2301430"/>
                  <a:gd name="connsiteY166" fmla="*/ 547592 h 553974"/>
                  <a:gd name="connsiteX167" fmla="*/ 2248281 w 2301430"/>
                  <a:gd name="connsiteY167" fmla="*/ 547592 h 553974"/>
                  <a:gd name="connsiteX168" fmla="*/ 2248281 w 2301430"/>
                  <a:gd name="connsiteY168" fmla="*/ 553974 h 553974"/>
                  <a:gd name="connsiteX169" fmla="*/ 2301430 w 2301430"/>
                  <a:gd name="connsiteY169" fmla="*/ 552711 h 553974"/>
                  <a:gd name="connsiteX0" fmla="*/ 0 w 2298031"/>
                  <a:gd name="connsiteY0" fmla="*/ 0 h 553974"/>
                  <a:gd name="connsiteX1" fmla="*/ 113538 w 2298031"/>
                  <a:gd name="connsiteY1" fmla="*/ 0 h 553974"/>
                  <a:gd name="connsiteX2" fmla="*/ 113538 w 2298031"/>
                  <a:gd name="connsiteY2" fmla="*/ 5906 h 553974"/>
                  <a:gd name="connsiteX3" fmla="*/ 153543 w 2298031"/>
                  <a:gd name="connsiteY3" fmla="*/ 5906 h 553974"/>
                  <a:gd name="connsiteX4" fmla="*/ 153543 w 2298031"/>
                  <a:gd name="connsiteY4" fmla="*/ 12002 h 553974"/>
                  <a:gd name="connsiteX5" fmla="*/ 161925 w 2298031"/>
                  <a:gd name="connsiteY5" fmla="*/ 12002 h 553974"/>
                  <a:gd name="connsiteX6" fmla="*/ 161925 w 2298031"/>
                  <a:gd name="connsiteY6" fmla="*/ 18002 h 553974"/>
                  <a:gd name="connsiteX7" fmla="*/ 172498 w 2298031"/>
                  <a:gd name="connsiteY7" fmla="*/ 18002 h 553974"/>
                  <a:gd name="connsiteX8" fmla="*/ 172498 w 2298031"/>
                  <a:gd name="connsiteY8" fmla="*/ 24003 h 553974"/>
                  <a:gd name="connsiteX9" fmla="*/ 222980 w 2298031"/>
                  <a:gd name="connsiteY9" fmla="*/ 24003 h 553974"/>
                  <a:gd name="connsiteX10" fmla="*/ 222980 w 2298031"/>
                  <a:gd name="connsiteY10" fmla="*/ 30099 h 553974"/>
                  <a:gd name="connsiteX11" fmla="*/ 231362 w 2298031"/>
                  <a:gd name="connsiteY11" fmla="*/ 30099 h 553974"/>
                  <a:gd name="connsiteX12" fmla="*/ 231362 w 2298031"/>
                  <a:gd name="connsiteY12" fmla="*/ 42196 h 553974"/>
                  <a:gd name="connsiteX13" fmla="*/ 237649 w 2298031"/>
                  <a:gd name="connsiteY13" fmla="*/ 42196 h 553974"/>
                  <a:gd name="connsiteX14" fmla="*/ 237649 w 2298031"/>
                  <a:gd name="connsiteY14" fmla="*/ 48292 h 553974"/>
                  <a:gd name="connsiteX15" fmla="*/ 241840 w 2298031"/>
                  <a:gd name="connsiteY15" fmla="*/ 48292 h 553974"/>
                  <a:gd name="connsiteX16" fmla="*/ 241840 w 2298031"/>
                  <a:gd name="connsiteY16" fmla="*/ 54388 h 553974"/>
                  <a:gd name="connsiteX17" fmla="*/ 246031 w 2298031"/>
                  <a:gd name="connsiteY17" fmla="*/ 54388 h 553974"/>
                  <a:gd name="connsiteX18" fmla="*/ 246031 w 2298031"/>
                  <a:gd name="connsiteY18" fmla="*/ 60484 h 553974"/>
                  <a:gd name="connsiteX19" fmla="*/ 248126 w 2298031"/>
                  <a:gd name="connsiteY19" fmla="*/ 60484 h 553974"/>
                  <a:gd name="connsiteX20" fmla="*/ 248126 w 2298031"/>
                  <a:gd name="connsiteY20" fmla="*/ 66485 h 553974"/>
                  <a:gd name="connsiteX21" fmla="*/ 250317 w 2298031"/>
                  <a:gd name="connsiteY21" fmla="*/ 66485 h 553974"/>
                  <a:gd name="connsiteX22" fmla="*/ 250317 w 2298031"/>
                  <a:gd name="connsiteY22" fmla="*/ 72581 h 553974"/>
                  <a:gd name="connsiteX23" fmla="*/ 260794 w 2298031"/>
                  <a:gd name="connsiteY23" fmla="*/ 72581 h 553974"/>
                  <a:gd name="connsiteX24" fmla="*/ 260794 w 2298031"/>
                  <a:gd name="connsiteY24" fmla="*/ 78677 h 553974"/>
                  <a:gd name="connsiteX25" fmla="*/ 267081 w 2298031"/>
                  <a:gd name="connsiteY25" fmla="*/ 78677 h 553974"/>
                  <a:gd name="connsiteX26" fmla="*/ 267081 w 2298031"/>
                  <a:gd name="connsiteY26" fmla="*/ 84677 h 553974"/>
                  <a:gd name="connsiteX27" fmla="*/ 281845 w 2298031"/>
                  <a:gd name="connsiteY27" fmla="*/ 84677 h 553974"/>
                  <a:gd name="connsiteX28" fmla="*/ 281845 w 2298031"/>
                  <a:gd name="connsiteY28" fmla="*/ 90773 h 553974"/>
                  <a:gd name="connsiteX29" fmla="*/ 290227 w 2298031"/>
                  <a:gd name="connsiteY29" fmla="*/ 90773 h 553974"/>
                  <a:gd name="connsiteX30" fmla="*/ 290227 w 2298031"/>
                  <a:gd name="connsiteY30" fmla="*/ 96869 h 553974"/>
                  <a:gd name="connsiteX31" fmla="*/ 300800 w 2298031"/>
                  <a:gd name="connsiteY31" fmla="*/ 96869 h 553974"/>
                  <a:gd name="connsiteX32" fmla="*/ 300800 w 2298031"/>
                  <a:gd name="connsiteY32" fmla="*/ 102870 h 553974"/>
                  <a:gd name="connsiteX33" fmla="*/ 313373 w 2298031"/>
                  <a:gd name="connsiteY33" fmla="*/ 102870 h 553974"/>
                  <a:gd name="connsiteX34" fmla="*/ 313373 w 2298031"/>
                  <a:gd name="connsiteY34" fmla="*/ 108966 h 553974"/>
                  <a:gd name="connsiteX35" fmla="*/ 319659 w 2298031"/>
                  <a:gd name="connsiteY35" fmla="*/ 108966 h 553974"/>
                  <a:gd name="connsiteX36" fmla="*/ 319659 w 2298031"/>
                  <a:gd name="connsiteY36" fmla="*/ 121063 h 553974"/>
                  <a:gd name="connsiteX37" fmla="*/ 323850 w 2298031"/>
                  <a:gd name="connsiteY37" fmla="*/ 121063 h 553974"/>
                  <a:gd name="connsiteX38" fmla="*/ 323850 w 2298031"/>
                  <a:gd name="connsiteY38" fmla="*/ 127159 h 553974"/>
                  <a:gd name="connsiteX39" fmla="*/ 336518 w 2298031"/>
                  <a:gd name="connsiteY39" fmla="*/ 127159 h 553974"/>
                  <a:gd name="connsiteX40" fmla="*/ 336518 w 2298031"/>
                  <a:gd name="connsiteY40" fmla="*/ 133255 h 553974"/>
                  <a:gd name="connsiteX41" fmla="*/ 351187 w 2298031"/>
                  <a:gd name="connsiteY41" fmla="*/ 133255 h 553974"/>
                  <a:gd name="connsiteX42" fmla="*/ 351187 w 2298031"/>
                  <a:gd name="connsiteY42" fmla="*/ 139256 h 553974"/>
                  <a:gd name="connsiteX43" fmla="*/ 355473 w 2298031"/>
                  <a:gd name="connsiteY43" fmla="*/ 139256 h 553974"/>
                  <a:gd name="connsiteX44" fmla="*/ 355473 w 2298031"/>
                  <a:gd name="connsiteY44" fmla="*/ 145352 h 553974"/>
                  <a:gd name="connsiteX45" fmla="*/ 365950 w 2298031"/>
                  <a:gd name="connsiteY45" fmla="*/ 145352 h 553974"/>
                  <a:gd name="connsiteX46" fmla="*/ 365950 w 2298031"/>
                  <a:gd name="connsiteY46" fmla="*/ 151448 h 553974"/>
                  <a:gd name="connsiteX47" fmla="*/ 374333 w 2298031"/>
                  <a:gd name="connsiteY47" fmla="*/ 151448 h 553974"/>
                  <a:gd name="connsiteX48" fmla="*/ 374333 w 2298031"/>
                  <a:gd name="connsiteY48" fmla="*/ 157544 h 553974"/>
                  <a:gd name="connsiteX49" fmla="*/ 389096 w 2298031"/>
                  <a:gd name="connsiteY49" fmla="*/ 157544 h 553974"/>
                  <a:gd name="connsiteX50" fmla="*/ 389096 w 2298031"/>
                  <a:gd name="connsiteY50" fmla="*/ 163544 h 553974"/>
                  <a:gd name="connsiteX51" fmla="*/ 393287 w 2298031"/>
                  <a:gd name="connsiteY51" fmla="*/ 163544 h 553974"/>
                  <a:gd name="connsiteX52" fmla="*/ 393287 w 2298031"/>
                  <a:gd name="connsiteY52" fmla="*/ 169640 h 553974"/>
                  <a:gd name="connsiteX53" fmla="*/ 397478 w 2298031"/>
                  <a:gd name="connsiteY53" fmla="*/ 169640 h 553974"/>
                  <a:gd name="connsiteX54" fmla="*/ 397478 w 2298031"/>
                  <a:gd name="connsiteY54" fmla="*/ 175736 h 553974"/>
                  <a:gd name="connsiteX55" fmla="*/ 410147 w 2298031"/>
                  <a:gd name="connsiteY55" fmla="*/ 175736 h 553974"/>
                  <a:gd name="connsiteX56" fmla="*/ 410147 w 2298031"/>
                  <a:gd name="connsiteY56" fmla="*/ 181737 h 553974"/>
                  <a:gd name="connsiteX57" fmla="*/ 439579 w 2298031"/>
                  <a:gd name="connsiteY57" fmla="*/ 181737 h 553974"/>
                  <a:gd name="connsiteX58" fmla="*/ 439579 w 2298031"/>
                  <a:gd name="connsiteY58" fmla="*/ 187833 h 553974"/>
                  <a:gd name="connsiteX59" fmla="*/ 447961 w 2298031"/>
                  <a:gd name="connsiteY59" fmla="*/ 187833 h 553974"/>
                  <a:gd name="connsiteX60" fmla="*/ 447961 w 2298031"/>
                  <a:gd name="connsiteY60" fmla="*/ 193929 h 553974"/>
                  <a:gd name="connsiteX61" fmla="*/ 450056 w 2298031"/>
                  <a:gd name="connsiteY61" fmla="*/ 193929 h 553974"/>
                  <a:gd name="connsiteX62" fmla="*/ 450056 w 2298031"/>
                  <a:gd name="connsiteY62" fmla="*/ 199930 h 553974"/>
                  <a:gd name="connsiteX63" fmla="*/ 464820 w 2298031"/>
                  <a:gd name="connsiteY63" fmla="*/ 199930 h 553974"/>
                  <a:gd name="connsiteX64" fmla="*/ 464820 w 2298031"/>
                  <a:gd name="connsiteY64" fmla="*/ 212122 h 553974"/>
                  <a:gd name="connsiteX65" fmla="*/ 466916 w 2298031"/>
                  <a:gd name="connsiteY65" fmla="*/ 212122 h 553974"/>
                  <a:gd name="connsiteX66" fmla="*/ 466916 w 2298031"/>
                  <a:gd name="connsiteY66" fmla="*/ 218123 h 553974"/>
                  <a:gd name="connsiteX67" fmla="*/ 473202 w 2298031"/>
                  <a:gd name="connsiteY67" fmla="*/ 218123 h 553974"/>
                  <a:gd name="connsiteX68" fmla="*/ 473202 w 2298031"/>
                  <a:gd name="connsiteY68" fmla="*/ 224219 h 553974"/>
                  <a:gd name="connsiteX69" fmla="*/ 477393 w 2298031"/>
                  <a:gd name="connsiteY69" fmla="*/ 224219 h 553974"/>
                  <a:gd name="connsiteX70" fmla="*/ 477393 w 2298031"/>
                  <a:gd name="connsiteY70" fmla="*/ 230315 h 553974"/>
                  <a:gd name="connsiteX71" fmla="*/ 494252 w 2298031"/>
                  <a:gd name="connsiteY71" fmla="*/ 230315 h 553974"/>
                  <a:gd name="connsiteX72" fmla="*/ 494252 w 2298031"/>
                  <a:gd name="connsiteY72" fmla="*/ 242411 h 553974"/>
                  <a:gd name="connsiteX73" fmla="*/ 498443 w 2298031"/>
                  <a:gd name="connsiteY73" fmla="*/ 242411 h 553974"/>
                  <a:gd name="connsiteX74" fmla="*/ 498443 w 2298031"/>
                  <a:gd name="connsiteY74" fmla="*/ 248507 h 553974"/>
                  <a:gd name="connsiteX75" fmla="*/ 521589 w 2298031"/>
                  <a:gd name="connsiteY75" fmla="*/ 248507 h 553974"/>
                  <a:gd name="connsiteX76" fmla="*/ 521589 w 2298031"/>
                  <a:gd name="connsiteY76" fmla="*/ 254603 h 553974"/>
                  <a:gd name="connsiteX77" fmla="*/ 525780 w 2298031"/>
                  <a:gd name="connsiteY77" fmla="*/ 254603 h 553974"/>
                  <a:gd name="connsiteX78" fmla="*/ 525780 w 2298031"/>
                  <a:gd name="connsiteY78" fmla="*/ 260604 h 553974"/>
                  <a:gd name="connsiteX79" fmla="*/ 532067 w 2298031"/>
                  <a:gd name="connsiteY79" fmla="*/ 260604 h 553974"/>
                  <a:gd name="connsiteX80" fmla="*/ 532067 w 2298031"/>
                  <a:gd name="connsiteY80" fmla="*/ 272796 h 553974"/>
                  <a:gd name="connsiteX81" fmla="*/ 551021 w 2298031"/>
                  <a:gd name="connsiteY81" fmla="*/ 272796 h 553974"/>
                  <a:gd name="connsiteX82" fmla="*/ 551021 w 2298031"/>
                  <a:gd name="connsiteY82" fmla="*/ 278797 h 553974"/>
                  <a:gd name="connsiteX83" fmla="*/ 559403 w 2298031"/>
                  <a:gd name="connsiteY83" fmla="*/ 278797 h 553974"/>
                  <a:gd name="connsiteX84" fmla="*/ 559403 w 2298031"/>
                  <a:gd name="connsiteY84" fmla="*/ 284893 h 553974"/>
                  <a:gd name="connsiteX85" fmla="*/ 572072 w 2298031"/>
                  <a:gd name="connsiteY85" fmla="*/ 284893 h 553974"/>
                  <a:gd name="connsiteX86" fmla="*/ 572072 w 2298031"/>
                  <a:gd name="connsiteY86" fmla="*/ 290989 h 553974"/>
                  <a:gd name="connsiteX87" fmla="*/ 588931 w 2298031"/>
                  <a:gd name="connsiteY87" fmla="*/ 290989 h 553974"/>
                  <a:gd name="connsiteX88" fmla="*/ 588931 w 2298031"/>
                  <a:gd name="connsiteY88" fmla="*/ 296990 h 553974"/>
                  <a:gd name="connsiteX89" fmla="*/ 616268 w 2298031"/>
                  <a:gd name="connsiteY89" fmla="*/ 296990 h 553974"/>
                  <a:gd name="connsiteX90" fmla="*/ 616268 w 2298031"/>
                  <a:gd name="connsiteY90" fmla="*/ 303086 h 553974"/>
                  <a:gd name="connsiteX91" fmla="*/ 618363 w 2298031"/>
                  <a:gd name="connsiteY91" fmla="*/ 303086 h 553974"/>
                  <a:gd name="connsiteX92" fmla="*/ 618363 w 2298031"/>
                  <a:gd name="connsiteY92" fmla="*/ 309182 h 553974"/>
                  <a:gd name="connsiteX93" fmla="*/ 628840 w 2298031"/>
                  <a:gd name="connsiteY93" fmla="*/ 309182 h 553974"/>
                  <a:gd name="connsiteX94" fmla="*/ 628840 w 2298031"/>
                  <a:gd name="connsiteY94" fmla="*/ 315182 h 553974"/>
                  <a:gd name="connsiteX95" fmla="*/ 635127 w 2298031"/>
                  <a:gd name="connsiteY95" fmla="*/ 315182 h 553974"/>
                  <a:gd name="connsiteX96" fmla="*/ 635127 w 2298031"/>
                  <a:gd name="connsiteY96" fmla="*/ 327374 h 553974"/>
                  <a:gd name="connsiteX97" fmla="*/ 643604 w 2298031"/>
                  <a:gd name="connsiteY97" fmla="*/ 327374 h 553974"/>
                  <a:gd name="connsiteX98" fmla="*/ 643604 w 2298031"/>
                  <a:gd name="connsiteY98" fmla="*/ 333375 h 553974"/>
                  <a:gd name="connsiteX99" fmla="*/ 649891 w 2298031"/>
                  <a:gd name="connsiteY99" fmla="*/ 333375 h 553974"/>
                  <a:gd name="connsiteX100" fmla="*/ 649891 w 2298031"/>
                  <a:gd name="connsiteY100" fmla="*/ 345567 h 553974"/>
                  <a:gd name="connsiteX101" fmla="*/ 651986 w 2298031"/>
                  <a:gd name="connsiteY101" fmla="*/ 345567 h 553974"/>
                  <a:gd name="connsiteX102" fmla="*/ 651986 w 2298031"/>
                  <a:gd name="connsiteY102" fmla="*/ 351663 h 553974"/>
                  <a:gd name="connsiteX103" fmla="*/ 664559 w 2298031"/>
                  <a:gd name="connsiteY103" fmla="*/ 351663 h 553974"/>
                  <a:gd name="connsiteX104" fmla="*/ 664559 w 2298031"/>
                  <a:gd name="connsiteY104" fmla="*/ 357664 h 553974"/>
                  <a:gd name="connsiteX105" fmla="*/ 687705 w 2298031"/>
                  <a:gd name="connsiteY105" fmla="*/ 357664 h 553974"/>
                  <a:gd name="connsiteX106" fmla="*/ 687705 w 2298031"/>
                  <a:gd name="connsiteY106" fmla="*/ 363760 h 553974"/>
                  <a:gd name="connsiteX107" fmla="*/ 694087 w 2298031"/>
                  <a:gd name="connsiteY107" fmla="*/ 363760 h 553974"/>
                  <a:gd name="connsiteX108" fmla="*/ 694087 w 2298031"/>
                  <a:gd name="connsiteY108" fmla="*/ 369856 h 553974"/>
                  <a:gd name="connsiteX109" fmla="*/ 702469 w 2298031"/>
                  <a:gd name="connsiteY109" fmla="*/ 369856 h 553974"/>
                  <a:gd name="connsiteX110" fmla="*/ 702469 w 2298031"/>
                  <a:gd name="connsiteY110" fmla="*/ 375857 h 553974"/>
                  <a:gd name="connsiteX111" fmla="*/ 710851 w 2298031"/>
                  <a:gd name="connsiteY111" fmla="*/ 375857 h 553974"/>
                  <a:gd name="connsiteX112" fmla="*/ 710851 w 2298031"/>
                  <a:gd name="connsiteY112" fmla="*/ 381953 h 553974"/>
                  <a:gd name="connsiteX113" fmla="*/ 715042 w 2298031"/>
                  <a:gd name="connsiteY113" fmla="*/ 381953 h 553974"/>
                  <a:gd name="connsiteX114" fmla="*/ 715042 w 2298031"/>
                  <a:gd name="connsiteY114" fmla="*/ 388049 h 553974"/>
                  <a:gd name="connsiteX115" fmla="*/ 788670 w 2298031"/>
                  <a:gd name="connsiteY115" fmla="*/ 388049 h 553974"/>
                  <a:gd name="connsiteX116" fmla="*/ 788670 w 2298031"/>
                  <a:gd name="connsiteY116" fmla="*/ 394049 h 553974"/>
                  <a:gd name="connsiteX117" fmla="*/ 809720 w 2298031"/>
                  <a:gd name="connsiteY117" fmla="*/ 394049 h 553974"/>
                  <a:gd name="connsiteX118" fmla="*/ 809720 w 2298031"/>
                  <a:gd name="connsiteY118" fmla="*/ 400145 h 553974"/>
                  <a:gd name="connsiteX119" fmla="*/ 816007 w 2298031"/>
                  <a:gd name="connsiteY119" fmla="*/ 400145 h 553974"/>
                  <a:gd name="connsiteX120" fmla="*/ 816007 w 2298031"/>
                  <a:gd name="connsiteY120" fmla="*/ 406241 h 553974"/>
                  <a:gd name="connsiteX121" fmla="*/ 858107 w 2298031"/>
                  <a:gd name="connsiteY121" fmla="*/ 406241 h 553974"/>
                  <a:gd name="connsiteX122" fmla="*/ 858107 w 2298031"/>
                  <a:gd name="connsiteY122" fmla="*/ 412242 h 553974"/>
                  <a:gd name="connsiteX123" fmla="*/ 872776 w 2298031"/>
                  <a:gd name="connsiteY123" fmla="*/ 412242 h 553974"/>
                  <a:gd name="connsiteX124" fmla="*/ 872776 w 2298031"/>
                  <a:gd name="connsiteY124" fmla="*/ 418338 h 553974"/>
                  <a:gd name="connsiteX125" fmla="*/ 902303 w 2298031"/>
                  <a:gd name="connsiteY125" fmla="*/ 418338 h 553974"/>
                  <a:gd name="connsiteX126" fmla="*/ 902303 w 2298031"/>
                  <a:gd name="connsiteY126" fmla="*/ 424434 h 553974"/>
                  <a:gd name="connsiteX127" fmla="*/ 904399 w 2298031"/>
                  <a:gd name="connsiteY127" fmla="*/ 424434 h 553974"/>
                  <a:gd name="connsiteX128" fmla="*/ 904399 w 2298031"/>
                  <a:gd name="connsiteY128" fmla="*/ 430435 h 553974"/>
                  <a:gd name="connsiteX129" fmla="*/ 927449 w 2298031"/>
                  <a:gd name="connsiteY129" fmla="*/ 430435 h 553974"/>
                  <a:gd name="connsiteX130" fmla="*/ 927449 w 2298031"/>
                  <a:gd name="connsiteY130" fmla="*/ 436531 h 553974"/>
                  <a:gd name="connsiteX131" fmla="*/ 940118 w 2298031"/>
                  <a:gd name="connsiteY131" fmla="*/ 436531 h 553974"/>
                  <a:gd name="connsiteX132" fmla="*/ 940118 w 2298031"/>
                  <a:gd name="connsiteY132" fmla="*/ 442627 h 553974"/>
                  <a:gd name="connsiteX133" fmla="*/ 975836 w 2298031"/>
                  <a:gd name="connsiteY133" fmla="*/ 442627 h 553974"/>
                  <a:gd name="connsiteX134" fmla="*/ 975836 w 2298031"/>
                  <a:gd name="connsiteY134" fmla="*/ 448723 h 553974"/>
                  <a:gd name="connsiteX135" fmla="*/ 1091565 w 2298031"/>
                  <a:gd name="connsiteY135" fmla="*/ 448723 h 553974"/>
                  <a:gd name="connsiteX136" fmla="*/ 1091565 w 2298031"/>
                  <a:gd name="connsiteY136" fmla="*/ 454724 h 553974"/>
                  <a:gd name="connsiteX137" fmla="*/ 1129379 w 2298031"/>
                  <a:gd name="connsiteY137" fmla="*/ 454724 h 553974"/>
                  <a:gd name="connsiteX138" fmla="*/ 1129379 w 2298031"/>
                  <a:gd name="connsiteY138" fmla="*/ 460915 h 553974"/>
                  <a:gd name="connsiteX139" fmla="*/ 1181957 w 2298031"/>
                  <a:gd name="connsiteY139" fmla="*/ 460915 h 553974"/>
                  <a:gd name="connsiteX140" fmla="*/ 1181957 w 2298031"/>
                  <a:gd name="connsiteY140" fmla="*/ 467011 h 553974"/>
                  <a:gd name="connsiteX141" fmla="*/ 1200912 w 2298031"/>
                  <a:gd name="connsiteY141" fmla="*/ 467011 h 553974"/>
                  <a:gd name="connsiteX142" fmla="*/ 1200912 w 2298031"/>
                  <a:gd name="connsiteY142" fmla="*/ 473107 h 553974"/>
                  <a:gd name="connsiteX143" fmla="*/ 1211390 w 2298031"/>
                  <a:gd name="connsiteY143" fmla="*/ 473107 h 553974"/>
                  <a:gd name="connsiteX144" fmla="*/ 1211390 w 2298031"/>
                  <a:gd name="connsiteY144" fmla="*/ 479298 h 553974"/>
                  <a:gd name="connsiteX145" fmla="*/ 1245108 w 2298031"/>
                  <a:gd name="connsiteY145" fmla="*/ 479298 h 553974"/>
                  <a:gd name="connsiteX146" fmla="*/ 1245108 w 2298031"/>
                  <a:gd name="connsiteY146" fmla="*/ 485394 h 553974"/>
                  <a:gd name="connsiteX147" fmla="*/ 1251395 w 2298031"/>
                  <a:gd name="connsiteY147" fmla="*/ 485394 h 553974"/>
                  <a:gd name="connsiteX148" fmla="*/ 1251395 w 2298031"/>
                  <a:gd name="connsiteY148" fmla="*/ 491490 h 553974"/>
                  <a:gd name="connsiteX149" fmla="*/ 1266063 w 2298031"/>
                  <a:gd name="connsiteY149" fmla="*/ 491490 h 553974"/>
                  <a:gd name="connsiteX150" fmla="*/ 1266063 w 2298031"/>
                  <a:gd name="connsiteY150" fmla="*/ 497586 h 553974"/>
                  <a:gd name="connsiteX151" fmla="*/ 1278731 w 2298031"/>
                  <a:gd name="connsiteY151" fmla="*/ 497586 h 553974"/>
                  <a:gd name="connsiteX152" fmla="*/ 1278731 w 2298031"/>
                  <a:gd name="connsiteY152" fmla="*/ 503777 h 553974"/>
                  <a:gd name="connsiteX153" fmla="*/ 1303973 w 2298031"/>
                  <a:gd name="connsiteY153" fmla="*/ 503777 h 553974"/>
                  <a:gd name="connsiteX154" fmla="*/ 1303973 w 2298031"/>
                  <a:gd name="connsiteY154" fmla="*/ 509873 h 553974"/>
                  <a:gd name="connsiteX155" fmla="*/ 1533239 w 2298031"/>
                  <a:gd name="connsiteY155" fmla="*/ 509873 h 553974"/>
                  <a:gd name="connsiteX156" fmla="*/ 1533239 w 2298031"/>
                  <a:gd name="connsiteY156" fmla="*/ 516065 h 553974"/>
                  <a:gd name="connsiteX157" fmla="*/ 1646777 w 2298031"/>
                  <a:gd name="connsiteY157" fmla="*/ 516065 h 553974"/>
                  <a:gd name="connsiteX158" fmla="*/ 1646777 w 2298031"/>
                  <a:gd name="connsiteY158" fmla="*/ 522256 h 553974"/>
                  <a:gd name="connsiteX159" fmla="*/ 1915954 w 2298031"/>
                  <a:gd name="connsiteY159" fmla="*/ 522256 h 553974"/>
                  <a:gd name="connsiteX160" fmla="*/ 1915954 w 2298031"/>
                  <a:gd name="connsiteY160" fmla="*/ 528542 h 553974"/>
                  <a:gd name="connsiteX161" fmla="*/ 1989582 w 2298031"/>
                  <a:gd name="connsiteY161" fmla="*/ 528542 h 553974"/>
                  <a:gd name="connsiteX162" fmla="*/ 1989582 w 2298031"/>
                  <a:gd name="connsiteY162" fmla="*/ 534829 h 553974"/>
                  <a:gd name="connsiteX163" fmla="*/ 2069497 w 2298031"/>
                  <a:gd name="connsiteY163" fmla="*/ 534829 h 553974"/>
                  <a:gd name="connsiteX164" fmla="*/ 2069497 w 2298031"/>
                  <a:gd name="connsiteY164" fmla="*/ 541115 h 553974"/>
                  <a:gd name="connsiteX165" fmla="*/ 2231422 w 2298031"/>
                  <a:gd name="connsiteY165" fmla="*/ 541115 h 553974"/>
                  <a:gd name="connsiteX166" fmla="*/ 2231422 w 2298031"/>
                  <a:gd name="connsiteY166" fmla="*/ 547592 h 553974"/>
                  <a:gd name="connsiteX167" fmla="*/ 2248281 w 2298031"/>
                  <a:gd name="connsiteY167" fmla="*/ 547592 h 553974"/>
                  <a:gd name="connsiteX168" fmla="*/ 2248281 w 2298031"/>
                  <a:gd name="connsiteY168" fmla="*/ 553974 h 553974"/>
                  <a:gd name="connsiteX169" fmla="*/ 2298031 w 2298031"/>
                  <a:gd name="connsiteY169" fmla="*/ 553974 h 553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2298031" h="553974">
                    <a:moveTo>
                      <a:pt x="0" y="0"/>
                    </a:moveTo>
                    <a:lnTo>
                      <a:pt x="113538" y="0"/>
                    </a:lnTo>
                    <a:lnTo>
                      <a:pt x="113538" y="5906"/>
                    </a:lnTo>
                    <a:lnTo>
                      <a:pt x="153543" y="5906"/>
                    </a:lnTo>
                    <a:lnTo>
                      <a:pt x="153543" y="12002"/>
                    </a:lnTo>
                    <a:lnTo>
                      <a:pt x="161925" y="12002"/>
                    </a:lnTo>
                    <a:lnTo>
                      <a:pt x="161925" y="18002"/>
                    </a:lnTo>
                    <a:lnTo>
                      <a:pt x="172498" y="18002"/>
                    </a:lnTo>
                    <a:lnTo>
                      <a:pt x="172498" y="24003"/>
                    </a:lnTo>
                    <a:lnTo>
                      <a:pt x="222980" y="24003"/>
                    </a:lnTo>
                    <a:lnTo>
                      <a:pt x="222980" y="30099"/>
                    </a:lnTo>
                    <a:lnTo>
                      <a:pt x="231362" y="30099"/>
                    </a:lnTo>
                    <a:lnTo>
                      <a:pt x="231362" y="42196"/>
                    </a:lnTo>
                    <a:lnTo>
                      <a:pt x="237649" y="42196"/>
                    </a:lnTo>
                    <a:lnTo>
                      <a:pt x="237649" y="48292"/>
                    </a:lnTo>
                    <a:lnTo>
                      <a:pt x="241840" y="48292"/>
                    </a:lnTo>
                    <a:lnTo>
                      <a:pt x="241840" y="54388"/>
                    </a:lnTo>
                    <a:lnTo>
                      <a:pt x="246031" y="54388"/>
                    </a:lnTo>
                    <a:lnTo>
                      <a:pt x="246031" y="60484"/>
                    </a:lnTo>
                    <a:lnTo>
                      <a:pt x="248126" y="60484"/>
                    </a:lnTo>
                    <a:lnTo>
                      <a:pt x="248126" y="66485"/>
                    </a:lnTo>
                    <a:lnTo>
                      <a:pt x="250317" y="66485"/>
                    </a:lnTo>
                    <a:lnTo>
                      <a:pt x="250317" y="72581"/>
                    </a:lnTo>
                    <a:lnTo>
                      <a:pt x="260794" y="72581"/>
                    </a:lnTo>
                    <a:lnTo>
                      <a:pt x="260794" y="78677"/>
                    </a:lnTo>
                    <a:lnTo>
                      <a:pt x="267081" y="78677"/>
                    </a:lnTo>
                    <a:lnTo>
                      <a:pt x="267081" y="84677"/>
                    </a:lnTo>
                    <a:lnTo>
                      <a:pt x="281845" y="84677"/>
                    </a:lnTo>
                    <a:lnTo>
                      <a:pt x="281845" y="90773"/>
                    </a:lnTo>
                    <a:lnTo>
                      <a:pt x="290227" y="90773"/>
                    </a:lnTo>
                    <a:lnTo>
                      <a:pt x="290227" y="96869"/>
                    </a:lnTo>
                    <a:lnTo>
                      <a:pt x="300800" y="96869"/>
                    </a:lnTo>
                    <a:lnTo>
                      <a:pt x="300800" y="102870"/>
                    </a:lnTo>
                    <a:lnTo>
                      <a:pt x="313373" y="102870"/>
                    </a:lnTo>
                    <a:lnTo>
                      <a:pt x="313373" y="108966"/>
                    </a:lnTo>
                    <a:lnTo>
                      <a:pt x="319659" y="108966"/>
                    </a:lnTo>
                    <a:lnTo>
                      <a:pt x="319659" y="121063"/>
                    </a:lnTo>
                    <a:lnTo>
                      <a:pt x="323850" y="121063"/>
                    </a:lnTo>
                    <a:lnTo>
                      <a:pt x="323850" y="127159"/>
                    </a:lnTo>
                    <a:lnTo>
                      <a:pt x="336518" y="127159"/>
                    </a:lnTo>
                    <a:lnTo>
                      <a:pt x="336518" y="133255"/>
                    </a:lnTo>
                    <a:lnTo>
                      <a:pt x="351187" y="133255"/>
                    </a:lnTo>
                    <a:lnTo>
                      <a:pt x="351187" y="139256"/>
                    </a:lnTo>
                    <a:lnTo>
                      <a:pt x="355473" y="139256"/>
                    </a:lnTo>
                    <a:lnTo>
                      <a:pt x="355473" y="145352"/>
                    </a:lnTo>
                    <a:lnTo>
                      <a:pt x="365950" y="145352"/>
                    </a:lnTo>
                    <a:lnTo>
                      <a:pt x="365950" y="151448"/>
                    </a:lnTo>
                    <a:lnTo>
                      <a:pt x="374333" y="151448"/>
                    </a:lnTo>
                    <a:lnTo>
                      <a:pt x="374333" y="157544"/>
                    </a:lnTo>
                    <a:lnTo>
                      <a:pt x="389096" y="157544"/>
                    </a:lnTo>
                    <a:lnTo>
                      <a:pt x="389096" y="163544"/>
                    </a:lnTo>
                    <a:lnTo>
                      <a:pt x="393287" y="163544"/>
                    </a:lnTo>
                    <a:lnTo>
                      <a:pt x="393287" y="169640"/>
                    </a:lnTo>
                    <a:lnTo>
                      <a:pt x="397478" y="169640"/>
                    </a:lnTo>
                    <a:lnTo>
                      <a:pt x="397478" y="175736"/>
                    </a:lnTo>
                    <a:lnTo>
                      <a:pt x="410147" y="175736"/>
                    </a:lnTo>
                    <a:lnTo>
                      <a:pt x="410147" y="181737"/>
                    </a:lnTo>
                    <a:lnTo>
                      <a:pt x="439579" y="181737"/>
                    </a:lnTo>
                    <a:lnTo>
                      <a:pt x="439579" y="187833"/>
                    </a:lnTo>
                    <a:lnTo>
                      <a:pt x="447961" y="187833"/>
                    </a:lnTo>
                    <a:lnTo>
                      <a:pt x="447961" y="193929"/>
                    </a:lnTo>
                    <a:lnTo>
                      <a:pt x="450056" y="193929"/>
                    </a:lnTo>
                    <a:lnTo>
                      <a:pt x="450056" y="199930"/>
                    </a:lnTo>
                    <a:lnTo>
                      <a:pt x="464820" y="199930"/>
                    </a:lnTo>
                    <a:lnTo>
                      <a:pt x="464820" y="212122"/>
                    </a:lnTo>
                    <a:lnTo>
                      <a:pt x="466916" y="212122"/>
                    </a:lnTo>
                    <a:lnTo>
                      <a:pt x="466916" y="218123"/>
                    </a:lnTo>
                    <a:lnTo>
                      <a:pt x="473202" y="218123"/>
                    </a:lnTo>
                    <a:lnTo>
                      <a:pt x="473202" y="224219"/>
                    </a:lnTo>
                    <a:lnTo>
                      <a:pt x="477393" y="224219"/>
                    </a:lnTo>
                    <a:lnTo>
                      <a:pt x="477393" y="230315"/>
                    </a:lnTo>
                    <a:lnTo>
                      <a:pt x="494252" y="230315"/>
                    </a:lnTo>
                    <a:lnTo>
                      <a:pt x="494252" y="242411"/>
                    </a:lnTo>
                    <a:lnTo>
                      <a:pt x="498443" y="242411"/>
                    </a:lnTo>
                    <a:lnTo>
                      <a:pt x="498443" y="248507"/>
                    </a:lnTo>
                    <a:lnTo>
                      <a:pt x="521589" y="248507"/>
                    </a:lnTo>
                    <a:lnTo>
                      <a:pt x="521589" y="254603"/>
                    </a:lnTo>
                    <a:lnTo>
                      <a:pt x="525780" y="254603"/>
                    </a:lnTo>
                    <a:lnTo>
                      <a:pt x="525780" y="260604"/>
                    </a:lnTo>
                    <a:lnTo>
                      <a:pt x="532067" y="260604"/>
                    </a:lnTo>
                    <a:lnTo>
                      <a:pt x="532067" y="272796"/>
                    </a:lnTo>
                    <a:lnTo>
                      <a:pt x="551021" y="272796"/>
                    </a:lnTo>
                    <a:lnTo>
                      <a:pt x="551021" y="278797"/>
                    </a:lnTo>
                    <a:lnTo>
                      <a:pt x="559403" y="278797"/>
                    </a:lnTo>
                    <a:lnTo>
                      <a:pt x="559403" y="284893"/>
                    </a:lnTo>
                    <a:lnTo>
                      <a:pt x="572072" y="284893"/>
                    </a:lnTo>
                    <a:lnTo>
                      <a:pt x="572072" y="290989"/>
                    </a:lnTo>
                    <a:lnTo>
                      <a:pt x="588931" y="290989"/>
                    </a:lnTo>
                    <a:lnTo>
                      <a:pt x="588931" y="296990"/>
                    </a:lnTo>
                    <a:lnTo>
                      <a:pt x="616268" y="296990"/>
                    </a:lnTo>
                    <a:lnTo>
                      <a:pt x="616268" y="303086"/>
                    </a:lnTo>
                    <a:lnTo>
                      <a:pt x="618363" y="303086"/>
                    </a:lnTo>
                    <a:lnTo>
                      <a:pt x="618363" y="309182"/>
                    </a:lnTo>
                    <a:lnTo>
                      <a:pt x="628840" y="309182"/>
                    </a:lnTo>
                    <a:lnTo>
                      <a:pt x="628840" y="315182"/>
                    </a:lnTo>
                    <a:lnTo>
                      <a:pt x="635127" y="315182"/>
                    </a:lnTo>
                    <a:lnTo>
                      <a:pt x="635127" y="327374"/>
                    </a:lnTo>
                    <a:lnTo>
                      <a:pt x="643604" y="327374"/>
                    </a:lnTo>
                    <a:lnTo>
                      <a:pt x="643604" y="333375"/>
                    </a:lnTo>
                    <a:lnTo>
                      <a:pt x="649891" y="333375"/>
                    </a:lnTo>
                    <a:lnTo>
                      <a:pt x="649891" y="345567"/>
                    </a:lnTo>
                    <a:lnTo>
                      <a:pt x="651986" y="345567"/>
                    </a:lnTo>
                    <a:lnTo>
                      <a:pt x="651986" y="351663"/>
                    </a:lnTo>
                    <a:lnTo>
                      <a:pt x="664559" y="351663"/>
                    </a:lnTo>
                    <a:lnTo>
                      <a:pt x="664559" y="357664"/>
                    </a:lnTo>
                    <a:lnTo>
                      <a:pt x="687705" y="357664"/>
                    </a:lnTo>
                    <a:lnTo>
                      <a:pt x="687705" y="363760"/>
                    </a:lnTo>
                    <a:lnTo>
                      <a:pt x="694087" y="363760"/>
                    </a:lnTo>
                    <a:lnTo>
                      <a:pt x="694087" y="369856"/>
                    </a:lnTo>
                    <a:lnTo>
                      <a:pt x="702469" y="369856"/>
                    </a:lnTo>
                    <a:lnTo>
                      <a:pt x="702469" y="375857"/>
                    </a:lnTo>
                    <a:lnTo>
                      <a:pt x="710851" y="375857"/>
                    </a:lnTo>
                    <a:lnTo>
                      <a:pt x="710851" y="381953"/>
                    </a:lnTo>
                    <a:lnTo>
                      <a:pt x="715042" y="381953"/>
                    </a:lnTo>
                    <a:lnTo>
                      <a:pt x="715042" y="388049"/>
                    </a:lnTo>
                    <a:lnTo>
                      <a:pt x="788670" y="388049"/>
                    </a:lnTo>
                    <a:lnTo>
                      <a:pt x="788670" y="394049"/>
                    </a:lnTo>
                    <a:lnTo>
                      <a:pt x="809720" y="394049"/>
                    </a:lnTo>
                    <a:lnTo>
                      <a:pt x="809720" y="400145"/>
                    </a:lnTo>
                    <a:lnTo>
                      <a:pt x="816007" y="400145"/>
                    </a:lnTo>
                    <a:lnTo>
                      <a:pt x="816007" y="406241"/>
                    </a:lnTo>
                    <a:lnTo>
                      <a:pt x="858107" y="406241"/>
                    </a:lnTo>
                    <a:lnTo>
                      <a:pt x="858107" y="412242"/>
                    </a:lnTo>
                    <a:lnTo>
                      <a:pt x="872776" y="412242"/>
                    </a:lnTo>
                    <a:lnTo>
                      <a:pt x="872776" y="418338"/>
                    </a:lnTo>
                    <a:lnTo>
                      <a:pt x="902303" y="418338"/>
                    </a:lnTo>
                    <a:lnTo>
                      <a:pt x="902303" y="424434"/>
                    </a:lnTo>
                    <a:lnTo>
                      <a:pt x="904399" y="424434"/>
                    </a:lnTo>
                    <a:lnTo>
                      <a:pt x="904399" y="430435"/>
                    </a:lnTo>
                    <a:lnTo>
                      <a:pt x="927449" y="430435"/>
                    </a:lnTo>
                    <a:lnTo>
                      <a:pt x="927449" y="436531"/>
                    </a:lnTo>
                    <a:lnTo>
                      <a:pt x="940118" y="436531"/>
                    </a:lnTo>
                    <a:lnTo>
                      <a:pt x="940118" y="442627"/>
                    </a:lnTo>
                    <a:lnTo>
                      <a:pt x="975836" y="442627"/>
                    </a:lnTo>
                    <a:lnTo>
                      <a:pt x="975836" y="448723"/>
                    </a:lnTo>
                    <a:lnTo>
                      <a:pt x="1091565" y="448723"/>
                    </a:lnTo>
                    <a:lnTo>
                      <a:pt x="1091565" y="454724"/>
                    </a:lnTo>
                    <a:lnTo>
                      <a:pt x="1129379" y="454724"/>
                    </a:lnTo>
                    <a:lnTo>
                      <a:pt x="1129379" y="460915"/>
                    </a:lnTo>
                    <a:lnTo>
                      <a:pt x="1181957" y="460915"/>
                    </a:lnTo>
                    <a:lnTo>
                      <a:pt x="1181957" y="467011"/>
                    </a:lnTo>
                    <a:lnTo>
                      <a:pt x="1200912" y="467011"/>
                    </a:lnTo>
                    <a:lnTo>
                      <a:pt x="1200912" y="473107"/>
                    </a:lnTo>
                    <a:lnTo>
                      <a:pt x="1211390" y="473107"/>
                    </a:lnTo>
                    <a:lnTo>
                      <a:pt x="1211390" y="479298"/>
                    </a:lnTo>
                    <a:lnTo>
                      <a:pt x="1245108" y="479298"/>
                    </a:lnTo>
                    <a:lnTo>
                      <a:pt x="1245108" y="485394"/>
                    </a:lnTo>
                    <a:lnTo>
                      <a:pt x="1251395" y="485394"/>
                    </a:lnTo>
                    <a:lnTo>
                      <a:pt x="1251395" y="491490"/>
                    </a:lnTo>
                    <a:lnTo>
                      <a:pt x="1266063" y="491490"/>
                    </a:lnTo>
                    <a:lnTo>
                      <a:pt x="1266063" y="497586"/>
                    </a:lnTo>
                    <a:lnTo>
                      <a:pt x="1278731" y="497586"/>
                    </a:lnTo>
                    <a:lnTo>
                      <a:pt x="1278731" y="503777"/>
                    </a:lnTo>
                    <a:lnTo>
                      <a:pt x="1303973" y="503777"/>
                    </a:lnTo>
                    <a:lnTo>
                      <a:pt x="1303973" y="509873"/>
                    </a:lnTo>
                    <a:lnTo>
                      <a:pt x="1533239" y="509873"/>
                    </a:lnTo>
                    <a:lnTo>
                      <a:pt x="1533239" y="516065"/>
                    </a:lnTo>
                    <a:lnTo>
                      <a:pt x="1646777" y="516065"/>
                    </a:lnTo>
                    <a:lnTo>
                      <a:pt x="1646777" y="522256"/>
                    </a:lnTo>
                    <a:lnTo>
                      <a:pt x="1915954" y="522256"/>
                    </a:lnTo>
                    <a:lnTo>
                      <a:pt x="1915954" y="528542"/>
                    </a:lnTo>
                    <a:lnTo>
                      <a:pt x="1989582" y="528542"/>
                    </a:lnTo>
                    <a:lnTo>
                      <a:pt x="1989582" y="534829"/>
                    </a:lnTo>
                    <a:lnTo>
                      <a:pt x="2069497" y="534829"/>
                    </a:lnTo>
                    <a:lnTo>
                      <a:pt x="2069497" y="541115"/>
                    </a:lnTo>
                    <a:lnTo>
                      <a:pt x="2231422" y="541115"/>
                    </a:lnTo>
                    <a:lnTo>
                      <a:pt x="2231422" y="547592"/>
                    </a:lnTo>
                    <a:lnTo>
                      <a:pt x="2248281" y="547592"/>
                    </a:lnTo>
                    <a:lnTo>
                      <a:pt x="2248281" y="553974"/>
                    </a:lnTo>
                    <a:lnTo>
                      <a:pt x="2298031" y="553974"/>
                    </a:lnTo>
                  </a:path>
                </a:pathLst>
              </a:custGeom>
              <a:noFill/>
              <a:ln w="12700" cap="flat" cmpd="sng" algn="ctr">
                <a:solidFill>
                  <a:schemeClr val="tx1">
                    <a:lumMod val="50000"/>
                    <a:lumOff val="50000"/>
                  </a:schemeClr>
                </a:solidFill>
                <a:prstDash val="solid"/>
                <a:miter lim="800000"/>
              </a:ln>
              <a:effectLst/>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1262" name="Group 1261">
                <a:extLst>
                  <a:ext uri="{FF2B5EF4-FFF2-40B4-BE49-F238E27FC236}">
                    <a16:creationId xmlns:a16="http://schemas.microsoft.com/office/drawing/2014/main" id="{290C49FC-177C-5918-09A8-CACC1C554759}"/>
                  </a:ext>
                </a:extLst>
              </p:cNvPr>
              <p:cNvGrpSpPr/>
              <p:nvPr/>
            </p:nvGrpSpPr>
            <p:grpSpPr>
              <a:xfrm>
                <a:off x="3110873" y="1525826"/>
                <a:ext cx="4070841" cy="1453194"/>
                <a:chOff x="3110873" y="-426658"/>
                <a:chExt cx="4070841" cy="1453194"/>
              </a:xfrm>
            </p:grpSpPr>
            <p:grpSp>
              <p:nvGrpSpPr>
                <p:cNvPr id="1263" name="Group 1262">
                  <a:extLst>
                    <a:ext uri="{FF2B5EF4-FFF2-40B4-BE49-F238E27FC236}">
                      <a16:creationId xmlns:a16="http://schemas.microsoft.com/office/drawing/2014/main" id="{BD3C4B58-541C-931B-8749-4A29F69B3B20}"/>
                    </a:ext>
                  </a:extLst>
                </p:cNvPr>
                <p:cNvGrpSpPr/>
                <p:nvPr/>
              </p:nvGrpSpPr>
              <p:grpSpPr>
                <a:xfrm>
                  <a:off x="3110873" y="-426658"/>
                  <a:ext cx="68895" cy="90004"/>
                  <a:chOff x="1773255" y="1810053"/>
                  <a:chExt cx="84653" cy="84653"/>
                </a:xfrm>
              </p:grpSpPr>
              <p:cxnSp>
                <p:nvCxnSpPr>
                  <p:cNvPr id="1288" name="Straight Connector 1287">
                    <a:extLst>
                      <a:ext uri="{FF2B5EF4-FFF2-40B4-BE49-F238E27FC236}">
                        <a16:creationId xmlns:a16="http://schemas.microsoft.com/office/drawing/2014/main" id="{E8AE87B3-6A8D-6FDC-0AA1-67538E75A48B}"/>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89" name="Straight Connector 1288">
                    <a:extLst>
                      <a:ext uri="{FF2B5EF4-FFF2-40B4-BE49-F238E27FC236}">
                        <a16:creationId xmlns:a16="http://schemas.microsoft.com/office/drawing/2014/main" id="{39122E62-F656-601D-085E-481E78B3DF10}"/>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264" name="Group 1263">
                  <a:extLst>
                    <a:ext uri="{FF2B5EF4-FFF2-40B4-BE49-F238E27FC236}">
                      <a16:creationId xmlns:a16="http://schemas.microsoft.com/office/drawing/2014/main" id="{173C9795-1E1C-8926-7C22-321E5C1476BA}"/>
                    </a:ext>
                  </a:extLst>
                </p:cNvPr>
                <p:cNvGrpSpPr/>
                <p:nvPr/>
              </p:nvGrpSpPr>
              <p:grpSpPr>
                <a:xfrm>
                  <a:off x="3200020" y="-426658"/>
                  <a:ext cx="68895" cy="90004"/>
                  <a:chOff x="1773255" y="1810053"/>
                  <a:chExt cx="84653" cy="84653"/>
                </a:xfrm>
              </p:grpSpPr>
              <p:cxnSp>
                <p:nvCxnSpPr>
                  <p:cNvPr id="1286" name="Straight Connector 1285">
                    <a:extLst>
                      <a:ext uri="{FF2B5EF4-FFF2-40B4-BE49-F238E27FC236}">
                        <a16:creationId xmlns:a16="http://schemas.microsoft.com/office/drawing/2014/main" id="{1189D198-5D84-0425-7003-2B8F1270BB82}"/>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87" name="Straight Connector 1286">
                    <a:extLst>
                      <a:ext uri="{FF2B5EF4-FFF2-40B4-BE49-F238E27FC236}">
                        <a16:creationId xmlns:a16="http://schemas.microsoft.com/office/drawing/2014/main" id="{775154A9-F059-9BA0-213D-8AEB316F3484}"/>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265" name="Group 1264">
                  <a:extLst>
                    <a:ext uri="{FF2B5EF4-FFF2-40B4-BE49-F238E27FC236}">
                      <a16:creationId xmlns:a16="http://schemas.microsoft.com/office/drawing/2014/main" id="{91BC5F08-4471-6FEC-BAF1-5B57FD875E4F}"/>
                    </a:ext>
                  </a:extLst>
                </p:cNvPr>
                <p:cNvGrpSpPr/>
                <p:nvPr/>
              </p:nvGrpSpPr>
              <p:grpSpPr>
                <a:xfrm>
                  <a:off x="3347306" y="-408936"/>
                  <a:ext cx="68895" cy="90004"/>
                  <a:chOff x="1773255" y="1810053"/>
                  <a:chExt cx="84653" cy="84653"/>
                </a:xfrm>
              </p:grpSpPr>
              <p:cxnSp>
                <p:nvCxnSpPr>
                  <p:cNvPr id="1284" name="Straight Connector 1283">
                    <a:extLst>
                      <a:ext uri="{FF2B5EF4-FFF2-40B4-BE49-F238E27FC236}">
                        <a16:creationId xmlns:a16="http://schemas.microsoft.com/office/drawing/2014/main" id="{45BF4B1B-A920-08C6-93A3-657786B16A9D}"/>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85" name="Straight Connector 1284">
                    <a:extLst>
                      <a:ext uri="{FF2B5EF4-FFF2-40B4-BE49-F238E27FC236}">
                        <a16:creationId xmlns:a16="http://schemas.microsoft.com/office/drawing/2014/main" id="{B5868E3B-8F7F-FF1A-8D3E-B6A45B9C62C4}"/>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266" name="Group 1265">
                  <a:extLst>
                    <a:ext uri="{FF2B5EF4-FFF2-40B4-BE49-F238E27FC236}">
                      <a16:creationId xmlns:a16="http://schemas.microsoft.com/office/drawing/2014/main" id="{707A2A19-701C-E339-9638-D510C7C8867A}"/>
                    </a:ext>
                  </a:extLst>
                </p:cNvPr>
                <p:cNvGrpSpPr/>
                <p:nvPr/>
              </p:nvGrpSpPr>
              <p:grpSpPr>
                <a:xfrm>
                  <a:off x="3417362" y="-363765"/>
                  <a:ext cx="68895" cy="90004"/>
                  <a:chOff x="1773255" y="1810053"/>
                  <a:chExt cx="84653" cy="84653"/>
                </a:xfrm>
              </p:grpSpPr>
              <p:cxnSp>
                <p:nvCxnSpPr>
                  <p:cNvPr id="1282" name="Straight Connector 1281">
                    <a:extLst>
                      <a:ext uri="{FF2B5EF4-FFF2-40B4-BE49-F238E27FC236}">
                        <a16:creationId xmlns:a16="http://schemas.microsoft.com/office/drawing/2014/main" id="{06EFF544-AECC-8EBE-01BB-9924A139B6CF}"/>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83" name="Straight Connector 1282">
                    <a:extLst>
                      <a:ext uri="{FF2B5EF4-FFF2-40B4-BE49-F238E27FC236}">
                        <a16:creationId xmlns:a16="http://schemas.microsoft.com/office/drawing/2014/main" id="{9AC56011-39E8-9197-F694-78FF1FB022E4}"/>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267" name="Group 1266">
                  <a:extLst>
                    <a:ext uri="{FF2B5EF4-FFF2-40B4-BE49-F238E27FC236}">
                      <a16:creationId xmlns:a16="http://schemas.microsoft.com/office/drawing/2014/main" id="{F6EA14E5-C307-0CFD-F79A-77C76ECD2EE9}"/>
                    </a:ext>
                  </a:extLst>
                </p:cNvPr>
                <p:cNvGrpSpPr/>
                <p:nvPr/>
              </p:nvGrpSpPr>
              <p:grpSpPr>
                <a:xfrm>
                  <a:off x="5148195" y="716374"/>
                  <a:ext cx="68895" cy="90004"/>
                  <a:chOff x="1773255" y="1810053"/>
                  <a:chExt cx="84653" cy="84653"/>
                </a:xfrm>
              </p:grpSpPr>
              <p:cxnSp>
                <p:nvCxnSpPr>
                  <p:cNvPr id="1280" name="Straight Connector 1279">
                    <a:extLst>
                      <a:ext uri="{FF2B5EF4-FFF2-40B4-BE49-F238E27FC236}">
                        <a16:creationId xmlns:a16="http://schemas.microsoft.com/office/drawing/2014/main" id="{64D546F9-607A-C84F-E64B-B332053EB7A2}"/>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81" name="Straight Connector 1280">
                    <a:extLst>
                      <a:ext uri="{FF2B5EF4-FFF2-40B4-BE49-F238E27FC236}">
                        <a16:creationId xmlns:a16="http://schemas.microsoft.com/office/drawing/2014/main" id="{9F6262C3-7A92-4047-A7AB-1148A6129150}"/>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268" name="Group 1267">
                  <a:extLst>
                    <a:ext uri="{FF2B5EF4-FFF2-40B4-BE49-F238E27FC236}">
                      <a16:creationId xmlns:a16="http://schemas.microsoft.com/office/drawing/2014/main" id="{0838C142-156C-98DB-5C49-3A7D46326C69}"/>
                    </a:ext>
                  </a:extLst>
                </p:cNvPr>
                <p:cNvGrpSpPr/>
                <p:nvPr/>
              </p:nvGrpSpPr>
              <p:grpSpPr>
                <a:xfrm>
                  <a:off x="5614763" y="855516"/>
                  <a:ext cx="68895" cy="90004"/>
                  <a:chOff x="1773255" y="1810053"/>
                  <a:chExt cx="84653" cy="84653"/>
                </a:xfrm>
              </p:grpSpPr>
              <p:cxnSp>
                <p:nvCxnSpPr>
                  <p:cNvPr id="1278" name="Straight Connector 1277">
                    <a:extLst>
                      <a:ext uri="{FF2B5EF4-FFF2-40B4-BE49-F238E27FC236}">
                        <a16:creationId xmlns:a16="http://schemas.microsoft.com/office/drawing/2014/main" id="{63F0175E-7CF5-D339-7FA5-26CCD2DFAB21}"/>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79" name="Straight Connector 1278">
                    <a:extLst>
                      <a:ext uri="{FF2B5EF4-FFF2-40B4-BE49-F238E27FC236}">
                        <a16:creationId xmlns:a16="http://schemas.microsoft.com/office/drawing/2014/main" id="{D6F07CC2-1791-44E0-9651-A2115D65E243}"/>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269" name="Group 1268">
                  <a:extLst>
                    <a:ext uri="{FF2B5EF4-FFF2-40B4-BE49-F238E27FC236}">
                      <a16:creationId xmlns:a16="http://schemas.microsoft.com/office/drawing/2014/main" id="{7F52DA9C-CA4F-B845-120B-2932D9A449D0}"/>
                    </a:ext>
                  </a:extLst>
                </p:cNvPr>
                <p:cNvGrpSpPr/>
                <p:nvPr/>
              </p:nvGrpSpPr>
              <p:grpSpPr>
                <a:xfrm>
                  <a:off x="6531426" y="888430"/>
                  <a:ext cx="68895" cy="90004"/>
                  <a:chOff x="1773255" y="1810053"/>
                  <a:chExt cx="84653" cy="84653"/>
                </a:xfrm>
              </p:grpSpPr>
              <p:cxnSp>
                <p:nvCxnSpPr>
                  <p:cNvPr id="1276" name="Straight Connector 1275">
                    <a:extLst>
                      <a:ext uri="{FF2B5EF4-FFF2-40B4-BE49-F238E27FC236}">
                        <a16:creationId xmlns:a16="http://schemas.microsoft.com/office/drawing/2014/main" id="{2525303B-C8D0-B2EC-523E-A7E2FCD7B7D8}"/>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77" name="Straight Connector 1276">
                    <a:extLst>
                      <a:ext uri="{FF2B5EF4-FFF2-40B4-BE49-F238E27FC236}">
                        <a16:creationId xmlns:a16="http://schemas.microsoft.com/office/drawing/2014/main" id="{D0922A23-D041-5E83-0775-BB79AB16DEFF}"/>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270" name="Group 1269">
                  <a:extLst>
                    <a:ext uri="{FF2B5EF4-FFF2-40B4-BE49-F238E27FC236}">
                      <a16:creationId xmlns:a16="http://schemas.microsoft.com/office/drawing/2014/main" id="{A7226641-23F8-9668-7507-3CA93CB50CF8}"/>
                    </a:ext>
                  </a:extLst>
                </p:cNvPr>
                <p:cNvGrpSpPr/>
                <p:nvPr/>
              </p:nvGrpSpPr>
              <p:grpSpPr>
                <a:xfrm>
                  <a:off x="6825998" y="913747"/>
                  <a:ext cx="68895" cy="90004"/>
                  <a:chOff x="1773255" y="1810053"/>
                  <a:chExt cx="84653" cy="84653"/>
                </a:xfrm>
              </p:grpSpPr>
              <p:cxnSp>
                <p:nvCxnSpPr>
                  <p:cNvPr id="1274" name="Straight Connector 1273">
                    <a:extLst>
                      <a:ext uri="{FF2B5EF4-FFF2-40B4-BE49-F238E27FC236}">
                        <a16:creationId xmlns:a16="http://schemas.microsoft.com/office/drawing/2014/main" id="{06AEAB27-1ACB-3151-DFCA-45F1D72FA13B}"/>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75" name="Straight Connector 1274">
                    <a:extLst>
                      <a:ext uri="{FF2B5EF4-FFF2-40B4-BE49-F238E27FC236}">
                        <a16:creationId xmlns:a16="http://schemas.microsoft.com/office/drawing/2014/main" id="{3FBF57D9-321E-BF1C-F639-3C333EAAD1FE}"/>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271" name="Group 1270">
                  <a:extLst>
                    <a:ext uri="{FF2B5EF4-FFF2-40B4-BE49-F238E27FC236}">
                      <a16:creationId xmlns:a16="http://schemas.microsoft.com/office/drawing/2014/main" id="{D27635BE-40A2-985F-A74B-8C33F788E57A}"/>
                    </a:ext>
                  </a:extLst>
                </p:cNvPr>
                <p:cNvGrpSpPr/>
                <p:nvPr/>
              </p:nvGrpSpPr>
              <p:grpSpPr>
                <a:xfrm>
                  <a:off x="7112819" y="936532"/>
                  <a:ext cx="68895" cy="90004"/>
                  <a:chOff x="1773255" y="1810053"/>
                  <a:chExt cx="84653" cy="84653"/>
                </a:xfrm>
              </p:grpSpPr>
              <p:cxnSp>
                <p:nvCxnSpPr>
                  <p:cNvPr id="1272" name="Straight Connector 1271">
                    <a:extLst>
                      <a:ext uri="{FF2B5EF4-FFF2-40B4-BE49-F238E27FC236}">
                        <a16:creationId xmlns:a16="http://schemas.microsoft.com/office/drawing/2014/main" id="{E312EEA1-7DC5-FDA1-ED54-8F58C4E1B4B2}"/>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73" name="Straight Connector 1272">
                    <a:extLst>
                      <a:ext uri="{FF2B5EF4-FFF2-40B4-BE49-F238E27FC236}">
                        <a16:creationId xmlns:a16="http://schemas.microsoft.com/office/drawing/2014/main" id="{E860086D-C770-8FCE-652C-B3986D69DAD8}"/>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grpSp>
        <p:grpSp>
          <p:nvGrpSpPr>
            <p:cNvPr id="1166" name="Group 1165">
              <a:extLst>
                <a:ext uri="{FF2B5EF4-FFF2-40B4-BE49-F238E27FC236}">
                  <a16:creationId xmlns:a16="http://schemas.microsoft.com/office/drawing/2014/main" id="{CBBC7358-F963-EE02-7DF6-713B0204A091}"/>
                </a:ext>
              </a:extLst>
            </p:cNvPr>
            <p:cNvGrpSpPr/>
            <p:nvPr/>
          </p:nvGrpSpPr>
          <p:grpSpPr>
            <a:xfrm>
              <a:off x="6551398" y="3258052"/>
              <a:ext cx="1002535" cy="94008"/>
              <a:chOff x="7429341" y="2906114"/>
              <a:chExt cx="1438411" cy="91729"/>
            </a:xfrm>
          </p:grpSpPr>
          <p:sp>
            <p:nvSpPr>
              <p:cNvPr id="1172" name="Graphic 1300">
                <a:extLst>
                  <a:ext uri="{FF2B5EF4-FFF2-40B4-BE49-F238E27FC236}">
                    <a16:creationId xmlns:a16="http://schemas.microsoft.com/office/drawing/2014/main" id="{91A81E5B-1845-395D-9AB5-A0E89FF022E0}"/>
                  </a:ext>
                </a:extLst>
              </p:cNvPr>
              <p:cNvSpPr/>
              <p:nvPr/>
            </p:nvSpPr>
            <p:spPr>
              <a:xfrm>
                <a:off x="7429341" y="2906114"/>
                <a:ext cx="1428908" cy="48615"/>
              </a:xfrm>
              <a:custGeom>
                <a:avLst/>
                <a:gdLst>
                  <a:gd name="connsiteX0" fmla="*/ 0 w 3810952"/>
                  <a:gd name="connsiteY0" fmla="*/ 0 h 608171"/>
                  <a:gd name="connsiteX1" fmla="*/ 113538 w 3810952"/>
                  <a:gd name="connsiteY1" fmla="*/ 0 h 608171"/>
                  <a:gd name="connsiteX2" fmla="*/ 113538 w 3810952"/>
                  <a:gd name="connsiteY2" fmla="*/ 5906 h 608171"/>
                  <a:gd name="connsiteX3" fmla="*/ 153543 w 3810952"/>
                  <a:gd name="connsiteY3" fmla="*/ 5906 h 608171"/>
                  <a:gd name="connsiteX4" fmla="*/ 153543 w 3810952"/>
                  <a:gd name="connsiteY4" fmla="*/ 12002 h 608171"/>
                  <a:gd name="connsiteX5" fmla="*/ 161925 w 3810952"/>
                  <a:gd name="connsiteY5" fmla="*/ 12002 h 608171"/>
                  <a:gd name="connsiteX6" fmla="*/ 161925 w 3810952"/>
                  <a:gd name="connsiteY6" fmla="*/ 18002 h 608171"/>
                  <a:gd name="connsiteX7" fmla="*/ 172498 w 3810952"/>
                  <a:gd name="connsiteY7" fmla="*/ 18002 h 608171"/>
                  <a:gd name="connsiteX8" fmla="*/ 172498 w 3810952"/>
                  <a:gd name="connsiteY8" fmla="*/ 24003 h 608171"/>
                  <a:gd name="connsiteX9" fmla="*/ 222980 w 3810952"/>
                  <a:gd name="connsiteY9" fmla="*/ 24003 h 608171"/>
                  <a:gd name="connsiteX10" fmla="*/ 222980 w 3810952"/>
                  <a:gd name="connsiteY10" fmla="*/ 30099 h 608171"/>
                  <a:gd name="connsiteX11" fmla="*/ 231362 w 3810952"/>
                  <a:gd name="connsiteY11" fmla="*/ 30099 h 608171"/>
                  <a:gd name="connsiteX12" fmla="*/ 231362 w 3810952"/>
                  <a:gd name="connsiteY12" fmla="*/ 42196 h 608171"/>
                  <a:gd name="connsiteX13" fmla="*/ 237649 w 3810952"/>
                  <a:gd name="connsiteY13" fmla="*/ 42196 h 608171"/>
                  <a:gd name="connsiteX14" fmla="*/ 237649 w 3810952"/>
                  <a:gd name="connsiteY14" fmla="*/ 48292 h 608171"/>
                  <a:gd name="connsiteX15" fmla="*/ 241840 w 3810952"/>
                  <a:gd name="connsiteY15" fmla="*/ 48292 h 608171"/>
                  <a:gd name="connsiteX16" fmla="*/ 241840 w 3810952"/>
                  <a:gd name="connsiteY16" fmla="*/ 54388 h 608171"/>
                  <a:gd name="connsiteX17" fmla="*/ 246031 w 3810952"/>
                  <a:gd name="connsiteY17" fmla="*/ 54388 h 608171"/>
                  <a:gd name="connsiteX18" fmla="*/ 246031 w 3810952"/>
                  <a:gd name="connsiteY18" fmla="*/ 60484 h 608171"/>
                  <a:gd name="connsiteX19" fmla="*/ 248126 w 3810952"/>
                  <a:gd name="connsiteY19" fmla="*/ 60484 h 608171"/>
                  <a:gd name="connsiteX20" fmla="*/ 248126 w 3810952"/>
                  <a:gd name="connsiteY20" fmla="*/ 66485 h 608171"/>
                  <a:gd name="connsiteX21" fmla="*/ 250317 w 3810952"/>
                  <a:gd name="connsiteY21" fmla="*/ 66485 h 608171"/>
                  <a:gd name="connsiteX22" fmla="*/ 250317 w 3810952"/>
                  <a:gd name="connsiteY22" fmla="*/ 72581 h 608171"/>
                  <a:gd name="connsiteX23" fmla="*/ 260794 w 3810952"/>
                  <a:gd name="connsiteY23" fmla="*/ 72581 h 608171"/>
                  <a:gd name="connsiteX24" fmla="*/ 260794 w 3810952"/>
                  <a:gd name="connsiteY24" fmla="*/ 78677 h 608171"/>
                  <a:gd name="connsiteX25" fmla="*/ 267081 w 3810952"/>
                  <a:gd name="connsiteY25" fmla="*/ 78677 h 608171"/>
                  <a:gd name="connsiteX26" fmla="*/ 267081 w 3810952"/>
                  <a:gd name="connsiteY26" fmla="*/ 84677 h 608171"/>
                  <a:gd name="connsiteX27" fmla="*/ 281845 w 3810952"/>
                  <a:gd name="connsiteY27" fmla="*/ 84677 h 608171"/>
                  <a:gd name="connsiteX28" fmla="*/ 281845 w 3810952"/>
                  <a:gd name="connsiteY28" fmla="*/ 90773 h 608171"/>
                  <a:gd name="connsiteX29" fmla="*/ 290227 w 3810952"/>
                  <a:gd name="connsiteY29" fmla="*/ 90773 h 608171"/>
                  <a:gd name="connsiteX30" fmla="*/ 290227 w 3810952"/>
                  <a:gd name="connsiteY30" fmla="*/ 96869 h 608171"/>
                  <a:gd name="connsiteX31" fmla="*/ 300800 w 3810952"/>
                  <a:gd name="connsiteY31" fmla="*/ 96869 h 608171"/>
                  <a:gd name="connsiteX32" fmla="*/ 300800 w 3810952"/>
                  <a:gd name="connsiteY32" fmla="*/ 102870 h 608171"/>
                  <a:gd name="connsiteX33" fmla="*/ 313373 w 3810952"/>
                  <a:gd name="connsiteY33" fmla="*/ 102870 h 608171"/>
                  <a:gd name="connsiteX34" fmla="*/ 313373 w 3810952"/>
                  <a:gd name="connsiteY34" fmla="*/ 108966 h 608171"/>
                  <a:gd name="connsiteX35" fmla="*/ 319659 w 3810952"/>
                  <a:gd name="connsiteY35" fmla="*/ 108966 h 608171"/>
                  <a:gd name="connsiteX36" fmla="*/ 319659 w 3810952"/>
                  <a:gd name="connsiteY36" fmla="*/ 121063 h 608171"/>
                  <a:gd name="connsiteX37" fmla="*/ 323850 w 3810952"/>
                  <a:gd name="connsiteY37" fmla="*/ 121063 h 608171"/>
                  <a:gd name="connsiteX38" fmla="*/ 323850 w 3810952"/>
                  <a:gd name="connsiteY38" fmla="*/ 127159 h 608171"/>
                  <a:gd name="connsiteX39" fmla="*/ 336518 w 3810952"/>
                  <a:gd name="connsiteY39" fmla="*/ 127159 h 608171"/>
                  <a:gd name="connsiteX40" fmla="*/ 336518 w 3810952"/>
                  <a:gd name="connsiteY40" fmla="*/ 133255 h 608171"/>
                  <a:gd name="connsiteX41" fmla="*/ 351187 w 3810952"/>
                  <a:gd name="connsiteY41" fmla="*/ 133255 h 608171"/>
                  <a:gd name="connsiteX42" fmla="*/ 351187 w 3810952"/>
                  <a:gd name="connsiteY42" fmla="*/ 139256 h 608171"/>
                  <a:gd name="connsiteX43" fmla="*/ 355473 w 3810952"/>
                  <a:gd name="connsiteY43" fmla="*/ 139256 h 608171"/>
                  <a:gd name="connsiteX44" fmla="*/ 355473 w 3810952"/>
                  <a:gd name="connsiteY44" fmla="*/ 145352 h 608171"/>
                  <a:gd name="connsiteX45" fmla="*/ 365950 w 3810952"/>
                  <a:gd name="connsiteY45" fmla="*/ 145352 h 608171"/>
                  <a:gd name="connsiteX46" fmla="*/ 365950 w 3810952"/>
                  <a:gd name="connsiteY46" fmla="*/ 151448 h 608171"/>
                  <a:gd name="connsiteX47" fmla="*/ 374333 w 3810952"/>
                  <a:gd name="connsiteY47" fmla="*/ 151448 h 608171"/>
                  <a:gd name="connsiteX48" fmla="*/ 374333 w 3810952"/>
                  <a:gd name="connsiteY48" fmla="*/ 157544 h 608171"/>
                  <a:gd name="connsiteX49" fmla="*/ 389096 w 3810952"/>
                  <a:gd name="connsiteY49" fmla="*/ 157544 h 608171"/>
                  <a:gd name="connsiteX50" fmla="*/ 389096 w 3810952"/>
                  <a:gd name="connsiteY50" fmla="*/ 163544 h 608171"/>
                  <a:gd name="connsiteX51" fmla="*/ 393287 w 3810952"/>
                  <a:gd name="connsiteY51" fmla="*/ 163544 h 608171"/>
                  <a:gd name="connsiteX52" fmla="*/ 393287 w 3810952"/>
                  <a:gd name="connsiteY52" fmla="*/ 169640 h 608171"/>
                  <a:gd name="connsiteX53" fmla="*/ 397478 w 3810952"/>
                  <a:gd name="connsiteY53" fmla="*/ 169640 h 608171"/>
                  <a:gd name="connsiteX54" fmla="*/ 397478 w 3810952"/>
                  <a:gd name="connsiteY54" fmla="*/ 175736 h 608171"/>
                  <a:gd name="connsiteX55" fmla="*/ 410147 w 3810952"/>
                  <a:gd name="connsiteY55" fmla="*/ 175736 h 608171"/>
                  <a:gd name="connsiteX56" fmla="*/ 410147 w 3810952"/>
                  <a:gd name="connsiteY56" fmla="*/ 181737 h 608171"/>
                  <a:gd name="connsiteX57" fmla="*/ 439579 w 3810952"/>
                  <a:gd name="connsiteY57" fmla="*/ 181737 h 608171"/>
                  <a:gd name="connsiteX58" fmla="*/ 439579 w 3810952"/>
                  <a:gd name="connsiteY58" fmla="*/ 187833 h 608171"/>
                  <a:gd name="connsiteX59" fmla="*/ 447961 w 3810952"/>
                  <a:gd name="connsiteY59" fmla="*/ 187833 h 608171"/>
                  <a:gd name="connsiteX60" fmla="*/ 447961 w 3810952"/>
                  <a:gd name="connsiteY60" fmla="*/ 193929 h 608171"/>
                  <a:gd name="connsiteX61" fmla="*/ 450056 w 3810952"/>
                  <a:gd name="connsiteY61" fmla="*/ 193929 h 608171"/>
                  <a:gd name="connsiteX62" fmla="*/ 450056 w 3810952"/>
                  <a:gd name="connsiteY62" fmla="*/ 199930 h 608171"/>
                  <a:gd name="connsiteX63" fmla="*/ 464820 w 3810952"/>
                  <a:gd name="connsiteY63" fmla="*/ 199930 h 608171"/>
                  <a:gd name="connsiteX64" fmla="*/ 464820 w 3810952"/>
                  <a:gd name="connsiteY64" fmla="*/ 212122 h 608171"/>
                  <a:gd name="connsiteX65" fmla="*/ 466916 w 3810952"/>
                  <a:gd name="connsiteY65" fmla="*/ 212122 h 608171"/>
                  <a:gd name="connsiteX66" fmla="*/ 466916 w 3810952"/>
                  <a:gd name="connsiteY66" fmla="*/ 218123 h 608171"/>
                  <a:gd name="connsiteX67" fmla="*/ 473202 w 3810952"/>
                  <a:gd name="connsiteY67" fmla="*/ 218123 h 608171"/>
                  <a:gd name="connsiteX68" fmla="*/ 473202 w 3810952"/>
                  <a:gd name="connsiteY68" fmla="*/ 224219 h 608171"/>
                  <a:gd name="connsiteX69" fmla="*/ 477393 w 3810952"/>
                  <a:gd name="connsiteY69" fmla="*/ 224219 h 608171"/>
                  <a:gd name="connsiteX70" fmla="*/ 477393 w 3810952"/>
                  <a:gd name="connsiteY70" fmla="*/ 230315 h 608171"/>
                  <a:gd name="connsiteX71" fmla="*/ 494252 w 3810952"/>
                  <a:gd name="connsiteY71" fmla="*/ 230315 h 608171"/>
                  <a:gd name="connsiteX72" fmla="*/ 494252 w 3810952"/>
                  <a:gd name="connsiteY72" fmla="*/ 242411 h 608171"/>
                  <a:gd name="connsiteX73" fmla="*/ 498443 w 3810952"/>
                  <a:gd name="connsiteY73" fmla="*/ 242411 h 608171"/>
                  <a:gd name="connsiteX74" fmla="*/ 498443 w 3810952"/>
                  <a:gd name="connsiteY74" fmla="*/ 248507 h 608171"/>
                  <a:gd name="connsiteX75" fmla="*/ 521589 w 3810952"/>
                  <a:gd name="connsiteY75" fmla="*/ 248507 h 608171"/>
                  <a:gd name="connsiteX76" fmla="*/ 521589 w 3810952"/>
                  <a:gd name="connsiteY76" fmla="*/ 254603 h 608171"/>
                  <a:gd name="connsiteX77" fmla="*/ 525780 w 3810952"/>
                  <a:gd name="connsiteY77" fmla="*/ 254603 h 608171"/>
                  <a:gd name="connsiteX78" fmla="*/ 525780 w 3810952"/>
                  <a:gd name="connsiteY78" fmla="*/ 260604 h 608171"/>
                  <a:gd name="connsiteX79" fmla="*/ 532067 w 3810952"/>
                  <a:gd name="connsiteY79" fmla="*/ 260604 h 608171"/>
                  <a:gd name="connsiteX80" fmla="*/ 532067 w 3810952"/>
                  <a:gd name="connsiteY80" fmla="*/ 272796 h 608171"/>
                  <a:gd name="connsiteX81" fmla="*/ 551021 w 3810952"/>
                  <a:gd name="connsiteY81" fmla="*/ 272796 h 608171"/>
                  <a:gd name="connsiteX82" fmla="*/ 551021 w 3810952"/>
                  <a:gd name="connsiteY82" fmla="*/ 278797 h 608171"/>
                  <a:gd name="connsiteX83" fmla="*/ 559403 w 3810952"/>
                  <a:gd name="connsiteY83" fmla="*/ 278797 h 608171"/>
                  <a:gd name="connsiteX84" fmla="*/ 559403 w 3810952"/>
                  <a:gd name="connsiteY84" fmla="*/ 284893 h 608171"/>
                  <a:gd name="connsiteX85" fmla="*/ 572072 w 3810952"/>
                  <a:gd name="connsiteY85" fmla="*/ 284893 h 608171"/>
                  <a:gd name="connsiteX86" fmla="*/ 572072 w 3810952"/>
                  <a:gd name="connsiteY86" fmla="*/ 290989 h 608171"/>
                  <a:gd name="connsiteX87" fmla="*/ 588931 w 3810952"/>
                  <a:gd name="connsiteY87" fmla="*/ 290989 h 608171"/>
                  <a:gd name="connsiteX88" fmla="*/ 588931 w 3810952"/>
                  <a:gd name="connsiteY88" fmla="*/ 296990 h 608171"/>
                  <a:gd name="connsiteX89" fmla="*/ 616268 w 3810952"/>
                  <a:gd name="connsiteY89" fmla="*/ 296990 h 608171"/>
                  <a:gd name="connsiteX90" fmla="*/ 616268 w 3810952"/>
                  <a:gd name="connsiteY90" fmla="*/ 303086 h 608171"/>
                  <a:gd name="connsiteX91" fmla="*/ 618363 w 3810952"/>
                  <a:gd name="connsiteY91" fmla="*/ 303086 h 608171"/>
                  <a:gd name="connsiteX92" fmla="*/ 618363 w 3810952"/>
                  <a:gd name="connsiteY92" fmla="*/ 309182 h 608171"/>
                  <a:gd name="connsiteX93" fmla="*/ 628840 w 3810952"/>
                  <a:gd name="connsiteY93" fmla="*/ 309182 h 608171"/>
                  <a:gd name="connsiteX94" fmla="*/ 628840 w 3810952"/>
                  <a:gd name="connsiteY94" fmla="*/ 315182 h 608171"/>
                  <a:gd name="connsiteX95" fmla="*/ 635127 w 3810952"/>
                  <a:gd name="connsiteY95" fmla="*/ 315182 h 608171"/>
                  <a:gd name="connsiteX96" fmla="*/ 635127 w 3810952"/>
                  <a:gd name="connsiteY96" fmla="*/ 327374 h 608171"/>
                  <a:gd name="connsiteX97" fmla="*/ 643604 w 3810952"/>
                  <a:gd name="connsiteY97" fmla="*/ 327374 h 608171"/>
                  <a:gd name="connsiteX98" fmla="*/ 643604 w 3810952"/>
                  <a:gd name="connsiteY98" fmla="*/ 333375 h 608171"/>
                  <a:gd name="connsiteX99" fmla="*/ 649891 w 3810952"/>
                  <a:gd name="connsiteY99" fmla="*/ 333375 h 608171"/>
                  <a:gd name="connsiteX100" fmla="*/ 649891 w 3810952"/>
                  <a:gd name="connsiteY100" fmla="*/ 345567 h 608171"/>
                  <a:gd name="connsiteX101" fmla="*/ 651986 w 3810952"/>
                  <a:gd name="connsiteY101" fmla="*/ 345567 h 608171"/>
                  <a:gd name="connsiteX102" fmla="*/ 651986 w 3810952"/>
                  <a:gd name="connsiteY102" fmla="*/ 351663 h 608171"/>
                  <a:gd name="connsiteX103" fmla="*/ 664559 w 3810952"/>
                  <a:gd name="connsiteY103" fmla="*/ 351663 h 608171"/>
                  <a:gd name="connsiteX104" fmla="*/ 664559 w 3810952"/>
                  <a:gd name="connsiteY104" fmla="*/ 357664 h 608171"/>
                  <a:gd name="connsiteX105" fmla="*/ 687705 w 3810952"/>
                  <a:gd name="connsiteY105" fmla="*/ 357664 h 608171"/>
                  <a:gd name="connsiteX106" fmla="*/ 687705 w 3810952"/>
                  <a:gd name="connsiteY106" fmla="*/ 363760 h 608171"/>
                  <a:gd name="connsiteX107" fmla="*/ 694087 w 3810952"/>
                  <a:gd name="connsiteY107" fmla="*/ 363760 h 608171"/>
                  <a:gd name="connsiteX108" fmla="*/ 694087 w 3810952"/>
                  <a:gd name="connsiteY108" fmla="*/ 369856 h 608171"/>
                  <a:gd name="connsiteX109" fmla="*/ 702469 w 3810952"/>
                  <a:gd name="connsiteY109" fmla="*/ 369856 h 608171"/>
                  <a:gd name="connsiteX110" fmla="*/ 702469 w 3810952"/>
                  <a:gd name="connsiteY110" fmla="*/ 375857 h 608171"/>
                  <a:gd name="connsiteX111" fmla="*/ 710851 w 3810952"/>
                  <a:gd name="connsiteY111" fmla="*/ 375857 h 608171"/>
                  <a:gd name="connsiteX112" fmla="*/ 710851 w 3810952"/>
                  <a:gd name="connsiteY112" fmla="*/ 381953 h 608171"/>
                  <a:gd name="connsiteX113" fmla="*/ 715042 w 3810952"/>
                  <a:gd name="connsiteY113" fmla="*/ 381953 h 608171"/>
                  <a:gd name="connsiteX114" fmla="*/ 715042 w 3810952"/>
                  <a:gd name="connsiteY114" fmla="*/ 388049 h 608171"/>
                  <a:gd name="connsiteX115" fmla="*/ 788670 w 3810952"/>
                  <a:gd name="connsiteY115" fmla="*/ 388049 h 608171"/>
                  <a:gd name="connsiteX116" fmla="*/ 788670 w 3810952"/>
                  <a:gd name="connsiteY116" fmla="*/ 394049 h 608171"/>
                  <a:gd name="connsiteX117" fmla="*/ 809720 w 3810952"/>
                  <a:gd name="connsiteY117" fmla="*/ 394049 h 608171"/>
                  <a:gd name="connsiteX118" fmla="*/ 809720 w 3810952"/>
                  <a:gd name="connsiteY118" fmla="*/ 400145 h 608171"/>
                  <a:gd name="connsiteX119" fmla="*/ 816007 w 3810952"/>
                  <a:gd name="connsiteY119" fmla="*/ 400145 h 608171"/>
                  <a:gd name="connsiteX120" fmla="*/ 816007 w 3810952"/>
                  <a:gd name="connsiteY120" fmla="*/ 406241 h 608171"/>
                  <a:gd name="connsiteX121" fmla="*/ 858107 w 3810952"/>
                  <a:gd name="connsiteY121" fmla="*/ 406241 h 608171"/>
                  <a:gd name="connsiteX122" fmla="*/ 858107 w 3810952"/>
                  <a:gd name="connsiteY122" fmla="*/ 412242 h 608171"/>
                  <a:gd name="connsiteX123" fmla="*/ 872776 w 3810952"/>
                  <a:gd name="connsiteY123" fmla="*/ 412242 h 608171"/>
                  <a:gd name="connsiteX124" fmla="*/ 872776 w 3810952"/>
                  <a:gd name="connsiteY124" fmla="*/ 418338 h 608171"/>
                  <a:gd name="connsiteX125" fmla="*/ 902303 w 3810952"/>
                  <a:gd name="connsiteY125" fmla="*/ 418338 h 608171"/>
                  <a:gd name="connsiteX126" fmla="*/ 902303 w 3810952"/>
                  <a:gd name="connsiteY126" fmla="*/ 424434 h 608171"/>
                  <a:gd name="connsiteX127" fmla="*/ 904399 w 3810952"/>
                  <a:gd name="connsiteY127" fmla="*/ 424434 h 608171"/>
                  <a:gd name="connsiteX128" fmla="*/ 904399 w 3810952"/>
                  <a:gd name="connsiteY128" fmla="*/ 430435 h 608171"/>
                  <a:gd name="connsiteX129" fmla="*/ 927449 w 3810952"/>
                  <a:gd name="connsiteY129" fmla="*/ 430435 h 608171"/>
                  <a:gd name="connsiteX130" fmla="*/ 927449 w 3810952"/>
                  <a:gd name="connsiteY130" fmla="*/ 436531 h 608171"/>
                  <a:gd name="connsiteX131" fmla="*/ 940118 w 3810952"/>
                  <a:gd name="connsiteY131" fmla="*/ 436531 h 608171"/>
                  <a:gd name="connsiteX132" fmla="*/ 940118 w 3810952"/>
                  <a:gd name="connsiteY132" fmla="*/ 442627 h 608171"/>
                  <a:gd name="connsiteX133" fmla="*/ 975836 w 3810952"/>
                  <a:gd name="connsiteY133" fmla="*/ 442627 h 608171"/>
                  <a:gd name="connsiteX134" fmla="*/ 975836 w 3810952"/>
                  <a:gd name="connsiteY134" fmla="*/ 448723 h 608171"/>
                  <a:gd name="connsiteX135" fmla="*/ 1091565 w 3810952"/>
                  <a:gd name="connsiteY135" fmla="*/ 448723 h 608171"/>
                  <a:gd name="connsiteX136" fmla="*/ 1091565 w 3810952"/>
                  <a:gd name="connsiteY136" fmla="*/ 454724 h 608171"/>
                  <a:gd name="connsiteX137" fmla="*/ 1129379 w 3810952"/>
                  <a:gd name="connsiteY137" fmla="*/ 454724 h 608171"/>
                  <a:gd name="connsiteX138" fmla="*/ 1129379 w 3810952"/>
                  <a:gd name="connsiteY138" fmla="*/ 460915 h 608171"/>
                  <a:gd name="connsiteX139" fmla="*/ 1181957 w 3810952"/>
                  <a:gd name="connsiteY139" fmla="*/ 460915 h 608171"/>
                  <a:gd name="connsiteX140" fmla="*/ 1181957 w 3810952"/>
                  <a:gd name="connsiteY140" fmla="*/ 467011 h 608171"/>
                  <a:gd name="connsiteX141" fmla="*/ 1200912 w 3810952"/>
                  <a:gd name="connsiteY141" fmla="*/ 467011 h 608171"/>
                  <a:gd name="connsiteX142" fmla="*/ 1200912 w 3810952"/>
                  <a:gd name="connsiteY142" fmla="*/ 473107 h 608171"/>
                  <a:gd name="connsiteX143" fmla="*/ 1211390 w 3810952"/>
                  <a:gd name="connsiteY143" fmla="*/ 473107 h 608171"/>
                  <a:gd name="connsiteX144" fmla="*/ 1211390 w 3810952"/>
                  <a:gd name="connsiteY144" fmla="*/ 479298 h 608171"/>
                  <a:gd name="connsiteX145" fmla="*/ 1245108 w 3810952"/>
                  <a:gd name="connsiteY145" fmla="*/ 479298 h 608171"/>
                  <a:gd name="connsiteX146" fmla="*/ 1245108 w 3810952"/>
                  <a:gd name="connsiteY146" fmla="*/ 485394 h 608171"/>
                  <a:gd name="connsiteX147" fmla="*/ 1251395 w 3810952"/>
                  <a:gd name="connsiteY147" fmla="*/ 485394 h 608171"/>
                  <a:gd name="connsiteX148" fmla="*/ 1251395 w 3810952"/>
                  <a:gd name="connsiteY148" fmla="*/ 491490 h 608171"/>
                  <a:gd name="connsiteX149" fmla="*/ 1266063 w 3810952"/>
                  <a:gd name="connsiteY149" fmla="*/ 491490 h 608171"/>
                  <a:gd name="connsiteX150" fmla="*/ 1266063 w 3810952"/>
                  <a:gd name="connsiteY150" fmla="*/ 497586 h 608171"/>
                  <a:gd name="connsiteX151" fmla="*/ 1278731 w 3810952"/>
                  <a:gd name="connsiteY151" fmla="*/ 497586 h 608171"/>
                  <a:gd name="connsiteX152" fmla="*/ 1278731 w 3810952"/>
                  <a:gd name="connsiteY152" fmla="*/ 503777 h 608171"/>
                  <a:gd name="connsiteX153" fmla="*/ 1303973 w 3810952"/>
                  <a:gd name="connsiteY153" fmla="*/ 503777 h 608171"/>
                  <a:gd name="connsiteX154" fmla="*/ 1303973 w 3810952"/>
                  <a:gd name="connsiteY154" fmla="*/ 509873 h 608171"/>
                  <a:gd name="connsiteX155" fmla="*/ 1533239 w 3810952"/>
                  <a:gd name="connsiteY155" fmla="*/ 509873 h 608171"/>
                  <a:gd name="connsiteX156" fmla="*/ 1533239 w 3810952"/>
                  <a:gd name="connsiteY156" fmla="*/ 516065 h 608171"/>
                  <a:gd name="connsiteX157" fmla="*/ 1646777 w 3810952"/>
                  <a:gd name="connsiteY157" fmla="*/ 516065 h 608171"/>
                  <a:gd name="connsiteX158" fmla="*/ 1646777 w 3810952"/>
                  <a:gd name="connsiteY158" fmla="*/ 522256 h 608171"/>
                  <a:gd name="connsiteX159" fmla="*/ 1915954 w 3810952"/>
                  <a:gd name="connsiteY159" fmla="*/ 522256 h 608171"/>
                  <a:gd name="connsiteX160" fmla="*/ 1915954 w 3810952"/>
                  <a:gd name="connsiteY160" fmla="*/ 528542 h 608171"/>
                  <a:gd name="connsiteX161" fmla="*/ 1989582 w 3810952"/>
                  <a:gd name="connsiteY161" fmla="*/ 528542 h 608171"/>
                  <a:gd name="connsiteX162" fmla="*/ 1989582 w 3810952"/>
                  <a:gd name="connsiteY162" fmla="*/ 534829 h 608171"/>
                  <a:gd name="connsiteX163" fmla="*/ 2069497 w 3810952"/>
                  <a:gd name="connsiteY163" fmla="*/ 534829 h 608171"/>
                  <a:gd name="connsiteX164" fmla="*/ 2069497 w 3810952"/>
                  <a:gd name="connsiteY164" fmla="*/ 541115 h 608171"/>
                  <a:gd name="connsiteX165" fmla="*/ 2231422 w 3810952"/>
                  <a:gd name="connsiteY165" fmla="*/ 541115 h 608171"/>
                  <a:gd name="connsiteX166" fmla="*/ 2231422 w 3810952"/>
                  <a:gd name="connsiteY166" fmla="*/ 547592 h 608171"/>
                  <a:gd name="connsiteX167" fmla="*/ 2248281 w 3810952"/>
                  <a:gd name="connsiteY167" fmla="*/ 547592 h 608171"/>
                  <a:gd name="connsiteX168" fmla="*/ 2248281 w 3810952"/>
                  <a:gd name="connsiteY168" fmla="*/ 553974 h 608171"/>
                  <a:gd name="connsiteX169" fmla="*/ 2366105 w 3810952"/>
                  <a:gd name="connsiteY169" fmla="*/ 553974 h 608171"/>
                  <a:gd name="connsiteX170" fmla="*/ 2366105 w 3810952"/>
                  <a:gd name="connsiteY170" fmla="*/ 560451 h 608171"/>
                  <a:gd name="connsiteX171" fmla="*/ 2458593 w 3810952"/>
                  <a:gd name="connsiteY171" fmla="*/ 560451 h 608171"/>
                  <a:gd name="connsiteX172" fmla="*/ 2458593 w 3810952"/>
                  <a:gd name="connsiteY172" fmla="*/ 566833 h 608171"/>
                  <a:gd name="connsiteX173" fmla="*/ 2477548 w 3810952"/>
                  <a:gd name="connsiteY173" fmla="*/ 566833 h 608171"/>
                  <a:gd name="connsiteX174" fmla="*/ 2477548 w 3810952"/>
                  <a:gd name="connsiteY174" fmla="*/ 573310 h 608171"/>
                  <a:gd name="connsiteX175" fmla="*/ 3331369 w 3810952"/>
                  <a:gd name="connsiteY175" fmla="*/ 573310 h 608171"/>
                  <a:gd name="connsiteX176" fmla="*/ 3331369 w 3810952"/>
                  <a:gd name="connsiteY176" fmla="*/ 608171 h 608171"/>
                  <a:gd name="connsiteX177" fmla="*/ 3810953 w 3810952"/>
                  <a:gd name="connsiteY177" fmla="*/ 608171 h 608171"/>
                  <a:gd name="connsiteX0" fmla="*/ 0 w 3697415"/>
                  <a:gd name="connsiteY0" fmla="*/ 0 h 608171"/>
                  <a:gd name="connsiteX1" fmla="*/ 0 w 3697415"/>
                  <a:gd name="connsiteY1" fmla="*/ 5906 h 608171"/>
                  <a:gd name="connsiteX2" fmla="*/ 40005 w 3697415"/>
                  <a:gd name="connsiteY2" fmla="*/ 5906 h 608171"/>
                  <a:gd name="connsiteX3" fmla="*/ 40005 w 3697415"/>
                  <a:gd name="connsiteY3" fmla="*/ 12002 h 608171"/>
                  <a:gd name="connsiteX4" fmla="*/ 48387 w 3697415"/>
                  <a:gd name="connsiteY4" fmla="*/ 12002 h 608171"/>
                  <a:gd name="connsiteX5" fmla="*/ 48387 w 3697415"/>
                  <a:gd name="connsiteY5" fmla="*/ 18002 h 608171"/>
                  <a:gd name="connsiteX6" fmla="*/ 58960 w 3697415"/>
                  <a:gd name="connsiteY6" fmla="*/ 18002 h 608171"/>
                  <a:gd name="connsiteX7" fmla="*/ 58960 w 3697415"/>
                  <a:gd name="connsiteY7" fmla="*/ 24003 h 608171"/>
                  <a:gd name="connsiteX8" fmla="*/ 109442 w 3697415"/>
                  <a:gd name="connsiteY8" fmla="*/ 24003 h 608171"/>
                  <a:gd name="connsiteX9" fmla="*/ 109442 w 3697415"/>
                  <a:gd name="connsiteY9" fmla="*/ 30099 h 608171"/>
                  <a:gd name="connsiteX10" fmla="*/ 117824 w 3697415"/>
                  <a:gd name="connsiteY10" fmla="*/ 30099 h 608171"/>
                  <a:gd name="connsiteX11" fmla="*/ 117824 w 3697415"/>
                  <a:gd name="connsiteY11" fmla="*/ 42196 h 608171"/>
                  <a:gd name="connsiteX12" fmla="*/ 124111 w 3697415"/>
                  <a:gd name="connsiteY12" fmla="*/ 42196 h 608171"/>
                  <a:gd name="connsiteX13" fmla="*/ 124111 w 3697415"/>
                  <a:gd name="connsiteY13" fmla="*/ 48292 h 608171"/>
                  <a:gd name="connsiteX14" fmla="*/ 128302 w 3697415"/>
                  <a:gd name="connsiteY14" fmla="*/ 48292 h 608171"/>
                  <a:gd name="connsiteX15" fmla="*/ 128302 w 3697415"/>
                  <a:gd name="connsiteY15" fmla="*/ 54388 h 608171"/>
                  <a:gd name="connsiteX16" fmla="*/ 132493 w 3697415"/>
                  <a:gd name="connsiteY16" fmla="*/ 54388 h 608171"/>
                  <a:gd name="connsiteX17" fmla="*/ 132493 w 3697415"/>
                  <a:gd name="connsiteY17" fmla="*/ 60484 h 608171"/>
                  <a:gd name="connsiteX18" fmla="*/ 134588 w 3697415"/>
                  <a:gd name="connsiteY18" fmla="*/ 60484 h 608171"/>
                  <a:gd name="connsiteX19" fmla="*/ 134588 w 3697415"/>
                  <a:gd name="connsiteY19" fmla="*/ 66485 h 608171"/>
                  <a:gd name="connsiteX20" fmla="*/ 136779 w 3697415"/>
                  <a:gd name="connsiteY20" fmla="*/ 66485 h 608171"/>
                  <a:gd name="connsiteX21" fmla="*/ 136779 w 3697415"/>
                  <a:gd name="connsiteY21" fmla="*/ 72581 h 608171"/>
                  <a:gd name="connsiteX22" fmla="*/ 147256 w 3697415"/>
                  <a:gd name="connsiteY22" fmla="*/ 72581 h 608171"/>
                  <a:gd name="connsiteX23" fmla="*/ 147256 w 3697415"/>
                  <a:gd name="connsiteY23" fmla="*/ 78677 h 608171"/>
                  <a:gd name="connsiteX24" fmla="*/ 153543 w 3697415"/>
                  <a:gd name="connsiteY24" fmla="*/ 78677 h 608171"/>
                  <a:gd name="connsiteX25" fmla="*/ 153543 w 3697415"/>
                  <a:gd name="connsiteY25" fmla="*/ 84677 h 608171"/>
                  <a:gd name="connsiteX26" fmla="*/ 168307 w 3697415"/>
                  <a:gd name="connsiteY26" fmla="*/ 84677 h 608171"/>
                  <a:gd name="connsiteX27" fmla="*/ 168307 w 3697415"/>
                  <a:gd name="connsiteY27" fmla="*/ 90773 h 608171"/>
                  <a:gd name="connsiteX28" fmla="*/ 176689 w 3697415"/>
                  <a:gd name="connsiteY28" fmla="*/ 90773 h 608171"/>
                  <a:gd name="connsiteX29" fmla="*/ 176689 w 3697415"/>
                  <a:gd name="connsiteY29" fmla="*/ 96869 h 608171"/>
                  <a:gd name="connsiteX30" fmla="*/ 187262 w 3697415"/>
                  <a:gd name="connsiteY30" fmla="*/ 96869 h 608171"/>
                  <a:gd name="connsiteX31" fmla="*/ 187262 w 3697415"/>
                  <a:gd name="connsiteY31" fmla="*/ 102870 h 608171"/>
                  <a:gd name="connsiteX32" fmla="*/ 199835 w 3697415"/>
                  <a:gd name="connsiteY32" fmla="*/ 102870 h 608171"/>
                  <a:gd name="connsiteX33" fmla="*/ 199835 w 3697415"/>
                  <a:gd name="connsiteY33" fmla="*/ 108966 h 608171"/>
                  <a:gd name="connsiteX34" fmla="*/ 206121 w 3697415"/>
                  <a:gd name="connsiteY34" fmla="*/ 108966 h 608171"/>
                  <a:gd name="connsiteX35" fmla="*/ 206121 w 3697415"/>
                  <a:gd name="connsiteY35" fmla="*/ 121063 h 608171"/>
                  <a:gd name="connsiteX36" fmla="*/ 210312 w 3697415"/>
                  <a:gd name="connsiteY36" fmla="*/ 121063 h 608171"/>
                  <a:gd name="connsiteX37" fmla="*/ 210312 w 3697415"/>
                  <a:gd name="connsiteY37" fmla="*/ 127159 h 608171"/>
                  <a:gd name="connsiteX38" fmla="*/ 222980 w 3697415"/>
                  <a:gd name="connsiteY38" fmla="*/ 127159 h 608171"/>
                  <a:gd name="connsiteX39" fmla="*/ 222980 w 3697415"/>
                  <a:gd name="connsiteY39" fmla="*/ 133255 h 608171"/>
                  <a:gd name="connsiteX40" fmla="*/ 237649 w 3697415"/>
                  <a:gd name="connsiteY40" fmla="*/ 133255 h 608171"/>
                  <a:gd name="connsiteX41" fmla="*/ 237649 w 3697415"/>
                  <a:gd name="connsiteY41" fmla="*/ 139256 h 608171"/>
                  <a:gd name="connsiteX42" fmla="*/ 241935 w 3697415"/>
                  <a:gd name="connsiteY42" fmla="*/ 139256 h 608171"/>
                  <a:gd name="connsiteX43" fmla="*/ 241935 w 3697415"/>
                  <a:gd name="connsiteY43" fmla="*/ 145352 h 608171"/>
                  <a:gd name="connsiteX44" fmla="*/ 252412 w 3697415"/>
                  <a:gd name="connsiteY44" fmla="*/ 145352 h 608171"/>
                  <a:gd name="connsiteX45" fmla="*/ 252412 w 3697415"/>
                  <a:gd name="connsiteY45" fmla="*/ 151448 h 608171"/>
                  <a:gd name="connsiteX46" fmla="*/ 260795 w 3697415"/>
                  <a:gd name="connsiteY46" fmla="*/ 151448 h 608171"/>
                  <a:gd name="connsiteX47" fmla="*/ 260795 w 3697415"/>
                  <a:gd name="connsiteY47" fmla="*/ 157544 h 608171"/>
                  <a:gd name="connsiteX48" fmla="*/ 275558 w 3697415"/>
                  <a:gd name="connsiteY48" fmla="*/ 157544 h 608171"/>
                  <a:gd name="connsiteX49" fmla="*/ 275558 w 3697415"/>
                  <a:gd name="connsiteY49" fmla="*/ 163544 h 608171"/>
                  <a:gd name="connsiteX50" fmla="*/ 279749 w 3697415"/>
                  <a:gd name="connsiteY50" fmla="*/ 163544 h 608171"/>
                  <a:gd name="connsiteX51" fmla="*/ 279749 w 3697415"/>
                  <a:gd name="connsiteY51" fmla="*/ 169640 h 608171"/>
                  <a:gd name="connsiteX52" fmla="*/ 283940 w 3697415"/>
                  <a:gd name="connsiteY52" fmla="*/ 169640 h 608171"/>
                  <a:gd name="connsiteX53" fmla="*/ 283940 w 3697415"/>
                  <a:gd name="connsiteY53" fmla="*/ 175736 h 608171"/>
                  <a:gd name="connsiteX54" fmla="*/ 296609 w 3697415"/>
                  <a:gd name="connsiteY54" fmla="*/ 175736 h 608171"/>
                  <a:gd name="connsiteX55" fmla="*/ 296609 w 3697415"/>
                  <a:gd name="connsiteY55" fmla="*/ 181737 h 608171"/>
                  <a:gd name="connsiteX56" fmla="*/ 326041 w 3697415"/>
                  <a:gd name="connsiteY56" fmla="*/ 181737 h 608171"/>
                  <a:gd name="connsiteX57" fmla="*/ 326041 w 3697415"/>
                  <a:gd name="connsiteY57" fmla="*/ 187833 h 608171"/>
                  <a:gd name="connsiteX58" fmla="*/ 334423 w 3697415"/>
                  <a:gd name="connsiteY58" fmla="*/ 187833 h 608171"/>
                  <a:gd name="connsiteX59" fmla="*/ 334423 w 3697415"/>
                  <a:gd name="connsiteY59" fmla="*/ 193929 h 608171"/>
                  <a:gd name="connsiteX60" fmla="*/ 336518 w 3697415"/>
                  <a:gd name="connsiteY60" fmla="*/ 193929 h 608171"/>
                  <a:gd name="connsiteX61" fmla="*/ 336518 w 3697415"/>
                  <a:gd name="connsiteY61" fmla="*/ 199930 h 608171"/>
                  <a:gd name="connsiteX62" fmla="*/ 351282 w 3697415"/>
                  <a:gd name="connsiteY62" fmla="*/ 199930 h 608171"/>
                  <a:gd name="connsiteX63" fmla="*/ 351282 w 3697415"/>
                  <a:gd name="connsiteY63" fmla="*/ 212122 h 608171"/>
                  <a:gd name="connsiteX64" fmla="*/ 353378 w 3697415"/>
                  <a:gd name="connsiteY64" fmla="*/ 212122 h 608171"/>
                  <a:gd name="connsiteX65" fmla="*/ 353378 w 3697415"/>
                  <a:gd name="connsiteY65" fmla="*/ 218123 h 608171"/>
                  <a:gd name="connsiteX66" fmla="*/ 359664 w 3697415"/>
                  <a:gd name="connsiteY66" fmla="*/ 218123 h 608171"/>
                  <a:gd name="connsiteX67" fmla="*/ 359664 w 3697415"/>
                  <a:gd name="connsiteY67" fmla="*/ 224219 h 608171"/>
                  <a:gd name="connsiteX68" fmla="*/ 363855 w 3697415"/>
                  <a:gd name="connsiteY68" fmla="*/ 224219 h 608171"/>
                  <a:gd name="connsiteX69" fmla="*/ 363855 w 3697415"/>
                  <a:gd name="connsiteY69" fmla="*/ 230315 h 608171"/>
                  <a:gd name="connsiteX70" fmla="*/ 380714 w 3697415"/>
                  <a:gd name="connsiteY70" fmla="*/ 230315 h 608171"/>
                  <a:gd name="connsiteX71" fmla="*/ 380714 w 3697415"/>
                  <a:gd name="connsiteY71" fmla="*/ 242411 h 608171"/>
                  <a:gd name="connsiteX72" fmla="*/ 384905 w 3697415"/>
                  <a:gd name="connsiteY72" fmla="*/ 242411 h 608171"/>
                  <a:gd name="connsiteX73" fmla="*/ 384905 w 3697415"/>
                  <a:gd name="connsiteY73" fmla="*/ 248507 h 608171"/>
                  <a:gd name="connsiteX74" fmla="*/ 408051 w 3697415"/>
                  <a:gd name="connsiteY74" fmla="*/ 248507 h 608171"/>
                  <a:gd name="connsiteX75" fmla="*/ 408051 w 3697415"/>
                  <a:gd name="connsiteY75" fmla="*/ 254603 h 608171"/>
                  <a:gd name="connsiteX76" fmla="*/ 412242 w 3697415"/>
                  <a:gd name="connsiteY76" fmla="*/ 254603 h 608171"/>
                  <a:gd name="connsiteX77" fmla="*/ 412242 w 3697415"/>
                  <a:gd name="connsiteY77" fmla="*/ 260604 h 608171"/>
                  <a:gd name="connsiteX78" fmla="*/ 418529 w 3697415"/>
                  <a:gd name="connsiteY78" fmla="*/ 260604 h 608171"/>
                  <a:gd name="connsiteX79" fmla="*/ 418529 w 3697415"/>
                  <a:gd name="connsiteY79" fmla="*/ 272796 h 608171"/>
                  <a:gd name="connsiteX80" fmla="*/ 437483 w 3697415"/>
                  <a:gd name="connsiteY80" fmla="*/ 272796 h 608171"/>
                  <a:gd name="connsiteX81" fmla="*/ 437483 w 3697415"/>
                  <a:gd name="connsiteY81" fmla="*/ 278797 h 608171"/>
                  <a:gd name="connsiteX82" fmla="*/ 445865 w 3697415"/>
                  <a:gd name="connsiteY82" fmla="*/ 278797 h 608171"/>
                  <a:gd name="connsiteX83" fmla="*/ 445865 w 3697415"/>
                  <a:gd name="connsiteY83" fmla="*/ 284893 h 608171"/>
                  <a:gd name="connsiteX84" fmla="*/ 458534 w 3697415"/>
                  <a:gd name="connsiteY84" fmla="*/ 284893 h 608171"/>
                  <a:gd name="connsiteX85" fmla="*/ 458534 w 3697415"/>
                  <a:gd name="connsiteY85" fmla="*/ 290989 h 608171"/>
                  <a:gd name="connsiteX86" fmla="*/ 475393 w 3697415"/>
                  <a:gd name="connsiteY86" fmla="*/ 290989 h 608171"/>
                  <a:gd name="connsiteX87" fmla="*/ 475393 w 3697415"/>
                  <a:gd name="connsiteY87" fmla="*/ 296990 h 608171"/>
                  <a:gd name="connsiteX88" fmla="*/ 502730 w 3697415"/>
                  <a:gd name="connsiteY88" fmla="*/ 296990 h 608171"/>
                  <a:gd name="connsiteX89" fmla="*/ 502730 w 3697415"/>
                  <a:gd name="connsiteY89" fmla="*/ 303086 h 608171"/>
                  <a:gd name="connsiteX90" fmla="*/ 504825 w 3697415"/>
                  <a:gd name="connsiteY90" fmla="*/ 303086 h 608171"/>
                  <a:gd name="connsiteX91" fmla="*/ 504825 w 3697415"/>
                  <a:gd name="connsiteY91" fmla="*/ 309182 h 608171"/>
                  <a:gd name="connsiteX92" fmla="*/ 515302 w 3697415"/>
                  <a:gd name="connsiteY92" fmla="*/ 309182 h 608171"/>
                  <a:gd name="connsiteX93" fmla="*/ 515302 w 3697415"/>
                  <a:gd name="connsiteY93" fmla="*/ 315182 h 608171"/>
                  <a:gd name="connsiteX94" fmla="*/ 521589 w 3697415"/>
                  <a:gd name="connsiteY94" fmla="*/ 315182 h 608171"/>
                  <a:gd name="connsiteX95" fmla="*/ 521589 w 3697415"/>
                  <a:gd name="connsiteY95" fmla="*/ 327374 h 608171"/>
                  <a:gd name="connsiteX96" fmla="*/ 530066 w 3697415"/>
                  <a:gd name="connsiteY96" fmla="*/ 327374 h 608171"/>
                  <a:gd name="connsiteX97" fmla="*/ 530066 w 3697415"/>
                  <a:gd name="connsiteY97" fmla="*/ 333375 h 608171"/>
                  <a:gd name="connsiteX98" fmla="*/ 536353 w 3697415"/>
                  <a:gd name="connsiteY98" fmla="*/ 333375 h 608171"/>
                  <a:gd name="connsiteX99" fmla="*/ 536353 w 3697415"/>
                  <a:gd name="connsiteY99" fmla="*/ 345567 h 608171"/>
                  <a:gd name="connsiteX100" fmla="*/ 538448 w 3697415"/>
                  <a:gd name="connsiteY100" fmla="*/ 345567 h 608171"/>
                  <a:gd name="connsiteX101" fmla="*/ 538448 w 3697415"/>
                  <a:gd name="connsiteY101" fmla="*/ 351663 h 608171"/>
                  <a:gd name="connsiteX102" fmla="*/ 551021 w 3697415"/>
                  <a:gd name="connsiteY102" fmla="*/ 351663 h 608171"/>
                  <a:gd name="connsiteX103" fmla="*/ 551021 w 3697415"/>
                  <a:gd name="connsiteY103" fmla="*/ 357664 h 608171"/>
                  <a:gd name="connsiteX104" fmla="*/ 574167 w 3697415"/>
                  <a:gd name="connsiteY104" fmla="*/ 357664 h 608171"/>
                  <a:gd name="connsiteX105" fmla="*/ 574167 w 3697415"/>
                  <a:gd name="connsiteY105" fmla="*/ 363760 h 608171"/>
                  <a:gd name="connsiteX106" fmla="*/ 580549 w 3697415"/>
                  <a:gd name="connsiteY106" fmla="*/ 363760 h 608171"/>
                  <a:gd name="connsiteX107" fmla="*/ 580549 w 3697415"/>
                  <a:gd name="connsiteY107" fmla="*/ 369856 h 608171"/>
                  <a:gd name="connsiteX108" fmla="*/ 588931 w 3697415"/>
                  <a:gd name="connsiteY108" fmla="*/ 369856 h 608171"/>
                  <a:gd name="connsiteX109" fmla="*/ 588931 w 3697415"/>
                  <a:gd name="connsiteY109" fmla="*/ 375857 h 608171"/>
                  <a:gd name="connsiteX110" fmla="*/ 597313 w 3697415"/>
                  <a:gd name="connsiteY110" fmla="*/ 375857 h 608171"/>
                  <a:gd name="connsiteX111" fmla="*/ 597313 w 3697415"/>
                  <a:gd name="connsiteY111" fmla="*/ 381953 h 608171"/>
                  <a:gd name="connsiteX112" fmla="*/ 601504 w 3697415"/>
                  <a:gd name="connsiteY112" fmla="*/ 381953 h 608171"/>
                  <a:gd name="connsiteX113" fmla="*/ 601504 w 3697415"/>
                  <a:gd name="connsiteY113" fmla="*/ 388049 h 608171"/>
                  <a:gd name="connsiteX114" fmla="*/ 675132 w 3697415"/>
                  <a:gd name="connsiteY114" fmla="*/ 388049 h 608171"/>
                  <a:gd name="connsiteX115" fmla="*/ 675132 w 3697415"/>
                  <a:gd name="connsiteY115" fmla="*/ 394049 h 608171"/>
                  <a:gd name="connsiteX116" fmla="*/ 696182 w 3697415"/>
                  <a:gd name="connsiteY116" fmla="*/ 394049 h 608171"/>
                  <a:gd name="connsiteX117" fmla="*/ 696182 w 3697415"/>
                  <a:gd name="connsiteY117" fmla="*/ 400145 h 608171"/>
                  <a:gd name="connsiteX118" fmla="*/ 702469 w 3697415"/>
                  <a:gd name="connsiteY118" fmla="*/ 400145 h 608171"/>
                  <a:gd name="connsiteX119" fmla="*/ 702469 w 3697415"/>
                  <a:gd name="connsiteY119" fmla="*/ 406241 h 608171"/>
                  <a:gd name="connsiteX120" fmla="*/ 744569 w 3697415"/>
                  <a:gd name="connsiteY120" fmla="*/ 406241 h 608171"/>
                  <a:gd name="connsiteX121" fmla="*/ 744569 w 3697415"/>
                  <a:gd name="connsiteY121" fmla="*/ 412242 h 608171"/>
                  <a:gd name="connsiteX122" fmla="*/ 759238 w 3697415"/>
                  <a:gd name="connsiteY122" fmla="*/ 412242 h 608171"/>
                  <a:gd name="connsiteX123" fmla="*/ 759238 w 3697415"/>
                  <a:gd name="connsiteY123" fmla="*/ 418338 h 608171"/>
                  <a:gd name="connsiteX124" fmla="*/ 788765 w 3697415"/>
                  <a:gd name="connsiteY124" fmla="*/ 418338 h 608171"/>
                  <a:gd name="connsiteX125" fmla="*/ 788765 w 3697415"/>
                  <a:gd name="connsiteY125" fmla="*/ 424434 h 608171"/>
                  <a:gd name="connsiteX126" fmla="*/ 790861 w 3697415"/>
                  <a:gd name="connsiteY126" fmla="*/ 424434 h 608171"/>
                  <a:gd name="connsiteX127" fmla="*/ 790861 w 3697415"/>
                  <a:gd name="connsiteY127" fmla="*/ 430435 h 608171"/>
                  <a:gd name="connsiteX128" fmla="*/ 813911 w 3697415"/>
                  <a:gd name="connsiteY128" fmla="*/ 430435 h 608171"/>
                  <a:gd name="connsiteX129" fmla="*/ 813911 w 3697415"/>
                  <a:gd name="connsiteY129" fmla="*/ 436531 h 608171"/>
                  <a:gd name="connsiteX130" fmla="*/ 826580 w 3697415"/>
                  <a:gd name="connsiteY130" fmla="*/ 436531 h 608171"/>
                  <a:gd name="connsiteX131" fmla="*/ 826580 w 3697415"/>
                  <a:gd name="connsiteY131" fmla="*/ 442627 h 608171"/>
                  <a:gd name="connsiteX132" fmla="*/ 862298 w 3697415"/>
                  <a:gd name="connsiteY132" fmla="*/ 442627 h 608171"/>
                  <a:gd name="connsiteX133" fmla="*/ 862298 w 3697415"/>
                  <a:gd name="connsiteY133" fmla="*/ 448723 h 608171"/>
                  <a:gd name="connsiteX134" fmla="*/ 978027 w 3697415"/>
                  <a:gd name="connsiteY134" fmla="*/ 448723 h 608171"/>
                  <a:gd name="connsiteX135" fmla="*/ 978027 w 3697415"/>
                  <a:gd name="connsiteY135" fmla="*/ 454724 h 608171"/>
                  <a:gd name="connsiteX136" fmla="*/ 1015841 w 3697415"/>
                  <a:gd name="connsiteY136" fmla="*/ 454724 h 608171"/>
                  <a:gd name="connsiteX137" fmla="*/ 1015841 w 3697415"/>
                  <a:gd name="connsiteY137" fmla="*/ 460915 h 608171"/>
                  <a:gd name="connsiteX138" fmla="*/ 1068419 w 3697415"/>
                  <a:gd name="connsiteY138" fmla="*/ 460915 h 608171"/>
                  <a:gd name="connsiteX139" fmla="*/ 1068419 w 3697415"/>
                  <a:gd name="connsiteY139" fmla="*/ 467011 h 608171"/>
                  <a:gd name="connsiteX140" fmla="*/ 1087374 w 3697415"/>
                  <a:gd name="connsiteY140" fmla="*/ 467011 h 608171"/>
                  <a:gd name="connsiteX141" fmla="*/ 1087374 w 3697415"/>
                  <a:gd name="connsiteY141" fmla="*/ 473107 h 608171"/>
                  <a:gd name="connsiteX142" fmla="*/ 1097852 w 3697415"/>
                  <a:gd name="connsiteY142" fmla="*/ 473107 h 608171"/>
                  <a:gd name="connsiteX143" fmla="*/ 1097852 w 3697415"/>
                  <a:gd name="connsiteY143" fmla="*/ 479298 h 608171"/>
                  <a:gd name="connsiteX144" fmla="*/ 1131570 w 3697415"/>
                  <a:gd name="connsiteY144" fmla="*/ 479298 h 608171"/>
                  <a:gd name="connsiteX145" fmla="*/ 1131570 w 3697415"/>
                  <a:gd name="connsiteY145" fmla="*/ 485394 h 608171"/>
                  <a:gd name="connsiteX146" fmla="*/ 1137857 w 3697415"/>
                  <a:gd name="connsiteY146" fmla="*/ 485394 h 608171"/>
                  <a:gd name="connsiteX147" fmla="*/ 1137857 w 3697415"/>
                  <a:gd name="connsiteY147" fmla="*/ 491490 h 608171"/>
                  <a:gd name="connsiteX148" fmla="*/ 1152525 w 3697415"/>
                  <a:gd name="connsiteY148" fmla="*/ 491490 h 608171"/>
                  <a:gd name="connsiteX149" fmla="*/ 1152525 w 3697415"/>
                  <a:gd name="connsiteY149" fmla="*/ 497586 h 608171"/>
                  <a:gd name="connsiteX150" fmla="*/ 1165193 w 3697415"/>
                  <a:gd name="connsiteY150" fmla="*/ 497586 h 608171"/>
                  <a:gd name="connsiteX151" fmla="*/ 1165193 w 3697415"/>
                  <a:gd name="connsiteY151" fmla="*/ 503777 h 608171"/>
                  <a:gd name="connsiteX152" fmla="*/ 1190435 w 3697415"/>
                  <a:gd name="connsiteY152" fmla="*/ 503777 h 608171"/>
                  <a:gd name="connsiteX153" fmla="*/ 1190435 w 3697415"/>
                  <a:gd name="connsiteY153" fmla="*/ 509873 h 608171"/>
                  <a:gd name="connsiteX154" fmla="*/ 1419701 w 3697415"/>
                  <a:gd name="connsiteY154" fmla="*/ 509873 h 608171"/>
                  <a:gd name="connsiteX155" fmla="*/ 1419701 w 3697415"/>
                  <a:gd name="connsiteY155" fmla="*/ 516065 h 608171"/>
                  <a:gd name="connsiteX156" fmla="*/ 1533239 w 3697415"/>
                  <a:gd name="connsiteY156" fmla="*/ 516065 h 608171"/>
                  <a:gd name="connsiteX157" fmla="*/ 1533239 w 3697415"/>
                  <a:gd name="connsiteY157" fmla="*/ 522256 h 608171"/>
                  <a:gd name="connsiteX158" fmla="*/ 1802416 w 3697415"/>
                  <a:gd name="connsiteY158" fmla="*/ 522256 h 608171"/>
                  <a:gd name="connsiteX159" fmla="*/ 1802416 w 3697415"/>
                  <a:gd name="connsiteY159" fmla="*/ 528542 h 608171"/>
                  <a:gd name="connsiteX160" fmla="*/ 1876044 w 3697415"/>
                  <a:gd name="connsiteY160" fmla="*/ 528542 h 608171"/>
                  <a:gd name="connsiteX161" fmla="*/ 1876044 w 3697415"/>
                  <a:gd name="connsiteY161" fmla="*/ 534829 h 608171"/>
                  <a:gd name="connsiteX162" fmla="*/ 1955959 w 3697415"/>
                  <a:gd name="connsiteY162" fmla="*/ 534829 h 608171"/>
                  <a:gd name="connsiteX163" fmla="*/ 1955959 w 3697415"/>
                  <a:gd name="connsiteY163" fmla="*/ 541115 h 608171"/>
                  <a:gd name="connsiteX164" fmla="*/ 2117884 w 3697415"/>
                  <a:gd name="connsiteY164" fmla="*/ 541115 h 608171"/>
                  <a:gd name="connsiteX165" fmla="*/ 2117884 w 3697415"/>
                  <a:gd name="connsiteY165" fmla="*/ 547592 h 608171"/>
                  <a:gd name="connsiteX166" fmla="*/ 2134743 w 3697415"/>
                  <a:gd name="connsiteY166" fmla="*/ 547592 h 608171"/>
                  <a:gd name="connsiteX167" fmla="*/ 2134743 w 3697415"/>
                  <a:gd name="connsiteY167" fmla="*/ 553974 h 608171"/>
                  <a:gd name="connsiteX168" fmla="*/ 2252567 w 3697415"/>
                  <a:gd name="connsiteY168" fmla="*/ 553974 h 608171"/>
                  <a:gd name="connsiteX169" fmla="*/ 2252567 w 3697415"/>
                  <a:gd name="connsiteY169" fmla="*/ 560451 h 608171"/>
                  <a:gd name="connsiteX170" fmla="*/ 2345055 w 3697415"/>
                  <a:gd name="connsiteY170" fmla="*/ 560451 h 608171"/>
                  <a:gd name="connsiteX171" fmla="*/ 2345055 w 3697415"/>
                  <a:gd name="connsiteY171" fmla="*/ 566833 h 608171"/>
                  <a:gd name="connsiteX172" fmla="*/ 2364010 w 3697415"/>
                  <a:gd name="connsiteY172" fmla="*/ 566833 h 608171"/>
                  <a:gd name="connsiteX173" fmla="*/ 2364010 w 3697415"/>
                  <a:gd name="connsiteY173" fmla="*/ 573310 h 608171"/>
                  <a:gd name="connsiteX174" fmla="*/ 3217831 w 3697415"/>
                  <a:gd name="connsiteY174" fmla="*/ 573310 h 608171"/>
                  <a:gd name="connsiteX175" fmla="*/ 3217831 w 3697415"/>
                  <a:gd name="connsiteY175" fmla="*/ 608171 h 608171"/>
                  <a:gd name="connsiteX176" fmla="*/ 3697415 w 3697415"/>
                  <a:gd name="connsiteY176" fmla="*/ 608171 h 608171"/>
                  <a:gd name="connsiteX0" fmla="*/ 0 w 3697415"/>
                  <a:gd name="connsiteY0" fmla="*/ 0 h 608171"/>
                  <a:gd name="connsiteX1" fmla="*/ 40005 w 3697415"/>
                  <a:gd name="connsiteY1" fmla="*/ 5906 h 608171"/>
                  <a:gd name="connsiteX2" fmla="*/ 40005 w 3697415"/>
                  <a:gd name="connsiteY2" fmla="*/ 12002 h 608171"/>
                  <a:gd name="connsiteX3" fmla="*/ 48387 w 3697415"/>
                  <a:gd name="connsiteY3" fmla="*/ 12002 h 608171"/>
                  <a:gd name="connsiteX4" fmla="*/ 48387 w 3697415"/>
                  <a:gd name="connsiteY4" fmla="*/ 18002 h 608171"/>
                  <a:gd name="connsiteX5" fmla="*/ 58960 w 3697415"/>
                  <a:gd name="connsiteY5" fmla="*/ 18002 h 608171"/>
                  <a:gd name="connsiteX6" fmla="*/ 58960 w 3697415"/>
                  <a:gd name="connsiteY6" fmla="*/ 24003 h 608171"/>
                  <a:gd name="connsiteX7" fmla="*/ 109442 w 3697415"/>
                  <a:gd name="connsiteY7" fmla="*/ 24003 h 608171"/>
                  <a:gd name="connsiteX8" fmla="*/ 109442 w 3697415"/>
                  <a:gd name="connsiteY8" fmla="*/ 30099 h 608171"/>
                  <a:gd name="connsiteX9" fmla="*/ 117824 w 3697415"/>
                  <a:gd name="connsiteY9" fmla="*/ 30099 h 608171"/>
                  <a:gd name="connsiteX10" fmla="*/ 117824 w 3697415"/>
                  <a:gd name="connsiteY10" fmla="*/ 42196 h 608171"/>
                  <a:gd name="connsiteX11" fmla="*/ 124111 w 3697415"/>
                  <a:gd name="connsiteY11" fmla="*/ 42196 h 608171"/>
                  <a:gd name="connsiteX12" fmla="*/ 124111 w 3697415"/>
                  <a:gd name="connsiteY12" fmla="*/ 48292 h 608171"/>
                  <a:gd name="connsiteX13" fmla="*/ 128302 w 3697415"/>
                  <a:gd name="connsiteY13" fmla="*/ 48292 h 608171"/>
                  <a:gd name="connsiteX14" fmla="*/ 128302 w 3697415"/>
                  <a:gd name="connsiteY14" fmla="*/ 54388 h 608171"/>
                  <a:gd name="connsiteX15" fmla="*/ 132493 w 3697415"/>
                  <a:gd name="connsiteY15" fmla="*/ 54388 h 608171"/>
                  <a:gd name="connsiteX16" fmla="*/ 132493 w 3697415"/>
                  <a:gd name="connsiteY16" fmla="*/ 60484 h 608171"/>
                  <a:gd name="connsiteX17" fmla="*/ 134588 w 3697415"/>
                  <a:gd name="connsiteY17" fmla="*/ 60484 h 608171"/>
                  <a:gd name="connsiteX18" fmla="*/ 134588 w 3697415"/>
                  <a:gd name="connsiteY18" fmla="*/ 66485 h 608171"/>
                  <a:gd name="connsiteX19" fmla="*/ 136779 w 3697415"/>
                  <a:gd name="connsiteY19" fmla="*/ 66485 h 608171"/>
                  <a:gd name="connsiteX20" fmla="*/ 136779 w 3697415"/>
                  <a:gd name="connsiteY20" fmla="*/ 72581 h 608171"/>
                  <a:gd name="connsiteX21" fmla="*/ 147256 w 3697415"/>
                  <a:gd name="connsiteY21" fmla="*/ 72581 h 608171"/>
                  <a:gd name="connsiteX22" fmla="*/ 147256 w 3697415"/>
                  <a:gd name="connsiteY22" fmla="*/ 78677 h 608171"/>
                  <a:gd name="connsiteX23" fmla="*/ 153543 w 3697415"/>
                  <a:gd name="connsiteY23" fmla="*/ 78677 h 608171"/>
                  <a:gd name="connsiteX24" fmla="*/ 153543 w 3697415"/>
                  <a:gd name="connsiteY24" fmla="*/ 84677 h 608171"/>
                  <a:gd name="connsiteX25" fmla="*/ 168307 w 3697415"/>
                  <a:gd name="connsiteY25" fmla="*/ 84677 h 608171"/>
                  <a:gd name="connsiteX26" fmla="*/ 168307 w 3697415"/>
                  <a:gd name="connsiteY26" fmla="*/ 90773 h 608171"/>
                  <a:gd name="connsiteX27" fmla="*/ 176689 w 3697415"/>
                  <a:gd name="connsiteY27" fmla="*/ 90773 h 608171"/>
                  <a:gd name="connsiteX28" fmla="*/ 176689 w 3697415"/>
                  <a:gd name="connsiteY28" fmla="*/ 96869 h 608171"/>
                  <a:gd name="connsiteX29" fmla="*/ 187262 w 3697415"/>
                  <a:gd name="connsiteY29" fmla="*/ 96869 h 608171"/>
                  <a:gd name="connsiteX30" fmla="*/ 187262 w 3697415"/>
                  <a:gd name="connsiteY30" fmla="*/ 102870 h 608171"/>
                  <a:gd name="connsiteX31" fmla="*/ 199835 w 3697415"/>
                  <a:gd name="connsiteY31" fmla="*/ 102870 h 608171"/>
                  <a:gd name="connsiteX32" fmla="*/ 199835 w 3697415"/>
                  <a:gd name="connsiteY32" fmla="*/ 108966 h 608171"/>
                  <a:gd name="connsiteX33" fmla="*/ 206121 w 3697415"/>
                  <a:gd name="connsiteY33" fmla="*/ 108966 h 608171"/>
                  <a:gd name="connsiteX34" fmla="*/ 206121 w 3697415"/>
                  <a:gd name="connsiteY34" fmla="*/ 121063 h 608171"/>
                  <a:gd name="connsiteX35" fmla="*/ 210312 w 3697415"/>
                  <a:gd name="connsiteY35" fmla="*/ 121063 h 608171"/>
                  <a:gd name="connsiteX36" fmla="*/ 210312 w 3697415"/>
                  <a:gd name="connsiteY36" fmla="*/ 127159 h 608171"/>
                  <a:gd name="connsiteX37" fmla="*/ 222980 w 3697415"/>
                  <a:gd name="connsiteY37" fmla="*/ 127159 h 608171"/>
                  <a:gd name="connsiteX38" fmla="*/ 222980 w 3697415"/>
                  <a:gd name="connsiteY38" fmla="*/ 133255 h 608171"/>
                  <a:gd name="connsiteX39" fmla="*/ 237649 w 3697415"/>
                  <a:gd name="connsiteY39" fmla="*/ 133255 h 608171"/>
                  <a:gd name="connsiteX40" fmla="*/ 237649 w 3697415"/>
                  <a:gd name="connsiteY40" fmla="*/ 139256 h 608171"/>
                  <a:gd name="connsiteX41" fmla="*/ 241935 w 3697415"/>
                  <a:gd name="connsiteY41" fmla="*/ 139256 h 608171"/>
                  <a:gd name="connsiteX42" fmla="*/ 241935 w 3697415"/>
                  <a:gd name="connsiteY42" fmla="*/ 145352 h 608171"/>
                  <a:gd name="connsiteX43" fmla="*/ 252412 w 3697415"/>
                  <a:gd name="connsiteY43" fmla="*/ 145352 h 608171"/>
                  <a:gd name="connsiteX44" fmla="*/ 252412 w 3697415"/>
                  <a:gd name="connsiteY44" fmla="*/ 151448 h 608171"/>
                  <a:gd name="connsiteX45" fmla="*/ 260795 w 3697415"/>
                  <a:gd name="connsiteY45" fmla="*/ 151448 h 608171"/>
                  <a:gd name="connsiteX46" fmla="*/ 260795 w 3697415"/>
                  <a:gd name="connsiteY46" fmla="*/ 157544 h 608171"/>
                  <a:gd name="connsiteX47" fmla="*/ 275558 w 3697415"/>
                  <a:gd name="connsiteY47" fmla="*/ 157544 h 608171"/>
                  <a:gd name="connsiteX48" fmla="*/ 275558 w 3697415"/>
                  <a:gd name="connsiteY48" fmla="*/ 163544 h 608171"/>
                  <a:gd name="connsiteX49" fmla="*/ 279749 w 3697415"/>
                  <a:gd name="connsiteY49" fmla="*/ 163544 h 608171"/>
                  <a:gd name="connsiteX50" fmla="*/ 279749 w 3697415"/>
                  <a:gd name="connsiteY50" fmla="*/ 169640 h 608171"/>
                  <a:gd name="connsiteX51" fmla="*/ 283940 w 3697415"/>
                  <a:gd name="connsiteY51" fmla="*/ 169640 h 608171"/>
                  <a:gd name="connsiteX52" fmla="*/ 283940 w 3697415"/>
                  <a:gd name="connsiteY52" fmla="*/ 175736 h 608171"/>
                  <a:gd name="connsiteX53" fmla="*/ 296609 w 3697415"/>
                  <a:gd name="connsiteY53" fmla="*/ 175736 h 608171"/>
                  <a:gd name="connsiteX54" fmla="*/ 296609 w 3697415"/>
                  <a:gd name="connsiteY54" fmla="*/ 181737 h 608171"/>
                  <a:gd name="connsiteX55" fmla="*/ 326041 w 3697415"/>
                  <a:gd name="connsiteY55" fmla="*/ 181737 h 608171"/>
                  <a:gd name="connsiteX56" fmla="*/ 326041 w 3697415"/>
                  <a:gd name="connsiteY56" fmla="*/ 187833 h 608171"/>
                  <a:gd name="connsiteX57" fmla="*/ 334423 w 3697415"/>
                  <a:gd name="connsiteY57" fmla="*/ 187833 h 608171"/>
                  <a:gd name="connsiteX58" fmla="*/ 334423 w 3697415"/>
                  <a:gd name="connsiteY58" fmla="*/ 193929 h 608171"/>
                  <a:gd name="connsiteX59" fmla="*/ 336518 w 3697415"/>
                  <a:gd name="connsiteY59" fmla="*/ 193929 h 608171"/>
                  <a:gd name="connsiteX60" fmla="*/ 336518 w 3697415"/>
                  <a:gd name="connsiteY60" fmla="*/ 199930 h 608171"/>
                  <a:gd name="connsiteX61" fmla="*/ 351282 w 3697415"/>
                  <a:gd name="connsiteY61" fmla="*/ 199930 h 608171"/>
                  <a:gd name="connsiteX62" fmla="*/ 351282 w 3697415"/>
                  <a:gd name="connsiteY62" fmla="*/ 212122 h 608171"/>
                  <a:gd name="connsiteX63" fmla="*/ 353378 w 3697415"/>
                  <a:gd name="connsiteY63" fmla="*/ 212122 h 608171"/>
                  <a:gd name="connsiteX64" fmla="*/ 353378 w 3697415"/>
                  <a:gd name="connsiteY64" fmla="*/ 218123 h 608171"/>
                  <a:gd name="connsiteX65" fmla="*/ 359664 w 3697415"/>
                  <a:gd name="connsiteY65" fmla="*/ 218123 h 608171"/>
                  <a:gd name="connsiteX66" fmla="*/ 359664 w 3697415"/>
                  <a:gd name="connsiteY66" fmla="*/ 224219 h 608171"/>
                  <a:gd name="connsiteX67" fmla="*/ 363855 w 3697415"/>
                  <a:gd name="connsiteY67" fmla="*/ 224219 h 608171"/>
                  <a:gd name="connsiteX68" fmla="*/ 363855 w 3697415"/>
                  <a:gd name="connsiteY68" fmla="*/ 230315 h 608171"/>
                  <a:gd name="connsiteX69" fmla="*/ 380714 w 3697415"/>
                  <a:gd name="connsiteY69" fmla="*/ 230315 h 608171"/>
                  <a:gd name="connsiteX70" fmla="*/ 380714 w 3697415"/>
                  <a:gd name="connsiteY70" fmla="*/ 242411 h 608171"/>
                  <a:gd name="connsiteX71" fmla="*/ 384905 w 3697415"/>
                  <a:gd name="connsiteY71" fmla="*/ 242411 h 608171"/>
                  <a:gd name="connsiteX72" fmla="*/ 384905 w 3697415"/>
                  <a:gd name="connsiteY72" fmla="*/ 248507 h 608171"/>
                  <a:gd name="connsiteX73" fmla="*/ 408051 w 3697415"/>
                  <a:gd name="connsiteY73" fmla="*/ 248507 h 608171"/>
                  <a:gd name="connsiteX74" fmla="*/ 408051 w 3697415"/>
                  <a:gd name="connsiteY74" fmla="*/ 254603 h 608171"/>
                  <a:gd name="connsiteX75" fmla="*/ 412242 w 3697415"/>
                  <a:gd name="connsiteY75" fmla="*/ 254603 h 608171"/>
                  <a:gd name="connsiteX76" fmla="*/ 412242 w 3697415"/>
                  <a:gd name="connsiteY76" fmla="*/ 260604 h 608171"/>
                  <a:gd name="connsiteX77" fmla="*/ 418529 w 3697415"/>
                  <a:gd name="connsiteY77" fmla="*/ 260604 h 608171"/>
                  <a:gd name="connsiteX78" fmla="*/ 418529 w 3697415"/>
                  <a:gd name="connsiteY78" fmla="*/ 272796 h 608171"/>
                  <a:gd name="connsiteX79" fmla="*/ 437483 w 3697415"/>
                  <a:gd name="connsiteY79" fmla="*/ 272796 h 608171"/>
                  <a:gd name="connsiteX80" fmla="*/ 437483 w 3697415"/>
                  <a:gd name="connsiteY80" fmla="*/ 278797 h 608171"/>
                  <a:gd name="connsiteX81" fmla="*/ 445865 w 3697415"/>
                  <a:gd name="connsiteY81" fmla="*/ 278797 h 608171"/>
                  <a:gd name="connsiteX82" fmla="*/ 445865 w 3697415"/>
                  <a:gd name="connsiteY82" fmla="*/ 284893 h 608171"/>
                  <a:gd name="connsiteX83" fmla="*/ 458534 w 3697415"/>
                  <a:gd name="connsiteY83" fmla="*/ 284893 h 608171"/>
                  <a:gd name="connsiteX84" fmla="*/ 458534 w 3697415"/>
                  <a:gd name="connsiteY84" fmla="*/ 290989 h 608171"/>
                  <a:gd name="connsiteX85" fmla="*/ 475393 w 3697415"/>
                  <a:gd name="connsiteY85" fmla="*/ 290989 h 608171"/>
                  <a:gd name="connsiteX86" fmla="*/ 475393 w 3697415"/>
                  <a:gd name="connsiteY86" fmla="*/ 296990 h 608171"/>
                  <a:gd name="connsiteX87" fmla="*/ 502730 w 3697415"/>
                  <a:gd name="connsiteY87" fmla="*/ 296990 h 608171"/>
                  <a:gd name="connsiteX88" fmla="*/ 502730 w 3697415"/>
                  <a:gd name="connsiteY88" fmla="*/ 303086 h 608171"/>
                  <a:gd name="connsiteX89" fmla="*/ 504825 w 3697415"/>
                  <a:gd name="connsiteY89" fmla="*/ 303086 h 608171"/>
                  <a:gd name="connsiteX90" fmla="*/ 504825 w 3697415"/>
                  <a:gd name="connsiteY90" fmla="*/ 309182 h 608171"/>
                  <a:gd name="connsiteX91" fmla="*/ 515302 w 3697415"/>
                  <a:gd name="connsiteY91" fmla="*/ 309182 h 608171"/>
                  <a:gd name="connsiteX92" fmla="*/ 515302 w 3697415"/>
                  <a:gd name="connsiteY92" fmla="*/ 315182 h 608171"/>
                  <a:gd name="connsiteX93" fmla="*/ 521589 w 3697415"/>
                  <a:gd name="connsiteY93" fmla="*/ 315182 h 608171"/>
                  <a:gd name="connsiteX94" fmla="*/ 521589 w 3697415"/>
                  <a:gd name="connsiteY94" fmla="*/ 327374 h 608171"/>
                  <a:gd name="connsiteX95" fmla="*/ 530066 w 3697415"/>
                  <a:gd name="connsiteY95" fmla="*/ 327374 h 608171"/>
                  <a:gd name="connsiteX96" fmla="*/ 530066 w 3697415"/>
                  <a:gd name="connsiteY96" fmla="*/ 333375 h 608171"/>
                  <a:gd name="connsiteX97" fmla="*/ 536353 w 3697415"/>
                  <a:gd name="connsiteY97" fmla="*/ 333375 h 608171"/>
                  <a:gd name="connsiteX98" fmla="*/ 536353 w 3697415"/>
                  <a:gd name="connsiteY98" fmla="*/ 345567 h 608171"/>
                  <a:gd name="connsiteX99" fmla="*/ 538448 w 3697415"/>
                  <a:gd name="connsiteY99" fmla="*/ 345567 h 608171"/>
                  <a:gd name="connsiteX100" fmla="*/ 538448 w 3697415"/>
                  <a:gd name="connsiteY100" fmla="*/ 351663 h 608171"/>
                  <a:gd name="connsiteX101" fmla="*/ 551021 w 3697415"/>
                  <a:gd name="connsiteY101" fmla="*/ 351663 h 608171"/>
                  <a:gd name="connsiteX102" fmla="*/ 551021 w 3697415"/>
                  <a:gd name="connsiteY102" fmla="*/ 357664 h 608171"/>
                  <a:gd name="connsiteX103" fmla="*/ 574167 w 3697415"/>
                  <a:gd name="connsiteY103" fmla="*/ 357664 h 608171"/>
                  <a:gd name="connsiteX104" fmla="*/ 574167 w 3697415"/>
                  <a:gd name="connsiteY104" fmla="*/ 363760 h 608171"/>
                  <a:gd name="connsiteX105" fmla="*/ 580549 w 3697415"/>
                  <a:gd name="connsiteY105" fmla="*/ 363760 h 608171"/>
                  <a:gd name="connsiteX106" fmla="*/ 580549 w 3697415"/>
                  <a:gd name="connsiteY106" fmla="*/ 369856 h 608171"/>
                  <a:gd name="connsiteX107" fmla="*/ 588931 w 3697415"/>
                  <a:gd name="connsiteY107" fmla="*/ 369856 h 608171"/>
                  <a:gd name="connsiteX108" fmla="*/ 588931 w 3697415"/>
                  <a:gd name="connsiteY108" fmla="*/ 375857 h 608171"/>
                  <a:gd name="connsiteX109" fmla="*/ 597313 w 3697415"/>
                  <a:gd name="connsiteY109" fmla="*/ 375857 h 608171"/>
                  <a:gd name="connsiteX110" fmla="*/ 597313 w 3697415"/>
                  <a:gd name="connsiteY110" fmla="*/ 381953 h 608171"/>
                  <a:gd name="connsiteX111" fmla="*/ 601504 w 3697415"/>
                  <a:gd name="connsiteY111" fmla="*/ 381953 h 608171"/>
                  <a:gd name="connsiteX112" fmla="*/ 601504 w 3697415"/>
                  <a:gd name="connsiteY112" fmla="*/ 388049 h 608171"/>
                  <a:gd name="connsiteX113" fmla="*/ 675132 w 3697415"/>
                  <a:gd name="connsiteY113" fmla="*/ 388049 h 608171"/>
                  <a:gd name="connsiteX114" fmla="*/ 675132 w 3697415"/>
                  <a:gd name="connsiteY114" fmla="*/ 394049 h 608171"/>
                  <a:gd name="connsiteX115" fmla="*/ 696182 w 3697415"/>
                  <a:gd name="connsiteY115" fmla="*/ 394049 h 608171"/>
                  <a:gd name="connsiteX116" fmla="*/ 696182 w 3697415"/>
                  <a:gd name="connsiteY116" fmla="*/ 400145 h 608171"/>
                  <a:gd name="connsiteX117" fmla="*/ 702469 w 3697415"/>
                  <a:gd name="connsiteY117" fmla="*/ 400145 h 608171"/>
                  <a:gd name="connsiteX118" fmla="*/ 702469 w 3697415"/>
                  <a:gd name="connsiteY118" fmla="*/ 406241 h 608171"/>
                  <a:gd name="connsiteX119" fmla="*/ 744569 w 3697415"/>
                  <a:gd name="connsiteY119" fmla="*/ 406241 h 608171"/>
                  <a:gd name="connsiteX120" fmla="*/ 744569 w 3697415"/>
                  <a:gd name="connsiteY120" fmla="*/ 412242 h 608171"/>
                  <a:gd name="connsiteX121" fmla="*/ 759238 w 3697415"/>
                  <a:gd name="connsiteY121" fmla="*/ 412242 h 608171"/>
                  <a:gd name="connsiteX122" fmla="*/ 759238 w 3697415"/>
                  <a:gd name="connsiteY122" fmla="*/ 418338 h 608171"/>
                  <a:gd name="connsiteX123" fmla="*/ 788765 w 3697415"/>
                  <a:gd name="connsiteY123" fmla="*/ 418338 h 608171"/>
                  <a:gd name="connsiteX124" fmla="*/ 788765 w 3697415"/>
                  <a:gd name="connsiteY124" fmla="*/ 424434 h 608171"/>
                  <a:gd name="connsiteX125" fmla="*/ 790861 w 3697415"/>
                  <a:gd name="connsiteY125" fmla="*/ 424434 h 608171"/>
                  <a:gd name="connsiteX126" fmla="*/ 790861 w 3697415"/>
                  <a:gd name="connsiteY126" fmla="*/ 430435 h 608171"/>
                  <a:gd name="connsiteX127" fmla="*/ 813911 w 3697415"/>
                  <a:gd name="connsiteY127" fmla="*/ 430435 h 608171"/>
                  <a:gd name="connsiteX128" fmla="*/ 813911 w 3697415"/>
                  <a:gd name="connsiteY128" fmla="*/ 436531 h 608171"/>
                  <a:gd name="connsiteX129" fmla="*/ 826580 w 3697415"/>
                  <a:gd name="connsiteY129" fmla="*/ 436531 h 608171"/>
                  <a:gd name="connsiteX130" fmla="*/ 826580 w 3697415"/>
                  <a:gd name="connsiteY130" fmla="*/ 442627 h 608171"/>
                  <a:gd name="connsiteX131" fmla="*/ 862298 w 3697415"/>
                  <a:gd name="connsiteY131" fmla="*/ 442627 h 608171"/>
                  <a:gd name="connsiteX132" fmla="*/ 862298 w 3697415"/>
                  <a:gd name="connsiteY132" fmla="*/ 448723 h 608171"/>
                  <a:gd name="connsiteX133" fmla="*/ 978027 w 3697415"/>
                  <a:gd name="connsiteY133" fmla="*/ 448723 h 608171"/>
                  <a:gd name="connsiteX134" fmla="*/ 978027 w 3697415"/>
                  <a:gd name="connsiteY134" fmla="*/ 454724 h 608171"/>
                  <a:gd name="connsiteX135" fmla="*/ 1015841 w 3697415"/>
                  <a:gd name="connsiteY135" fmla="*/ 454724 h 608171"/>
                  <a:gd name="connsiteX136" fmla="*/ 1015841 w 3697415"/>
                  <a:gd name="connsiteY136" fmla="*/ 460915 h 608171"/>
                  <a:gd name="connsiteX137" fmla="*/ 1068419 w 3697415"/>
                  <a:gd name="connsiteY137" fmla="*/ 460915 h 608171"/>
                  <a:gd name="connsiteX138" fmla="*/ 1068419 w 3697415"/>
                  <a:gd name="connsiteY138" fmla="*/ 467011 h 608171"/>
                  <a:gd name="connsiteX139" fmla="*/ 1087374 w 3697415"/>
                  <a:gd name="connsiteY139" fmla="*/ 467011 h 608171"/>
                  <a:gd name="connsiteX140" fmla="*/ 1087374 w 3697415"/>
                  <a:gd name="connsiteY140" fmla="*/ 473107 h 608171"/>
                  <a:gd name="connsiteX141" fmla="*/ 1097852 w 3697415"/>
                  <a:gd name="connsiteY141" fmla="*/ 473107 h 608171"/>
                  <a:gd name="connsiteX142" fmla="*/ 1097852 w 3697415"/>
                  <a:gd name="connsiteY142" fmla="*/ 479298 h 608171"/>
                  <a:gd name="connsiteX143" fmla="*/ 1131570 w 3697415"/>
                  <a:gd name="connsiteY143" fmla="*/ 479298 h 608171"/>
                  <a:gd name="connsiteX144" fmla="*/ 1131570 w 3697415"/>
                  <a:gd name="connsiteY144" fmla="*/ 485394 h 608171"/>
                  <a:gd name="connsiteX145" fmla="*/ 1137857 w 3697415"/>
                  <a:gd name="connsiteY145" fmla="*/ 485394 h 608171"/>
                  <a:gd name="connsiteX146" fmla="*/ 1137857 w 3697415"/>
                  <a:gd name="connsiteY146" fmla="*/ 491490 h 608171"/>
                  <a:gd name="connsiteX147" fmla="*/ 1152525 w 3697415"/>
                  <a:gd name="connsiteY147" fmla="*/ 491490 h 608171"/>
                  <a:gd name="connsiteX148" fmla="*/ 1152525 w 3697415"/>
                  <a:gd name="connsiteY148" fmla="*/ 497586 h 608171"/>
                  <a:gd name="connsiteX149" fmla="*/ 1165193 w 3697415"/>
                  <a:gd name="connsiteY149" fmla="*/ 497586 h 608171"/>
                  <a:gd name="connsiteX150" fmla="*/ 1165193 w 3697415"/>
                  <a:gd name="connsiteY150" fmla="*/ 503777 h 608171"/>
                  <a:gd name="connsiteX151" fmla="*/ 1190435 w 3697415"/>
                  <a:gd name="connsiteY151" fmla="*/ 503777 h 608171"/>
                  <a:gd name="connsiteX152" fmla="*/ 1190435 w 3697415"/>
                  <a:gd name="connsiteY152" fmla="*/ 509873 h 608171"/>
                  <a:gd name="connsiteX153" fmla="*/ 1419701 w 3697415"/>
                  <a:gd name="connsiteY153" fmla="*/ 509873 h 608171"/>
                  <a:gd name="connsiteX154" fmla="*/ 1419701 w 3697415"/>
                  <a:gd name="connsiteY154" fmla="*/ 516065 h 608171"/>
                  <a:gd name="connsiteX155" fmla="*/ 1533239 w 3697415"/>
                  <a:gd name="connsiteY155" fmla="*/ 516065 h 608171"/>
                  <a:gd name="connsiteX156" fmla="*/ 1533239 w 3697415"/>
                  <a:gd name="connsiteY156" fmla="*/ 522256 h 608171"/>
                  <a:gd name="connsiteX157" fmla="*/ 1802416 w 3697415"/>
                  <a:gd name="connsiteY157" fmla="*/ 522256 h 608171"/>
                  <a:gd name="connsiteX158" fmla="*/ 1802416 w 3697415"/>
                  <a:gd name="connsiteY158" fmla="*/ 528542 h 608171"/>
                  <a:gd name="connsiteX159" fmla="*/ 1876044 w 3697415"/>
                  <a:gd name="connsiteY159" fmla="*/ 528542 h 608171"/>
                  <a:gd name="connsiteX160" fmla="*/ 1876044 w 3697415"/>
                  <a:gd name="connsiteY160" fmla="*/ 534829 h 608171"/>
                  <a:gd name="connsiteX161" fmla="*/ 1955959 w 3697415"/>
                  <a:gd name="connsiteY161" fmla="*/ 534829 h 608171"/>
                  <a:gd name="connsiteX162" fmla="*/ 1955959 w 3697415"/>
                  <a:gd name="connsiteY162" fmla="*/ 541115 h 608171"/>
                  <a:gd name="connsiteX163" fmla="*/ 2117884 w 3697415"/>
                  <a:gd name="connsiteY163" fmla="*/ 541115 h 608171"/>
                  <a:gd name="connsiteX164" fmla="*/ 2117884 w 3697415"/>
                  <a:gd name="connsiteY164" fmla="*/ 547592 h 608171"/>
                  <a:gd name="connsiteX165" fmla="*/ 2134743 w 3697415"/>
                  <a:gd name="connsiteY165" fmla="*/ 547592 h 608171"/>
                  <a:gd name="connsiteX166" fmla="*/ 2134743 w 3697415"/>
                  <a:gd name="connsiteY166" fmla="*/ 553974 h 608171"/>
                  <a:gd name="connsiteX167" fmla="*/ 2252567 w 3697415"/>
                  <a:gd name="connsiteY167" fmla="*/ 553974 h 608171"/>
                  <a:gd name="connsiteX168" fmla="*/ 2252567 w 3697415"/>
                  <a:gd name="connsiteY168" fmla="*/ 560451 h 608171"/>
                  <a:gd name="connsiteX169" fmla="*/ 2345055 w 3697415"/>
                  <a:gd name="connsiteY169" fmla="*/ 560451 h 608171"/>
                  <a:gd name="connsiteX170" fmla="*/ 2345055 w 3697415"/>
                  <a:gd name="connsiteY170" fmla="*/ 566833 h 608171"/>
                  <a:gd name="connsiteX171" fmla="*/ 2364010 w 3697415"/>
                  <a:gd name="connsiteY171" fmla="*/ 566833 h 608171"/>
                  <a:gd name="connsiteX172" fmla="*/ 2364010 w 3697415"/>
                  <a:gd name="connsiteY172" fmla="*/ 573310 h 608171"/>
                  <a:gd name="connsiteX173" fmla="*/ 3217831 w 3697415"/>
                  <a:gd name="connsiteY173" fmla="*/ 573310 h 608171"/>
                  <a:gd name="connsiteX174" fmla="*/ 3217831 w 3697415"/>
                  <a:gd name="connsiteY174" fmla="*/ 608171 h 608171"/>
                  <a:gd name="connsiteX175" fmla="*/ 3697415 w 3697415"/>
                  <a:gd name="connsiteY175" fmla="*/ 608171 h 608171"/>
                  <a:gd name="connsiteX0" fmla="*/ 0 w 3657410"/>
                  <a:gd name="connsiteY0" fmla="*/ 0 h 602265"/>
                  <a:gd name="connsiteX1" fmla="*/ 0 w 3657410"/>
                  <a:gd name="connsiteY1" fmla="*/ 6096 h 602265"/>
                  <a:gd name="connsiteX2" fmla="*/ 8382 w 3657410"/>
                  <a:gd name="connsiteY2" fmla="*/ 6096 h 602265"/>
                  <a:gd name="connsiteX3" fmla="*/ 8382 w 3657410"/>
                  <a:gd name="connsiteY3" fmla="*/ 12096 h 602265"/>
                  <a:gd name="connsiteX4" fmla="*/ 18955 w 3657410"/>
                  <a:gd name="connsiteY4" fmla="*/ 12096 h 602265"/>
                  <a:gd name="connsiteX5" fmla="*/ 18955 w 3657410"/>
                  <a:gd name="connsiteY5" fmla="*/ 18097 h 602265"/>
                  <a:gd name="connsiteX6" fmla="*/ 69437 w 3657410"/>
                  <a:gd name="connsiteY6" fmla="*/ 18097 h 602265"/>
                  <a:gd name="connsiteX7" fmla="*/ 69437 w 3657410"/>
                  <a:gd name="connsiteY7" fmla="*/ 24193 h 602265"/>
                  <a:gd name="connsiteX8" fmla="*/ 77819 w 3657410"/>
                  <a:gd name="connsiteY8" fmla="*/ 24193 h 602265"/>
                  <a:gd name="connsiteX9" fmla="*/ 77819 w 3657410"/>
                  <a:gd name="connsiteY9" fmla="*/ 36290 h 602265"/>
                  <a:gd name="connsiteX10" fmla="*/ 84106 w 3657410"/>
                  <a:gd name="connsiteY10" fmla="*/ 36290 h 602265"/>
                  <a:gd name="connsiteX11" fmla="*/ 84106 w 3657410"/>
                  <a:gd name="connsiteY11" fmla="*/ 42386 h 602265"/>
                  <a:gd name="connsiteX12" fmla="*/ 88297 w 3657410"/>
                  <a:gd name="connsiteY12" fmla="*/ 42386 h 602265"/>
                  <a:gd name="connsiteX13" fmla="*/ 88297 w 3657410"/>
                  <a:gd name="connsiteY13" fmla="*/ 48482 h 602265"/>
                  <a:gd name="connsiteX14" fmla="*/ 92488 w 3657410"/>
                  <a:gd name="connsiteY14" fmla="*/ 48482 h 602265"/>
                  <a:gd name="connsiteX15" fmla="*/ 92488 w 3657410"/>
                  <a:gd name="connsiteY15" fmla="*/ 54578 h 602265"/>
                  <a:gd name="connsiteX16" fmla="*/ 94583 w 3657410"/>
                  <a:gd name="connsiteY16" fmla="*/ 54578 h 602265"/>
                  <a:gd name="connsiteX17" fmla="*/ 94583 w 3657410"/>
                  <a:gd name="connsiteY17" fmla="*/ 60579 h 602265"/>
                  <a:gd name="connsiteX18" fmla="*/ 96774 w 3657410"/>
                  <a:gd name="connsiteY18" fmla="*/ 60579 h 602265"/>
                  <a:gd name="connsiteX19" fmla="*/ 96774 w 3657410"/>
                  <a:gd name="connsiteY19" fmla="*/ 66675 h 602265"/>
                  <a:gd name="connsiteX20" fmla="*/ 107251 w 3657410"/>
                  <a:gd name="connsiteY20" fmla="*/ 66675 h 602265"/>
                  <a:gd name="connsiteX21" fmla="*/ 107251 w 3657410"/>
                  <a:gd name="connsiteY21" fmla="*/ 72771 h 602265"/>
                  <a:gd name="connsiteX22" fmla="*/ 113538 w 3657410"/>
                  <a:gd name="connsiteY22" fmla="*/ 72771 h 602265"/>
                  <a:gd name="connsiteX23" fmla="*/ 113538 w 3657410"/>
                  <a:gd name="connsiteY23" fmla="*/ 78771 h 602265"/>
                  <a:gd name="connsiteX24" fmla="*/ 128302 w 3657410"/>
                  <a:gd name="connsiteY24" fmla="*/ 78771 h 602265"/>
                  <a:gd name="connsiteX25" fmla="*/ 128302 w 3657410"/>
                  <a:gd name="connsiteY25" fmla="*/ 84867 h 602265"/>
                  <a:gd name="connsiteX26" fmla="*/ 136684 w 3657410"/>
                  <a:gd name="connsiteY26" fmla="*/ 84867 h 602265"/>
                  <a:gd name="connsiteX27" fmla="*/ 136684 w 3657410"/>
                  <a:gd name="connsiteY27" fmla="*/ 90963 h 602265"/>
                  <a:gd name="connsiteX28" fmla="*/ 147257 w 3657410"/>
                  <a:gd name="connsiteY28" fmla="*/ 90963 h 602265"/>
                  <a:gd name="connsiteX29" fmla="*/ 147257 w 3657410"/>
                  <a:gd name="connsiteY29" fmla="*/ 96964 h 602265"/>
                  <a:gd name="connsiteX30" fmla="*/ 159830 w 3657410"/>
                  <a:gd name="connsiteY30" fmla="*/ 96964 h 602265"/>
                  <a:gd name="connsiteX31" fmla="*/ 159830 w 3657410"/>
                  <a:gd name="connsiteY31" fmla="*/ 103060 h 602265"/>
                  <a:gd name="connsiteX32" fmla="*/ 166116 w 3657410"/>
                  <a:gd name="connsiteY32" fmla="*/ 103060 h 602265"/>
                  <a:gd name="connsiteX33" fmla="*/ 166116 w 3657410"/>
                  <a:gd name="connsiteY33" fmla="*/ 115157 h 602265"/>
                  <a:gd name="connsiteX34" fmla="*/ 170307 w 3657410"/>
                  <a:gd name="connsiteY34" fmla="*/ 115157 h 602265"/>
                  <a:gd name="connsiteX35" fmla="*/ 170307 w 3657410"/>
                  <a:gd name="connsiteY35" fmla="*/ 121253 h 602265"/>
                  <a:gd name="connsiteX36" fmla="*/ 182975 w 3657410"/>
                  <a:gd name="connsiteY36" fmla="*/ 121253 h 602265"/>
                  <a:gd name="connsiteX37" fmla="*/ 182975 w 3657410"/>
                  <a:gd name="connsiteY37" fmla="*/ 127349 h 602265"/>
                  <a:gd name="connsiteX38" fmla="*/ 197644 w 3657410"/>
                  <a:gd name="connsiteY38" fmla="*/ 127349 h 602265"/>
                  <a:gd name="connsiteX39" fmla="*/ 197644 w 3657410"/>
                  <a:gd name="connsiteY39" fmla="*/ 133350 h 602265"/>
                  <a:gd name="connsiteX40" fmla="*/ 201930 w 3657410"/>
                  <a:gd name="connsiteY40" fmla="*/ 133350 h 602265"/>
                  <a:gd name="connsiteX41" fmla="*/ 201930 w 3657410"/>
                  <a:gd name="connsiteY41" fmla="*/ 139446 h 602265"/>
                  <a:gd name="connsiteX42" fmla="*/ 212407 w 3657410"/>
                  <a:gd name="connsiteY42" fmla="*/ 139446 h 602265"/>
                  <a:gd name="connsiteX43" fmla="*/ 212407 w 3657410"/>
                  <a:gd name="connsiteY43" fmla="*/ 145542 h 602265"/>
                  <a:gd name="connsiteX44" fmla="*/ 220790 w 3657410"/>
                  <a:gd name="connsiteY44" fmla="*/ 145542 h 602265"/>
                  <a:gd name="connsiteX45" fmla="*/ 220790 w 3657410"/>
                  <a:gd name="connsiteY45" fmla="*/ 151638 h 602265"/>
                  <a:gd name="connsiteX46" fmla="*/ 235553 w 3657410"/>
                  <a:gd name="connsiteY46" fmla="*/ 151638 h 602265"/>
                  <a:gd name="connsiteX47" fmla="*/ 235553 w 3657410"/>
                  <a:gd name="connsiteY47" fmla="*/ 157638 h 602265"/>
                  <a:gd name="connsiteX48" fmla="*/ 239744 w 3657410"/>
                  <a:gd name="connsiteY48" fmla="*/ 157638 h 602265"/>
                  <a:gd name="connsiteX49" fmla="*/ 239744 w 3657410"/>
                  <a:gd name="connsiteY49" fmla="*/ 163734 h 602265"/>
                  <a:gd name="connsiteX50" fmla="*/ 243935 w 3657410"/>
                  <a:gd name="connsiteY50" fmla="*/ 163734 h 602265"/>
                  <a:gd name="connsiteX51" fmla="*/ 243935 w 3657410"/>
                  <a:gd name="connsiteY51" fmla="*/ 169830 h 602265"/>
                  <a:gd name="connsiteX52" fmla="*/ 256604 w 3657410"/>
                  <a:gd name="connsiteY52" fmla="*/ 169830 h 602265"/>
                  <a:gd name="connsiteX53" fmla="*/ 256604 w 3657410"/>
                  <a:gd name="connsiteY53" fmla="*/ 175831 h 602265"/>
                  <a:gd name="connsiteX54" fmla="*/ 286036 w 3657410"/>
                  <a:gd name="connsiteY54" fmla="*/ 175831 h 602265"/>
                  <a:gd name="connsiteX55" fmla="*/ 286036 w 3657410"/>
                  <a:gd name="connsiteY55" fmla="*/ 181927 h 602265"/>
                  <a:gd name="connsiteX56" fmla="*/ 294418 w 3657410"/>
                  <a:gd name="connsiteY56" fmla="*/ 181927 h 602265"/>
                  <a:gd name="connsiteX57" fmla="*/ 294418 w 3657410"/>
                  <a:gd name="connsiteY57" fmla="*/ 188023 h 602265"/>
                  <a:gd name="connsiteX58" fmla="*/ 296513 w 3657410"/>
                  <a:gd name="connsiteY58" fmla="*/ 188023 h 602265"/>
                  <a:gd name="connsiteX59" fmla="*/ 296513 w 3657410"/>
                  <a:gd name="connsiteY59" fmla="*/ 194024 h 602265"/>
                  <a:gd name="connsiteX60" fmla="*/ 311277 w 3657410"/>
                  <a:gd name="connsiteY60" fmla="*/ 194024 h 602265"/>
                  <a:gd name="connsiteX61" fmla="*/ 311277 w 3657410"/>
                  <a:gd name="connsiteY61" fmla="*/ 206216 h 602265"/>
                  <a:gd name="connsiteX62" fmla="*/ 313373 w 3657410"/>
                  <a:gd name="connsiteY62" fmla="*/ 206216 h 602265"/>
                  <a:gd name="connsiteX63" fmla="*/ 313373 w 3657410"/>
                  <a:gd name="connsiteY63" fmla="*/ 212217 h 602265"/>
                  <a:gd name="connsiteX64" fmla="*/ 319659 w 3657410"/>
                  <a:gd name="connsiteY64" fmla="*/ 212217 h 602265"/>
                  <a:gd name="connsiteX65" fmla="*/ 319659 w 3657410"/>
                  <a:gd name="connsiteY65" fmla="*/ 218313 h 602265"/>
                  <a:gd name="connsiteX66" fmla="*/ 323850 w 3657410"/>
                  <a:gd name="connsiteY66" fmla="*/ 218313 h 602265"/>
                  <a:gd name="connsiteX67" fmla="*/ 323850 w 3657410"/>
                  <a:gd name="connsiteY67" fmla="*/ 224409 h 602265"/>
                  <a:gd name="connsiteX68" fmla="*/ 340709 w 3657410"/>
                  <a:gd name="connsiteY68" fmla="*/ 224409 h 602265"/>
                  <a:gd name="connsiteX69" fmla="*/ 340709 w 3657410"/>
                  <a:gd name="connsiteY69" fmla="*/ 236505 h 602265"/>
                  <a:gd name="connsiteX70" fmla="*/ 344900 w 3657410"/>
                  <a:gd name="connsiteY70" fmla="*/ 236505 h 602265"/>
                  <a:gd name="connsiteX71" fmla="*/ 344900 w 3657410"/>
                  <a:gd name="connsiteY71" fmla="*/ 242601 h 602265"/>
                  <a:gd name="connsiteX72" fmla="*/ 368046 w 3657410"/>
                  <a:gd name="connsiteY72" fmla="*/ 242601 h 602265"/>
                  <a:gd name="connsiteX73" fmla="*/ 368046 w 3657410"/>
                  <a:gd name="connsiteY73" fmla="*/ 248697 h 602265"/>
                  <a:gd name="connsiteX74" fmla="*/ 372237 w 3657410"/>
                  <a:gd name="connsiteY74" fmla="*/ 248697 h 602265"/>
                  <a:gd name="connsiteX75" fmla="*/ 372237 w 3657410"/>
                  <a:gd name="connsiteY75" fmla="*/ 254698 h 602265"/>
                  <a:gd name="connsiteX76" fmla="*/ 378524 w 3657410"/>
                  <a:gd name="connsiteY76" fmla="*/ 254698 h 602265"/>
                  <a:gd name="connsiteX77" fmla="*/ 378524 w 3657410"/>
                  <a:gd name="connsiteY77" fmla="*/ 266890 h 602265"/>
                  <a:gd name="connsiteX78" fmla="*/ 397478 w 3657410"/>
                  <a:gd name="connsiteY78" fmla="*/ 266890 h 602265"/>
                  <a:gd name="connsiteX79" fmla="*/ 397478 w 3657410"/>
                  <a:gd name="connsiteY79" fmla="*/ 272891 h 602265"/>
                  <a:gd name="connsiteX80" fmla="*/ 405860 w 3657410"/>
                  <a:gd name="connsiteY80" fmla="*/ 272891 h 602265"/>
                  <a:gd name="connsiteX81" fmla="*/ 405860 w 3657410"/>
                  <a:gd name="connsiteY81" fmla="*/ 278987 h 602265"/>
                  <a:gd name="connsiteX82" fmla="*/ 418529 w 3657410"/>
                  <a:gd name="connsiteY82" fmla="*/ 278987 h 602265"/>
                  <a:gd name="connsiteX83" fmla="*/ 418529 w 3657410"/>
                  <a:gd name="connsiteY83" fmla="*/ 285083 h 602265"/>
                  <a:gd name="connsiteX84" fmla="*/ 435388 w 3657410"/>
                  <a:gd name="connsiteY84" fmla="*/ 285083 h 602265"/>
                  <a:gd name="connsiteX85" fmla="*/ 435388 w 3657410"/>
                  <a:gd name="connsiteY85" fmla="*/ 291084 h 602265"/>
                  <a:gd name="connsiteX86" fmla="*/ 462725 w 3657410"/>
                  <a:gd name="connsiteY86" fmla="*/ 291084 h 602265"/>
                  <a:gd name="connsiteX87" fmla="*/ 462725 w 3657410"/>
                  <a:gd name="connsiteY87" fmla="*/ 297180 h 602265"/>
                  <a:gd name="connsiteX88" fmla="*/ 464820 w 3657410"/>
                  <a:gd name="connsiteY88" fmla="*/ 297180 h 602265"/>
                  <a:gd name="connsiteX89" fmla="*/ 464820 w 3657410"/>
                  <a:gd name="connsiteY89" fmla="*/ 303276 h 602265"/>
                  <a:gd name="connsiteX90" fmla="*/ 475297 w 3657410"/>
                  <a:gd name="connsiteY90" fmla="*/ 303276 h 602265"/>
                  <a:gd name="connsiteX91" fmla="*/ 475297 w 3657410"/>
                  <a:gd name="connsiteY91" fmla="*/ 309276 h 602265"/>
                  <a:gd name="connsiteX92" fmla="*/ 481584 w 3657410"/>
                  <a:gd name="connsiteY92" fmla="*/ 309276 h 602265"/>
                  <a:gd name="connsiteX93" fmla="*/ 481584 w 3657410"/>
                  <a:gd name="connsiteY93" fmla="*/ 321468 h 602265"/>
                  <a:gd name="connsiteX94" fmla="*/ 490061 w 3657410"/>
                  <a:gd name="connsiteY94" fmla="*/ 321468 h 602265"/>
                  <a:gd name="connsiteX95" fmla="*/ 490061 w 3657410"/>
                  <a:gd name="connsiteY95" fmla="*/ 327469 h 602265"/>
                  <a:gd name="connsiteX96" fmla="*/ 496348 w 3657410"/>
                  <a:gd name="connsiteY96" fmla="*/ 327469 h 602265"/>
                  <a:gd name="connsiteX97" fmla="*/ 496348 w 3657410"/>
                  <a:gd name="connsiteY97" fmla="*/ 339661 h 602265"/>
                  <a:gd name="connsiteX98" fmla="*/ 498443 w 3657410"/>
                  <a:gd name="connsiteY98" fmla="*/ 339661 h 602265"/>
                  <a:gd name="connsiteX99" fmla="*/ 498443 w 3657410"/>
                  <a:gd name="connsiteY99" fmla="*/ 345757 h 602265"/>
                  <a:gd name="connsiteX100" fmla="*/ 511016 w 3657410"/>
                  <a:gd name="connsiteY100" fmla="*/ 345757 h 602265"/>
                  <a:gd name="connsiteX101" fmla="*/ 511016 w 3657410"/>
                  <a:gd name="connsiteY101" fmla="*/ 351758 h 602265"/>
                  <a:gd name="connsiteX102" fmla="*/ 534162 w 3657410"/>
                  <a:gd name="connsiteY102" fmla="*/ 351758 h 602265"/>
                  <a:gd name="connsiteX103" fmla="*/ 534162 w 3657410"/>
                  <a:gd name="connsiteY103" fmla="*/ 357854 h 602265"/>
                  <a:gd name="connsiteX104" fmla="*/ 540544 w 3657410"/>
                  <a:gd name="connsiteY104" fmla="*/ 357854 h 602265"/>
                  <a:gd name="connsiteX105" fmla="*/ 540544 w 3657410"/>
                  <a:gd name="connsiteY105" fmla="*/ 363950 h 602265"/>
                  <a:gd name="connsiteX106" fmla="*/ 548926 w 3657410"/>
                  <a:gd name="connsiteY106" fmla="*/ 363950 h 602265"/>
                  <a:gd name="connsiteX107" fmla="*/ 548926 w 3657410"/>
                  <a:gd name="connsiteY107" fmla="*/ 369951 h 602265"/>
                  <a:gd name="connsiteX108" fmla="*/ 557308 w 3657410"/>
                  <a:gd name="connsiteY108" fmla="*/ 369951 h 602265"/>
                  <a:gd name="connsiteX109" fmla="*/ 557308 w 3657410"/>
                  <a:gd name="connsiteY109" fmla="*/ 376047 h 602265"/>
                  <a:gd name="connsiteX110" fmla="*/ 561499 w 3657410"/>
                  <a:gd name="connsiteY110" fmla="*/ 376047 h 602265"/>
                  <a:gd name="connsiteX111" fmla="*/ 561499 w 3657410"/>
                  <a:gd name="connsiteY111" fmla="*/ 382143 h 602265"/>
                  <a:gd name="connsiteX112" fmla="*/ 635127 w 3657410"/>
                  <a:gd name="connsiteY112" fmla="*/ 382143 h 602265"/>
                  <a:gd name="connsiteX113" fmla="*/ 635127 w 3657410"/>
                  <a:gd name="connsiteY113" fmla="*/ 388143 h 602265"/>
                  <a:gd name="connsiteX114" fmla="*/ 656177 w 3657410"/>
                  <a:gd name="connsiteY114" fmla="*/ 388143 h 602265"/>
                  <a:gd name="connsiteX115" fmla="*/ 656177 w 3657410"/>
                  <a:gd name="connsiteY115" fmla="*/ 394239 h 602265"/>
                  <a:gd name="connsiteX116" fmla="*/ 662464 w 3657410"/>
                  <a:gd name="connsiteY116" fmla="*/ 394239 h 602265"/>
                  <a:gd name="connsiteX117" fmla="*/ 662464 w 3657410"/>
                  <a:gd name="connsiteY117" fmla="*/ 400335 h 602265"/>
                  <a:gd name="connsiteX118" fmla="*/ 704564 w 3657410"/>
                  <a:gd name="connsiteY118" fmla="*/ 400335 h 602265"/>
                  <a:gd name="connsiteX119" fmla="*/ 704564 w 3657410"/>
                  <a:gd name="connsiteY119" fmla="*/ 406336 h 602265"/>
                  <a:gd name="connsiteX120" fmla="*/ 719233 w 3657410"/>
                  <a:gd name="connsiteY120" fmla="*/ 406336 h 602265"/>
                  <a:gd name="connsiteX121" fmla="*/ 719233 w 3657410"/>
                  <a:gd name="connsiteY121" fmla="*/ 412432 h 602265"/>
                  <a:gd name="connsiteX122" fmla="*/ 748760 w 3657410"/>
                  <a:gd name="connsiteY122" fmla="*/ 412432 h 602265"/>
                  <a:gd name="connsiteX123" fmla="*/ 748760 w 3657410"/>
                  <a:gd name="connsiteY123" fmla="*/ 418528 h 602265"/>
                  <a:gd name="connsiteX124" fmla="*/ 750856 w 3657410"/>
                  <a:gd name="connsiteY124" fmla="*/ 418528 h 602265"/>
                  <a:gd name="connsiteX125" fmla="*/ 750856 w 3657410"/>
                  <a:gd name="connsiteY125" fmla="*/ 424529 h 602265"/>
                  <a:gd name="connsiteX126" fmla="*/ 773906 w 3657410"/>
                  <a:gd name="connsiteY126" fmla="*/ 424529 h 602265"/>
                  <a:gd name="connsiteX127" fmla="*/ 773906 w 3657410"/>
                  <a:gd name="connsiteY127" fmla="*/ 430625 h 602265"/>
                  <a:gd name="connsiteX128" fmla="*/ 786575 w 3657410"/>
                  <a:gd name="connsiteY128" fmla="*/ 430625 h 602265"/>
                  <a:gd name="connsiteX129" fmla="*/ 786575 w 3657410"/>
                  <a:gd name="connsiteY129" fmla="*/ 436721 h 602265"/>
                  <a:gd name="connsiteX130" fmla="*/ 822293 w 3657410"/>
                  <a:gd name="connsiteY130" fmla="*/ 436721 h 602265"/>
                  <a:gd name="connsiteX131" fmla="*/ 822293 w 3657410"/>
                  <a:gd name="connsiteY131" fmla="*/ 442817 h 602265"/>
                  <a:gd name="connsiteX132" fmla="*/ 938022 w 3657410"/>
                  <a:gd name="connsiteY132" fmla="*/ 442817 h 602265"/>
                  <a:gd name="connsiteX133" fmla="*/ 938022 w 3657410"/>
                  <a:gd name="connsiteY133" fmla="*/ 448818 h 602265"/>
                  <a:gd name="connsiteX134" fmla="*/ 975836 w 3657410"/>
                  <a:gd name="connsiteY134" fmla="*/ 448818 h 602265"/>
                  <a:gd name="connsiteX135" fmla="*/ 975836 w 3657410"/>
                  <a:gd name="connsiteY135" fmla="*/ 455009 h 602265"/>
                  <a:gd name="connsiteX136" fmla="*/ 1028414 w 3657410"/>
                  <a:gd name="connsiteY136" fmla="*/ 455009 h 602265"/>
                  <a:gd name="connsiteX137" fmla="*/ 1028414 w 3657410"/>
                  <a:gd name="connsiteY137" fmla="*/ 461105 h 602265"/>
                  <a:gd name="connsiteX138" fmla="*/ 1047369 w 3657410"/>
                  <a:gd name="connsiteY138" fmla="*/ 461105 h 602265"/>
                  <a:gd name="connsiteX139" fmla="*/ 1047369 w 3657410"/>
                  <a:gd name="connsiteY139" fmla="*/ 467201 h 602265"/>
                  <a:gd name="connsiteX140" fmla="*/ 1057847 w 3657410"/>
                  <a:gd name="connsiteY140" fmla="*/ 467201 h 602265"/>
                  <a:gd name="connsiteX141" fmla="*/ 1057847 w 3657410"/>
                  <a:gd name="connsiteY141" fmla="*/ 473392 h 602265"/>
                  <a:gd name="connsiteX142" fmla="*/ 1091565 w 3657410"/>
                  <a:gd name="connsiteY142" fmla="*/ 473392 h 602265"/>
                  <a:gd name="connsiteX143" fmla="*/ 1091565 w 3657410"/>
                  <a:gd name="connsiteY143" fmla="*/ 479488 h 602265"/>
                  <a:gd name="connsiteX144" fmla="*/ 1097852 w 3657410"/>
                  <a:gd name="connsiteY144" fmla="*/ 479488 h 602265"/>
                  <a:gd name="connsiteX145" fmla="*/ 1097852 w 3657410"/>
                  <a:gd name="connsiteY145" fmla="*/ 485584 h 602265"/>
                  <a:gd name="connsiteX146" fmla="*/ 1112520 w 3657410"/>
                  <a:gd name="connsiteY146" fmla="*/ 485584 h 602265"/>
                  <a:gd name="connsiteX147" fmla="*/ 1112520 w 3657410"/>
                  <a:gd name="connsiteY147" fmla="*/ 491680 h 602265"/>
                  <a:gd name="connsiteX148" fmla="*/ 1125188 w 3657410"/>
                  <a:gd name="connsiteY148" fmla="*/ 491680 h 602265"/>
                  <a:gd name="connsiteX149" fmla="*/ 1125188 w 3657410"/>
                  <a:gd name="connsiteY149" fmla="*/ 497871 h 602265"/>
                  <a:gd name="connsiteX150" fmla="*/ 1150430 w 3657410"/>
                  <a:gd name="connsiteY150" fmla="*/ 497871 h 602265"/>
                  <a:gd name="connsiteX151" fmla="*/ 1150430 w 3657410"/>
                  <a:gd name="connsiteY151" fmla="*/ 503967 h 602265"/>
                  <a:gd name="connsiteX152" fmla="*/ 1379696 w 3657410"/>
                  <a:gd name="connsiteY152" fmla="*/ 503967 h 602265"/>
                  <a:gd name="connsiteX153" fmla="*/ 1379696 w 3657410"/>
                  <a:gd name="connsiteY153" fmla="*/ 510159 h 602265"/>
                  <a:gd name="connsiteX154" fmla="*/ 1493234 w 3657410"/>
                  <a:gd name="connsiteY154" fmla="*/ 510159 h 602265"/>
                  <a:gd name="connsiteX155" fmla="*/ 1493234 w 3657410"/>
                  <a:gd name="connsiteY155" fmla="*/ 516350 h 602265"/>
                  <a:gd name="connsiteX156" fmla="*/ 1762411 w 3657410"/>
                  <a:gd name="connsiteY156" fmla="*/ 516350 h 602265"/>
                  <a:gd name="connsiteX157" fmla="*/ 1762411 w 3657410"/>
                  <a:gd name="connsiteY157" fmla="*/ 522636 h 602265"/>
                  <a:gd name="connsiteX158" fmla="*/ 1836039 w 3657410"/>
                  <a:gd name="connsiteY158" fmla="*/ 522636 h 602265"/>
                  <a:gd name="connsiteX159" fmla="*/ 1836039 w 3657410"/>
                  <a:gd name="connsiteY159" fmla="*/ 528923 h 602265"/>
                  <a:gd name="connsiteX160" fmla="*/ 1915954 w 3657410"/>
                  <a:gd name="connsiteY160" fmla="*/ 528923 h 602265"/>
                  <a:gd name="connsiteX161" fmla="*/ 1915954 w 3657410"/>
                  <a:gd name="connsiteY161" fmla="*/ 535209 h 602265"/>
                  <a:gd name="connsiteX162" fmla="*/ 2077879 w 3657410"/>
                  <a:gd name="connsiteY162" fmla="*/ 535209 h 602265"/>
                  <a:gd name="connsiteX163" fmla="*/ 2077879 w 3657410"/>
                  <a:gd name="connsiteY163" fmla="*/ 541686 h 602265"/>
                  <a:gd name="connsiteX164" fmla="*/ 2094738 w 3657410"/>
                  <a:gd name="connsiteY164" fmla="*/ 541686 h 602265"/>
                  <a:gd name="connsiteX165" fmla="*/ 2094738 w 3657410"/>
                  <a:gd name="connsiteY165" fmla="*/ 548068 h 602265"/>
                  <a:gd name="connsiteX166" fmla="*/ 2212562 w 3657410"/>
                  <a:gd name="connsiteY166" fmla="*/ 548068 h 602265"/>
                  <a:gd name="connsiteX167" fmla="*/ 2212562 w 3657410"/>
                  <a:gd name="connsiteY167" fmla="*/ 554545 h 602265"/>
                  <a:gd name="connsiteX168" fmla="*/ 2305050 w 3657410"/>
                  <a:gd name="connsiteY168" fmla="*/ 554545 h 602265"/>
                  <a:gd name="connsiteX169" fmla="*/ 2305050 w 3657410"/>
                  <a:gd name="connsiteY169" fmla="*/ 560927 h 602265"/>
                  <a:gd name="connsiteX170" fmla="*/ 2324005 w 3657410"/>
                  <a:gd name="connsiteY170" fmla="*/ 560927 h 602265"/>
                  <a:gd name="connsiteX171" fmla="*/ 2324005 w 3657410"/>
                  <a:gd name="connsiteY171" fmla="*/ 567404 h 602265"/>
                  <a:gd name="connsiteX172" fmla="*/ 3177826 w 3657410"/>
                  <a:gd name="connsiteY172" fmla="*/ 567404 h 602265"/>
                  <a:gd name="connsiteX173" fmla="*/ 3177826 w 3657410"/>
                  <a:gd name="connsiteY173" fmla="*/ 602265 h 602265"/>
                  <a:gd name="connsiteX174" fmla="*/ 3657410 w 3657410"/>
                  <a:gd name="connsiteY174" fmla="*/ 602265 h 602265"/>
                  <a:gd name="connsiteX0" fmla="*/ 0 w 3657410"/>
                  <a:gd name="connsiteY0" fmla="*/ 0 h 602265"/>
                  <a:gd name="connsiteX1" fmla="*/ 8382 w 3657410"/>
                  <a:gd name="connsiteY1" fmla="*/ 6096 h 602265"/>
                  <a:gd name="connsiteX2" fmla="*/ 8382 w 3657410"/>
                  <a:gd name="connsiteY2" fmla="*/ 12096 h 602265"/>
                  <a:gd name="connsiteX3" fmla="*/ 18955 w 3657410"/>
                  <a:gd name="connsiteY3" fmla="*/ 12096 h 602265"/>
                  <a:gd name="connsiteX4" fmla="*/ 18955 w 3657410"/>
                  <a:gd name="connsiteY4" fmla="*/ 18097 h 602265"/>
                  <a:gd name="connsiteX5" fmla="*/ 69437 w 3657410"/>
                  <a:gd name="connsiteY5" fmla="*/ 18097 h 602265"/>
                  <a:gd name="connsiteX6" fmla="*/ 69437 w 3657410"/>
                  <a:gd name="connsiteY6" fmla="*/ 24193 h 602265"/>
                  <a:gd name="connsiteX7" fmla="*/ 77819 w 3657410"/>
                  <a:gd name="connsiteY7" fmla="*/ 24193 h 602265"/>
                  <a:gd name="connsiteX8" fmla="*/ 77819 w 3657410"/>
                  <a:gd name="connsiteY8" fmla="*/ 36290 h 602265"/>
                  <a:gd name="connsiteX9" fmla="*/ 84106 w 3657410"/>
                  <a:gd name="connsiteY9" fmla="*/ 36290 h 602265"/>
                  <a:gd name="connsiteX10" fmla="*/ 84106 w 3657410"/>
                  <a:gd name="connsiteY10" fmla="*/ 42386 h 602265"/>
                  <a:gd name="connsiteX11" fmla="*/ 88297 w 3657410"/>
                  <a:gd name="connsiteY11" fmla="*/ 42386 h 602265"/>
                  <a:gd name="connsiteX12" fmla="*/ 88297 w 3657410"/>
                  <a:gd name="connsiteY12" fmla="*/ 48482 h 602265"/>
                  <a:gd name="connsiteX13" fmla="*/ 92488 w 3657410"/>
                  <a:gd name="connsiteY13" fmla="*/ 48482 h 602265"/>
                  <a:gd name="connsiteX14" fmla="*/ 92488 w 3657410"/>
                  <a:gd name="connsiteY14" fmla="*/ 54578 h 602265"/>
                  <a:gd name="connsiteX15" fmla="*/ 94583 w 3657410"/>
                  <a:gd name="connsiteY15" fmla="*/ 54578 h 602265"/>
                  <a:gd name="connsiteX16" fmla="*/ 94583 w 3657410"/>
                  <a:gd name="connsiteY16" fmla="*/ 60579 h 602265"/>
                  <a:gd name="connsiteX17" fmla="*/ 96774 w 3657410"/>
                  <a:gd name="connsiteY17" fmla="*/ 60579 h 602265"/>
                  <a:gd name="connsiteX18" fmla="*/ 96774 w 3657410"/>
                  <a:gd name="connsiteY18" fmla="*/ 66675 h 602265"/>
                  <a:gd name="connsiteX19" fmla="*/ 107251 w 3657410"/>
                  <a:gd name="connsiteY19" fmla="*/ 66675 h 602265"/>
                  <a:gd name="connsiteX20" fmla="*/ 107251 w 3657410"/>
                  <a:gd name="connsiteY20" fmla="*/ 72771 h 602265"/>
                  <a:gd name="connsiteX21" fmla="*/ 113538 w 3657410"/>
                  <a:gd name="connsiteY21" fmla="*/ 72771 h 602265"/>
                  <a:gd name="connsiteX22" fmla="*/ 113538 w 3657410"/>
                  <a:gd name="connsiteY22" fmla="*/ 78771 h 602265"/>
                  <a:gd name="connsiteX23" fmla="*/ 128302 w 3657410"/>
                  <a:gd name="connsiteY23" fmla="*/ 78771 h 602265"/>
                  <a:gd name="connsiteX24" fmla="*/ 128302 w 3657410"/>
                  <a:gd name="connsiteY24" fmla="*/ 84867 h 602265"/>
                  <a:gd name="connsiteX25" fmla="*/ 136684 w 3657410"/>
                  <a:gd name="connsiteY25" fmla="*/ 84867 h 602265"/>
                  <a:gd name="connsiteX26" fmla="*/ 136684 w 3657410"/>
                  <a:gd name="connsiteY26" fmla="*/ 90963 h 602265"/>
                  <a:gd name="connsiteX27" fmla="*/ 147257 w 3657410"/>
                  <a:gd name="connsiteY27" fmla="*/ 90963 h 602265"/>
                  <a:gd name="connsiteX28" fmla="*/ 147257 w 3657410"/>
                  <a:gd name="connsiteY28" fmla="*/ 96964 h 602265"/>
                  <a:gd name="connsiteX29" fmla="*/ 159830 w 3657410"/>
                  <a:gd name="connsiteY29" fmla="*/ 96964 h 602265"/>
                  <a:gd name="connsiteX30" fmla="*/ 159830 w 3657410"/>
                  <a:gd name="connsiteY30" fmla="*/ 103060 h 602265"/>
                  <a:gd name="connsiteX31" fmla="*/ 166116 w 3657410"/>
                  <a:gd name="connsiteY31" fmla="*/ 103060 h 602265"/>
                  <a:gd name="connsiteX32" fmla="*/ 166116 w 3657410"/>
                  <a:gd name="connsiteY32" fmla="*/ 115157 h 602265"/>
                  <a:gd name="connsiteX33" fmla="*/ 170307 w 3657410"/>
                  <a:gd name="connsiteY33" fmla="*/ 115157 h 602265"/>
                  <a:gd name="connsiteX34" fmla="*/ 170307 w 3657410"/>
                  <a:gd name="connsiteY34" fmla="*/ 121253 h 602265"/>
                  <a:gd name="connsiteX35" fmla="*/ 182975 w 3657410"/>
                  <a:gd name="connsiteY35" fmla="*/ 121253 h 602265"/>
                  <a:gd name="connsiteX36" fmla="*/ 182975 w 3657410"/>
                  <a:gd name="connsiteY36" fmla="*/ 127349 h 602265"/>
                  <a:gd name="connsiteX37" fmla="*/ 197644 w 3657410"/>
                  <a:gd name="connsiteY37" fmla="*/ 127349 h 602265"/>
                  <a:gd name="connsiteX38" fmla="*/ 197644 w 3657410"/>
                  <a:gd name="connsiteY38" fmla="*/ 133350 h 602265"/>
                  <a:gd name="connsiteX39" fmla="*/ 201930 w 3657410"/>
                  <a:gd name="connsiteY39" fmla="*/ 133350 h 602265"/>
                  <a:gd name="connsiteX40" fmla="*/ 201930 w 3657410"/>
                  <a:gd name="connsiteY40" fmla="*/ 139446 h 602265"/>
                  <a:gd name="connsiteX41" fmla="*/ 212407 w 3657410"/>
                  <a:gd name="connsiteY41" fmla="*/ 139446 h 602265"/>
                  <a:gd name="connsiteX42" fmla="*/ 212407 w 3657410"/>
                  <a:gd name="connsiteY42" fmla="*/ 145542 h 602265"/>
                  <a:gd name="connsiteX43" fmla="*/ 220790 w 3657410"/>
                  <a:gd name="connsiteY43" fmla="*/ 145542 h 602265"/>
                  <a:gd name="connsiteX44" fmla="*/ 220790 w 3657410"/>
                  <a:gd name="connsiteY44" fmla="*/ 151638 h 602265"/>
                  <a:gd name="connsiteX45" fmla="*/ 235553 w 3657410"/>
                  <a:gd name="connsiteY45" fmla="*/ 151638 h 602265"/>
                  <a:gd name="connsiteX46" fmla="*/ 235553 w 3657410"/>
                  <a:gd name="connsiteY46" fmla="*/ 157638 h 602265"/>
                  <a:gd name="connsiteX47" fmla="*/ 239744 w 3657410"/>
                  <a:gd name="connsiteY47" fmla="*/ 157638 h 602265"/>
                  <a:gd name="connsiteX48" fmla="*/ 239744 w 3657410"/>
                  <a:gd name="connsiteY48" fmla="*/ 163734 h 602265"/>
                  <a:gd name="connsiteX49" fmla="*/ 243935 w 3657410"/>
                  <a:gd name="connsiteY49" fmla="*/ 163734 h 602265"/>
                  <a:gd name="connsiteX50" fmla="*/ 243935 w 3657410"/>
                  <a:gd name="connsiteY50" fmla="*/ 169830 h 602265"/>
                  <a:gd name="connsiteX51" fmla="*/ 256604 w 3657410"/>
                  <a:gd name="connsiteY51" fmla="*/ 169830 h 602265"/>
                  <a:gd name="connsiteX52" fmla="*/ 256604 w 3657410"/>
                  <a:gd name="connsiteY52" fmla="*/ 175831 h 602265"/>
                  <a:gd name="connsiteX53" fmla="*/ 286036 w 3657410"/>
                  <a:gd name="connsiteY53" fmla="*/ 175831 h 602265"/>
                  <a:gd name="connsiteX54" fmla="*/ 286036 w 3657410"/>
                  <a:gd name="connsiteY54" fmla="*/ 181927 h 602265"/>
                  <a:gd name="connsiteX55" fmla="*/ 294418 w 3657410"/>
                  <a:gd name="connsiteY55" fmla="*/ 181927 h 602265"/>
                  <a:gd name="connsiteX56" fmla="*/ 294418 w 3657410"/>
                  <a:gd name="connsiteY56" fmla="*/ 188023 h 602265"/>
                  <a:gd name="connsiteX57" fmla="*/ 296513 w 3657410"/>
                  <a:gd name="connsiteY57" fmla="*/ 188023 h 602265"/>
                  <a:gd name="connsiteX58" fmla="*/ 296513 w 3657410"/>
                  <a:gd name="connsiteY58" fmla="*/ 194024 h 602265"/>
                  <a:gd name="connsiteX59" fmla="*/ 311277 w 3657410"/>
                  <a:gd name="connsiteY59" fmla="*/ 194024 h 602265"/>
                  <a:gd name="connsiteX60" fmla="*/ 311277 w 3657410"/>
                  <a:gd name="connsiteY60" fmla="*/ 206216 h 602265"/>
                  <a:gd name="connsiteX61" fmla="*/ 313373 w 3657410"/>
                  <a:gd name="connsiteY61" fmla="*/ 206216 h 602265"/>
                  <a:gd name="connsiteX62" fmla="*/ 313373 w 3657410"/>
                  <a:gd name="connsiteY62" fmla="*/ 212217 h 602265"/>
                  <a:gd name="connsiteX63" fmla="*/ 319659 w 3657410"/>
                  <a:gd name="connsiteY63" fmla="*/ 212217 h 602265"/>
                  <a:gd name="connsiteX64" fmla="*/ 319659 w 3657410"/>
                  <a:gd name="connsiteY64" fmla="*/ 218313 h 602265"/>
                  <a:gd name="connsiteX65" fmla="*/ 323850 w 3657410"/>
                  <a:gd name="connsiteY65" fmla="*/ 218313 h 602265"/>
                  <a:gd name="connsiteX66" fmla="*/ 323850 w 3657410"/>
                  <a:gd name="connsiteY66" fmla="*/ 224409 h 602265"/>
                  <a:gd name="connsiteX67" fmla="*/ 340709 w 3657410"/>
                  <a:gd name="connsiteY67" fmla="*/ 224409 h 602265"/>
                  <a:gd name="connsiteX68" fmla="*/ 340709 w 3657410"/>
                  <a:gd name="connsiteY68" fmla="*/ 236505 h 602265"/>
                  <a:gd name="connsiteX69" fmla="*/ 344900 w 3657410"/>
                  <a:gd name="connsiteY69" fmla="*/ 236505 h 602265"/>
                  <a:gd name="connsiteX70" fmla="*/ 344900 w 3657410"/>
                  <a:gd name="connsiteY70" fmla="*/ 242601 h 602265"/>
                  <a:gd name="connsiteX71" fmla="*/ 368046 w 3657410"/>
                  <a:gd name="connsiteY71" fmla="*/ 242601 h 602265"/>
                  <a:gd name="connsiteX72" fmla="*/ 368046 w 3657410"/>
                  <a:gd name="connsiteY72" fmla="*/ 248697 h 602265"/>
                  <a:gd name="connsiteX73" fmla="*/ 372237 w 3657410"/>
                  <a:gd name="connsiteY73" fmla="*/ 248697 h 602265"/>
                  <a:gd name="connsiteX74" fmla="*/ 372237 w 3657410"/>
                  <a:gd name="connsiteY74" fmla="*/ 254698 h 602265"/>
                  <a:gd name="connsiteX75" fmla="*/ 378524 w 3657410"/>
                  <a:gd name="connsiteY75" fmla="*/ 254698 h 602265"/>
                  <a:gd name="connsiteX76" fmla="*/ 378524 w 3657410"/>
                  <a:gd name="connsiteY76" fmla="*/ 266890 h 602265"/>
                  <a:gd name="connsiteX77" fmla="*/ 397478 w 3657410"/>
                  <a:gd name="connsiteY77" fmla="*/ 266890 h 602265"/>
                  <a:gd name="connsiteX78" fmla="*/ 397478 w 3657410"/>
                  <a:gd name="connsiteY78" fmla="*/ 272891 h 602265"/>
                  <a:gd name="connsiteX79" fmla="*/ 405860 w 3657410"/>
                  <a:gd name="connsiteY79" fmla="*/ 272891 h 602265"/>
                  <a:gd name="connsiteX80" fmla="*/ 405860 w 3657410"/>
                  <a:gd name="connsiteY80" fmla="*/ 278987 h 602265"/>
                  <a:gd name="connsiteX81" fmla="*/ 418529 w 3657410"/>
                  <a:gd name="connsiteY81" fmla="*/ 278987 h 602265"/>
                  <a:gd name="connsiteX82" fmla="*/ 418529 w 3657410"/>
                  <a:gd name="connsiteY82" fmla="*/ 285083 h 602265"/>
                  <a:gd name="connsiteX83" fmla="*/ 435388 w 3657410"/>
                  <a:gd name="connsiteY83" fmla="*/ 285083 h 602265"/>
                  <a:gd name="connsiteX84" fmla="*/ 435388 w 3657410"/>
                  <a:gd name="connsiteY84" fmla="*/ 291084 h 602265"/>
                  <a:gd name="connsiteX85" fmla="*/ 462725 w 3657410"/>
                  <a:gd name="connsiteY85" fmla="*/ 291084 h 602265"/>
                  <a:gd name="connsiteX86" fmla="*/ 462725 w 3657410"/>
                  <a:gd name="connsiteY86" fmla="*/ 297180 h 602265"/>
                  <a:gd name="connsiteX87" fmla="*/ 464820 w 3657410"/>
                  <a:gd name="connsiteY87" fmla="*/ 297180 h 602265"/>
                  <a:gd name="connsiteX88" fmla="*/ 464820 w 3657410"/>
                  <a:gd name="connsiteY88" fmla="*/ 303276 h 602265"/>
                  <a:gd name="connsiteX89" fmla="*/ 475297 w 3657410"/>
                  <a:gd name="connsiteY89" fmla="*/ 303276 h 602265"/>
                  <a:gd name="connsiteX90" fmla="*/ 475297 w 3657410"/>
                  <a:gd name="connsiteY90" fmla="*/ 309276 h 602265"/>
                  <a:gd name="connsiteX91" fmla="*/ 481584 w 3657410"/>
                  <a:gd name="connsiteY91" fmla="*/ 309276 h 602265"/>
                  <a:gd name="connsiteX92" fmla="*/ 481584 w 3657410"/>
                  <a:gd name="connsiteY92" fmla="*/ 321468 h 602265"/>
                  <a:gd name="connsiteX93" fmla="*/ 490061 w 3657410"/>
                  <a:gd name="connsiteY93" fmla="*/ 321468 h 602265"/>
                  <a:gd name="connsiteX94" fmla="*/ 490061 w 3657410"/>
                  <a:gd name="connsiteY94" fmla="*/ 327469 h 602265"/>
                  <a:gd name="connsiteX95" fmla="*/ 496348 w 3657410"/>
                  <a:gd name="connsiteY95" fmla="*/ 327469 h 602265"/>
                  <a:gd name="connsiteX96" fmla="*/ 496348 w 3657410"/>
                  <a:gd name="connsiteY96" fmla="*/ 339661 h 602265"/>
                  <a:gd name="connsiteX97" fmla="*/ 498443 w 3657410"/>
                  <a:gd name="connsiteY97" fmla="*/ 339661 h 602265"/>
                  <a:gd name="connsiteX98" fmla="*/ 498443 w 3657410"/>
                  <a:gd name="connsiteY98" fmla="*/ 345757 h 602265"/>
                  <a:gd name="connsiteX99" fmla="*/ 511016 w 3657410"/>
                  <a:gd name="connsiteY99" fmla="*/ 345757 h 602265"/>
                  <a:gd name="connsiteX100" fmla="*/ 511016 w 3657410"/>
                  <a:gd name="connsiteY100" fmla="*/ 351758 h 602265"/>
                  <a:gd name="connsiteX101" fmla="*/ 534162 w 3657410"/>
                  <a:gd name="connsiteY101" fmla="*/ 351758 h 602265"/>
                  <a:gd name="connsiteX102" fmla="*/ 534162 w 3657410"/>
                  <a:gd name="connsiteY102" fmla="*/ 357854 h 602265"/>
                  <a:gd name="connsiteX103" fmla="*/ 540544 w 3657410"/>
                  <a:gd name="connsiteY103" fmla="*/ 357854 h 602265"/>
                  <a:gd name="connsiteX104" fmla="*/ 540544 w 3657410"/>
                  <a:gd name="connsiteY104" fmla="*/ 363950 h 602265"/>
                  <a:gd name="connsiteX105" fmla="*/ 548926 w 3657410"/>
                  <a:gd name="connsiteY105" fmla="*/ 363950 h 602265"/>
                  <a:gd name="connsiteX106" fmla="*/ 548926 w 3657410"/>
                  <a:gd name="connsiteY106" fmla="*/ 369951 h 602265"/>
                  <a:gd name="connsiteX107" fmla="*/ 557308 w 3657410"/>
                  <a:gd name="connsiteY107" fmla="*/ 369951 h 602265"/>
                  <a:gd name="connsiteX108" fmla="*/ 557308 w 3657410"/>
                  <a:gd name="connsiteY108" fmla="*/ 376047 h 602265"/>
                  <a:gd name="connsiteX109" fmla="*/ 561499 w 3657410"/>
                  <a:gd name="connsiteY109" fmla="*/ 376047 h 602265"/>
                  <a:gd name="connsiteX110" fmla="*/ 561499 w 3657410"/>
                  <a:gd name="connsiteY110" fmla="*/ 382143 h 602265"/>
                  <a:gd name="connsiteX111" fmla="*/ 635127 w 3657410"/>
                  <a:gd name="connsiteY111" fmla="*/ 382143 h 602265"/>
                  <a:gd name="connsiteX112" fmla="*/ 635127 w 3657410"/>
                  <a:gd name="connsiteY112" fmla="*/ 388143 h 602265"/>
                  <a:gd name="connsiteX113" fmla="*/ 656177 w 3657410"/>
                  <a:gd name="connsiteY113" fmla="*/ 388143 h 602265"/>
                  <a:gd name="connsiteX114" fmla="*/ 656177 w 3657410"/>
                  <a:gd name="connsiteY114" fmla="*/ 394239 h 602265"/>
                  <a:gd name="connsiteX115" fmla="*/ 662464 w 3657410"/>
                  <a:gd name="connsiteY115" fmla="*/ 394239 h 602265"/>
                  <a:gd name="connsiteX116" fmla="*/ 662464 w 3657410"/>
                  <a:gd name="connsiteY116" fmla="*/ 400335 h 602265"/>
                  <a:gd name="connsiteX117" fmla="*/ 704564 w 3657410"/>
                  <a:gd name="connsiteY117" fmla="*/ 400335 h 602265"/>
                  <a:gd name="connsiteX118" fmla="*/ 704564 w 3657410"/>
                  <a:gd name="connsiteY118" fmla="*/ 406336 h 602265"/>
                  <a:gd name="connsiteX119" fmla="*/ 719233 w 3657410"/>
                  <a:gd name="connsiteY119" fmla="*/ 406336 h 602265"/>
                  <a:gd name="connsiteX120" fmla="*/ 719233 w 3657410"/>
                  <a:gd name="connsiteY120" fmla="*/ 412432 h 602265"/>
                  <a:gd name="connsiteX121" fmla="*/ 748760 w 3657410"/>
                  <a:gd name="connsiteY121" fmla="*/ 412432 h 602265"/>
                  <a:gd name="connsiteX122" fmla="*/ 748760 w 3657410"/>
                  <a:gd name="connsiteY122" fmla="*/ 418528 h 602265"/>
                  <a:gd name="connsiteX123" fmla="*/ 750856 w 3657410"/>
                  <a:gd name="connsiteY123" fmla="*/ 418528 h 602265"/>
                  <a:gd name="connsiteX124" fmla="*/ 750856 w 3657410"/>
                  <a:gd name="connsiteY124" fmla="*/ 424529 h 602265"/>
                  <a:gd name="connsiteX125" fmla="*/ 773906 w 3657410"/>
                  <a:gd name="connsiteY125" fmla="*/ 424529 h 602265"/>
                  <a:gd name="connsiteX126" fmla="*/ 773906 w 3657410"/>
                  <a:gd name="connsiteY126" fmla="*/ 430625 h 602265"/>
                  <a:gd name="connsiteX127" fmla="*/ 786575 w 3657410"/>
                  <a:gd name="connsiteY127" fmla="*/ 430625 h 602265"/>
                  <a:gd name="connsiteX128" fmla="*/ 786575 w 3657410"/>
                  <a:gd name="connsiteY128" fmla="*/ 436721 h 602265"/>
                  <a:gd name="connsiteX129" fmla="*/ 822293 w 3657410"/>
                  <a:gd name="connsiteY129" fmla="*/ 436721 h 602265"/>
                  <a:gd name="connsiteX130" fmla="*/ 822293 w 3657410"/>
                  <a:gd name="connsiteY130" fmla="*/ 442817 h 602265"/>
                  <a:gd name="connsiteX131" fmla="*/ 938022 w 3657410"/>
                  <a:gd name="connsiteY131" fmla="*/ 442817 h 602265"/>
                  <a:gd name="connsiteX132" fmla="*/ 938022 w 3657410"/>
                  <a:gd name="connsiteY132" fmla="*/ 448818 h 602265"/>
                  <a:gd name="connsiteX133" fmla="*/ 975836 w 3657410"/>
                  <a:gd name="connsiteY133" fmla="*/ 448818 h 602265"/>
                  <a:gd name="connsiteX134" fmla="*/ 975836 w 3657410"/>
                  <a:gd name="connsiteY134" fmla="*/ 455009 h 602265"/>
                  <a:gd name="connsiteX135" fmla="*/ 1028414 w 3657410"/>
                  <a:gd name="connsiteY135" fmla="*/ 455009 h 602265"/>
                  <a:gd name="connsiteX136" fmla="*/ 1028414 w 3657410"/>
                  <a:gd name="connsiteY136" fmla="*/ 461105 h 602265"/>
                  <a:gd name="connsiteX137" fmla="*/ 1047369 w 3657410"/>
                  <a:gd name="connsiteY137" fmla="*/ 461105 h 602265"/>
                  <a:gd name="connsiteX138" fmla="*/ 1047369 w 3657410"/>
                  <a:gd name="connsiteY138" fmla="*/ 467201 h 602265"/>
                  <a:gd name="connsiteX139" fmla="*/ 1057847 w 3657410"/>
                  <a:gd name="connsiteY139" fmla="*/ 467201 h 602265"/>
                  <a:gd name="connsiteX140" fmla="*/ 1057847 w 3657410"/>
                  <a:gd name="connsiteY140" fmla="*/ 473392 h 602265"/>
                  <a:gd name="connsiteX141" fmla="*/ 1091565 w 3657410"/>
                  <a:gd name="connsiteY141" fmla="*/ 473392 h 602265"/>
                  <a:gd name="connsiteX142" fmla="*/ 1091565 w 3657410"/>
                  <a:gd name="connsiteY142" fmla="*/ 479488 h 602265"/>
                  <a:gd name="connsiteX143" fmla="*/ 1097852 w 3657410"/>
                  <a:gd name="connsiteY143" fmla="*/ 479488 h 602265"/>
                  <a:gd name="connsiteX144" fmla="*/ 1097852 w 3657410"/>
                  <a:gd name="connsiteY144" fmla="*/ 485584 h 602265"/>
                  <a:gd name="connsiteX145" fmla="*/ 1112520 w 3657410"/>
                  <a:gd name="connsiteY145" fmla="*/ 485584 h 602265"/>
                  <a:gd name="connsiteX146" fmla="*/ 1112520 w 3657410"/>
                  <a:gd name="connsiteY146" fmla="*/ 491680 h 602265"/>
                  <a:gd name="connsiteX147" fmla="*/ 1125188 w 3657410"/>
                  <a:gd name="connsiteY147" fmla="*/ 491680 h 602265"/>
                  <a:gd name="connsiteX148" fmla="*/ 1125188 w 3657410"/>
                  <a:gd name="connsiteY148" fmla="*/ 497871 h 602265"/>
                  <a:gd name="connsiteX149" fmla="*/ 1150430 w 3657410"/>
                  <a:gd name="connsiteY149" fmla="*/ 497871 h 602265"/>
                  <a:gd name="connsiteX150" fmla="*/ 1150430 w 3657410"/>
                  <a:gd name="connsiteY150" fmla="*/ 503967 h 602265"/>
                  <a:gd name="connsiteX151" fmla="*/ 1379696 w 3657410"/>
                  <a:gd name="connsiteY151" fmla="*/ 503967 h 602265"/>
                  <a:gd name="connsiteX152" fmla="*/ 1379696 w 3657410"/>
                  <a:gd name="connsiteY152" fmla="*/ 510159 h 602265"/>
                  <a:gd name="connsiteX153" fmla="*/ 1493234 w 3657410"/>
                  <a:gd name="connsiteY153" fmla="*/ 510159 h 602265"/>
                  <a:gd name="connsiteX154" fmla="*/ 1493234 w 3657410"/>
                  <a:gd name="connsiteY154" fmla="*/ 516350 h 602265"/>
                  <a:gd name="connsiteX155" fmla="*/ 1762411 w 3657410"/>
                  <a:gd name="connsiteY155" fmla="*/ 516350 h 602265"/>
                  <a:gd name="connsiteX156" fmla="*/ 1762411 w 3657410"/>
                  <a:gd name="connsiteY156" fmla="*/ 522636 h 602265"/>
                  <a:gd name="connsiteX157" fmla="*/ 1836039 w 3657410"/>
                  <a:gd name="connsiteY157" fmla="*/ 522636 h 602265"/>
                  <a:gd name="connsiteX158" fmla="*/ 1836039 w 3657410"/>
                  <a:gd name="connsiteY158" fmla="*/ 528923 h 602265"/>
                  <a:gd name="connsiteX159" fmla="*/ 1915954 w 3657410"/>
                  <a:gd name="connsiteY159" fmla="*/ 528923 h 602265"/>
                  <a:gd name="connsiteX160" fmla="*/ 1915954 w 3657410"/>
                  <a:gd name="connsiteY160" fmla="*/ 535209 h 602265"/>
                  <a:gd name="connsiteX161" fmla="*/ 2077879 w 3657410"/>
                  <a:gd name="connsiteY161" fmla="*/ 535209 h 602265"/>
                  <a:gd name="connsiteX162" fmla="*/ 2077879 w 3657410"/>
                  <a:gd name="connsiteY162" fmla="*/ 541686 h 602265"/>
                  <a:gd name="connsiteX163" fmla="*/ 2094738 w 3657410"/>
                  <a:gd name="connsiteY163" fmla="*/ 541686 h 602265"/>
                  <a:gd name="connsiteX164" fmla="*/ 2094738 w 3657410"/>
                  <a:gd name="connsiteY164" fmla="*/ 548068 h 602265"/>
                  <a:gd name="connsiteX165" fmla="*/ 2212562 w 3657410"/>
                  <a:gd name="connsiteY165" fmla="*/ 548068 h 602265"/>
                  <a:gd name="connsiteX166" fmla="*/ 2212562 w 3657410"/>
                  <a:gd name="connsiteY166" fmla="*/ 554545 h 602265"/>
                  <a:gd name="connsiteX167" fmla="*/ 2305050 w 3657410"/>
                  <a:gd name="connsiteY167" fmla="*/ 554545 h 602265"/>
                  <a:gd name="connsiteX168" fmla="*/ 2305050 w 3657410"/>
                  <a:gd name="connsiteY168" fmla="*/ 560927 h 602265"/>
                  <a:gd name="connsiteX169" fmla="*/ 2324005 w 3657410"/>
                  <a:gd name="connsiteY169" fmla="*/ 560927 h 602265"/>
                  <a:gd name="connsiteX170" fmla="*/ 2324005 w 3657410"/>
                  <a:gd name="connsiteY170" fmla="*/ 567404 h 602265"/>
                  <a:gd name="connsiteX171" fmla="*/ 3177826 w 3657410"/>
                  <a:gd name="connsiteY171" fmla="*/ 567404 h 602265"/>
                  <a:gd name="connsiteX172" fmla="*/ 3177826 w 3657410"/>
                  <a:gd name="connsiteY172" fmla="*/ 602265 h 602265"/>
                  <a:gd name="connsiteX173" fmla="*/ 3657410 w 3657410"/>
                  <a:gd name="connsiteY173" fmla="*/ 602265 h 602265"/>
                  <a:gd name="connsiteX0" fmla="*/ 0 w 3649028"/>
                  <a:gd name="connsiteY0" fmla="*/ 0 h 596169"/>
                  <a:gd name="connsiteX1" fmla="*/ 0 w 3649028"/>
                  <a:gd name="connsiteY1" fmla="*/ 6000 h 596169"/>
                  <a:gd name="connsiteX2" fmla="*/ 10573 w 3649028"/>
                  <a:gd name="connsiteY2" fmla="*/ 6000 h 596169"/>
                  <a:gd name="connsiteX3" fmla="*/ 10573 w 3649028"/>
                  <a:gd name="connsiteY3" fmla="*/ 12001 h 596169"/>
                  <a:gd name="connsiteX4" fmla="*/ 61055 w 3649028"/>
                  <a:gd name="connsiteY4" fmla="*/ 12001 h 596169"/>
                  <a:gd name="connsiteX5" fmla="*/ 61055 w 3649028"/>
                  <a:gd name="connsiteY5" fmla="*/ 18097 h 596169"/>
                  <a:gd name="connsiteX6" fmla="*/ 69437 w 3649028"/>
                  <a:gd name="connsiteY6" fmla="*/ 18097 h 596169"/>
                  <a:gd name="connsiteX7" fmla="*/ 69437 w 3649028"/>
                  <a:gd name="connsiteY7" fmla="*/ 30194 h 596169"/>
                  <a:gd name="connsiteX8" fmla="*/ 75724 w 3649028"/>
                  <a:gd name="connsiteY8" fmla="*/ 30194 h 596169"/>
                  <a:gd name="connsiteX9" fmla="*/ 75724 w 3649028"/>
                  <a:gd name="connsiteY9" fmla="*/ 36290 h 596169"/>
                  <a:gd name="connsiteX10" fmla="*/ 79915 w 3649028"/>
                  <a:gd name="connsiteY10" fmla="*/ 36290 h 596169"/>
                  <a:gd name="connsiteX11" fmla="*/ 79915 w 3649028"/>
                  <a:gd name="connsiteY11" fmla="*/ 42386 h 596169"/>
                  <a:gd name="connsiteX12" fmla="*/ 84106 w 3649028"/>
                  <a:gd name="connsiteY12" fmla="*/ 42386 h 596169"/>
                  <a:gd name="connsiteX13" fmla="*/ 84106 w 3649028"/>
                  <a:gd name="connsiteY13" fmla="*/ 48482 h 596169"/>
                  <a:gd name="connsiteX14" fmla="*/ 86201 w 3649028"/>
                  <a:gd name="connsiteY14" fmla="*/ 48482 h 596169"/>
                  <a:gd name="connsiteX15" fmla="*/ 86201 w 3649028"/>
                  <a:gd name="connsiteY15" fmla="*/ 54483 h 596169"/>
                  <a:gd name="connsiteX16" fmla="*/ 88392 w 3649028"/>
                  <a:gd name="connsiteY16" fmla="*/ 54483 h 596169"/>
                  <a:gd name="connsiteX17" fmla="*/ 88392 w 3649028"/>
                  <a:gd name="connsiteY17" fmla="*/ 60579 h 596169"/>
                  <a:gd name="connsiteX18" fmla="*/ 98869 w 3649028"/>
                  <a:gd name="connsiteY18" fmla="*/ 60579 h 596169"/>
                  <a:gd name="connsiteX19" fmla="*/ 98869 w 3649028"/>
                  <a:gd name="connsiteY19" fmla="*/ 66675 h 596169"/>
                  <a:gd name="connsiteX20" fmla="*/ 105156 w 3649028"/>
                  <a:gd name="connsiteY20" fmla="*/ 66675 h 596169"/>
                  <a:gd name="connsiteX21" fmla="*/ 105156 w 3649028"/>
                  <a:gd name="connsiteY21" fmla="*/ 72675 h 596169"/>
                  <a:gd name="connsiteX22" fmla="*/ 119920 w 3649028"/>
                  <a:gd name="connsiteY22" fmla="*/ 72675 h 596169"/>
                  <a:gd name="connsiteX23" fmla="*/ 119920 w 3649028"/>
                  <a:gd name="connsiteY23" fmla="*/ 78771 h 596169"/>
                  <a:gd name="connsiteX24" fmla="*/ 128302 w 3649028"/>
                  <a:gd name="connsiteY24" fmla="*/ 78771 h 596169"/>
                  <a:gd name="connsiteX25" fmla="*/ 128302 w 3649028"/>
                  <a:gd name="connsiteY25" fmla="*/ 84867 h 596169"/>
                  <a:gd name="connsiteX26" fmla="*/ 138875 w 3649028"/>
                  <a:gd name="connsiteY26" fmla="*/ 84867 h 596169"/>
                  <a:gd name="connsiteX27" fmla="*/ 138875 w 3649028"/>
                  <a:gd name="connsiteY27" fmla="*/ 90868 h 596169"/>
                  <a:gd name="connsiteX28" fmla="*/ 151448 w 3649028"/>
                  <a:gd name="connsiteY28" fmla="*/ 90868 h 596169"/>
                  <a:gd name="connsiteX29" fmla="*/ 151448 w 3649028"/>
                  <a:gd name="connsiteY29" fmla="*/ 96964 h 596169"/>
                  <a:gd name="connsiteX30" fmla="*/ 157734 w 3649028"/>
                  <a:gd name="connsiteY30" fmla="*/ 96964 h 596169"/>
                  <a:gd name="connsiteX31" fmla="*/ 157734 w 3649028"/>
                  <a:gd name="connsiteY31" fmla="*/ 109061 h 596169"/>
                  <a:gd name="connsiteX32" fmla="*/ 161925 w 3649028"/>
                  <a:gd name="connsiteY32" fmla="*/ 109061 h 596169"/>
                  <a:gd name="connsiteX33" fmla="*/ 161925 w 3649028"/>
                  <a:gd name="connsiteY33" fmla="*/ 115157 h 596169"/>
                  <a:gd name="connsiteX34" fmla="*/ 174593 w 3649028"/>
                  <a:gd name="connsiteY34" fmla="*/ 115157 h 596169"/>
                  <a:gd name="connsiteX35" fmla="*/ 174593 w 3649028"/>
                  <a:gd name="connsiteY35" fmla="*/ 121253 h 596169"/>
                  <a:gd name="connsiteX36" fmla="*/ 189262 w 3649028"/>
                  <a:gd name="connsiteY36" fmla="*/ 121253 h 596169"/>
                  <a:gd name="connsiteX37" fmla="*/ 189262 w 3649028"/>
                  <a:gd name="connsiteY37" fmla="*/ 127254 h 596169"/>
                  <a:gd name="connsiteX38" fmla="*/ 193548 w 3649028"/>
                  <a:gd name="connsiteY38" fmla="*/ 127254 h 596169"/>
                  <a:gd name="connsiteX39" fmla="*/ 193548 w 3649028"/>
                  <a:gd name="connsiteY39" fmla="*/ 133350 h 596169"/>
                  <a:gd name="connsiteX40" fmla="*/ 204025 w 3649028"/>
                  <a:gd name="connsiteY40" fmla="*/ 133350 h 596169"/>
                  <a:gd name="connsiteX41" fmla="*/ 204025 w 3649028"/>
                  <a:gd name="connsiteY41" fmla="*/ 139446 h 596169"/>
                  <a:gd name="connsiteX42" fmla="*/ 212408 w 3649028"/>
                  <a:gd name="connsiteY42" fmla="*/ 139446 h 596169"/>
                  <a:gd name="connsiteX43" fmla="*/ 212408 w 3649028"/>
                  <a:gd name="connsiteY43" fmla="*/ 145542 h 596169"/>
                  <a:gd name="connsiteX44" fmla="*/ 227171 w 3649028"/>
                  <a:gd name="connsiteY44" fmla="*/ 145542 h 596169"/>
                  <a:gd name="connsiteX45" fmla="*/ 227171 w 3649028"/>
                  <a:gd name="connsiteY45" fmla="*/ 151542 h 596169"/>
                  <a:gd name="connsiteX46" fmla="*/ 231362 w 3649028"/>
                  <a:gd name="connsiteY46" fmla="*/ 151542 h 596169"/>
                  <a:gd name="connsiteX47" fmla="*/ 231362 w 3649028"/>
                  <a:gd name="connsiteY47" fmla="*/ 157638 h 596169"/>
                  <a:gd name="connsiteX48" fmla="*/ 235553 w 3649028"/>
                  <a:gd name="connsiteY48" fmla="*/ 157638 h 596169"/>
                  <a:gd name="connsiteX49" fmla="*/ 235553 w 3649028"/>
                  <a:gd name="connsiteY49" fmla="*/ 163734 h 596169"/>
                  <a:gd name="connsiteX50" fmla="*/ 248222 w 3649028"/>
                  <a:gd name="connsiteY50" fmla="*/ 163734 h 596169"/>
                  <a:gd name="connsiteX51" fmla="*/ 248222 w 3649028"/>
                  <a:gd name="connsiteY51" fmla="*/ 169735 h 596169"/>
                  <a:gd name="connsiteX52" fmla="*/ 277654 w 3649028"/>
                  <a:gd name="connsiteY52" fmla="*/ 169735 h 596169"/>
                  <a:gd name="connsiteX53" fmla="*/ 277654 w 3649028"/>
                  <a:gd name="connsiteY53" fmla="*/ 175831 h 596169"/>
                  <a:gd name="connsiteX54" fmla="*/ 286036 w 3649028"/>
                  <a:gd name="connsiteY54" fmla="*/ 175831 h 596169"/>
                  <a:gd name="connsiteX55" fmla="*/ 286036 w 3649028"/>
                  <a:gd name="connsiteY55" fmla="*/ 181927 h 596169"/>
                  <a:gd name="connsiteX56" fmla="*/ 288131 w 3649028"/>
                  <a:gd name="connsiteY56" fmla="*/ 181927 h 596169"/>
                  <a:gd name="connsiteX57" fmla="*/ 288131 w 3649028"/>
                  <a:gd name="connsiteY57" fmla="*/ 187928 h 596169"/>
                  <a:gd name="connsiteX58" fmla="*/ 302895 w 3649028"/>
                  <a:gd name="connsiteY58" fmla="*/ 187928 h 596169"/>
                  <a:gd name="connsiteX59" fmla="*/ 302895 w 3649028"/>
                  <a:gd name="connsiteY59" fmla="*/ 200120 h 596169"/>
                  <a:gd name="connsiteX60" fmla="*/ 304991 w 3649028"/>
                  <a:gd name="connsiteY60" fmla="*/ 200120 h 596169"/>
                  <a:gd name="connsiteX61" fmla="*/ 304991 w 3649028"/>
                  <a:gd name="connsiteY61" fmla="*/ 206121 h 596169"/>
                  <a:gd name="connsiteX62" fmla="*/ 311277 w 3649028"/>
                  <a:gd name="connsiteY62" fmla="*/ 206121 h 596169"/>
                  <a:gd name="connsiteX63" fmla="*/ 311277 w 3649028"/>
                  <a:gd name="connsiteY63" fmla="*/ 212217 h 596169"/>
                  <a:gd name="connsiteX64" fmla="*/ 315468 w 3649028"/>
                  <a:gd name="connsiteY64" fmla="*/ 212217 h 596169"/>
                  <a:gd name="connsiteX65" fmla="*/ 315468 w 3649028"/>
                  <a:gd name="connsiteY65" fmla="*/ 218313 h 596169"/>
                  <a:gd name="connsiteX66" fmla="*/ 332327 w 3649028"/>
                  <a:gd name="connsiteY66" fmla="*/ 218313 h 596169"/>
                  <a:gd name="connsiteX67" fmla="*/ 332327 w 3649028"/>
                  <a:gd name="connsiteY67" fmla="*/ 230409 h 596169"/>
                  <a:gd name="connsiteX68" fmla="*/ 336518 w 3649028"/>
                  <a:gd name="connsiteY68" fmla="*/ 230409 h 596169"/>
                  <a:gd name="connsiteX69" fmla="*/ 336518 w 3649028"/>
                  <a:gd name="connsiteY69" fmla="*/ 236505 h 596169"/>
                  <a:gd name="connsiteX70" fmla="*/ 359664 w 3649028"/>
                  <a:gd name="connsiteY70" fmla="*/ 236505 h 596169"/>
                  <a:gd name="connsiteX71" fmla="*/ 359664 w 3649028"/>
                  <a:gd name="connsiteY71" fmla="*/ 242601 h 596169"/>
                  <a:gd name="connsiteX72" fmla="*/ 363855 w 3649028"/>
                  <a:gd name="connsiteY72" fmla="*/ 242601 h 596169"/>
                  <a:gd name="connsiteX73" fmla="*/ 363855 w 3649028"/>
                  <a:gd name="connsiteY73" fmla="*/ 248602 h 596169"/>
                  <a:gd name="connsiteX74" fmla="*/ 370142 w 3649028"/>
                  <a:gd name="connsiteY74" fmla="*/ 248602 h 596169"/>
                  <a:gd name="connsiteX75" fmla="*/ 370142 w 3649028"/>
                  <a:gd name="connsiteY75" fmla="*/ 260794 h 596169"/>
                  <a:gd name="connsiteX76" fmla="*/ 389096 w 3649028"/>
                  <a:gd name="connsiteY76" fmla="*/ 260794 h 596169"/>
                  <a:gd name="connsiteX77" fmla="*/ 389096 w 3649028"/>
                  <a:gd name="connsiteY77" fmla="*/ 266795 h 596169"/>
                  <a:gd name="connsiteX78" fmla="*/ 397478 w 3649028"/>
                  <a:gd name="connsiteY78" fmla="*/ 266795 h 596169"/>
                  <a:gd name="connsiteX79" fmla="*/ 397478 w 3649028"/>
                  <a:gd name="connsiteY79" fmla="*/ 272891 h 596169"/>
                  <a:gd name="connsiteX80" fmla="*/ 410147 w 3649028"/>
                  <a:gd name="connsiteY80" fmla="*/ 272891 h 596169"/>
                  <a:gd name="connsiteX81" fmla="*/ 410147 w 3649028"/>
                  <a:gd name="connsiteY81" fmla="*/ 278987 h 596169"/>
                  <a:gd name="connsiteX82" fmla="*/ 427006 w 3649028"/>
                  <a:gd name="connsiteY82" fmla="*/ 278987 h 596169"/>
                  <a:gd name="connsiteX83" fmla="*/ 427006 w 3649028"/>
                  <a:gd name="connsiteY83" fmla="*/ 284988 h 596169"/>
                  <a:gd name="connsiteX84" fmla="*/ 454343 w 3649028"/>
                  <a:gd name="connsiteY84" fmla="*/ 284988 h 596169"/>
                  <a:gd name="connsiteX85" fmla="*/ 454343 w 3649028"/>
                  <a:gd name="connsiteY85" fmla="*/ 291084 h 596169"/>
                  <a:gd name="connsiteX86" fmla="*/ 456438 w 3649028"/>
                  <a:gd name="connsiteY86" fmla="*/ 291084 h 596169"/>
                  <a:gd name="connsiteX87" fmla="*/ 456438 w 3649028"/>
                  <a:gd name="connsiteY87" fmla="*/ 297180 h 596169"/>
                  <a:gd name="connsiteX88" fmla="*/ 466915 w 3649028"/>
                  <a:gd name="connsiteY88" fmla="*/ 297180 h 596169"/>
                  <a:gd name="connsiteX89" fmla="*/ 466915 w 3649028"/>
                  <a:gd name="connsiteY89" fmla="*/ 303180 h 596169"/>
                  <a:gd name="connsiteX90" fmla="*/ 473202 w 3649028"/>
                  <a:gd name="connsiteY90" fmla="*/ 303180 h 596169"/>
                  <a:gd name="connsiteX91" fmla="*/ 473202 w 3649028"/>
                  <a:gd name="connsiteY91" fmla="*/ 315372 h 596169"/>
                  <a:gd name="connsiteX92" fmla="*/ 481679 w 3649028"/>
                  <a:gd name="connsiteY92" fmla="*/ 315372 h 596169"/>
                  <a:gd name="connsiteX93" fmla="*/ 481679 w 3649028"/>
                  <a:gd name="connsiteY93" fmla="*/ 321373 h 596169"/>
                  <a:gd name="connsiteX94" fmla="*/ 487966 w 3649028"/>
                  <a:gd name="connsiteY94" fmla="*/ 321373 h 596169"/>
                  <a:gd name="connsiteX95" fmla="*/ 487966 w 3649028"/>
                  <a:gd name="connsiteY95" fmla="*/ 333565 h 596169"/>
                  <a:gd name="connsiteX96" fmla="*/ 490061 w 3649028"/>
                  <a:gd name="connsiteY96" fmla="*/ 333565 h 596169"/>
                  <a:gd name="connsiteX97" fmla="*/ 490061 w 3649028"/>
                  <a:gd name="connsiteY97" fmla="*/ 339661 h 596169"/>
                  <a:gd name="connsiteX98" fmla="*/ 502634 w 3649028"/>
                  <a:gd name="connsiteY98" fmla="*/ 339661 h 596169"/>
                  <a:gd name="connsiteX99" fmla="*/ 502634 w 3649028"/>
                  <a:gd name="connsiteY99" fmla="*/ 345662 h 596169"/>
                  <a:gd name="connsiteX100" fmla="*/ 525780 w 3649028"/>
                  <a:gd name="connsiteY100" fmla="*/ 345662 h 596169"/>
                  <a:gd name="connsiteX101" fmla="*/ 525780 w 3649028"/>
                  <a:gd name="connsiteY101" fmla="*/ 351758 h 596169"/>
                  <a:gd name="connsiteX102" fmla="*/ 532162 w 3649028"/>
                  <a:gd name="connsiteY102" fmla="*/ 351758 h 596169"/>
                  <a:gd name="connsiteX103" fmla="*/ 532162 w 3649028"/>
                  <a:gd name="connsiteY103" fmla="*/ 357854 h 596169"/>
                  <a:gd name="connsiteX104" fmla="*/ 540544 w 3649028"/>
                  <a:gd name="connsiteY104" fmla="*/ 357854 h 596169"/>
                  <a:gd name="connsiteX105" fmla="*/ 540544 w 3649028"/>
                  <a:gd name="connsiteY105" fmla="*/ 363855 h 596169"/>
                  <a:gd name="connsiteX106" fmla="*/ 548926 w 3649028"/>
                  <a:gd name="connsiteY106" fmla="*/ 363855 h 596169"/>
                  <a:gd name="connsiteX107" fmla="*/ 548926 w 3649028"/>
                  <a:gd name="connsiteY107" fmla="*/ 369951 h 596169"/>
                  <a:gd name="connsiteX108" fmla="*/ 553117 w 3649028"/>
                  <a:gd name="connsiteY108" fmla="*/ 369951 h 596169"/>
                  <a:gd name="connsiteX109" fmla="*/ 553117 w 3649028"/>
                  <a:gd name="connsiteY109" fmla="*/ 376047 h 596169"/>
                  <a:gd name="connsiteX110" fmla="*/ 626745 w 3649028"/>
                  <a:gd name="connsiteY110" fmla="*/ 376047 h 596169"/>
                  <a:gd name="connsiteX111" fmla="*/ 626745 w 3649028"/>
                  <a:gd name="connsiteY111" fmla="*/ 382047 h 596169"/>
                  <a:gd name="connsiteX112" fmla="*/ 647795 w 3649028"/>
                  <a:gd name="connsiteY112" fmla="*/ 382047 h 596169"/>
                  <a:gd name="connsiteX113" fmla="*/ 647795 w 3649028"/>
                  <a:gd name="connsiteY113" fmla="*/ 388143 h 596169"/>
                  <a:gd name="connsiteX114" fmla="*/ 654082 w 3649028"/>
                  <a:gd name="connsiteY114" fmla="*/ 388143 h 596169"/>
                  <a:gd name="connsiteX115" fmla="*/ 654082 w 3649028"/>
                  <a:gd name="connsiteY115" fmla="*/ 394239 h 596169"/>
                  <a:gd name="connsiteX116" fmla="*/ 696182 w 3649028"/>
                  <a:gd name="connsiteY116" fmla="*/ 394239 h 596169"/>
                  <a:gd name="connsiteX117" fmla="*/ 696182 w 3649028"/>
                  <a:gd name="connsiteY117" fmla="*/ 400240 h 596169"/>
                  <a:gd name="connsiteX118" fmla="*/ 710851 w 3649028"/>
                  <a:gd name="connsiteY118" fmla="*/ 400240 h 596169"/>
                  <a:gd name="connsiteX119" fmla="*/ 710851 w 3649028"/>
                  <a:gd name="connsiteY119" fmla="*/ 406336 h 596169"/>
                  <a:gd name="connsiteX120" fmla="*/ 740378 w 3649028"/>
                  <a:gd name="connsiteY120" fmla="*/ 406336 h 596169"/>
                  <a:gd name="connsiteX121" fmla="*/ 740378 w 3649028"/>
                  <a:gd name="connsiteY121" fmla="*/ 412432 h 596169"/>
                  <a:gd name="connsiteX122" fmla="*/ 742474 w 3649028"/>
                  <a:gd name="connsiteY122" fmla="*/ 412432 h 596169"/>
                  <a:gd name="connsiteX123" fmla="*/ 742474 w 3649028"/>
                  <a:gd name="connsiteY123" fmla="*/ 418433 h 596169"/>
                  <a:gd name="connsiteX124" fmla="*/ 765524 w 3649028"/>
                  <a:gd name="connsiteY124" fmla="*/ 418433 h 596169"/>
                  <a:gd name="connsiteX125" fmla="*/ 765524 w 3649028"/>
                  <a:gd name="connsiteY125" fmla="*/ 424529 h 596169"/>
                  <a:gd name="connsiteX126" fmla="*/ 778193 w 3649028"/>
                  <a:gd name="connsiteY126" fmla="*/ 424529 h 596169"/>
                  <a:gd name="connsiteX127" fmla="*/ 778193 w 3649028"/>
                  <a:gd name="connsiteY127" fmla="*/ 430625 h 596169"/>
                  <a:gd name="connsiteX128" fmla="*/ 813911 w 3649028"/>
                  <a:gd name="connsiteY128" fmla="*/ 430625 h 596169"/>
                  <a:gd name="connsiteX129" fmla="*/ 813911 w 3649028"/>
                  <a:gd name="connsiteY129" fmla="*/ 436721 h 596169"/>
                  <a:gd name="connsiteX130" fmla="*/ 929640 w 3649028"/>
                  <a:gd name="connsiteY130" fmla="*/ 436721 h 596169"/>
                  <a:gd name="connsiteX131" fmla="*/ 929640 w 3649028"/>
                  <a:gd name="connsiteY131" fmla="*/ 442722 h 596169"/>
                  <a:gd name="connsiteX132" fmla="*/ 967454 w 3649028"/>
                  <a:gd name="connsiteY132" fmla="*/ 442722 h 596169"/>
                  <a:gd name="connsiteX133" fmla="*/ 967454 w 3649028"/>
                  <a:gd name="connsiteY133" fmla="*/ 448913 h 596169"/>
                  <a:gd name="connsiteX134" fmla="*/ 1020032 w 3649028"/>
                  <a:gd name="connsiteY134" fmla="*/ 448913 h 596169"/>
                  <a:gd name="connsiteX135" fmla="*/ 1020032 w 3649028"/>
                  <a:gd name="connsiteY135" fmla="*/ 455009 h 596169"/>
                  <a:gd name="connsiteX136" fmla="*/ 1038987 w 3649028"/>
                  <a:gd name="connsiteY136" fmla="*/ 455009 h 596169"/>
                  <a:gd name="connsiteX137" fmla="*/ 1038987 w 3649028"/>
                  <a:gd name="connsiteY137" fmla="*/ 461105 h 596169"/>
                  <a:gd name="connsiteX138" fmla="*/ 1049465 w 3649028"/>
                  <a:gd name="connsiteY138" fmla="*/ 461105 h 596169"/>
                  <a:gd name="connsiteX139" fmla="*/ 1049465 w 3649028"/>
                  <a:gd name="connsiteY139" fmla="*/ 467296 h 596169"/>
                  <a:gd name="connsiteX140" fmla="*/ 1083183 w 3649028"/>
                  <a:gd name="connsiteY140" fmla="*/ 467296 h 596169"/>
                  <a:gd name="connsiteX141" fmla="*/ 1083183 w 3649028"/>
                  <a:gd name="connsiteY141" fmla="*/ 473392 h 596169"/>
                  <a:gd name="connsiteX142" fmla="*/ 1089470 w 3649028"/>
                  <a:gd name="connsiteY142" fmla="*/ 473392 h 596169"/>
                  <a:gd name="connsiteX143" fmla="*/ 1089470 w 3649028"/>
                  <a:gd name="connsiteY143" fmla="*/ 479488 h 596169"/>
                  <a:gd name="connsiteX144" fmla="*/ 1104138 w 3649028"/>
                  <a:gd name="connsiteY144" fmla="*/ 479488 h 596169"/>
                  <a:gd name="connsiteX145" fmla="*/ 1104138 w 3649028"/>
                  <a:gd name="connsiteY145" fmla="*/ 485584 h 596169"/>
                  <a:gd name="connsiteX146" fmla="*/ 1116806 w 3649028"/>
                  <a:gd name="connsiteY146" fmla="*/ 485584 h 596169"/>
                  <a:gd name="connsiteX147" fmla="*/ 1116806 w 3649028"/>
                  <a:gd name="connsiteY147" fmla="*/ 491775 h 596169"/>
                  <a:gd name="connsiteX148" fmla="*/ 1142048 w 3649028"/>
                  <a:gd name="connsiteY148" fmla="*/ 491775 h 596169"/>
                  <a:gd name="connsiteX149" fmla="*/ 1142048 w 3649028"/>
                  <a:gd name="connsiteY149" fmla="*/ 497871 h 596169"/>
                  <a:gd name="connsiteX150" fmla="*/ 1371314 w 3649028"/>
                  <a:gd name="connsiteY150" fmla="*/ 497871 h 596169"/>
                  <a:gd name="connsiteX151" fmla="*/ 1371314 w 3649028"/>
                  <a:gd name="connsiteY151" fmla="*/ 504063 h 596169"/>
                  <a:gd name="connsiteX152" fmla="*/ 1484852 w 3649028"/>
                  <a:gd name="connsiteY152" fmla="*/ 504063 h 596169"/>
                  <a:gd name="connsiteX153" fmla="*/ 1484852 w 3649028"/>
                  <a:gd name="connsiteY153" fmla="*/ 510254 h 596169"/>
                  <a:gd name="connsiteX154" fmla="*/ 1754029 w 3649028"/>
                  <a:gd name="connsiteY154" fmla="*/ 510254 h 596169"/>
                  <a:gd name="connsiteX155" fmla="*/ 1754029 w 3649028"/>
                  <a:gd name="connsiteY155" fmla="*/ 516540 h 596169"/>
                  <a:gd name="connsiteX156" fmla="*/ 1827657 w 3649028"/>
                  <a:gd name="connsiteY156" fmla="*/ 516540 h 596169"/>
                  <a:gd name="connsiteX157" fmla="*/ 1827657 w 3649028"/>
                  <a:gd name="connsiteY157" fmla="*/ 522827 h 596169"/>
                  <a:gd name="connsiteX158" fmla="*/ 1907572 w 3649028"/>
                  <a:gd name="connsiteY158" fmla="*/ 522827 h 596169"/>
                  <a:gd name="connsiteX159" fmla="*/ 1907572 w 3649028"/>
                  <a:gd name="connsiteY159" fmla="*/ 529113 h 596169"/>
                  <a:gd name="connsiteX160" fmla="*/ 2069497 w 3649028"/>
                  <a:gd name="connsiteY160" fmla="*/ 529113 h 596169"/>
                  <a:gd name="connsiteX161" fmla="*/ 2069497 w 3649028"/>
                  <a:gd name="connsiteY161" fmla="*/ 535590 h 596169"/>
                  <a:gd name="connsiteX162" fmla="*/ 2086356 w 3649028"/>
                  <a:gd name="connsiteY162" fmla="*/ 535590 h 596169"/>
                  <a:gd name="connsiteX163" fmla="*/ 2086356 w 3649028"/>
                  <a:gd name="connsiteY163" fmla="*/ 541972 h 596169"/>
                  <a:gd name="connsiteX164" fmla="*/ 2204180 w 3649028"/>
                  <a:gd name="connsiteY164" fmla="*/ 541972 h 596169"/>
                  <a:gd name="connsiteX165" fmla="*/ 2204180 w 3649028"/>
                  <a:gd name="connsiteY165" fmla="*/ 548449 h 596169"/>
                  <a:gd name="connsiteX166" fmla="*/ 2296668 w 3649028"/>
                  <a:gd name="connsiteY166" fmla="*/ 548449 h 596169"/>
                  <a:gd name="connsiteX167" fmla="*/ 2296668 w 3649028"/>
                  <a:gd name="connsiteY167" fmla="*/ 554831 h 596169"/>
                  <a:gd name="connsiteX168" fmla="*/ 2315623 w 3649028"/>
                  <a:gd name="connsiteY168" fmla="*/ 554831 h 596169"/>
                  <a:gd name="connsiteX169" fmla="*/ 2315623 w 3649028"/>
                  <a:gd name="connsiteY169" fmla="*/ 561308 h 596169"/>
                  <a:gd name="connsiteX170" fmla="*/ 3169444 w 3649028"/>
                  <a:gd name="connsiteY170" fmla="*/ 561308 h 596169"/>
                  <a:gd name="connsiteX171" fmla="*/ 3169444 w 3649028"/>
                  <a:gd name="connsiteY171" fmla="*/ 596169 h 596169"/>
                  <a:gd name="connsiteX172" fmla="*/ 3649028 w 3649028"/>
                  <a:gd name="connsiteY172" fmla="*/ 596169 h 596169"/>
                  <a:gd name="connsiteX0" fmla="*/ 0 w 3649028"/>
                  <a:gd name="connsiteY0" fmla="*/ 0 h 590169"/>
                  <a:gd name="connsiteX1" fmla="*/ 10573 w 3649028"/>
                  <a:gd name="connsiteY1" fmla="*/ 0 h 590169"/>
                  <a:gd name="connsiteX2" fmla="*/ 10573 w 3649028"/>
                  <a:gd name="connsiteY2" fmla="*/ 6001 h 590169"/>
                  <a:gd name="connsiteX3" fmla="*/ 61055 w 3649028"/>
                  <a:gd name="connsiteY3" fmla="*/ 6001 h 590169"/>
                  <a:gd name="connsiteX4" fmla="*/ 61055 w 3649028"/>
                  <a:gd name="connsiteY4" fmla="*/ 12097 h 590169"/>
                  <a:gd name="connsiteX5" fmla="*/ 69437 w 3649028"/>
                  <a:gd name="connsiteY5" fmla="*/ 12097 h 590169"/>
                  <a:gd name="connsiteX6" fmla="*/ 69437 w 3649028"/>
                  <a:gd name="connsiteY6" fmla="*/ 24194 h 590169"/>
                  <a:gd name="connsiteX7" fmla="*/ 75724 w 3649028"/>
                  <a:gd name="connsiteY7" fmla="*/ 24194 h 590169"/>
                  <a:gd name="connsiteX8" fmla="*/ 75724 w 3649028"/>
                  <a:gd name="connsiteY8" fmla="*/ 30290 h 590169"/>
                  <a:gd name="connsiteX9" fmla="*/ 79915 w 3649028"/>
                  <a:gd name="connsiteY9" fmla="*/ 30290 h 590169"/>
                  <a:gd name="connsiteX10" fmla="*/ 79915 w 3649028"/>
                  <a:gd name="connsiteY10" fmla="*/ 36386 h 590169"/>
                  <a:gd name="connsiteX11" fmla="*/ 84106 w 3649028"/>
                  <a:gd name="connsiteY11" fmla="*/ 36386 h 590169"/>
                  <a:gd name="connsiteX12" fmla="*/ 84106 w 3649028"/>
                  <a:gd name="connsiteY12" fmla="*/ 42482 h 590169"/>
                  <a:gd name="connsiteX13" fmla="*/ 86201 w 3649028"/>
                  <a:gd name="connsiteY13" fmla="*/ 42482 h 590169"/>
                  <a:gd name="connsiteX14" fmla="*/ 86201 w 3649028"/>
                  <a:gd name="connsiteY14" fmla="*/ 48483 h 590169"/>
                  <a:gd name="connsiteX15" fmla="*/ 88392 w 3649028"/>
                  <a:gd name="connsiteY15" fmla="*/ 48483 h 590169"/>
                  <a:gd name="connsiteX16" fmla="*/ 88392 w 3649028"/>
                  <a:gd name="connsiteY16" fmla="*/ 54579 h 590169"/>
                  <a:gd name="connsiteX17" fmla="*/ 98869 w 3649028"/>
                  <a:gd name="connsiteY17" fmla="*/ 54579 h 590169"/>
                  <a:gd name="connsiteX18" fmla="*/ 98869 w 3649028"/>
                  <a:gd name="connsiteY18" fmla="*/ 60675 h 590169"/>
                  <a:gd name="connsiteX19" fmla="*/ 105156 w 3649028"/>
                  <a:gd name="connsiteY19" fmla="*/ 60675 h 590169"/>
                  <a:gd name="connsiteX20" fmla="*/ 105156 w 3649028"/>
                  <a:gd name="connsiteY20" fmla="*/ 66675 h 590169"/>
                  <a:gd name="connsiteX21" fmla="*/ 119920 w 3649028"/>
                  <a:gd name="connsiteY21" fmla="*/ 66675 h 590169"/>
                  <a:gd name="connsiteX22" fmla="*/ 119920 w 3649028"/>
                  <a:gd name="connsiteY22" fmla="*/ 72771 h 590169"/>
                  <a:gd name="connsiteX23" fmla="*/ 128302 w 3649028"/>
                  <a:gd name="connsiteY23" fmla="*/ 72771 h 590169"/>
                  <a:gd name="connsiteX24" fmla="*/ 128302 w 3649028"/>
                  <a:gd name="connsiteY24" fmla="*/ 78867 h 590169"/>
                  <a:gd name="connsiteX25" fmla="*/ 138875 w 3649028"/>
                  <a:gd name="connsiteY25" fmla="*/ 78867 h 590169"/>
                  <a:gd name="connsiteX26" fmla="*/ 138875 w 3649028"/>
                  <a:gd name="connsiteY26" fmla="*/ 84868 h 590169"/>
                  <a:gd name="connsiteX27" fmla="*/ 151448 w 3649028"/>
                  <a:gd name="connsiteY27" fmla="*/ 84868 h 590169"/>
                  <a:gd name="connsiteX28" fmla="*/ 151448 w 3649028"/>
                  <a:gd name="connsiteY28" fmla="*/ 90964 h 590169"/>
                  <a:gd name="connsiteX29" fmla="*/ 157734 w 3649028"/>
                  <a:gd name="connsiteY29" fmla="*/ 90964 h 590169"/>
                  <a:gd name="connsiteX30" fmla="*/ 157734 w 3649028"/>
                  <a:gd name="connsiteY30" fmla="*/ 103061 h 590169"/>
                  <a:gd name="connsiteX31" fmla="*/ 161925 w 3649028"/>
                  <a:gd name="connsiteY31" fmla="*/ 103061 h 590169"/>
                  <a:gd name="connsiteX32" fmla="*/ 161925 w 3649028"/>
                  <a:gd name="connsiteY32" fmla="*/ 109157 h 590169"/>
                  <a:gd name="connsiteX33" fmla="*/ 174593 w 3649028"/>
                  <a:gd name="connsiteY33" fmla="*/ 109157 h 590169"/>
                  <a:gd name="connsiteX34" fmla="*/ 174593 w 3649028"/>
                  <a:gd name="connsiteY34" fmla="*/ 115253 h 590169"/>
                  <a:gd name="connsiteX35" fmla="*/ 189262 w 3649028"/>
                  <a:gd name="connsiteY35" fmla="*/ 115253 h 590169"/>
                  <a:gd name="connsiteX36" fmla="*/ 189262 w 3649028"/>
                  <a:gd name="connsiteY36" fmla="*/ 121254 h 590169"/>
                  <a:gd name="connsiteX37" fmla="*/ 193548 w 3649028"/>
                  <a:gd name="connsiteY37" fmla="*/ 121254 h 590169"/>
                  <a:gd name="connsiteX38" fmla="*/ 193548 w 3649028"/>
                  <a:gd name="connsiteY38" fmla="*/ 127350 h 590169"/>
                  <a:gd name="connsiteX39" fmla="*/ 204025 w 3649028"/>
                  <a:gd name="connsiteY39" fmla="*/ 127350 h 590169"/>
                  <a:gd name="connsiteX40" fmla="*/ 204025 w 3649028"/>
                  <a:gd name="connsiteY40" fmla="*/ 133446 h 590169"/>
                  <a:gd name="connsiteX41" fmla="*/ 212408 w 3649028"/>
                  <a:gd name="connsiteY41" fmla="*/ 133446 h 590169"/>
                  <a:gd name="connsiteX42" fmla="*/ 212408 w 3649028"/>
                  <a:gd name="connsiteY42" fmla="*/ 139542 h 590169"/>
                  <a:gd name="connsiteX43" fmla="*/ 227171 w 3649028"/>
                  <a:gd name="connsiteY43" fmla="*/ 139542 h 590169"/>
                  <a:gd name="connsiteX44" fmla="*/ 227171 w 3649028"/>
                  <a:gd name="connsiteY44" fmla="*/ 145542 h 590169"/>
                  <a:gd name="connsiteX45" fmla="*/ 231362 w 3649028"/>
                  <a:gd name="connsiteY45" fmla="*/ 145542 h 590169"/>
                  <a:gd name="connsiteX46" fmla="*/ 231362 w 3649028"/>
                  <a:gd name="connsiteY46" fmla="*/ 151638 h 590169"/>
                  <a:gd name="connsiteX47" fmla="*/ 235553 w 3649028"/>
                  <a:gd name="connsiteY47" fmla="*/ 151638 h 590169"/>
                  <a:gd name="connsiteX48" fmla="*/ 235553 w 3649028"/>
                  <a:gd name="connsiteY48" fmla="*/ 157734 h 590169"/>
                  <a:gd name="connsiteX49" fmla="*/ 248222 w 3649028"/>
                  <a:gd name="connsiteY49" fmla="*/ 157734 h 590169"/>
                  <a:gd name="connsiteX50" fmla="*/ 248222 w 3649028"/>
                  <a:gd name="connsiteY50" fmla="*/ 163735 h 590169"/>
                  <a:gd name="connsiteX51" fmla="*/ 277654 w 3649028"/>
                  <a:gd name="connsiteY51" fmla="*/ 163735 h 590169"/>
                  <a:gd name="connsiteX52" fmla="*/ 277654 w 3649028"/>
                  <a:gd name="connsiteY52" fmla="*/ 169831 h 590169"/>
                  <a:gd name="connsiteX53" fmla="*/ 286036 w 3649028"/>
                  <a:gd name="connsiteY53" fmla="*/ 169831 h 590169"/>
                  <a:gd name="connsiteX54" fmla="*/ 286036 w 3649028"/>
                  <a:gd name="connsiteY54" fmla="*/ 175927 h 590169"/>
                  <a:gd name="connsiteX55" fmla="*/ 288131 w 3649028"/>
                  <a:gd name="connsiteY55" fmla="*/ 175927 h 590169"/>
                  <a:gd name="connsiteX56" fmla="*/ 288131 w 3649028"/>
                  <a:gd name="connsiteY56" fmla="*/ 181928 h 590169"/>
                  <a:gd name="connsiteX57" fmla="*/ 302895 w 3649028"/>
                  <a:gd name="connsiteY57" fmla="*/ 181928 h 590169"/>
                  <a:gd name="connsiteX58" fmla="*/ 302895 w 3649028"/>
                  <a:gd name="connsiteY58" fmla="*/ 194120 h 590169"/>
                  <a:gd name="connsiteX59" fmla="*/ 304991 w 3649028"/>
                  <a:gd name="connsiteY59" fmla="*/ 194120 h 590169"/>
                  <a:gd name="connsiteX60" fmla="*/ 304991 w 3649028"/>
                  <a:gd name="connsiteY60" fmla="*/ 200121 h 590169"/>
                  <a:gd name="connsiteX61" fmla="*/ 311277 w 3649028"/>
                  <a:gd name="connsiteY61" fmla="*/ 200121 h 590169"/>
                  <a:gd name="connsiteX62" fmla="*/ 311277 w 3649028"/>
                  <a:gd name="connsiteY62" fmla="*/ 206217 h 590169"/>
                  <a:gd name="connsiteX63" fmla="*/ 315468 w 3649028"/>
                  <a:gd name="connsiteY63" fmla="*/ 206217 h 590169"/>
                  <a:gd name="connsiteX64" fmla="*/ 315468 w 3649028"/>
                  <a:gd name="connsiteY64" fmla="*/ 212313 h 590169"/>
                  <a:gd name="connsiteX65" fmla="*/ 332327 w 3649028"/>
                  <a:gd name="connsiteY65" fmla="*/ 212313 h 590169"/>
                  <a:gd name="connsiteX66" fmla="*/ 332327 w 3649028"/>
                  <a:gd name="connsiteY66" fmla="*/ 224409 h 590169"/>
                  <a:gd name="connsiteX67" fmla="*/ 336518 w 3649028"/>
                  <a:gd name="connsiteY67" fmla="*/ 224409 h 590169"/>
                  <a:gd name="connsiteX68" fmla="*/ 336518 w 3649028"/>
                  <a:gd name="connsiteY68" fmla="*/ 230505 h 590169"/>
                  <a:gd name="connsiteX69" fmla="*/ 359664 w 3649028"/>
                  <a:gd name="connsiteY69" fmla="*/ 230505 h 590169"/>
                  <a:gd name="connsiteX70" fmla="*/ 359664 w 3649028"/>
                  <a:gd name="connsiteY70" fmla="*/ 236601 h 590169"/>
                  <a:gd name="connsiteX71" fmla="*/ 363855 w 3649028"/>
                  <a:gd name="connsiteY71" fmla="*/ 236601 h 590169"/>
                  <a:gd name="connsiteX72" fmla="*/ 363855 w 3649028"/>
                  <a:gd name="connsiteY72" fmla="*/ 242602 h 590169"/>
                  <a:gd name="connsiteX73" fmla="*/ 370142 w 3649028"/>
                  <a:gd name="connsiteY73" fmla="*/ 242602 h 590169"/>
                  <a:gd name="connsiteX74" fmla="*/ 370142 w 3649028"/>
                  <a:gd name="connsiteY74" fmla="*/ 254794 h 590169"/>
                  <a:gd name="connsiteX75" fmla="*/ 389096 w 3649028"/>
                  <a:gd name="connsiteY75" fmla="*/ 254794 h 590169"/>
                  <a:gd name="connsiteX76" fmla="*/ 389096 w 3649028"/>
                  <a:gd name="connsiteY76" fmla="*/ 260795 h 590169"/>
                  <a:gd name="connsiteX77" fmla="*/ 397478 w 3649028"/>
                  <a:gd name="connsiteY77" fmla="*/ 260795 h 590169"/>
                  <a:gd name="connsiteX78" fmla="*/ 397478 w 3649028"/>
                  <a:gd name="connsiteY78" fmla="*/ 266891 h 590169"/>
                  <a:gd name="connsiteX79" fmla="*/ 410147 w 3649028"/>
                  <a:gd name="connsiteY79" fmla="*/ 266891 h 590169"/>
                  <a:gd name="connsiteX80" fmla="*/ 410147 w 3649028"/>
                  <a:gd name="connsiteY80" fmla="*/ 272987 h 590169"/>
                  <a:gd name="connsiteX81" fmla="*/ 427006 w 3649028"/>
                  <a:gd name="connsiteY81" fmla="*/ 272987 h 590169"/>
                  <a:gd name="connsiteX82" fmla="*/ 427006 w 3649028"/>
                  <a:gd name="connsiteY82" fmla="*/ 278988 h 590169"/>
                  <a:gd name="connsiteX83" fmla="*/ 454343 w 3649028"/>
                  <a:gd name="connsiteY83" fmla="*/ 278988 h 590169"/>
                  <a:gd name="connsiteX84" fmla="*/ 454343 w 3649028"/>
                  <a:gd name="connsiteY84" fmla="*/ 285084 h 590169"/>
                  <a:gd name="connsiteX85" fmla="*/ 456438 w 3649028"/>
                  <a:gd name="connsiteY85" fmla="*/ 285084 h 590169"/>
                  <a:gd name="connsiteX86" fmla="*/ 456438 w 3649028"/>
                  <a:gd name="connsiteY86" fmla="*/ 291180 h 590169"/>
                  <a:gd name="connsiteX87" fmla="*/ 466915 w 3649028"/>
                  <a:gd name="connsiteY87" fmla="*/ 291180 h 590169"/>
                  <a:gd name="connsiteX88" fmla="*/ 466915 w 3649028"/>
                  <a:gd name="connsiteY88" fmla="*/ 297180 h 590169"/>
                  <a:gd name="connsiteX89" fmla="*/ 473202 w 3649028"/>
                  <a:gd name="connsiteY89" fmla="*/ 297180 h 590169"/>
                  <a:gd name="connsiteX90" fmla="*/ 473202 w 3649028"/>
                  <a:gd name="connsiteY90" fmla="*/ 309372 h 590169"/>
                  <a:gd name="connsiteX91" fmla="*/ 481679 w 3649028"/>
                  <a:gd name="connsiteY91" fmla="*/ 309372 h 590169"/>
                  <a:gd name="connsiteX92" fmla="*/ 481679 w 3649028"/>
                  <a:gd name="connsiteY92" fmla="*/ 315373 h 590169"/>
                  <a:gd name="connsiteX93" fmla="*/ 487966 w 3649028"/>
                  <a:gd name="connsiteY93" fmla="*/ 315373 h 590169"/>
                  <a:gd name="connsiteX94" fmla="*/ 487966 w 3649028"/>
                  <a:gd name="connsiteY94" fmla="*/ 327565 h 590169"/>
                  <a:gd name="connsiteX95" fmla="*/ 490061 w 3649028"/>
                  <a:gd name="connsiteY95" fmla="*/ 327565 h 590169"/>
                  <a:gd name="connsiteX96" fmla="*/ 490061 w 3649028"/>
                  <a:gd name="connsiteY96" fmla="*/ 333661 h 590169"/>
                  <a:gd name="connsiteX97" fmla="*/ 502634 w 3649028"/>
                  <a:gd name="connsiteY97" fmla="*/ 333661 h 590169"/>
                  <a:gd name="connsiteX98" fmla="*/ 502634 w 3649028"/>
                  <a:gd name="connsiteY98" fmla="*/ 339662 h 590169"/>
                  <a:gd name="connsiteX99" fmla="*/ 525780 w 3649028"/>
                  <a:gd name="connsiteY99" fmla="*/ 339662 h 590169"/>
                  <a:gd name="connsiteX100" fmla="*/ 525780 w 3649028"/>
                  <a:gd name="connsiteY100" fmla="*/ 345758 h 590169"/>
                  <a:gd name="connsiteX101" fmla="*/ 532162 w 3649028"/>
                  <a:gd name="connsiteY101" fmla="*/ 345758 h 590169"/>
                  <a:gd name="connsiteX102" fmla="*/ 532162 w 3649028"/>
                  <a:gd name="connsiteY102" fmla="*/ 351854 h 590169"/>
                  <a:gd name="connsiteX103" fmla="*/ 540544 w 3649028"/>
                  <a:gd name="connsiteY103" fmla="*/ 351854 h 590169"/>
                  <a:gd name="connsiteX104" fmla="*/ 540544 w 3649028"/>
                  <a:gd name="connsiteY104" fmla="*/ 357855 h 590169"/>
                  <a:gd name="connsiteX105" fmla="*/ 548926 w 3649028"/>
                  <a:gd name="connsiteY105" fmla="*/ 357855 h 590169"/>
                  <a:gd name="connsiteX106" fmla="*/ 548926 w 3649028"/>
                  <a:gd name="connsiteY106" fmla="*/ 363951 h 590169"/>
                  <a:gd name="connsiteX107" fmla="*/ 553117 w 3649028"/>
                  <a:gd name="connsiteY107" fmla="*/ 363951 h 590169"/>
                  <a:gd name="connsiteX108" fmla="*/ 553117 w 3649028"/>
                  <a:gd name="connsiteY108" fmla="*/ 370047 h 590169"/>
                  <a:gd name="connsiteX109" fmla="*/ 626745 w 3649028"/>
                  <a:gd name="connsiteY109" fmla="*/ 370047 h 590169"/>
                  <a:gd name="connsiteX110" fmla="*/ 626745 w 3649028"/>
                  <a:gd name="connsiteY110" fmla="*/ 376047 h 590169"/>
                  <a:gd name="connsiteX111" fmla="*/ 647795 w 3649028"/>
                  <a:gd name="connsiteY111" fmla="*/ 376047 h 590169"/>
                  <a:gd name="connsiteX112" fmla="*/ 647795 w 3649028"/>
                  <a:gd name="connsiteY112" fmla="*/ 382143 h 590169"/>
                  <a:gd name="connsiteX113" fmla="*/ 654082 w 3649028"/>
                  <a:gd name="connsiteY113" fmla="*/ 382143 h 590169"/>
                  <a:gd name="connsiteX114" fmla="*/ 654082 w 3649028"/>
                  <a:gd name="connsiteY114" fmla="*/ 388239 h 590169"/>
                  <a:gd name="connsiteX115" fmla="*/ 696182 w 3649028"/>
                  <a:gd name="connsiteY115" fmla="*/ 388239 h 590169"/>
                  <a:gd name="connsiteX116" fmla="*/ 696182 w 3649028"/>
                  <a:gd name="connsiteY116" fmla="*/ 394240 h 590169"/>
                  <a:gd name="connsiteX117" fmla="*/ 710851 w 3649028"/>
                  <a:gd name="connsiteY117" fmla="*/ 394240 h 590169"/>
                  <a:gd name="connsiteX118" fmla="*/ 710851 w 3649028"/>
                  <a:gd name="connsiteY118" fmla="*/ 400336 h 590169"/>
                  <a:gd name="connsiteX119" fmla="*/ 740378 w 3649028"/>
                  <a:gd name="connsiteY119" fmla="*/ 400336 h 590169"/>
                  <a:gd name="connsiteX120" fmla="*/ 740378 w 3649028"/>
                  <a:gd name="connsiteY120" fmla="*/ 406432 h 590169"/>
                  <a:gd name="connsiteX121" fmla="*/ 742474 w 3649028"/>
                  <a:gd name="connsiteY121" fmla="*/ 406432 h 590169"/>
                  <a:gd name="connsiteX122" fmla="*/ 742474 w 3649028"/>
                  <a:gd name="connsiteY122" fmla="*/ 412433 h 590169"/>
                  <a:gd name="connsiteX123" fmla="*/ 765524 w 3649028"/>
                  <a:gd name="connsiteY123" fmla="*/ 412433 h 590169"/>
                  <a:gd name="connsiteX124" fmla="*/ 765524 w 3649028"/>
                  <a:gd name="connsiteY124" fmla="*/ 418529 h 590169"/>
                  <a:gd name="connsiteX125" fmla="*/ 778193 w 3649028"/>
                  <a:gd name="connsiteY125" fmla="*/ 418529 h 590169"/>
                  <a:gd name="connsiteX126" fmla="*/ 778193 w 3649028"/>
                  <a:gd name="connsiteY126" fmla="*/ 424625 h 590169"/>
                  <a:gd name="connsiteX127" fmla="*/ 813911 w 3649028"/>
                  <a:gd name="connsiteY127" fmla="*/ 424625 h 590169"/>
                  <a:gd name="connsiteX128" fmla="*/ 813911 w 3649028"/>
                  <a:gd name="connsiteY128" fmla="*/ 430721 h 590169"/>
                  <a:gd name="connsiteX129" fmla="*/ 929640 w 3649028"/>
                  <a:gd name="connsiteY129" fmla="*/ 430721 h 590169"/>
                  <a:gd name="connsiteX130" fmla="*/ 929640 w 3649028"/>
                  <a:gd name="connsiteY130" fmla="*/ 436722 h 590169"/>
                  <a:gd name="connsiteX131" fmla="*/ 967454 w 3649028"/>
                  <a:gd name="connsiteY131" fmla="*/ 436722 h 590169"/>
                  <a:gd name="connsiteX132" fmla="*/ 967454 w 3649028"/>
                  <a:gd name="connsiteY132" fmla="*/ 442913 h 590169"/>
                  <a:gd name="connsiteX133" fmla="*/ 1020032 w 3649028"/>
                  <a:gd name="connsiteY133" fmla="*/ 442913 h 590169"/>
                  <a:gd name="connsiteX134" fmla="*/ 1020032 w 3649028"/>
                  <a:gd name="connsiteY134" fmla="*/ 449009 h 590169"/>
                  <a:gd name="connsiteX135" fmla="*/ 1038987 w 3649028"/>
                  <a:gd name="connsiteY135" fmla="*/ 449009 h 590169"/>
                  <a:gd name="connsiteX136" fmla="*/ 1038987 w 3649028"/>
                  <a:gd name="connsiteY136" fmla="*/ 455105 h 590169"/>
                  <a:gd name="connsiteX137" fmla="*/ 1049465 w 3649028"/>
                  <a:gd name="connsiteY137" fmla="*/ 455105 h 590169"/>
                  <a:gd name="connsiteX138" fmla="*/ 1049465 w 3649028"/>
                  <a:gd name="connsiteY138" fmla="*/ 461296 h 590169"/>
                  <a:gd name="connsiteX139" fmla="*/ 1083183 w 3649028"/>
                  <a:gd name="connsiteY139" fmla="*/ 461296 h 590169"/>
                  <a:gd name="connsiteX140" fmla="*/ 1083183 w 3649028"/>
                  <a:gd name="connsiteY140" fmla="*/ 467392 h 590169"/>
                  <a:gd name="connsiteX141" fmla="*/ 1089470 w 3649028"/>
                  <a:gd name="connsiteY141" fmla="*/ 467392 h 590169"/>
                  <a:gd name="connsiteX142" fmla="*/ 1089470 w 3649028"/>
                  <a:gd name="connsiteY142" fmla="*/ 473488 h 590169"/>
                  <a:gd name="connsiteX143" fmla="*/ 1104138 w 3649028"/>
                  <a:gd name="connsiteY143" fmla="*/ 473488 h 590169"/>
                  <a:gd name="connsiteX144" fmla="*/ 1104138 w 3649028"/>
                  <a:gd name="connsiteY144" fmla="*/ 479584 h 590169"/>
                  <a:gd name="connsiteX145" fmla="*/ 1116806 w 3649028"/>
                  <a:gd name="connsiteY145" fmla="*/ 479584 h 590169"/>
                  <a:gd name="connsiteX146" fmla="*/ 1116806 w 3649028"/>
                  <a:gd name="connsiteY146" fmla="*/ 485775 h 590169"/>
                  <a:gd name="connsiteX147" fmla="*/ 1142048 w 3649028"/>
                  <a:gd name="connsiteY147" fmla="*/ 485775 h 590169"/>
                  <a:gd name="connsiteX148" fmla="*/ 1142048 w 3649028"/>
                  <a:gd name="connsiteY148" fmla="*/ 491871 h 590169"/>
                  <a:gd name="connsiteX149" fmla="*/ 1371314 w 3649028"/>
                  <a:gd name="connsiteY149" fmla="*/ 491871 h 590169"/>
                  <a:gd name="connsiteX150" fmla="*/ 1371314 w 3649028"/>
                  <a:gd name="connsiteY150" fmla="*/ 498063 h 590169"/>
                  <a:gd name="connsiteX151" fmla="*/ 1484852 w 3649028"/>
                  <a:gd name="connsiteY151" fmla="*/ 498063 h 590169"/>
                  <a:gd name="connsiteX152" fmla="*/ 1484852 w 3649028"/>
                  <a:gd name="connsiteY152" fmla="*/ 504254 h 590169"/>
                  <a:gd name="connsiteX153" fmla="*/ 1754029 w 3649028"/>
                  <a:gd name="connsiteY153" fmla="*/ 504254 h 590169"/>
                  <a:gd name="connsiteX154" fmla="*/ 1754029 w 3649028"/>
                  <a:gd name="connsiteY154" fmla="*/ 510540 h 590169"/>
                  <a:gd name="connsiteX155" fmla="*/ 1827657 w 3649028"/>
                  <a:gd name="connsiteY155" fmla="*/ 510540 h 590169"/>
                  <a:gd name="connsiteX156" fmla="*/ 1827657 w 3649028"/>
                  <a:gd name="connsiteY156" fmla="*/ 516827 h 590169"/>
                  <a:gd name="connsiteX157" fmla="*/ 1907572 w 3649028"/>
                  <a:gd name="connsiteY157" fmla="*/ 516827 h 590169"/>
                  <a:gd name="connsiteX158" fmla="*/ 1907572 w 3649028"/>
                  <a:gd name="connsiteY158" fmla="*/ 523113 h 590169"/>
                  <a:gd name="connsiteX159" fmla="*/ 2069497 w 3649028"/>
                  <a:gd name="connsiteY159" fmla="*/ 523113 h 590169"/>
                  <a:gd name="connsiteX160" fmla="*/ 2069497 w 3649028"/>
                  <a:gd name="connsiteY160" fmla="*/ 529590 h 590169"/>
                  <a:gd name="connsiteX161" fmla="*/ 2086356 w 3649028"/>
                  <a:gd name="connsiteY161" fmla="*/ 529590 h 590169"/>
                  <a:gd name="connsiteX162" fmla="*/ 2086356 w 3649028"/>
                  <a:gd name="connsiteY162" fmla="*/ 535972 h 590169"/>
                  <a:gd name="connsiteX163" fmla="*/ 2204180 w 3649028"/>
                  <a:gd name="connsiteY163" fmla="*/ 535972 h 590169"/>
                  <a:gd name="connsiteX164" fmla="*/ 2204180 w 3649028"/>
                  <a:gd name="connsiteY164" fmla="*/ 542449 h 590169"/>
                  <a:gd name="connsiteX165" fmla="*/ 2296668 w 3649028"/>
                  <a:gd name="connsiteY165" fmla="*/ 542449 h 590169"/>
                  <a:gd name="connsiteX166" fmla="*/ 2296668 w 3649028"/>
                  <a:gd name="connsiteY166" fmla="*/ 548831 h 590169"/>
                  <a:gd name="connsiteX167" fmla="*/ 2315623 w 3649028"/>
                  <a:gd name="connsiteY167" fmla="*/ 548831 h 590169"/>
                  <a:gd name="connsiteX168" fmla="*/ 2315623 w 3649028"/>
                  <a:gd name="connsiteY168" fmla="*/ 555308 h 590169"/>
                  <a:gd name="connsiteX169" fmla="*/ 3169444 w 3649028"/>
                  <a:gd name="connsiteY169" fmla="*/ 555308 h 590169"/>
                  <a:gd name="connsiteX170" fmla="*/ 3169444 w 3649028"/>
                  <a:gd name="connsiteY170" fmla="*/ 590169 h 590169"/>
                  <a:gd name="connsiteX171" fmla="*/ 3649028 w 3649028"/>
                  <a:gd name="connsiteY171" fmla="*/ 590169 h 590169"/>
                  <a:gd name="connsiteX0" fmla="*/ 0 w 3638455"/>
                  <a:gd name="connsiteY0" fmla="*/ 0 h 590169"/>
                  <a:gd name="connsiteX1" fmla="*/ 0 w 3638455"/>
                  <a:gd name="connsiteY1" fmla="*/ 6001 h 590169"/>
                  <a:gd name="connsiteX2" fmla="*/ 50482 w 3638455"/>
                  <a:gd name="connsiteY2" fmla="*/ 6001 h 590169"/>
                  <a:gd name="connsiteX3" fmla="*/ 50482 w 3638455"/>
                  <a:gd name="connsiteY3" fmla="*/ 12097 h 590169"/>
                  <a:gd name="connsiteX4" fmla="*/ 58864 w 3638455"/>
                  <a:gd name="connsiteY4" fmla="*/ 12097 h 590169"/>
                  <a:gd name="connsiteX5" fmla="*/ 58864 w 3638455"/>
                  <a:gd name="connsiteY5" fmla="*/ 24194 h 590169"/>
                  <a:gd name="connsiteX6" fmla="*/ 65151 w 3638455"/>
                  <a:gd name="connsiteY6" fmla="*/ 24194 h 590169"/>
                  <a:gd name="connsiteX7" fmla="*/ 65151 w 3638455"/>
                  <a:gd name="connsiteY7" fmla="*/ 30290 h 590169"/>
                  <a:gd name="connsiteX8" fmla="*/ 69342 w 3638455"/>
                  <a:gd name="connsiteY8" fmla="*/ 30290 h 590169"/>
                  <a:gd name="connsiteX9" fmla="*/ 69342 w 3638455"/>
                  <a:gd name="connsiteY9" fmla="*/ 36386 h 590169"/>
                  <a:gd name="connsiteX10" fmla="*/ 73533 w 3638455"/>
                  <a:gd name="connsiteY10" fmla="*/ 36386 h 590169"/>
                  <a:gd name="connsiteX11" fmla="*/ 73533 w 3638455"/>
                  <a:gd name="connsiteY11" fmla="*/ 42482 h 590169"/>
                  <a:gd name="connsiteX12" fmla="*/ 75628 w 3638455"/>
                  <a:gd name="connsiteY12" fmla="*/ 42482 h 590169"/>
                  <a:gd name="connsiteX13" fmla="*/ 75628 w 3638455"/>
                  <a:gd name="connsiteY13" fmla="*/ 48483 h 590169"/>
                  <a:gd name="connsiteX14" fmla="*/ 77819 w 3638455"/>
                  <a:gd name="connsiteY14" fmla="*/ 48483 h 590169"/>
                  <a:gd name="connsiteX15" fmla="*/ 77819 w 3638455"/>
                  <a:gd name="connsiteY15" fmla="*/ 54579 h 590169"/>
                  <a:gd name="connsiteX16" fmla="*/ 88296 w 3638455"/>
                  <a:gd name="connsiteY16" fmla="*/ 54579 h 590169"/>
                  <a:gd name="connsiteX17" fmla="*/ 88296 w 3638455"/>
                  <a:gd name="connsiteY17" fmla="*/ 60675 h 590169"/>
                  <a:gd name="connsiteX18" fmla="*/ 94583 w 3638455"/>
                  <a:gd name="connsiteY18" fmla="*/ 60675 h 590169"/>
                  <a:gd name="connsiteX19" fmla="*/ 94583 w 3638455"/>
                  <a:gd name="connsiteY19" fmla="*/ 66675 h 590169"/>
                  <a:gd name="connsiteX20" fmla="*/ 109347 w 3638455"/>
                  <a:gd name="connsiteY20" fmla="*/ 66675 h 590169"/>
                  <a:gd name="connsiteX21" fmla="*/ 109347 w 3638455"/>
                  <a:gd name="connsiteY21" fmla="*/ 72771 h 590169"/>
                  <a:gd name="connsiteX22" fmla="*/ 117729 w 3638455"/>
                  <a:gd name="connsiteY22" fmla="*/ 72771 h 590169"/>
                  <a:gd name="connsiteX23" fmla="*/ 117729 w 3638455"/>
                  <a:gd name="connsiteY23" fmla="*/ 78867 h 590169"/>
                  <a:gd name="connsiteX24" fmla="*/ 128302 w 3638455"/>
                  <a:gd name="connsiteY24" fmla="*/ 78867 h 590169"/>
                  <a:gd name="connsiteX25" fmla="*/ 128302 w 3638455"/>
                  <a:gd name="connsiteY25" fmla="*/ 84868 h 590169"/>
                  <a:gd name="connsiteX26" fmla="*/ 140875 w 3638455"/>
                  <a:gd name="connsiteY26" fmla="*/ 84868 h 590169"/>
                  <a:gd name="connsiteX27" fmla="*/ 140875 w 3638455"/>
                  <a:gd name="connsiteY27" fmla="*/ 90964 h 590169"/>
                  <a:gd name="connsiteX28" fmla="*/ 147161 w 3638455"/>
                  <a:gd name="connsiteY28" fmla="*/ 90964 h 590169"/>
                  <a:gd name="connsiteX29" fmla="*/ 147161 w 3638455"/>
                  <a:gd name="connsiteY29" fmla="*/ 103061 h 590169"/>
                  <a:gd name="connsiteX30" fmla="*/ 151352 w 3638455"/>
                  <a:gd name="connsiteY30" fmla="*/ 103061 h 590169"/>
                  <a:gd name="connsiteX31" fmla="*/ 151352 w 3638455"/>
                  <a:gd name="connsiteY31" fmla="*/ 109157 h 590169"/>
                  <a:gd name="connsiteX32" fmla="*/ 164020 w 3638455"/>
                  <a:gd name="connsiteY32" fmla="*/ 109157 h 590169"/>
                  <a:gd name="connsiteX33" fmla="*/ 164020 w 3638455"/>
                  <a:gd name="connsiteY33" fmla="*/ 115253 h 590169"/>
                  <a:gd name="connsiteX34" fmla="*/ 178689 w 3638455"/>
                  <a:gd name="connsiteY34" fmla="*/ 115253 h 590169"/>
                  <a:gd name="connsiteX35" fmla="*/ 178689 w 3638455"/>
                  <a:gd name="connsiteY35" fmla="*/ 121254 h 590169"/>
                  <a:gd name="connsiteX36" fmla="*/ 182975 w 3638455"/>
                  <a:gd name="connsiteY36" fmla="*/ 121254 h 590169"/>
                  <a:gd name="connsiteX37" fmla="*/ 182975 w 3638455"/>
                  <a:gd name="connsiteY37" fmla="*/ 127350 h 590169"/>
                  <a:gd name="connsiteX38" fmla="*/ 193452 w 3638455"/>
                  <a:gd name="connsiteY38" fmla="*/ 127350 h 590169"/>
                  <a:gd name="connsiteX39" fmla="*/ 193452 w 3638455"/>
                  <a:gd name="connsiteY39" fmla="*/ 133446 h 590169"/>
                  <a:gd name="connsiteX40" fmla="*/ 201835 w 3638455"/>
                  <a:gd name="connsiteY40" fmla="*/ 133446 h 590169"/>
                  <a:gd name="connsiteX41" fmla="*/ 201835 w 3638455"/>
                  <a:gd name="connsiteY41" fmla="*/ 139542 h 590169"/>
                  <a:gd name="connsiteX42" fmla="*/ 216598 w 3638455"/>
                  <a:gd name="connsiteY42" fmla="*/ 139542 h 590169"/>
                  <a:gd name="connsiteX43" fmla="*/ 216598 w 3638455"/>
                  <a:gd name="connsiteY43" fmla="*/ 145542 h 590169"/>
                  <a:gd name="connsiteX44" fmla="*/ 220789 w 3638455"/>
                  <a:gd name="connsiteY44" fmla="*/ 145542 h 590169"/>
                  <a:gd name="connsiteX45" fmla="*/ 220789 w 3638455"/>
                  <a:gd name="connsiteY45" fmla="*/ 151638 h 590169"/>
                  <a:gd name="connsiteX46" fmla="*/ 224980 w 3638455"/>
                  <a:gd name="connsiteY46" fmla="*/ 151638 h 590169"/>
                  <a:gd name="connsiteX47" fmla="*/ 224980 w 3638455"/>
                  <a:gd name="connsiteY47" fmla="*/ 157734 h 590169"/>
                  <a:gd name="connsiteX48" fmla="*/ 237649 w 3638455"/>
                  <a:gd name="connsiteY48" fmla="*/ 157734 h 590169"/>
                  <a:gd name="connsiteX49" fmla="*/ 237649 w 3638455"/>
                  <a:gd name="connsiteY49" fmla="*/ 163735 h 590169"/>
                  <a:gd name="connsiteX50" fmla="*/ 267081 w 3638455"/>
                  <a:gd name="connsiteY50" fmla="*/ 163735 h 590169"/>
                  <a:gd name="connsiteX51" fmla="*/ 267081 w 3638455"/>
                  <a:gd name="connsiteY51" fmla="*/ 169831 h 590169"/>
                  <a:gd name="connsiteX52" fmla="*/ 275463 w 3638455"/>
                  <a:gd name="connsiteY52" fmla="*/ 169831 h 590169"/>
                  <a:gd name="connsiteX53" fmla="*/ 275463 w 3638455"/>
                  <a:gd name="connsiteY53" fmla="*/ 175927 h 590169"/>
                  <a:gd name="connsiteX54" fmla="*/ 277558 w 3638455"/>
                  <a:gd name="connsiteY54" fmla="*/ 175927 h 590169"/>
                  <a:gd name="connsiteX55" fmla="*/ 277558 w 3638455"/>
                  <a:gd name="connsiteY55" fmla="*/ 181928 h 590169"/>
                  <a:gd name="connsiteX56" fmla="*/ 292322 w 3638455"/>
                  <a:gd name="connsiteY56" fmla="*/ 181928 h 590169"/>
                  <a:gd name="connsiteX57" fmla="*/ 292322 w 3638455"/>
                  <a:gd name="connsiteY57" fmla="*/ 194120 h 590169"/>
                  <a:gd name="connsiteX58" fmla="*/ 294418 w 3638455"/>
                  <a:gd name="connsiteY58" fmla="*/ 194120 h 590169"/>
                  <a:gd name="connsiteX59" fmla="*/ 294418 w 3638455"/>
                  <a:gd name="connsiteY59" fmla="*/ 200121 h 590169"/>
                  <a:gd name="connsiteX60" fmla="*/ 300704 w 3638455"/>
                  <a:gd name="connsiteY60" fmla="*/ 200121 h 590169"/>
                  <a:gd name="connsiteX61" fmla="*/ 300704 w 3638455"/>
                  <a:gd name="connsiteY61" fmla="*/ 206217 h 590169"/>
                  <a:gd name="connsiteX62" fmla="*/ 304895 w 3638455"/>
                  <a:gd name="connsiteY62" fmla="*/ 206217 h 590169"/>
                  <a:gd name="connsiteX63" fmla="*/ 304895 w 3638455"/>
                  <a:gd name="connsiteY63" fmla="*/ 212313 h 590169"/>
                  <a:gd name="connsiteX64" fmla="*/ 321754 w 3638455"/>
                  <a:gd name="connsiteY64" fmla="*/ 212313 h 590169"/>
                  <a:gd name="connsiteX65" fmla="*/ 321754 w 3638455"/>
                  <a:gd name="connsiteY65" fmla="*/ 224409 h 590169"/>
                  <a:gd name="connsiteX66" fmla="*/ 325945 w 3638455"/>
                  <a:gd name="connsiteY66" fmla="*/ 224409 h 590169"/>
                  <a:gd name="connsiteX67" fmla="*/ 325945 w 3638455"/>
                  <a:gd name="connsiteY67" fmla="*/ 230505 h 590169"/>
                  <a:gd name="connsiteX68" fmla="*/ 349091 w 3638455"/>
                  <a:gd name="connsiteY68" fmla="*/ 230505 h 590169"/>
                  <a:gd name="connsiteX69" fmla="*/ 349091 w 3638455"/>
                  <a:gd name="connsiteY69" fmla="*/ 236601 h 590169"/>
                  <a:gd name="connsiteX70" fmla="*/ 353282 w 3638455"/>
                  <a:gd name="connsiteY70" fmla="*/ 236601 h 590169"/>
                  <a:gd name="connsiteX71" fmla="*/ 353282 w 3638455"/>
                  <a:gd name="connsiteY71" fmla="*/ 242602 h 590169"/>
                  <a:gd name="connsiteX72" fmla="*/ 359569 w 3638455"/>
                  <a:gd name="connsiteY72" fmla="*/ 242602 h 590169"/>
                  <a:gd name="connsiteX73" fmla="*/ 359569 w 3638455"/>
                  <a:gd name="connsiteY73" fmla="*/ 254794 h 590169"/>
                  <a:gd name="connsiteX74" fmla="*/ 378523 w 3638455"/>
                  <a:gd name="connsiteY74" fmla="*/ 254794 h 590169"/>
                  <a:gd name="connsiteX75" fmla="*/ 378523 w 3638455"/>
                  <a:gd name="connsiteY75" fmla="*/ 260795 h 590169"/>
                  <a:gd name="connsiteX76" fmla="*/ 386905 w 3638455"/>
                  <a:gd name="connsiteY76" fmla="*/ 260795 h 590169"/>
                  <a:gd name="connsiteX77" fmla="*/ 386905 w 3638455"/>
                  <a:gd name="connsiteY77" fmla="*/ 266891 h 590169"/>
                  <a:gd name="connsiteX78" fmla="*/ 399574 w 3638455"/>
                  <a:gd name="connsiteY78" fmla="*/ 266891 h 590169"/>
                  <a:gd name="connsiteX79" fmla="*/ 399574 w 3638455"/>
                  <a:gd name="connsiteY79" fmla="*/ 272987 h 590169"/>
                  <a:gd name="connsiteX80" fmla="*/ 416433 w 3638455"/>
                  <a:gd name="connsiteY80" fmla="*/ 272987 h 590169"/>
                  <a:gd name="connsiteX81" fmla="*/ 416433 w 3638455"/>
                  <a:gd name="connsiteY81" fmla="*/ 278988 h 590169"/>
                  <a:gd name="connsiteX82" fmla="*/ 443770 w 3638455"/>
                  <a:gd name="connsiteY82" fmla="*/ 278988 h 590169"/>
                  <a:gd name="connsiteX83" fmla="*/ 443770 w 3638455"/>
                  <a:gd name="connsiteY83" fmla="*/ 285084 h 590169"/>
                  <a:gd name="connsiteX84" fmla="*/ 445865 w 3638455"/>
                  <a:gd name="connsiteY84" fmla="*/ 285084 h 590169"/>
                  <a:gd name="connsiteX85" fmla="*/ 445865 w 3638455"/>
                  <a:gd name="connsiteY85" fmla="*/ 291180 h 590169"/>
                  <a:gd name="connsiteX86" fmla="*/ 456342 w 3638455"/>
                  <a:gd name="connsiteY86" fmla="*/ 291180 h 590169"/>
                  <a:gd name="connsiteX87" fmla="*/ 456342 w 3638455"/>
                  <a:gd name="connsiteY87" fmla="*/ 297180 h 590169"/>
                  <a:gd name="connsiteX88" fmla="*/ 462629 w 3638455"/>
                  <a:gd name="connsiteY88" fmla="*/ 297180 h 590169"/>
                  <a:gd name="connsiteX89" fmla="*/ 462629 w 3638455"/>
                  <a:gd name="connsiteY89" fmla="*/ 309372 h 590169"/>
                  <a:gd name="connsiteX90" fmla="*/ 471106 w 3638455"/>
                  <a:gd name="connsiteY90" fmla="*/ 309372 h 590169"/>
                  <a:gd name="connsiteX91" fmla="*/ 471106 w 3638455"/>
                  <a:gd name="connsiteY91" fmla="*/ 315373 h 590169"/>
                  <a:gd name="connsiteX92" fmla="*/ 477393 w 3638455"/>
                  <a:gd name="connsiteY92" fmla="*/ 315373 h 590169"/>
                  <a:gd name="connsiteX93" fmla="*/ 477393 w 3638455"/>
                  <a:gd name="connsiteY93" fmla="*/ 327565 h 590169"/>
                  <a:gd name="connsiteX94" fmla="*/ 479488 w 3638455"/>
                  <a:gd name="connsiteY94" fmla="*/ 327565 h 590169"/>
                  <a:gd name="connsiteX95" fmla="*/ 479488 w 3638455"/>
                  <a:gd name="connsiteY95" fmla="*/ 333661 h 590169"/>
                  <a:gd name="connsiteX96" fmla="*/ 492061 w 3638455"/>
                  <a:gd name="connsiteY96" fmla="*/ 333661 h 590169"/>
                  <a:gd name="connsiteX97" fmla="*/ 492061 w 3638455"/>
                  <a:gd name="connsiteY97" fmla="*/ 339662 h 590169"/>
                  <a:gd name="connsiteX98" fmla="*/ 515207 w 3638455"/>
                  <a:gd name="connsiteY98" fmla="*/ 339662 h 590169"/>
                  <a:gd name="connsiteX99" fmla="*/ 515207 w 3638455"/>
                  <a:gd name="connsiteY99" fmla="*/ 345758 h 590169"/>
                  <a:gd name="connsiteX100" fmla="*/ 521589 w 3638455"/>
                  <a:gd name="connsiteY100" fmla="*/ 345758 h 590169"/>
                  <a:gd name="connsiteX101" fmla="*/ 521589 w 3638455"/>
                  <a:gd name="connsiteY101" fmla="*/ 351854 h 590169"/>
                  <a:gd name="connsiteX102" fmla="*/ 529971 w 3638455"/>
                  <a:gd name="connsiteY102" fmla="*/ 351854 h 590169"/>
                  <a:gd name="connsiteX103" fmla="*/ 529971 w 3638455"/>
                  <a:gd name="connsiteY103" fmla="*/ 357855 h 590169"/>
                  <a:gd name="connsiteX104" fmla="*/ 538353 w 3638455"/>
                  <a:gd name="connsiteY104" fmla="*/ 357855 h 590169"/>
                  <a:gd name="connsiteX105" fmla="*/ 538353 w 3638455"/>
                  <a:gd name="connsiteY105" fmla="*/ 363951 h 590169"/>
                  <a:gd name="connsiteX106" fmla="*/ 542544 w 3638455"/>
                  <a:gd name="connsiteY106" fmla="*/ 363951 h 590169"/>
                  <a:gd name="connsiteX107" fmla="*/ 542544 w 3638455"/>
                  <a:gd name="connsiteY107" fmla="*/ 370047 h 590169"/>
                  <a:gd name="connsiteX108" fmla="*/ 616172 w 3638455"/>
                  <a:gd name="connsiteY108" fmla="*/ 370047 h 590169"/>
                  <a:gd name="connsiteX109" fmla="*/ 616172 w 3638455"/>
                  <a:gd name="connsiteY109" fmla="*/ 376047 h 590169"/>
                  <a:gd name="connsiteX110" fmla="*/ 637222 w 3638455"/>
                  <a:gd name="connsiteY110" fmla="*/ 376047 h 590169"/>
                  <a:gd name="connsiteX111" fmla="*/ 637222 w 3638455"/>
                  <a:gd name="connsiteY111" fmla="*/ 382143 h 590169"/>
                  <a:gd name="connsiteX112" fmla="*/ 643509 w 3638455"/>
                  <a:gd name="connsiteY112" fmla="*/ 382143 h 590169"/>
                  <a:gd name="connsiteX113" fmla="*/ 643509 w 3638455"/>
                  <a:gd name="connsiteY113" fmla="*/ 388239 h 590169"/>
                  <a:gd name="connsiteX114" fmla="*/ 685609 w 3638455"/>
                  <a:gd name="connsiteY114" fmla="*/ 388239 h 590169"/>
                  <a:gd name="connsiteX115" fmla="*/ 685609 w 3638455"/>
                  <a:gd name="connsiteY115" fmla="*/ 394240 h 590169"/>
                  <a:gd name="connsiteX116" fmla="*/ 700278 w 3638455"/>
                  <a:gd name="connsiteY116" fmla="*/ 394240 h 590169"/>
                  <a:gd name="connsiteX117" fmla="*/ 700278 w 3638455"/>
                  <a:gd name="connsiteY117" fmla="*/ 400336 h 590169"/>
                  <a:gd name="connsiteX118" fmla="*/ 729805 w 3638455"/>
                  <a:gd name="connsiteY118" fmla="*/ 400336 h 590169"/>
                  <a:gd name="connsiteX119" fmla="*/ 729805 w 3638455"/>
                  <a:gd name="connsiteY119" fmla="*/ 406432 h 590169"/>
                  <a:gd name="connsiteX120" fmla="*/ 731901 w 3638455"/>
                  <a:gd name="connsiteY120" fmla="*/ 406432 h 590169"/>
                  <a:gd name="connsiteX121" fmla="*/ 731901 w 3638455"/>
                  <a:gd name="connsiteY121" fmla="*/ 412433 h 590169"/>
                  <a:gd name="connsiteX122" fmla="*/ 754951 w 3638455"/>
                  <a:gd name="connsiteY122" fmla="*/ 412433 h 590169"/>
                  <a:gd name="connsiteX123" fmla="*/ 754951 w 3638455"/>
                  <a:gd name="connsiteY123" fmla="*/ 418529 h 590169"/>
                  <a:gd name="connsiteX124" fmla="*/ 767620 w 3638455"/>
                  <a:gd name="connsiteY124" fmla="*/ 418529 h 590169"/>
                  <a:gd name="connsiteX125" fmla="*/ 767620 w 3638455"/>
                  <a:gd name="connsiteY125" fmla="*/ 424625 h 590169"/>
                  <a:gd name="connsiteX126" fmla="*/ 803338 w 3638455"/>
                  <a:gd name="connsiteY126" fmla="*/ 424625 h 590169"/>
                  <a:gd name="connsiteX127" fmla="*/ 803338 w 3638455"/>
                  <a:gd name="connsiteY127" fmla="*/ 430721 h 590169"/>
                  <a:gd name="connsiteX128" fmla="*/ 919067 w 3638455"/>
                  <a:gd name="connsiteY128" fmla="*/ 430721 h 590169"/>
                  <a:gd name="connsiteX129" fmla="*/ 919067 w 3638455"/>
                  <a:gd name="connsiteY129" fmla="*/ 436722 h 590169"/>
                  <a:gd name="connsiteX130" fmla="*/ 956881 w 3638455"/>
                  <a:gd name="connsiteY130" fmla="*/ 436722 h 590169"/>
                  <a:gd name="connsiteX131" fmla="*/ 956881 w 3638455"/>
                  <a:gd name="connsiteY131" fmla="*/ 442913 h 590169"/>
                  <a:gd name="connsiteX132" fmla="*/ 1009459 w 3638455"/>
                  <a:gd name="connsiteY132" fmla="*/ 442913 h 590169"/>
                  <a:gd name="connsiteX133" fmla="*/ 1009459 w 3638455"/>
                  <a:gd name="connsiteY133" fmla="*/ 449009 h 590169"/>
                  <a:gd name="connsiteX134" fmla="*/ 1028414 w 3638455"/>
                  <a:gd name="connsiteY134" fmla="*/ 449009 h 590169"/>
                  <a:gd name="connsiteX135" fmla="*/ 1028414 w 3638455"/>
                  <a:gd name="connsiteY135" fmla="*/ 455105 h 590169"/>
                  <a:gd name="connsiteX136" fmla="*/ 1038892 w 3638455"/>
                  <a:gd name="connsiteY136" fmla="*/ 455105 h 590169"/>
                  <a:gd name="connsiteX137" fmla="*/ 1038892 w 3638455"/>
                  <a:gd name="connsiteY137" fmla="*/ 461296 h 590169"/>
                  <a:gd name="connsiteX138" fmla="*/ 1072610 w 3638455"/>
                  <a:gd name="connsiteY138" fmla="*/ 461296 h 590169"/>
                  <a:gd name="connsiteX139" fmla="*/ 1072610 w 3638455"/>
                  <a:gd name="connsiteY139" fmla="*/ 467392 h 590169"/>
                  <a:gd name="connsiteX140" fmla="*/ 1078897 w 3638455"/>
                  <a:gd name="connsiteY140" fmla="*/ 467392 h 590169"/>
                  <a:gd name="connsiteX141" fmla="*/ 1078897 w 3638455"/>
                  <a:gd name="connsiteY141" fmla="*/ 473488 h 590169"/>
                  <a:gd name="connsiteX142" fmla="*/ 1093565 w 3638455"/>
                  <a:gd name="connsiteY142" fmla="*/ 473488 h 590169"/>
                  <a:gd name="connsiteX143" fmla="*/ 1093565 w 3638455"/>
                  <a:gd name="connsiteY143" fmla="*/ 479584 h 590169"/>
                  <a:gd name="connsiteX144" fmla="*/ 1106233 w 3638455"/>
                  <a:gd name="connsiteY144" fmla="*/ 479584 h 590169"/>
                  <a:gd name="connsiteX145" fmla="*/ 1106233 w 3638455"/>
                  <a:gd name="connsiteY145" fmla="*/ 485775 h 590169"/>
                  <a:gd name="connsiteX146" fmla="*/ 1131475 w 3638455"/>
                  <a:gd name="connsiteY146" fmla="*/ 485775 h 590169"/>
                  <a:gd name="connsiteX147" fmla="*/ 1131475 w 3638455"/>
                  <a:gd name="connsiteY147" fmla="*/ 491871 h 590169"/>
                  <a:gd name="connsiteX148" fmla="*/ 1360741 w 3638455"/>
                  <a:gd name="connsiteY148" fmla="*/ 491871 h 590169"/>
                  <a:gd name="connsiteX149" fmla="*/ 1360741 w 3638455"/>
                  <a:gd name="connsiteY149" fmla="*/ 498063 h 590169"/>
                  <a:gd name="connsiteX150" fmla="*/ 1474279 w 3638455"/>
                  <a:gd name="connsiteY150" fmla="*/ 498063 h 590169"/>
                  <a:gd name="connsiteX151" fmla="*/ 1474279 w 3638455"/>
                  <a:gd name="connsiteY151" fmla="*/ 504254 h 590169"/>
                  <a:gd name="connsiteX152" fmla="*/ 1743456 w 3638455"/>
                  <a:gd name="connsiteY152" fmla="*/ 504254 h 590169"/>
                  <a:gd name="connsiteX153" fmla="*/ 1743456 w 3638455"/>
                  <a:gd name="connsiteY153" fmla="*/ 510540 h 590169"/>
                  <a:gd name="connsiteX154" fmla="*/ 1817084 w 3638455"/>
                  <a:gd name="connsiteY154" fmla="*/ 510540 h 590169"/>
                  <a:gd name="connsiteX155" fmla="*/ 1817084 w 3638455"/>
                  <a:gd name="connsiteY155" fmla="*/ 516827 h 590169"/>
                  <a:gd name="connsiteX156" fmla="*/ 1896999 w 3638455"/>
                  <a:gd name="connsiteY156" fmla="*/ 516827 h 590169"/>
                  <a:gd name="connsiteX157" fmla="*/ 1896999 w 3638455"/>
                  <a:gd name="connsiteY157" fmla="*/ 523113 h 590169"/>
                  <a:gd name="connsiteX158" fmla="*/ 2058924 w 3638455"/>
                  <a:gd name="connsiteY158" fmla="*/ 523113 h 590169"/>
                  <a:gd name="connsiteX159" fmla="*/ 2058924 w 3638455"/>
                  <a:gd name="connsiteY159" fmla="*/ 529590 h 590169"/>
                  <a:gd name="connsiteX160" fmla="*/ 2075783 w 3638455"/>
                  <a:gd name="connsiteY160" fmla="*/ 529590 h 590169"/>
                  <a:gd name="connsiteX161" fmla="*/ 2075783 w 3638455"/>
                  <a:gd name="connsiteY161" fmla="*/ 535972 h 590169"/>
                  <a:gd name="connsiteX162" fmla="*/ 2193607 w 3638455"/>
                  <a:gd name="connsiteY162" fmla="*/ 535972 h 590169"/>
                  <a:gd name="connsiteX163" fmla="*/ 2193607 w 3638455"/>
                  <a:gd name="connsiteY163" fmla="*/ 542449 h 590169"/>
                  <a:gd name="connsiteX164" fmla="*/ 2286095 w 3638455"/>
                  <a:gd name="connsiteY164" fmla="*/ 542449 h 590169"/>
                  <a:gd name="connsiteX165" fmla="*/ 2286095 w 3638455"/>
                  <a:gd name="connsiteY165" fmla="*/ 548831 h 590169"/>
                  <a:gd name="connsiteX166" fmla="*/ 2305050 w 3638455"/>
                  <a:gd name="connsiteY166" fmla="*/ 548831 h 590169"/>
                  <a:gd name="connsiteX167" fmla="*/ 2305050 w 3638455"/>
                  <a:gd name="connsiteY167" fmla="*/ 555308 h 590169"/>
                  <a:gd name="connsiteX168" fmla="*/ 3158871 w 3638455"/>
                  <a:gd name="connsiteY168" fmla="*/ 555308 h 590169"/>
                  <a:gd name="connsiteX169" fmla="*/ 3158871 w 3638455"/>
                  <a:gd name="connsiteY169" fmla="*/ 590169 h 590169"/>
                  <a:gd name="connsiteX170" fmla="*/ 3638455 w 3638455"/>
                  <a:gd name="connsiteY170" fmla="*/ 590169 h 590169"/>
                  <a:gd name="connsiteX0" fmla="*/ 0 w 3638455"/>
                  <a:gd name="connsiteY0" fmla="*/ 0 h 590169"/>
                  <a:gd name="connsiteX1" fmla="*/ 50482 w 3638455"/>
                  <a:gd name="connsiteY1" fmla="*/ 6001 h 590169"/>
                  <a:gd name="connsiteX2" fmla="*/ 50482 w 3638455"/>
                  <a:gd name="connsiteY2" fmla="*/ 12097 h 590169"/>
                  <a:gd name="connsiteX3" fmla="*/ 58864 w 3638455"/>
                  <a:gd name="connsiteY3" fmla="*/ 12097 h 590169"/>
                  <a:gd name="connsiteX4" fmla="*/ 58864 w 3638455"/>
                  <a:gd name="connsiteY4" fmla="*/ 24194 h 590169"/>
                  <a:gd name="connsiteX5" fmla="*/ 65151 w 3638455"/>
                  <a:gd name="connsiteY5" fmla="*/ 24194 h 590169"/>
                  <a:gd name="connsiteX6" fmla="*/ 65151 w 3638455"/>
                  <a:gd name="connsiteY6" fmla="*/ 30290 h 590169"/>
                  <a:gd name="connsiteX7" fmla="*/ 69342 w 3638455"/>
                  <a:gd name="connsiteY7" fmla="*/ 30290 h 590169"/>
                  <a:gd name="connsiteX8" fmla="*/ 69342 w 3638455"/>
                  <a:gd name="connsiteY8" fmla="*/ 36386 h 590169"/>
                  <a:gd name="connsiteX9" fmla="*/ 73533 w 3638455"/>
                  <a:gd name="connsiteY9" fmla="*/ 36386 h 590169"/>
                  <a:gd name="connsiteX10" fmla="*/ 73533 w 3638455"/>
                  <a:gd name="connsiteY10" fmla="*/ 42482 h 590169"/>
                  <a:gd name="connsiteX11" fmla="*/ 75628 w 3638455"/>
                  <a:gd name="connsiteY11" fmla="*/ 42482 h 590169"/>
                  <a:gd name="connsiteX12" fmla="*/ 75628 w 3638455"/>
                  <a:gd name="connsiteY12" fmla="*/ 48483 h 590169"/>
                  <a:gd name="connsiteX13" fmla="*/ 77819 w 3638455"/>
                  <a:gd name="connsiteY13" fmla="*/ 48483 h 590169"/>
                  <a:gd name="connsiteX14" fmla="*/ 77819 w 3638455"/>
                  <a:gd name="connsiteY14" fmla="*/ 54579 h 590169"/>
                  <a:gd name="connsiteX15" fmla="*/ 88296 w 3638455"/>
                  <a:gd name="connsiteY15" fmla="*/ 54579 h 590169"/>
                  <a:gd name="connsiteX16" fmla="*/ 88296 w 3638455"/>
                  <a:gd name="connsiteY16" fmla="*/ 60675 h 590169"/>
                  <a:gd name="connsiteX17" fmla="*/ 94583 w 3638455"/>
                  <a:gd name="connsiteY17" fmla="*/ 60675 h 590169"/>
                  <a:gd name="connsiteX18" fmla="*/ 94583 w 3638455"/>
                  <a:gd name="connsiteY18" fmla="*/ 66675 h 590169"/>
                  <a:gd name="connsiteX19" fmla="*/ 109347 w 3638455"/>
                  <a:gd name="connsiteY19" fmla="*/ 66675 h 590169"/>
                  <a:gd name="connsiteX20" fmla="*/ 109347 w 3638455"/>
                  <a:gd name="connsiteY20" fmla="*/ 72771 h 590169"/>
                  <a:gd name="connsiteX21" fmla="*/ 117729 w 3638455"/>
                  <a:gd name="connsiteY21" fmla="*/ 72771 h 590169"/>
                  <a:gd name="connsiteX22" fmla="*/ 117729 w 3638455"/>
                  <a:gd name="connsiteY22" fmla="*/ 78867 h 590169"/>
                  <a:gd name="connsiteX23" fmla="*/ 128302 w 3638455"/>
                  <a:gd name="connsiteY23" fmla="*/ 78867 h 590169"/>
                  <a:gd name="connsiteX24" fmla="*/ 128302 w 3638455"/>
                  <a:gd name="connsiteY24" fmla="*/ 84868 h 590169"/>
                  <a:gd name="connsiteX25" fmla="*/ 140875 w 3638455"/>
                  <a:gd name="connsiteY25" fmla="*/ 84868 h 590169"/>
                  <a:gd name="connsiteX26" fmla="*/ 140875 w 3638455"/>
                  <a:gd name="connsiteY26" fmla="*/ 90964 h 590169"/>
                  <a:gd name="connsiteX27" fmla="*/ 147161 w 3638455"/>
                  <a:gd name="connsiteY27" fmla="*/ 90964 h 590169"/>
                  <a:gd name="connsiteX28" fmla="*/ 147161 w 3638455"/>
                  <a:gd name="connsiteY28" fmla="*/ 103061 h 590169"/>
                  <a:gd name="connsiteX29" fmla="*/ 151352 w 3638455"/>
                  <a:gd name="connsiteY29" fmla="*/ 103061 h 590169"/>
                  <a:gd name="connsiteX30" fmla="*/ 151352 w 3638455"/>
                  <a:gd name="connsiteY30" fmla="*/ 109157 h 590169"/>
                  <a:gd name="connsiteX31" fmla="*/ 164020 w 3638455"/>
                  <a:gd name="connsiteY31" fmla="*/ 109157 h 590169"/>
                  <a:gd name="connsiteX32" fmla="*/ 164020 w 3638455"/>
                  <a:gd name="connsiteY32" fmla="*/ 115253 h 590169"/>
                  <a:gd name="connsiteX33" fmla="*/ 178689 w 3638455"/>
                  <a:gd name="connsiteY33" fmla="*/ 115253 h 590169"/>
                  <a:gd name="connsiteX34" fmla="*/ 178689 w 3638455"/>
                  <a:gd name="connsiteY34" fmla="*/ 121254 h 590169"/>
                  <a:gd name="connsiteX35" fmla="*/ 182975 w 3638455"/>
                  <a:gd name="connsiteY35" fmla="*/ 121254 h 590169"/>
                  <a:gd name="connsiteX36" fmla="*/ 182975 w 3638455"/>
                  <a:gd name="connsiteY36" fmla="*/ 127350 h 590169"/>
                  <a:gd name="connsiteX37" fmla="*/ 193452 w 3638455"/>
                  <a:gd name="connsiteY37" fmla="*/ 127350 h 590169"/>
                  <a:gd name="connsiteX38" fmla="*/ 193452 w 3638455"/>
                  <a:gd name="connsiteY38" fmla="*/ 133446 h 590169"/>
                  <a:gd name="connsiteX39" fmla="*/ 201835 w 3638455"/>
                  <a:gd name="connsiteY39" fmla="*/ 133446 h 590169"/>
                  <a:gd name="connsiteX40" fmla="*/ 201835 w 3638455"/>
                  <a:gd name="connsiteY40" fmla="*/ 139542 h 590169"/>
                  <a:gd name="connsiteX41" fmla="*/ 216598 w 3638455"/>
                  <a:gd name="connsiteY41" fmla="*/ 139542 h 590169"/>
                  <a:gd name="connsiteX42" fmla="*/ 216598 w 3638455"/>
                  <a:gd name="connsiteY42" fmla="*/ 145542 h 590169"/>
                  <a:gd name="connsiteX43" fmla="*/ 220789 w 3638455"/>
                  <a:gd name="connsiteY43" fmla="*/ 145542 h 590169"/>
                  <a:gd name="connsiteX44" fmla="*/ 220789 w 3638455"/>
                  <a:gd name="connsiteY44" fmla="*/ 151638 h 590169"/>
                  <a:gd name="connsiteX45" fmla="*/ 224980 w 3638455"/>
                  <a:gd name="connsiteY45" fmla="*/ 151638 h 590169"/>
                  <a:gd name="connsiteX46" fmla="*/ 224980 w 3638455"/>
                  <a:gd name="connsiteY46" fmla="*/ 157734 h 590169"/>
                  <a:gd name="connsiteX47" fmla="*/ 237649 w 3638455"/>
                  <a:gd name="connsiteY47" fmla="*/ 157734 h 590169"/>
                  <a:gd name="connsiteX48" fmla="*/ 237649 w 3638455"/>
                  <a:gd name="connsiteY48" fmla="*/ 163735 h 590169"/>
                  <a:gd name="connsiteX49" fmla="*/ 267081 w 3638455"/>
                  <a:gd name="connsiteY49" fmla="*/ 163735 h 590169"/>
                  <a:gd name="connsiteX50" fmla="*/ 267081 w 3638455"/>
                  <a:gd name="connsiteY50" fmla="*/ 169831 h 590169"/>
                  <a:gd name="connsiteX51" fmla="*/ 275463 w 3638455"/>
                  <a:gd name="connsiteY51" fmla="*/ 169831 h 590169"/>
                  <a:gd name="connsiteX52" fmla="*/ 275463 w 3638455"/>
                  <a:gd name="connsiteY52" fmla="*/ 175927 h 590169"/>
                  <a:gd name="connsiteX53" fmla="*/ 277558 w 3638455"/>
                  <a:gd name="connsiteY53" fmla="*/ 175927 h 590169"/>
                  <a:gd name="connsiteX54" fmla="*/ 277558 w 3638455"/>
                  <a:gd name="connsiteY54" fmla="*/ 181928 h 590169"/>
                  <a:gd name="connsiteX55" fmla="*/ 292322 w 3638455"/>
                  <a:gd name="connsiteY55" fmla="*/ 181928 h 590169"/>
                  <a:gd name="connsiteX56" fmla="*/ 292322 w 3638455"/>
                  <a:gd name="connsiteY56" fmla="*/ 194120 h 590169"/>
                  <a:gd name="connsiteX57" fmla="*/ 294418 w 3638455"/>
                  <a:gd name="connsiteY57" fmla="*/ 194120 h 590169"/>
                  <a:gd name="connsiteX58" fmla="*/ 294418 w 3638455"/>
                  <a:gd name="connsiteY58" fmla="*/ 200121 h 590169"/>
                  <a:gd name="connsiteX59" fmla="*/ 300704 w 3638455"/>
                  <a:gd name="connsiteY59" fmla="*/ 200121 h 590169"/>
                  <a:gd name="connsiteX60" fmla="*/ 300704 w 3638455"/>
                  <a:gd name="connsiteY60" fmla="*/ 206217 h 590169"/>
                  <a:gd name="connsiteX61" fmla="*/ 304895 w 3638455"/>
                  <a:gd name="connsiteY61" fmla="*/ 206217 h 590169"/>
                  <a:gd name="connsiteX62" fmla="*/ 304895 w 3638455"/>
                  <a:gd name="connsiteY62" fmla="*/ 212313 h 590169"/>
                  <a:gd name="connsiteX63" fmla="*/ 321754 w 3638455"/>
                  <a:gd name="connsiteY63" fmla="*/ 212313 h 590169"/>
                  <a:gd name="connsiteX64" fmla="*/ 321754 w 3638455"/>
                  <a:gd name="connsiteY64" fmla="*/ 224409 h 590169"/>
                  <a:gd name="connsiteX65" fmla="*/ 325945 w 3638455"/>
                  <a:gd name="connsiteY65" fmla="*/ 224409 h 590169"/>
                  <a:gd name="connsiteX66" fmla="*/ 325945 w 3638455"/>
                  <a:gd name="connsiteY66" fmla="*/ 230505 h 590169"/>
                  <a:gd name="connsiteX67" fmla="*/ 349091 w 3638455"/>
                  <a:gd name="connsiteY67" fmla="*/ 230505 h 590169"/>
                  <a:gd name="connsiteX68" fmla="*/ 349091 w 3638455"/>
                  <a:gd name="connsiteY68" fmla="*/ 236601 h 590169"/>
                  <a:gd name="connsiteX69" fmla="*/ 353282 w 3638455"/>
                  <a:gd name="connsiteY69" fmla="*/ 236601 h 590169"/>
                  <a:gd name="connsiteX70" fmla="*/ 353282 w 3638455"/>
                  <a:gd name="connsiteY70" fmla="*/ 242602 h 590169"/>
                  <a:gd name="connsiteX71" fmla="*/ 359569 w 3638455"/>
                  <a:gd name="connsiteY71" fmla="*/ 242602 h 590169"/>
                  <a:gd name="connsiteX72" fmla="*/ 359569 w 3638455"/>
                  <a:gd name="connsiteY72" fmla="*/ 254794 h 590169"/>
                  <a:gd name="connsiteX73" fmla="*/ 378523 w 3638455"/>
                  <a:gd name="connsiteY73" fmla="*/ 254794 h 590169"/>
                  <a:gd name="connsiteX74" fmla="*/ 378523 w 3638455"/>
                  <a:gd name="connsiteY74" fmla="*/ 260795 h 590169"/>
                  <a:gd name="connsiteX75" fmla="*/ 386905 w 3638455"/>
                  <a:gd name="connsiteY75" fmla="*/ 260795 h 590169"/>
                  <a:gd name="connsiteX76" fmla="*/ 386905 w 3638455"/>
                  <a:gd name="connsiteY76" fmla="*/ 266891 h 590169"/>
                  <a:gd name="connsiteX77" fmla="*/ 399574 w 3638455"/>
                  <a:gd name="connsiteY77" fmla="*/ 266891 h 590169"/>
                  <a:gd name="connsiteX78" fmla="*/ 399574 w 3638455"/>
                  <a:gd name="connsiteY78" fmla="*/ 272987 h 590169"/>
                  <a:gd name="connsiteX79" fmla="*/ 416433 w 3638455"/>
                  <a:gd name="connsiteY79" fmla="*/ 272987 h 590169"/>
                  <a:gd name="connsiteX80" fmla="*/ 416433 w 3638455"/>
                  <a:gd name="connsiteY80" fmla="*/ 278988 h 590169"/>
                  <a:gd name="connsiteX81" fmla="*/ 443770 w 3638455"/>
                  <a:gd name="connsiteY81" fmla="*/ 278988 h 590169"/>
                  <a:gd name="connsiteX82" fmla="*/ 443770 w 3638455"/>
                  <a:gd name="connsiteY82" fmla="*/ 285084 h 590169"/>
                  <a:gd name="connsiteX83" fmla="*/ 445865 w 3638455"/>
                  <a:gd name="connsiteY83" fmla="*/ 285084 h 590169"/>
                  <a:gd name="connsiteX84" fmla="*/ 445865 w 3638455"/>
                  <a:gd name="connsiteY84" fmla="*/ 291180 h 590169"/>
                  <a:gd name="connsiteX85" fmla="*/ 456342 w 3638455"/>
                  <a:gd name="connsiteY85" fmla="*/ 291180 h 590169"/>
                  <a:gd name="connsiteX86" fmla="*/ 456342 w 3638455"/>
                  <a:gd name="connsiteY86" fmla="*/ 297180 h 590169"/>
                  <a:gd name="connsiteX87" fmla="*/ 462629 w 3638455"/>
                  <a:gd name="connsiteY87" fmla="*/ 297180 h 590169"/>
                  <a:gd name="connsiteX88" fmla="*/ 462629 w 3638455"/>
                  <a:gd name="connsiteY88" fmla="*/ 309372 h 590169"/>
                  <a:gd name="connsiteX89" fmla="*/ 471106 w 3638455"/>
                  <a:gd name="connsiteY89" fmla="*/ 309372 h 590169"/>
                  <a:gd name="connsiteX90" fmla="*/ 471106 w 3638455"/>
                  <a:gd name="connsiteY90" fmla="*/ 315373 h 590169"/>
                  <a:gd name="connsiteX91" fmla="*/ 477393 w 3638455"/>
                  <a:gd name="connsiteY91" fmla="*/ 315373 h 590169"/>
                  <a:gd name="connsiteX92" fmla="*/ 477393 w 3638455"/>
                  <a:gd name="connsiteY92" fmla="*/ 327565 h 590169"/>
                  <a:gd name="connsiteX93" fmla="*/ 479488 w 3638455"/>
                  <a:gd name="connsiteY93" fmla="*/ 327565 h 590169"/>
                  <a:gd name="connsiteX94" fmla="*/ 479488 w 3638455"/>
                  <a:gd name="connsiteY94" fmla="*/ 333661 h 590169"/>
                  <a:gd name="connsiteX95" fmla="*/ 492061 w 3638455"/>
                  <a:gd name="connsiteY95" fmla="*/ 333661 h 590169"/>
                  <a:gd name="connsiteX96" fmla="*/ 492061 w 3638455"/>
                  <a:gd name="connsiteY96" fmla="*/ 339662 h 590169"/>
                  <a:gd name="connsiteX97" fmla="*/ 515207 w 3638455"/>
                  <a:gd name="connsiteY97" fmla="*/ 339662 h 590169"/>
                  <a:gd name="connsiteX98" fmla="*/ 515207 w 3638455"/>
                  <a:gd name="connsiteY98" fmla="*/ 345758 h 590169"/>
                  <a:gd name="connsiteX99" fmla="*/ 521589 w 3638455"/>
                  <a:gd name="connsiteY99" fmla="*/ 345758 h 590169"/>
                  <a:gd name="connsiteX100" fmla="*/ 521589 w 3638455"/>
                  <a:gd name="connsiteY100" fmla="*/ 351854 h 590169"/>
                  <a:gd name="connsiteX101" fmla="*/ 529971 w 3638455"/>
                  <a:gd name="connsiteY101" fmla="*/ 351854 h 590169"/>
                  <a:gd name="connsiteX102" fmla="*/ 529971 w 3638455"/>
                  <a:gd name="connsiteY102" fmla="*/ 357855 h 590169"/>
                  <a:gd name="connsiteX103" fmla="*/ 538353 w 3638455"/>
                  <a:gd name="connsiteY103" fmla="*/ 357855 h 590169"/>
                  <a:gd name="connsiteX104" fmla="*/ 538353 w 3638455"/>
                  <a:gd name="connsiteY104" fmla="*/ 363951 h 590169"/>
                  <a:gd name="connsiteX105" fmla="*/ 542544 w 3638455"/>
                  <a:gd name="connsiteY105" fmla="*/ 363951 h 590169"/>
                  <a:gd name="connsiteX106" fmla="*/ 542544 w 3638455"/>
                  <a:gd name="connsiteY106" fmla="*/ 370047 h 590169"/>
                  <a:gd name="connsiteX107" fmla="*/ 616172 w 3638455"/>
                  <a:gd name="connsiteY107" fmla="*/ 370047 h 590169"/>
                  <a:gd name="connsiteX108" fmla="*/ 616172 w 3638455"/>
                  <a:gd name="connsiteY108" fmla="*/ 376047 h 590169"/>
                  <a:gd name="connsiteX109" fmla="*/ 637222 w 3638455"/>
                  <a:gd name="connsiteY109" fmla="*/ 376047 h 590169"/>
                  <a:gd name="connsiteX110" fmla="*/ 637222 w 3638455"/>
                  <a:gd name="connsiteY110" fmla="*/ 382143 h 590169"/>
                  <a:gd name="connsiteX111" fmla="*/ 643509 w 3638455"/>
                  <a:gd name="connsiteY111" fmla="*/ 382143 h 590169"/>
                  <a:gd name="connsiteX112" fmla="*/ 643509 w 3638455"/>
                  <a:gd name="connsiteY112" fmla="*/ 388239 h 590169"/>
                  <a:gd name="connsiteX113" fmla="*/ 685609 w 3638455"/>
                  <a:gd name="connsiteY113" fmla="*/ 388239 h 590169"/>
                  <a:gd name="connsiteX114" fmla="*/ 685609 w 3638455"/>
                  <a:gd name="connsiteY114" fmla="*/ 394240 h 590169"/>
                  <a:gd name="connsiteX115" fmla="*/ 700278 w 3638455"/>
                  <a:gd name="connsiteY115" fmla="*/ 394240 h 590169"/>
                  <a:gd name="connsiteX116" fmla="*/ 700278 w 3638455"/>
                  <a:gd name="connsiteY116" fmla="*/ 400336 h 590169"/>
                  <a:gd name="connsiteX117" fmla="*/ 729805 w 3638455"/>
                  <a:gd name="connsiteY117" fmla="*/ 400336 h 590169"/>
                  <a:gd name="connsiteX118" fmla="*/ 729805 w 3638455"/>
                  <a:gd name="connsiteY118" fmla="*/ 406432 h 590169"/>
                  <a:gd name="connsiteX119" fmla="*/ 731901 w 3638455"/>
                  <a:gd name="connsiteY119" fmla="*/ 406432 h 590169"/>
                  <a:gd name="connsiteX120" fmla="*/ 731901 w 3638455"/>
                  <a:gd name="connsiteY120" fmla="*/ 412433 h 590169"/>
                  <a:gd name="connsiteX121" fmla="*/ 754951 w 3638455"/>
                  <a:gd name="connsiteY121" fmla="*/ 412433 h 590169"/>
                  <a:gd name="connsiteX122" fmla="*/ 754951 w 3638455"/>
                  <a:gd name="connsiteY122" fmla="*/ 418529 h 590169"/>
                  <a:gd name="connsiteX123" fmla="*/ 767620 w 3638455"/>
                  <a:gd name="connsiteY123" fmla="*/ 418529 h 590169"/>
                  <a:gd name="connsiteX124" fmla="*/ 767620 w 3638455"/>
                  <a:gd name="connsiteY124" fmla="*/ 424625 h 590169"/>
                  <a:gd name="connsiteX125" fmla="*/ 803338 w 3638455"/>
                  <a:gd name="connsiteY125" fmla="*/ 424625 h 590169"/>
                  <a:gd name="connsiteX126" fmla="*/ 803338 w 3638455"/>
                  <a:gd name="connsiteY126" fmla="*/ 430721 h 590169"/>
                  <a:gd name="connsiteX127" fmla="*/ 919067 w 3638455"/>
                  <a:gd name="connsiteY127" fmla="*/ 430721 h 590169"/>
                  <a:gd name="connsiteX128" fmla="*/ 919067 w 3638455"/>
                  <a:gd name="connsiteY128" fmla="*/ 436722 h 590169"/>
                  <a:gd name="connsiteX129" fmla="*/ 956881 w 3638455"/>
                  <a:gd name="connsiteY129" fmla="*/ 436722 h 590169"/>
                  <a:gd name="connsiteX130" fmla="*/ 956881 w 3638455"/>
                  <a:gd name="connsiteY130" fmla="*/ 442913 h 590169"/>
                  <a:gd name="connsiteX131" fmla="*/ 1009459 w 3638455"/>
                  <a:gd name="connsiteY131" fmla="*/ 442913 h 590169"/>
                  <a:gd name="connsiteX132" fmla="*/ 1009459 w 3638455"/>
                  <a:gd name="connsiteY132" fmla="*/ 449009 h 590169"/>
                  <a:gd name="connsiteX133" fmla="*/ 1028414 w 3638455"/>
                  <a:gd name="connsiteY133" fmla="*/ 449009 h 590169"/>
                  <a:gd name="connsiteX134" fmla="*/ 1028414 w 3638455"/>
                  <a:gd name="connsiteY134" fmla="*/ 455105 h 590169"/>
                  <a:gd name="connsiteX135" fmla="*/ 1038892 w 3638455"/>
                  <a:gd name="connsiteY135" fmla="*/ 455105 h 590169"/>
                  <a:gd name="connsiteX136" fmla="*/ 1038892 w 3638455"/>
                  <a:gd name="connsiteY136" fmla="*/ 461296 h 590169"/>
                  <a:gd name="connsiteX137" fmla="*/ 1072610 w 3638455"/>
                  <a:gd name="connsiteY137" fmla="*/ 461296 h 590169"/>
                  <a:gd name="connsiteX138" fmla="*/ 1072610 w 3638455"/>
                  <a:gd name="connsiteY138" fmla="*/ 467392 h 590169"/>
                  <a:gd name="connsiteX139" fmla="*/ 1078897 w 3638455"/>
                  <a:gd name="connsiteY139" fmla="*/ 467392 h 590169"/>
                  <a:gd name="connsiteX140" fmla="*/ 1078897 w 3638455"/>
                  <a:gd name="connsiteY140" fmla="*/ 473488 h 590169"/>
                  <a:gd name="connsiteX141" fmla="*/ 1093565 w 3638455"/>
                  <a:gd name="connsiteY141" fmla="*/ 473488 h 590169"/>
                  <a:gd name="connsiteX142" fmla="*/ 1093565 w 3638455"/>
                  <a:gd name="connsiteY142" fmla="*/ 479584 h 590169"/>
                  <a:gd name="connsiteX143" fmla="*/ 1106233 w 3638455"/>
                  <a:gd name="connsiteY143" fmla="*/ 479584 h 590169"/>
                  <a:gd name="connsiteX144" fmla="*/ 1106233 w 3638455"/>
                  <a:gd name="connsiteY144" fmla="*/ 485775 h 590169"/>
                  <a:gd name="connsiteX145" fmla="*/ 1131475 w 3638455"/>
                  <a:gd name="connsiteY145" fmla="*/ 485775 h 590169"/>
                  <a:gd name="connsiteX146" fmla="*/ 1131475 w 3638455"/>
                  <a:gd name="connsiteY146" fmla="*/ 491871 h 590169"/>
                  <a:gd name="connsiteX147" fmla="*/ 1360741 w 3638455"/>
                  <a:gd name="connsiteY147" fmla="*/ 491871 h 590169"/>
                  <a:gd name="connsiteX148" fmla="*/ 1360741 w 3638455"/>
                  <a:gd name="connsiteY148" fmla="*/ 498063 h 590169"/>
                  <a:gd name="connsiteX149" fmla="*/ 1474279 w 3638455"/>
                  <a:gd name="connsiteY149" fmla="*/ 498063 h 590169"/>
                  <a:gd name="connsiteX150" fmla="*/ 1474279 w 3638455"/>
                  <a:gd name="connsiteY150" fmla="*/ 504254 h 590169"/>
                  <a:gd name="connsiteX151" fmla="*/ 1743456 w 3638455"/>
                  <a:gd name="connsiteY151" fmla="*/ 504254 h 590169"/>
                  <a:gd name="connsiteX152" fmla="*/ 1743456 w 3638455"/>
                  <a:gd name="connsiteY152" fmla="*/ 510540 h 590169"/>
                  <a:gd name="connsiteX153" fmla="*/ 1817084 w 3638455"/>
                  <a:gd name="connsiteY153" fmla="*/ 510540 h 590169"/>
                  <a:gd name="connsiteX154" fmla="*/ 1817084 w 3638455"/>
                  <a:gd name="connsiteY154" fmla="*/ 516827 h 590169"/>
                  <a:gd name="connsiteX155" fmla="*/ 1896999 w 3638455"/>
                  <a:gd name="connsiteY155" fmla="*/ 516827 h 590169"/>
                  <a:gd name="connsiteX156" fmla="*/ 1896999 w 3638455"/>
                  <a:gd name="connsiteY156" fmla="*/ 523113 h 590169"/>
                  <a:gd name="connsiteX157" fmla="*/ 2058924 w 3638455"/>
                  <a:gd name="connsiteY157" fmla="*/ 523113 h 590169"/>
                  <a:gd name="connsiteX158" fmla="*/ 2058924 w 3638455"/>
                  <a:gd name="connsiteY158" fmla="*/ 529590 h 590169"/>
                  <a:gd name="connsiteX159" fmla="*/ 2075783 w 3638455"/>
                  <a:gd name="connsiteY159" fmla="*/ 529590 h 590169"/>
                  <a:gd name="connsiteX160" fmla="*/ 2075783 w 3638455"/>
                  <a:gd name="connsiteY160" fmla="*/ 535972 h 590169"/>
                  <a:gd name="connsiteX161" fmla="*/ 2193607 w 3638455"/>
                  <a:gd name="connsiteY161" fmla="*/ 535972 h 590169"/>
                  <a:gd name="connsiteX162" fmla="*/ 2193607 w 3638455"/>
                  <a:gd name="connsiteY162" fmla="*/ 542449 h 590169"/>
                  <a:gd name="connsiteX163" fmla="*/ 2286095 w 3638455"/>
                  <a:gd name="connsiteY163" fmla="*/ 542449 h 590169"/>
                  <a:gd name="connsiteX164" fmla="*/ 2286095 w 3638455"/>
                  <a:gd name="connsiteY164" fmla="*/ 548831 h 590169"/>
                  <a:gd name="connsiteX165" fmla="*/ 2305050 w 3638455"/>
                  <a:gd name="connsiteY165" fmla="*/ 548831 h 590169"/>
                  <a:gd name="connsiteX166" fmla="*/ 2305050 w 3638455"/>
                  <a:gd name="connsiteY166" fmla="*/ 555308 h 590169"/>
                  <a:gd name="connsiteX167" fmla="*/ 3158871 w 3638455"/>
                  <a:gd name="connsiteY167" fmla="*/ 555308 h 590169"/>
                  <a:gd name="connsiteX168" fmla="*/ 3158871 w 3638455"/>
                  <a:gd name="connsiteY168" fmla="*/ 590169 h 590169"/>
                  <a:gd name="connsiteX169" fmla="*/ 3638455 w 3638455"/>
                  <a:gd name="connsiteY169" fmla="*/ 590169 h 590169"/>
                  <a:gd name="connsiteX0" fmla="*/ 0 w 3587973"/>
                  <a:gd name="connsiteY0" fmla="*/ 0 h 584168"/>
                  <a:gd name="connsiteX1" fmla="*/ 0 w 3587973"/>
                  <a:gd name="connsiteY1" fmla="*/ 6096 h 584168"/>
                  <a:gd name="connsiteX2" fmla="*/ 8382 w 3587973"/>
                  <a:gd name="connsiteY2" fmla="*/ 6096 h 584168"/>
                  <a:gd name="connsiteX3" fmla="*/ 8382 w 3587973"/>
                  <a:gd name="connsiteY3" fmla="*/ 18193 h 584168"/>
                  <a:gd name="connsiteX4" fmla="*/ 14669 w 3587973"/>
                  <a:gd name="connsiteY4" fmla="*/ 18193 h 584168"/>
                  <a:gd name="connsiteX5" fmla="*/ 14669 w 3587973"/>
                  <a:gd name="connsiteY5" fmla="*/ 24289 h 584168"/>
                  <a:gd name="connsiteX6" fmla="*/ 18860 w 3587973"/>
                  <a:gd name="connsiteY6" fmla="*/ 24289 h 584168"/>
                  <a:gd name="connsiteX7" fmla="*/ 18860 w 3587973"/>
                  <a:gd name="connsiteY7" fmla="*/ 30385 h 584168"/>
                  <a:gd name="connsiteX8" fmla="*/ 23051 w 3587973"/>
                  <a:gd name="connsiteY8" fmla="*/ 30385 h 584168"/>
                  <a:gd name="connsiteX9" fmla="*/ 23051 w 3587973"/>
                  <a:gd name="connsiteY9" fmla="*/ 36481 h 584168"/>
                  <a:gd name="connsiteX10" fmla="*/ 25146 w 3587973"/>
                  <a:gd name="connsiteY10" fmla="*/ 36481 h 584168"/>
                  <a:gd name="connsiteX11" fmla="*/ 25146 w 3587973"/>
                  <a:gd name="connsiteY11" fmla="*/ 42482 h 584168"/>
                  <a:gd name="connsiteX12" fmla="*/ 27337 w 3587973"/>
                  <a:gd name="connsiteY12" fmla="*/ 42482 h 584168"/>
                  <a:gd name="connsiteX13" fmla="*/ 27337 w 3587973"/>
                  <a:gd name="connsiteY13" fmla="*/ 48578 h 584168"/>
                  <a:gd name="connsiteX14" fmla="*/ 37814 w 3587973"/>
                  <a:gd name="connsiteY14" fmla="*/ 48578 h 584168"/>
                  <a:gd name="connsiteX15" fmla="*/ 37814 w 3587973"/>
                  <a:gd name="connsiteY15" fmla="*/ 54674 h 584168"/>
                  <a:gd name="connsiteX16" fmla="*/ 44101 w 3587973"/>
                  <a:gd name="connsiteY16" fmla="*/ 54674 h 584168"/>
                  <a:gd name="connsiteX17" fmla="*/ 44101 w 3587973"/>
                  <a:gd name="connsiteY17" fmla="*/ 60674 h 584168"/>
                  <a:gd name="connsiteX18" fmla="*/ 58865 w 3587973"/>
                  <a:gd name="connsiteY18" fmla="*/ 60674 h 584168"/>
                  <a:gd name="connsiteX19" fmla="*/ 58865 w 3587973"/>
                  <a:gd name="connsiteY19" fmla="*/ 66770 h 584168"/>
                  <a:gd name="connsiteX20" fmla="*/ 67247 w 3587973"/>
                  <a:gd name="connsiteY20" fmla="*/ 66770 h 584168"/>
                  <a:gd name="connsiteX21" fmla="*/ 67247 w 3587973"/>
                  <a:gd name="connsiteY21" fmla="*/ 72866 h 584168"/>
                  <a:gd name="connsiteX22" fmla="*/ 77820 w 3587973"/>
                  <a:gd name="connsiteY22" fmla="*/ 72866 h 584168"/>
                  <a:gd name="connsiteX23" fmla="*/ 77820 w 3587973"/>
                  <a:gd name="connsiteY23" fmla="*/ 78867 h 584168"/>
                  <a:gd name="connsiteX24" fmla="*/ 90393 w 3587973"/>
                  <a:gd name="connsiteY24" fmla="*/ 78867 h 584168"/>
                  <a:gd name="connsiteX25" fmla="*/ 90393 w 3587973"/>
                  <a:gd name="connsiteY25" fmla="*/ 84963 h 584168"/>
                  <a:gd name="connsiteX26" fmla="*/ 96679 w 3587973"/>
                  <a:gd name="connsiteY26" fmla="*/ 84963 h 584168"/>
                  <a:gd name="connsiteX27" fmla="*/ 96679 w 3587973"/>
                  <a:gd name="connsiteY27" fmla="*/ 97060 h 584168"/>
                  <a:gd name="connsiteX28" fmla="*/ 100870 w 3587973"/>
                  <a:gd name="connsiteY28" fmla="*/ 97060 h 584168"/>
                  <a:gd name="connsiteX29" fmla="*/ 100870 w 3587973"/>
                  <a:gd name="connsiteY29" fmla="*/ 103156 h 584168"/>
                  <a:gd name="connsiteX30" fmla="*/ 113538 w 3587973"/>
                  <a:gd name="connsiteY30" fmla="*/ 103156 h 584168"/>
                  <a:gd name="connsiteX31" fmla="*/ 113538 w 3587973"/>
                  <a:gd name="connsiteY31" fmla="*/ 109252 h 584168"/>
                  <a:gd name="connsiteX32" fmla="*/ 128207 w 3587973"/>
                  <a:gd name="connsiteY32" fmla="*/ 109252 h 584168"/>
                  <a:gd name="connsiteX33" fmla="*/ 128207 w 3587973"/>
                  <a:gd name="connsiteY33" fmla="*/ 115253 h 584168"/>
                  <a:gd name="connsiteX34" fmla="*/ 132493 w 3587973"/>
                  <a:gd name="connsiteY34" fmla="*/ 115253 h 584168"/>
                  <a:gd name="connsiteX35" fmla="*/ 132493 w 3587973"/>
                  <a:gd name="connsiteY35" fmla="*/ 121349 h 584168"/>
                  <a:gd name="connsiteX36" fmla="*/ 142970 w 3587973"/>
                  <a:gd name="connsiteY36" fmla="*/ 121349 h 584168"/>
                  <a:gd name="connsiteX37" fmla="*/ 142970 w 3587973"/>
                  <a:gd name="connsiteY37" fmla="*/ 127445 h 584168"/>
                  <a:gd name="connsiteX38" fmla="*/ 151353 w 3587973"/>
                  <a:gd name="connsiteY38" fmla="*/ 127445 h 584168"/>
                  <a:gd name="connsiteX39" fmla="*/ 151353 w 3587973"/>
                  <a:gd name="connsiteY39" fmla="*/ 133541 h 584168"/>
                  <a:gd name="connsiteX40" fmla="*/ 166116 w 3587973"/>
                  <a:gd name="connsiteY40" fmla="*/ 133541 h 584168"/>
                  <a:gd name="connsiteX41" fmla="*/ 166116 w 3587973"/>
                  <a:gd name="connsiteY41" fmla="*/ 139541 h 584168"/>
                  <a:gd name="connsiteX42" fmla="*/ 170307 w 3587973"/>
                  <a:gd name="connsiteY42" fmla="*/ 139541 h 584168"/>
                  <a:gd name="connsiteX43" fmla="*/ 170307 w 3587973"/>
                  <a:gd name="connsiteY43" fmla="*/ 145637 h 584168"/>
                  <a:gd name="connsiteX44" fmla="*/ 174498 w 3587973"/>
                  <a:gd name="connsiteY44" fmla="*/ 145637 h 584168"/>
                  <a:gd name="connsiteX45" fmla="*/ 174498 w 3587973"/>
                  <a:gd name="connsiteY45" fmla="*/ 151733 h 584168"/>
                  <a:gd name="connsiteX46" fmla="*/ 187167 w 3587973"/>
                  <a:gd name="connsiteY46" fmla="*/ 151733 h 584168"/>
                  <a:gd name="connsiteX47" fmla="*/ 187167 w 3587973"/>
                  <a:gd name="connsiteY47" fmla="*/ 157734 h 584168"/>
                  <a:gd name="connsiteX48" fmla="*/ 216599 w 3587973"/>
                  <a:gd name="connsiteY48" fmla="*/ 157734 h 584168"/>
                  <a:gd name="connsiteX49" fmla="*/ 216599 w 3587973"/>
                  <a:gd name="connsiteY49" fmla="*/ 163830 h 584168"/>
                  <a:gd name="connsiteX50" fmla="*/ 224981 w 3587973"/>
                  <a:gd name="connsiteY50" fmla="*/ 163830 h 584168"/>
                  <a:gd name="connsiteX51" fmla="*/ 224981 w 3587973"/>
                  <a:gd name="connsiteY51" fmla="*/ 169926 h 584168"/>
                  <a:gd name="connsiteX52" fmla="*/ 227076 w 3587973"/>
                  <a:gd name="connsiteY52" fmla="*/ 169926 h 584168"/>
                  <a:gd name="connsiteX53" fmla="*/ 227076 w 3587973"/>
                  <a:gd name="connsiteY53" fmla="*/ 175927 h 584168"/>
                  <a:gd name="connsiteX54" fmla="*/ 241840 w 3587973"/>
                  <a:gd name="connsiteY54" fmla="*/ 175927 h 584168"/>
                  <a:gd name="connsiteX55" fmla="*/ 241840 w 3587973"/>
                  <a:gd name="connsiteY55" fmla="*/ 188119 h 584168"/>
                  <a:gd name="connsiteX56" fmla="*/ 243936 w 3587973"/>
                  <a:gd name="connsiteY56" fmla="*/ 188119 h 584168"/>
                  <a:gd name="connsiteX57" fmla="*/ 243936 w 3587973"/>
                  <a:gd name="connsiteY57" fmla="*/ 194120 h 584168"/>
                  <a:gd name="connsiteX58" fmla="*/ 250222 w 3587973"/>
                  <a:gd name="connsiteY58" fmla="*/ 194120 h 584168"/>
                  <a:gd name="connsiteX59" fmla="*/ 250222 w 3587973"/>
                  <a:gd name="connsiteY59" fmla="*/ 200216 h 584168"/>
                  <a:gd name="connsiteX60" fmla="*/ 254413 w 3587973"/>
                  <a:gd name="connsiteY60" fmla="*/ 200216 h 584168"/>
                  <a:gd name="connsiteX61" fmla="*/ 254413 w 3587973"/>
                  <a:gd name="connsiteY61" fmla="*/ 206312 h 584168"/>
                  <a:gd name="connsiteX62" fmla="*/ 271272 w 3587973"/>
                  <a:gd name="connsiteY62" fmla="*/ 206312 h 584168"/>
                  <a:gd name="connsiteX63" fmla="*/ 271272 w 3587973"/>
                  <a:gd name="connsiteY63" fmla="*/ 218408 h 584168"/>
                  <a:gd name="connsiteX64" fmla="*/ 275463 w 3587973"/>
                  <a:gd name="connsiteY64" fmla="*/ 218408 h 584168"/>
                  <a:gd name="connsiteX65" fmla="*/ 275463 w 3587973"/>
                  <a:gd name="connsiteY65" fmla="*/ 224504 h 584168"/>
                  <a:gd name="connsiteX66" fmla="*/ 298609 w 3587973"/>
                  <a:gd name="connsiteY66" fmla="*/ 224504 h 584168"/>
                  <a:gd name="connsiteX67" fmla="*/ 298609 w 3587973"/>
                  <a:gd name="connsiteY67" fmla="*/ 230600 h 584168"/>
                  <a:gd name="connsiteX68" fmla="*/ 302800 w 3587973"/>
                  <a:gd name="connsiteY68" fmla="*/ 230600 h 584168"/>
                  <a:gd name="connsiteX69" fmla="*/ 302800 w 3587973"/>
                  <a:gd name="connsiteY69" fmla="*/ 236601 h 584168"/>
                  <a:gd name="connsiteX70" fmla="*/ 309087 w 3587973"/>
                  <a:gd name="connsiteY70" fmla="*/ 236601 h 584168"/>
                  <a:gd name="connsiteX71" fmla="*/ 309087 w 3587973"/>
                  <a:gd name="connsiteY71" fmla="*/ 248793 h 584168"/>
                  <a:gd name="connsiteX72" fmla="*/ 328041 w 3587973"/>
                  <a:gd name="connsiteY72" fmla="*/ 248793 h 584168"/>
                  <a:gd name="connsiteX73" fmla="*/ 328041 w 3587973"/>
                  <a:gd name="connsiteY73" fmla="*/ 254794 h 584168"/>
                  <a:gd name="connsiteX74" fmla="*/ 336423 w 3587973"/>
                  <a:gd name="connsiteY74" fmla="*/ 254794 h 584168"/>
                  <a:gd name="connsiteX75" fmla="*/ 336423 w 3587973"/>
                  <a:gd name="connsiteY75" fmla="*/ 260890 h 584168"/>
                  <a:gd name="connsiteX76" fmla="*/ 349092 w 3587973"/>
                  <a:gd name="connsiteY76" fmla="*/ 260890 h 584168"/>
                  <a:gd name="connsiteX77" fmla="*/ 349092 w 3587973"/>
                  <a:gd name="connsiteY77" fmla="*/ 266986 h 584168"/>
                  <a:gd name="connsiteX78" fmla="*/ 365951 w 3587973"/>
                  <a:gd name="connsiteY78" fmla="*/ 266986 h 584168"/>
                  <a:gd name="connsiteX79" fmla="*/ 365951 w 3587973"/>
                  <a:gd name="connsiteY79" fmla="*/ 272987 h 584168"/>
                  <a:gd name="connsiteX80" fmla="*/ 393288 w 3587973"/>
                  <a:gd name="connsiteY80" fmla="*/ 272987 h 584168"/>
                  <a:gd name="connsiteX81" fmla="*/ 393288 w 3587973"/>
                  <a:gd name="connsiteY81" fmla="*/ 279083 h 584168"/>
                  <a:gd name="connsiteX82" fmla="*/ 395383 w 3587973"/>
                  <a:gd name="connsiteY82" fmla="*/ 279083 h 584168"/>
                  <a:gd name="connsiteX83" fmla="*/ 395383 w 3587973"/>
                  <a:gd name="connsiteY83" fmla="*/ 285179 h 584168"/>
                  <a:gd name="connsiteX84" fmla="*/ 405860 w 3587973"/>
                  <a:gd name="connsiteY84" fmla="*/ 285179 h 584168"/>
                  <a:gd name="connsiteX85" fmla="*/ 405860 w 3587973"/>
                  <a:gd name="connsiteY85" fmla="*/ 291179 h 584168"/>
                  <a:gd name="connsiteX86" fmla="*/ 412147 w 3587973"/>
                  <a:gd name="connsiteY86" fmla="*/ 291179 h 584168"/>
                  <a:gd name="connsiteX87" fmla="*/ 412147 w 3587973"/>
                  <a:gd name="connsiteY87" fmla="*/ 303371 h 584168"/>
                  <a:gd name="connsiteX88" fmla="*/ 420624 w 3587973"/>
                  <a:gd name="connsiteY88" fmla="*/ 303371 h 584168"/>
                  <a:gd name="connsiteX89" fmla="*/ 420624 w 3587973"/>
                  <a:gd name="connsiteY89" fmla="*/ 309372 h 584168"/>
                  <a:gd name="connsiteX90" fmla="*/ 426911 w 3587973"/>
                  <a:gd name="connsiteY90" fmla="*/ 309372 h 584168"/>
                  <a:gd name="connsiteX91" fmla="*/ 426911 w 3587973"/>
                  <a:gd name="connsiteY91" fmla="*/ 321564 h 584168"/>
                  <a:gd name="connsiteX92" fmla="*/ 429006 w 3587973"/>
                  <a:gd name="connsiteY92" fmla="*/ 321564 h 584168"/>
                  <a:gd name="connsiteX93" fmla="*/ 429006 w 3587973"/>
                  <a:gd name="connsiteY93" fmla="*/ 327660 h 584168"/>
                  <a:gd name="connsiteX94" fmla="*/ 441579 w 3587973"/>
                  <a:gd name="connsiteY94" fmla="*/ 327660 h 584168"/>
                  <a:gd name="connsiteX95" fmla="*/ 441579 w 3587973"/>
                  <a:gd name="connsiteY95" fmla="*/ 333661 h 584168"/>
                  <a:gd name="connsiteX96" fmla="*/ 464725 w 3587973"/>
                  <a:gd name="connsiteY96" fmla="*/ 333661 h 584168"/>
                  <a:gd name="connsiteX97" fmla="*/ 464725 w 3587973"/>
                  <a:gd name="connsiteY97" fmla="*/ 339757 h 584168"/>
                  <a:gd name="connsiteX98" fmla="*/ 471107 w 3587973"/>
                  <a:gd name="connsiteY98" fmla="*/ 339757 h 584168"/>
                  <a:gd name="connsiteX99" fmla="*/ 471107 w 3587973"/>
                  <a:gd name="connsiteY99" fmla="*/ 345853 h 584168"/>
                  <a:gd name="connsiteX100" fmla="*/ 479489 w 3587973"/>
                  <a:gd name="connsiteY100" fmla="*/ 345853 h 584168"/>
                  <a:gd name="connsiteX101" fmla="*/ 479489 w 3587973"/>
                  <a:gd name="connsiteY101" fmla="*/ 351854 h 584168"/>
                  <a:gd name="connsiteX102" fmla="*/ 487871 w 3587973"/>
                  <a:gd name="connsiteY102" fmla="*/ 351854 h 584168"/>
                  <a:gd name="connsiteX103" fmla="*/ 487871 w 3587973"/>
                  <a:gd name="connsiteY103" fmla="*/ 357950 h 584168"/>
                  <a:gd name="connsiteX104" fmla="*/ 492062 w 3587973"/>
                  <a:gd name="connsiteY104" fmla="*/ 357950 h 584168"/>
                  <a:gd name="connsiteX105" fmla="*/ 492062 w 3587973"/>
                  <a:gd name="connsiteY105" fmla="*/ 364046 h 584168"/>
                  <a:gd name="connsiteX106" fmla="*/ 565690 w 3587973"/>
                  <a:gd name="connsiteY106" fmla="*/ 364046 h 584168"/>
                  <a:gd name="connsiteX107" fmla="*/ 565690 w 3587973"/>
                  <a:gd name="connsiteY107" fmla="*/ 370046 h 584168"/>
                  <a:gd name="connsiteX108" fmla="*/ 586740 w 3587973"/>
                  <a:gd name="connsiteY108" fmla="*/ 370046 h 584168"/>
                  <a:gd name="connsiteX109" fmla="*/ 586740 w 3587973"/>
                  <a:gd name="connsiteY109" fmla="*/ 376142 h 584168"/>
                  <a:gd name="connsiteX110" fmla="*/ 593027 w 3587973"/>
                  <a:gd name="connsiteY110" fmla="*/ 376142 h 584168"/>
                  <a:gd name="connsiteX111" fmla="*/ 593027 w 3587973"/>
                  <a:gd name="connsiteY111" fmla="*/ 382238 h 584168"/>
                  <a:gd name="connsiteX112" fmla="*/ 635127 w 3587973"/>
                  <a:gd name="connsiteY112" fmla="*/ 382238 h 584168"/>
                  <a:gd name="connsiteX113" fmla="*/ 635127 w 3587973"/>
                  <a:gd name="connsiteY113" fmla="*/ 388239 h 584168"/>
                  <a:gd name="connsiteX114" fmla="*/ 649796 w 3587973"/>
                  <a:gd name="connsiteY114" fmla="*/ 388239 h 584168"/>
                  <a:gd name="connsiteX115" fmla="*/ 649796 w 3587973"/>
                  <a:gd name="connsiteY115" fmla="*/ 394335 h 584168"/>
                  <a:gd name="connsiteX116" fmla="*/ 679323 w 3587973"/>
                  <a:gd name="connsiteY116" fmla="*/ 394335 h 584168"/>
                  <a:gd name="connsiteX117" fmla="*/ 679323 w 3587973"/>
                  <a:gd name="connsiteY117" fmla="*/ 400431 h 584168"/>
                  <a:gd name="connsiteX118" fmla="*/ 681419 w 3587973"/>
                  <a:gd name="connsiteY118" fmla="*/ 400431 h 584168"/>
                  <a:gd name="connsiteX119" fmla="*/ 681419 w 3587973"/>
                  <a:gd name="connsiteY119" fmla="*/ 406432 h 584168"/>
                  <a:gd name="connsiteX120" fmla="*/ 704469 w 3587973"/>
                  <a:gd name="connsiteY120" fmla="*/ 406432 h 584168"/>
                  <a:gd name="connsiteX121" fmla="*/ 704469 w 3587973"/>
                  <a:gd name="connsiteY121" fmla="*/ 412528 h 584168"/>
                  <a:gd name="connsiteX122" fmla="*/ 717138 w 3587973"/>
                  <a:gd name="connsiteY122" fmla="*/ 412528 h 584168"/>
                  <a:gd name="connsiteX123" fmla="*/ 717138 w 3587973"/>
                  <a:gd name="connsiteY123" fmla="*/ 418624 h 584168"/>
                  <a:gd name="connsiteX124" fmla="*/ 752856 w 3587973"/>
                  <a:gd name="connsiteY124" fmla="*/ 418624 h 584168"/>
                  <a:gd name="connsiteX125" fmla="*/ 752856 w 3587973"/>
                  <a:gd name="connsiteY125" fmla="*/ 424720 h 584168"/>
                  <a:gd name="connsiteX126" fmla="*/ 868585 w 3587973"/>
                  <a:gd name="connsiteY126" fmla="*/ 424720 h 584168"/>
                  <a:gd name="connsiteX127" fmla="*/ 868585 w 3587973"/>
                  <a:gd name="connsiteY127" fmla="*/ 430721 h 584168"/>
                  <a:gd name="connsiteX128" fmla="*/ 906399 w 3587973"/>
                  <a:gd name="connsiteY128" fmla="*/ 430721 h 584168"/>
                  <a:gd name="connsiteX129" fmla="*/ 906399 w 3587973"/>
                  <a:gd name="connsiteY129" fmla="*/ 436912 h 584168"/>
                  <a:gd name="connsiteX130" fmla="*/ 958977 w 3587973"/>
                  <a:gd name="connsiteY130" fmla="*/ 436912 h 584168"/>
                  <a:gd name="connsiteX131" fmla="*/ 958977 w 3587973"/>
                  <a:gd name="connsiteY131" fmla="*/ 443008 h 584168"/>
                  <a:gd name="connsiteX132" fmla="*/ 977932 w 3587973"/>
                  <a:gd name="connsiteY132" fmla="*/ 443008 h 584168"/>
                  <a:gd name="connsiteX133" fmla="*/ 977932 w 3587973"/>
                  <a:gd name="connsiteY133" fmla="*/ 449104 h 584168"/>
                  <a:gd name="connsiteX134" fmla="*/ 988410 w 3587973"/>
                  <a:gd name="connsiteY134" fmla="*/ 449104 h 584168"/>
                  <a:gd name="connsiteX135" fmla="*/ 988410 w 3587973"/>
                  <a:gd name="connsiteY135" fmla="*/ 455295 h 584168"/>
                  <a:gd name="connsiteX136" fmla="*/ 1022128 w 3587973"/>
                  <a:gd name="connsiteY136" fmla="*/ 455295 h 584168"/>
                  <a:gd name="connsiteX137" fmla="*/ 1022128 w 3587973"/>
                  <a:gd name="connsiteY137" fmla="*/ 461391 h 584168"/>
                  <a:gd name="connsiteX138" fmla="*/ 1028415 w 3587973"/>
                  <a:gd name="connsiteY138" fmla="*/ 461391 h 584168"/>
                  <a:gd name="connsiteX139" fmla="*/ 1028415 w 3587973"/>
                  <a:gd name="connsiteY139" fmla="*/ 467487 h 584168"/>
                  <a:gd name="connsiteX140" fmla="*/ 1043083 w 3587973"/>
                  <a:gd name="connsiteY140" fmla="*/ 467487 h 584168"/>
                  <a:gd name="connsiteX141" fmla="*/ 1043083 w 3587973"/>
                  <a:gd name="connsiteY141" fmla="*/ 473583 h 584168"/>
                  <a:gd name="connsiteX142" fmla="*/ 1055751 w 3587973"/>
                  <a:gd name="connsiteY142" fmla="*/ 473583 h 584168"/>
                  <a:gd name="connsiteX143" fmla="*/ 1055751 w 3587973"/>
                  <a:gd name="connsiteY143" fmla="*/ 479774 h 584168"/>
                  <a:gd name="connsiteX144" fmla="*/ 1080993 w 3587973"/>
                  <a:gd name="connsiteY144" fmla="*/ 479774 h 584168"/>
                  <a:gd name="connsiteX145" fmla="*/ 1080993 w 3587973"/>
                  <a:gd name="connsiteY145" fmla="*/ 485870 h 584168"/>
                  <a:gd name="connsiteX146" fmla="*/ 1310259 w 3587973"/>
                  <a:gd name="connsiteY146" fmla="*/ 485870 h 584168"/>
                  <a:gd name="connsiteX147" fmla="*/ 1310259 w 3587973"/>
                  <a:gd name="connsiteY147" fmla="*/ 492062 h 584168"/>
                  <a:gd name="connsiteX148" fmla="*/ 1423797 w 3587973"/>
                  <a:gd name="connsiteY148" fmla="*/ 492062 h 584168"/>
                  <a:gd name="connsiteX149" fmla="*/ 1423797 w 3587973"/>
                  <a:gd name="connsiteY149" fmla="*/ 498253 h 584168"/>
                  <a:gd name="connsiteX150" fmla="*/ 1692974 w 3587973"/>
                  <a:gd name="connsiteY150" fmla="*/ 498253 h 584168"/>
                  <a:gd name="connsiteX151" fmla="*/ 1692974 w 3587973"/>
                  <a:gd name="connsiteY151" fmla="*/ 504539 h 584168"/>
                  <a:gd name="connsiteX152" fmla="*/ 1766602 w 3587973"/>
                  <a:gd name="connsiteY152" fmla="*/ 504539 h 584168"/>
                  <a:gd name="connsiteX153" fmla="*/ 1766602 w 3587973"/>
                  <a:gd name="connsiteY153" fmla="*/ 510826 h 584168"/>
                  <a:gd name="connsiteX154" fmla="*/ 1846517 w 3587973"/>
                  <a:gd name="connsiteY154" fmla="*/ 510826 h 584168"/>
                  <a:gd name="connsiteX155" fmla="*/ 1846517 w 3587973"/>
                  <a:gd name="connsiteY155" fmla="*/ 517112 h 584168"/>
                  <a:gd name="connsiteX156" fmla="*/ 2008442 w 3587973"/>
                  <a:gd name="connsiteY156" fmla="*/ 517112 h 584168"/>
                  <a:gd name="connsiteX157" fmla="*/ 2008442 w 3587973"/>
                  <a:gd name="connsiteY157" fmla="*/ 523589 h 584168"/>
                  <a:gd name="connsiteX158" fmla="*/ 2025301 w 3587973"/>
                  <a:gd name="connsiteY158" fmla="*/ 523589 h 584168"/>
                  <a:gd name="connsiteX159" fmla="*/ 2025301 w 3587973"/>
                  <a:gd name="connsiteY159" fmla="*/ 529971 h 584168"/>
                  <a:gd name="connsiteX160" fmla="*/ 2143125 w 3587973"/>
                  <a:gd name="connsiteY160" fmla="*/ 529971 h 584168"/>
                  <a:gd name="connsiteX161" fmla="*/ 2143125 w 3587973"/>
                  <a:gd name="connsiteY161" fmla="*/ 536448 h 584168"/>
                  <a:gd name="connsiteX162" fmla="*/ 2235613 w 3587973"/>
                  <a:gd name="connsiteY162" fmla="*/ 536448 h 584168"/>
                  <a:gd name="connsiteX163" fmla="*/ 2235613 w 3587973"/>
                  <a:gd name="connsiteY163" fmla="*/ 542830 h 584168"/>
                  <a:gd name="connsiteX164" fmla="*/ 2254568 w 3587973"/>
                  <a:gd name="connsiteY164" fmla="*/ 542830 h 584168"/>
                  <a:gd name="connsiteX165" fmla="*/ 2254568 w 3587973"/>
                  <a:gd name="connsiteY165" fmla="*/ 549307 h 584168"/>
                  <a:gd name="connsiteX166" fmla="*/ 3108389 w 3587973"/>
                  <a:gd name="connsiteY166" fmla="*/ 549307 h 584168"/>
                  <a:gd name="connsiteX167" fmla="*/ 3108389 w 3587973"/>
                  <a:gd name="connsiteY167" fmla="*/ 584168 h 584168"/>
                  <a:gd name="connsiteX168" fmla="*/ 3587973 w 3587973"/>
                  <a:gd name="connsiteY168" fmla="*/ 584168 h 584168"/>
                  <a:gd name="connsiteX0" fmla="*/ 0 w 3587973"/>
                  <a:gd name="connsiteY0" fmla="*/ 0 h 578072"/>
                  <a:gd name="connsiteX1" fmla="*/ 8382 w 3587973"/>
                  <a:gd name="connsiteY1" fmla="*/ 0 h 578072"/>
                  <a:gd name="connsiteX2" fmla="*/ 8382 w 3587973"/>
                  <a:gd name="connsiteY2" fmla="*/ 12097 h 578072"/>
                  <a:gd name="connsiteX3" fmla="*/ 14669 w 3587973"/>
                  <a:gd name="connsiteY3" fmla="*/ 12097 h 578072"/>
                  <a:gd name="connsiteX4" fmla="*/ 14669 w 3587973"/>
                  <a:gd name="connsiteY4" fmla="*/ 18193 h 578072"/>
                  <a:gd name="connsiteX5" fmla="*/ 18860 w 3587973"/>
                  <a:gd name="connsiteY5" fmla="*/ 18193 h 578072"/>
                  <a:gd name="connsiteX6" fmla="*/ 18860 w 3587973"/>
                  <a:gd name="connsiteY6" fmla="*/ 24289 h 578072"/>
                  <a:gd name="connsiteX7" fmla="*/ 23051 w 3587973"/>
                  <a:gd name="connsiteY7" fmla="*/ 24289 h 578072"/>
                  <a:gd name="connsiteX8" fmla="*/ 23051 w 3587973"/>
                  <a:gd name="connsiteY8" fmla="*/ 30385 h 578072"/>
                  <a:gd name="connsiteX9" fmla="*/ 25146 w 3587973"/>
                  <a:gd name="connsiteY9" fmla="*/ 30385 h 578072"/>
                  <a:gd name="connsiteX10" fmla="*/ 25146 w 3587973"/>
                  <a:gd name="connsiteY10" fmla="*/ 36386 h 578072"/>
                  <a:gd name="connsiteX11" fmla="*/ 27337 w 3587973"/>
                  <a:gd name="connsiteY11" fmla="*/ 36386 h 578072"/>
                  <a:gd name="connsiteX12" fmla="*/ 27337 w 3587973"/>
                  <a:gd name="connsiteY12" fmla="*/ 42482 h 578072"/>
                  <a:gd name="connsiteX13" fmla="*/ 37814 w 3587973"/>
                  <a:gd name="connsiteY13" fmla="*/ 42482 h 578072"/>
                  <a:gd name="connsiteX14" fmla="*/ 37814 w 3587973"/>
                  <a:gd name="connsiteY14" fmla="*/ 48578 h 578072"/>
                  <a:gd name="connsiteX15" fmla="*/ 44101 w 3587973"/>
                  <a:gd name="connsiteY15" fmla="*/ 48578 h 578072"/>
                  <a:gd name="connsiteX16" fmla="*/ 44101 w 3587973"/>
                  <a:gd name="connsiteY16" fmla="*/ 54578 h 578072"/>
                  <a:gd name="connsiteX17" fmla="*/ 58865 w 3587973"/>
                  <a:gd name="connsiteY17" fmla="*/ 54578 h 578072"/>
                  <a:gd name="connsiteX18" fmla="*/ 58865 w 3587973"/>
                  <a:gd name="connsiteY18" fmla="*/ 60674 h 578072"/>
                  <a:gd name="connsiteX19" fmla="*/ 67247 w 3587973"/>
                  <a:gd name="connsiteY19" fmla="*/ 60674 h 578072"/>
                  <a:gd name="connsiteX20" fmla="*/ 67247 w 3587973"/>
                  <a:gd name="connsiteY20" fmla="*/ 66770 h 578072"/>
                  <a:gd name="connsiteX21" fmla="*/ 77820 w 3587973"/>
                  <a:gd name="connsiteY21" fmla="*/ 66770 h 578072"/>
                  <a:gd name="connsiteX22" fmla="*/ 77820 w 3587973"/>
                  <a:gd name="connsiteY22" fmla="*/ 72771 h 578072"/>
                  <a:gd name="connsiteX23" fmla="*/ 90393 w 3587973"/>
                  <a:gd name="connsiteY23" fmla="*/ 72771 h 578072"/>
                  <a:gd name="connsiteX24" fmla="*/ 90393 w 3587973"/>
                  <a:gd name="connsiteY24" fmla="*/ 78867 h 578072"/>
                  <a:gd name="connsiteX25" fmla="*/ 96679 w 3587973"/>
                  <a:gd name="connsiteY25" fmla="*/ 78867 h 578072"/>
                  <a:gd name="connsiteX26" fmla="*/ 96679 w 3587973"/>
                  <a:gd name="connsiteY26" fmla="*/ 90964 h 578072"/>
                  <a:gd name="connsiteX27" fmla="*/ 100870 w 3587973"/>
                  <a:gd name="connsiteY27" fmla="*/ 90964 h 578072"/>
                  <a:gd name="connsiteX28" fmla="*/ 100870 w 3587973"/>
                  <a:gd name="connsiteY28" fmla="*/ 97060 h 578072"/>
                  <a:gd name="connsiteX29" fmla="*/ 113538 w 3587973"/>
                  <a:gd name="connsiteY29" fmla="*/ 97060 h 578072"/>
                  <a:gd name="connsiteX30" fmla="*/ 113538 w 3587973"/>
                  <a:gd name="connsiteY30" fmla="*/ 103156 h 578072"/>
                  <a:gd name="connsiteX31" fmla="*/ 128207 w 3587973"/>
                  <a:gd name="connsiteY31" fmla="*/ 103156 h 578072"/>
                  <a:gd name="connsiteX32" fmla="*/ 128207 w 3587973"/>
                  <a:gd name="connsiteY32" fmla="*/ 109157 h 578072"/>
                  <a:gd name="connsiteX33" fmla="*/ 132493 w 3587973"/>
                  <a:gd name="connsiteY33" fmla="*/ 109157 h 578072"/>
                  <a:gd name="connsiteX34" fmla="*/ 132493 w 3587973"/>
                  <a:gd name="connsiteY34" fmla="*/ 115253 h 578072"/>
                  <a:gd name="connsiteX35" fmla="*/ 142970 w 3587973"/>
                  <a:gd name="connsiteY35" fmla="*/ 115253 h 578072"/>
                  <a:gd name="connsiteX36" fmla="*/ 142970 w 3587973"/>
                  <a:gd name="connsiteY36" fmla="*/ 121349 h 578072"/>
                  <a:gd name="connsiteX37" fmla="*/ 151353 w 3587973"/>
                  <a:gd name="connsiteY37" fmla="*/ 121349 h 578072"/>
                  <a:gd name="connsiteX38" fmla="*/ 151353 w 3587973"/>
                  <a:gd name="connsiteY38" fmla="*/ 127445 h 578072"/>
                  <a:gd name="connsiteX39" fmla="*/ 166116 w 3587973"/>
                  <a:gd name="connsiteY39" fmla="*/ 127445 h 578072"/>
                  <a:gd name="connsiteX40" fmla="*/ 166116 w 3587973"/>
                  <a:gd name="connsiteY40" fmla="*/ 133445 h 578072"/>
                  <a:gd name="connsiteX41" fmla="*/ 170307 w 3587973"/>
                  <a:gd name="connsiteY41" fmla="*/ 133445 h 578072"/>
                  <a:gd name="connsiteX42" fmla="*/ 170307 w 3587973"/>
                  <a:gd name="connsiteY42" fmla="*/ 139541 h 578072"/>
                  <a:gd name="connsiteX43" fmla="*/ 174498 w 3587973"/>
                  <a:gd name="connsiteY43" fmla="*/ 139541 h 578072"/>
                  <a:gd name="connsiteX44" fmla="*/ 174498 w 3587973"/>
                  <a:gd name="connsiteY44" fmla="*/ 145637 h 578072"/>
                  <a:gd name="connsiteX45" fmla="*/ 187167 w 3587973"/>
                  <a:gd name="connsiteY45" fmla="*/ 145637 h 578072"/>
                  <a:gd name="connsiteX46" fmla="*/ 187167 w 3587973"/>
                  <a:gd name="connsiteY46" fmla="*/ 151638 h 578072"/>
                  <a:gd name="connsiteX47" fmla="*/ 216599 w 3587973"/>
                  <a:gd name="connsiteY47" fmla="*/ 151638 h 578072"/>
                  <a:gd name="connsiteX48" fmla="*/ 216599 w 3587973"/>
                  <a:gd name="connsiteY48" fmla="*/ 157734 h 578072"/>
                  <a:gd name="connsiteX49" fmla="*/ 224981 w 3587973"/>
                  <a:gd name="connsiteY49" fmla="*/ 157734 h 578072"/>
                  <a:gd name="connsiteX50" fmla="*/ 224981 w 3587973"/>
                  <a:gd name="connsiteY50" fmla="*/ 163830 h 578072"/>
                  <a:gd name="connsiteX51" fmla="*/ 227076 w 3587973"/>
                  <a:gd name="connsiteY51" fmla="*/ 163830 h 578072"/>
                  <a:gd name="connsiteX52" fmla="*/ 227076 w 3587973"/>
                  <a:gd name="connsiteY52" fmla="*/ 169831 h 578072"/>
                  <a:gd name="connsiteX53" fmla="*/ 241840 w 3587973"/>
                  <a:gd name="connsiteY53" fmla="*/ 169831 h 578072"/>
                  <a:gd name="connsiteX54" fmla="*/ 241840 w 3587973"/>
                  <a:gd name="connsiteY54" fmla="*/ 182023 h 578072"/>
                  <a:gd name="connsiteX55" fmla="*/ 243936 w 3587973"/>
                  <a:gd name="connsiteY55" fmla="*/ 182023 h 578072"/>
                  <a:gd name="connsiteX56" fmla="*/ 243936 w 3587973"/>
                  <a:gd name="connsiteY56" fmla="*/ 188024 h 578072"/>
                  <a:gd name="connsiteX57" fmla="*/ 250222 w 3587973"/>
                  <a:gd name="connsiteY57" fmla="*/ 188024 h 578072"/>
                  <a:gd name="connsiteX58" fmla="*/ 250222 w 3587973"/>
                  <a:gd name="connsiteY58" fmla="*/ 194120 h 578072"/>
                  <a:gd name="connsiteX59" fmla="*/ 254413 w 3587973"/>
                  <a:gd name="connsiteY59" fmla="*/ 194120 h 578072"/>
                  <a:gd name="connsiteX60" fmla="*/ 254413 w 3587973"/>
                  <a:gd name="connsiteY60" fmla="*/ 200216 h 578072"/>
                  <a:gd name="connsiteX61" fmla="*/ 271272 w 3587973"/>
                  <a:gd name="connsiteY61" fmla="*/ 200216 h 578072"/>
                  <a:gd name="connsiteX62" fmla="*/ 271272 w 3587973"/>
                  <a:gd name="connsiteY62" fmla="*/ 212312 h 578072"/>
                  <a:gd name="connsiteX63" fmla="*/ 275463 w 3587973"/>
                  <a:gd name="connsiteY63" fmla="*/ 212312 h 578072"/>
                  <a:gd name="connsiteX64" fmla="*/ 275463 w 3587973"/>
                  <a:gd name="connsiteY64" fmla="*/ 218408 h 578072"/>
                  <a:gd name="connsiteX65" fmla="*/ 298609 w 3587973"/>
                  <a:gd name="connsiteY65" fmla="*/ 218408 h 578072"/>
                  <a:gd name="connsiteX66" fmla="*/ 298609 w 3587973"/>
                  <a:gd name="connsiteY66" fmla="*/ 224504 h 578072"/>
                  <a:gd name="connsiteX67" fmla="*/ 302800 w 3587973"/>
                  <a:gd name="connsiteY67" fmla="*/ 224504 h 578072"/>
                  <a:gd name="connsiteX68" fmla="*/ 302800 w 3587973"/>
                  <a:gd name="connsiteY68" fmla="*/ 230505 h 578072"/>
                  <a:gd name="connsiteX69" fmla="*/ 309087 w 3587973"/>
                  <a:gd name="connsiteY69" fmla="*/ 230505 h 578072"/>
                  <a:gd name="connsiteX70" fmla="*/ 309087 w 3587973"/>
                  <a:gd name="connsiteY70" fmla="*/ 242697 h 578072"/>
                  <a:gd name="connsiteX71" fmla="*/ 328041 w 3587973"/>
                  <a:gd name="connsiteY71" fmla="*/ 242697 h 578072"/>
                  <a:gd name="connsiteX72" fmla="*/ 328041 w 3587973"/>
                  <a:gd name="connsiteY72" fmla="*/ 248698 h 578072"/>
                  <a:gd name="connsiteX73" fmla="*/ 336423 w 3587973"/>
                  <a:gd name="connsiteY73" fmla="*/ 248698 h 578072"/>
                  <a:gd name="connsiteX74" fmla="*/ 336423 w 3587973"/>
                  <a:gd name="connsiteY74" fmla="*/ 254794 h 578072"/>
                  <a:gd name="connsiteX75" fmla="*/ 349092 w 3587973"/>
                  <a:gd name="connsiteY75" fmla="*/ 254794 h 578072"/>
                  <a:gd name="connsiteX76" fmla="*/ 349092 w 3587973"/>
                  <a:gd name="connsiteY76" fmla="*/ 260890 h 578072"/>
                  <a:gd name="connsiteX77" fmla="*/ 365951 w 3587973"/>
                  <a:gd name="connsiteY77" fmla="*/ 260890 h 578072"/>
                  <a:gd name="connsiteX78" fmla="*/ 365951 w 3587973"/>
                  <a:gd name="connsiteY78" fmla="*/ 266891 h 578072"/>
                  <a:gd name="connsiteX79" fmla="*/ 393288 w 3587973"/>
                  <a:gd name="connsiteY79" fmla="*/ 266891 h 578072"/>
                  <a:gd name="connsiteX80" fmla="*/ 393288 w 3587973"/>
                  <a:gd name="connsiteY80" fmla="*/ 272987 h 578072"/>
                  <a:gd name="connsiteX81" fmla="*/ 395383 w 3587973"/>
                  <a:gd name="connsiteY81" fmla="*/ 272987 h 578072"/>
                  <a:gd name="connsiteX82" fmla="*/ 395383 w 3587973"/>
                  <a:gd name="connsiteY82" fmla="*/ 279083 h 578072"/>
                  <a:gd name="connsiteX83" fmla="*/ 405860 w 3587973"/>
                  <a:gd name="connsiteY83" fmla="*/ 279083 h 578072"/>
                  <a:gd name="connsiteX84" fmla="*/ 405860 w 3587973"/>
                  <a:gd name="connsiteY84" fmla="*/ 285083 h 578072"/>
                  <a:gd name="connsiteX85" fmla="*/ 412147 w 3587973"/>
                  <a:gd name="connsiteY85" fmla="*/ 285083 h 578072"/>
                  <a:gd name="connsiteX86" fmla="*/ 412147 w 3587973"/>
                  <a:gd name="connsiteY86" fmla="*/ 297275 h 578072"/>
                  <a:gd name="connsiteX87" fmla="*/ 420624 w 3587973"/>
                  <a:gd name="connsiteY87" fmla="*/ 297275 h 578072"/>
                  <a:gd name="connsiteX88" fmla="*/ 420624 w 3587973"/>
                  <a:gd name="connsiteY88" fmla="*/ 303276 h 578072"/>
                  <a:gd name="connsiteX89" fmla="*/ 426911 w 3587973"/>
                  <a:gd name="connsiteY89" fmla="*/ 303276 h 578072"/>
                  <a:gd name="connsiteX90" fmla="*/ 426911 w 3587973"/>
                  <a:gd name="connsiteY90" fmla="*/ 315468 h 578072"/>
                  <a:gd name="connsiteX91" fmla="*/ 429006 w 3587973"/>
                  <a:gd name="connsiteY91" fmla="*/ 315468 h 578072"/>
                  <a:gd name="connsiteX92" fmla="*/ 429006 w 3587973"/>
                  <a:gd name="connsiteY92" fmla="*/ 321564 h 578072"/>
                  <a:gd name="connsiteX93" fmla="*/ 441579 w 3587973"/>
                  <a:gd name="connsiteY93" fmla="*/ 321564 h 578072"/>
                  <a:gd name="connsiteX94" fmla="*/ 441579 w 3587973"/>
                  <a:gd name="connsiteY94" fmla="*/ 327565 h 578072"/>
                  <a:gd name="connsiteX95" fmla="*/ 464725 w 3587973"/>
                  <a:gd name="connsiteY95" fmla="*/ 327565 h 578072"/>
                  <a:gd name="connsiteX96" fmla="*/ 464725 w 3587973"/>
                  <a:gd name="connsiteY96" fmla="*/ 333661 h 578072"/>
                  <a:gd name="connsiteX97" fmla="*/ 471107 w 3587973"/>
                  <a:gd name="connsiteY97" fmla="*/ 333661 h 578072"/>
                  <a:gd name="connsiteX98" fmla="*/ 471107 w 3587973"/>
                  <a:gd name="connsiteY98" fmla="*/ 339757 h 578072"/>
                  <a:gd name="connsiteX99" fmla="*/ 479489 w 3587973"/>
                  <a:gd name="connsiteY99" fmla="*/ 339757 h 578072"/>
                  <a:gd name="connsiteX100" fmla="*/ 479489 w 3587973"/>
                  <a:gd name="connsiteY100" fmla="*/ 345758 h 578072"/>
                  <a:gd name="connsiteX101" fmla="*/ 487871 w 3587973"/>
                  <a:gd name="connsiteY101" fmla="*/ 345758 h 578072"/>
                  <a:gd name="connsiteX102" fmla="*/ 487871 w 3587973"/>
                  <a:gd name="connsiteY102" fmla="*/ 351854 h 578072"/>
                  <a:gd name="connsiteX103" fmla="*/ 492062 w 3587973"/>
                  <a:gd name="connsiteY103" fmla="*/ 351854 h 578072"/>
                  <a:gd name="connsiteX104" fmla="*/ 492062 w 3587973"/>
                  <a:gd name="connsiteY104" fmla="*/ 357950 h 578072"/>
                  <a:gd name="connsiteX105" fmla="*/ 565690 w 3587973"/>
                  <a:gd name="connsiteY105" fmla="*/ 357950 h 578072"/>
                  <a:gd name="connsiteX106" fmla="*/ 565690 w 3587973"/>
                  <a:gd name="connsiteY106" fmla="*/ 363950 h 578072"/>
                  <a:gd name="connsiteX107" fmla="*/ 586740 w 3587973"/>
                  <a:gd name="connsiteY107" fmla="*/ 363950 h 578072"/>
                  <a:gd name="connsiteX108" fmla="*/ 586740 w 3587973"/>
                  <a:gd name="connsiteY108" fmla="*/ 370046 h 578072"/>
                  <a:gd name="connsiteX109" fmla="*/ 593027 w 3587973"/>
                  <a:gd name="connsiteY109" fmla="*/ 370046 h 578072"/>
                  <a:gd name="connsiteX110" fmla="*/ 593027 w 3587973"/>
                  <a:gd name="connsiteY110" fmla="*/ 376142 h 578072"/>
                  <a:gd name="connsiteX111" fmla="*/ 635127 w 3587973"/>
                  <a:gd name="connsiteY111" fmla="*/ 376142 h 578072"/>
                  <a:gd name="connsiteX112" fmla="*/ 635127 w 3587973"/>
                  <a:gd name="connsiteY112" fmla="*/ 382143 h 578072"/>
                  <a:gd name="connsiteX113" fmla="*/ 649796 w 3587973"/>
                  <a:gd name="connsiteY113" fmla="*/ 382143 h 578072"/>
                  <a:gd name="connsiteX114" fmla="*/ 649796 w 3587973"/>
                  <a:gd name="connsiteY114" fmla="*/ 388239 h 578072"/>
                  <a:gd name="connsiteX115" fmla="*/ 679323 w 3587973"/>
                  <a:gd name="connsiteY115" fmla="*/ 388239 h 578072"/>
                  <a:gd name="connsiteX116" fmla="*/ 679323 w 3587973"/>
                  <a:gd name="connsiteY116" fmla="*/ 394335 h 578072"/>
                  <a:gd name="connsiteX117" fmla="*/ 681419 w 3587973"/>
                  <a:gd name="connsiteY117" fmla="*/ 394335 h 578072"/>
                  <a:gd name="connsiteX118" fmla="*/ 681419 w 3587973"/>
                  <a:gd name="connsiteY118" fmla="*/ 400336 h 578072"/>
                  <a:gd name="connsiteX119" fmla="*/ 704469 w 3587973"/>
                  <a:gd name="connsiteY119" fmla="*/ 400336 h 578072"/>
                  <a:gd name="connsiteX120" fmla="*/ 704469 w 3587973"/>
                  <a:gd name="connsiteY120" fmla="*/ 406432 h 578072"/>
                  <a:gd name="connsiteX121" fmla="*/ 717138 w 3587973"/>
                  <a:gd name="connsiteY121" fmla="*/ 406432 h 578072"/>
                  <a:gd name="connsiteX122" fmla="*/ 717138 w 3587973"/>
                  <a:gd name="connsiteY122" fmla="*/ 412528 h 578072"/>
                  <a:gd name="connsiteX123" fmla="*/ 752856 w 3587973"/>
                  <a:gd name="connsiteY123" fmla="*/ 412528 h 578072"/>
                  <a:gd name="connsiteX124" fmla="*/ 752856 w 3587973"/>
                  <a:gd name="connsiteY124" fmla="*/ 418624 h 578072"/>
                  <a:gd name="connsiteX125" fmla="*/ 868585 w 3587973"/>
                  <a:gd name="connsiteY125" fmla="*/ 418624 h 578072"/>
                  <a:gd name="connsiteX126" fmla="*/ 868585 w 3587973"/>
                  <a:gd name="connsiteY126" fmla="*/ 424625 h 578072"/>
                  <a:gd name="connsiteX127" fmla="*/ 906399 w 3587973"/>
                  <a:gd name="connsiteY127" fmla="*/ 424625 h 578072"/>
                  <a:gd name="connsiteX128" fmla="*/ 906399 w 3587973"/>
                  <a:gd name="connsiteY128" fmla="*/ 430816 h 578072"/>
                  <a:gd name="connsiteX129" fmla="*/ 958977 w 3587973"/>
                  <a:gd name="connsiteY129" fmla="*/ 430816 h 578072"/>
                  <a:gd name="connsiteX130" fmla="*/ 958977 w 3587973"/>
                  <a:gd name="connsiteY130" fmla="*/ 436912 h 578072"/>
                  <a:gd name="connsiteX131" fmla="*/ 977932 w 3587973"/>
                  <a:gd name="connsiteY131" fmla="*/ 436912 h 578072"/>
                  <a:gd name="connsiteX132" fmla="*/ 977932 w 3587973"/>
                  <a:gd name="connsiteY132" fmla="*/ 443008 h 578072"/>
                  <a:gd name="connsiteX133" fmla="*/ 988410 w 3587973"/>
                  <a:gd name="connsiteY133" fmla="*/ 443008 h 578072"/>
                  <a:gd name="connsiteX134" fmla="*/ 988410 w 3587973"/>
                  <a:gd name="connsiteY134" fmla="*/ 449199 h 578072"/>
                  <a:gd name="connsiteX135" fmla="*/ 1022128 w 3587973"/>
                  <a:gd name="connsiteY135" fmla="*/ 449199 h 578072"/>
                  <a:gd name="connsiteX136" fmla="*/ 1022128 w 3587973"/>
                  <a:gd name="connsiteY136" fmla="*/ 455295 h 578072"/>
                  <a:gd name="connsiteX137" fmla="*/ 1028415 w 3587973"/>
                  <a:gd name="connsiteY137" fmla="*/ 455295 h 578072"/>
                  <a:gd name="connsiteX138" fmla="*/ 1028415 w 3587973"/>
                  <a:gd name="connsiteY138" fmla="*/ 461391 h 578072"/>
                  <a:gd name="connsiteX139" fmla="*/ 1043083 w 3587973"/>
                  <a:gd name="connsiteY139" fmla="*/ 461391 h 578072"/>
                  <a:gd name="connsiteX140" fmla="*/ 1043083 w 3587973"/>
                  <a:gd name="connsiteY140" fmla="*/ 467487 h 578072"/>
                  <a:gd name="connsiteX141" fmla="*/ 1055751 w 3587973"/>
                  <a:gd name="connsiteY141" fmla="*/ 467487 h 578072"/>
                  <a:gd name="connsiteX142" fmla="*/ 1055751 w 3587973"/>
                  <a:gd name="connsiteY142" fmla="*/ 473678 h 578072"/>
                  <a:gd name="connsiteX143" fmla="*/ 1080993 w 3587973"/>
                  <a:gd name="connsiteY143" fmla="*/ 473678 h 578072"/>
                  <a:gd name="connsiteX144" fmla="*/ 1080993 w 3587973"/>
                  <a:gd name="connsiteY144" fmla="*/ 479774 h 578072"/>
                  <a:gd name="connsiteX145" fmla="*/ 1310259 w 3587973"/>
                  <a:gd name="connsiteY145" fmla="*/ 479774 h 578072"/>
                  <a:gd name="connsiteX146" fmla="*/ 1310259 w 3587973"/>
                  <a:gd name="connsiteY146" fmla="*/ 485966 h 578072"/>
                  <a:gd name="connsiteX147" fmla="*/ 1423797 w 3587973"/>
                  <a:gd name="connsiteY147" fmla="*/ 485966 h 578072"/>
                  <a:gd name="connsiteX148" fmla="*/ 1423797 w 3587973"/>
                  <a:gd name="connsiteY148" fmla="*/ 492157 h 578072"/>
                  <a:gd name="connsiteX149" fmla="*/ 1692974 w 3587973"/>
                  <a:gd name="connsiteY149" fmla="*/ 492157 h 578072"/>
                  <a:gd name="connsiteX150" fmla="*/ 1692974 w 3587973"/>
                  <a:gd name="connsiteY150" fmla="*/ 498443 h 578072"/>
                  <a:gd name="connsiteX151" fmla="*/ 1766602 w 3587973"/>
                  <a:gd name="connsiteY151" fmla="*/ 498443 h 578072"/>
                  <a:gd name="connsiteX152" fmla="*/ 1766602 w 3587973"/>
                  <a:gd name="connsiteY152" fmla="*/ 504730 h 578072"/>
                  <a:gd name="connsiteX153" fmla="*/ 1846517 w 3587973"/>
                  <a:gd name="connsiteY153" fmla="*/ 504730 h 578072"/>
                  <a:gd name="connsiteX154" fmla="*/ 1846517 w 3587973"/>
                  <a:gd name="connsiteY154" fmla="*/ 511016 h 578072"/>
                  <a:gd name="connsiteX155" fmla="*/ 2008442 w 3587973"/>
                  <a:gd name="connsiteY155" fmla="*/ 511016 h 578072"/>
                  <a:gd name="connsiteX156" fmla="*/ 2008442 w 3587973"/>
                  <a:gd name="connsiteY156" fmla="*/ 517493 h 578072"/>
                  <a:gd name="connsiteX157" fmla="*/ 2025301 w 3587973"/>
                  <a:gd name="connsiteY157" fmla="*/ 517493 h 578072"/>
                  <a:gd name="connsiteX158" fmla="*/ 2025301 w 3587973"/>
                  <a:gd name="connsiteY158" fmla="*/ 523875 h 578072"/>
                  <a:gd name="connsiteX159" fmla="*/ 2143125 w 3587973"/>
                  <a:gd name="connsiteY159" fmla="*/ 523875 h 578072"/>
                  <a:gd name="connsiteX160" fmla="*/ 2143125 w 3587973"/>
                  <a:gd name="connsiteY160" fmla="*/ 530352 h 578072"/>
                  <a:gd name="connsiteX161" fmla="*/ 2235613 w 3587973"/>
                  <a:gd name="connsiteY161" fmla="*/ 530352 h 578072"/>
                  <a:gd name="connsiteX162" fmla="*/ 2235613 w 3587973"/>
                  <a:gd name="connsiteY162" fmla="*/ 536734 h 578072"/>
                  <a:gd name="connsiteX163" fmla="*/ 2254568 w 3587973"/>
                  <a:gd name="connsiteY163" fmla="*/ 536734 h 578072"/>
                  <a:gd name="connsiteX164" fmla="*/ 2254568 w 3587973"/>
                  <a:gd name="connsiteY164" fmla="*/ 543211 h 578072"/>
                  <a:gd name="connsiteX165" fmla="*/ 3108389 w 3587973"/>
                  <a:gd name="connsiteY165" fmla="*/ 543211 h 578072"/>
                  <a:gd name="connsiteX166" fmla="*/ 3108389 w 3587973"/>
                  <a:gd name="connsiteY166" fmla="*/ 578072 h 578072"/>
                  <a:gd name="connsiteX167" fmla="*/ 3587973 w 3587973"/>
                  <a:gd name="connsiteY167" fmla="*/ 578072 h 578072"/>
                  <a:gd name="connsiteX0" fmla="*/ 0 w 3587973"/>
                  <a:gd name="connsiteY0" fmla="*/ 0 h 578072"/>
                  <a:gd name="connsiteX1" fmla="*/ 8382 w 3587973"/>
                  <a:gd name="connsiteY1" fmla="*/ 12097 h 578072"/>
                  <a:gd name="connsiteX2" fmla="*/ 14669 w 3587973"/>
                  <a:gd name="connsiteY2" fmla="*/ 12097 h 578072"/>
                  <a:gd name="connsiteX3" fmla="*/ 14669 w 3587973"/>
                  <a:gd name="connsiteY3" fmla="*/ 18193 h 578072"/>
                  <a:gd name="connsiteX4" fmla="*/ 18860 w 3587973"/>
                  <a:gd name="connsiteY4" fmla="*/ 18193 h 578072"/>
                  <a:gd name="connsiteX5" fmla="*/ 18860 w 3587973"/>
                  <a:gd name="connsiteY5" fmla="*/ 24289 h 578072"/>
                  <a:gd name="connsiteX6" fmla="*/ 23051 w 3587973"/>
                  <a:gd name="connsiteY6" fmla="*/ 24289 h 578072"/>
                  <a:gd name="connsiteX7" fmla="*/ 23051 w 3587973"/>
                  <a:gd name="connsiteY7" fmla="*/ 30385 h 578072"/>
                  <a:gd name="connsiteX8" fmla="*/ 25146 w 3587973"/>
                  <a:gd name="connsiteY8" fmla="*/ 30385 h 578072"/>
                  <a:gd name="connsiteX9" fmla="*/ 25146 w 3587973"/>
                  <a:gd name="connsiteY9" fmla="*/ 36386 h 578072"/>
                  <a:gd name="connsiteX10" fmla="*/ 27337 w 3587973"/>
                  <a:gd name="connsiteY10" fmla="*/ 36386 h 578072"/>
                  <a:gd name="connsiteX11" fmla="*/ 27337 w 3587973"/>
                  <a:gd name="connsiteY11" fmla="*/ 42482 h 578072"/>
                  <a:gd name="connsiteX12" fmla="*/ 37814 w 3587973"/>
                  <a:gd name="connsiteY12" fmla="*/ 42482 h 578072"/>
                  <a:gd name="connsiteX13" fmla="*/ 37814 w 3587973"/>
                  <a:gd name="connsiteY13" fmla="*/ 48578 h 578072"/>
                  <a:gd name="connsiteX14" fmla="*/ 44101 w 3587973"/>
                  <a:gd name="connsiteY14" fmla="*/ 48578 h 578072"/>
                  <a:gd name="connsiteX15" fmla="*/ 44101 w 3587973"/>
                  <a:gd name="connsiteY15" fmla="*/ 54578 h 578072"/>
                  <a:gd name="connsiteX16" fmla="*/ 58865 w 3587973"/>
                  <a:gd name="connsiteY16" fmla="*/ 54578 h 578072"/>
                  <a:gd name="connsiteX17" fmla="*/ 58865 w 3587973"/>
                  <a:gd name="connsiteY17" fmla="*/ 60674 h 578072"/>
                  <a:gd name="connsiteX18" fmla="*/ 67247 w 3587973"/>
                  <a:gd name="connsiteY18" fmla="*/ 60674 h 578072"/>
                  <a:gd name="connsiteX19" fmla="*/ 67247 w 3587973"/>
                  <a:gd name="connsiteY19" fmla="*/ 66770 h 578072"/>
                  <a:gd name="connsiteX20" fmla="*/ 77820 w 3587973"/>
                  <a:gd name="connsiteY20" fmla="*/ 66770 h 578072"/>
                  <a:gd name="connsiteX21" fmla="*/ 77820 w 3587973"/>
                  <a:gd name="connsiteY21" fmla="*/ 72771 h 578072"/>
                  <a:gd name="connsiteX22" fmla="*/ 90393 w 3587973"/>
                  <a:gd name="connsiteY22" fmla="*/ 72771 h 578072"/>
                  <a:gd name="connsiteX23" fmla="*/ 90393 w 3587973"/>
                  <a:gd name="connsiteY23" fmla="*/ 78867 h 578072"/>
                  <a:gd name="connsiteX24" fmla="*/ 96679 w 3587973"/>
                  <a:gd name="connsiteY24" fmla="*/ 78867 h 578072"/>
                  <a:gd name="connsiteX25" fmla="*/ 96679 w 3587973"/>
                  <a:gd name="connsiteY25" fmla="*/ 90964 h 578072"/>
                  <a:gd name="connsiteX26" fmla="*/ 100870 w 3587973"/>
                  <a:gd name="connsiteY26" fmla="*/ 90964 h 578072"/>
                  <a:gd name="connsiteX27" fmla="*/ 100870 w 3587973"/>
                  <a:gd name="connsiteY27" fmla="*/ 97060 h 578072"/>
                  <a:gd name="connsiteX28" fmla="*/ 113538 w 3587973"/>
                  <a:gd name="connsiteY28" fmla="*/ 97060 h 578072"/>
                  <a:gd name="connsiteX29" fmla="*/ 113538 w 3587973"/>
                  <a:gd name="connsiteY29" fmla="*/ 103156 h 578072"/>
                  <a:gd name="connsiteX30" fmla="*/ 128207 w 3587973"/>
                  <a:gd name="connsiteY30" fmla="*/ 103156 h 578072"/>
                  <a:gd name="connsiteX31" fmla="*/ 128207 w 3587973"/>
                  <a:gd name="connsiteY31" fmla="*/ 109157 h 578072"/>
                  <a:gd name="connsiteX32" fmla="*/ 132493 w 3587973"/>
                  <a:gd name="connsiteY32" fmla="*/ 109157 h 578072"/>
                  <a:gd name="connsiteX33" fmla="*/ 132493 w 3587973"/>
                  <a:gd name="connsiteY33" fmla="*/ 115253 h 578072"/>
                  <a:gd name="connsiteX34" fmla="*/ 142970 w 3587973"/>
                  <a:gd name="connsiteY34" fmla="*/ 115253 h 578072"/>
                  <a:gd name="connsiteX35" fmla="*/ 142970 w 3587973"/>
                  <a:gd name="connsiteY35" fmla="*/ 121349 h 578072"/>
                  <a:gd name="connsiteX36" fmla="*/ 151353 w 3587973"/>
                  <a:gd name="connsiteY36" fmla="*/ 121349 h 578072"/>
                  <a:gd name="connsiteX37" fmla="*/ 151353 w 3587973"/>
                  <a:gd name="connsiteY37" fmla="*/ 127445 h 578072"/>
                  <a:gd name="connsiteX38" fmla="*/ 166116 w 3587973"/>
                  <a:gd name="connsiteY38" fmla="*/ 127445 h 578072"/>
                  <a:gd name="connsiteX39" fmla="*/ 166116 w 3587973"/>
                  <a:gd name="connsiteY39" fmla="*/ 133445 h 578072"/>
                  <a:gd name="connsiteX40" fmla="*/ 170307 w 3587973"/>
                  <a:gd name="connsiteY40" fmla="*/ 133445 h 578072"/>
                  <a:gd name="connsiteX41" fmla="*/ 170307 w 3587973"/>
                  <a:gd name="connsiteY41" fmla="*/ 139541 h 578072"/>
                  <a:gd name="connsiteX42" fmla="*/ 174498 w 3587973"/>
                  <a:gd name="connsiteY42" fmla="*/ 139541 h 578072"/>
                  <a:gd name="connsiteX43" fmla="*/ 174498 w 3587973"/>
                  <a:gd name="connsiteY43" fmla="*/ 145637 h 578072"/>
                  <a:gd name="connsiteX44" fmla="*/ 187167 w 3587973"/>
                  <a:gd name="connsiteY44" fmla="*/ 145637 h 578072"/>
                  <a:gd name="connsiteX45" fmla="*/ 187167 w 3587973"/>
                  <a:gd name="connsiteY45" fmla="*/ 151638 h 578072"/>
                  <a:gd name="connsiteX46" fmla="*/ 216599 w 3587973"/>
                  <a:gd name="connsiteY46" fmla="*/ 151638 h 578072"/>
                  <a:gd name="connsiteX47" fmla="*/ 216599 w 3587973"/>
                  <a:gd name="connsiteY47" fmla="*/ 157734 h 578072"/>
                  <a:gd name="connsiteX48" fmla="*/ 224981 w 3587973"/>
                  <a:gd name="connsiteY48" fmla="*/ 157734 h 578072"/>
                  <a:gd name="connsiteX49" fmla="*/ 224981 w 3587973"/>
                  <a:gd name="connsiteY49" fmla="*/ 163830 h 578072"/>
                  <a:gd name="connsiteX50" fmla="*/ 227076 w 3587973"/>
                  <a:gd name="connsiteY50" fmla="*/ 163830 h 578072"/>
                  <a:gd name="connsiteX51" fmla="*/ 227076 w 3587973"/>
                  <a:gd name="connsiteY51" fmla="*/ 169831 h 578072"/>
                  <a:gd name="connsiteX52" fmla="*/ 241840 w 3587973"/>
                  <a:gd name="connsiteY52" fmla="*/ 169831 h 578072"/>
                  <a:gd name="connsiteX53" fmla="*/ 241840 w 3587973"/>
                  <a:gd name="connsiteY53" fmla="*/ 182023 h 578072"/>
                  <a:gd name="connsiteX54" fmla="*/ 243936 w 3587973"/>
                  <a:gd name="connsiteY54" fmla="*/ 182023 h 578072"/>
                  <a:gd name="connsiteX55" fmla="*/ 243936 w 3587973"/>
                  <a:gd name="connsiteY55" fmla="*/ 188024 h 578072"/>
                  <a:gd name="connsiteX56" fmla="*/ 250222 w 3587973"/>
                  <a:gd name="connsiteY56" fmla="*/ 188024 h 578072"/>
                  <a:gd name="connsiteX57" fmla="*/ 250222 w 3587973"/>
                  <a:gd name="connsiteY57" fmla="*/ 194120 h 578072"/>
                  <a:gd name="connsiteX58" fmla="*/ 254413 w 3587973"/>
                  <a:gd name="connsiteY58" fmla="*/ 194120 h 578072"/>
                  <a:gd name="connsiteX59" fmla="*/ 254413 w 3587973"/>
                  <a:gd name="connsiteY59" fmla="*/ 200216 h 578072"/>
                  <a:gd name="connsiteX60" fmla="*/ 271272 w 3587973"/>
                  <a:gd name="connsiteY60" fmla="*/ 200216 h 578072"/>
                  <a:gd name="connsiteX61" fmla="*/ 271272 w 3587973"/>
                  <a:gd name="connsiteY61" fmla="*/ 212312 h 578072"/>
                  <a:gd name="connsiteX62" fmla="*/ 275463 w 3587973"/>
                  <a:gd name="connsiteY62" fmla="*/ 212312 h 578072"/>
                  <a:gd name="connsiteX63" fmla="*/ 275463 w 3587973"/>
                  <a:gd name="connsiteY63" fmla="*/ 218408 h 578072"/>
                  <a:gd name="connsiteX64" fmla="*/ 298609 w 3587973"/>
                  <a:gd name="connsiteY64" fmla="*/ 218408 h 578072"/>
                  <a:gd name="connsiteX65" fmla="*/ 298609 w 3587973"/>
                  <a:gd name="connsiteY65" fmla="*/ 224504 h 578072"/>
                  <a:gd name="connsiteX66" fmla="*/ 302800 w 3587973"/>
                  <a:gd name="connsiteY66" fmla="*/ 224504 h 578072"/>
                  <a:gd name="connsiteX67" fmla="*/ 302800 w 3587973"/>
                  <a:gd name="connsiteY67" fmla="*/ 230505 h 578072"/>
                  <a:gd name="connsiteX68" fmla="*/ 309087 w 3587973"/>
                  <a:gd name="connsiteY68" fmla="*/ 230505 h 578072"/>
                  <a:gd name="connsiteX69" fmla="*/ 309087 w 3587973"/>
                  <a:gd name="connsiteY69" fmla="*/ 242697 h 578072"/>
                  <a:gd name="connsiteX70" fmla="*/ 328041 w 3587973"/>
                  <a:gd name="connsiteY70" fmla="*/ 242697 h 578072"/>
                  <a:gd name="connsiteX71" fmla="*/ 328041 w 3587973"/>
                  <a:gd name="connsiteY71" fmla="*/ 248698 h 578072"/>
                  <a:gd name="connsiteX72" fmla="*/ 336423 w 3587973"/>
                  <a:gd name="connsiteY72" fmla="*/ 248698 h 578072"/>
                  <a:gd name="connsiteX73" fmla="*/ 336423 w 3587973"/>
                  <a:gd name="connsiteY73" fmla="*/ 254794 h 578072"/>
                  <a:gd name="connsiteX74" fmla="*/ 349092 w 3587973"/>
                  <a:gd name="connsiteY74" fmla="*/ 254794 h 578072"/>
                  <a:gd name="connsiteX75" fmla="*/ 349092 w 3587973"/>
                  <a:gd name="connsiteY75" fmla="*/ 260890 h 578072"/>
                  <a:gd name="connsiteX76" fmla="*/ 365951 w 3587973"/>
                  <a:gd name="connsiteY76" fmla="*/ 260890 h 578072"/>
                  <a:gd name="connsiteX77" fmla="*/ 365951 w 3587973"/>
                  <a:gd name="connsiteY77" fmla="*/ 266891 h 578072"/>
                  <a:gd name="connsiteX78" fmla="*/ 393288 w 3587973"/>
                  <a:gd name="connsiteY78" fmla="*/ 266891 h 578072"/>
                  <a:gd name="connsiteX79" fmla="*/ 393288 w 3587973"/>
                  <a:gd name="connsiteY79" fmla="*/ 272987 h 578072"/>
                  <a:gd name="connsiteX80" fmla="*/ 395383 w 3587973"/>
                  <a:gd name="connsiteY80" fmla="*/ 272987 h 578072"/>
                  <a:gd name="connsiteX81" fmla="*/ 395383 w 3587973"/>
                  <a:gd name="connsiteY81" fmla="*/ 279083 h 578072"/>
                  <a:gd name="connsiteX82" fmla="*/ 405860 w 3587973"/>
                  <a:gd name="connsiteY82" fmla="*/ 279083 h 578072"/>
                  <a:gd name="connsiteX83" fmla="*/ 405860 w 3587973"/>
                  <a:gd name="connsiteY83" fmla="*/ 285083 h 578072"/>
                  <a:gd name="connsiteX84" fmla="*/ 412147 w 3587973"/>
                  <a:gd name="connsiteY84" fmla="*/ 285083 h 578072"/>
                  <a:gd name="connsiteX85" fmla="*/ 412147 w 3587973"/>
                  <a:gd name="connsiteY85" fmla="*/ 297275 h 578072"/>
                  <a:gd name="connsiteX86" fmla="*/ 420624 w 3587973"/>
                  <a:gd name="connsiteY86" fmla="*/ 297275 h 578072"/>
                  <a:gd name="connsiteX87" fmla="*/ 420624 w 3587973"/>
                  <a:gd name="connsiteY87" fmla="*/ 303276 h 578072"/>
                  <a:gd name="connsiteX88" fmla="*/ 426911 w 3587973"/>
                  <a:gd name="connsiteY88" fmla="*/ 303276 h 578072"/>
                  <a:gd name="connsiteX89" fmla="*/ 426911 w 3587973"/>
                  <a:gd name="connsiteY89" fmla="*/ 315468 h 578072"/>
                  <a:gd name="connsiteX90" fmla="*/ 429006 w 3587973"/>
                  <a:gd name="connsiteY90" fmla="*/ 315468 h 578072"/>
                  <a:gd name="connsiteX91" fmla="*/ 429006 w 3587973"/>
                  <a:gd name="connsiteY91" fmla="*/ 321564 h 578072"/>
                  <a:gd name="connsiteX92" fmla="*/ 441579 w 3587973"/>
                  <a:gd name="connsiteY92" fmla="*/ 321564 h 578072"/>
                  <a:gd name="connsiteX93" fmla="*/ 441579 w 3587973"/>
                  <a:gd name="connsiteY93" fmla="*/ 327565 h 578072"/>
                  <a:gd name="connsiteX94" fmla="*/ 464725 w 3587973"/>
                  <a:gd name="connsiteY94" fmla="*/ 327565 h 578072"/>
                  <a:gd name="connsiteX95" fmla="*/ 464725 w 3587973"/>
                  <a:gd name="connsiteY95" fmla="*/ 333661 h 578072"/>
                  <a:gd name="connsiteX96" fmla="*/ 471107 w 3587973"/>
                  <a:gd name="connsiteY96" fmla="*/ 333661 h 578072"/>
                  <a:gd name="connsiteX97" fmla="*/ 471107 w 3587973"/>
                  <a:gd name="connsiteY97" fmla="*/ 339757 h 578072"/>
                  <a:gd name="connsiteX98" fmla="*/ 479489 w 3587973"/>
                  <a:gd name="connsiteY98" fmla="*/ 339757 h 578072"/>
                  <a:gd name="connsiteX99" fmla="*/ 479489 w 3587973"/>
                  <a:gd name="connsiteY99" fmla="*/ 345758 h 578072"/>
                  <a:gd name="connsiteX100" fmla="*/ 487871 w 3587973"/>
                  <a:gd name="connsiteY100" fmla="*/ 345758 h 578072"/>
                  <a:gd name="connsiteX101" fmla="*/ 487871 w 3587973"/>
                  <a:gd name="connsiteY101" fmla="*/ 351854 h 578072"/>
                  <a:gd name="connsiteX102" fmla="*/ 492062 w 3587973"/>
                  <a:gd name="connsiteY102" fmla="*/ 351854 h 578072"/>
                  <a:gd name="connsiteX103" fmla="*/ 492062 w 3587973"/>
                  <a:gd name="connsiteY103" fmla="*/ 357950 h 578072"/>
                  <a:gd name="connsiteX104" fmla="*/ 565690 w 3587973"/>
                  <a:gd name="connsiteY104" fmla="*/ 357950 h 578072"/>
                  <a:gd name="connsiteX105" fmla="*/ 565690 w 3587973"/>
                  <a:gd name="connsiteY105" fmla="*/ 363950 h 578072"/>
                  <a:gd name="connsiteX106" fmla="*/ 586740 w 3587973"/>
                  <a:gd name="connsiteY106" fmla="*/ 363950 h 578072"/>
                  <a:gd name="connsiteX107" fmla="*/ 586740 w 3587973"/>
                  <a:gd name="connsiteY107" fmla="*/ 370046 h 578072"/>
                  <a:gd name="connsiteX108" fmla="*/ 593027 w 3587973"/>
                  <a:gd name="connsiteY108" fmla="*/ 370046 h 578072"/>
                  <a:gd name="connsiteX109" fmla="*/ 593027 w 3587973"/>
                  <a:gd name="connsiteY109" fmla="*/ 376142 h 578072"/>
                  <a:gd name="connsiteX110" fmla="*/ 635127 w 3587973"/>
                  <a:gd name="connsiteY110" fmla="*/ 376142 h 578072"/>
                  <a:gd name="connsiteX111" fmla="*/ 635127 w 3587973"/>
                  <a:gd name="connsiteY111" fmla="*/ 382143 h 578072"/>
                  <a:gd name="connsiteX112" fmla="*/ 649796 w 3587973"/>
                  <a:gd name="connsiteY112" fmla="*/ 382143 h 578072"/>
                  <a:gd name="connsiteX113" fmla="*/ 649796 w 3587973"/>
                  <a:gd name="connsiteY113" fmla="*/ 388239 h 578072"/>
                  <a:gd name="connsiteX114" fmla="*/ 679323 w 3587973"/>
                  <a:gd name="connsiteY114" fmla="*/ 388239 h 578072"/>
                  <a:gd name="connsiteX115" fmla="*/ 679323 w 3587973"/>
                  <a:gd name="connsiteY115" fmla="*/ 394335 h 578072"/>
                  <a:gd name="connsiteX116" fmla="*/ 681419 w 3587973"/>
                  <a:gd name="connsiteY116" fmla="*/ 394335 h 578072"/>
                  <a:gd name="connsiteX117" fmla="*/ 681419 w 3587973"/>
                  <a:gd name="connsiteY117" fmla="*/ 400336 h 578072"/>
                  <a:gd name="connsiteX118" fmla="*/ 704469 w 3587973"/>
                  <a:gd name="connsiteY118" fmla="*/ 400336 h 578072"/>
                  <a:gd name="connsiteX119" fmla="*/ 704469 w 3587973"/>
                  <a:gd name="connsiteY119" fmla="*/ 406432 h 578072"/>
                  <a:gd name="connsiteX120" fmla="*/ 717138 w 3587973"/>
                  <a:gd name="connsiteY120" fmla="*/ 406432 h 578072"/>
                  <a:gd name="connsiteX121" fmla="*/ 717138 w 3587973"/>
                  <a:gd name="connsiteY121" fmla="*/ 412528 h 578072"/>
                  <a:gd name="connsiteX122" fmla="*/ 752856 w 3587973"/>
                  <a:gd name="connsiteY122" fmla="*/ 412528 h 578072"/>
                  <a:gd name="connsiteX123" fmla="*/ 752856 w 3587973"/>
                  <a:gd name="connsiteY123" fmla="*/ 418624 h 578072"/>
                  <a:gd name="connsiteX124" fmla="*/ 868585 w 3587973"/>
                  <a:gd name="connsiteY124" fmla="*/ 418624 h 578072"/>
                  <a:gd name="connsiteX125" fmla="*/ 868585 w 3587973"/>
                  <a:gd name="connsiteY125" fmla="*/ 424625 h 578072"/>
                  <a:gd name="connsiteX126" fmla="*/ 906399 w 3587973"/>
                  <a:gd name="connsiteY126" fmla="*/ 424625 h 578072"/>
                  <a:gd name="connsiteX127" fmla="*/ 906399 w 3587973"/>
                  <a:gd name="connsiteY127" fmla="*/ 430816 h 578072"/>
                  <a:gd name="connsiteX128" fmla="*/ 958977 w 3587973"/>
                  <a:gd name="connsiteY128" fmla="*/ 430816 h 578072"/>
                  <a:gd name="connsiteX129" fmla="*/ 958977 w 3587973"/>
                  <a:gd name="connsiteY129" fmla="*/ 436912 h 578072"/>
                  <a:gd name="connsiteX130" fmla="*/ 977932 w 3587973"/>
                  <a:gd name="connsiteY130" fmla="*/ 436912 h 578072"/>
                  <a:gd name="connsiteX131" fmla="*/ 977932 w 3587973"/>
                  <a:gd name="connsiteY131" fmla="*/ 443008 h 578072"/>
                  <a:gd name="connsiteX132" fmla="*/ 988410 w 3587973"/>
                  <a:gd name="connsiteY132" fmla="*/ 443008 h 578072"/>
                  <a:gd name="connsiteX133" fmla="*/ 988410 w 3587973"/>
                  <a:gd name="connsiteY133" fmla="*/ 449199 h 578072"/>
                  <a:gd name="connsiteX134" fmla="*/ 1022128 w 3587973"/>
                  <a:gd name="connsiteY134" fmla="*/ 449199 h 578072"/>
                  <a:gd name="connsiteX135" fmla="*/ 1022128 w 3587973"/>
                  <a:gd name="connsiteY135" fmla="*/ 455295 h 578072"/>
                  <a:gd name="connsiteX136" fmla="*/ 1028415 w 3587973"/>
                  <a:gd name="connsiteY136" fmla="*/ 455295 h 578072"/>
                  <a:gd name="connsiteX137" fmla="*/ 1028415 w 3587973"/>
                  <a:gd name="connsiteY137" fmla="*/ 461391 h 578072"/>
                  <a:gd name="connsiteX138" fmla="*/ 1043083 w 3587973"/>
                  <a:gd name="connsiteY138" fmla="*/ 461391 h 578072"/>
                  <a:gd name="connsiteX139" fmla="*/ 1043083 w 3587973"/>
                  <a:gd name="connsiteY139" fmla="*/ 467487 h 578072"/>
                  <a:gd name="connsiteX140" fmla="*/ 1055751 w 3587973"/>
                  <a:gd name="connsiteY140" fmla="*/ 467487 h 578072"/>
                  <a:gd name="connsiteX141" fmla="*/ 1055751 w 3587973"/>
                  <a:gd name="connsiteY141" fmla="*/ 473678 h 578072"/>
                  <a:gd name="connsiteX142" fmla="*/ 1080993 w 3587973"/>
                  <a:gd name="connsiteY142" fmla="*/ 473678 h 578072"/>
                  <a:gd name="connsiteX143" fmla="*/ 1080993 w 3587973"/>
                  <a:gd name="connsiteY143" fmla="*/ 479774 h 578072"/>
                  <a:gd name="connsiteX144" fmla="*/ 1310259 w 3587973"/>
                  <a:gd name="connsiteY144" fmla="*/ 479774 h 578072"/>
                  <a:gd name="connsiteX145" fmla="*/ 1310259 w 3587973"/>
                  <a:gd name="connsiteY145" fmla="*/ 485966 h 578072"/>
                  <a:gd name="connsiteX146" fmla="*/ 1423797 w 3587973"/>
                  <a:gd name="connsiteY146" fmla="*/ 485966 h 578072"/>
                  <a:gd name="connsiteX147" fmla="*/ 1423797 w 3587973"/>
                  <a:gd name="connsiteY147" fmla="*/ 492157 h 578072"/>
                  <a:gd name="connsiteX148" fmla="*/ 1692974 w 3587973"/>
                  <a:gd name="connsiteY148" fmla="*/ 492157 h 578072"/>
                  <a:gd name="connsiteX149" fmla="*/ 1692974 w 3587973"/>
                  <a:gd name="connsiteY149" fmla="*/ 498443 h 578072"/>
                  <a:gd name="connsiteX150" fmla="*/ 1766602 w 3587973"/>
                  <a:gd name="connsiteY150" fmla="*/ 498443 h 578072"/>
                  <a:gd name="connsiteX151" fmla="*/ 1766602 w 3587973"/>
                  <a:gd name="connsiteY151" fmla="*/ 504730 h 578072"/>
                  <a:gd name="connsiteX152" fmla="*/ 1846517 w 3587973"/>
                  <a:gd name="connsiteY152" fmla="*/ 504730 h 578072"/>
                  <a:gd name="connsiteX153" fmla="*/ 1846517 w 3587973"/>
                  <a:gd name="connsiteY153" fmla="*/ 511016 h 578072"/>
                  <a:gd name="connsiteX154" fmla="*/ 2008442 w 3587973"/>
                  <a:gd name="connsiteY154" fmla="*/ 511016 h 578072"/>
                  <a:gd name="connsiteX155" fmla="*/ 2008442 w 3587973"/>
                  <a:gd name="connsiteY155" fmla="*/ 517493 h 578072"/>
                  <a:gd name="connsiteX156" fmla="*/ 2025301 w 3587973"/>
                  <a:gd name="connsiteY156" fmla="*/ 517493 h 578072"/>
                  <a:gd name="connsiteX157" fmla="*/ 2025301 w 3587973"/>
                  <a:gd name="connsiteY157" fmla="*/ 523875 h 578072"/>
                  <a:gd name="connsiteX158" fmla="*/ 2143125 w 3587973"/>
                  <a:gd name="connsiteY158" fmla="*/ 523875 h 578072"/>
                  <a:gd name="connsiteX159" fmla="*/ 2143125 w 3587973"/>
                  <a:gd name="connsiteY159" fmla="*/ 530352 h 578072"/>
                  <a:gd name="connsiteX160" fmla="*/ 2235613 w 3587973"/>
                  <a:gd name="connsiteY160" fmla="*/ 530352 h 578072"/>
                  <a:gd name="connsiteX161" fmla="*/ 2235613 w 3587973"/>
                  <a:gd name="connsiteY161" fmla="*/ 536734 h 578072"/>
                  <a:gd name="connsiteX162" fmla="*/ 2254568 w 3587973"/>
                  <a:gd name="connsiteY162" fmla="*/ 536734 h 578072"/>
                  <a:gd name="connsiteX163" fmla="*/ 2254568 w 3587973"/>
                  <a:gd name="connsiteY163" fmla="*/ 543211 h 578072"/>
                  <a:gd name="connsiteX164" fmla="*/ 3108389 w 3587973"/>
                  <a:gd name="connsiteY164" fmla="*/ 543211 h 578072"/>
                  <a:gd name="connsiteX165" fmla="*/ 3108389 w 3587973"/>
                  <a:gd name="connsiteY165" fmla="*/ 578072 h 578072"/>
                  <a:gd name="connsiteX166" fmla="*/ 3587973 w 3587973"/>
                  <a:gd name="connsiteY166" fmla="*/ 578072 h 578072"/>
                  <a:gd name="connsiteX0" fmla="*/ 0 w 3579591"/>
                  <a:gd name="connsiteY0" fmla="*/ 0 h 565975"/>
                  <a:gd name="connsiteX1" fmla="*/ 6287 w 3579591"/>
                  <a:gd name="connsiteY1" fmla="*/ 0 h 565975"/>
                  <a:gd name="connsiteX2" fmla="*/ 6287 w 3579591"/>
                  <a:gd name="connsiteY2" fmla="*/ 6096 h 565975"/>
                  <a:gd name="connsiteX3" fmla="*/ 10478 w 3579591"/>
                  <a:gd name="connsiteY3" fmla="*/ 6096 h 565975"/>
                  <a:gd name="connsiteX4" fmla="*/ 10478 w 3579591"/>
                  <a:gd name="connsiteY4" fmla="*/ 12192 h 565975"/>
                  <a:gd name="connsiteX5" fmla="*/ 14669 w 3579591"/>
                  <a:gd name="connsiteY5" fmla="*/ 12192 h 565975"/>
                  <a:gd name="connsiteX6" fmla="*/ 14669 w 3579591"/>
                  <a:gd name="connsiteY6" fmla="*/ 18288 h 565975"/>
                  <a:gd name="connsiteX7" fmla="*/ 16764 w 3579591"/>
                  <a:gd name="connsiteY7" fmla="*/ 18288 h 565975"/>
                  <a:gd name="connsiteX8" fmla="*/ 16764 w 3579591"/>
                  <a:gd name="connsiteY8" fmla="*/ 24289 h 565975"/>
                  <a:gd name="connsiteX9" fmla="*/ 18955 w 3579591"/>
                  <a:gd name="connsiteY9" fmla="*/ 24289 h 565975"/>
                  <a:gd name="connsiteX10" fmla="*/ 18955 w 3579591"/>
                  <a:gd name="connsiteY10" fmla="*/ 30385 h 565975"/>
                  <a:gd name="connsiteX11" fmla="*/ 29432 w 3579591"/>
                  <a:gd name="connsiteY11" fmla="*/ 30385 h 565975"/>
                  <a:gd name="connsiteX12" fmla="*/ 29432 w 3579591"/>
                  <a:gd name="connsiteY12" fmla="*/ 36481 h 565975"/>
                  <a:gd name="connsiteX13" fmla="*/ 35719 w 3579591"/>
                  <a:gd name="connsiteY13" fmla="*/ 36481 h 565975"/>
                  <a:gd name="connsiteX14" fmla="*/ 35719 w 3579591"/>
                  <a:gd name="connsiteY14" fmla="*/ 42481 h 565975"/>
                  <a:gd name="connsiteX15" fmla="*/ 50483 w 3579591"/>
                  <a:gd name="connsiteY15" fmla="*/ 42481 h 565975"/>
                  <a:gd name="connsiteX16" fmla="*/ 50483 w 3579591"/>
                  <a:gd name="connsiteY16" fmla="*/ 48577 h 565975"/>
                  <a:gd name="connsiteX17" fmla="*/ 58865 w 3579591"/>
                  <a:gd name="connsiteY17" fmla="*/ 48577 h 565975"/>
                  <a:gd name="connsiteX18" fmla="*/ 58865 w 3579591"/>
                  <a:gd name="connsiteY18" fmla="*/ 54673 h 565975"/>
                  <a:gd name="connsiteX19" fmla="*/ 69438 w 3579591"/>
                  <a:gd name="connsiteY19" fmla="*/ 54673 h 565975"/>
                  <a:gd name="connsiteX20" fmla="*/ 69438 w 3579591"/>
                  <a:gd name="connsiteY20" fmla="*/ 60674 h 565975"/>
                  <a:gd name="connsiteX21" fmla="*/ 82011 w 3579591"/>
                  <a:gd name="connsiteY21" fmla="*/ 60674 h 565975"/>
                  <a:gd name="connsiteX22" fmla="*/ 82011 w 3579591"/>
                  <a:gd name="connsiteY22" fmla="*/ 66770 h 565975"/>
                  <a:gd name="connsiteX23" fmla="*/ 88297 w 3579591"/>
                  <a:gd name="connsiteY23" fmla="*/ 66770 h 565975"/>
                  <a:gd name="connsiteX24" fmla="*/ 88297 w 3579591"/>
                  <a:gd name="connsiteY24" fmla="*/ 78867 h 565975"/>
                  <a:gd name="connsiteX25" fmla="*/ 92488 w 3579591"/>
                  <a:gd name="connsiteY25" fmla="*/ 78867 h 565975"/>
                  <a:gd name="connsiteX26" fmla="*/ 92488 w 3579591"/>
                  <a:gd name="connsiteY26" fmla="*/ 84963 h 565975"/>
                  <a:gd name="connsiteX27" fmla="*/ 105156 w 3579591"/>
                  <a:gd name="connsiteY27" fmla="*/ 84963 h 565975"/>
                  <a:gd name="connsiteX28" fmla="*/ 105156 w 3579591"/>
                  <a:gd name="connsiteY28" fmla="*/ 91059 h 565975"/>
                  <a:gd name="connsiteX29" fmla="*/ 119825 w 3579591"/>
                  <a:gd name="connsiteY29" fmla="*/ 91059 h 565975"/>
                  <a:gd name="connsiteX30" fmla="*/ 119825 w 3579591"/>
                  <a:gd name="connsiteY30" fmla="*/ 97060 h 565975"/>
                  <a:gd name="connsiteX31" fmla="*/ 124111 w 3579591"/>
                  <a:gd name="connsiteY31" fmla="*/ 97060 h 565975"/>
                  <a:gd name="connsiteX32" fmla="*/ 124111 w 3579591"/>
                  <a:gd name="connsiteY32" fmla="*/ 103156 h 565975"/>
                  <a:gd name="connsiteX33" fmla="*/ 134588 w 3579591"/>
                  <a:gd name="connsiteY33" fmla="*/ 103156 h 565975"/>
                  <a:gd name="connsiteX34" fmla="*/ 134588 w 3579591"/>
                  <a:gd name="connsiteY34" fmla="*/ 109252 h 565975"/>
                  <a:gd name="connsiteX35" fmla="*/ 142971 w 3579591"/>
                  <a:gd name="connsiteY35" fmla="*/ 109252 h 565975"/>
                  <a:gd name="connsiteX36" fmla="*/ 142971 w 3579591"/>
                  <a:gd name="connsiteY36" fmla="*/ 115348 h 565975"/>
                  <a:gd name="connsiteX37" fmla="*/ 157734 w 3579591"/>
                  <a:gd name="connsiteY37" fmla="*/ 115348 h 565975"/>
                  <a:gd name="connsiteX38" fmla="*/ 157734 w 3579591"/>
                  <a:gd name="connsiteY38" fmla="*/ 121348 h 565975"/>
                  <a:gd name="connsiteX39" fmla="*/ 161925 w 3579591"/>
                  <a:gd name="connsiteY39" fmla="*/ 121348 h 565975"/>
                  <a:gd name="connsiteX40" fmla="*/ 161925 w 3579591"/>
                  <a:gd name="connsiteY40" fmla="*/ 127444 h 565975"/>
                  <a:gd name="connsiteX41" fmla="*/ 166116 w 3579591"/>
                  <a:gd name="connsiteY41" fmla="*/ 127444 h 565975"/>
                  <a:gd name="connsiteX42" fmla="*/ 166116 w 3579591"/>
                  <a:gd name="connsiteY42" fmla="*/ 133540 h 565975"/>
                  <a:gd name="connsiteX43" fmla="*/ 178785 w 3579591"/>
                  <a:gd name="connsiteY43" fmla="*/ 133540 h 565975"/>
                  <a:gd name="connsiteX44" fmla="*/ 178785 w 3579591"/>
                  <a:gd name="connsiteY44" fmla="*/ 139541 h 565975"/>
                  <a:gd name="connsiteX45" fmla="*/ 208217 w 3579591"/>
                  <a:gd name="connsiteY45" fmla="*/ 139541 h 565975"/>
                  <a:gd name="connsiteX46" fmla="*/ 208217 w 3579591"/>
                  <a:gd name="connsiteY46" fmla="*/ 145637 h 565975"/>
                  <a:gd name="connsiteX47" fmla="*/ 216599 w 3579591"/>
                  <a:gd name="connsiteY47" fmla="*/ 145637 h 565975"/>
                  <a:gd name="connsiteX48" fmla="*/ 216599 w 3579591"/>
                  <a:gd name="connsiteY48" fmla="*/ 151733 h 565975"/>
                  <a:gd name="connsiteX49" fmla="*/ 218694 w 3579591"/>
                  <a:gd name="connsiteY49" fmla="*/ 151733 h 565975"/>
                  <a:gd name="connsiteX50" fmla="*/ 218694 w 3579591"/>
                  <a:gd name="connsiteY50" fmla="*/ 157734 h 565975"/>
                  <a:gd name="connsiteX51" fmla="*/ 233458 w 3579591"/>
                  <a:gd name="connsiteY51" fmla="*/ 157734 h 565975"/>
                  <a:gd name="connsiteX52" fmla="*/ 233458 w 3579591"/>
                  <a:gd name="connsiteY52" fmla="*/ 169926 h 565975"/>
                  <a:gd name="connsiteX53" fmla="*/ 235554 w 3579591"/>
                  <a:gd name="connsiteY53" fmla="*/ 169926 h 565975"/>
                  <a:gd name="connsiteX54" fmla="*/ 235554 w 3579591"/>
                  <a:gd name="connsiteY54" fmla="*/ 175927 h 565975"/>
                  <a:gd name="connsiteX55" fmla="*/ 241840 w 3579591"/>
                  <a:gd name="connsiteY55" fmla="*/ 175927 h 565975"/>
                  <a:gd name="connsiteX56" fmla="*/ 241840 w 3579591"/>
                  <a:gd name="connsiteY56" fmla="*/ 182023 h 565975"/>
                  <a:gd name="connsiteX57" fmla="*/ 246031 w 3579591"/>
                  <a:gd name="connsiteY57" fmla="*/ 182023 h 565975"/>
                  <a:gd name="connsiteX58" fmla="*/ 246031 w 3579591"/>
                  <a:gd name="connsiteY58" fmla="*/ 188119 h 565975"/>
                  <a:gd name="connsiteX59" fmla="*/ 262890 w 3579591"/>
                  <a:gd name="connsiteY59" fmla="*/ 188119 h 565975"/>
                  <a:gd name="connsiteX60" fmla="*/ 262890 w 3579591"/>
                  <a:gd name="connsiteY60" fmla="*/ 200215 h 565975"/>
                  <a:gd name="connsiteX61" fmla="*/ 267081 w 3579591"/>
                  <a:gd name="connsiteY61" fmla="*/ 200215 h 565975"/>
                  <a:gd name="connsiteX62" fmla="*/ 267081 w 3579591"/>
                  <a:gd name="connsiteY62" fmla="*/ 206311 h 565975"/>
                  <a:gd name="connsiteX63" fmla="*/ 290227 w 3579591"/>
                  <a:gd name="connsiteY63" fmla="*/ 206311 h 565975"/>
                  <a:gd name="connsiteX64" fmla="*/ 290227 w 3579591"/>
                  <a:gd name="connsiteY64" fmla="*/ 212407 h 565975"/>
                  <a:gd name="connsiteX65" fmla="*/ 294418 w 3579591"/>
                  <a:gd name="connsiteY65" fmla="*/ 212407 h 565975"/>
                  <a:gd name="connsiteX66" fmla="*/ 294418 w 3579591"/>
                  <a:gd name="connsiteY66" fmla="*/ 218408 h 565975"/>
                  <a:gd name="connsiteX67" fmla="*/ 300705 w 3579591"/>
                  <a:gd name="connsiteY67" fmla="*/ 218408 h 565975"/>
                  <a:gd name="connsiteX68" fmla="*/ 300705 w 3579591"/>
                  <a:gd name="connsiteY68" fmla="*/ 230600 h 565975"/>
                  <a:gd name="connsiteX69" fmla="*/ 319659 w 3579591"/>
                  <a:gd name="connsiteY69" fmla="*/ 230600 h 565975"/>
                  <a:gd name="connsiteX70" fmla="*/ 319659 w 3579591"/>
                  <a:gd name="connsiteY70" fmla="*/ 236601 h 565975"/>
                  <a:gd name="connsiteX71" fmla="*/ 328041 w 3579591"/>
                  <a:gd name="connsiteY71" fmla="*/ 236601 h 565975"/>
                  <a:gd name="connsiteX72" fmla="*/ 328041 w 3579591"/>
                  <a:gd name="connsiteY72" fmla="*/ 242697 h 565975"/>
                  <a:gd name="connsiteX73" fmla="*/ 340710 w 3579591"/>
                  <a:gd name="connsiteY73" fmla="*/ 242697 h 565975"/>
                  <a:gd name="connsiteX74" fmla="*/ 340710 w 3579591"/>
                  <a:gd name="connsiteY74" fmla="*/ 248793 h 565975"/>
                  <a:gd name="connsiteX75" fmla="*/ 357569 w 3579591"/>
                  <a:gd name="connsiteY75" fmla="*/ 248793 h 565975"/>
                  <a:gd name="connsiteX76" fmla="*/ 357569 w 3579591"/>
                  <a:gd name="connsiteY76" fmla="*/ 254794 h 565975"/>
                  <a:gd name="connsiteX77" fmla="*/ 384906 w 3579591"/>
                  <a:gd name="connsiteY77" fmla="*/ 254794 h 565975"/>
                  <a:gd name="connsiteX78" fmla="*/ 384906 w 3579591"/>
                  <a:gd name="connsiteY78" fmla="*/ 260890 h 565975"/>
                  <a:gd name="connsiteX79" fmla="*/ 387001 w 3579591"/>
                  <a:gd name="connsiteY79" fmla="*/ 260890 h 565975"/>
                  <a:gd name="connsiteX80" fmla="*/ 387001 w 3579591"/>
                  <a:gd name="connsiteY80" fmla="*/ 266986 h 565975"/>
                  <a:gd name="connsiteX81" fmla="*/ 397478 w 3579591"/>
                  <a:gd name="connsiteY81" fmla="*/ 266986 h 565975"/>
                  <a:gd name="connsiteX82" fmla="*/ 397478 w 3579591"/>
                  <a:gd name="connsiteY82" fmla="*/ 272986 h 565975"/>
                  <a:gd name="connsiteX83" fmla="*/ 403765 w 3579591"/>
                  <a:gd name="connsiteY83" fmla="*/ 272986 h 565975"/>
                  <a:gd name="connsiteX84" fmla="*/ 403765 w 3579591"/>
                  <a:gd name="connsiteY84" fmla="*/ 285178 h 565975"/>
                  <a:gd name="connsiteX85" fmla="*/ 412242 w 3579591"/>
                  <a:gd name="connsiteY85" fmla="*/ 285178 h 565975"/>
                  <a:gd name="connsiteX86" fmla="*/ 412242 w 3579591"/>
                  <a:gd name="connsiteY86" fmla="*/ 291179 h 565975"/>
                  <a:gd name="connsiteX87" fmla="*/ 418529 w 3579591"/>
                  <a:gd name="connsiteY87" fmla="*/ 291179 h 565975"/>
                  <a:gd name="connsiteX88" fmla="*/ 418529 w 3579591"/>
                  <a:gd name="connsiteY88" fmla="*/ 303371 h 565975"/>
                  <a:gd name="connsiteX89" fmla="*/ 420624 w 3579591"/>
                  <a:gd name="connsiteY89" fmla="*/ 303371 h 565975"/>
                  <a:gd name="connsiteX90" fmla="*/ 420624 w 3579591"/>
                  <a:gd name="connsiteY90" fmla="*/ 309467 h 565975"/>
                  <a:gd name="connsiteX91" fmla="*/ 433197 w 3579591"/>
                  <a:gd name="connsiteY91" fmla="*/ 309467 h 565975"/>
                  <a:gd name="connsiteX92" fmla="*/ 433197 w 3579591"/>
                  <a:gd name="connsiteY92" fmla="*/ 315468 h 565975"/>
                  <a:gd name="connsiteX93" fmla="*/ 456343 w 3579591"/>
                  <a:gd name="connsiteY93" fmla="*/ 315468 h 565975"/>
                  <a:gd name="connsiteX94" fmla="*/ 456343 w 3579591"/>
                  <a:gd name="connsiteY94" fmla="*/ 321564 h 565975"/>
                  <a:gd name="connsiteX95" fmla="*/ 462725 w 3579591"/>
                  <a:gd name="connsiteY95" fmla="*/ 321564 h 565975"/>
                  <a:gd name="connsiteX96" fmla="*/ 462725 w 3579591"/>
                  <a:gd name="connsiteY96" fmla="*/ 327660 h 565975"/>
                  <a:gd name="connsiteX97" fmla="*/ 471107 w 3579591"/>
                  <a:gd name="connsiteY97" fmla="*/ 327660 h 565975"/>
                  <a:gd name="connsiteX98" fmla="*/ 471107 w 3579591"/>
                  <a:gd name="connsiteY98" fmla="*/ 333661 h 565975"/>
                  <a:gd name="connsiteX99" fmla="*/ 479489 w 3579591"/>
                  <a:gd name="connsiteY99" fmla="*/ 333661 h 565975"/>
                  <a:gd name="connsiteX100" fmla="*/ 479489 w 3579591"/>
                  <a:gd name="connsiteY100" fmla="*/ 339757 h 565975"/>
                  <a:gd name="connsiteX101" fmla="*/ 483680 w 3579591"/>
                  <a:gd name="connsiteY101" fmla="*/ 339757 h 565975"/>
                  <a:gd name="connsiteX102" fmla="*/ 483680 w 3579591"/>
                  <a:gd name="connsiteY102" fmla="*/ 345853 h 565975"/>
                  <a:gd name="connsiteX103" fmla="*/ 557308 w 3579591"/>
                  <a:gd name="connsiteY103" fmla="*/ 345853 h 565975"/>
                  <a:gd name="connsiteX104" fmla="*/ 557308 w 3579591"/>
                  <a:gd name="connsiteY104" fmla="*/ 351853 h 565975"/>
                  <a:gd name="connsiteX105" fmla="*/ 578358 w 3579591"/>
                  <a:gd name="connsiteY105" fmla="*/ 351853 h 565975"/>
                  <a:gd name="connsiteX106" fmla="*/ 578358 w 3579591"/>
                  <a:gd name="connsiteY106" fmla="*/ 357949 h 565975"/>
                  <a:gd name="connsiteX107" fmla="*/ 584645 w 3579591"/>
                  <a:gd name="connsiteY107" fmla="*/ 357949 h 565975"/>
                  <a:gd name="connsiteX108" fmla="*/ 584645 w 3579591"/>
                  <a:gd name="connsiteY108" fmla="*/ 364045 h 565975"/>
                  <a:gd name="connsiteX109" fmla="*/ 626745 w 3579591"/>
                  <a:gd name="connsiteY109" fmla="*/ 364045 h 565975"/>
                  <a:gd name="connsiteX110" fmla="*/ 626745 w 3579591"/>
                  <a:gd name="connsiteY110" fmla="*/ 370046 h 565975"/>
                  <a:gd name="connsiteX111" fmla="*/ 641414 w 3579591"/>
                  <a:gd name="connsiteY111" fmla="*/ 370046 h 565975"/>
                  <a:gd name="connsiteX112" fmla="*/ 641414 w 3579591"/>
                  <a:gd name="connsiteY112" fmla="*/ 376142 h 565975"/>
                  <a:gd name="connsiteX113" fmla="*/ 670941 w 3579591"/>
                  <a:gd name="connsiteY113" fmla="*/ 376142 h 565975"/>
                  <a:gd name="connsiteX114" fmla="*/ 670941 w 3579591"/>
                  <a:gd name="connsiteY114" fmla="*/ 382238 h 565975"/>
                  <a:gd name="connsiteX115" fmla="*/ 673037 w 3579591"/>
                  <a:gd name="connsiteY115" fmla="*/ 382238 h 565975"/>
                  <a:gd name="connsiteX116" fmla="*/ 673037 w 3579591"/>
                  <a:gd name="connsiteY116" fmla="*/ 388239 h 565975"/>
                  <a:gd name="connsiteX117" fmla="*/ 696087 w 3579591"/>
                  <a:gd name="connsiteY117" fmla="*/ 388239 h 565975"/>
                  <a:gd name="connsiteX118" fmla="*/ 696087 w 3579591"/>
                  <a:gd name="connsiteY118" fmla="*/ 394335 h 565975"/>
                  <a:gd name="connsiteX119" fmla="*/ 708756 w 3579591"/>
                  <a:gd name="connsiteY119" fmla="*/ 394335 h 565975"/>
                  <a:gd name="connsiteX120" fmla="*/ 708756 w 3579591"/>
                  <a:gd name="connsiteY120" fmla="*/ 400431 h 565975"/>
                  <a:gd name="connsiteX121" fmla="*/ 744474 w 3579591"/>
                  <a:gd name="connsiteY121" fmla="*/ 400431 h 565975"/>
                  <a:gd name="connsiteX122" fmla="*/ 744474 w 3579591"/>
                  <a:gd name="connsiteY122" fmla="*/ 406527 h 565975"/>
                  <a:gd name="connsiteX123" fmla="*/ 860203 w 3579591"/>
                  <a:gd name="connsiteY123" fmla="*/ 406527 h 565975"/>
                  <a:gd name="connsiteX124" fmla="*/ 860203 w 3579591"/>
                  <a:gd name="connsiteY124" fmla="*/ 412528 h 565975"/>
                  <a:gd name="connsiteX125" fmla="*/ 898017 w 3579591"/>
                  <a:gd name="connsiteY125" fmla="*/ 412528 h 565975"/>
                  <a:gd name="connsiteX126" fmla="*/ 898017 w 3579591"/>
                  <a:gd name="connsiteY126" fmla="*/ 418719 h 565975"/>
                  <a:gd name="connsiteX127" fmla="*/ 950595 w 3579591"/>
                  <a:gd name="connsiteY127" fmla="*/ 418719 h 565975"/>
                  <a:gd name="connsiteX128" fmla="*/ 950595 w 3579591"/>
                  <a:gd name="connsiteY128" fmla="*/ 424815 h 565975"/>
                  <a:gd name="connsiteX129" fmla="*/ 969550 w 3579591"/>
                  <a:gd name="connsiteY129" fmla="*/ 424815 h 565975"/>
                  <a:gd name="connsiteX130" fmla="*/ 969550 w 3579591"/>
                  <a:gd name="connsiteY130" fmla="*/ 430911 h 565975"/>
                  <a:gd name="connsiteX131" fmla="*/ 980028 w 3579591"/>
                  <a:gd name="connsiteY131" fmla="*/ 430911 h 565975"/>
                  <a:gd name="connsiteX132" fmla="*/ 980028 w 3579591"/>
                  <a:gd name="connsiteY132" fmla="*/ 437102 h 565975"/>
                  <a:gd name="connsiteX133" fmla="*/ 1013746 w 3579591"/>
                  <a:gd name="connsiteY133" fmla="*/ 437102 h 565975"/>
                  <a:gd name="connsiteX134" fmla="*/ 1013746 w 3579591"/>
                  <a:gd name="connsiteY134" fmla="*/ 443198 h 565975"/>
                  <a:gd name="connsiteX135" fmla="*/ 1020033 w 3579591"/>
                  <a:gd name="connsiteY135" fmla="*/ 443198 h 565975"/>
                  <a:gd name="connsiteX136" fmla="*/ 1020033 w 3579591"/>
                  <a:gd name="connsiteY136" fmla="*/ 449294 h 565975"/>
                  <a:gd name="connsiteX137" fmla="*/ 1034701 w 3579591"/>
                  <a:gd name="connsiteY137" fmla="*/ 449294 h 565975"/>
                  <a:gd name="connsiteX138" fmla="*/ 1034701 w 3579591"/>
                  <a:gd name="connsiteY138" fmla="*/ 455390 h 565975"/>
                  <a:gd name="connsiteX139" fmla="*/ 1047369 w 3579591"/>
                  <a:gd name="connsiteY139" fmla="*/ 455390 h 565975"/>
                  <a:gd name="connsiteX140" fmla="*/ 1047369 w 3579591"/>
                  <a:gd name="connsiteY140" fmla="*/ 461581 h 565975"/>
                  <a:gd name="connsiteX141" fmla="*/ 1072611 w 3579591"/>
                  <a:gd name="connsiteY141" fmla="*/ 461581 h 565975"/>
                  <a:gd name="connsiteX142" fmla="*/ 1072611 w 3579591"/>
                  <a:gd name="connsiteY142" fmla="*/ 467677 h 565975"/>
                  <a:gd name="connsiteX143" fmla="*/ 1301877 w 3579591"/>
                  <a:gd name="connsiteY143" fmla="*/ 467677 h 565975"/>
                  <a:gd name="connsiteX144" fmla="*/ 1301877 w 3579591"/>
                  <a:gd name="connsiteY144" fmla="*/ 473869 h 565975"/>
                  <a:gd name="connsiteX145" fmla="*/ 1415415 w 3579591"/>
                  <a:gd name="connsiteY145" fmla="*/ 473869 h 565975"/>
                  <a:gd name="connsiteX146" fmla="*/ 1415415 w 3579591"/>
                  <a:gd name="connsiteY146" fmla="*/ 480060 h 565975"/>
                  <a:gd name="connsiteX147" fmla="*/ 1684592 w 3579591"/>
                  <a:gd name="connsiteY147" fmla="*/ 480060 h 565975"/>
                  <a:gd name="connsiteX148" fmla="*/ 1684592 w 3579591"/>
                  <a:gd name="connsiteY148" fmla="*/ 486346 h 565975"/>
                  <a:gd name="connsiteX149" fmla="*/ 1758220 w 3579591"/>
                  <a:gd name="connsiteY149" fmla="*/ 486346 h 565975"/>
                  <a:gd name="connsiteX150" fmla="*/ 1758220 w 3579591"/>
                  <a:gd name="connsiteY150" fmla="*/ 492633 h 565975"/>
                  <a:gd name="connsiteX151" fmla="*/ 1838135 w 3579591"/>
                  <a:gd name="connsiteY151" fmla="*/ 492633 h 565975"/>
                  <a:gd name="connsiteX152" fmla="*/ 1838135 w 3579591"/>
                  <a:gd name="connsiteY152" fmla="*/ 498919 h 565975"/>
                  <a:gd name="connsiteX153" fmla="*/ 2000060 w 3579591"/>
                  <a:gd name="connsiteY153" fmla="*/ 498919 h 565975"/>
                  <a:gd name="connsiteX154" fmla="*/ 2000060 w 3579591"/>
                  <a:gd name="connsiteY154" fmla="*/ 505396 h 565975"/>
                  <a:gd name="connsiteX155" fmla="*/ 2016919 w 3579591"/>
                  <a:gd name="connsiteY155" fmla="*/ 505396 h 565975"/>
                  <a:gd name="connsiteX156" fmla="*/ 2016919 w 3579591"/>
                  <a:gd name="connsiteY156" fmla="*/ 511778 h 565975"/>
                  <a:gd name="connsiteX157" fmla="*/ 2134743 w 3579591"/>
                  <a:gd name="connsiteY157" fmla="*/ 511778 h 565975"/>
                  <a:gd name="connsiteX158" fmla="*/ 2134743 w 3579591"/>
                  <a:gd name="connsiteY158" fmla="*/ 518255 h 565975"/>
                  <a:gd name="connsiteX159" fmla="*/ 2227231 w 3579591"/>
                  <a:gd name="connsiteY159" fmla="*/ 518255 h 565975"/>
                  <a:gd name="connsiteX160" fmla="*/ 2227231 w 3579591"/>
                  <a:gd name="connsiteY160" fmla="*/ 524637 h 565975"/>
                  <a:gd name="connsiteX161" fmla="*/ 2246186 w 3579591"/>
                  <a:gd name="connsiteY161" fmla="*/ 524637 h 565975"/>
                  <a:gd name="connsiteX162" fmla="*/ 2246186 w 3579591"/>
                  <a:gd name="connsiteY162" fmla="*/ 531114 h 565975"/>
                  <a:gd name="connsiteX163" fmla="*/ 3100007 w 3579591"/>
                  <a:gd name="connsiteY163" fmla="*/ 531114 h 565975"/>
                  <a:gd name="connsiteX164" fmla="*/ 3100007 w 3579591"/>
                  <a:gd name="connsiteY164" fmla="*/ 565975 h 565975"/>
                  <a:gd name="connsiteX165" fmla="*/ 3579591 w 3579591"/>
                  <a:gd name="connsiteY165" fmla="*/ 565975 h 565975"/>
                  <a:gd name="connsiteX0" fmla="*/ 0 w 3579591"/>
                  <a:gd name="connsiteY0" fmla="*/ 0 h 565975"/>
                  <a:gd name="connsiteX1" fmla="*/ 6287 w 3579591"/>
                  <a:gd name="connsiteY1" fmla="*/ 6096 h 565975"/>
                  <a:gd name="connsiteX2" fmla="*/ 10478 w 3579591"/>
                  <a:gd name="connsiteY2" fmla="*/ 6096 h 565975"/>
                  <a:gd name="connsiteX3" fmla="*/ 10478 w 3579591"/>
                  <a:gd name="connsiteY3" fmla="*/ 12192 h 565975"/>
                  <a:gd name="connsiteX4" fmla="*/ 14669 w 3579591"/>
                  <a:gd name="connsiteY4" fmla="*/ 12192 h 565975"/>
                  <a:gd name="connsiteX5" fmla="*/ 14669 w 3579591"/>
                  <a:gd name="connsiteY5" fmla="*/ 18288 h 565975"/>
                  <a:gd name="connsiteX6" fmla="*/ 16764 w 3579591"/>
                  <a:gd name="connsiteY6" fmla="*/ 18288 h 565975"/>
                  <a:gd name="connsiteX7" fmla="*/ 16764 w 3579591"/>
                  <a:gd name="connsiteY7" fmla="*/ 24289 h 565975"/>
                  <a:gd name="connsiteX8" fmla="*/ 18955 w 3579591"/>
                  <a:gd name="connsiteY8" fmla="*/ 24289 h 565975"/>
                  <a:gd name="connsiteX9" fmla="*/ 18955 w 3579591"/>
                  <a:gd name="connsiteY9" fmla="*/ 30385 h 565975"/>
                  <a:gd name="connsiteX10" fmla="*/ 29432 w 3579591"/>
                  <a:gd name="connsiteY10" fmla="*/ 30385 h 565975"/>
                  <a:gd name="connsiteX11" fmla="*/ 29432 w 3579591"/>
                  <a:gd name="connsiteY11" fmla="*/ 36481 h 565975"/>
                  <a:gd name="connsiteX12" fmla="*/ 35719 w 3579591"/>
                  <a:gd name="connsiteY12" fmla="*/ 36481 h 565975"/>
                  <a:gd name="connsiteX13" fmla="*/ 35719 w 3579591"/>
                  <a:gd name="connsiteY13" fmla="*/ 42481 h 565975"/>
                  <a:gd name="connsiteX14" fmla="*/ 50483 w 3579591"/>
                  <a:gd name="connsiteY14" fmla="*/ 42481 h 565975"/>
                  <a:gd name="connsiteX15" fmla="*/ 50483 w 3579591"/>
                  <a:gd name="connsiteY15" fmla="*/ 48577 h 565975"/>
                  <a:gd name="connsiteX16" fmla="*/ 58865 w 3579591"/>
                  <a:gd name="connsiteY16" fmla="*/ 48577 h 565975"/>
                  <a:gd name="connsiteX17" fmla="*/ 58865 w 3579591"/>
                  <a:gd name="connsiteY17" fmla="*/ 54673 h 565975"/>
                  <a:gd name="connsiteX18" fmla="*/ 69438 w 3579591"/>
                  <a:gd name="connsiteY18" fmla="*/ 54673 h 565975"/>
                  <a:gd name="connsiteX19" fmla="*/ 69438 w 3579591"/>
                  <a:gd name="connsiteY19" fmla="*/ 60674 h 565975"/>
                  <a:gd name="connsiteX20" fmla="*/ 82011 w 3579591"/>
                  <a:gd name="connsiteY20" fmla="*/ 60674 h 565975"/>
                  <a:gd name="connsiteX21" fmla="*/ 82011 w 3579591"/>
                  <a:gd name="connsiteY21" fmla="*/ 66770 h 565975"/>
                  <a:gd name="connsiteX22" fmla="*/ 88297 w 3579591"/>
                  <a:gd name="connsiteY22" fmla="*/ 66770 h 565975"/>
                  <a:gd name="connsiteX23" fmla="*/ 88297 w 3579591"/>
                  <a:gd name="connsiteY23" fmla="*/ 78867 h 565975"/>
                  <a:gd name="connsiteX24" fmla="*/ 92488 w 3579591"/>
                  <a:gd name="connsiteY24" fmla="*/ 78867 h 565975"/>
                  <a:gd name="connsiteX25" fmla="*/ 92488 w 3579591"/>
                  <a:gd name="connsiteY25" fmla="*/ 84963 h 565975"/>
                  <a:gd name="connsiteX26" fmla="*/ 105156 w 3579591"/>
                  <a:gd name="connsiteY26" fmla="*/ 84963 h 565975"/>
                  <a:gd name="connsiteX27" fmla="*/ 105156 w 3579591"/>
                  <a:gd name="connsiteY27" fmla="*/ 91059 h 565975"/>
                  <a:gd name="connsiteX28" fmla="*/ 119825 w 3579591"/>
                  <a:gd name="connsiteY28" fmla="*/ 91059 h 565975"/>
                  <a:gd name="connsiteX29" fmla="*/ 119825 w 3579591"/>
                  <a:gd name="connsiteY29" fmla="*/ 97060 h 565975"/>
                  <a:gd name="connsiteX30" fmla="*/ 124111 w 3579591"/>
                  <a:gd name="connsiteY30" fmla="*/ 97060 h 565975"/>
                  <a:gd name="connsiteX31" fmla="*/ 124111 w 3579591"/>
                  <a:gd name="connsiteY31" fmla="*/ 103156 h 565975"/>
                  <a:gd name="connsiteX32" fmla="*/ 134588 w 3579591"/>
                  <a:gd name="connsiteY32" fmla="*/ 103156 h 565975"/>
                  <a:gd name="connsiteX33" fmla="*/ 134588 w 3579591"/>
                  <a:gd name="connsiteY33" fmla="*/ 109252 h 565975"/>
                  <a:gd name="connsiteX34" fmla="*/ 142971 w 3579591"/>
                  <a:gd name="connsiteY34" fmla="*/ 109252 h 565975"/>
                  <a:gd name="connsiteX35" fmla="*/ 142971 w 3579591"/>
                  <a:gd name="connsiteY35" fmla="*/ 115348 h 565975"/>
                  <a:gd name="connsiteX36" fmla="*/ 157734 w 3579591"/>
                  <a:gd name="connsiteY36" fmla="*/ 115348 h 565975"/>
                  <a:gd name="connsiteX37" fmla="*/ 157734 w 3579591"/>
                  <a:gd name="connsiteY37" fmla="*/ 121348 h 565975"/>
                  <a:gd name="connsiteX38" fmla="*/ 161925 w 3579591"/>
                  <a:gd name="connsiteY38" fmla="*/ 121348 h 565975"/>
                  <a:gd name="connsiteX39" fmla="*/ 161925 w 3579591"/>
                  <a:gd name="connsiteY39" fmla="*/ 127444 h 565975"/>
                  <a:gd name="connsiteX40" fmla="*/ 166116 w 3579591"/>
                  <a:gd name="connsiteY40" fmla="*/ 127444 h 565975"/>
                  <a:gd name="connsiteX41" fmla="*/ 166116 w 3579591"/>
                  <a:gd name="connsiteY41" fmla="*/ 133540 h 565975"/>
                  <a:gd name="connsiteX42" fmla="*/ 178785 w 3579591"/>
                  <a:gd name="connsiteY42" fmla="*/ 133540 h 565975"/>
                  <a:gd name="connsiteX43" fmla="*/ 178785 w 3579591"/>
                  <a:gd name="connsiteY43" fmla="*/ 139541 h 565975"/>
                  <a:gd name="connsiteX44" fmla="*/ 208217 w 3579591"/>
                  <a:gd name="connsiteY44" fmla="*/ 139541 h 565975"/>
                  <a:gd name="connsiteX45" fmla="*/ 208217 w 3579591"/>
                  <a:gd name="connsiteY45" fmla="*/ 145637 h 565975"/>
                  <a:gd name="connsiteX46" fmla="*/ 216599 w 3579591"/>
                  <a:gd name="connsiteY46" fmla="*/ 145637 h 565975"/>
                  <a:gd name="connsiteX47" fmla="*/ 216599 w 3579591"/>
                  <a:gd name="connsiteY47" fmla="*/ 151733 h 565975"/>
                  <a:gd name="connsiteX48" fmla="*/ 218694 w 3579591"/>
                  <a:gd name="connsiteY48" fmla="*/ 151733 h 565975"/>
                  <a:gd name="connsiteX49" fmla="*/ 218694 w 3579591"/>
                  <a:gd name="connsiteY49" fmla="*/ 157734 h 565975"/>
                  <a:gd name="connsiteX50" fmla="*/ 233458 w 3579591"/>
                  <a:gd name="connsiteY50" fmla="*/ 157734 h 565975"/>
                  <a:gd name="connsiteX51" fmla="*/ 233458 w 3579591"/>
                  <a:gd name="connsiteY51" fmla="*/ 169926 h 565975"/>
                  <a:gd name="connsiteX52" fmla="*/ 235554 w 3579591"/>
                  <a:gd name="connsiteY52" fmla="*/ 169926 h 565975"/>
                  <a:gd name="connsiteX53" fmla="*/ 235554 w 3579591"/>
                  <a:gd name="connsiteY53" fmla="*/ 175927 h 565975"/>
                  <a:gd name="connsiteX54" fmla="*/ 241840 w 3579591"/>
                  <a:gd name="connsiteY54" fmla="*/ 175927 h 565975"/>
                  <a:gd name="connsiteX55" fmla="*/ 241840 w 3579591"/>
                  <a:gd name="connsiteY55" fmla="*/ 182023 h 565975"/>
                  <a:gd name="connsiteX56" fmla="*/ 246031 w 3579591"/>
                  <a:gd name="connsiteY56" fmla="*/ 182023 h 565975"/>
                  <a:gd name="connsiteX57" fmla="*/ 246031 w 3579591"/>
                  <a:gd name="connsiteY57" fmla="*/ 188119 h 565975"/>
                  <a:gd name="connsiteX58" fmla="*/ 262890 w 3579591"/>
                  <a:gd name="connsiteY58" fmla="*/ 188119 h 565975"/>
                  <a:gd name="connsiteX59" fmla="*/ 262890 w 3579591"/>
                  <a:gd name="connsiteY59" fmla="*/ 200215 h 565975"/>
                  <a:gd name="connsiteX60" fmla="*/ 267081 w 3579591"/>
                  <a:gd name="connsiteY60" fmla="*/ 200215 h 565975"/>
                  <a:gd name="connsiteX61" fmla="*/ 267081 w 3579591"/>
                  <a:gd name="connsiteY61" fmla="*/ 206311 h 565975"/>
                  <a:gd name="connsiteX62" fmla="*/ 290227 w 3579591"/>
                  <a:gd name="connsiteY62" fmla="*/ 206311 h 565975"/>
                  <a:gd name="connsiteX63" fmla="*/ 290227 w 3579591"/>
                  <a:gd name="connsiteY63" fmla="*/ 212407 h 565975"/>
                  <a:gd name="connsiteX64" fmla="*/ 294418 w 3579591"/>
                  <a:gd name="connsiteY64" fmla="*/ 212407 h 565975"/>
                  <a:gd name="connsiteX65" fmla="*/ 294418 w 3579591"/>
                  <a:gd name="connsiteY65" fmla="*/ 218408 h 565975"/>
                  <a:gd name="connsiteX66" fmla="*/ 300705 w 3579591"/>
                  <a:gd name="connsiteY66" fmla="*/ 218408 h 565975"/>
                  <a:gd name="connsiteX67" fmla="*/ 300705 w 3579591"/>
                  <a:gd name="connsiteY67" fmla="*/ 230600 h 565975"/>
                  <a:gd name="connsiteX68" fmla="*/ 319659 w 3579591"/>
                  <a:gd name="connsiteY68" fmla="*/ 230600 h 565975"/>
                  <a:gd name="connsiteX69" fmla="*/ 319659 w 3579591"/>
                  <a:gd name="connsiteY69" fmla="*/ 236601 h 565975"/>
                  <a:gd name="connsiteX70" fmla="*/ 328041 w 3579591"/>
                  <a:gd name="connsiteY70" fmla="*/ 236601 h 565975"/>
                  <a:gd name="connsiteX71" fmla="*/ 328041 w 3579591"/>
                  <a:gd name="connsiteY71" fmla="*/ 242697 h 565975"/>
                  <a:gd name="connsiteX72" fmla="*/ 340710 w 3579591"/>
                  <a:gd name="connsiteY72" fmla="*/ 242697 h 565975"/>
                  <a:gd name="connsiteX73" fmla="*/ 340710 w 3579591"/>
                  <a:gd name="connsiteY73" fmla="*/ 248793 h 565975"/>
                  <a:gd name="connsiteX74" fmla="*/ 357569 w 3579591"/>
                  <a:gd name="connsiteY74" fmla="*/ 248793 h 565975"/>
                  <a:gd name="connsiteX75" fmla="*/ 357569 w 3579591"/>
                  <a:gd name="connsiteY75" fmla="*/ 254794 h 565975"/>
                  <a:gd name="connsiteX76" fmla="*/ 384906 w 3579591"/>
                  <a:gd name="connsiteY76" fmla="*/ 254794 h 565975"/>
                  <a:gd name="connsiteX77" fmla="*/ 384906 w 3579591"/>
                  <a:gd name="connsiteY77" fmla="*/ 260890 h 565975"/>
                  <a:gd name="connsiteX78" fmla="*/ 387001 w 3579591"/>
                  <a:gd name="connsiteY78" fmla="*/ 260890 h 565975"/>
                  <a:gd name="connsiteX79" fmla="*/ 387001 w 3579591"/>
                  <a:gd name="connsiteY79" fmla="*/ 266986 h 565975"/>
                  <a:gd name="connsiteX80" fmla="*/ 397478 w 3579591"/>
                  <a:gd name="connsiteY80" fmla="*/ 266986 h 565975"/>
                  <a:gd name="connsiteX81" fmla="*/ 397478 w 3579591"/>
                  <a:gd name="connsiteY81" fmla="*/ 272986 h 565975"/>
                  <a:gd name="connsiteX82" fmla="*/ 403765 w 3579591"/>
                  <a:gd name="connsiteY82" fmla="*/ 272986 h 565975"/>
                  <a:gd name="connsiteX83" fmla="*/ 403765 w 3579591"/>
                  <a:gd name="connsiteY83" fmla="*/ 285178 h 565975"/>
                  <a:gd name="connsiteX84" fmla="*/ 412242 w 3579591"/>
                  <a:gd name="connsiteY84" fmla="*/ 285178 h 565975"/>
                  <a:gd name="connsiteX85" fmla="*/ 412242 w 3579591"/>
                  <a:gd name="connsiteY85" fmla="*/ 291179 h 565975"/>
                  <a:gd name="connsiteX86" fmla="*/ 418529 w 3579591"/>
                  <a:gd name="connsiteY86" fmla="*/ 291179 h 565975"/>
                  <a:gd name="connsiteX87" fmla="*/ 418529 w 3579591"/>
                  <a:gd name="connsiteY87" fmla="*/ 303371 h 565975"/>
                  <a:gd name="connsiteX88" fmla="*/ 420624 w 3579591"/>
                  <a:gd name="connsiteY88" fmla="*/ 303371 h 565975"/>
                  <a:gd name="connsiteX89" fmla="*/ 420624 w 3579591"/>
                  <a:gd name="connsiteY89" fmla="*/ 309467 h 565975"/>
                  <a:gd name="connsiteX90" fmla="*/ 433197 w 3579591"/>
                  <a:gd name="connsiteY90" fmla="*/ 309467 h 565975"/>
                  <a:gd name="connsiteX91" fmla="*/ 433197 w 3579591"/>
                  <a:gd name="connsiteY91" fmla="*/ 315468 h 565975"/>
                  <a:gd name="connsiteX92" fmla="*/ 456343 w 3579591"/>
                  <a:gd name="connsiteY92" fmla="*/ 315468 h 565975"/>
                  <a:gd name="connsiteX93" fmla="*/ 456343 w 3579591"/>
                  <a:gd name="connsiteY93" fmla="*/ 321564 h 565975"/>
                  <a:gd name="connsiteX94" fmla="*/ 462725 w 3579591"/>
                  <a:gd name="connsiteY94" fmla="*/ 321564 h 565975"/>
                  <a:gd name="connsiteX95" fmla="*/ 462725 w 3579591"/>
                  <a:gd name="connsiteY95" fmla="*/ 327660 h 565975"/>
                  <a:gd name="connsiteX96" fmla="*/ 471107 w 3579591"/>
                  <a:gd name="connsiteY96" fmla="*/ 327660 h 565975"/>
                  <a:gd name="connsiteX97" fmla="*/ 471107 w 3579591"/>
                  <a:gd name="connsiteY97" fmla="*/ 333661 h 565975"/>
                  <a:gd name="connsiteX98" fmla="*/ 479489 w 3579591"/>
                  <a:gd name="connsiteY98" fmla="*/ 333661 h 565975"/>
                  <a:gd name="connsiteX99" fmla="*/ 479489 w 3579591"/>
                  <a:gd name="connsiteY99" fmla="*/ 339757 h 565975"/>
                  <a:gd name="connsiteX100" fmla="*/ 483680 w 3579591"/>
                  <a:gd name="connsiteY100" fmla="*/ 339757 h 565975"/>
                  <a:gd name="connsiteX101" fmla="*/ 483680 w 3579591"/>
                  <a:gd name="connsiteY101" fmla="*/ 345853 h 565975"/>
                  <a:gd name="connsiteX102" fmla="*/ 557308 w 3579591"/>
                  <a:gd name="connsiteY102" fmla="*/ 345853 h 565975"/>
                  <a:gd name="connsiteX103" fmla="*/ 557308 w 3579591"/>
                  <a:gd name="connsiteY103" fmla="*/ 351853 h 565975"/>
                  <a:gd name="connsiteX104" fmla="*/ 578358 w 3579591"/>
                  <a:gd name="connsiteY104" fmla="*/ 351853 h 565975"/>
                  <a:gd name="connsiteX105" fmla="*/ 578358 w 3579591"/>
                  <a:gd name="connsiteY105" fmla="*/ 357949 h 565975"/>
                  <a:gd name="connsiteX106" fmla="*/ 584645 w 3579591"/>
                  <a:gd name="connsiteY106" fmla="*/ 357949 h 565975"/>
                  <a:gd name="connsiteX107" fmla="*/ 584645 w 3579591"/>
                  <a:gd name="connsiteY107" fmla="*/ 364045 h 565975"/>
                  <a:gd name="connsiteX108" fmla="*/ 626745 w 3579591"/>
                  <a:gd name="connsiteY108" fmla="*/ 364045 h 565975"/>
                  <a:gd name="connsiteX109" fmla="*/ 626745 w 3579591"/>
                  <a:gd name="connsiteY109" fmla="*/ 370046 h 565975"/>
                  <a:gd name="connsiteX110" fmla="*/ 641414 w 3579591"/>
                  <a:gd name="connsiteY110" fmla="*/ 370046 h 565975"/>
                  <a:gd name="connsiteX111" fmla="*/ 641414 w 3579591"/>
                  <a:gd name="connsiteY111" fmla="*/ 376142 h 565975"/>
                  <a:gd name="connsiteX112" fmla="*/ 670941 w 3579591"/>
                  <a:gd name="connsiteY112" fmla="*/ 376142 h 565975"/>
                  <a:gd name="connsiteX113" fmla="*/ 670941 w 3579591"/>
                  <a:gd name="connsiteY113" fmla="*/ 382238 h 565975"/>
                  <a:gd name="connsiteX114" fmla="*/ 673037 w 3579591"/>
                  <a:gd name="connsiteY114" fmla="*/ 382238 h 565975"/>
                  <a:gd name="connsiteX115" fmla="*/ 673037 w 3579591"/>
                  <a:gd name="connsiteY115" fmla="*/ 388239 h 565975"/>
                  <a:gd name="connsiteX116" fmla="*/ 696087 w 3579591"/>
                  <a:gd name="connsiteY116" fmla="*/ 388239 h 565975"/>
                  <a:gd name="connsiteX117" fmla="*/ 696087 w 3579591"/>
                  <a:gd name="connsiteY117" fmla="*/ 394335 h 565975"/>
                  <a:gd name="connsiteX118" fmla="*/ 708756 w 3579591"/>
                  <a:gd name="connsiteY118" fmla="*/ 394335 h 565975"/>
                  <a:gd name="connsiteX119" fmla="*/ 708756 w 3579591"/>
                  <a:gd name="connsiteY119" fmla="*/ 400431 h 565975"/>
                  <a:gd name="connsiteX120" fmla="*/ 744474 w 3579591"/>
                  <a:gd name="connsiteY120" fmla="*/ 400431 h 565975"/>
                  <a:gd name="connsiteX121" fmla="*/ 744474 w 3579591"/>
                  <a:gd name="connsiteY121" fmla="*/ 406527 h 565975"/>
                  <a:gd name="connsiteX122" fmla="*/ 860203 w 3579591"/>
                  <a:gd name="connsiteY122" fmla="*/ 406527 h 565975"/>
                  <a:gd name="connsiteX123" fmla="*/ 860203 w 3579591"/>
                  <a:gd name="connsiteY123" fmla="*/ 412528 h 565975"/>
                  <a:gd name="connsiteX124" fmla="*/ 898017 w 3579591"/>
                  <a:gd name="connsiteY124" fmla="*/ 412528 h 565975"/>
                  <a:gd name="connsiteX125" fmla="*/ 898017 w 3579591"/>
                  <a:gd name="connsiteY125" fmla="*/ 418719 h 565975"/>
                  <a:gd name="connsiteX126" fmla="*/ 950595 w 3579591"/>
                  <a:gd name="connsiteY126" fmla="*/ 418719 h 565975"/>
                  <a:gd name="connsiteX127" fmla="*/ 950595 w 3579591"/>
                  <a:gd name="connsiteY127" fmla="*/ 424815 h 565975"/>
                  <a:gd name="connsiteX128" fmla="*/ 969550 w 3579591"/>
                  <a:gd name="connsiteY128" fmla="*/ 424815 h 565975"/>
                  <a:gd name="connsiteX129" fmla="*/ 969550 w 3579591"/>
                  <a:gd name="connsiteY129" fmla="*/ 430911 h 565975"/>
                  <a:gd name="connsiteX130" fmla="*/ 980028 w 3579591"/>
                  <a:gd name="connsiteY130" fmla="*/ 430911 h 565975"/>
                  <a:gd name="connsiteX131" fmla="*/ 980028 w 3579591"/>
                  <a:gd name="connsiteY131" fmla="*/ 437102 h 565975"/>
                  <a:gd name="connsiteX132" fmla="*/ 1013746 w 3579591"/>
                  <a:gd name="connsiteY132" fmla="*/ 437102 h 565975"/>
                  <a:gd name="connsiteX133" fmla="*/ 1013746 w 3579591"/>
                  <a:gd name="connsiteY133" fmla="*/ 443198 h 565975"/>
                  <a:gd name="connsiteX134" fmla="*/ 1020033 w 3579591"/>
                  <a:gd name="connsiteY134" fmla="*/ 443198 h 565975"/>
                  <a:gd name="connsiteX135" fmla="*/ 1020033 w 3579591"/>
                  <a:gd name="connsiteY135" fmla="*/ 449294 h 565975"/>
                  <a:gd name="connsiteX136" fmla="*/ 1034701 w 3579591"/>
                  <a:gd name="connsiteY136" fmla="*/ 449294 h 565975"/>
                  <a:gd name="connsiteX137" fmla="*/ 1034701 w 3579591"/>
                  <a:gd name="connsiteY137" fmla="*/ 455390 h 565975"/>
                  <a:gd name="connsiteX138" fmla="*/ 1047369 w 3579591"/>
                  <a:gd name="connsiteY138" fmla="*/ 455390 h 565975"/>
                  <a:gd name="connsiteX139" fmla="*/ 1047369 w 3579591"/>
                  <a:gd name="connsiteY139" fmla="*/ 461581 h 565975"/>
                  <a:gd name="connsiteX140" fmla="*/ 1072611 w 3579591"/>
                  <a:gd name="connsiteY140" fmla="*/ 461581 h 565975"/>
                  <a:gd name="connsiteX141" fmla="*/ 1072611 w 3579591"/>
                  <a:gd name="connsiteY141" fmla="*/ 467677 h 565975"/>
                  <a:gd name="connsiteX142" fmla="*/ 1301877 w 3579591"/>
                  <a:gd name="connsiteY142" fmla="*/ 467677 h 565975"/>
                  <a:gd name="connsiteX143" fmla="*/ 1301877 w 3579591"/>
                  <a:gd name="connsiteY143" fmla="*/ 473869 h 565975"/>
                  <a:gd name="connsiteX144" fmla="*/ 1415415 w 3579591"/>
                  <a:gd name="connsiteY144" fmla="*/ 473869 h 565975"/>
                  <a:gd name="connsiteX145" fmla="*/ 1415415 w 3579591"/>
                  <a:gd name="connsiteY145" fmla="*/ 480060 h 565975"/>
                  <a:gd name="connsiteX146" fmla="*/ 1684592 w 3579591"/>
                  <a:gd name="connsiteY146" fmla="*/ 480060 h 565975"/>
                  <a:gd name="connsiteX147" fmla="*/ 1684592 w 3579591"/>
                  <a:gd name="connsiteY147" fmla="*/ 486346 h 565975"/>
                  <a:gd name="connsiteX148" fmla="*/ 1758220 w 3579591"/>
                  <a:gd name="connsiteY148" fmla="*/ 486346 h 565975"/>
                  <a:gd name="connsiteX149" fmla="*/ 1758220 w 3579591"/>
                  <a:gd name="connsiteY149" fmla="*/ 492633 h 565975"/>
                  <a:gd name="connsiteX150" fmla="*/ 1838135 w 3579591"/>
                  <a:gd name="connsiteY150" fmla="*/ 492633 h 565975"/>
                  <a:gd name="connsiteX151" fmla="*/ 1838135 w 3579591"/>
                  <a:gd name="connsiteY151" fmla="*/ 498919 h 565975"/>
                  <a:gd name="connsiteX152" fmla="*/ 2000060 w 3579591"/>
                  <a:gd name="connsiteY152" fmla="*/ 498919 h 565975"/>
                  <a:gd name="connsiteX153" fmla="*/ 2000060 w 3579591"/>
                  <a:gd name="connsiteY153" fmla="*/ 505396 h 565975"/>
                  <a:gd name="connsiteX154" fmla="*/ 2016919 w 3579591"/>
                  <a:gd name="connsiteY154" fmla="*/ 505396 h 565975"/>
                  <a:gd name="connsiteX155" fmla="*/ 2016919 w 3579591"/>
                  <a:gd name="connsiteY155" fmla="*/ 511778 h 565975"/>
                  <a:gd name="connsiteX156" fmla="*/ 2134743 w 3579591"/>
                  <a:gd name="connsiteY156" fmla="*/ 511778 h 565975"/>
                  <a:gd name="connsiteX157" fmla="*/ 2134743 w 3579591"/>
                  <a:gd name="connsiteY157" fmla="*/ 518255 h 565975"/>
                  <a:gd name="connsiteX158" fmla="*/ 2227231 w 3579591"/>
                  <a:gd name="connsiteY158" fmla="*/ 518255 h 565975"/>
                  <a:gd name="connsiteX159" fmla="*/ 2227231 w 3579591"/>
                  <a:gd name="connsiteY159" fmla="*/ 524637 h 565975"/>
                  <a:gd name="connsiteX160" fmla="*/ 2246186 w 3579591"/>
                  <a:gd name="connsiteY160" fmla="*/ 524637 h 565975"/>
                  <a:gd name="connsiteX161" fmla="*/ 2246186 w 3579591"/>
                  <a:gd name="connsiteY161" fmla="*/ 531114 h 565975"/>
                  <a:gd name="connsiteX162" fmla="*/ 3100007 w 3579591"/>
                  <a:gd name="connsiteY162" fmla="*/ 531114 h 565975"/>
                  <a:gd name="connsiteX163" fmla="*/ 3100007 w 3579591"/>
                  <a:gd name="connsiteY163" fmla="*/ 565975 h 565975"/>
                  <a:gd name="connsiteX164" fmla="*/ 3579591 w 3579591"/>
                  <a:gd name="connsiteY164" fmla="*/ 565975 h 565975"/>
                  <a:gd name="connsiteX0" fmla="*/ 0 w 3573304"/>
                  <a:gd name="connsiteY0" fmla="*/ 0 h 559879"/>
                  <a:gd name="connsiteX1" fmla="*/ 4191 w 3573304"/>
                  <a:gd name="connsiteY1" fmla="*/ 0 h 559879"/>
                  <a:gd name="connsiteX2" fmla="*/ 4191 w 3573304"/>
                  <a:gd name="connsiteY2" fmla="*/ 6096 h 559879"/>
                  <a:gd name="connsiteX3" fmla="*/ 8382 w 3573304"/>
                  <a:gd name="connsiteY3" fmla="*/ 6096 h 559879"/>
                  <a:gd name="connsiteX4" fmla="*/ 8382 w 3573304"/>
                  <a:gd name="connsiteY4" fmla="*/ 12192 h 559879"/>
                  <a:gd name="connsiteX5" fmla="*/ 10477 w 3573304"/>
                  <a:gd name="connsiteY5" fmla="*/ 12192 h 559879"/>
                  <a:gd name="connsiteX6" fmla="*/ 10477 w 3573304"/>
                  <a:gd name="connsiteY6" fmla="*/ 18193 h 559879"/>
                  <a:gd name="connsiteX7" fmla="*/ 12668 w 3573304"/>
                  <a:gd name="connsiteY7" fmla="*/ 18193 h 559879"/>
                  <a:gd name="connsiteX8" fmla="*/ 12668 w 3573304"/>
                  <a:gd name="connsiteY8" fmla="*/ 24289 h 559879"/>
                  <a:gd name="connsiteX9" fmla="*/ 23145 w 3573304"/>
                  <a:gd name="connsiteY9" fmla="*/ 24289 h 559879"/>
                  <a:gd name="connsiteX10" fmla="*/ 23145 w 3573304"/>
                  <a:gd name="connsiteY10" fmla="*/ 30385 h 559879"/>
                  <a:gd name="connsiteX11" fmla="*/ 29432 w 3573304"/>
                  <a:gd name="connsiteY11" fmla="*/ 30385 h 559879"/>
                  <a:gd name="connsiteX12" fmla="*/ 29432 w 3573304"/>
                  <a:gd name="connsiteY12" fmla="*/ 36385 h 559879"/>
                  <a:gd name="connsiteX13" fmla="*/ 44196 w 3573304"/>
                  <a:gd name="connsiteY13" fmla="*/ 36385 h 559879"/>
                  <a:gd name="connsiteX14" fmla="*/ 44196 w 3573304"/>
                  <a:gd name="connsiteY14" fmla="*/ 42481 h 559879"/>
                  <a:gd name="connsiteX15" fmla="*/ 52578 w 3573304"/>
                  <a:gd name="connsiteY15" fmla="*/ 42481 h 559879"/>
                  <a:gd name="connsiteX16" fmla="*/ 52578 w 3573304"/>
                  <a:gd name="connsiteY16" fmla="*/ 48577 h 559879"/>
                  <a:gd name="connsiteX17" fmla="*/ 63151 w 3573304"/>
                  <a:gd name="connsiteY17" fmla="*/ 48577 h 559879"/>
                  <a:gd name="connsiteX18" fmla="*/ 63151 w 3573304"/>
                  <a:gd name="connsiteY18" fmla="*/ 54578 h 559879"/>
                  <a:gd name="connsiteX19" fmla="*/ 75724 w 3573304"/>
                  <a:gd name="connsiteY19" fmla="*/ 54578 h 559879"/>
                  <a:gd name="connsiteX20" fmla="*/ 75724 w 3573304"/>
                  <a:gd name="connsiteY20" fmla="*/ 60674 h 559879"/>
                  <a:gd name="connsiteX21" fmla="*/ 82010 w 3573304"/>
                  <a:gd name="connsiteY21" fmla="*/ 60674 h 559879"/>
                  <a:gd name="connsiteX22" fmla="*/ 82010 w 3573304"/>
                  <a:gd name="connsiteY22" fmla="*/ 72771 h 559879"/>
                  <a:gd name="connsiteX23" fmla="*/ 86201 w 3573304"/>
                  <a:gd name="connsiteY23" fmla="*/ 72771 h 559879"/>
                  <a:gd name="connsiteX24" fmla="*/ 86201 w 3573304"/>
                  <a:gd name="connsiteY24" fmla="*/ 78867 h 559879"/>
                  <a:gd name="connsiteX25" fmla="*/ 98869 w 3573304"/>
                  <a:gd name="connsiteY25" fmla="*/ 78867 h 559879"/>
                  <a:gd name="connsiteX26" fmla="*/ 98869 w 3573304"/>
                  <a:gd name="connsiteY26" fmla="*/ 84963 h 559879"/>
                  <a:gd name="connsiteX27" fmla="*/ 113538 w 3573304"/>
                  <a:gd name="connsiteY27" fmla="*/ 84963 h 559879"/>
                  <a:gd name="connsiteX28" fmla="*/ 113538 w 3573304"/>
                  <a:gd name="connsiteY28" fmla="*/ 90964 h 559879"/>
                  <a:gd name="connsiteX29" fmla="*/ 117824 w 3573304"/>
                  <a:gd name="connsiteY29" fmla="*/ 90964 h 559879"/>
                  <a:gd name="connsiteX30" fmla="*/ 117824 w 3573304"/>
                  <a:gd name="connsiteY30" fmla="*/ 97060 h 559879"/>
                  <a:gd name="connsiteX31" fmla="*/ 128301 w 3573304"/>
                  <a:gd name="connsiteY31" fmla="*/ 97060 h 559879"/>
                  <a:gd name="connsiteX32" fmla="*/ 128301 w 3573304"/>
                  <a:gd name="connsiteY32" fmla="*/ 103156 h 559879"/>
                  <a:gd name="connsiteX33" fmla="*/ 136684 w 3573304"/>
                  <a:gd name="connsiteY33" fmla="*/ 103156 h 559879"/>
                  <a:gd name="connsiteX34" fmla="*/ 136684 w 3573304"/>
                  <a:gd name="connsiteY34" fmla="*/ 109252 h 559879"/>
                  <a:gd name="connsiteX35" fmla="*/ 151447 w 3573304"/>
                  <a:gd name="connsiteY35" fmla="*/ 109252 h 559879"/>
                  <a:gd name="connsiteX36" fmla="*/ 151447 w 3573304"/>
                  <a:gd name="connsiteY36" fmla="*/ 115252 h 559879"/>
                  <a:gd name="connsiteX37" fmla="*/ 155638 w 3573304"/>
                  <a:gd name="connsiteY37" fmla="*/ 115252 h 559879"/>
                  <a:gd name="connsiteX38" fmla="*/ 155638 w 3573304"/>
                  <a:gd name="connsiteY38" fmla="*/ 121348 h 559879"/>
                  <a:gd name="connsiteX39" fmla="*/ 159829 w 3573304"/>
                  <a:gd name="connsiteY39" fmla="*/ 121348 h 559879"/>
                  <a:gd name="connsiteX40" fmla="*/ 159829 w 3573304"/>
                  <a:gd name="connsiteY40" fmla="*/ 127444 h 559879"/>
                  <a:gd name="connsiteX41" fmla="*/ 172498 w 3573304"/>
                  <a:gd name="connsiteY41" fmla="*/ 127444 h 559879"/>
                  <a:gd name="connsiteX42" fmla="*/ 172498 w 3573304"/>
                  <a:gd name="connsiteY42" fmla="*/ 133445 h 559879"/>
                  <a:gd name="connsiteX43" fmla="*/ 201930 w 3573304"/>
                  <a:gd name="connsiteY43" fmla="*/ 133445 h 559879"/>
                  <a:gd name="connsiteX44" fmla="*/ 201930 w 3573304"/>
                  <a:gd name="connsiteY44" fmla="*/ 139541 h 559879"/>
                  <a:gd name="connsiteX45" fmla="*/ 210312 w 3573304"/>
                  <a:gd name="connsiteY45" fmla="*/ 139541 h 559879"/>
                  <a:gd name="connsiteX46" fmla="*/ 210312 w 3573304"/>
                  <a:gd name="connsiteY46" fmla="*/ 145637 h 559879"/>
                  <a:gd name="connsiteX47" fmla="*/ 212407 w 3573304"/>
                  <a:gd name="connsiteY47" fmla="*/ 145637 h 559879"/>
                  <a:gd name="connsiteX48" fmla="*/ 212407 w 3573304"/>
                  <a:gd name="connsiteY48" fmla="*/ 151638 h 559879"/>
                  <a:gd name="connsiteX49" fmla="*/ 227171 w 3573304"/>
                  <a:gd name="connsiteY49" fmla="*/ 151638 h 559879"/>
                  <a:gd name="connsiteX50" fmla="*/ 227171 w 3573304"/>
                  <a:gd name="connsiteY50" fmla="*/ 163830 h 559879"/>
                  <a:gd name="connsiteX51" fmla="*/ 229267 w 3573304"/>
                  <a:gd name="connsiteY51" fmla="*/ 163830 h 559879"/>
                  <a:gd name="connsiteX52" fmla="*/ 229267 w 3573304"/>
                  <a:gd name="connsiteY52" fmla="*/ 169831 h 559879"/>
                  <a:gd name="connsiteX53" fmla="*/ 235553 w 3573304"/>
                  <a:gd name="connsiteY53" fmla="*/ 169831 h 559879"/>
                  <a:gd name="connsiteX54" fmla="*/ 235553 w 3573304"/>
                  <a:gd name="connsiteY54" fmla="*/ 175927 h 559879"/>
                  <a:gd name="connsiteX55" fmla="*/ 239744 w 3573304"/>
                  <a:gd name="connsiteY55" fmla="*/ 175927 h 559879"/>
                  <a:gd name="connsiteX56" fmla="*/ 239744 w 3573304"/>
                  <a:gd name="connsiteY56" fmla="*/ 182023 h 559879"/>
                  <a:gd name="connsiteX57" fmla="*/ 256603 w 3573304"/>
                  <a:gd name="connsiteY57" fmla="*/ 182023 h 559879"/>
                  <a:gd name="connsiteX58" fmla="*/ 256603 w 3573304"/>
                  <a:gd name="connsiteY58" fmla="*/ 194119 h 559879"/>
                  <a:gd name="connsiteX59" fmla="*/ 260794 w 3573304"/>
                  <a:gd name="connsiteY59" fmla="*/ 194119 h 559879"/>
                  <a:gd name="connsiteX60" fmla="*/ 260794 w 3573304"/>
                  <a:gd name="connsiteY60" fmla="*/ 200215 h 559879"/>
                  <a:gd name="connsiteX61" fmla="*/ 283940 w 3573304"/>
                  <a:gd name="connsiteY61" fmla="*/ 200215 h 559879"/>
                  <a:gd name="connsiteX62" fmla="*/ 283940 w 3573304"/>
                  <a:gd name="connsiteY62" fmla="*/ 206311 h 559879"/>
                  <a:gd name="connsiteX63" fmla="*/ 288131 w 3573304"/>
                  <a:gd name="connsiteY63" fmla="*/ 206311 h 559879"/>
                  <a:gd name="connsiteX64" fmla="*/ 288131 w 3573304"/>
                  <a:gd name="connsiteY64" fmla="*/ 212312 h 559879"/>
                  <a:gd name="connsiteX65" fmla="*/ 294418 w 3573304"/>
                  <a:gd name="connsiteY65" fmla="*/ 212312 h 559879"/>
                  <a:gd name="connsiteX66" fmla="*/ 294418 w 3573304"/>
                  <a:gd name="connsiteY66" fmla="*/ 224504 h 559879"/>
                  <a:gd name="connsiteX67" fmla="*/ 313372 w 3573304"/>
                  <a:gd name="connsiteY67" fmla="*/ 224504 h 559879"/>
                  <a:gd name="connsiteX68" fmla="*/ 313372 w 3573304"/>
                  <a:gd name="connsiteY68" fmla="*/ 230505 h 559879"/>
                  <a:gd name="connsiteX69" fmla="*/ 321754 w 3573304"/>
                  <a:gd name="connsiteY69" fmla="*/ 230505 h 559879"/>
                  <a:gd name="connsiteX70" fmla="*/ 321754 w 3573304"/>
                  <a:gd name="connsiteY70" fmla="*/ 236601 h 559879"/>
                  <a:gd name="connsiteX71" fmla="*/ 334423 w 3573304"/>
                  <a:gd name="connsiteY71" fmla="*/ 236601 h 559879"/>
                  <a:gd name="connsiteX72" fmla="*/ 334423 w 3573304"/>
                  <a:gd name="connsiteY72" fmla="*/ 242697 h 559879"/>
                  <a:gd name="connsiteX73" fmla="*/ 351282 w 3573304"/>
                  <a:gd name="connsiteY73" fmla="*/ 242697 h 559879"/>
                  <a:gd name="connsiteX74" fmla="*/ 351282 w 3573304"/>
                  <a:gd name="connsiteY74" fmla="*/ 248698 h 559879"/>
                  <a:gd name="connsiteX75" fmla="*/ 378619 w 3573304"/>
                  <a:gd name="connsiteY75" fmla="*/ 248698 h 559879"/>
                  <a:gd name="connsiteX76" fmla="*/ 378619 w 3573304"/>
                  <a:gd name="connsiteY76" fmla="*/ 254794 h 559879"/>
                  <a:gd name="connsiteX77" fmla="*/ 380714 w 3573304"/>
                  <a:gd name="connsiteY77" fmla="*/ 254794 h 559879"/>
                  <a:gd name="connsiteX78" fmla="*/ 380714 w 3573304"/>
                  <a:gd name="connsiteY78" fmla="*/ 260890 h 559879"/>
                  <a:gd name="connsiteX79" fmla="*/ 391191 w 3573304"/>
                  <a:gd name="connsiteY79" fmla="*/ 260890 h 559879"/>
                  <a:gd name="connsiteX80" fmla="*/ 391191 w 3573304"/>
                  <a:gd name="connsiteY80" fmla="*/ 266890 h 559879"/>
                  <a:gd name="connsiteX81" fmla="*/ 397478 w 3573304"/>
                  <a:gd name="connsiteY81" fmla="*/ 266890 h 559879"/>
                  <a:gd name="connsiteX82" fmla="*/ 397478 w 3573304"/>
                  <a:gd name="connsiteY82" fmla="*/ 279082 h 559879"/>
                  <a:gd name="connsiteX83" fmla="*/ 405955 w 3573304"/>
                  <a:gd name="connsiteY83" fmla="*/ 279082 h 559879"/>
                  <a:gd name="connsiteX84" fmla="*/ 405955 w 3573304"/>
                  <a:gd name="connsiteY84" fmla="*/ 285083 h 559879"/>
                  <a:gd name="connsiteX85" fmla="*/ 412242 w 3573304"/>
                  <a:gd name="connsiteY85" fmla="*/ 285083 h 559879"/>
                  <a:gd name="connsiteX86" fmla="*/ 412242 w 3573304"/>
                  <a:gd name="connsiteY86" fmla="*/ 297275 h 559879"/>
                  <a:gd name="connsiteX87" fmla="*/ 414337 w 3573304"/>
                  <a:gd name="connsiteY87" fmla="*/ 297275 h 559879"/>
                  <a:gd name="connsiteX88" fmla="*/ 414337 w 3573304"/>
                  <a:gd name="connsiteY88" fmla="*/ 303371 h 559879"/>
                  <a:gd name="connsiteX89" fmla="*/ 426910 w 3573304"/>
                  <a:gd name="connsiteY89" fmla="*/ 303371 h 559879"/>
                  <a:gd name="connsiteX90" fmla="*/ 426910 w 3573304"/>
                  <a:gd name="connsiteY90" fmla="*/ 309372 h 559879"/>
                  <a:gd name="connsiteX91" fmla="*/ 450056 w 3573304"/>
                  <a:gd name="connsiteY91" fmla="*/ 309372 h 559879"/>
                  <a:gd name="connsiteX92" fmla="*/ 450056 w 3573304"/>
                  <a:gd name="connsiteY92" fmla="*/ 315468 h 559879"/>
                  <a:gd name="connsiteX93" fmla="*/ 456438 w 3573304"/>
                  <a:gd name="connsiteY93" fmla="*/ 315468 h 559879"/>
                  <a:gd name="connsiteX94" fmla="*/ 456438 w 3573304"/>
                  <a:gd name="connsiteY94" fmla="*/ 321564 h 559879"/>
                  <a:gd name="connsiteX95" fmla="*/ 464820 w 3573304"/>
                  <a:gd name="connsiteY95" fmla="*/ 321564 h 559879"/>
                  <a:gd name="connsiteX96" fmla="*/ 464820 w 3573304"/>
                  <a:gd name="connsiteY96" fmla="*/ 327565 h 559879"/>
                  <a:gd name="connsiteX97" fmla="*/ 473202 w 3573304"/>
                  <a:gd name="connsiteY97" fmla="*/ 327565 h 559879"/>
                  <a:gd name="connsiteX98" fmla="*/ 473202 w 3573304"/>
                  <a:gd name="connsiteY98" fmla="*/ 333661 h 559879"/>
                  <a:gd name="connsiteX99" fmla="*/ 477393 w 3573304"/>
                  <a:gd name="connsiteY99" fmla="*/ 333661 h 559879"/>
                  <a:gd name="connsiteX100" fmla="*/ 477393 w 3573304"/>
                  <a:gd name="connsiteY100" fmla="*/ 339757 h 559879"/>
                  <a:gd name="connsiteX101" fmla="*/ 551021 w 3573304"/>
                  <a:gd name="connsiteY101" fmla="*/ 339757 h 559879"/>
                  <a:gd name="connsiteX102" fmla="*/ 551021 w 3573304"/>
                  <a:gd name="connsiteY102" fmla="*/ 345757 h 559879"/>
                  <a:gd name="connsiteX103" fmla="*/ 572071 w 3573304"/>
                  <a:gd name="connsiteY103" fmla="*/ 345757 h 559879"/>
                  <a:gd name="connsiteX104" fmla="*/ 572071 w 3573304"/>
                  <a:gd name="connsiteY104" fmla="*/ 351853 h 559879"/>
                  <a:gd name="connsiteX105" fmla="*/ 578358 w 3573304"/>
                  <a:gd name="connsiteY105" fmla="*/ 351853 h 559879"/>
                  <a:gd name="connsiteX106" fmla="*/ 578358 w 3573304"/>
                  <a:gd name="connsiteY106" fmla="*/ 357949 h 559879"/>
                  <a:gd name="connsiteX107" fmla="*/ 620458 w 3573304"/>
                  <a:gd name="connsiteY107" fmla="*/ 357949 h 559879"/>
                  <a:gd name="connsiteX108" fmla="*/ 620458 w 3573304"/>
                  <a:gd name="connsiteY108" fmla="*/ 363950 h 559879"/>
                  <a:gd name="connsiteX109" fmla="*/ 635127 w 3573304"/>
                  <a:gd name="connsiteY109" fmla="*/ 363950 h 559879"/>
                  <a:gd name="connsiteX110" fmla="*/ 635127 w 3573304"/>
                  <a:gd name="connsiteY110" fmla="*/ 370046 h 559879"/>
                  <a:gd name="connsiteX111" fmla="*/ 664654 w 3573304"/>
                  <a:gd name="connsiteY111" fmla="*/ 370046 h 559879"/>
                  <a:gd name="connsiteX112" fmla="*/ 664654 w 3573304"/>
                  <a:gd name="connsiteY112" fmla="*/ 376142 h 559879"/>
                  <a:gd name="connsiteX113" fmla="*/ 666750 w 3573304"/>
                  <a:gd name="connsiteY113" fmla="*/ 376142 h 559879"/>
                  <a:gd name="connsiteX114" fmla="*/ 666750 w 3573304"/>
                  <a:gd name="connsiteY114" fmla="*/ 382143 h 559879"/>
                  <a:gd name="connsiteX115" fmla="*/ 689800 w 3573304"/>
                  <a:gd name="connsiteY115" fmla="*/ 382143 h 559879"/>
                  <a:gd name="connsiteX116" fmla="*/ 689800 w 3573304"/>
                  <a:gd name="connsiteY116" fmla="*/ 388239 h 559879"/>
                  <a:gd name="connsiteX117" fmla="*/ 702469 w 3573304"/>
                  <a:gd name="connsiteY117" fmla="*/ 388239 h 559879"/>
                  <a:gd name="connsiteX118" fmla="*/ 702469 w 3573304"/>
                  <a:gd name="connsiteY118" fmla="*/ 394335 h 559879"/>
                  <a:gd name="connsiteX119" fmla="*/ 738187 w 3573304"/>
                  <a:gd name="connsiteY119" fmla="*/ 394335 h 559879"/>
                  <a:gd name="connsiteX120" fmla="*/ 738187 w 3573304"/>
                  <a:gd name="connsiteY120" fmla="*/ 400431 h 559879"/>
                  <a:gd name="connsiteX121" fmla="*/ 853916 w 3573304"/>
                  <a:gd name="connsiteY121" fmla="*/ 400431 h 559879"/>
                  <a:gd name="connsiteX122" fmla="*/ 853916 w 3573304"/>
                  <a:gd name="connsiteY122" fmla="*/ 406432 h 559879"/>
                  <a:gd name="connsiteX123" fmla="*/ 891730 w 3573304"/>
                  <a:gd name="connsiteY123" fmla="*/ 406432 h 559879"/>
                  <a:gd name="connsiteX124" fmla="*/ 891730 w 3573304"/>
                  <a:gd name="connsiteY124" fmla="*/ 412623 h 559879"/>
                  <a:gd name="connsiteX125" fmla="*/ 944308 w 3573304"/>
                  <a:gd name="connsiteY125" fmla="*/ 412623 h 559879"/>
                  <a:gd name="connsiteX126" fmla="*/ 944308 w 3573304"/>
                  <a:gd name="connsiteY126" fmla="*/ 418719 h 559879"/>
                  <a:gd name="connsiteX127" fmla="*/ 963263 w 3573304"/>
                  <a:gd name="connsiteY127" fmla="*/ 418719 h 559879"/>
                  <a:gd name="connsiteX128" fmla="*/ 963263 w 3573304"/>
                  <a:gd name="connsiteY128" fmla="*/ 424815 h 559879"/>
                  <a:gd name="connsiteX129" fmla="*/ 973741 w 3573304"/>
                  <a:gd name="connsiteY129" fmla="*/ 424815 h 559879"/>
                  <a:gd name="connsiteX130" fmla="*/ 973741 w 3573304"/>
                  <a:gd name="connsiteY130" fmla="*/ 431006 h 559879"/>
                  <a:gd name="connsiteX131" fmla="*/ 1007459 w 3573304"/>
                  <a:gd name="connsiteY131" fmla="*/ 431006 h 559879"/>
                  <a:gd name="connsiteX132" fmla="*/ 1007459 w 3573304"/>
                  <a:gd name="connsiteY132" fmla="*/ 437102 h 559879"/>
                  <a:gd name="connsiteX133" fmla="*/ 1013746 w 3573304"/>
                  <a:gd name="connsiteY133" fmla="*/ 437102 h 559879"/>
                  <a:gd name="connsiteX134" fmla="*/ 1013746 w 3573304"/>
                  <a:gd name="connsiteY134" fmla="*/ 443198 h 559879"/>
                  <a:gd name="connsiteX135" fmla="*/ 1028414 w 3573304"/>
                  <a:gd name="connsiteY135" fmla="*/ 443198 h 559879"/>
                  <a:gd name="connsiteX136" fmla="*/ 1028414 w 3573304"/>
                  <a:gd name="connsiteY136" fmla="*/ 449294 h 559879"/>
                  <a:gd name="connsiteX137" fmla="*/ 1041082 w 3573304"/>
                  <a:gd name="connsiteY137" fmla="*/ 449294 h 559879"/>
                  <a:gd name="connsiteX138" fmla="*/ 1041082 w 3573304"/>
                  <a:gd name="connsiteY138" fmla="*/ 455485 h 559879"/>
                  <a:gd name="connsiteX139" fmla="*/ 1066324 w 3573304"/>
                  <a:gd name="connsiteY139" fmla="*/ 455485 h 559879"/>
                  <a:gd name="connsiteX140" fmla="*/ 1066324 w 3573304"/>
                  <a:gd name="connsiteY140" fmla="*/ 461581 h 559879"/>
                  <a:gd name="connsiteX141" fmla="*/ 1295590 w 3573304"/>
                  <a:gd name="connsiteY141" fmla="*/ 461581 h 559879"/>
                  <a:gd name="connsiteX142" fmla="*/ 1295590 w 3573304"/>
                  <a:gd name="connsiteY142" fmla="*/ 467773 h 559879"/>
                  <a:gd name="connsiteX143" fmla="*/ 1409128 w 3573304"/>
                  <a:gd name="connsiteY143" fmla="*/ 467773 h 559879"/>
                  <a:gd name="connsiteX144" fmla="*/ 1409128 w 3573304"/>
                  <a:gd name="connsiteY144" fmla="*/ 473964 h 559879"/>
                  <a:gd name="connsiteX145" fmla="*/ 1678305 w 3573304"/>
                  <a:gd name="connsiteY145" fmla="*/ 473964 h 559879"/>
                  <a:gd name="connsiteX146" fmla="*/ 1678305 w 3573304"/>
                  <a:gd name="connsiteY146" fmla="*/ 480250 h 559879"/>
                  <a:gd name="connsiteX147" fmla="*/ 1751933 w 3573304"/>
                  <a:gd name="connsiteY147" fmla="*/ 480250 h 559879"/>
                  <a:gd name="connsiteX148" fmla="*/ 1751933 w 3573304"/>
                  <a:gd name="connsiteY148" fmla="*/ 486537 h 559879"/>
                  <a:gd name="connsiteX149" fmla="*/ 1831848 w 3573304"/>
                  <a:gd name="connsiteY149" fmla="*/ 486537 h 559879"/>
                  <a:gd name="connsiteX150" fmla="*/ 1831848 w 3573304"/>
                  <a:gd name="connsiteY150" fmla="*/ 492823 h 559879"/>
                  <a:gd name="connsiteX151" fmla="*/ 1993773 w 3573304"/>
                  <a:gd name="connsiteY151" fmla="*/ 492823 h 559879"/>
                  <a:gd name="connsiteX152" fmla="*/ 1993773 w 3573304"/>
                  <a:gd name="connsiteY152" fmla="*/ 499300 h 559879"/>
                  <a:gd name="connsiteX153" fmla="*/ 2010632 w 3573304"/>
                  <a:gd name="connsiteY153" fmla="*/ 499300 h 559879"/>
                  <a:gd name="connsiteX154" fmla="*/ 2010632 w 3573304"/>
                  <a:gd name="connsiteY154" fmla="*/ 505682 h 559879"/>
                  <a:gd name="connsiteX155" fmla="*/ 2128456 w 3573304"/>
                  <a:gd name="connsiteY155" fmla="*/ 505682 h 559879"/>
                  <a:gd name="connsiteX156" fmla="*/ 2128456 w 3573304"/>
                  <a:gd name="connsiteY156" fmla="*/ 512159 h 559879"/>
                  <a:gd name="connsiteX157" fmla="*/ 2220944 w 3573304"/>
                  <a:gd name="connsiteY157" fmla="*/ 512159 h 559879"/>
                  <a:gd name="connsiteX158" fmla="*/ 2220944 w 3573304"/>
                  <a:gd name="connsiteY158" fmla="*/ 518541 h 559879"/>
                  <a:gd name="connsiteX159" fmla="*/ 2239899 w 3573304"/>
                  <a:gd name="connsiteY159" fmla="*/ 518541 h 559879"/>
                  <a:gd name="connsiteX160" fmla="*/ 2239899 w 3573304"/>
                  <a:gd name="connsiteY160" fmla="*/ 525018 h 559879"/>
                  <a:gd name="connsiteX161" fmla="*/ 3093720 w 3573304"/>
                  <a:gd name="connsiteY161" fmla="*/ 525018 h 559879"/>
                  <a:gd name="connsiteX162" fmla="*/ 3093720 w 3573304"/>
                  <a:gd name="connsiteY162" fmla="*/ 559879 h 559879"/>
                  <a:gd name="connsiteX163" fmla="*/ 3573304 w 3573304"/>
                  <a:gd name="connsiteY163" fmla="*/ 559879 h 559879"/>
                  <a:gd name="connsiteX0" fmla="*/ 0 w 3573304"/>
                  <a:gd name="connsiteY0" fmla="*/ 0 h 559879"/>
                  <a:gd name="connsiteX1" fmla="*/ 4191 w 3573304"/>
                  <a:gd name="connsiteY1" fmla="*/ 6096 h 559879"/>
                  <a:gd name="connsiteX2" fmla="*/ 8382 w 3573304"/>
                  <a:gd name="connsiteY2" fmla="*/ 6096 h 559879"/>
                  <a:gd name="connsiteX3" fmla="*/ 8382 w 3573304"/>
                  <a:gd name="connsiteY3" fmla="*/ 12192 h 559879"/>
                  <a:gd name="connsiteX4" fmla="*/ 10477 w 3573304"/>
                  <a:gd name="connsiteY4" fmla="*/ 12192 h 559879"/>
                  <a:gd name="connsiteX5" fmla="*/ 10477 w 3573304"/>
                  <a:gd name="connsiteY5" fmla="*/ 18193 h 559879"/>
                  <a:gd name="connsiteX6" fmla="*/ 12668 w 3573304"/>
                  <a:gd name="connsiteY6" fmla="*/ 18193 h 559879"/>
                  <a:gd name="connsiteX7" fmla="*/ 12668 w 3573304"/>
                  <a:gd name="connsiteY7" fmla="*/ 24289 h 559879"/>
                  <a:gd name="connsiteX8" fmla="*/ 23145 w 3573304"/>
                  <a:gd name="connsiteY8" fmla="*/ 24289 h 559879"/>
                  <a:gd name="connsiteX9" fmla="*/ 23145 w 3573304"/>
                  <a:gd name="connsiteY9" fmla="*/ 30385 h 559879"/>
                  <a:gd name="connsiteX10" fmla="*/ 29432 w 3573304"/>
                  <a:gd name="connsiteY10" fmla="*/ 30385 h 559879"/>
                  <a:gd name="connsiteX11" fmla="*/ 29432 w 3573304"/>
                  <a:gd name="connsiteY11" fmla="*/ 36385 h 559879"/>
                  <a:gd name="connsiteX12" fmla="*/ 44196 w 3573304"/>
                  <a:gd name="connsiteY12" fmla="*/ 36385 h 559879"/>
                  <a:gd name="connsiteX13" fmla="*/ 44196 w 3573304"/>
                  <a:gd name="connsiteY13" fmla="*/ 42481 h 559879"/>
                  <a:gd name="connsiteX14" fmla="*/ 52578 w 3573304"/>
                  <a:gd name="connsiteY14" fmla="*/ 42481 h 559879"/>
                  <a:gd name="connsiteX15" fmla="*/ 52578 w 3573304"/>
                  <a:gd name="connsiteY15" fmla="*/ 48577 h 559879"/>
                  <a:gd name="connsiteX16" fmla="*/ 63151 w 3573304"/>
                  <a:gd name="connsiteY16" fmla="*/ 48577 h 559879"/>
                  <a:gd name="connsiteX17" fmla="*/ 63151 w 3573304"/>
                  <a:gd name="connsiteY17" fmla="*/ 54578 h 559879"/>
                  <a:gd name="connsiteX18" fmla="*/ 75724 w 3573304"/>
                  <a:gd name="connsiteY18" fmla="*/ 54578 h 559879"/>
                  <a:gd name="connsiteX19" fmla="*/ 75724 w 3573304"/>
                  <a:gd name="connsiteY19" fmla="*/ 60674 h 559879"/>
                  <a:gd name="connsiteX20" fmla="*/ 82010 w 3573304"/>
                  <a:gd name="connsiteY20" fmla="*/ 60674 h 559879"/>
                  <a:gd name="connsiteX21" fmla="*/ 82010 w 3573304"/>
                  <a:gd name="connsiteY21" fmla="*/ 72771 h 559879"/>
                  <a:gd name="connsiteX22" fmla="*/ 86201 w 3573304"/>
                  <a:gd name="connsiteY22" fmla="*/ 72771 h 559879"/>
                  <a:gd name="connsiteX23" fmla="*/ 86201 w 3573304"/>
                  <a:gd name="connsiteY23" fmla="*/ 78867 h 559879"/>
                  <a:gd name="connsiteX24" fmla="*/ 98869 w 3573304"/>
                  <a:gd name="connsiteY24" fmla="*/ 78867 h 559879"/>
                  <a:gd name="connsiteX25" fmla="*/ 98869 w 3573304"/>
                  <a:gd name="connsiteY25" fmla="*/ 84963 h 559879"/>
                  <a:gd name="connsiteX26" fmla="*/ 113538 w 3573304"/>
                  <a:gd name="connsiteY26" fmla="*/ 84963 h 559879"/>
                  <a:gd name="connsiteX27" fmla="*/ 113538 w 3573304"/>
                  <a:gd name="connsiteY27" fmla="*/ 90964 h 559879"/>
                  <a:gd name="connsiteX28" fmla="*/ 117824 w 3573304"/>
                  <a:gd name="connsiteY28" fmla="*/ 90964 h 559879"/>
                  <a:gd name="connsiteX29" fmla="*/ 117824 w 3573304"/>
                  <a:gd name="connsiteY29" fmla="*/ 97060 h 559879"/>
                  <a:gd name="connsiteX30" fmla="*/ 128301 w 3573304"/>
                  <a:gd name="connsiteY30" fmla="*/ 97060 h 559879"/>
                  <a:gd name="connsiteX31" fmla="*/ 128301 w 3573304"/>
                  <a:gd name="connsiteY31" fmla="*/ 103156 h 559879"/>
                  <a:gd name="connsiteX32" fmla="*/ 136684 w 3573304"/>
                  <a:gd name="connsiteY32" fmla="*/ 103156 h 559879"/>
                  <a:gd name="connsiteX33" fmla="*/ 136684 w 3573304"/>
                  <a:gd name="connsiteY33" fmla="*/ 109252 h 559879"/>
                  <a:gd name="connsiteX34" fmla="*/ 151447 w 3573304"/>
                  <a:gd name="connsiteY34" fmla="*/ 109252 h 559879"/>
                  <a:gd name="connsiteX35" fmla="*/ 151447 w 3573304"/>
                  <a:gd name="connsiteY35" fmla="*/ 115252 h 559879"/>
                  <a:gd name="connsiteX36" fmla="*/ 155638 w 3573304"/>
                  <a:gd name="connsiteY36" fmla="*/ 115252 h 559879"/>
                  <a:gd name="connsiteX37" fmla="*/ 155638 w 3573304"/>
                  <a:gd name="connsiteY37" fmla="*/ 121348 h 559879"/>
                  <a:gd name="connsiteX38" fmla="*/ 159829 w 3573304"/>
                  <a:gd name="connsiteY38" fmla="*/ 121348 h 559879"/>
                  <a:gd name="connsiteX39" fmla="*/ 159829 w 3573304"/>
                  <a:gd name="connsiteY39" fmla="*/ 127444 h 559879"/>
                  <a:gd name="connsiteX40" fmla="*/ 172498 w 3573304"/>
                  <a:gd name="connsiteY40" fmla="*/ 127444 h 559879"/>
                  <a:gd name="connsiteX41" fmla="*/ 172498 w 3573304"/>
                  <a:gd name="connsiteY41" fmla="*/ 133445 h 559879"/>
                  <a:gd name="connsiteX42" fmla="*/ 201930 w 3573304"/>
                  <a:gd name="connsiteY42" fmla="*/ 133445 h 559879"/>
                  <a:gd name="connsiteX43" fmla="*/ 201930 w 3573304"/>
                  <a:gd name="connsiteY43" fmla="*/ 139541 h 559879"/>
                  <a:gd name="connsiteX44" fmla="*/ 210312 w 3573304"/>
                  <a:gd name="connsiteY44" fmla="*/ 139541 h 559879"/>
                  <a:gd name="connsiteX45" fmla="*/ 210312 w 3573304"/>
                  <a:gd name="connsiteY45" fmla="*/ 145637 h 559879"/>
                  <a:gd name="connsiteX46" fmla="*/ 212407 w 3573304"/>
                  <a:gd name="connsiteY46" fmla="*/ 145637 h 559879"/>
                  <a:gd name="connsiteX47" fmla="*/ 212407 w 3573304"/>
                  <a:gd name="connsiteY47" fmla="*/ 151638 h 559879"/>
                  <a:gd name="connsiteX48" fmla="*/ 227171 w 3573304"/>
                  <a:gd name="connsiteY48" fmla="*/ 151638 h 559879"/>
                  <a:gd name="connsiteX49" fmla="*/ 227171 w 3573304"/>
                  <a:gd name="connsiteY49" fmla="*/ 163830 h 559879"/>
                  <a:gd name="connsiteX50" fmla="*/ 229267 w 3573304"/>
                  <a:gd name="connsiteY50" fmla="*/ 163830 h 559879"/>
                  <a:gd name="connsiteX51" fmla="*/ 229267 w 3573304"/>
                  <a:gd name="connsiteY51" fmla="*/ 169831 h 559879"/>
                  <a:gd name="connsiteX52" fmla="*/ 235553 w 3573304"/>
                  <a:gd name="connsiteY52" fmla="*/ 169831 h 559879"/>
                  <a:gd name="connsiteX53" fmla="*/ 235553 w 3573304"/>
                  <a:gd name="connsiteY53" fmla="*/ 175927 h 559879"/>
                  <a:gd name="connsiteX54" fmla="*/ 239744 w 3573304"/>
                  <a:gd name="connsiteY54" fmla="*/ 175927 h 559879"/>
                  <a:gd name="connsiteX55" fmla="*/ 239744 w 3573304"/>
                  <a:gd name="connsiteY55" fmla="*/ 182023 h 559879"/>
                  <a:gd name="connsiteX56" fmla="*/ 256603 w 3573304"/>
                  <a:gd name="connsiteY56" fmla="*/ 182023 h 559879"/>
                  <a:gd name="connsiteX57" fmla="*/ 256603 w 3573304"/>
                  <a:gd name="connsiteY57" fmla="*/ 194119 h 559879"/>
                  <a:gd name="connsiteX58" fmla="*/ 260794 w 3573304"/>
                  <a:gd name="connsiteY58" fmla="*/ 194119 h 559879"/>
                  <a:gd name="connsiteX59" fmla="*/ 260794 w 3573304"/>
                  <a:gd name="connsiteY59" fmla="*/ 200215 h 559879"/>
                  <a:gd name="connsiteX60" fmla="*/ 283940 w 3573304"/>
                  <a:gd name="connsiteY60" fmla="*/ 200215 h 559879"/>
                  <a:gd name="connsiteX61" fmla="*/ 283940 w 3573304"/>
                  <a:gd name="connsiteY61" fmla="*/ 206311 h 559879"/>
                  <a:gd name="connsiteX62" fmla="*/ 288131 w 3573304"/>
                  <a:gd name="connsiteY62" fmla="*/ 206311 h 559879"/>
                  <a:gd name="connsiteX63" fmla="*/ 288131 w 3573304"/>
                  <a:gd name="connsiteY63" fmla="*/ 212312 h 559879"/>
                  <a:gd name="connsiteX64" fmla="*/ 294418 w 3573304"/>
                  <a:gd name="connsiteY64" fmla="*/ 212312 h 559879"/>
                  <a:gd name="connsiteX65" fmla="*/ 294418 w 3573304"/>
                  <a:gd name="connsiteY65" fmla="*/ 224504 h 559879"/>
                  <a:gd name="connsiteX66" fmla="*/ 313372 w 3573304"/>
                  <a:gd name="connsiteY66" fmla="*/ 224504 h 559879"/>
                  <a:gd name="connsiteX67" fmla="*/ 313372 w 3573304"/>
                  <a:gd name="connsiteY67" fmla="*/ 230505 h 559879"/>
                  <a:gd name="connsiteX68" fmla="*/ 321754 w 3573304"/>
                  <a:gd name="connsiteY68" fmla="*/ 230505 h 559879"/>
                  <a:gd name="connsiteX69" fmla="*/ 321754 w 3573304"/>
                  <a:gd name="connsiteY69" fmla="*/ 236601 h 559879"/>
                  <a:gd name="connsiteX70" fmla="*/ 334423 w 3573304"/>
                  <a:gd name="connsiteY70" fmla="*/ 236601 h 559879"/>
                  <a:gd name="connsiteX71" fmla="*/ 334423 w 3573304"/>
                  <a:gd name="connsiteY71" fmla="*/ 242697 h 559879"/>
                  <a:gd name="connsiteX72" fmla="*/ 351282 w 3573304"/>
                  <a:gd name="connsiteY72" fmla="*/ 242697 h 559879"/>
                  <a:gd name="connsiteX73" fmla="*/ 351282 w 3573304"/>
                  <a:gd name="connsiteY73" fmla="*/ 248698 h 559879"/>
                  <a:gd name="connsiteX74" fmla="*/ 378619 w 3573304"/>
                  <a:gd name="connsiteY74" fmla="*/ 248698 h 559879"/>
                  <a:gd name="connsiteX75" fmla="*/ 378619 w 3573304"/>
                  <a:gd name="connsiteY75" fmla="*/ 254794 h 559879"/>
                  <a:gd name="connsiteX76" fmla="*/ 380714 w 3573304"/>
                  <a:gd name="connsiteY76" fmla="*/ 254794 h 559879"/>
                  <a:gd name="connsiteX77" fmla="*/ 380714 w 3573304"/>
                  <a:gd name="connsiteY77" fmla="*/ 260890 h 559879"/>
                  <a:gd name="connsiteX78" fmla="*/ 391191 w 3573304"/>
                  <a:gd name="connsiteY78" fmla="*/ 260890 h 559879"/>
                  <a:gd name="connsiteX79" fmla="*/ 391191 w 3573304"/>
                  <a:gd name="connsiteY79" fmla="*/ 266890 h 559879"/>
                  <a:gd name="connsiteX80" fmla="*/ 397478 w 3573304"/>
                  <a:gd name="connsiteY80" fmla="*/ 266890 h 559879"/>
                  <a:gd name="connsiteX81" fmla="*/ 397478 w 3573304"/>
                  <a:gd name="connsiteY81" fmla="*/ 279082 h 559879"/>
                  <a:gd name="connsiteX82" fmla="*/ 405955 w 3573304"/>
                  <a:gd name="connsiteY82" fmla="*/ 279082 h 559879"/>
                  <a:gd name="connsiteX83" fmla="*/ 405955 w 3573304"/>
                  <a:gd name="connsiteY83" fmla="*/ 285083 h 559879"/>
                  <a:gd name="connsiteX84" fmla="*/ 412242 w 3573304"/>
                  <a:gd name="connsiteY84" fmla="*/ 285083 h 559879"/>
                  <a:gd name="connsiteX85" fmla="*/ 412242 w 3573304"/>
                  <a:gd name="connsiteY85" fmla="*/ 297275 h 559879"/>
                  <a:gd name="connsiteX86" fmla="*/ 414337 w 3573304"/>
                  <a:gd name="connsiteY86" fmla="*/ 297275 h 559879"/>
                  <a:gd name="connsiteX87" fmla="*/ 414337 w 3573304"/>
                  <a:gd name="connsiteY87" fmla="*/ 303371 h 559879"/>
                  <a:gd name="connsiteX88" fmla="*/ 426910 w 3573304"/>
                  <a:gd name="connsiteY88" fmla="*/ 303371 h 559879"/>
                  <a:gd name="connsiteX89" fmla="*/ 426910 w 3573304"/>
                  <a:gd name="connsiteY89" fmla="*/ 309372 h 559879"/>
                  <a:gd name="connsiteX90" fmla="*/ 450056 w 3573304"/>
                  <a:gd name="connsiteY90" fmla="*/ 309372 h 559879"/>
                  <a:gd name="connsiteX91" fmla="*/ 450056 w 3573304"/>
                  <a:gd name="connsiteY91" fmla="*/ 315468 h 559879"/>
                  <a:gd name="connsiteX92" fmla="*/ 456438 w 3573304"/>
                  <a:gd name="connsiteY92" fmla="*/ 315468 h 559879"/>
                  <a:gd name="connsiteX93" fmla="*/ 456438 w 3573304"/>
                  <a:gd name="connsiteY93" fmla="*/ 321564 h 559879"/>
                  <a:gd name="connsiteX94" fmla="*/ 464820 w 3573304"/>
                  <a:gd name="connsiteY94" fmla="*/ 321564 h 559879"/>
                  <a:gd name="connsiteX95" fmla="*/ 464820 w 3573304"/>
                  <a:gd name="connsiteY95" fmla="*/ 327565 h 559879"/>
                  <a:gd name="connsiteX96" fmla="*/ 473202 w 3573304"/>
                  <a:gd name="connsiteY96" fmla="*/ 327565 h 559879"/>
                  <a:gd name="connsiteX97" fmla="*/ 473202 w 3573304"/>
                  <a:gd name="connsiteY97" fmla="*/ 333661 h 559879"/>
                  <a:gd name="connsiteX98" fmla="*/ 477393 w 3573304"/>
                  <a:gd name="connsiteY98" fmla="*/ 333661 h 559879"/>
                  <a:gd name="connsiteX99" fmla="*/ 477393 w 3573304"/>
                  <a:gd name="connsiteY99" fmla="*/ 339757 h 559879"/>
                  <a:gd name="connsiteX100" fmla="*/ 551021 w 3573304"/>
                  <a:gd name="connsiteY100" fmla="*/ 339757 h 559879"/>
                  <a:gd name="connsiteX101" fmla="*/ 551021 w 3573304"/>
                  <a:gd name="connsiteY101" fmla="*/ 345757 h 559879"/>
                  <a:gd name="connsiteX102" fmla="*/ 572071 w 3573304"/>
                  <a:gd name="connsiteY102" fmla="*/ 345757 h 559879"/>
                  <a:gd name="connsiteX103" fmla="*/ 572071 w 3573304"/>
                  <a:gd name="connsiteY103" fmla="*/ 351853 h 559879"/>
                  <a:gd name="connsiteX104" fmla="*/ 578358 w 3573304"/>
                  <a:gd name="connsiteY104" fmla="*/ 351853 h 559879"/>
                  <a:gd name="connsiteX105" fmla="*/ 578358 w 3573304"/>
                  <a:gd name="connsiteY105" fmla="*/ 357949 h 559879"/>
                  <a:gd name="connsiteX106" fmla="*/ 620458 w 3573304"/>
                  <a:gd name="connsiteY106" fmla="*/ 357949 h 559879"/>
                  <a:gd name="connsiteX107" fmla="*/ 620458 w 3573304"/>
                  <a:gd name="connsiteY107" fmla="*/ 363950 h 559879"/>
                  <a:gd name="connsiteX108" fmla="*/ 635127 w 3573304"/>
                  <a:gd name="connsiteY108" fmla="*/ 363950 h 559879"/>
                  <a:gd name="connsiteX109" fmla="*/ 635127 w 3573304"/>
                  <a:gd name="connsiteY109" fmla="*/ 370046 h 559879"/>
                  <a:gd name="connsiteX110" fmla="*/ 664654 w 3573304"/>
                  <a:gd name="connsiteY110" fmla="*/ 370046 h 559879"/>
                  <a:gd name="connsiteX111" fmla="*/ 664654 w 3573304"/>
                  <a:gd name="connsiteY111" fmla="*/ 376142 h 559879"/>
                  <a:gd name="connsiteX112" fmla="*/ 666750 w 3573304"/>
                  <a:gd name="connsiteY112" fmla="*/ 376142 h 559879"/>
                  <a:gd name="connsiteX113" fmla="*/ 666750 w 3573304"/>
                  <a:gd name="connsiteY113" fmla="*/ 382143 h 559879"/>
                  <a:gd name="connsiteX114" fmla="*/ 689800 w 3573304"/>
                  <a:gd name="connsiteY114" fmla="*/ 382143 h 559879"/>
                  <a:gd name="connsiteX115" fmla="*/ 689800 w 3573304"/>
                  <a:gd name="connsiteY115" fmla="*/ 388239 h 559879"/>
                  <a:gd name="connsiteX116" fmla="*/ 702469 w 3573304"/>
                  <a:gd name="connsiteY116" fmla="*/ 388239 h 559879"/>
                  <a:gd name="connsiteX117" fmla="*/ 702469 w 3573304"/>
                  <a:gd name="connsiteY117" fmla="*/ 394335 h 559879"/>
                  <a:gd name="connsiteX118" fmla="*/ 738187 w 3573304"/>
                  <a:gd name="connsiteY118" fmla="*/ 394335 h 559879"/>
                  <a:gd name="connsiteX119" fmla="*/ 738187 w 3573304"/>
                  <a:gd name="connsiteY119" fmla="*/ 400431 h 559879"/>
                  <a:gd name="connsiteX120" fmla="*/ 853916 w 3573304"/>
                  <a:gd name="connsiteY120" fmla="*/ 400431 h 559879"/>
                  <a:gd name="connsiteX121" fmla="*/ 853916 w 3573304"/>
                  <a:gd name="connsiteY121" fmla="*/ 406432 h 559879"/>
                  <a:gd name="connsiteX122" fmla="*/ 891730 w 3573304"/>
                  <a:gd name="connsiteY122" fmla="*/ 406432 h 559879"/>
                  <a:gd name="connsiteX123" fmla="*/ 891730 w 3573304"/>
                  <a:gd name="connsiteY123" fmla="*/ 412623 h 559879"/>
                  <a:gd name="connsiteX124" fmla="*/ 944308 w 3573304"/>
                  <a:gd name="connsiteY124" fmla="*/ 412623 h 559879"/>
                  <a:gd name="connsiteX125" fmla="*/ 944308 w 3573304"/>
                  <a:gd name="connsiteY125" fmla="*/ 418719 h 559879"/>
                  <a:gd name="connsiteX126" fmla="*/ 963263 w 3573304"/>
                  <a:gd name="connsiteY126" fmla="*/ 418719 h 559879"/>
                  <a:gd name="connsiteX127" fmla="*/ 963263 w 3573304"/>
                  <a:gd name="connsiteY127" fmla="*/ 424815 h 559879"/>
                  <a:gd name="connsiteX128" fmla="*/ 973741 w 3573304"/>
                  <a:gd name="connsiteY128" fmla="*/ 424815 h 559879"/>
                  <a:gd name="connsiteX129" fmla="*/ 973741 w 3573304"/>
                  <a:gd name="connsiteY129" fmla="*/ 431006 h 559879"/>
                  <a:gd name="connsiteX130" fmla="*/ 1007459 w 3573304"/>
                  <a:gd name="connsiteY130" fmla="*/ 431006 h 559879"/>
                  <a:gd name="connsiteX131" fmla="*/ 1007459 w 3573304"/>
                  <a:gd name="connsiteY131" fmla="*/ 437102 h 559879"/>
                  <a:gd name="connsiteX132" fmla="*/ 1013746 w 3573304"/>
                  <a:gd name="connsiteY132" fmla="*/ 437102 h 559879"/>
                  <a:gd name="connsiteX133" fmla="*/ 1013746 w 3573304"/>
                  <a:gd name="connsiteY133" fmla="*/ 443198 h 559879"/>
                  <a:gd name="connsiteX134" fmla="*/ 1028414 w 3573304"/>
                  <a:gd name="connsiteY134" fmla="*/ 443198 h 559879"/>
                  <a:gd name="connsiteX135" fmla="*/ 1028414 w 3573304"/>
                  <a:gd name="connsiteY135" fmla="*/ 449294 h 559879"/>
                  <a:gd name="connsiteX136" fmla="*/ 1041082 w 3573304"/>
                  <a:gd name="connsiteY136" fmla="*/ 449294 h 559879"/>
                  <a:gd name="connsiteX137" fmla="*/ 1041082 w 3573304"/>
                  <a:gd name="connsiteY137" fmla="*/ 455485 h 559879"/>
                  <a:gd name="connsiteX138" fmla="*/ 1066324 w 3573304"/>
                  <a:gd name="connsiteY138" fmla="*/ 455485 h 559879"/>
                  <a:gd name="connsiteX139" fmla="*/ 1066324 w 3573304"/>
                  <a:gd name="connsiteY139" fmla="*/ 461581 h 559879"/>
                  <a:gd name="connsiteX140" fmla="*/ 1295590 w 3573304"/>
                  <a:gd name="connsiteY140" fmla="*/ 461581 h 559879"/>
                  <a:gd name="connsiteX141" fmla="*/ 1295590 w 3573304"/>
                  <a:gd name="connsiteY141" fmla="*/ 467773 h 559879"/>
                  <a:gd name="connsiteX142" fmla="*/ 1409128 w 3573304"/>
                  <a:gd name="connsiteY142" fmla="*/ 467773 h 559879"/>
                  <a:gd name="connsiteX143" fmla="*/ 1409128 w 3573304"/>
                  <a:gd name="connsiteY143" fmla="*/ 473964 h 559879"/>
                  <a:gd name="connsiteX144" fmla="*/ 1678305 w 3573304"/>
                  <a:gd name="connsiteY144" fmla="*/ 473964 h 559879"/>
                  <a:gd name="connsiteX145" fmla="*/ 1678305 w 3573304"/>
                  <a:gd name="connsiteY145" fmla="*/ 480250 h 559879"/>
                  <a:gd name="connsiteX146" fmla="*/ 1751933 w 3573304"/>
                  <a:gd name="connsiteY146" fmla="*/ 480250 h 559879"/>
                  <a:gd name="connsiteX147" fmla="*/ 1751933 w 3573304"/>
                  <a:gd name="connsiteY147" fmla="*/ 486537 h 559879"/>
                  <a:gd name="connsiteX148" fmla="*/ 1831848 w 3573304"/>
                  <a:gd name="connsiteY148" fmla="*/ 486537 h 559879"/>
                  <a:gd name="connsiteX149" fmla="*/ 1831848 w 3573304"/>
                  <a:gd name="connsiteY149" fmla="*/ 492823 h 559879"/>
                  <a:gd name="connsiteX150" fmla="*/ 1993773 w 3573304"/>
                  <a:gd name="connsiteY150" fmla="*/ 492823 h 559879"/>
                  <a:gd name="connsiteX151" fmla="*/ 1993773 w 3573304"/>
                  <a:gd name="connsiteY151" fmla="*/ 499300 h 559879"/>
                  <a:gd name="connsiteX152" fmla="*/ 2010632 w 3573304"/>
                  <a:gd name="connsiteY152" fmla="*/ 499300 h 559879"/>
                  <a:gd name="connsiteX153" fmla="*/ 2010632 w 3573304"/>
                  <a:gd name="connsiteY153" fmla="*/ 505682 h 559879"/>
                  <a:gd name="connsiteX154" fmla="*/ 2128456 w 3573304"/>
                  <a:gd name="connsiteY154" fmla="*/ 505682 h 559879"/>
                  <a:gd name="connsiteX155" fmla="*/ 2128456 w 3573304"/>
                  <a:gd name="connsiteY155" fmla="*/ 512159 h 559879"/>
                  <a:gd name="connsiteX156" fmla="*/ 2220944 w 3573304"/>
                  <a:gd name="connsiteY156" fmla="*/ 512159 h 559879"/>
                  <a:gd name="connsiteX157" fmla="*/ 2220944 w 3573304"/>
                  <a:gd name="connsiteY157" fmla="*/ 518541 h 559879"/>
                  <a:gd name="connsiteX158" fmla="*/ 2239899 w 3573304"/>
                  <a:gd name="connsiteY158" fmla="*/ 518541 h 559879"/>
                  <a:gd name="connsiteX159" fmla="*/ 2239899 w 3573304"/>
                  <a:gd name="connsiteY159" fmla="*/ 525018 h 559879"/>
                  <a:gd name="connsiteX160" fmla="*/ 3093720 w 3573304"/>
                  <a:gd name="connsiteY160" fmla="*/ 525018 h 559879"/>
                  <a:gd name="connsiteX161" fmla="*/ 3093720 w 3573304"/>
                  <a:gd name="connsiteY161" fmla="*/ 559879 h 559879"/>
                  <a:gd name="connsiteX162" fmla="*/ 3573304 w 3573304"/>
                  <a:gd name="connsiteY162" fmla="*/ 559879 h 559879"/>
                  <a:gd name="connsiteX0" fmla="*/ 0 w 3573304"/>
                  <a:gd name="connsiteY0" fmla="*/ 0 h 559879"/>
                  <a:gd name="connsiteX1" fmla="*/ 4191 w 3573304"/>
                  <a:gd name="connsiteY1" fmla="*/ 6096 h 559879"/>
                  <a:gd name="connsiteX2" fmla="*/ 8382 w 3573304"/>
                  <a:gd name="connsiteY2" fmla="*/ 12192 h 559879"/>
                  <a:gd name="connsiteX3" fmla="*/ 10477 w 3573304"/>
                  <a:gd name="connsiteY3" fmla="*/ 12192 h 559879"/>
                  <a:gd name="connsiteX4" fmla="*/ 10477 w 3573304"/>
                  <a:gd name="connsiteY4" fmla="*/ 18193 h 559879"/>
                  <a:gd name="connsiteX5" fmla="*/ 12668 w 3573304"/>
                  <a:gd name="connsiteY5" fmla="*/ 18193 h 559879"/>
                  <a:gd name="connsiteX6" fmla="*/ 12668 w 3573304"/>
                  <a:gd name="connsiteY6" fmla="*/ 24289 h 559879"/>
                  <a:gd name="connsiteX7" fmla="*/ 23145 w 3573304"/>
                  <a:gd name="connsiteY7" fmla="*/ 24289 h 559879"/>
                  <a:gd name="connsiteX8" fmla="*/ 23145 w 3573304"/>
                  <a:gd name="connsiteY8" fmla="*/ 30385 h 559879"/>
                  <a:gd name="connsiteX9" fmla="*/ 29432 w 3573304"/>
                  <a:gd name="connsiteY9" fmla="*/ 30385 h 559879"/>
                  <a:gd name="connsiteX10" fmla="*/ 29432 w 3573304"/>
                  <a:gd name="connsiteY10" fmla="*/ 36385 h 559879"/>
                  <a:gd name="connsiteX11" fmla="*/ 44196 w 3573304"/>
                  <a:gd name="connsiteY11" fmla="*/ 36385 h 559879"/>
                  <a:gd name="connsiteX12" fmla="*/ 44196 w 3573304"/>
                  <a:gd name="connsiteY12" fmla="*/ 42481 h 559879"/>
                  <a:gd name="connsiteX13" fmla="*/ 52578 w 3573304"/>
                  <a:gd name="connsiteY13" fmla="*/ 42481 h 559879"/>
                  <a:gd name="connsiteX14" fmla="*/ 52578 w 3573304"/>
                  <a:gd name="connsiteY14" fmla="*/ 48577 h 559879"/>
                  <a:gd name="connsiteX15" fmla="*/ 63151 w 3573304"/>
                  <a:gd name="connsiteY15" fmla="*/ 48577 h 559879"/>
                  <a:gd name="connsiteX16" fmla="*/ 63151 w 3573304"/>
                  <a:gd name="connsiteY16" fmla="*/ 54578 h 559879"/>
                  <a:gd name="connsiteX17" fmla="*/ 75724 w 3573304"/>
                  <a:gd name="connsiteY17" fmla="*/ 54578 h 559879"/>
                  <a:gd name="connsiteX18" fmla="*/ 75724 w 3573304"/>
                  <a:gd name="connsiteY18" fmla="*/ 60674 h 559879"/>
                  <a:gd name="connsiteX19" fmla="*/ 82010 w 3573304"/>
                  <a:gd name="connsiteY19" fmla="*/ 60674 h 559879"/>
                  <a:gd name="connsiteX20" fmla="*/ 82010 w 3573304"/>
                  <a:gd name="connsiteY20" fmla="*/ 72771 h 559879"/>
                  <a:gd name="connsiteX21" fmla="*/ 86201 w 3573304"/>
                  <a:gd name="connsiteY21" fmla="*/ 72771 h 559879"/>
                  <a:gd name="connsiteX22" fmla="*/ 86201 w 3573304"/>
                  <a:gd name="connsiteY22" fmla="*/ 78867 h 559879"/>
                  <a:gd name="connsiteX23" fmla="*/ 98869 w 3573304"/>
                  <a:gd name="connsiteY23" fmla="*/ 78867 h 559879"/>
                  <a:gd name="connsiteX24" fmla="*/ 98869 w 3573304"/>
                  <a:gd name="connsiteY24" fmla="*/ 84963 h 559879"/>
                  <a:gd name="connsiteX25" fmla="*/ 113538 w 3573304"/>
                  <a:gd name="connsiteY25" fmla="*/ 84963 h 559879"/>
                  <a:gd name="connsiteX26" fmla="*/ 113538 w 3573304"/>
                  <a:gd name="connsiteY26" fmla="*/ 90964 h 559879"/>
                  <a:gd name="connsiteX27" fmla="*/ 117824 w 3573304"/>
                  <a:gd name="connsiteY27" fmla="*/ 90964 h 559879"/>
                  <a:gd name="connsiteX28" fmla="*/ 117824 w 3573304"/>
                  <a:gd name="connsiteY28" fmla="*/ 97060 h 559879"/>
                  <a:gd name="connsiteX29" fmla="*/ 128301 w 3573304"/>
                  <a:gd name="connsiteY29" fmla="*/ 97060 h 559879"/>
                  <a:gd name="connsiteX30" fmla="*/ 128301 w 3573304"/>
                  <a:gd name="connsiteY30" fmla="*/ 103156 h 559879"/>
                  <a:gd name="connsiteX31" fmla="*/ 136684 w 3573304"/>
                  <a:gd name="connsiteY31" fmla="*/ 103156 h 559879"/>
                  <a:gd name="connsiteX32" fmla="*/ 136684 w 3573304"/>
                  <a:gd name="connsiteY32" fmla="*/ 109252 h 559879"/>
                  <a:gd name="connsiteX33" fmla="*/ 151447 w 3573304"/>
                  <a:gd name="connsiteY33" fmla="*/ 109252 h 559879"/>
                  <a:gd name="connsiteX34" fmla="*/ 151447 w 3573304"/>
                  <a:gd name="connsiteY34" fmla="*/ 115252 h 559879"/>
                  <a:gd name="connsiteX35" fmla="*/ 155638 w 3573304"/>
                  <a:gd name="connsiteY35" fmla="*/ 115252 h 559879"/>
                  <a:gd name="connsiteX36" fmla="*/ 155638 w 3573304"/>
                  <a:gd name="connsiteY36" fmla="*/ 121348 h 559879"/>
                  <a:gd name="connsiteX37" fmla="*/ 159829 w 3573304"/>
                  <a:gd name="connsiteY37" fmla="*/ 121348 h 559879"/>
                  <a:gd name="connsiteX38" fmla="*/ 159829 w 3573304"/>
                  <a:gd name="connsiteY38" fmla="*/ 127444 h 559879"/>
                  <a:gd name="connsiteX39" fmla="*/ 172498 w 3573304"/>
                  <a:gd name="connsiteY39" fmla="*/ 127444 h 559879"/>
                  <a:gd name="connsiteX40" fmla="*/ 172498 w 3573304"/>
                  <a:gd name="connsiteY40" fmla="*/ 133445 h 559879"/>
                  <a:gd name="connsiteX41" fmla="*/ 201930 w 3573304"/>
                  <a:gd name="connsiteY41" fmla="*/ 133445 h 559879"/>
                  <a:gd name="connsiteX42" fmla="*/ 201930 w 3573304"/>
                  <a:gd name="connsiteY42" fmla="*/ 139541 h 559879"/>
                  <a:gd name="connsiteX43" fmla="*/ 210312 w 3573304"/>
                  <a:gd name="connsiteY43" fmla="*/ 139541 h 559879"/>
                  <a:gd name="connsiteX44" fmla="*/ 210312 w 3573304"/>
                  <a:gd name="connsiteY44" fmla="*/ 145637 h 559879"/>
                  <a:gd name="connsiteX45" fmla="*/ 212407 w 3573304"/>
                  <a:gd name="connsiteY45" fmla="*/ 145637 h 559879"/>
                  <a:gd name="connsiteX46" fmla="*/ 212407 w 3573304"/>
                  <a:gd name="connsiteY46" fmla="*/ 151638 h 559879"/>
                  <a:gd name="connsiteX47" fmla="*/ 227171 w 3573304"/>
                  <a:gd name="connsiteY47" fmla="*/ 151638 h 559879"/>
                  <a:gd name="connsiteX48" fmla="*/ 227171 w 3573304"/>
                  <a:gd name="connsiteY48" fmla="*/ 163830 h 559879"/>
                  <a:gd name="connsiteX49" fmla="*/ 229267 w 3573304"/>
                  <a:gd name="connsiteY49" fmla="*/ 163830 h 559879"/>
                  <a:gd name="connsiteX50" fmla="*/ 229267 w 3573304"/>
                  <a:gd name="connsiteY50" fmla="*/ 169831 h 559879"/>
                  <a:gd name="connsiteX51" fmla="*/ 235553 w 3573304"/>
                  <a:gd name="connsiteY51" fmla="*/ 169831 h 559879"/>
                  <a:gd name="connsiteX52" fmla="*/ 235553 w 3573304"/>
                  <a:gd name="connsiteY52" fmla="*/ 175927 h 559879"/>
                  <a:gd name="connsiteX53" fmla="*/ 239744 w 3573304"/>
                  <a:gd name="connsiteY53" fmla="*/ 175927 h 559879"/>
                  <a:gd name="connsiteX54" fmla="*/ 239744 w 3573304"/>
                  <a:gd name="connsiteY54" fmla="*/ 182023 h 559879"/>
                  <a:gd name="connsiteX55" fmla="*/ 256603 w 3573304"/>
                  <a:gd name="connsiteY55" fmla="*/ 182023 h 559879"/>
                  <a:gd name="connsiteX56" fmla="*/ 256603 w 3573304"/>
                  <a:gd name="connsiteY56" fmla="*/ 194119 h 559879"/>
                  <a:gd name="connsiteX57" fmla="*/ 260794 w 3573304"/>
                  <a:gd name="connsiteY57" fmla="*/ 194119 h 559879"/>
                  <a:gd name="connsiteX58" fmla="*/ 260794 w 3573304"/>
                  <a:gd name="connsiteY58" fmla="*/ 200215 h 559879"/>
                  <a:gd name="connsiteX59" fmla="*/ 283940 w 3573304"/>
                  <a:gd name="connsiteY59" fmla="*/ 200215 h 559879"/>
                  <a:gd name="connsiteX60" fmla="*/ 283940 w 3573304"/>
                  <a:gd name="connsiteY60" fmla="*/ 206311 h 559879"/>
                  <a:gd name="connsiteX61" fmla="*/ 288131 w 3573304"/>
                  <a:gd name="connsiteY61" fmla="*/ 206311 h 559879"/>
                  <a:gd name="connsiteX62" fmla="*/ 288131 w 3573304"/>
                  <a:gd name="connsiteY62" fmla="*/ 212312 h 559879"/>
                  <a:gd name="connsiteX63" fmla="*/ 294418 w 3573304"/>
                  <a:gd name="connsiteY63" fmla="*/ 212312 h 559879"/>
                  <a:gd name="connsiteX64" fmla="*/ 294418 w 3573304"/>
                  <a:gd name="connsiteY64" fmla="*/ 224504 h 559879"/>
                  <a:gd name="connsiteX65" fmla="*/ 313372 w 3573304"/>
                  <a:gd name="connsiteY65" fmla="*/ 224504 h 559879"/>
                  <a:gd name="connsiteX66" fmla="*/ 313372 w 3573304"/>
                  <a:gd name="connsiteY66" fmla="*/ 230505 h 559879"/>
                  <a:gd name="connsiteX67" fmla="*/ 321754 w 3573304"/>
                  <a:gd name="connsiteY67" fmla="*/ 230505 h 559879"/>
                  <a:gd name="connsiteX68" fmla="*/ 321754 w 3573304"/>
                  <a:gd name="connsiteY68" fmla="*/ 236601 h 559879"/>
                  <a:gd name="connsiteX69" fmla="*/ 334423 w 3573304"/>
                  <a:gd name="connsiteY69" fmla="*/ 236601 h 559879"/>
                  <a:gd name="connsiteX70" fmla="*/ 334423 w 3573304"/>
                  <a:gd name="connsiteY70" fmla="*/ 242697 h 559879"/>
                  <a:gd name="connsiteX71" fmla="*/ 351282 w 3573304"/>
                  <a:gd name="connsiteY71" fmla="*/ 242697 h 559879"/>
                  <a:gd name="connsiteX72" fmla="*/ 351282 w 3573304"/>
                  <a:gd name="connsiteY72" fmla="*/ 248698 h 559879"/>
                  <a:gd name="connsiteX73" fmla="*/ 378619 w 3573304"/>
                  <a:gd name="connsiteY73" fmla="*/ 248698 h 559879"/>
                  <a:gd name="connsiteX74" fmla="*/ 378619 w 3573304"/>
                  <a:gd name="connsiteY74" fmla="*/ 254794 h 559879"/>
                  <a:gd name="connsiteX75" fmla="*/ 380714 w 3573304"/>
                  <a:gd name="connsiteY75" fmla="*/ 254794 h 559879"/>
                  <a:gd name="connsiteX76" fmla="*/ 380714 w 3573304"/>
                  <a:gd name="connsiteY76" fmla="*/ 260890 h 559879"/>
                  <a:gd name="connsiteX77" fmla="*/ 391191 w 3573304"/>
                  <a:gd name="connsiteY77" fmla="*/ 260890 h 559879"/>
                  <a:gd name="connsiteX78" fmla="*/ 391191 w 3573304"/>
                  <a:gd name="connsiteY78" fmla="*/ 266890 h 559879"/>
                  <a:gd name="connsiteX79" fmla="*/ 397478 w 3573304"/>
                  <a:gd name="connsiteY79" fmla="*/ 266890 h 559879"/>
                  <a:gd name="connsiteX80" fmla="*/ 397478 w 3573304"/>
                  <a:gd name="connsiteY80" fmla="*/ 279082 h 559879"/>
                  <a:gd name="connsiteX81" fmla="*/ 405955 w 3573304"/>
                  <a:gd name="connsiteY81" fmla="*/ 279082 h 559879"/>
                  <a:gd name="connsiteX82" fmla="*/ 405955 w 3573304"/>
                  <a:gd name="connsiteY82" fmla="*/ 285083 h 559879"/>
                  <a:gd name="connsiteX83" fmla="*/ 412242 w 3573304"/>
                  <a:gd name="connsiteY83" fmla="*/ 285083 h 559879"/>
                  <a:gd name="connsiteX84" fmla="*/ 412242 w 3573304"/>
                  <a:gd name="connsiteY84" fmla="*/ 297275 h 559879"/>
                  <a:gd name="connsiteX85" fmla="*/ 414337 w 3573304"/>
                  <a:gd name="connsiteY85" fmla="*/ 297275 h 559879"/>
                  <a:gd name="connsiteX86" fmla="*/ 414337 w 3573304"/>
                  <a:gd name="connsiteY86" fmla="*/ 303371 h 559879"/>
                  <a:gd name="connsiteX87" fmla="*/ 426910 w 3573304"/>
                  <a:gd name="connsiteY87" fmla="*/ 303371 h 559879"/>
                  <a:gd name="connsiteX88" fmla="*/ 426910 w 3573304"/>
                  <a:gd name="connsiteY88" fmla="*/ 309372 h 559879"/>
                  <a:gd name="connsiteX89" fmla="*/ 450056 w 3573304"/>
                  <a:gd name="connsiteY89" fmla="*/ 309372 h 559879"/>
                  <a:gd name="connsiteX90" fmla="*/ 450056 w 3573304"/>
                  <a:gd name="connsiteY90" fmla="*/ 315468 h 559879"/>
                  <a:gd name="connsiteX91" fmla="*/ 456438 w 3573304"/>
                  <a:gd name="connsiteY91" fmla="*/ 315468 h 559879"/>
                  <a:gd name="connsiteX92" fmla="*/ 456438 w 3573304"/>
                  <a:gd name="connsiteY92" fmla="*/ 321564 h 559879"/>
                  <a:gd name="connsiteX93" fmla="*/ 464820 w 3573304"/>
                  <a:gd name="connsiteY93" fmla="*/ 321564 h 559879"/>
                  <a:gd name="connsiteX94" fmla="*/ 464820 w 3573304"/>
                  <a:gd name="connsiteY94" fmla="*/ 327565 h 559879"/>
                  <a:gd name="connsiteX95" fmla="*/ 473202 w 3573304"/>
                  <a:gd name="connsiteY95" fmla="*/ 327565 h 559879"/>
                  <a:gd name="connsiteX96" fmla="*/ 473202 w 3573304"/>
                  <a:gd name="connsiteY96" fmla="*/ 333661 h 559879"/>
                  <a:gd name="connsiteX97" fmla="*/ 477393 w 3573304"/>
                  <a:gd name="connsiteY97" fmla="*/ 333661 h 559879"/>
                  <a:gd name="connsiteX98" fmla="*/ 477393 w 3573304"/>
                  <a:gd name="connsiteY98" fmla="*/ 339757 h 559879"/>
                  <a:gd name="connsiteX99" fmla="*/ 551021 w 3573304"/>
                  <a:gd name="connsiteY99" fmla="*/ 339757 h 559879"/>
                  <a:gd name="connsiteX100" fmla="*/ 551021 w 3573304"/>
                  <a:gd name="connsiteY100" fmla="*/ 345757 h 559879"/>
                  <a:gd name="connsiteX101" fmla="*/ 572071 w 3573304"/>
                  <a:gd name="connsiteY101" fmla="*/ 345757 h 559879"/>
                  <a:gd name="connsiteX102" fmla="*/ 572071 w 3573304"/>
                  <a:gd name="connsiteY102" fmla="*/ 351853 h 559879"/>
                  <a:gd name="connsiteX103" fmla="*/ 578358 w 3573304"/>
                  <a:gd name="connsiteY103" fmla="*/ 351853 h 559879"/>
                  <a:gd name="connsiteX104" fmla="*/ 578358 w 3573304"/>
                  <a:gd name="connsiteY104" fmla="*/ 357949 h 559879"/>
                  <a:gd name="connsiteX105" fmla="*/ 620458 w 3573304"/>
                  <a:gd name="connsiteY105" fmla="*/ 357949 h 559879"/>
                  <a:gd name="connsiteX106" fmla="*/ 620458 w 3573304"/>
                  <a:gd name="connsiteY106" fmla="*/ 363950 h 559879"/>
                  <a:gd name="connsiteX107" fmla="*/ 635127 w 3573304"/>
                  <a:gd name="connsiteY107" fmla="*/ 363950 h 559879"/>
                  <a:gd name="connsiteX108" fmla="*/ 635127 w 3573304"/>
                  <a:gd name="connsiteY108" fmla="*/ 370046 h 559879"/>
                  <a:gd name="connsiteX109" fmla="*/ 664654 w 3573304"/>
                  <a:gd name="connsiteY109" fmla="*/ 370046 h 559879"/>
                  <a:gd name="connsiteX110" fmla="*/ 664654 w 3573304"/>
                  <a:gd name="connsiteY110" fmla="*/ 376142 h 559879"/>
                  <a:gd name="connsiteX111" fmla="*/ 666750 w 3573304"/>
                  <a:gd name="connsiteY111" fmla="*/ 376142 h 559879"/>
                  <a:gd name="connsiteX112" fmla="*/ 666750 w 3573304"/>
                  <a:gd name="connsiteY112" fmla="*/ 382143 h 559879"/>
                  <a:gd name="connsiteX113" fmla="*/ 689800 w 3573304"/>
                  <a:gd name="connsiteY113" fmla="*/ 382143 h 559879"/>
                  <a:gd name="connsiteX114" fmla="*/ 689800 w 3573304"/>
                  <a:gd name="connsiteY114" fmla="*/ 388239 h 559879"/>
                  <a:gd name="connsiteX115" fmla="*/ 702469 w 3573304"/>
                  <a:gd name="connsiteY115" fmla="*/ 388239 h 559879"/>
                  <a:gd name="connsiteX116" fmla="*/ 702469 w 3573304"/>
                  <a:gd name="connsiteY116" fmla="*/ 394335 h 559879"/>
                  <a:gd name="connsiteX117" fmla="*/ 738187 w 3573304"/>
                  <a:gd name="connsiteY117" fmla="*/ 394335 h 559879"/>
                  <a:gd name="connsiteX118" fmla="*/ 738187 w 3573304"/>
                  <a:gd name="connsiteY118" fmla="*/ 400431 h 559879"/>
                  <a:gd name="connsiteX119" fmla="*/ 853916 w 3573304"/>
                  <a:gd name="connsiteY119" fmla="*/ 400431 h 559879"/>
                  <a:gd name="connsiteX120" fmla="*/ 853916 w 3573304"/>
                  <a:gd name="connsiteY120" fmla="*/ 406432 h 559879"/>
                  <a:gd name="connsiteX121" fmla="*/ 891730 w 3573304"/>
                  <a:gd name="connsiteY121" fmla="*/ 406432 h 559879"/>
                  <a:gd name="connsiteX122" fmla="*/ 891730 w 3573304"/>
                  <a:gd name="connsiteY122" fmla="*/ 412623 h 559879"/>
                  <a:gd name="connsiteX123" fmla="*/ 944308 w 3573304"/>
                  <a:gd name="connsiteY123" fmla="*/ 412623 h 559879"/>
                  <a:gd name="connsiteX124" fmla="*/ 944308 w 3573304"/>
                  <a:gd name="connsiteY124" fmla="*/ 418719 h 559879"/>
                  <a:gd name="connsiteX125" fmla="*/ 963263 w 3573304"/>
                  <a:gd name="connsiteY125" fmla="*/ 418719 h 559879"/>
                  <a:gd name="connsiteX126" fmla="*/ 963263 w 3573304"/>
                  <a:gd name="connsiteY126" fmla="*/ 424815 h 559879"/>
                  <a:gd name="connsiteX127" fmla="*/ 973741 w 3573304"/>
                  <a:gd name="connsiteY127" fmla="*/ 424815 h 559879"/>
                  <a:gd name="connsiteX128" fmla="*/ 973741 w 3573304"/>
                  <a:gd name="connsiteY128" fmla="*/ 431006 h 559879"/>
                  <a:gd name="connsiteX129" fmla="*/ 1007459 w 3573304"/>
                  <a:gd name="connsiteY129" fmla="*/ 431006 h 559879"/>
                  <a:gd name="connsiteX130" fmla="*/ 1007459 w 3573304"/>
                  <a:gd name="connsiteY130" fmla="*/ 437102 h 559879"/>
                  <a:gd name="connsiteX131" fmla="*/ 1013746 w 3573304"/>
                  <a:gd name="connsiteY131" fmla="*/ 437102 h 559879"/>
                  <a:gd name="connsiteX132" fmla="*/ 1013746 w 3573304"/>
                  <a:gd name="connsiteY132" fmla="*/ 443198 h 559879"/>
                  <a:gd name="connsiteX133" fmla="*/ 1028414 w 3573304"/>
                  <a:gd name="connsiteY133" fmla="*/ 443198 h 559879"/>
                  <a:gd name="connsiteX134" fmla="*/ 1028414 w 3573304"/>
                  <a:gd name="connsiteY134" fmla="*/ 449294 h 559879"/>
                  <a:gd name="connsiteX135" fmla="*/ 1041082 w 3573304"/>
                  <a:gd name="connsiteY135" fmla="*/ 449294 h 559879"/>
                  <a:gd name="connsiteX136" fmla="*/ 1041082 w 3573304"/>
                  <a:gd name="connsiteY136" fmla="*/ 455485 h 559879"/>
                  <a:gd name="connsiteX137" fmla="*/ 1066324 w 3573304"/>
                  <a:gd name="connsiteY137" fmla="*/ 455485 h 559879"/>
                  <a:gd name="connsiteX138" fmla="*/ 1066324 w 3573304"/>
                  <a:gd name="connsiteY138" fmla="*/ 461581 h 559879"/>
                  <a:gd name="connsiteX139" fmla="*/ 1295590 w 3573304"/>
                  <a:gd name="connsiteY139" fmla="*/ 461581 h 559879"/>
                  <a:gd name="connsiteX140" fmla="*/ 1295590 w 3573304"/>
                  <a:gd name="connsiteY140" fmla="*/ 467773 h 559879"/>
                  <a:gd name="connsiteX141" fmla="*/ 1409128 w 3573304"/>
                  <a:gd name="connsiteY141" fmla="*/ 467773 h 559879"/>
                  <a:gd name="connsiteX142" fmla="*/ 1409128 w 3573304"/>
                  <a:gd name="connsiteY142" fmla="*/ 473964 h 559879"/>
                  <a:gd name="connsiteX143" fmla="*/ 1678305 w 3573304"/>
                  <a:gd name="connsiteY143" fmla="*/ 473964 h 559879"/>
                  <a:gd name="connsiteX144" fmla="*/ 1678305 w 3573304"/>
                  <a:gd name="connsiteY144" fmla="*/ 480250 h 559879"/>
                  <a:gd name="connsiteX145" fmla="*/ 1751933 w 3573304"/>
                  <a:gd name="connsiteY145" fmla="*/ 480250 h 559879"/>
                  <a:gd name="connsiteX146" fmla="*/ 1751933 w 3573304"/>
                  <a:gd name="connsiteY146" fmla="*/ 486537 h 559879"/>
                  <a:gd name="connsiteX147" fmla="*/ 1831848 w 3573304"/>
                  <a:gd name="connsiteY147" fmla="*/ 486537 h 559879"/>
                  <a:gd name="connsiteX148" fmla="*/ 1831848 w 3573304"/>
                  <a:gd name="connsiteY148" fmla="*/ 492823 h 559879"/>
                  <a:gd name="connsiteX149" fmla="*/ 1993773 w 3573304"/>
                  <a:gd name="connsiteY149" fmla="*/ 492823 h 559879"/>
                  <a:gd name="connsiteX150" fmla="*/ 1993773 w 3573304"/>
                  <a:gd name="connsiteY150" fmla="*/ 499300 h 559879"/>
                  <a:gd name="connsiteX151" fmla="*/ 2010632 w 3573304"/>
                  <a:gd name="connsiteY151" fmla="*/ 499300 h 559879"/>
                  <a:gd name="connsiteX152" fmla="*/ 2010632 w 3573304"/>
                  <a:gd name="connsiteY152" fmla="*/ 505682 h 559879"/>
                  <a:gd name="connsiteX153" fmla="*/ 2128456 w 3573304"/>
                  <a:gd name="connsiteY153" fmla="*/ 505682 h 559879"/>
                  <a:gd name="connsiteX154" fmla="*/ 2128456 w 3573304"/>
                  <a:gd name="connsiteY154" fmla="*/ 512159 h 559879"/>
                  <a:gd name="connsiteX155" fmla="*/ 2220944 w 3573304"/>
                  <a:gd name="connsiteY155" fmla="*/ 512159 h 559879"/>
                  <a:gd name="connsiteX156" fmla="*/ 2220944 w 3573304"/>
                  <a:gd name="connsiteY156" fmla="*/ 518541 h 559879"/>
                  <a:gd name="connsiteX157" fmla="*/ 2239899 w 3573304"/>
                  <a:gd name="connsiteY157" fmla="*/ 518541 h 559879"/>
                  <a:gd name="connsiteX158" fmla="*/ 2239899 w 3573304"/>
                  <a:gd name="connsiteY158" fmla="*/ 525018 h 559879"/>
                  <a:gd name="connsiteX159" fmla="*/ 3093720 w 3573304"/>
                  <a:gd name="connsiteY159" fmla="*/ 525018 h 559879"/>
                  <a:gd name="connsiteX160" fmla="*/ 3093720 w 3573304"/>
                  <a:gd name="connsiteY160" fmla="*/ 559879 h 559879"/>
                  <a:gd name="connsiteX161" fmla="*/ 3573304 w 3573304"/>
                  <a:gd name="connsiteY161" fmla="*/ 559879 h 559879"/>
                  <a:gd name="connsiteX0" fmla="*/ 0 w 3573304"/>
                  <a:gd name="connsiteY0" fmla="*/ 0 h 559879"/>
                  <a:gd name="connsiteX1" fmla="*/ 8382 w 3573304"/>
                  <a:gd name="connsiteY1" fmla="*/ 12192 h 559879"/>
                  <a:gd name="connsiteX2" fmla="*/ 10477 w 3573304"/>
                  <a:gd name="connsiteY2" fmla="*/ 12192 h 559879"/>
                  <a:gd name="connsiteX3" fmla="*/ 10477 w 3573304"/>
                  <a:gd name="connsiteY3" fmla="*/ 18193 h 559879"/>
                  <a:gd name="connsiteX4" fmla="*/ 12668 w 3573304"/>
                  <a:gd name="connsiteY4" fmla="*/ 18193 h 559879"/>
                  <a:gd name="connsiteX5" fmla="*/ 12668 w 3573304"/>
                  <a:gd name="connsiteY5" fmla="*/ 24289 h 559879"/>
                  <a:gd name="connsiteX6" fmla="*/ 23145 w 3573304"/>
                  <a:gd name="connsiteY6" fmla="*/ 24289 h 559879"/>
                  <a:gd name="connsiteX7" fmla="*/ 23145 w 3573304"/>
                  <a:gd name="connsiteY7" fmla="*/ 30385 h 559879"/>
                  <a:gd name="connsiteX8" fmla="*/ 29432 w 3573304"/>
                  <a:gd name="connsiteY8" fmla="*/ 30385 h 559879"/>
                  <a:gd name="connsiteX9" fmla="*/ 29432 w 3573304"/>
                  <a:gd name="connsiteY9" fmla="*/ 36385 h 559879"/>
                  <a:gd name="connsiteX10" fmla="*/ 44196 w 3573304"/>
                  <a:gd name="connsiteY10" fmla="*/ 36385 h 559879"/>
                  <a:gd name="connsiteX11" fmla="*/ 44196 w 3573304"/>
                  <a:gd name="connsiteY11" fmla="*/ 42481 h 559879"/>
                  <a:gd name="connsiteX12" fmla="*/ 52578 w 3573304"/>
                  <a:gd name="connsiteY12" fmla="*/ 42481 h 559879"/>
                  <a:gd name="connsiteX13" fmla="*/ 52578 w 3573304"/>
                  <a:gd name="connsiteY13" fmla="*/ 48577 h 559879"/>
                  <a:gd name="connsiteX14" fmla="*/ 63151 w 3573304"/>
                  <a:gd name="connsiteY14" fmla="*/ 48577 h 559879"/>
                  <a:gd name="connsiteX15" fmla="*/ 63151 w 3573304"/>
                  <a:gd name="connsiteY15" fmla="*/ 54578 h 559879"/>
                  <a:gd name="connsiteX16" fmla="*/ 75724 w 3573304"/>
                  <a:gd name="connsiteY16" fmla="*/ 54578 h 559879"/>
                  <a:gd name="connsiteX17" fmla="*/ 75724 w 3573304"/>
                  <a:gd name="connsiteY17" fmla="*/ 60674 h 559879"/>
                  <a:gd name="connsiteX18" fmla="*/ 82010 w 3573304"/>
                  <a:gd name="connsiteY18" fmla="*/ 60674 h 559879"/>
                  <a:gd name="connsiteX19" fmla="*/ 82010 w 3573304"/>
                  <a:gd name="connsiteY19" fmla="*/ 72771 h 559879"/>
                  <a:gd name="connsiteX20" fmla="*/ 86201 w 3573304"/>
                  <a:gd name="connsiteY20" fmla="*/ 72771 h 559879"/>
                  <a:gd name="connsiteX21" fmla="*/ 86201 w 3573304"/>
                  <a:gd name="connsiteY21" fmla="*/ 78867 h 559879"/>
                  <a:gd name="connsiteX22" fmla="*/ 98869 w 3573304"/>
                  <a:gd name="connsiteY22" fmla="*/ 78867 h 559879"/>
                  <a:gd name="connsiteX23" fmla="*/ 98869 w 3573304"/>
                  <a:gd name="connsiteY23" fmla="*/ 84963 h 559879"/>
                  <a:gd name="connsiteX24" fmla="*/ 113538 w 3573304"/>
                  <a:gd name="connsiteY24" fmla="*/ 84963 h 559879"/>
                  <a:gd name="connsiteX25" fmla="*/ 113538 w 3573304"/>
                  <a:gd name="connsiteY25" fmla="*/ 90964 h 559879"/>
                  <a:gd name="connsiteX26" fmla="*/ 117824 w 3573304"/>
                  <a:gd name="connsiteY26" fmla="*/ 90964 h 559879"/>
                  <a:gd name="connsiteX27" fmla="*/ 117824 w 3573304"/>
                  <a:gd name="connsiteY27" fmla="*/ 97060 h 559879"/>
                  <a:gd name="connsiteX28" fmla="*/ 128301 w 3573304"/>
                  <a:gd name="connsiteY28" fmla="*/ 97060 h 559879"/>
                  <a:gd name="connsiteX29" fmla="*/ 128301 w 3573304"/>
                  <a:gd name="connsiteY29" fmla="*/ 103156 h 559879"/>
                  <a:gd name="connsiteX30" fmla="*/ 136684 w 3573304"/>
                  <a:gd name="connsiteY30" fmla="*/ 103156 h 559879"/>
                  <a:gd name="connsiteX31" fmla="*/ 136684 w 3573304"/>
                  <a:gd name="connsiteY31" fmla="*/ 109252 h 559879"/>
                  <a:gd name="connsiteX32" fmla="*/ 151447 w 3573304"/>
                  <a:gd name="connsiteY32" fmla="*/ 109252 h 559879"/>
                  <a:gd name="connsiteX33" fmla="*/ 151447 w 3573304"/>
                  <a:gd name="connsiteY33" fmla="*/ 115252 h 559879"/>
                  <a:gd name="connsiteX34" fmla="*/ 155638 w 3573304"/>
                  <a:gd name="connsiteY34" fmla="*/ 115252 h 559879"/>
                  <a:gd name="connsiteX35" fmla="*/ 155638 w 3573304"/>
                  <a:gd name="connsiteY35" fmla="*/ 121348 h 559879"/>
                  <a:gd name="connsiteX36" fmla="*/ 159829 w 3573304"/>
                  <a:gd name="connsiteY36" fmla="*/ 121348 h 559879"/>
                  <a:gd name="connsiteX37" fmla="*/ 159829 w 3573304"/>
                  <a:gd name="connsiteY37" fmla="*/ 127444 h 559879"/>
                  <a:gd name="connsiteX38" fmla="*/ 172498 w 3573304"/>
                  <a:gd name="connsiteY38" fmla="*/ 127444 h 559879"/>
                  <a:gd name="connsiteX39" fmla="*/ 172498 w 3573304"/>
                  <a:gd name="connsiteY39" fmla="*/ 133445 h 559879"/>
                  <a:gd name="connsiteX40" fmla="*/ 201930 w 3573304"/>
                  <a:gd name="connsiteY40" fmla="*/ 133445 h 559879"/>
                  <a:gd name="connsiteX41" fmla="*/ 201930 w 3573304"/>
                  <a:gd name="connsiteY41" fmla="*/ 139541 h 559879"/>
                  <a:gd name="connsiteX42" fmla="*/ 210312 w 3573304"/>
                  <a:gd name="connsiteY42" fmla="*/ 139541 h 559879"/>
                  <a:gd name="connsiteX43" fmla="*/ 210312 w 3573304"/>
                  <a:gd name="connsiteY43" fmla="*/ 145637 h 559879"/>
                  <a:gd name="connsiteX44" fmla="*/ 212407 w 3573304"/>
                  <a:gd name="connsiteY44" fmla="*/ 145637 h 559879"/>
                  <a:gd name="connsiteX45" fmla="*/ 212407 w 3573304"/>
                  <a:gd name="connsiteY45" fmla="*/ 151638 h 559879"/>
                  <a:gd name="connsiteX46" fmla="*/ 227171 w 3573304"/>
                  <a:gd name="connsiteY46" fmla="*/ 151638 h 559879"/>
                  <a:gd name="connsiteX47" fmla="*/ 227171 w 3573304"/>
                  <a:gd name="connsiteY47" fmla="*/ 163830 h 559879"/>
                  <a:gd name="connsiteX48" fmla="*/ 229267 w 3573304"/>
                  <a:gd name="connsiteY48" fmla="*/ 163830 h 559879"/>
                  <a:gd name="connsiteX49" fmla="*/ 229267 w 3573304"/>
                  <a:gd name="connsiteY49" fmla="*/ 169831 h 559879"/>
                  <a:gd name="connsiteX50" fmla="*/ 235553 w 3573304"/>
                  <a:gd name="connsiteY50" fmla="*/ 169831 h 559879"/>
                  <a:gd name="connsiteX51" fmla="*/ 235553 w 3573304"/>
                  <a:gd name="connsiteY51" fmla="*/ 175927 h 559879"/>
                  <a:gd name="connsiteX52" fmla="*/ 239744 w 3573304"/>
                  <a:gd name="connsiteY52" fmla="*/ 175927 h 559879"/>
                  <a:gd name="connsiteX53" fmla="*/ 239744 w 3573304"/>
                  <a:gd name="connsiteY53" fmla="*/ 182023 h 559879"/>
                  <a:gd name="connsiteX54" fmla="*/ 256603 w 3573304"/>
                  <a:gd name="connsiteY54" fmla="*/ 182023 h 559879"/>
                  <a:gd name="connsiteX55" fmla="*/ 256603 w 3573304"/>
                  <a:gd name="connsiteY55" fmla="*/ 194119 h 559879"/>
                  <a:gd name="connsiteX56" fmla="*/ 260794 w 3573304"/>
                  <a:gd name="connsiteY56" fmla="*/ 194119 h 559879"/>
                  <a:gd name="connsiteX57" fmla="*/ 260794 w 3573304"/>
                  <a:gd name="connsiteY57" fmla="*/ 200215 h 559879"/>
                  <a:gd name="connsiteX58" fmla="*/ 283940 w 3573304"/>
                  <a:gd name="connsiteY58" fmla="*/ 200215 h 559879"/>
                  <a:gd name="connsiteX59" fmla="*/ 283940 w 3573304"/>
                  <a:gd name="connsiteY59" fmla="*/ 206311 h 559879"/>
                  <a:gd name="connsiteX60" fmla="*/ 288131 w 3573304"/>
                  <a:gd name="connsiteY60" fmla="*/ 206311 h 559879"/>
                  <a:gd name="connsiteX61" fmla="*/ 288131 w 3573304"/>
                  <a:gd name="connsiteY61" fmla="*/ 212312 h 559879"/>
                  <a:gd name="connsiteX62" fmla="*/ 294418 w 3573304"/>
                  <a:gd name="connsiteY62" fmla="*/ 212312 h 559879"/>
                  <a:gd name="connsiteX63" fmla="*/ 294418 w 3573304"/>
                  <a:gd name="connsiteY63" fmla="*/ 224504 h 559879"/>
                  <a:gd name="connsiteX64" fmla="*/ 313372 w 3573304"/>
                  <a:gd name="connsiteY64" fmla="*/ 224504 h 559879"/>
                  <a:gd name="connsiteX65" fmla="*/ 313372 w 3573304"/>
                  <a:gd name="connsiteY65" fmla="*/ 230505 h 559879"/>
                  <a:gd name="connsiteX66" fmla="*/ 321754 w 3573304"/>
                  <a:gd name="connsiteY66" fmla="*/ 230505 h 559879"/>
                  <a:gd name="connsiteX67" fmla="*/ 321754 w 3573304"/>
                  <a:gd name="connsiteY67" fmla="*/ 236601 h 559879"/>
                  <a:gd name="connsiteX68" fmla="*/ 334423 w 3573304"/>
                  <a:gd name="connsiteY68" fmla="*/ 236601 h 559879"/>
                  <a:gd name="connsiteX69" fmla="*/ 334423 w 3573304"/>
                  <a:gd name="connsiteY69" fmla="*/ 242697 h 559879"/>
                  <a:gd name="connsiteX70" fmla="*/ 351282 w 3573304"/>
                  <a:gd name="connsiteY70" fmla="*/ 242697 h 559879"/>
                  <a:gd name="connsiteX71" fmla="*/ 351282 w 3573304"/>
                  <a:gd name="connsiteY71" fmla="*/ 248698 h 559879"/>
                  <a:gd name="connsiteX72" fmla="*/ 378619 w 3573304"/>
                  <a:gd name="connsiteY72" fmla="*/ 248698 h 559879"/>
                  <a:gd name="connsiteX73" fmla="*/ 378619 w 3573304"/>
                  <a:gd name="connsiteY73" fmla="*/ 254794 h 559879"/>
                  <a:gd name="connsiteX74" fmla="*/ 380714 w 3573304"/>
                  <a:gd name="connsiteY74" fmla="*/ 254794 h 559879"/>
                  <a:gd name="connsiteX75" fmla="*/ 380714 w 3573304"/>
                  <a:gd name="connsiteY75" fmla="*/ 260890 h 559879"/>
                  <a:gd name="connsiteX76" fmla="*/ 391191 w 3573304"/>
                  <a:gd name="connsiteY76" fmla="*/ 260890 h 559879"/>
                  <a:gd name="connsiteX77" fmla="*/ 391191 w 3573304"/>
                  <a:gd name="connsiteY77" fmla="*/ 266890 h 559879"/>
                  <a:gd name="connsiteX78" fmla="*/ 397478 w 3573304"/>
                  <a:gd name="connsiteY78" fmla="*/ 266890 h 559879"/>
                  <a:gd name="connsiteX79" fmla="*/ 397478 w 3573304"/>
                  <a:gd name="connsiteY79" fmla="*/ 279082 h 559879"/>
                  <a:gd name="connsiteX80" fmla="*/ 405955 w 3573304"/>
                  <a:gd name="connsiteY80" fmla="*/ 279082 h 559879"/>
                  <a:gd name="connsiteX81" fmla="*/ 405955 w 3573304"/>
                  <a:gd name="connsiteY81" fmla="*/ 285083 h 559879"/>
                  <a:gd name="connsiteX82" fmla="*/ 412242 w 3573304"/>
                  <a:gd name="connsiteY82" fmla="*/ 285083 h 559879"/>
                  <a:gd name="connsiteX83" fmla="*/ 412242 w 3573304"/>
                  <a:gd name="connsiteY83" fmla="*/ 297275 h 559879"/>
                  <a:gd name="connsiteX84" fmla="*/ 414337 w 3573304"/>
                  <a:gd name="connsiteY84" fmla="*/ 297275 h 559879"/>
                  <a:gd name="connsiteX85" fmla="*/ 414337 w 3573304"/>
                  <a:gd name="connsiteY85" fmla="*/ 303371 h 559879"/>
                  <a:gd name="connsiteX86" fmla="*/ 426910 w 3573304"/>
                  <a:gd name="connsiteY86" fmla="*/ 303371 h 559879"/>
                  <a:gd name="connsiteX87" fmla="*/ 426910 w 3573304"/>
                  <a:gd name="connsiteY87" fmla="*/ 309372 h 559879"/>
                  <a:gd name="connsiteX88" fmla="*/ 450056 w 3573304"/>
                  <a:gd name="connsiteY88" fmla="*/ 309372 h 559879"/>
                  <a:gd name="connsiteX89" fmla="*/ 450056 w 3573304"/>
                  <a:gd name="connsiteY89" fmla="*/ 315468 h 559879"/>
                  <a:gd name="connsiteX90" fmla="*/ 456438 w 3573304"/>
                  <a:gd name="connsiteY90" fmla="*/ 315468 h 559879"/>
                  <a:gd name="connsiteX91" fmla="*/ 456438 w 3573304"/>
                  <a:gd name="connsiteY91" fmla="*/ 321564 h 559879"/>
                  <a:gd name="connsiteX92" fmla="*/ 464820 w 3573304"/>
                  <a:gd name="connsiteY92" fmla="*/ 321564 h 559879"/>
                  <a:gd name="connsiteX93" fmla="*/ 464820 w 3573304"/>
                  <a:gd name="connsiteY93" fmla="*/ 327565 h 559879"/>
                  <a:gd name="connsiteX94" fmla="*/ 473202 w 3573304"/>
                  <a:gd name="connsiteY94" fmla="*/ 327565 h 559879"/>
                  <a:gd name="connsiteX95" fmla="*/ 473202 w 3573304"/>
                  <a:gd name="connsiteY95" fmla="*/ 333661 h 559879"/>
                  <a:gd name="connsiteX96" fmla="*/ 477393 w 3573304"/>
                  <a:gd name="connsiteY96" fmla="*/ 333661 h 559879"/>
                  <a:gd name="connsiteX97" fmla="*/ 477393 w 3573304"/>
                  <a:gd name="connsiteY97" fmla="*/ 339757 h 559879"/>
                  <a:gd name="connsiteX98" fmla="*/ 551021 w 3573304"/>
                  <a:gd name="connsiteY98" fmla="*/ 339757 h 559879"/>
                  <a:gd name="connsiteX99" fmla="*/ 551021 w 3573304"/>
                  <a:gd name="connsiteY99" fmla="*/ 345757 h 559879"/>
                  <a:gd name="connsiteX100" fmla="*/ 572071 w 3573304"/>
                  <a:gd name="connsiteY100" fmla="*/ 345757 h 559879"/>
                  <a:gd name="connsiteX101" fmla="*/ 572071 w 3573304"/>
                  <a:gd name="connsiteY101" fmla="*/ 351853 h 559879"/>
                  <a:gd name="connsiteX102" fmla="*/ 578358 w 3573304"/>
                  <a:gd name="connsiteY102" fmla="*/ 351853 h 559879"/>
                  <a:gd name="connsiteX103" fmla="*/ 578358 w 3573304"/>
                  <a:gd name="connsiteY103" fmla="*/ 357949 h 559879"/>
                  <a:gd name="connsiteX104" fmla="*/ 620458 w 3573304"/>
                  <a:gd name="connsiteY104" fmla="*/ 357949 h 559879"/>
                  <a:gd name="connsiteX105" fmla="*/ 620458 w 3573304"/>
                  <a:gd name="connsiteY105" fmla="*/ 363950 h 559879"/>
                  <a:gd name="connsiteX106" fmla="*/ 635127 w 3573304"/>
                  <a:gd name="connsiteY106" fmla="*/ 363950 h 559879"/>
                  <a:gd name="connsiteX107" fmla="*/ 635127 w 3573304"/>
                  <a:gd name="connsiteY107" fmla="*/ 370046 h 559879"/>
                  <a:gd name="connsiteX108" fmla="*/ 664654 w 3573304"/>
                  <a:gd name="connsiteY108" fmla="*/ 370046 h 559879"/>
                  <a:gd name="connsiteX109" fmla="*/ 664654 w 3573304"/>
                  <a:gd name="connsiteY109" fmla="*/ 376142 h 559879"/>
                  <a:gd name="connsiteX110" fmla="*/ 666750 w 3573304"/>
                  <a:gd name="connsiteY110" fmla="*/ 376142 h 559879"/>
                  <a:gd name="connsiteX111" fmla="*/ 666750 w 3573304"/>
                  <a:gd name="connsiteY111" fmla="*/ 382143 h 559879"/>
                  <a:gd name="connsiteX112" fmla="*/ 689800 w 3573304"/>
                  <a:gd name="connsiteY112" fmla="*/ 382143 h 559879"/>
                  <a:gd name="connsiteX113" fmla="*/ 689800 w 3573304"/>
                  <a:gd name="connsiteY113" fmla="*/ 388239 h 559879"/>
                  <a:gd name="connsiteX114" fmla="*/ 702469 w 3573304"/>
                  <a:gd name="connsiteY114" fmla="*/ 388239 h 559879"/>
                  <a:gd name="connsiteX115" fmla="*/ 702469 w 3573304"/>
                  <a:gd name="connsiteY115" fmla="*/ 394335 h 559879"/>
                  <a:gd name="connsiteX116" fmla="*/ 738187 w 3573304"/>
                  <a:gd name="connsiteY116" fmla="*/ 394335 h 559879"/>
                  <a:gd name="connsiteX117" fmla="*/ 738187 w 3573304"/>
                  <a:gd name="connsiteY117" fmla="*/ 400431 h 559879"/>
                  <a:gd name="connsiteX118" fmla="*/ 853916 w 3573304"/>
                  <a:gd name="connsiteY118" fmla="*/ 400431 h 559879"/>
                  <a:gd name="connsiteX119" fmla="*/ 853916 w 3573304"/>
                  <a:gd name="connsiteY119" fmla="*/ 406432 h 559879"/>
                  <a:gd name="connsiteX120" fmla="*/ 891730 w 3573304"/>
                  <a:gd name="connsiteY120" fmla="*/ 406432 h 559879"/>
                  <a:gd name="connsiteX121" fmla="*/ 891730 w 3573304"/>
                  <a:gd name="connsiteY121" fmla="*/ 412623 h 559879"/>
                  <a:gd name="connsiteX122" fmla="*/ 944308 w 3573304"/>
                  <a:gd name="connsiteY122" fmla="*/ 412623 h 559879"/>
                  <a:gd name="connsiteX123" fmla="*/ 944308 w 3573304"/>
                  <a:gd name="connsiteY123" fmla="*/ 418719 h 559879"/>
                  <a:gd name="connsiteX124" fmla="*/ 963263 w 3573304"/>
                  <a:gd name="connsiteY124" fmla="*/ 418719 h 559879"/>
                  <a:gd name="connsiteX125" fmla="*/ 963263 w 3573304"/>
                  <a:gd name="connsiteY125" fmla="*/ 424815 h 559879"/>
                  <a:gd name="connsiteX126" fmla="*/ 973741 w 3573304"/>
                  <a:gd name="connsiteY126" fmla="*/ 424815 h 559879"/>
                  <a:gd name="connsiteX127" fmla="*/ 973741 w 3573304"/>
                  <a:gd name="connsiteY127" fmla="*/ 431006 h 559879"/>
                  <a:gd name="connsiteX128" fmla="*/ 1007459 w 3573304"/>
                  <a:gd name="connsiteY128" fmla="*/ 431006 h 559879"/>
                  <a:gd name="connsiteX129" fmla="*/ 1007459 w 3573304"/>
                  <a:gd name="connsiteY129" fmla="*/ 437102 h 559879"/>
                  <a:gd name="connsiteX130" fmla="*/ 1013746 w 3573304"/>
                  <a:gd name="connsiteY130" fmla="*/ 437102 h 559879"/>
                  <a:gd name="connsiteX131" fmla="*/ 1013746 w 3573304"/>
                  <a:gd name="connsiteY131" fmla="*/ 443198 h 559879"/>
                  <a:gd name="connsiteX132" fmla="*/ 1028414 w 3573304"/>
                  <a:gd name="connsiteY132" fmla="*/ 443198 h 559879"/>
                  <a:gd name="connsiteX133" fmla="*/ 1028414 w 3573304"/>
                  <a:gd name="connsiteY133" fmla="*/ 449294 h 559879"/>
                  <a:gd name="connsiteX134" fmla="*/ 1041082 w 3573304"/>
                  <a:gd name="connsiteY134" fmla="*/ 449294 h 559879"/>
                  <a:gd name="connsiteX135" fmla="*/ 1041082 w 3573304"/>
                  <a:gd name="connsiteY135" fmla="*/ 455485 h 559879"/>
                  <a:gd name="connsiteX136" fmla="*/ 1066324 w 3573304"/>
                  <a:gd name="connsiteY136" fmla="*/ 455485 h 559879"/>
                  <a:gd name="connsiteX137" fmla="*/ 1066324 w 3573304"/>
                  <a:gd name="connsiteY137" fmla="*/ 461581 h 559879"/>
                  <a:gd name="connsiteX138" fmla="*/ 1295590 w 3573304"/>
                  <a:gd name="connsiteY138" fmla="*/ 461581 h 559879"/>
                  <a:gd name="connsiteX139" fmla="*/ 1295590 w 3573304"/>
                  <a:gd name="connsiteY139" fmla="*/ 467773 h 559879"/>
                  <a:gd name="connsiteX140" fmla="*/ 1409128 w 3573304"/>
                  <a:gd name="connsiteY140" fmla="*/ 467773 h 559879"/>
                  <a:gd name="connsiteX141" fmla="*/ 1409128 w 3573304"/>
                  <a:gd name="connsiteY141" fmla="*/ 473964 h 559879"/>
                  <a:gd name="connsiteX142" fmla="*/ 1678305 w 3573304"/>
                  <a:gd name="connsiteY142" fmla="*/ 473964 h 559879"/>
                  <a:gd name="connsiteX143" fmla="*/ 1678305 w 3573304"/>
                  <a:gd name="connsiteY143" fmla="*/ 480250 h 559879"/>
                  <a:gd name="connsiteX144" fmla="*/ 1751933 w 3573304"/>
                  <a:gd name="connsiteY144" fmla="*/ 480250 h 559879"/>
                  <a:gd name="connsiteX145" fmla="*/ 1751933 w 3573304"/>
                  <a:gd name="connsiteY145" fmla="*/ 486537 h 559879"/>
                  <a:gd name="connsiteX146" fmla="*/ 1831848 w 3573304"/>
                  <a:gd name="connsiteY146" fmla="*/ 486537 h 559879"/>
                  <a:gd name="connsiteX147" fmla="*/ 1831848 w 3573304"/>
                  <a:gd name="connsiteY147" fmla="*/ 492823 h 559879"/>
                  <a:gd name="connsiteX148" fmla="*/ 1993773 w 3573304"/>
                  <a:gd name="connsiteY148" fmla="*/ 492823 h 559879"/>
                  <a:gd name="connsiteX149" fmla="*/ 1993773 w 3573304"/>
                  <a:gd name="connsiteY149" fmla="*/ 499300 h 559879"/>
                  <a:gd name="connsiteX150" fmla="*/ 2010632 w 3573304"/>
                  <a:gd name="connsiteY150" fmla="*/ 499300 h 559879"/>
                  <a:gd name="connsiteX151" fmla="*/ 2010632 w 3573304"/>
                  <a:gd name="connsiteY151" fmla="*/ 505682 h 559879"/>
                  <a:gd name="connsiteX152" fmla="*/ 2128456 w 3573304"/>
                  <a:gd name="connsiteY152" fmla="*/ 505682 h 559879"/>
                  <a:gd name="connsiteX153" fmla="*/ 2128456 w 3573304"/>
                  <a:gd name="connsiteY153" fmla="*/ 512159 h 559879"/>
                  <a:gd name="connsiteX154" fmla="*/ 2220944 w 3573304"/>
                  <a:gd name="connsiteY154" fmla="*/ 512159 h 559879"/>
                  <a:gd name="connsiteX155" fmla="*/ 2220944 w 3573304"/>
                  <a:gd name="connsiteY155" fmla="*/ 518541 h 559879"/>
                  <a:gd name="connsiteX156" fmla="*/ 2239899 w 3573304"/>
                  <a:gd name="connsiteY156" fmla="*/ 518541 h 559879"/>
                  <a:gd name="connsiteX157" fmla="*/ 2239899 w 3573304"/>
                  <a:gd name="connsiteY157" fmla="*/ 525018 h 559879"/>
                  <a:gd name="connsiteX158" fmla="*/ 3093720 w 3573304"/>
                  <a:gd name="connsiteY158" fmla="*/ 525018 h 559879"/>
                  <a:gd name="connsiteX159" fmla="*/ 3093720 w 3573304"/>
                  <a:gd name="connsiteY159" fmla="*/ 559879 h 559879"/>
                  <a:gd name="connsiteX160" fmla="*/ 3573304 w 3573304"/>
                  <a:gd name="connsiteY160" fmla="*/ 559879 h 559879"/>
                  <a:gd name="connsiteX0" fmla="*/ 0 w 3564922"/>
                  <a:gd name="connsiteY0" fmla="*/ 0 h 547687"/>
                  <a:gd name="connsiteX1" fmla="*/ 2095 w 3564922"/>
                  <a:gd name="connsiteY1" fmla="*/ 0 h 547687"/>
                  <a:gd name="connsiteX2" fmla="*/ 2095 w 3564922"/>
                  <a:gd name="connsiteY2" fmla="*/ 6001 h 547687"/>
                  <a:gd name="connsiteX3" fmla="*/ 4286 w 3564922"/>
                  <a:gd name="connsiteY3" fmla="*/ 6001 h 547687"/>
                  <a:gd name="connsiteX4" fmla="*/ 4286 w 3564922"/>
                  <a:gd name="connsiteY4" fmla="*/ 12097 h 547687"/>
                  <a:gd name="connsiteX5" fmla="*/ 14763 w 3564922"/>
                  <a:gd name="connsiteY5" fmla="*/ 12097 h 547687"/>
                  <a:gd name="connsiteX6" fmla="*/ 14763 w 3564922"/>
                  <a:gd name="connsiteY6" fmla="*/ 18193 h 547687"/>
                  <a:gd name="connsiteX7" fmla="*/ 21050 w 3564922"/>
                  <a:gd name="connsiteY7" fmla="*/ 18193 h 547687"/>
                  <a:gd name="connsiteX8" fmla="*/ 21050 w 3564922"/>
                  <a:gd name="connsiteY8" fmla="*/ 24193 h 547687"/>
                  <a:gd name="connsiteX9" fmla="*/ 35814 w 3564922"/>
                  <a:gd name="connsiteY9" fmla="*/ 24193 h 547687"/>
                  <a:gd name="connsiteX10" fmla="*/ 35814 w 3564922"/>
                  <a:gd name="connsiteY10" fmla="*/ 30289 h 547687"/>
                  <a:gd name="connsiteX11" fmla="*/ 44196 w 3564922"/>
                  <a:gd name="connsiteY11" fmla="*/ 30289 h 547687"/>
                  <a:gd name="connsiteX12" fmla="*/ 44196 w 3564922"/>
                  <a:gd name="connsiteY12" fmla="*/ 36385 h 547687"/>
                  <a:gd name="connsiteX13" fmla="*/ 54769 w 3564922"/>
                  <a:gd name="connsiteY13" fmla="*/ 36385 h 547687"/>
                  <a:gd name="connsiteX14" fmla="*/ 54769 w 3564922"/>
                  <a:gd name="connsiteY14" fmla="*/ 42386 h 547687"/>
                  <a:gd name="connsiteX15" fmla="*/ 67342 w 3564922"/>
                  <a:gd name="connsiteY15" fmla="*/ 42386 h 547687"/>
                  <a:gd name="connsiteX16" fmla="*/ 67342 w 3564922"/>
                  <a:gd name="connsiteY16" fmla="*/ 48482 h 547687"/>
                  <a:gd name="connsiteX17" fmla="*/ 73628 w 3564922"/>
                  <a:gd name="connsiteY17" fmla="*/ 48482 h 547687"/>
                  <a:gd name="connsiteX18" fmla="*/ 73628 w 3564922"/>
                  <a:gd name="connsiteY18" fmla="*/ 60579 h 547687"/>
                  <a:gd name="connsiteX19" fmla="*/ 77819 w 3564922"/>
                  <a:gd name="connsiteY19" fmla="*/ 60579 h 547687"/>
                  <a:gd name="connsiteX20" fmla="*/ 77819 w 3564922"/>
                  <a:gd name="connsiteY20" fmla="*/ 66675 h 547687"/>
                  <a:gd name="connsiteX21" fmla="*/ 90487 w 3564922"/>
                  <a:gd name="connsiteY21" fmla="*/ 66675 h 547687"/>
                  <a:gd name="connsiteX22" fmla="*/ 90487 w 3564922"/>
                  <a:gd name="connsiteY22" fmla="*/ 72771 h 547687"/>
                  <a:gd name="connsiteX23" fmla="*/ 105156 w 3564922"/>
                  <a:gd name="connsiteY23" fmla="*/ 72771 h 547687"/>
                  <a:gd name="connsiteX24" fmla="*/ 105156 w 3564922"/>
                  <a:gd name="connsiteY24" fmla="*/ 78772 h 547687"/>
                  <a:gd name="connsiteX25" fmla="*/ 109442 w 3564922"/>
                  <a:gd name="connsiteY25" fmla="*/ 78772 h 547687"/>
                  <a:gd name="connsiteX26" fmla="*/ 109442 w 3564922"/>
                  <a:gd name="connsiteY26" fmla="*/ 84868 h 547687"/>
                  <a:gd name="connsiteX27" fmla="*/ 119919 w 3564922"/>
                  <a:gd name="connsiteY27" fmla="*/ 84868 h 547687"/>
                  <a:gd name="connsiteX28" fmla="*/ 119919 w 3564922"/>
                  <a:gd name="connsiteY28" fmla="*/ 90964 h 547687"/>
                  <a:gd name="connsiteX29" fmla="*/ 128302 w 3564922"/>
                  <a:gd name="connsiteY29" fmla="*/ 90964 h 547687"/>
                  <a:gd name="connsiteX30" fmla="*/ 128302 w 3564922"/>
                  <a:gd name="connsiteY30" fmla="*/ 97060 h 547687"/>
                  <a:gd name="connsiteX31" fmla="*/ 143065 w 3564922"/>
                  <a:gd name="connsiteY31" fmla="*/ 97060 h 547687"/>
                  <a:gd name="connsiteX32" fmla="*/ 143065 w 3564922"/>
                  <a:gd name="connsiteY32" fmla="*/ 103060 h 547687"/>
                  <a:gd name="connsiteX33" fmla="*/ 147256 w 3564922"/>
                  <a:gd name="connsiteY33" fmla="*/ 103060 h 547687"/>
                  <a:gd name="connsiteX34" fmla="*/ 147256 w 3564922"/>
                  <a:gd name="connsiteY34" fmla="*/ 109156 h 547687"/>
                  <a:gd name="connsiteX35" fmla="*/ 151447 w 3564922"/>
                  <a:gd name="connsiteY35" fmla="*/ 109156 h 547687"/>
                  <a:gd name="connsiteX36" fmla="*/ 151447 w 3564922"/>
                  <a:gd name="connsiteY36" fmla="*/ 115252 h 547687"/>
                  <a:gd name="connsiteX37" fmla="*/ 164116 w 3564922"/>
                  <a:gd name="connsiteY37" fmla="*/ 115252 h 547687"/>
                  <a:gd name="connsiteX38" fmla="*/ 164116 w 3564922"/>
                  <a:gd name="connsiteY38" fmla="*/ 121253 h 547687"/>
                  <a:gd name="connsiteX39" fmla="*/ 193548 w 3564922"/>
                  <a:gd name="connsiteY39" fmla="*/ 121253 h 547687"/>
                  <a:gd name="connsiteX40" fmla="*/ 193548 w 3564922"/>
                  <a:gd name="connsiteY40" fmla="*/ 127349 h 547687"/>
                  <a:gd name="connsiteX41" fmla="*/ 201930 w 3564922"/>
                  <a:gd name="connsiteY41" fmla="*/ 127349 h 547687"/>
                  <a:gd name="connsiteX42" fmla="*/ 201930 w 3564922"/>
                  <a:gd name="connsiteY42" fmla="*/ 133445 h 547687"/>
                  <a:gd name="connsiteX43" fmla="*/ 204025 w 3564922"/>
                  <a:gd name="connsiteY43" fmla="*/ 133445 h 547687"/>
                  <a:gd name="connsiteX44" fmla="*/ 204025 w 3564922"/>
                  <a:gd name="connsiteY44" fmla="*/ 139446 h 547687"/>
                  <a:gd name="connsiteX45" fmla="*/ 218789 w 3564922"/>
                  <a:gd name="connsiteY45" fmla="*/ 139446 h 547687"/>
                  <a:gd name="connsiteX46" fmla="*/ 218789 w 3564922"/>
                  <a:gd name="connsiteY46" fmla="*/ 151638 h 547687"/>
                  <a:gd name="connsiteX47" fmla="*/ 220885 w 3564922"/>
                  <a:gd name="connsiteY47" fmla="*/ 151638 h 547687"/>
                  <a:gd name="connsiteX48" fmla="*/ 220885 w 3564922"/>
                  <a:gd name="connsiteY48" fmla="*/ 157639 h 547687"/>
                  <a:gd name="connsiteX49" fmla="*/ 227171 w 3564922"/>
                  <a:gd name="connsiteY49" fmla="*/ 157639 h 547687"/>
                  <a:gd name="connsiteX50" fmla="*/ 227171 w 3564922"/>
                  <a:gd name="connsiteY50" fmla="*/ 163735 h 547687"/>
                  <a:gd name="connsiteX51" fmla="*/ 231362 w 3564922"/>
                  <a:gd name="connsiteY51" fmla="*/ 163735 h 547687"/>
                  <a:gd name="connsiteX52" fmla="*/ 231362 w 3564922"/>
                  <a:gd name="connsiteY52" fmla="*/ 169831 h 547687"/>
                  <a:gd name="connsiteX53" fmla="*/ 248221 w 3564922"/>
                  <a:gd name="connsiteY53" fmla="*/ 169831 h 547687"/>
                  <a:gd name="connsiteX54" fmla="*/ 248221 w 3564922"/>
                  <a:gd name="connsiteY54" fmla="*/ 181927 h 547687"/>
                  <a:gd name="connsiteX55" fmla="*/ 252412 w 3564922"/>
                  <a:gd name="connsiteY55" fmla="*/ 181927 h 547687"/>
                  <a:gd name="connsiteX56" fmla="*/ 252412 w 3564922"/>
                  <a:gd name="connsiteY56" fmla="*/ 188023 h 547687"/>
                  <a:gd name="connsiteX57" fmla="*/ 275558 w 3564922"/>
                  <a:gd name="connsiteY57" fmla="*/ 188023 h 547687"/>
                  <a:gd name="connsiteX58" fmla="*/ 275558 w 3564922"/>
                  <a:gd name="connsiteY58" fmla="*/ 194119 h 547687"/>
                  <a:gd name="connsiteX59" fmla="*/ 279749 w 3564922"/>
                  <a:gd name="connsiteY59" fmla="*/ 194119 h 547687"/>
                  <a:gd name="connsiteX60" fmla="*/ 279749 w 3564922"/>
                  <a:gd name="connsiteY60" fmla="*/ 200120 h 547687"/>
                  <a:gd name="connsiteX61" fmla="*/ 286036 w 3564922"/>
                  <a:gd name="connsiteY61" fmla="*/ 200120 h 547687"/>
                  <a:gd name="connsiteX62" fmla="*/ 286036 w 3564922"/>
                  <a:gd name="connsiteY62" fmla="*/ 212312 h 547687"/>
                  <a:gd name="connsiteX63" fmla="*/ 304990 w 3564922"/>
                  <a:gd name="connsiteY63" fmla="*/ 212312 h 547687"/>
                  <a:gd name="connsiteX64" fmla="*/ 304990 w 3564922"/>
                  <a:gd name="connsiteY64" fmla="*/ 218313 h 547687"/>
                  <a:gd name="connsiteX65" fmla="*/ 313372 w 3564922"/>
                  <a:gd name="connsiteY65" fmla="*/ 218313 h 547687"/>
                  <a:gd name="connsiteX66" fmla="*/ 313372 w 3564922"/>
                  <a:gd name="connsiteY66" fmla="*/ 224409 h 547687"/>
                  <a:gd name="connsiteX67" fmla="*/ 326041 w 3564922"/>
                  <a:gd name="connsiteY67" fmla="*/ 224409 h 547687"/>
                  <a:gd name="connsiteX68" fmla="*/ 326041 w 3564922"/>
                  <a:gd name="connsiteY68" fmla="*/ 230505 h 547687"/>
                  <a:gd name="connsiteX69" fmla="*/ 342900 w 3564922"/>
                  <a:gd name="connsiteY69" fmla="*/ 230505 h 547687"/>
                  <a:gd name="connsiteX70" fmla="*/ 342900 w 3564922"/>
                  <a:gd name="connsiteY70" fmla="*/ 236506 h 547687"/>
                  <a:gd name="connsiteX71" fmla="*/ 370237 w 3564922"/>
                  <a:gd name="connsiteY71" fmla="*/ 236506 h 547687"/>
                  <a:gd name="connsiteX72" fmla="*/ 370237 w 3564922"/>
                  <a:gd name="connsiteY72" fmla="*/ 242602 h 547687"/>
                  <a:gd name="connsiteX73" fmla="*/ 372332 w 3564922"/>
                  <a:gd name="connsiteY73" fmla="*/ 242602 h 547687"/>
                  <a:gd name="connsiteX74" fmla="*/ 372332 w 3564922"/>
                  <a:gd name="connsiteY74" fmla="*/ 248698 h 547687"/>
                  <a:gd name="connsiteX75" fmla="*/ 382809 w 3564922"/>
                  <a:gd name="connsiteY75" fmla="*/ 248698 h 547687"/>
                  <a:gd name="connsiteX76" fmla="*/ 382809 w 3564922"/>
                  <a:gd name="connsiteY76" fmla="*/ 254698 h 547687"/>
                  <a:gd name="connsiteX77" fmla="*/ 389096 w 3564922"/>
                  <a:gd name="connsiteY77" fmla="*/ 254698 h 547687"/>
                  <a:gd name="connsiteX78" fmla="*/ 389096 w 3564922"/>
                  <a:gd name="connsiteY78" fmla="*/ 266890 h 547687"/>
                  <a:gd name="connsiteX79" fmla="*/ 397573 w 3564922"/>
                  <a:gd name="connsiteY79" fmla="*/ 266890 h 547687"/>
                  <a:gd name="connsiteX80" fmla="*/ 397573 w 3564922"/>
                  <a:gd name="connsiteY80" fmla="*/ 272891 h 547687"/>
                  <a:gd name="connsiteX81" fmla="*/ 403860 w 3564922"/>
                  <a:gd name="connsiteY81" fmla="*/ 272891 h 547687"/>
                  <a:gd name="connsiteX82" fmla="*/ 403860 w 3564922"/>
                  <a:gd name="connsiteY82" fmla="*/ 285083 h 547687"/>
                  <a:gd name="connsiteX83" fmla="*/ 405955 w 3564922"/>
                  <a:gd name="connsiteY83" fmla="*/ 285083 h 547687"/>
                  <a:gd name="connsiteX84" fmla="*/ 405955 w 3564922"/>
                  <a:gd name="connsiteY84" fmla="*/ 291179 h 547687"/>
                  <a:gd name="connsiteX85" fmla="*/ 418528 w 3564922"/>
                  <a:gd name="connsiteY85" fmla="*/ 291179 h 547687"/>
                  <a:gd name="connsiteX86" fmla="*/ 418528 w 3564922"/>
                  <a:gd name="connsiteY86" fmla="*/ 297180 h 547687"/>
                  <a:gd name="connsiteX87" fmla="*/ 441674 w 3564922"/>
                  <a:gd name="connsiteY87" fmla="*/ 297180 h 547687"/>
                  <a:gd name="connsiteX88" fmla="*/ 441674 w 3564922"/>
                  <a:gd name="connsiteY88" fmla="*/ 303276 h 547687"/>
                  <a:gd name="connsiteX89" fmla="*/ 448056 w 3564922"/>
                  <a:gd name="connsiteY89" fmla="*/ 303276 h 547687"/>
                  <a:gd name="connsiteX90" fmla="*/ 448056 w 3564922"/>
                  <a:gd name="connsiteY90" fmla="*/ 309372 h 547687"/>
                  <a:gd name="connsiteX91" fmla="*/ 456438 w 3564922"/>
                  <a:gd name="connsiteY91" fmla="*/ 309372 h 547687"/>
                  <a:gd name="connsiteX92" fmla="*/ 456438 w 3564922"/>
                  <a:gd name="connsiteY92" fmla="*/ 315373 h 547687"/>
                  <a:gd name="connsiteX93" fmla="*/ 464820 w 3564922"/>
                  <a:gd name="connsiteY93" fmla="*/ 315373 h 547687"/>
                  <a:gd name="connsiteX94" fmla="*/ 464820 w 3564922"/>
                  <a:gd name="connsiteY94" fmla="*/ 321469 h 547687"/>
                  <a:gd name="connsiteX95" fmla="*/ 469011 w 3564922"/>
                  <a:gd name="connsiteY95" fmla="*/ 321469 h 547687"/>
                  <a:gd name="connsiteX96" fmla="*/ 469011 w 3564922"/>
                  <a:gd name="connsiteY96" fmla="*/ 327565 h 547687"/>
                  <a:gd name="connsiteX97" fmla="*/ 542639 w 3564922"/>
                  <a:gd name="connsiteY97" fmla="*/ 327565 h 547687"/>
                  <a:gd name="connsiteX98" fmla="*/ 542639 w 3564922"/>
                  <a:gd name="connsiteY98" fmla="*/ 333565 h 547687"/>
                  <a:gd name="connsiteX99" fmla="*/ 563689 w 3564922"/>
                  <a:gd name="connsiteY99" fmla="*/ 333565 h 547687"/>
                  <a:gd name="connsiteX100" fmla="*/ 563689 w 3564922"/>
                  <a:gd name="connsiteY100" fmla="*/ 339661 h 547687"/>
                  <a:gd name="connsiteX101" fmla="*/ 569976 w 3564922"/>
                  <a:gd name="connsiteY101" fmla="*/ 339661 h 547687"/>
                  <a:gd name="connsiteX102" fmla="*/ 569976 w 3564922"/>
                  <a:gd name="connsiteY102" fmla="*/ 345757 h 547687"/>
                  <a:gd name="connsiteX103" fmla="*/ 612076 w 3564922"/>
                  <a:gd name="connsiteY103" fmla="*/ 345757 h 547687"/>
                  <a:gd name="connsiteX104" fmla="*/ 612076 w 3564922"/>
                  <a:gd name="connsiteY104" fmla="*/ 351758 h 547687"/>
                  <a:gd name="connsiteX105" fmla="*/ 626745 w 3564922"/>
                  <a:gd name="connsiteY105" fmla="*/ 351758 h 547687"/>
                  <a:gd name="connsiteX106" fmla="*/ 626745 w 3564922"/>
                  <a:gd name="connsiteY106" fmla="*/ 357854 h 547687"/>
                  <a:gd name="connsiteX107" fmla="*/ 656272 w 3564922"/>
                  <a:gd name="connsiteY107" fmla="*/ 357854 h 547687"/>
                  <a:gd name="connsiteX108" fmla="*/ 656272 w 3564922"/>
                  <a:gd name="connsiteY108" fmla="*/ 363950 h 547687"/>
                  <a:gd name="connsiteX109" fmla="*/ 658368 w 3564922"/>
                  <a:gd name="connsiteY109" fmla="*/ 363950 h 547687"/>
                  <a:gd name="connsiteX110" fmla="*/ 658368 w 3564922"/>
                  <a:gd name="connsiteY110" fmla="*/ 369951 h 547687"/>
                  <a:gd name="connsiteX111" fmla="*/ 681418 w 3564922"/>
                  <a:gd name="connsiteY111" fmla="*/ 369951 h 547687"/>
                  <a:gd name="connsiteX112" fmla="*/ 681418 w 3564922"/>
                  <a:gd name="connsiteY112" fmla="*/ 376047 h 547687"/>
                  <a:gd name="connsiteX113" fmla="*/ 694087 w 3564922"/>
                  <a:gd name="connsiteY113" fmla="*/ 376047 h 547687"/>
                  <a:gd name="connsiteX114" fmla="*/ 694087 w 3564922"/>
                  <a:gd name="connsiteY114" fmla="*/ 382143 h 547687"/>
                  <a:gd name="connsiteX115" fmla="*/ 729805 w 3564922"/>
                  <a:gd name="connsiteY115" fmla="*/ 382143 h 547687"/>
                  <a:gd name="connsiteX116" fmla="*/ 729805 w 3564922"/>
                  <a:gd name="connsiteY116" fmla="*/ 388239 h 547687"/>
                  <a:gd name="connsiteX117" fmla="*/ 845534 w 3564922"/>
                  <a:gd name="connsiteY117" fmla="*/ 388239 h 547687"/>
                  <a:gd name="connsiteX118" fmla="*/ 845534 w 3564922"/>
                  <a:gd name="connsiteY118" fmla="*/ 394240 h 547687"/>
                  <a:gd name="connsiteX119" fmla="*/ 883348 w 3564922"/>
                  <a:gd name="connsiteY119" fmla="*/ 394240 h 547687"/>
                  <a:gd name="connsiteX120" fmla="*/ 883348 w 3564922"/>
                  <a:gd name="connsiteY120" fmla="*/ 400431 h 547687"/>
                  <a:gd name="connsiteX121" fmla="*/ 935926 w 3564922"/>
                  <a:gd name="connsiteY121" fmla="*/ 400431 h 547687"/>
                  <a:gd name="connsiteX122" fmla="*/ 935926 w 3564922"/>
                  <a:gd name="connsiteY122" fmla="*/ 406527 h 547687"/>
                  <a:gd name="connsiteX123" fmla="*/ 954881 w 3564922"/>
                  <a:gd name="connsiteY123" fmla="*/ 406527 h 547687"/>
                  <a:gd name="connsiteX124" fmla="*/ 954881 w 3564922"/>
                  <a:gd name="connsiteY124" fmla="*/ 412623 h 547687"/>
                  <a:gd name="connsiteX125" fmla="*/ 965359 w 3564922"/>
                  <a:gd name="connsiteY125" fmla="*/ 412623 h 547687"/>
                  <a:gd name="connsiteX126" fmla="*/ 965359 w 3564922"/>
                  <a:gd name="connsiteY126" fmla="*/ 418814 h 547687"/>
                  <a:gd name="connsiteX127" fmla="*/ 999077 w 3564922"/>
                  <a:gd name="connsiteY127" fmla="*/ 418814 h 547687"/>
                  <a:gd name="connsiteX128" fmla="*/ 999077 w 3564922"/>
                  <a:gd name="connsiteY128" fmla="*/ 424910 h 547687"/>
                  <a:gd name="connsiteX129" fmla="*/ 1005364 w 3564922"/>
                  <a:gd name="connsiteY129" fmla="*/ 424910 h 547687"/>
                  <a:gd name="connsiteX130" fmla="*/ 1005364 w 3564922"/>
                  <a:gd name="connsiteY130" fmla="*/ 431006 h 547687"/>
                  <a:gd name="connsiteX131" fmla="*/ 1020032 w 3564922"/>
                  <a:gd name="connsiteY131" fmla="*/ 431006 h 547687"/>
                  <a:gd name="connsiteX132" fmla="*/ 1020032 w 3564922"/>
                  <a:gd name="connsiteY132" fmla="*/ 437102 h 547687"/>
                  <a:gd name="connsiteX133" fmla="*/ 1032700 w 3564922"/>
                  <a:gd name="connsiteY133" fmla="*/ 437102 h 547687"/>
                  <a:gd name="connsiteX134" fmla="*/ 1032700 w 3564922"/>
                  <a:gd name="connsiteY134" fmla="*/ 443293 h 547687"/>
                  <a:gd name="connsiteX135" fmla="*/ 1057942 w 3564922"/>
                  <a:gd name="connsiteY135" fmla="*/ 443293 h 547687"/>
                  <a:gd name="connsiteX136" fmla="*/ 1057942 w 3564922"/>
                  <a:gd name="connsiteY136" fmla="*/ 449389 h 547687"/>
                  <a:gd name="connsiteX137" fmla="*/ 1287208 w 3564922"/>
                  <a:gd name="connsiteY137" fmla="*/ 449389 h 547687"/>
                  <a:gd name="connsiteX138" fmla="*/ 1287208 w 3564922"/>
                  <a:gd name="connsiteY138" fmla="*/ 455581 h 547687"/>
                  <a:gd name="connsiteX139" fmla="*/ 1400746 w 3564922"/>
                  <a:gd name="connsiteY139" fmla="*/ 455581 h 547687"/>
                  <a:gd name="connsiteX140" fmla="*/ 1400746 w 3564922"/>
                  <a:gd name="connsiteY140" fmla="*/ 461772 h 547687"/>
                  <a:gd name="connsiteX141" fmla="*/ 1669923 w 3564922"/>
                  <a:gd name="connsiteY141" fmla="*/ 461772 h 547687"/>
                  <a:gd name="connsiteX142" fmla="*/ 1669923 w 3564922"/>
                  <a:gd name="connsiteY142" fmla="*/ 468058 h 547687"/>
                  <a:gd name="connsiteX143" fmla="*/ 1743551 w 3564922"/>
                  <a:gd name="connsiteY143" fmla="*/ 468058 h 547687"/>
                  <a:gd name="connsiteX144" fmla="*/ 1743551 w 3564922"/>
                  <a:gd name="connsiteY144" fmla="*/ 474345 h 547687"/>
                  <a:gd name="connsiteX145" fmla="*/ 1823466 w 3564922"/>
                  <a:gd name="connsiteY145" fmla="*/ 474345 h 547687"/>
                  <a:gd name="connsiteX146" fmla="*/ 1823466 w 3564922"/>
                  <a:gd name="connsiteY146" fmla="*/ 480631 h 547687"/>
                  <a:gd name="connsiteX147" fmla="*/ 1985391 w 3564922"/>
                  <a:gd name="connsiteY147" fmla="*/ 480631 h 547687"/>
                  <a:gd name="connsiteX148" fmla="*/ 1985391 w 3564922"/>
                  <a:gd name="connsiteY148" fmla="*/ 487108 h 547687"/>
                  <a:gd name="connsiteX149" fmla="*/ 2002250 w 3564922"/>
                  <a:gd name="connsiteY149" fmla="*/ 487108 h 547687"/>
                  <a:gd name="connsiteX150" fmla="*/ 2002250 w 3564922"/>
                  <a:gd name="connsiteY150" fmla="*/ 493490 h 547687"/>
                  <a:gd name="connsiteX151" fmla="*/ 2120074 w 3564922"/>
                  <a:gd name="connsiteY151" fmla="*/ 493490 h 547687"/>
                  <a:gd name="connsiteX152" fmla="*/ 2120074 w 3564922"/>
                  <a:gd name="connsiteY152" fmla="*/ 499967 h 547687"/>
                  <a:gd name="connsiteX153" fmla="*/ 2212562 w 3564922"/>
                  <a:gd name="connsiteY153" fmla="*/ 499967 h 547687"/>
                  <a:gd name="connsiteX154" fmla="*/ 2212562 w 3564922"/>
                  <a:gd name="connsiteY154" fmla="*/ 506349 h 547687"/>
                  <a:gd name="connsiteX155" fmla="*/ 2231517 w 3564922"/>
                  <a:gd name="connsiteY155" fmla="*/ 506349 h 547687"/>
                  <a:gd name="connsiteX156" fmla="*/ 2231517 w 3564922"/>
                  <a:gd name="connsiteY156" fmla="*/ 512826 h 547687"/>
                  <a:gd name="connsiteX157" fmla="*/ 3085338 w 3564922"/>
                  <a:gd name="connsiteY157" fmla="*/ 512826 h 547687"/>
                  <a:gd name="connsiteX158" fmla="*/ 3085338 w 3564922"/>
                  <a:gd name="connsiteY158" fmla="*/ 547687 h 547687"/>
                  <a:gd name="connsiteX159" fmla="*/ 3564922 w 3564922"/>
                  <a:gd name="connsiteY159" fmla="*/ 547687 h 547687"/>
                  <a:gd name="connsiteX0" fmla="*/ 0 w 3564922"/>
                  <a:gd name="connsiteY0" fmla="*/ 0 h 547687"/>
                  <a:gd name="connsiteX1" fmla="*/ 2095 w 3564922"/>
                  <a:gd name="connsiteY1" fmla="*/ 0 h 547687"/>
                  <a:gd name="connsiteX2" fmla="*/ 2095 w 3564922"/>
                  <a:gd name="connsiteY2" fmla="*/ 6001 h 547687"/>
                  <a:gd name="connsiteX3" fmla="*/ 4286 w 3564922"/>
                  <a:gd name="connsiteY3" fmla="*/ 12097 h 547687"/>
                  <a:gd name="connsiteX4" fmla="*/ 14763 w 3564922"/>
                  <a:gd name="connsiteY4" fmla="*/ 12097 h 547687"/>
                  <a:gd name="connsiteX5" fmla="*/ 14763 w 3564922"/>
                  <a:gd name="connsiteY5" fmla="*/ 18193 h 547687"/>
                  <a:gd name="connsiteX6" fmla="*/ 21050 w 3564922"/>
                  <a:gd name="connsiteY6" fmla="*/ 18193 h 547687"/>
                  <a:gd name="connsiteX7" fmla="*/ 21050 w 3564922"/>
                  <a:gd name="connsiteY7" fmla="*/ 24193 h 547687"/>
                  <a:gd name="connsiteX8" fmla="*/ 35814 w 3564922"/>
                  <a:gd name="connsiteY8" fmla="*/ 24193 h 547687"/>
                  <a:gd name="connsiteX9" fmla="*/ 35814 w 3564922"/>
                  <a:gd name="connsiteY9" fmla="*/ 30289 h 547687"/>
                  <a:gd name="connsiteX10" fmla="*/ 44196 w 3564922"/>
                  <a:gd name="connsiteY10" fmla="*/ 30289 h 547687"/>
                  <a:gd name="connsiteX11" fmla="*/ 44196 w 3564922"/>
                  <a:gd name="connsiteY11" fmla="*/ 36385 h 547687"/>
                  <a:gd name="connsiteX12" fmla="*/ 54769 w 3564922"/>
                  <a:gd name="connsiteY12" fmla="*/ 36385 h 547687"/>
                  <a:gd name="connsiteX13" fmla="*/ 54769 w 3564922"/>
                  <a:gd name="connsiteY13" fmla="*/ 42386 h 547687"/>
                  <a:gd name="connsiteX14" fmla="*/ 67342 w 3564922"/>
                  <a:gd name="connsiteY14" fmla="*/ 42386 h 547687"/>
                  <a:gd name="connsiteX15" fmla="*/ 67342 w 3564922"/>
                  <a:gd name="connsiteY15" fmla="*/ 48482 h 547687"/>
                  <a:gd name="connsiteX16" fmla="*/ 73628 w 3564922"/>
                  <a:gd name="connsiteY16" fmla="*/ 48482 h 547687"/>
                  <a:gd name="connsiteX17" fmla="*/ 73628 w 3564922"/>
                  <a:gd name="connsiteY17" fmla="*/ 60579 h 547687"/>
                  <a:gd name="connsiteX18" fmla="*/ 77819 w 3564922"/>
                  <a:gd name="connsiteY18" fmla="*/ 60579 h 547687"/>
                  <a:gd name="connsiteX19" fmla="*/ 77819 w 3564922"/>
                  <a:gd name="connsiteY19" fmla="*/ 66675 h 547687"/>
                  <a:gd name="connsiteX20" fmla="*/ 90487 w 3564922"/>
                  <a:gd name="connsiteY20" fmla="*/ 66675 h 547687"/>
                  <a:gd name="connsiteX21" fmla="*/ 90487 w 3564922"/>
                  <a:gd name="connsiteY21" fmla="*/ 72771 h 547687"/>
                  <a:gd name="connsiteX22" fmla="*/ 105156 w 3564922"/>
                  <a:gd name="connsiteY22" fmla="*/ 72771 h 547687"/>
                  <a:gd name="connsiteX23" fmla="*/ 105156 w 3564922"/>
                  <a:gd name="connsiteY23" fmla="*/ 78772 h 547687"/>
                  <a:gd name="connsiteX24" fmla="*/ 109442 w 3564922"/>
                  <a:gd name="connsiteY24" fmla="*/ 78772 h 547687"/>
                  <a:gd name="connsiteX25" fmla="*/ 109442 w 3564922"/>
                  <a:gd name="connsiteY25" fmla="*/ 84868 h 547687"/>
                  <a:gd name="connsiteX26" fmla="*/ 119919 w 3564922"/>
                  <a:gd name="connsiteY26" fmla="*/ 84868 h 547687"/>
                  <a:gd name="connsiteX27" fmla="*/ 119919 w 3564922"/>
                  <a:gd name="connsiteY27" fmla="*/ 90964 h 547687"/>
                  <a:gd name="connsiteX28" fmla="*/ 128302 w 3564922"/>
                  <a:gd name="connsiteY28" fmla="*/ 90964 h 547687"/>
                  <a:gd name="connsiteX29" fmla="*/ 128302 w 3564922"/>
                  <a:gd name="connsiteY29" fmla="*/ 97060 h 547687"/>
                  <a:gd name="connsiteX30" fmla="*/ 143065 w 3564922"/>
                  <a:gd name="connsiteY30" fmla="*/ 97060 h 547687"/>
                  <a:gd name="connsiteX31" fmla="*/ 143065 w 3564922"/>
                  <a:gd name="connsiteY31" fmla="*/ 103060 h 547687"/>
                  <a:gd name="connsiteX32" fmla="*/ 147256 w 3564922"/>
                  <a:gd name="connsiteY32" fmla="*/ 103060 h 547687"/>
                  <a:gd name="connsiteX33" fmla="*/ 147256 w 3564922"/>
                  <a:gd name="connsiteY33" fmla="*/ 109156 h 547687"/>
                  <a:gd name="connsiteX34" fmla="*/ 151447 w 3564922"/>
                  <a:gd name="connsiteY34" fmla="*/ 109156 h 547687"/>
                  <a:gd name="connsiteX35" fmla="*/ 151447 w 3564922"/>
                  <a:gd name="connsiteY35" fmla="*/ 115252 h 547687"/>
                  <a:gd name="connsiteX36" fmla="*/ 164116 w 3564922"/>
                  <a:gd name="connsiteY36" fmla="*/ 115252 h 547687"/>
                  <a:gd name="connsiteX37" fmla="*/ 164116 w 3564922"/>
                  <a:gd name="connsiteY37" fmla="*/ 121253 h 547687"/>
                  <a:gd name="connsiteX38" fmla="*/ 193548 w 3564922"/>
                  <a:gd name="connsiteY38" fmla="*/ 121253 h 547687"/>
                  <a:gd name="connsiteX39" fmla="*/ 193548 w 3564922"/>
                  <a:gd name="connsiteY39" fmla="*/ 127349 h 547687"/>
                  <a:gd name="connsiteX40" fmla="*/ 201930 w 3564922"/>
                  <a:gd name="connsiteY40" fmla="*/ 127349 h 547687"/>
                  <a:gd name="connsiteX41" fmla="*/ 201930 w 3564922"/>
                  <a:gd name="connsiteY41" fmla="*/ 133445 h 547687"/>
                  <a:gd name="connsiteX42" fmla="*/ 204025 w 3564922"/>
                  <a:gd name="connsiteY42" fmla="*/ 133445 h 547687"/>
                  <a:gd name="connsiteX43" fmla="*/ 204025 w 3564922"/>
                  <a:gd name="connsiteY43" fmla="*/ 139446 h 547687"/>
                  <a:gd name="connsiteX44" fmla="*/ 218789 w 3564922"/>
                  <a:gd name="connsiteY44" fmla="*/ 139446 h 547687"/>
                  <a:gd name="connsiteX45" fmla="*/ 218789 w 3564922"/>
                  <a:gd name="connsiteY45" fmla="*/ 151638 h 547687"/>
                  <a:gd name="connsiteX46" fmla="*/ 220885 w 3564922"/>
                  <a:gd name="connsiteY46" fmla="*/ 151638 h 547687"/>
                  <a:gd name="connsiteX47" fmla="*/ 220885 w 3564922"/>
                  <a:gd name="connsiteY47" fmla="*/ 157639 h 547687"/>
                  <a:gd name="connsiteX48" fmla="*/ 227171 w 3564922"/>
                  <a:gd name="connsiteY48" fmla="*/ 157639 h 547687"/>
                  <a:gd name="connsiteX49" fmla="*/ 227171 w 3564922"/>
                  <a:gd name="connsiteY49" fmla="*/ 163735 h 547687"/>
                  <a:gd name="connsiteX50" fmla="*/ 231362 w 3564922"/>
                  <a:gd name="connsiteY50" fmla="*/ 163735 h 547687"/>
                  <a:gd name="connsiteX51" fmla="*/ 231362 w 3564922"/>
                  <a:gd name="connsiteY51" fmla="*/ 169831 h 547687"/>
                  <a:gd name="connsiteX52" fmla="*/ 248221 w 3564922"/>
                  <a:gd name="connsiteY52" fmla="*/ 169831 h 547687"/>
                  <a:gd name="connsiteX53" fmla="*/ 248221 w 3564922"/>
                  <a:gd name="connsiteY53" fmla="*/ 181927 h 547687"/>
                  <a:gd name="connsiteX54" fmla="*/ 252412 w 3564922"/>
                  <a:gd name="connsiteY54" fmla="*/ 181927 h 547687"/>
                  <a:gd name="connsiteX55" fmla="*/ 252412 w 3564922"/>
                  <a:gd name="connsiteY55" fmla="*/ 188023 h 547687"/>
                  <a:gd name="connsiteX56" fmla="*/ 275558 w 3564922"/>
                  <a:gd name="connsiteY56" fmla="*/ 188023 h 547687"/>
                  <a:gd name="connsiteX57" fmla="*/ 275558 w 3564922"/>
                  <a:gd name="connsiteY57" fmla="*/ 194119 h 547687"/>
                  <a:gd name="connsiteX58" fmla="*/ 279749 w 3564922"/>
                  <a:gd name="connsiteY58" fmla="*/ 194119 h 547687"/>
                  <a:gd name="connsiteX59" fmla="*/ 279749 w 3564922"/>
                  <a:gd name="connsiteY59" fmla="*/ 200120 h 547687"/>
                  <a:gd name="connsiteX60" fmla="*/ 286036 w 3564922"/>
                  <a:gd name="connsiteY60" fmla="*/ 200120 h 547687"/>
                  <a:gd name="connsiteX61" fmla="*/ 286036 w 3564922"/>
                  <a:gd name="connsiteY61" fmla="*/ 212312 h 547687"/>
                  <a:gd name="connsiteX62" fmla="*/ 304990 w 3564922"/>
                  <a:gd name="connsiteY62" fmla="*/ 212312 h 547687"/>
                  <a:gd name="connsiteX63" fmla="*/ 304990 w 3564922"/>
                  <a:gd name="connsiteY63" fmla="*/ 218313 h 547687"/>
                  <a:gd name="connsiteX64" fmla="*/ 313372 w 3564922"/>
                  <a:gd name="connsiteY64" fmla="*/ 218313 h 547687"/>
                  <a:gd name="connsiteX65" fmla="*/ 313372 w 3564922"/>
                  <a:gd name="connsiteY65" fmla="*/ 224409 h 547687"/>
                  <a:gd name="connsiteX66" fmla="*/ 326041 w 3564922"/>
                  <a:gd name="connsiteY66" fmla="*/ 224409 h 547687"/>
                  <a:gd name="connsiteX67" fmla="*/ 326041 w 3564922"/>
                  <a:gd name="connsiteY67" fmla="*/ 230505 h 547687"/>
                  <a:gd name="connsiteX68" fmla="*/ 342900 w 3564922"/>
                  <a:gd name="connsiteY68" fmla="*/ 230505 h 547687"/>
                  <a:gd name="connsiteX69" fmla="*/ 342900 w 3564922"/>
                  <a:gd name="connsiteY69" fmla="*/ 236506 h 547687"/>
                  <a:gd name="connsiteX70" fmla="*/ 370237 w 3564922"/>
                  <a:gd name="connsiteY70" fmla="*/ 236506 h 547687"/>
                  <a:gd name="connsiteX71" fmla="*/ 370237 w 3564922"/>
                  <a:gd name="connsiteY71" fmla="*/ 242602 h 547687"/>
                  <a:gd name="connsiteX72" fmla="*/ 372332 w 3564922"/>
                  <a:gd name="connsiteY72" fmla="*/ 242602 h 547687"/>
                  <a:gd name="connsiteX73" fmla="*/ 372332 w 3564922"/>
                  <a:gd name="connsiteY73" fmla="*/ 248698 h 547687"/>
                  <a:gd name="connsiteX74" fmla="*/ 382809 w 3564922"/>
                  <a:gd name="connsiteY74" fmla="*/ 248698 h 547687"/>
                  <a:gd name="connsiteX75" fmla="*/ 382809 w 3564922"/>
                  <a:gd name="connsiteY75" fmla="*/ 254698 h 547687"/>
                  <a:gd name="connsiteX76" fmla="*/ 389096 w 3564922"/>
                  <a:gd name="connsiteY76" fmla="*/ 254698 h 547687"/>
                  <a:gd name="connsiteX77" fmla="*/ 389096 w 3564922"/>
                  <a:gd name="connsiteY77" fmla="*/ 266890 h 547687"/>
                  <a:gd name="connsiteX78" fmla="*/ 397573 w 3564922"/>
                  <a:gd name="connsiteY78" fmla="*/ 266890 h 547687"/>
                  <a:gd name="connsiteX79" fmla="*/ 397573 w 3564922"/>
                  <a:gd name="connsiteY79" fmla="*/ 272891 h 547687"/>
                  <a:gd name="connsiteX80" fmla="*/ 403860 w 3564922"/>
                  <a:gd name="connsiteY80" fmla="*/ 272891 h 547687"/>
                  <a:gd name="connsiteX81" fmla="*/ 403860 w 3564922"/>
                  <a:gd name="connsiteY81" fmla="*/ 285083 h 547687"/>
                  <a:gd name="connsiteX82" fmla="*/ 405955 w 3564922"/>
                  <a:gd name="connsiteY82" fmla="*/ 285083 h 547687"/>
                  <a:gd name="connsiteX83" fmla="*/ 405955 w 3564922"/>
                  <a:gd name="connsiteY83" fmla="*/ 291179 h 547687"/>
                  <a:gd name="connsiteX84" fmla="*/ 418528 w 3564922"/>
                  <a:gd name="connsiteY84" fmla="*/ 291179 h 547687"/>
                  <a:gd name="connsiteX85" fmla="*/ 418528 w 3564922"/>
                  <a:gd name="connsiteY85" fmla="*/ 297180 h 547687"/>
                  <a:gd name="connsiteX86" fmla="*/ 441674 w 3564922"/>
                  <a:gd name="connsiteY86" fmla="*/ 297180 h 547687"/>
                  <a:gd name="connsiteX87" fmla="*/ 441674 w 3564922"/>
                  <a:gd name="connsiteY87" fmla="*/ 303276 h 547687"/>
                  <a:gd name="connsiteX88" fmla="*/ 448056 w 3564922"/>
                  <a:gd name="connsiteY88" fmla="*/ 303276 h 547687"/>
                  <a:gd name="connsiteX89" fmla="*/ 448056 w 3564922"/>
                  <a:gd name="connsiteY89" fmla="*/ 309372 h 547687"/>
                  <a:gd name="connsiteX90" fmla="*/ 456438 w 3564922"/>
                  <a:gd name="connsiteY90" fmla="*/ 309372 h 547687"/>
                  <a:gd name="connsiteX91" fmla="*/ 456438 w 3564922"/>
                  <a:gd name="connsiteY91" fmla="*/ 315373 h 547687"/>
                  <a:gd name="connsiteX92" fmla="*/ 464820 w 3564922"/>
                  <a:gd name="connsiteY92" fmla="*/ 315373 h 547687"/>
                  <a:gd name="connsiteX93" fmla="*/ 464820 w 3564922"/>
                  <a:gd name="connsiteY93" fmla="*/ 321469 h 547687"/>
                  <a:gd name="connsiteX94" fmla="*/ 469011 w 3564922"/>
                  <a:gd name="connsiteY94" fmla="*/ 321469 h 547687"/>
                  <a:gd name="connsiteX95" fmla="*/ 469011 w 3564922"/>
                  <a:gd name="connsiteY95" fmla="*/ 327565 h 547687"/>
                  <a:gd name="connsiteX96" fmla="*/ 542639 w 3564922"/>
                  <a:gd name="connsiteY96" fmla="*/ 327565 h 547687"/>
                  <a:gd name="connsiteX97" fmla="*/ 542639 w 3564922"/>
                  <a:gd name="connsiteY97" fmla="*/ 333565 h 547687"/>
                  <a:gd name="connsiteX98" fmla="*/ 563689 w 3564922"/>
                  <a:gd name="connsiteY98" fmla="*/ 333565 h 547687"/>
                  <a:gd name="connsiteX99" fmla="*/ 563689 w 3564922"/>
                  <a:gd name="connsiteY99" fmla="*/ 339661 h 547687"/>
                  <a:gd name="connsiteX100" fmla="*/ 569976 w 3564922"/>
                  <a:gd name="connsiteY100" fmla="*/ 339661 h 547687"/>
                  <a:gd name="connsiteX101" fmla="*/ 569976 w 3564922"/>
                  <a:gd name="connsiteY101" fmla="*/ 345757 h 547687"/>
                  <a:gd name="connsiteX102" fmla="*/ 612076 w 3564922"/>
                  <a:gd name="connsiteY102" fmla="*/ 345757 h 547687"/>
                  <a:gd name="connsiteX103" fmla="*/ 612076 w 3564922"/>
                  <a:gd name="connsiteY103" fmla="*/ 351758 h 547687"/>
                  <a:gd name="connsiteX104" fmla="*/ 626745 w 3564922"/>
                  <a:gd name="connsiteY104" fmla="*/ 351758 h 547687"/>
                  <a:gd name="connsiteX105" fmla="*/ 626745 w 3564922"/>
                  <a:gd name="connsiteY105" fmla="*/ 357854 h 547687"/>
                  <a:gd name="connsiteX106" fmla="*/ 656272 w 3564922"/>
                  <a:gd name="connsiteY106" fmla="*/ 357854 h 547687"/>
                  <a:gd name="connsiteX107" fmla="*/ 656272 w 3564922"/>
                  <a:gd name="connsiteY107" fmla="*/ 363950 h 547687"/>
                  <a:gd name="connsiteX108" fmla="*/ 658368 w 3564922"/>
                  <a:gd name="connsiteY108" fmla="*/ 363950 h 547687"/>
                  <a:gd name="connsiteX109" fmla="*/ 658368 w 3564922"/>
                  <a:gd name="connsiteY109" fmla="*/ 369951 h 547687"/>
                  <a:gd name="connsiteX110" fmla="*/ 681418 w 3564922"/>
                  <a:gd name="connsiteY110" fmla="*/ 369951 h 547687"/>
                  <a:gd name="connsiteX111" fmla="*/ 681418 w 3564922"/>
                  <a:gd name="connsiteY111" fmla="*/ 376047 h 547687"/>
                  <a:gd name="connsiteX112" fmla="*/ 694087 w 3564922"/>
                  <a:gd name="connsiteY112" fmla="*/ 376047 h 547687"/>
                  <a:gd name="connsiteX113" fmla="*/ 694087 w 3564922"/>
                  <a:gd name="connsiteY113" fmla="*/ 382143 h 547687"/>
                  <a:gd name="connsiteX114" fmla="*/ 729805 w 3564922"/>
                  <a:gd name="connsiteY114" fmla="*/ 382143 h 547687"/>
                  <a:gd name="connsiteX115" fmla="*/ 729805 w 3564922"/>
                  <a:gd name="connsiteY115" fmla="*/ 388239 h 547687"/>
                  <a:gd name="connsiteX116" fmla="*/ 845534 w 3564922"/>
                  <a:gd name="connsiteY116" fmla="*/ 388239 h 547687"/>
                  <a:gd name="connsiteX117" fmla="*/ 845534 w 3564922"/>
                  <a:gd name="connsiteY117" fmla="*/ 394240 h 547687"/>
                  <a:gd name="connsiteX118" fmla="*/ 883348 w 3564922"/>
                  <a:gd name="connsiteY118" fmla="*/ 394240 h 547687"/>
                  <a:gd name="connsiteX119" fmla="*/ 883348 w 3564922"/>
                  <a:gd name="connsiteY119" fmla="*/ 400431 h 547687"/>
                  <a:gd name="connsiteX120" fmla="*/ 935926 w 3564922"/>
                  <a:gd name="connsiteY120" fmla="*/ 400431 h 547687"/>
                  <a:gd name="connsiteX121" fmla="*/ 935926 w 3564922"/>
                  <a:gd name="connsiteY121" fmla="*/ 406527 h 547687"/>
                  <a:gd name="connsiteX122" fmla="*/ 954881 w 3564922"/>
                  <a:gd name="connsiteY122" fmla="*/ 406527 h 547687"/>
                  <a:gd name="connsiteX123" fmla="*/ 954881 w 3564922"/>
                  <a:gd name="connsiteY123" fmla="*/ 412623 h 547687"/>
                  <a:gd name="connsiteX124" fmla="*/ 965359 w 3564922"/>
                  <a:gd name="connsiteY124" fmla="*/ 412623 h 547687"/>
                  <a:gd name="connsiteX125" fmla="*/ 965359 w 3564922"/>
                  <a:gd name="connsiteY125" fmla="*/ 418814 h 547687"/>
                  <a:gd name="connsiteX126" fmla="*/ 999077 w 3564922"/>
                  <a:gd name="connsiteY126" fmla="*/ 418814 h 547687"/>
                  <a:gd name="connsiteX127" fmla="*/ 999077 w 3564922"/>
                  <a:gd name="connsiteY127" fmla="*/ 424910 h 547687"/>
                  <a:gd name="connsiteX128" fmla="*/ 1005364 w 3564922"/>
                  <a:gd name="connsiteY128" fmla="*/ 424910 h 547687"/>
                  <a:gd name="connsiteX129" fmla="*/ 1005364 w 3564922"/>
                  <a:gd name="connsiteY129" fmla="*/ 431006 h 547687"/>
                  <a:gd name="connsiteX130" fmla="*/ 1020032 w 3564922"/>
                  <a:gd name="connsiteY130" fmla="*/ 431006 h 547687"/>
                  <a:gd name="connsiteX131" fmla="*/ 1020032 w 3564922"/>
                  <a:gd name="connsiteY131" fmla="*/ 437102 h 547687"/>
                  <a:gd name="connsiteX132" fmla="*/ 1032700 w 3564922"/>
                  <a:gd name="connsiteY132" fmla="*/ 437102 h 547687"/>
                  <a:gd name="connsiteX133" fmla="*/ 1032700 w 3564922"/>
                  <a:gd name="connsiteY133" fmla="*/ 443293 h 547687"/>
                  <a:gd name="connsiteX134" fmla="*/ 1057942 w 3564922"/>
                  <a:gd name="connsiteY134" fmla="*/ 443293 h 547687"/>
                  <a:gd name="connsiteX135" fmla="*/ 1057942 w 3564922"/>
                  <a:gd name="connsiteY135" fmla="*/ 449389 h 547687"/>
                  <a:gd name="connsiteX136" fmla="*/ 1287208 w 3564922"/>
                  <a:gd name="connsiteY136" fmla="*/ 449389 h 547687"/>
                  <a:gd name="connsiteX137" fmla="*/ 1287208 w 3564922"/>
                  <a:gd name="connsiteY137" fmla="*/ 455581 h 547687"/>
                  <a:gd name="connsiteX138" fmla="*/ 1400746 w 3564922"/>
                  <a:gd name="connsiteY138" fmla="*/ 455581 h 547687"/>
                  <a:gd name="connsiteX139" fmla="*/ 1400746 w 3564922"/>
                  <a:gd name="connsiteY139" fmla="*/ 461772 h 547687"/>
                  <a:gd name="connsiteX140" fmla="*/ 1669923 w 3564922"/>
                  <a:gd name="connsiteY140" fmla="*/ 461772 h 547687"/>
                  <a:gd name="connsiteX141" fmla="*/ 1669923 w 3564922"/>
                  <a:gd name="connsiteY141" fmla="*/ 468058 h 547687"/>
                  <a:gd name="connsiteX142" fmla="*/ 1743551 w 3564922"/>
                  <a:gd name="connsiteY142" fmla="*/ 468058 h 547687"/>
                  <a:gd name="connsiteX143" fmla="*/ 1743551 w 3564922"/>
                  <a:gd name="connsiteY143" fmla="*/ 474345 h 547687"/>
                  <a:gd name="connsiteX144" fmla="*/ 1823466 w 3564922"/>
                  <a:gd name="connsiteY144" fmla="*/ 474345 h 547687"/>
                  <a:gd name="connsiteX145" fmla="*/ 1823466 w 3564922"/>
                  <a:gd name="connsiteY145" fmla="*/ 480631 h 547687"/>
                  <a:gd name="connsiteX146" fmla="*/ 1985391 w 3564922"/>
                  <a:gd name="connsiteY146" fmla="*/ 480631 h 547687"/>
                  <a:gd name="connsiteX147" fmla="*/ 1985391 w 3564922"/>
                  <a:gd name="connsiteY147" fmla="*/ 487108 h 547687"/>
                  <a:gd name="connsiteX148" fmla="*/ 2002250 w 3564922"/>
                  <a:gd name="connsiteY148" fmla="*/ 487108 h 547687"/>
                  <a:gd name="connsiteX149" fmla="*/ 2002250 w 3564922"/>
                  <a:gd name="connsiteY149" fmla="*/ 493490 h 547687"/>
                  <a:gd name="connsiteX150" fmla="*/ 2120074 w 3564922"/>
                  <a:gd name="connsiteY150" fmla="*/ 493490 h 547687"/>
                  <a:gd name="connsiteX151" fmla="*/ 2120074 w 3564922"/>
                  <a:gd name="connsiteY151" fmla="*/ 499967 h 547687"/>
                  <a:gd name="connsiteX152" fmla="*/ 2212562 w 3564922"/>
                  <a:gd name="connsiteY152" fmla="*/ 499967 h 547687"/>
                  <a:gd name="connsiteX153" fmla="*/ 2212562 w 3564922"/>
                  <a:gd name="connsiteY153" fmla="*/ 506349 h 547687"/>
                  <a:gd name="connsiteX154" fmla="*/ 2231517 w 3564922"/>
                  <a:gd name="connsiteY154" fmla="*/ 506349 h 547687"/>
                  <a:gd name="connsiteX155" fmla="*/ 2231517 w 3564922"/>
                  <a:gd name="connsiteY155" fmla="*/ 512826 h 547687"/>
                  <a:gd name="connsiteX156" fmla="*/ 3085338 w 3564922"/>
                  <a:gd name="connsiteY156" fmla="*/ 512826 h 547687"/>
                  <a:gd name="connsiteX157" fmla="*/ 3085338 w 3564922"/>
                  <a:gd name="connsiteY157" fmla="*/ 547687 h 547687"/>
                  <a:gd name="connsiteX158" fmla="*/ 3564922 w 3564922"/>
                  <a:gd name="connsiteY158" fmla="*/ 547687 h 547687"/>
                  <a:gd name="connsiteX0" fmla="*/ 0 w 3564922"/>
                  <a:gd name="connsiteY0" fmla="*/ 0 h 547687"/>
                  <a:gd name="connsiteX1" fmla="*/ 2095 w 3564922"/>
                  <a:gd name="connsiteY1" fmla="*/ 6001 h 547687"/>
                  <a:gd name="connsiteX2" fmla="*/ 4286 w 3564922"/>
                  <a:gd name="connsiteY2" fmla="*/ 12097 h 547687"/>
                  <a:gd name="connsiteX3" fmla="*/ 14763 w 3564922"/>
                  <a:gd name="connsiteY3" fmla="*/ 12097 h 547687"/>
                  <a:gd name="connsiteX4" fmla="*/ 14763 w 3564922"/>
                  <a:gd name="connsiteY4" fmla="*/ 18193 h 547687"/>
                  <a:gd name="connsiteX5" fmla="*/ 21050 w 3564922"/>
                  <a:gd name="connsiteY5" fmla="*/ 18193 h 547687"/>
                  <a:gd name="connsiteX6" fmla="*/ 21050 w 3564922"/>
                  <a:gd name="connsiteY6" fmla="*/ 24193 h 547687"/>
                  <a:gd name="connsiteX7" fmla="*/ 35814 w 3564922"/>
                  <a:gd name="connsiteY7" fmla="*/ 24193 h 547687"/>
                  <a:gd name="connsiteX8" fmla="*/ 35814 w 3564922"/>
                  <a:gd name="connsiteY8" fmla="*/ 30289 h 547687"/>
                  <a:gd name="connsiteX9" fmla="*/ 44196 w 3564922"/>
                  <a:gd name="connsiteY9" fmla="*/ 30289 h 547687"/>
                  <a:gd name="connsiteX10" fmla="*/ 44196 w 3564922"/>
                  <a:gd name="connsiteY10" fmla="*/ 36385 h 547687"/>
                  <a:gd name="connsiteX11" fmla="*/ 54769 w 3564922"/>
                  <a:gd name="connsiteY11" fmla="*/ 36385 h 547687"/>
                  <a:gd name="connsiteX12" fmla="*/ 54769 w 3564922"/>
                  <a:gd name="connsiteY12" fmla="*/ 42386 h 547687"/>
                  <a:gd name="connsiteX13" fmla="*/ 67342 w 3564922"/>
                  <a:gd name="connsiteY13" fmla="*/ 42386 h 547687"/>
                  <a:gd name="connsiteX14" fmla="*/ 67342 w 3564922"/>
                  <a:gd name="connsiteY14" fmla="*/ 48482 h 547687"/>
                  <a:gd name="connsiteX15" fmla="*/ 73628 w 3564922"/>
                  <a:gd name="connsiteY15" fmla="*/ 48482 h 547687"/>
                  <a:gd name="connsiteX16" fmla="*/ 73628 w 3564922"/>
                  <a:gd name="connsiteY16" fmla="*/ 60579 h 547687"/>
                  <a:gd name="connsiteX17" fmla="*/ 77819 w 3564922"/>
                  <a:gd name="connsiteY17" fmla="*/ 60579 h 547687"/>
                  <a:gd name="connsiteX18" fmla="*/ 77819 w 3564922"/>
                  <a:gd name="connsiteY18" fmla="*/ 66675 h 547687"/>
                  <a:gd name="connsiteX19" fmla="*/ 90487 w 3564922"/>
                  <a:gd name="connsiteY19" fmla="*/ 66675 h 547687"/>
                  <a:gd name="connsiteX20" fmla="*/ 90487 w 3564922"/>
                  <a:gd name="connsiteY20" fmla="*/ 72771 h 547687"/>
                  <a:gd name="connsiteX21" fmla="*/ 105156 w 3564922"/>
                  <a:gd name="connsiteY21" fmla="*/ 72771 h 547687"/>
                  <a:gd name="connsiteX22" fmla="*/ 105156 w 3564922"/>
                  <a:gd name="connsiteY22" fmla="*/ 78772 h 547687"/>
                  <a:gd name="connsiteX23" fmla="*/ 109442 w 3564922"/>
                  <a:gd name="connsiteY23" fmla="*/ 78772 h 547687"/>
                  <a:gd name="connsiteX24" fmla="*/ 109442 w 3564922"/>
                  <a:gd name="connsiteY24" fmla="*/ 84868 h 547687"/>
                  <a:gd name="connsiteX25" fmla="*/ 119919 w 3564922"/>
                  <a:gd name="connsiteY25" fmla="*/ 84868 h 547687"/>
                  <a:gd name="connsiteX26" fmla="*/ 119919 w 3564922"/>
                  <a:gd name="connsiteY26" fmla="*/ 90964 h 547687"/>
                  <a:gd name="connsiteX27" fmla="*/ 128302 w 3564922"/>
                  <a:gd name="connsiteY27" fmla="*/ 90964 h 547687"/>
                  <a:gd name="connsiteX28" fmla="*/ 128302 w 3564922"/>
                  <a:gd name="connsiteY28" fmla="*/ 97060 h 547687"/>
                  <a:gd name="connsiteX29" fmla="*/ 143065 w 3564922"/>
                  <a:gd name="connsiteY29" fmla="*/ 97060 h 547687"/>
                  <a:gd name="connsiteX30" fmla="*/ 143065 w 3564922"/>
                  <a:gd name="connsiteY30" fmla="*/ 103060 h 547687"/>
                  <a:gd name="connsiteX31" fmla="*/ 147256 w 3564922"/>
                  <a:gd name="connsiteY31" fmla="*/ 103060 h 547687"/>
                  <a:gd name="connsiteX32" fmla="*/ 147256 w 3564922"/>
                  <a:gd name="connsiteY32" fmla="*/ 109156 h 547687"/>
                  <a:gd name="connsiteX33" fmla="*/ 151447 w 3564922"/>
                  <a:gd name="connsiteY33" fmla="*/ 109156 h 547687"/>
                  <a:gd name="connsiteX34" fmla="*/ 151447 w 3564922"/>
                  <a:gd name="connsiteY34" fmla="*/ 115252 h 547687"/>
                  <a:gd name="connsiteX35" fmla="*/ 164116 w 3564922"/>
                  <a:gd name="connsiteY35" fmla="*/ 115252 h 547687"/>
                  <a:gd name="connsiteX36" fmla="*/ 164116 w 3564922"/>
                  <a:gd name="connsiteY36" fmla="*/ 121253 h 547687"/>
                  <a:gd name="connsiteX37" fmla="*/ 193548 w 3564922"/>
                  <a:gd name="connsiteY37" fmla="*/ 121253 h 547687"/>
                  <a:gd name="connsiteX38" fmla="*/ 193548 w 3564922"/>
                  <a:gd name="connsiteY38" fmla="*/ 127349 h 547687"/>
                  <a:gd name="connsiteX39" fmla="*/ 201930 w 3564922"/>
                  <a:gd name="connsiteY39" fmla="*/ 127349 h 547687"/>
                  <a:gd name="connsiteX40" fmla="*/ 201930 w 3564922"/>
                  <a:gd name="connsiteY40" fmla="*/ 133445 h 547687"/>
                  <a:gd name="connsiteX41" fmla="*/ 204025 w 3564922"/>
                  <a:gd name="connsiteY41" fmla="*/ 133445 h 547687"/>
                  <a:gd name="connsiteX42" fmla="*/ 204025 w 3564922"/>
                  <a:gd name="connsiteY42" fmla="*/ 139446 h 547687"/>
                  <a:gd name="connsiteX43" fmla="*/ 218789 w 3564922"/>
                  <a:gd name="connsiteY43" fmla="*/ 139446 h 547687"/>
                  <a:gd name="connsiteX44" fmla="*/ 218789 w 3564922"/>
                  <a:gd name="connsiteY44" fmla="*/ 151638 h 547687"/>
                  <a:gd name="connsiteX45" fmla="*/ 220885 w 3564922"/>
                  <a:gd name="connsiteY45" fmla="*/ 151638 h 547687"/>
                  <a:gd name="connsiteX46" fmla="*/ 220885 w 3564922"/>
                  <a:gd name="connsiteY46" fmla="*/ 157639 h 547687"/>
                  <a:gd name="connsiteX47" fmla="*/ 227171 w 3564922"/>
                  <a:gd name="connsiteY47" fmla="*/ 157639 h 547687"/>
                  <a:gd name="connsiteX48" fmla="*/ 227171 w 3564922"/>
                  <a:gd name="connsiteY48" fmla="*/ 163735 h 547687"/>
                  <a:gd name="connsiteX49" fmla="*/ 231362 w 3564922"/>
                  <a:gd name="connsiteY49" fmla="*/ 163735 h 547687"/>
                  <a:gd name="connsiteX50" fmla="*/ 231362 w 3564922"/>
                  <a:gd name="connsiteY50" fmla="*/ 169831 h 547687"/>
                  <a:gd name="connsiteX51" fmla="*/ 248221 w 3564922"/>
                  <a:gd name="connsiteY51" fmla="*/ 169831 h 547687"/>
                  <a:gd name="connsiteX52" fmla="*/ 248221 w 3564922"/>
                  <a:gd name="connsiteY52" fmla="*/ 181927 h 547687"/>
                  <a:gd name="connsiteX53" fmla="*/ 252412 w 3564922"/>
                  <a:gd name="connsiteY53" fmla="*/ 181927 h 547687"/>
                  <a:gd name="connsiteX54" fmla="*/ 252412 w 3564922"/>
                  <a:gd name="connsiteY54" fmla="*/ 188023 h 547687"/>
                  <a:gd name="connsiteX55" fmla="*/ 275558 w 3564922"/>
                  <a:gd name="connsiteY55" fmla="*/ 188023 h 547687"/>
                  <a:gd name="connsiteX56" fmla="*/ 275558 w 3564922"/>
                  <a:gd name="connsiteY56" fmla="*/ 194119 h 547687"/>
                  <a:gd name="connsiteX57" fmla="*/ 279749 w 3564922"/>
                  <a:gd name="connsiteY57" fmla="*/ 194119 h 547687"/>
                  <a:gd name="connsiteX58" fmla="*/ 279749 w 3564922"/>
                  <a:gd name="connsiteY58" fmla="*/ 200120 h 547687"/>
                  <a:gd name="connsiteX59" fmla="*/ 286036 w 3564922"/>
                  <a:gd name="connsiteY59" fmla="*/ 200120 h 547687"/>
                  <a:gd name="connsiteX60" fmla="*/ 286036 w 3564922"/>
                  <a:gd name="connsiteY60" fmla="*/ 212312 h 547687"/>
                  <a:gd name="connsiteX61" fmla="*/ 304990 w 3564922"/>
                  <a:gd name="connsiteY61" fmla="*/ 212312 h 547687"/>
                  <a:gd name="connsiteX62" fmla="*/ 304990 w 3564922"/>
                  <a:gd name="connsiteY62" fmla="*/ 218313 h 547687"/>
                  <a:gd name="connsiteX63" fmla="*/ 313372 w 3564922"/>
                  <a:gd name="connsiteY63" fmla="*/ 218313 h 547687"/>
                  <a:gd name="connsiteX64" fmla="*/ 313372 w 3564922"/>
                  <a:gd name="connsiteY64" fmla="*/ 224409 h 547687"/>
                  <a:gd name="connsiteX65" fmla="*/ 326041 w 3564922"/>
                  <a:gd name="connsiteY65" fmla="*/ 224409 h 547687"/>
                  <a:gd name="connsiteX66" fmla="*/ 326041 w 3564922"/>
                  <a:gd name="connsiteY66" fmla="*/ 230505 h 547687"/>
                  <a:gd name="connsiteX67" fmla="*/ 342900 w 3564922"/>
                  <a:gd name="connsiteY67" fmla="*/ 230505 h 547687"/>
                  <a:gd name="connsiteX68" fmla="*/ 342900 w 3564922"/>
                  <a:gd name="connsiteY68" fmla="*/ 236506 h 547687"/>
                  <a:gd name="connsiteX69" fmla="*/ 370237 w 3564922"/>
                  <a:gd name="connsiteY69" fmla="*/ 236506 h 547687"/>
                  <a:gd name="connsiteX70" fmla="*/ 370237 w 3564922"/>
                  <a:gd name="connsiteY70" fmla="*/ 242602 h 547687"/>
                  <a:gd name="connsiteX71" fmla="*/ 372332 w 3564922"/>
                  <a:gd name="connsiteY71" fmla="*/ 242602 h 547687"/>
                  <a:gd name="connsiteX72" fmla="*/ 372332 w 3564922"/>
                  <a:gd name="connsiteY72" fmla="*/ 248698 h 547687"/>
                  <a:gd name="connsiteX73" fmla="*/ 382809 w 3564922"/>
                  <a:gd name="connsiteY73" fmla="*/ 248698 h 547687"/>
                  <a:gd name="connsiteX74" fmla="*/ 382809 w 3564922"/>
                  <a:gd name="connsiteY74" fmla="*/ 254698 h 547687"/>
                  <a:gd name="connsiteX75" fmla="*/ 389096 w 3564922"/>
                  <a:gd name="connsiteY75" fmla="*/ 254698 h 547687"/>
                  <a:gd name="connsiteX76" fmla="*/ 389096 w 3564922"/>
                  <a:gd name="connsiteY76" fmla="*/ 266890 h 547687"/>
                  <a:gd name="connsiteX77" fmla="*/ 397573 w 3564922"/>
                  <a:gd name="connsiteY77" fmla="*/ 266890 h 547687"/>
                  <a:gd name="connsiteX78" fmla="*/ 397573 w 3564922"/>
                  <a:gd name="connsiteY78" fmla="*/ 272891 h 547687"/>
                  <a:gd name="connsiteX79" fmla="*/ 403860 w 3564922"/>
                  <a:gd name="connsiteY79" fmla="*/ 272891 h 547687"/>
                  <a:gd name="connsiteX80" fmla="*/ 403860 w 3564922"/>
                  <a:gd name="connsiteY80" fmla="*/ 285083 h 547687"/>
                  <a:gd name="connsiteX81" fmla="*/ 405955 w 3564922"/>
                  <a:gd name="connsiteY81" fmla="*/ 285083 h 547687"/>
                  <a:gd name="connsiteX82" fmla="*/ 405955 w 3564922"/>
                  <a:gd name="connsiteY82" fmla="*/ 291179 h 547687"/>
                  <a:gd name="connsiteX83" fmla="*/ 418528 w 3564922"/>
                  <a:gd name="connsiteY83" fmla="*/ 291179 h 547687"/>
                  <a:gd name="connsiteX84" fmla="*/ 418528 w 3564922"/>
                  <a:gd name="connsiteY84" fmla="*/ 297180 h 547687"/>
                  <a:gd name="connsiteX85" fmla="*/ 441674 w 3564922"/>
                  <a:gd name="connsiteY85" fmla="*/ 297180 h 547687"/>
                  <a:gd name="connsiteX86" fmla="*/ 441674 w 3564922"/>
                  <a:gd name="connsiteY86" fmla="*/ 303276 h 547687"/>
                  <a:gd name="connsiteX87" fmla="*/ 448056 w 3564922"/>
                  <a:gd name="connsiteY87" fmla="*/ 303276 h 547687"/>
                  <a:gd name="connsiteX88" fmla="*/ 448056 w 3564922"/>
                  <a:gd name="connsiteY88" fmla="*/ 309372 h 547687"/>
                  <a:gd name="connsiteX89" fmla="*/ 456438 w 3564922"/>
                  <a:gd name="connsiteY89" fmla="*/ 309372 h 547687"/>
                  <a:gd name="connsiteX90" fmla="*/ 456438 w 3564922"/>
                  <a:gd name="connsiteY90" fmla="*/ 315373 h 547687"/>
                  <a:gd name="connsiteX91" fmla="*/ 464820 w 3564922"/>
                  <a:gd name="connsiteY91" fmla="*/ 315373 h 547687"/>
                  <a:gd name="connsiteX92" fmla="*/ 464820 w 3564922"/>
                  <a:gd name="connsiteY92" fmla="*/ 321469 h 547687"/>
                  <a:gd name="connsiteX93" fmla="*/ 469011 w 3564922"/>
                  <a:gd name="connsiteY93" fmla="*/ 321469 h 547687"/>
                  <a:gd name="connsiteX94" fmla="*/ 469011 w 3564922"/>
                  <a:gd name="connsiteY94" fmla="*/ 327565 h 547687"/>
                  <a:gd name="connsiteX95" fmla="*/ 542639 w 3564922"/>
                  <a:gd name="connsiteY95" fmla="*/ 327565 h 547687"/>
                  <a:gd name="connsiteX96" fmla="*/ 542639 w 3564922"/>
                  <a:gd name="connsiteY96" fmla="*/ 333565 h 547687"/>
                  <a:gd name="connsiteX97" fmla="*/ 563689 w 3564922"/>
                  <a:gd name="connsiteY97" fmla="*/ 333565 h 547687"/>
                  <a:gd name="connsiteX98" fmla="*/ 563689 w 3564922"/>
                  <a:gd name="connsiteY98" fmla="*/ 339661 h 547687"/>
                  <a:gd name="connsiteX99" fmla="*/ 569976 w 3564922"/>
                  <a:gd name="connsiteY99" fmla="*/ 339661 h 547687"/>
                  <a:gd name="connsiteX100" fmla="*/ 569976 w 3564922"/>
                  <a:gd name="connsiteY100" fmla="*/ 345757 h 547687"/>
                  <a:gd name="connsiteX101" fmla="*/ 612076 w 3564922"/>
                  <a:gd name="connsiteY101" fmla="*/ 345757 h 547687"/>
                  <a:gd name="connsiteX102" fmla="*/ 612076 w 3564922"/>
                  <a:gd name="connsiteY102" fmla="*/ 351758 h 547687"/>
                  <a:gd name="connsiteX103" fmla="*/ 626745 w 3564922"/>
                  <a:gd name="connsiteY103" fmla="*/ 351758 h 547687"/>
                  <a:gd name="connsiteX104" fmla="*/ 626745 w 3564922"/>
                  <a:gd name="connsiteY104" fmla="*/ 357854 h 547687"/>
                  <a:gd name="connsiteX105" fmla="*/ 656272 w 3564922"/>
                  <a:gd name="connsiteY105" fmla="*/ 357854 h 547687"/>
                  <a:gd name="connsiteX106" fmla="*/ 656272 w 3564922"/>
                  <a:gd name="connsiteY106" fmla="*/ 363950 h 547687"/>
                  <a:gd name="connsiteX107" fmla="*/ 658368 w 3564922"/>
                  <a:gd name="connsiteY107" fmla="*/ 363950 h 547687"/>
                  <a:gd name="connsiteX108" fmla="*/ 658368 w 3564922"/>
                  <a:gd name="connsiteY108" fmla="*/ 369951 h 547687"/>
                  <a:gd name="connsiteX109" fmla="*/ 681418 w 3564922"/>
                  <a:gd name="connsiteY109" fmla="*/ 369951 h 547687"/>
                  <a:gd name="connsiteX110" fmla="*/ 681418 w 3564922"/>
                  <a:gd name="connsiteY110" fmla="*/ 376047 h 547687"/>
                  <a:gd name="connsiteX111" fmla="*/ 694087 w 3564922"/>
                  <a:gd name="connsiteY111" fmla="*/ 376047 h 547687"/>
                  <a:gd name="connsiteX112" fmla="*/ 694087 w 3564922"/>
                  <a:gd name="connsiteY112" fmla="*/ 382143 h 547687"/>
                  <a:gd name="connsiteX113" fmla="*/ 729805 w 3564922"/>
                  <a:gd name="connsiteY113" fmla="*/ 382143 h 547687"/>
                  <a:gd name="connsiteX114" fmla="*/ 729805 w 3564922"/>
                  <a:gd name="connsiteY114" fmla="*/ 388239 h 547687"/>
                  <a:gd name="connsiteX115" fmla="*/ 845534 w 3564922"/>
                  <a:gd name="connsiteY115" fmla="*/ 388239 h 547687"/>
                  <a:gd name="connsiteX116" fmla="*/ 845534 w 3564922"/>
                  <a:gd name="connsiteY116" fmla="*/ 394240 h 547687"/>
                  <a:gd name="connsiteX117" fmla="*/ 883348 w 3564922"/>
                  <a:gd name="connsiteY117" fmla="*/ 394240 h 547687"/>
                  <a:gd name="connsiteX118" fmla="*/ 883348 w 3564922"/>
                  <a:gd name="connsiteY118" fmla="*/ 400431 h 547687"/>
                  <a:gd name="connsiteX119" fmla="*/ 935926 w 3564922"/>
                  <a:gd name="connsiteY119" fmla="*/ 400431 h 547687"/>
                  <a:gd name="connsiteX120" fmla="*/ 935926 w 3564922"/>
                  <a:gd name="connsiteY120" fmla="*/ 406527 h 547687"/>
                  <a:gd name="connsiteX121" fmla="*/ 954881 w 3564922"/>
                  <a:gd name="connsiteY121" fmla="*/ 406527 h 547687"/>
                  <a:gd name="connsiteX122" fmla="*/ 954881 w 3564922"/>
                  <a:gd name="connsiteY122" fmla="*/ 412623 h 547687"/>
                  <a:gd name="connsiteX123" fmla="*/ 965359 w 3564922"/>
                  <a:gd name="connsiteY123" fmla="*/ 412623 h 547687"/>
                  <a:gd name="connsiteX124" fmla="*/ 965359 w 3564922"/>
                  <a:gd name="connsiteY124" fmla="*/ 418814 h 547687"/>
                  <a:gd name="connsiteX125" fmla="*/ 999077 w 3564922"/>
                  <a:gd name="connsiteY125" fmla="*/ 418814 h 547687"/>
                  <a:gd name="connsiteX126" fmla="*/ 999077 w 3564922"/>
                  <a:gd name="connsiteY126" fmla="*/ 424910 h 547687"/>
                  <a:gd name="connsiteX127" fmla="*/ 1005364 w 3564922"/>
                  <a:gd name="connsiteY127" fmla="*/ 424910 h 547687"/>
                  <a:gd name="connsiteX128" fmla="*/ 1005364 w 3564922"/>
                  <a:gd name="connsiteY128" fmla="*/ 431006 h 547687"/>
                  <a:gd name="connsiteX129" fmla="*/ 1020032 w 3564922"/>
                  <a:gd name="connsiteY129" fmla="*/ 431006 h 547687"/>
                  <a:gd name="connsiteX130" fmla="*/ 1020032 w 3564922"/>
                  <a:gd name="connsiteY130" fmla="*/ 437102 h 547687"/>
                  <a:gd name="connsiteX131" fmla="*/ 1032700 w 3564922"/>
                  <a:gd name="connsiteY131" fmla="*/ 437102 h 547687"/>
                  <a:gd name="connsiteX132" fmla="*/ 1032700 w 3564922"/>
                  <a:gd name="connsiteY132" fmla="*/ 443293 h 547687"/>
                  <a:gd name="connsiteX133" fmla="*/ 1057942 w 3564922"/>
                  <a:gd name="connsiteY133" fmla="*/ 443293 h 547687"/>
                  <a:gd name="connsiteX134" fmla="*/ 1057942 w 3564922"/>
                  <a:gd name="connsiteY134" fmla="*/ 449389 h 547687"/>
                  <a:gd name="connsiteX135" fmla="*/ 1287208 w 3564922"/>
                  <a:gd name="connsiteY135" fmla="*/ 449389 h 547687"/>
                  <a:gd name="connsiteX136" fmla="*/ 1287208 w 3564922"/>
                  <a:gd name="connsiteY136" fmla="*/ 455581 h 547687"/>
                  <a:gd name="connsiteX137" fmla="*/ 1400746 w 3564922"/>
                  <a:gd name="connsiteY137" fmla="*/ 455581 h 547687"/>
                  <a:gd name="connsiteX138" fmla="*/ 1400746 w 3564922"/>
                  <a:gd name="connsiteY138" fmla="*/ 461772 h 547687"/>
                  <a:gd name="connsiteX139" fmla="*/ 1669923 w 3564922"/>
                  <a:gd name="connsiteY139" fmla="*/ 461772 h 547687"/>
                  <a:gd name="connsiteX140" fmla="*/ 1669923 w 3564922"/>
                  <a:gd name="connsiteY140" fmla="*/ 468058 h 547687"/>
                  <a:gd name="connsiteX141" fmla="*/ 1743551 w 3564922"/>
                  <a:gd name="connsiteY141" fmla="*/ 468058 h 547687"/>
                  <a:gd name="connsiteX142" fmla="*/ 1743551 w 3564922"/>
                  <a:gd name="connsiteY142" fmla="*/ 474345 h 547687"/>
                  <a:gd name="connsiteX143" fmla="*/ 1823466 w 3564922"/>
                  <a:gd name="connsiteY143" fmla="*/ 474345 h 547687"/>
                  <a:gd name="connsiteX144" fmla="*/ 1823466 w 3564922"/>
                  <a:gd name="connsiteY144" fmla="*/ 480631 h 547687"/>
                  <a:gd name="connsiteX145" fmla="*/ 1985391 w 3564922"/>
                  <a:gd name="connsiteY145" fmla="*/ 480631 h 547687"/>
                  <a:gd name="connsiteX146" fmla="*/ 1985391 w 3564922"/>
                  <a:gd name="connsiteY146" fmla="*/ 487108 h 547687"/>
                  <a:gd name="connsiteX147" fmla="*/ 2002250 w 3564922"/>
                  <a:gd name="connsiteY147" fmla="*/ 487108 h 547687"/>
                  <a:gd name="connsiteX148" fmla="*/ 2002250 w 3564922"/>
                  <a:gd name="connsiteY148" fmla="*/ 493490 h 547687"/>
                  <a:gd name="connsiteX149" fmla="*/ 2120074 w 3564922"/>
                  <a:gd name="connsiteY149" fmla="*/ 493490 h 547687"/>
                  <a:gd name="connsiteX150" fmla="*/ 2120074 w 3564922"/>
                  <a:gd name="connsiteY150" fmla="*/ 499967 h 547687"/>
                  <a:gd name="connsiteX151" fmla="*/ 2212562 w 3564922"/>
                  <a:gd name="connsiteY151" fmla="*/ 499967 h 547687"/>
                  <a:gd name="connsiteX152" fmla="*/ 2212562 w 3564922"/>
                  <a:gd name="connsiteY152" fmla="*/ 506349 h 547687"/>
                  <a:gd name="connsiteX153" fmla="*/ 2231517 w 3564922"/>
                  <a:gd name="connsiteY153" fmla="*/ 506349 h 547687"/>
                  <a:gd name="connsiteX154" fmla="*/ 2231517 w 3564922"/>
                  <a:gd name="connsiteY154" fmla="*/ 512826 h 547687"/>
                  <a:gd name="connsiteX155" fmla="*/ 3085338 w 3564922"/>
                  <a:gd name="connsiteY155" fmla="*/ 512826 h 547687"/>
                  <a:gd name="connsiteX156" fmla="*/ 3085338 w 3564922"/>
                  <a:gd name="connsiteY156" fmla="*/ 547687 h 547687"/>
                  <a:gd name="connsiteX157" fmla="*/ 3564922 w 3564922"/>
                  <a:gd name="connsiteY157" fmla="*/ 547687 h 547687"/>
                  <a:gd name="connsiteX0" fmla="*/ 0 w 3562827"/>
                  <a:gd name="connsiteY0" fmla="*/ 0 h 541686"/>
                  <a:gd name="connsiteX1" fmla="*/ 2191 w 3562827"/>
                  <a:gd name="connsiteY1" fmla="*/ 6096 h 541686"/>
                  <a:gd name="connsiteX2" fmla="*/ 12668 w 3562827"/>
                  <a:gd name="connsiteY2" fmla="*/ 6096 h 541686"/>
                  <a:gd name="connsiteX3" fmla="*/ 12668 w 3562827"/>
                  <a:gd name="connsiteY3" fmla="*/ 12192 h 541686"/>
                  <a:gd name="connsiteX4" fmla="*/ 18955 w 3562827"/>
                  <a:gd name="connsiteY4" fmla="*/ 12192 h 541686"/>
                  <a:gd name="connsiteX5" fmla="*/ 18955 w 3562827"/>
                  <a:gd name="connsiteY5" fmla="*/ 18192 h 541686"/>
                  <a:gd name="connsiteX6" fmla="*/ 33719 w 3562827"/>
                  <a:gd name="connsiteY6" fmla="*/ 18192 h 541686"/>
                  <a:gd name="connsiteX7" fmla="*/ 33719 w 3562827"/>
                  <a:gd name="connsiteY7" fmla="*/ 24288 h 541686"/>
                  <a:gd name="connsiteX8" fmla="*/ 42101 w 3562827"/>
                  <a:gd name="connsiteY8" fmla="*/ 24288 h 541686"/>
                  <a:gd name="connsiteX9" fmla="*/ 42101 w 3562827"/>
                  <a:gd name="connsiteY9" fmla="*/ 30384 h 541686"/>
                  <a:gd name="connsiteX10" fmla="*/ 52674 w 3562827"/>
                  <a:gd name="connsiteY10" fmla="*/ 30384 h 541686"/>
                  <a:gd name="connsiteX11" fmla="*/ 52674 w 3562827"/>
                  <a:gd name="connsiteY11" fmla="*/ 36385 h 541686"/>
                  <a:gd name="connsiteX12" fmla="*/ 65247 w 3562827"/>
                  <a:gd name="connsiteY12" fmla="*/ 36385 h 541686"/>
                  <a:gd name="connsiteX13" fmla="*/ 65247 w 3562827"/>
                  <a:gd name="connsiteY13" fmla="*/ 42481 h 541686"/>
                  <a:gd name="connsiteX14" fmla="*/ 71533 w 3562827"/>
                  <a:gd name="connsiteY14" fmla="*/ 42481 h 541686"/>
                  <a:gd name="connsiteX15" fmla="*/ 71533 w 3562827"/>
                  <a:gd name="connsiteY15" fmla="*/ 54578 h 541686"/>
                  <a:gd name="connsiteX16" fmla="*/ 75724 w 3562827"/>
                  <a:gd name="connsiteY16" fmla="*/ 54578 h 541686"/>
                  <a:gd name="connsiteX17" fmla="*/ 75724 w 3562827"/>
                  <a:gd name="connsiteY17" fmla="*/ 60674 h 541686"/>
                  <a:gd name="connsiteX18" fmla="*/ 88392 w 3562827"/>
                  <a:gd name="connsiteY18" fmla="*/ 60674 h 541686"/>
                  <a:gd name="connsiteX19" fmla="*/ 88392 w 3562827"/>
                  <a:gd name="connsiteY19" fmla="*/ 66770 h 541686"/>
                  <a:gd name="connsiteX20" fmla="*/ 103061 w 3562827"/>
                  <a:gd name="connsiteY20" fmla="*/ 66770 h 541686"/>
                  <a:gd name="connsiteX21" fmla="*/ 103061 w 3562827"/>
                  <a:gd name="connsiteY21" fmla="*/ 72771 h 541686"/>
                  <a:gd name="connsiteX22" fmla="*/ 107347 w 3562827"/>
                  <a:gd name="connsiteY22" fmla="*/ 72771 h 541686"/>
                  <a:gd name="connsiteX23" fmla="*/ 107347 w 3562827"/>
                  <a:gd name="connsiteY23" fmla="*/ 78867 h 541686"/>
                  <a:gd name="connsiteX24" fmla="*/ 117824 w 3562827"/>
                  <a:gd name="connsiteY24" fmla="*/ 78867 h 541686"/>
                  <a:gd name="connsiteX25" fmla="*/ 117824 w 3562827"/>
                  <a:gd name="connsiteY25" fmla="*/ 84963 h 541686"/>
                  <a:gd name="connsiteX26" fmla="*/ 126207 w 3562827"/>
                  <a:gd name="connsiteY26" fmla="*/ 84963 h 541686"/>
                  <a:gd name="connsiteX27" fmla="*/ 126207 w 3562827"/>
                  <a:gd name="connsiteY27" fmla="*/ 91059 h 541686"/>
                  <a:gd name="connsiteX28" fmla="*/ 140970 w 3562827"/>
                  <a:gd name="connsiteY28" fmla="*/ 91059 h 541686"/>
                  <a:gd name="connsiteX29" fmla="*/ 140970 w 3562827"/>
                  <a:gd name="connsiteY29" fmla="*/ 97059 h 541686"/>
                  <a:gd name="connsiteX30" fmla="*/ 145161 w 3562827"/>
                  <a:gd name="connsiteY30" fmla="*/ 97059 h 541686"/>
                  <a:gd name="connsiteX31" fmla="*/ 145161 w 3562827"/>
                  <a:gd name="connsiteY31" fmla="*/ 103155 h 541686"/>
                  <a:gd name="connsiteX32" fmla="*/ 149352 w 3562827"/>
                  <a:gd name="connsiteY32" fmla="*/ 103155 h 541686"/>
                  <a:gd name="connsiteX33" fmla="*/ 149352 w 3562827"/>
                  <a:gd name="connsiteY33" fmla="*/ 109251 h 541686"/>
                  <a:gd name="connsiteX34" fmla="*/ 162021 w 3562827"/>
                  <a:gd name="connsiteY34" fmla="*/ 109251 h 541686"/>
                  <a:gd name="connsiteX35" fmla="*/ 162021 w 3562827"/>
                  <a:gd name="connsiteY35" fmla="*/ 115252 h 541686"/>
                  <a:gd name="connsiteX36" fmla="*/ 191453 w 3562827"/>
                  <a:gd name="connsiteY36" fmla="*/ 115252 h 541686"/>
                  <a:gd name="connsiteX37" fmla="*/ 191453 w 3562827"/>
                  <a:gd name="connsiteY37" fmla="*/ 121348 h 541686"/>
                  <a:gd name="connsiteX38" fmla="*/ 199835 w 3562827"/>
                  <a:gd name="connsiteY38" fmla="*/ 121348 h 541686"/>
                  <a:gd name="connsiteX39" fmla="*/ 199835 w 3562827"/>
                  <a:gd name="connsiteY39" fmla="*/ 127444 h 541686"/>
                  <a:gd name="connsiteX40" fmla="*/ 201930 w 3562827"/>
                  <a:gd name="connsiteY40" fmla="*/ 127444 h 541686"/>
                  <a:gd name="connsiteX41" fmla="*/ 201930 w 3562827"/>
                  <a:gd name="connsiteY41" fmla="*/ 133445 h 541686"/>
                  <a:gd name="connsiteX42" fmla="*/ 216694 w 3562827"/>
                  <a:gd name="connsiteY42" fmla="*/ 133445 h 541686"/>
                  <a:gd name="connsiteX43" fmla="*/ 216694 w 3562827"/>
                  <a:gd name="connsiteY43" fmla="*/ 145637 h 541686"/>
                  <a:gd name="connsiteX44" fmla="*/ 218790 w 3562827"/>
                  <a:gd name="connsiteY44" fmla="*/ 145637 h 541686"/>
                  <a:gd name="connsiteX45" fmla="*/ 218790 w 3562827"/>
                  <a:gd name="connsiteY45" fmla="*/ 151638 h 541686"/>
                  <a:gd name="connsiteX46" fmla="*/ 225076 w 3562827"/>
                  <a:gd name="connsiteY46" fmla="*/ 151638 h 541686"/>
                  <a:gd name="connsiteX47" fmla="*/ 225076 w 3562827"/>
                  <a:gd name="connsiteY47" fmla="*/ 157734 h 541686"/>
                  <a:gd name="connsiteX48" fmla="*/ 229267 w 3562827"/>
                  <a:gd name="connsiteY48" fmla="*/ 157734 h 541686"/>
                  <a:gd name="connsiteX49" fmla="*/ 229267 w 3562827"/>
                  <a:gd name="connsiteY49" fmla="*/ 163830 h 541686"/>
                  <a:gd name="connsiteX50" fmla="*/ 246126 w 3562827"/>
                  <a:gd name="connsiteY50" fmla="*/ 163830 h 541686"/>
                  <a:gd name="connsiteX51" fmla="*/ 246126 w 3562827"/>
                  <a:gd name="connsiteY51" fmla="*/ 175926 h 541686"/>
                  <a:gd name="connsiteX52" fmla="*/ 250317 w 3562827"/>
                  <a:gd name="connsiteY52" fmla="*/ 175926 h 541686"/>
                  <a:gd name="connsiteX53" fmla="*/ 250317 w 3562827"/>
                  <a:gd name="connsiteY53" fmla="*/ 182022 h 541686"/>
                  <a:gd name="connsiteX54" fmla="*/ 273463 w 3562827"/>
                  <a:gd name="connsiteY54" fmla="*/ 182022 h 541686"/>
                  <a:gd name="connsiteX55" fmla="*/ 273463 w 3562827"/>
                  <a:gd name="connsiteY55" fmla="*/ 188118 h 541686"/>
                  <a:gd name="connsiteX56" fmla="*/ 277654 w 3562827"/>
                  <a:gd name="connsiteY56" fmla="*/ 188118 h 541686"/>
                  <a:gd name="connsiteX57" fmla="*/ 277654 w 3562827"/>
                  <a:gd name="connsiteY57" fmla="*/ 194119 h 541686"/>
                  <a:gd name="connsiteX58" fmla="*/ 283941 w 3562827"/>
                  <a:gd name="connsiteY58" fmla="*/ 194119 h 541686"/>
                  <a:gd name="connsiteX59" fmla="*/ 283941 w 3562827"/>
                  <a:gd name="connsiteY59" fmla="*/ 206311 h 541686"/>
                  <a:gd name="connsiteX60" fmla="*/ 302895 w 3562827"/>
                  <a:gd name="connsiteY60" fmla="*/ 206311 h 541686"/>
                  <a:gd name="connsiteX61" fmla="*/ 302895 w 3562827"/>
                  <a:gd name="connsiteY61" fmla="*/ 212312 h 541686"/>
                  <a:gd name="connsiteX62" fmla="*/ 311277 w 3562827"/>
                  <a:gd name="connsiteY62" fmla="*/ 212312 h 541686"/>
                  <a:gd name="connsiteX63" fmla="*/ 311277 w 3562827"/>
                  <a:gd name="connsiteY63" fmla="*/ 218408 h 541686"/>
                  <a:gd name="connsiteX64" fmla="*/ 323946 w 3562827"/>
                  <a:gd name="connsiteY64" fmla="*/ 218408 h 541686"/>
                  <a:gd name="connsiteX65" fmla="*/ 323946 w 3562827"/>
                  <a:gd name="connsiteY65" fmla="*/ 224504 h 541686"/>
                  <a:gd name="connsiteX66" fmla="*/ 340805 w 3562827"/>
                  <a:gd name="connsiteY66" fmla="*/ 224504 h 541686"/>
                  <a:gd name="connsiteX67" fmla="*/ 340805 w 3562827"/>
                  <a:gd name="connsiteY67" fmla="*/ 230505 h 541686"/>
                  <a:gd name="connsiteX68" fmla="*/ 368142 w 3562827"/>
                  <a:gd name="connsiteY68" fmla="*/ 230505 h 541686"/>
                  <a:gd name="connsiteX69" fmla="*/ 368142 w 3562827"/>
                  <a:gd name="connsiteY69" fmla="*/ 236601 h 541686"/>
                  <a:gd name="connsiteX70" fmla="*/ 370237 w 3562827"/>
                  <a:gd name="connsiteY70" fmla="*/ 236601 h 541686"/>
                  <a:gd name="connsiteX71" fmla="*/ 370237 w 3562827"/>
                  <a:gd name="connsiteY71" fmla="*/ 242697 h 541686"/>
                  <a:gd name="connsiteX72" fmla="*/ 380714 w 3562827"/>
                  <a:gd name="connsiteY72" fmla="*/ 242697 h 541686"/>
                  <a:gd name="connsiteX73" fmla="*/ 380714 w 3562827"/>
                  <a:gd name="connsiteY73" fmla="*/ 248697 h 541686"/>
                  <a:gd name="connsiteX74" fmla="*/ 387001 w 3562827"/>
                  <a:gd name="connsiteY74" fmla="*/ 248697 h 541686"/>
                  <a:gd name="connsiteX75" fmla="*/ 387001 w 3562827"/>
                  <a:gd name="connsiteY75" fmla="*/ 260889 h 541686"/>
                  <a:gd name="connsiteX76" fmla="*/ 395478 w 3562827"/>
                  <a:gd name="connsiteY76" fmla="*/ 260889 h 541686"/>
                  <a:gd name="connsiteX77" fmla="*/ 395478 w 3562827"/>
                  <a:gd name="connsiteY77" fmla="*/ 266890 h 541686"/>
                  <a:gd name="connsiteX78" fmla="*/ 401765 w 3562827"/>
                  <a:gd name="connsiteY78" fmla="*/ 266890 h 541686"/>
                  <a:gd name="connsiteX79" fmla="*/ 401765 w 3562827"/>
                  <a:gd name="connsiteY79" fmla="*/ 279082 h 541686"/>
                  <a:gd name="connsiteX80" fmla="*/ 403860 w 3562827"/>
                  <a:gd name="connsiteY80" fmla="*/ 279082 h 541686"/>
                  <a:gd name="connsiteX81" fmla="*/ 403860 w 3562827"/>
                  <a:gd name="connsiteY81" fmla="*/ 285178 h 541686"/>
                  <a:gd name="connsiteX82" fmla="*/ 416433 w 3562827"/>
                  <a:gd name="connsiteY82" fmla="*/ 285178 h 541686"/>
                  <a:gd name="connsiteX83" fmla="*/ 416433 w 3562827"/>
                  <a:gd name="connsiteY83" fmla="*/ 291179 h 541686"/>
                  <a:gd name="connsiteX84" fmla="*/ 439579 w 3562827"/>
                  <a:gd name="connsiteY84" fmla="*/ 291179 h 541686"/>
                  <a:gd name="connsiteX85" fmla="*/ 439579 w 3562827"/>
                  <a:gd name="connsiteY85" fmla="*/ 297275 h 541686"/>
                  <a:gd name="connsiteX86" fmla="*/ 445961 w 3562827"/>
                  <a:gd name="connsiteY86" fmla="*/ 297275 h 541686"/>
                  <a:gd name="connsiteX87" fmla="*/ 445961 w 3562827"/>
                  <a:gd name="connsiteY87" fmla="*/ 303371 h 541686"/>
                  <a:gd name="connsiteX88" fmla="*/ 454343 w 3562827"/>
                  <a:gd name="connsiteY88" fmla="*/ 303371 h 541686"/>
                  <a:gd name="connsiteX89" fmla="*/ 454343 w 3562827"/>
                  <a:gd name="connsiteY89" fmla="*/ 309372 h 541686"/>
                  <a:gd name="connsiteX90" fmla="*/ 462725 w 3562827"/>
                  <a:gd name="connsiteY90" fmla="*/ 309372 h 541686"/>
                  <a:gd name="connsiteX91" fmla="*/ 462725 w 3562827"/>
                  <a:gd name="connsiteY91" fmla="*/ 315468 h 541686"/>
                  <a:gd name="connsiteX92" fmla="*/ 466916 w 3562827"/>
                  <a:gd name="connsiteY92" fmla="*/ 315468 h 541686"/>
                  <a:gd name="connsiteX93" fmla="*/ 466916 w 3562827"/>
                  <a:gd name="connsiteY93" fmla="*/ 321564 h 541686"/>
                  <a:gd name="connsiteX94" fmla="*/ 540544 w 3562827"/>
                  <a:gd name="connsiteY94" fmla="*/ 321564 h 541686"/>
                  <a:gd name="connsiteX95" fmla="*/ 540544 w 3562827"/>
                  <a:gd name="connsiteY95" fmla="*/ 327564 h 541686"/>
                  <a:gd name="connsiteX96" fmla="*/ 561594 w 3562827"/>
                  <a:gd name="connsiteY96" fmla="*/ 327564 h 541686"/>
                  <a:gd name="connsiteX97" fmla="*/ 561594 w 3562827"/>
                  <a:gd name="connsiteY97" fmla="*/ 333660 h 541686"/>
                  <a:gd name="connsiteX98" fmla="*/ 567881 w 3562827"/>
                  <a:gd name="connsiteY98" fmla="*/ 333660 h 541686"/>
                  <a:gd name="connsiteX99" fmla="*/ 567881 w 3562827"/>
                  <a:gd name="connsiteY99" fmla="*/ 339756 h 541686"/>
                  <a:gd name="connsiteX100" fmla="*/ 609981 w 3562827"/>
                  <a:gd name="connsiteY100" fmla="*/ 339756 h 541686"/>
                  <a:gd name="connsiteX101" fmla="*/ 609981 w 3562827"/>
                  <a:gd name="connsiteY101" fmla="*/ 345757 h 541686"/>
                  <a:gd name="connsiteX102" fmla="*/ 624650 w 3562827"/>
                  <a:gd name="connsiteY102" fmla="*/ 345757 h 541686"/>
                  <a:gd name="connsiteX103" fmla="*/ 624650 w 3562827"/>
                  <a:gd name="connsiteY103" fmla="*/ 351853 h 541686"/>
                  <a:gd name="connsiteX104" fmla="*/ 654177 w 3562827"/>
                  <a:gd name="connsiteY104" fmla="*/ 351853 h 541686"/>
                  <a:gd name="connsiteX105" fmla="*/ 654177 w 3562827"/>
                  <a:gd name="connsiteY105" fmla="*/ 357949 h 541686"/>
                  <a:gd name="connsiteX106" fmla="*/ 656273 w 3562827"/>
                  <a:gd name="connsiteY106" fmla="*/ 357949 h 541686"/>
                  <a:gd name="connsiteX107" fmla="*/ 656273 w 3562827"/>
                  <a:gd name="connsiteY107" fmla="*/ 363950 h 541686"/>
                  <a:gd name="connsiteX108" fmla="*/ 679323 w 3562827"/>
                  <a:gd name="connsiteY108" fmla="*/ 363950 h 541686"/>
                  <a:gd name="connsiteX109" fmla="*/ 679323 w 3562827"/>
                  <a:gd name="connsiteY109" fmla="*/ 370046 h 541686"/>
                  <a:gd name="connsiteX110" fmla="*/ 691992 w 3562827"/>
                  <a:gd name="connsiteY110" fmla="*/ 370046 h 541686"/>
                  <a:gd name="connsiteX111" fmla="*/ 691992 w 3562827"/>
                  <a:gd name="connsiteY111" fmla="*/ 376142 h 541686"/>
                  <a:gd name="connsiteX112" fmla="*/ 727710 w 3562827"/>
                  <a:gd name="connsiteY112" fmla="*/ 376142 h 541686"/>
                  <a:gd name="connsiteX113" fmla="*/ 727710 w 3562827"/>
                  <a:gd name="connsiteY113" fmla="*/ 382238 h 541686"/>
                  <a:gd name="connsiteX114" fmla="*/ 843439 w 3562827"/>
                  <a:gd name="connsiteY114" fmla="*/ 382238 h 541686"/>
                  <a:gd name="connsiteX115" fmla="*/ 843439 w 3562827"/>
                  <a:gd name="connsiteY115" fmla="*/ 388239 h 541686"/>
                  <a:gd name="connsiteX116" fmla="*/ 881253 w 3562827"/>
                  <a:gd name="connsiteY116" fmla="*/ 388239 h 541686"/>
                  <a:gd name="connsiteX117" fmla="*/ 881253 w 3562827"/>
                  <a:gd name="connsiteY117" fmla="*/ 394430 h 541686"/>
                  <a:gd name="connsiteX118" fmla="*/ 933831 w 3562827"/>
                  <a:gd name="connsiteY118" fmla="*/ 394430 h 541686"/>
                  <a:gd name="connsiteX119" fmla="*/ 933831 w 3562827"/>
                  <a:gd name="connsiteY119" fmla="*/ 400526 h 541686"/>
                  <a:gd name="connsiteX120" fmla="*/ 952786 w 3562827"/>
                  <a:gd name="connsiteY120" fmla="*/ 400526 h 541686"/>
                  <a:gd name="connsiteX121" fmla="*/ 952786 w 3562827"/>
                  <a:gd name="connsiteY121" fmla="*/ 406622 h 541686"/>
                  <a:gd name="connsiteX122" fmla="*/ 963264 w 3562827"/>
                  <a:gd name="connsiteY122" fmla="*/ 406622 h 541686"/>
                  <a:gd name="connsiteX123" fmla="*/ 963264 w 3562827"/>
                  <a:gd name="connsiteY123" fmla="*/ 412813 h 541686"/>
                  <a:gd name="connsiteX124" fmla="*/ 996982 w 3562827"/>
                  <a:gd name="connsiteY124" fmla="*/ 412813 h 541686"/>
                  <a:gd name="connsiteX125" fmla="*/ 996982 w 3562827"/>
                  <a:gd name="connsiteY125" fmla="*/ 418909 h 541686"/>
                  <a:gd name="connsiteX126" fmla="*/ 1003269 w 3562827"/>
                  <a:gd name="connsiteY126" fmla="*/ 418909 h 541686"/>
                  <a:gd name="connsiteX127" fmla="*/ 1003269 w 3562827"/>
                  <a:gd name="connsiteY127" fmla="*/ 425005 h 541686"/>
                  <a:gd name="connsiteX128" fmla="*/ 1017937 w 3562827"/>
                  <a:gd name="connsiteY128" fmla="*/ 425005 h 541686"/>
                  <a:gd name="connsiteX129" fmla="*/ 1017937 w 3562827"/>
                  <a:gd name="connsiteY129" fmla="*/ 431101 h 541686"/>
                  <a:gd name="connsiteX130" fmla="*/ 1030605 w 3562827"/>
                  <a:gd name="connsiteY130" fmla="*/ 431101 h 541686"/>
                  <a:gd name="connsiteX131" fmla="*/ 1030605 w 3562827"/>
                  <a:gd name="connsiteY131" fmla="*/ 437292 h 541686"/>
                  <a:gd name="connsiteX132" fmla="*/ 1055847 w 3562827"/>
                  <a:gd name="connsiteY132" fmla="*/ 437292 h 541686"/>
                  <a:gd name="connsiteX133" fmla="*/ 1055847 w 3562827"/>
                  <a:gd name="connsiteY133" fmla="*/ 443388 h 541686"/>
                  <a:gd name="connsiteX134" fmla="*/ 1285113 w 3562827"/>
                  <a:gd name="connsiteY134" fmla="*/ 443388 h 541686"/>
                  <a:gd name="connsiteX135" fmla="*/ 1285113 w 3562827"/>
                  <a:gd name="connsiteY135" fmla="*/ 449580 h 541686"/>
                  <a:gd name="connsiteX136" fmla="*/ 1398651 w 3562827"/>
                  <a:gd name="connsiteY136" fmla="*/ 449580 h 541686"/>
                  <a:gd name="connsiteX137" fmla="*/ 1398651 w 3562827"/>
                  <a:gd name="connsiteY137" fmla="*/ 455771 h 541686"/>
                  <a:gd name="connsiteX138" fmla="*/ 1667828 w 3562827"/>
                  <a:gd name="connsiteY138" fmla="*/ 455771 h 541686"/>
                  <a:gd name="connsiteX139" fmla="*/ 1667828 w 3562827"/>
                  <a:gd name="connsiteY139" fmla="*/ 462057 h 541686"/>
                  <a:gd name="connsiteX140" fmla="*/ 1741456 w 3562827"/>
                  <a:gd name="connsiteY140" fmla="*/ 462057 h 541686"/>
                  <a:gd name="connsiteX141" fmla="*/ 1741456 w 3562827"/>
                  <a:gd name="connsiteY141" fmla="*/ 468344 h 541686"/>
                  <a:gd name="connsiteX142" fmla="*/ 1821371 w 3562827"/>
                  <a:gd name="connsiteY142" fmla="*/ 468344 h 541686"/>
                  <a:gd name="connsiteX143" fmla="*/ 1821371 w 3562827"/>
                  <a:gd name="connsiteY143" fmla="*/ 474630 h 541686"/>
                  <a:gd name="connsiteX144" fmla="*/ 1983296 w 3562827"/>
                  <a:gd name="connsiteY144" fmla="*/ 474630 h 541686"/>
                  <a:gd name="connsiteX145" fmla="*/ 1983296 w 3562827"/>
                  <a:gd name="connsiteY145" fmla="*/ 481107 h 541686"/>
                  <a:gd name="connsiteX146" fmla="*/ 2000155 w 3562827"/>
                  <a:gd name="connsiteY146" fmla="*/ 481107 h 541686"/>
                  <a:gd name="connsiteX147" fmla="*/ 2000155 w 3562827"/>
                  <a:gd name="connsiteY147" fmla="*/ 487489 h 541686"/>
                  <a:gd name="connsiteX148" fmla="*/ 2117979 w 3562827"/>
                  <a:gd name="connsiteY148" fmla="*/ 487489 h 541686"/>
                  <a:gd name="connsiteX149" fmla="*/ 2117979 w 3562827"/>
                  <a:gd name="connsiteY149" fmla="*/ 493966 h 541686"/>
                  <a:gd name="connsiteX150" fmla="*/ 2210467 w 3562827"/>
                  <a:gd name="connsiteY150" fmla="*/ 493966 h 541686"/>
                  <a:gd name="connsiteX151" fmla="*/ 2210467 w 3562827"/>
                  <a:gd name="connsiteY151" fmla="*/ 500348 h 541686"/>
                  <a:gd name="connsiteX152" fmla="*/ 2229422 w 3562827"/>
                  <a:gd name="connsiteY152" fmla="*/ 500348 h 541686"/>
                  <a:gd name="connsiteX153" fmla="*/ 2229422 w 3562827"/>
                  <a:gd name="connsiteY153" fmla="*/ 506825 h 541686"/>
                  <a:gd name="connsiteX154" fmla="*/ 3083243 w 3562827"/>
                  <a:gd name="connsiteY154" fmla="*/ 506825 h 541686"/>
                  <a:gd name="connsiteX155" fmla="*/ 3083243 w 3562827"/>
                  <a:gd name="connsiteY155" fmla="*/ 541686 h 541686"/>
                  <a:gd name="connsiteX156" fmla="*/ 3562827 w 3562827"/>
                  <a:gd name="connsiteY156" fmla="*/ 541686 h 541686"/>
                  <a:gd name="connsiteX0" fmla="*/ 0 w 3560636"/>
                  <a:gd name="connsiteY0" fmla="*/ 0 h 535590"/>
                  <a:gd name="connsiteX1" fmla="*/ 10477 w 3560636"/>
                  <a:gd name="connsiteY1" fmla="*/ 0 h 535590"/>
                  <a:gd name="connsiteX2" fmla="*/ 10477 w 3560636"/>
                  <a:gd name="connsiteY2" fmla="*/ 6096 h 535590"/>
                  <a:gd name="connsiteX3" fmla="*/ 16764 w 3560636"/>
                  <a:gd name="connsiteY3" fmla="*/ 6096 h 535590"/>
                  <a:gd name="connsiteX4" fmla="*/ 16764 w 3560636"/>
                  <a:gd name="connsiteY4" fmla="*/ 12096 h 535590"/>
                  <a:gd name="connsiteX5" fmla="*/ 31528 w 3560636"/>
                  <a:gd name="connsiteY5" fmla="*/ 12096 h 535590"/>
                  <a:gd name="connsiteX6" fmla="*/ 31528 w 3560636"/>
                  <a:gd name="connsiteY6" fmla="*/ 18192 h 535590"/>
                  <a:gd name="connsiteX7" fmla="*/ 39910 w 3560636"/>
                  <a:gd name="connsiteY7" fmla="*/ 18192 h 535590"/>
                  <a:gd name="connsiteX8" fmla="*/ 39910 w 3560636"/>
                  <a:gd name="connsiteY8" fmla="*/ 24288 h 535590"/>
                  <a:gd name="connsiteX9" fmla="*/ 50483 w 3560636"/>
                  <a:gd name="connsiteY9" fmla="*/ 24288 h 535590"/>
                  <a:gd name="connsiteX10" fmla="*/ 50483 w 3560636"/>
                  <a:gd name="connsiteY10" fmla="*/ 30289 h 535590"/>
                  <a:gd name="connsiteX11" fmla="*/ 63056 w 3560636"/>
                  <a:gd name="connsiteY11" fmla="*/ 30289 h 535590"/>
                  <a:gd name="connsiteX12" fmla="*/ 63056 w 3560636"/>
                  <a:gd name="connsiteY12" fmla="*/ 36385 h 535590"/>
                  <a:gd name="connsiteX13" fmla="*/ 69342 w 3560636"/>
                  <a:gd name="connsiteY13" fmla="*/ 36385 h 535590"/>
                  <a:gd name="connsiteX14" fmla="*/ 69342 w 3560636"/>
                  <a:gd name="connsiteY14" fmla="*/ 48482 h 535590"/>
                  <a:gd name="connsiteX15" fmla="*/ 73533 w 3560636"/>
                  <a:gd name="connsiteY15" fmla="*/ 48482 h 535590"/>
                  <a:gd name="connsiteX16" fmla="*/ 73533 w 3560636"/>
                  <a:gd name="connsiteY16" fmla="*/ 54578 h 535590"/>
                  <a:gd name="connsiteX17" fmla="*/ 86201 w 3560636"/>
                  <a:gd name="connsiteY17" fmla="*/ 54578 h 535590"/>
                  <a:gd name="connsiteX18" fmla="*/ 86201 w 3560636"/>
                  <a:gd name="connsiteY18" fmla="*/ 60674 h 535590"/>
                  <a:gd name="connsiteX19" fmla="*/ 100870 w 3560636"/>
                  <a:gd name="connsiteY19" fmla="*/ 60674 h 535590"/>
                  <a:gd name="connsiteX20" fmla="*/ 100870 w 3560636"/>
                  <a:gd name="connsiteY20" fmla="*/ 66675 h 535590"/>
                  <a:gd name="connsiteX21" fmla="*/ 105156 w 3560636"/>
                  <a:gd name="connsiteY21" fmla="*/ 66675 h 535590"/>
                  <a:gd name="connsiteX22" fmla="*/ 105156 w 3560636"/>
                  <a:gd name="connsiteY22" fmla="*/ 72771 h 535590"/>
                  <a:gd name="connsiteX23" fmla="*/ 115633 w 3560636"/>
                  <a:gd name="connsiteY23" fmla="*/ 72771 h 535590"/>
                  <a:gd name="connsiteX24" fmla="*/ 115633 w 3560636"/>
                  <a:gd name="connsiteY24" fmla="*/ 78867 h 535590"/>
                  <a:gd name="connsiteX25" fmla="*/ 124016 w 3560636"/>
                  <a:gd name="connsiteY25" fmla="*/ 78867 h 535590"/>
                  <a:gd name="connsiteX26" fmla="*/ 124016 w 3560636"/>
                  <a:gd name="connsiteY26" fmla="*/ 84963 h 535590"/>
                  <a:gd name="connsiteX27" fmla="*/ 138779 w 3560636"/>
                  <a:gd name="connsiteY27" fmla="*/ 84963 h 535590"/>
                  <a:gd name="connsiteX28" fmla="*/ 138779 w 3560636"/>
                  <a:gd name="connsiteY28" fmla="*/ 90963 h 535590"/>
                  <a:gd name="connsiteX29" fmla="*/ 142970 w 3560636"/>
                  <a:gd name="connsiteY29" fmla="*/ 90963 h 535590"/>
                  <a:gd name="connsiteX30" fmla="*/ 142970 w 3560636"/>
                  <a:gd name="connsiteY30" fmla="*/ 97059 h 535590"/>
                  <a:gd name="connsiteX31" fmla="*/ 147161 w 3560636"/>
                  <a:gd name="connsiteY31" fmla="*/ 97059 h 535590"/>
                  <a:gd name="connsiteX32" fmla="*/ 147161 w 3560636"/>
                  <a:gd name="connsiteY32" fmla="*/ 103155 h 535590"/>
                  <a:gd name="connsiteX33" fmla="*/ 159830 w 3560636"/>
                  <a:gd name="connsiteY33" fmla="*/ 103155 h 535590"/>
                  <a:gd name="connsiteX34" fmla="*/ 159830 w 3560636"/>
                  <a:gd name="connsiteY34" fmla="*/ 109156 h 535590"/>
                  <a:gd name="connsiteX35" fmla="*/ 189262 w 3560636"/>
                  <a:gd name="connsiteY35" fmla="*/ 109156 h 535590"/>
                  <a:gd name="connsiteX36" fmla="*/ 189262 w 3560636"/>
                  <a:gd name="connsiteY36" fmla="*/ 115252 h 535590"/>
                  <a:gd name="connsiteX37" fmla="*/ 197644 w 3560636"/>
                  <a:gd name="connsiteY37" fmla="*/ 115252 h 535590"/>
                  <a:gd name="connsiteX38" fmla="*/ 197644 w 3560636"/>
                  <a:gd name="connsiteY38" fmla="*/ 121348 h 535590"/>
                  <a:gd name="connsiteX39" fmla="*/ 199739 w 3560636"/>
                  <a:gd name="connsiteY39" fmla="*/ 121348 h 535590"/>
                  <a:gd name="connsiteX40" fmla="*/ 199739 w 3560636"/>
                  <a:gd name="connsiteY40" fmla="*/ 127349 h 535590"/>
                  <a:gd name="connsiteX41" fmla="*/ 214503 w 3560636"/>
                  <a:gd name="connsiteY41" fmla="*/ 127349 h 535590"/>
                  <a:gd name="connsiteX42" fmla="*/ 214503 w 3560636"/>
                  <a:gd name="connsiteY42" fmla="*/ 139541 h 535590"/>
                  <a:gd name="connsiteX43" fmla="*/ 216599 w 3560636"/>
                  <a:gd name="connsiteY43" fmla="*/ 139541 h 535590"/>
                  <a:gd name="connsiteX44" fmla="*/ 216599 w 3560636"/>
                  <a:gd name="connsiteY44" fmla="*/ 145542 h 535590"/>
                  <a:gd name="connsiteX45" fmla="*/ 222885 w 3560636"/>
                  <a:gd name="connsiteY45" fmla="*/ 145542 h 535590"/>
                  <a:gd name="connsiteX46" fmla="*/ 222885 w 3560636"/>
                  <a:gd name="connsiteY46" fmla="*/ 151638 h 535590"/>
                  <a:gd name="connsiteX47" fmla="*/ 227076 w 3560636"/>
                  <a:gd name="connsiteY47" fmla="*/ 151638 h 535590"/>
                  <a:gd name="connsiteX48" fmla="*/ 227076 w 3560636"/>
                  <a:gd name="connsiteY48" fmla="*/ 157734 h 535590"/>
                  <a:gd name="connsiteX49" fmla="*/ 243935 w 3560636"/>
                  <a:gd name="connsiteY49" fmla="*/ 157734 h 535590"/>
                  <a:gd name="connsiteX50" fmla="*/ 243935 w 3560636"/>
                  <a:gd name="connsiteY50" fmla="*/ 169830 h 535590"/>
                  <a:gd name="connsiteX51" fmla="*/ 248126 w 3560636"/>
                  <a:gd name="connsiteY51" fmla="*/ 169830 h 535590"/>
                  <a:gd name="connsiteX52" fmla="*/ 248126 w 3560636"/>
                  <a:gd name="connsiteY52" fmla="*/ 175926 h 535590"/>
                  <a:gd name="connsiteX53" fmla="*/ 271272 w 3560636"/>
                  <a:gd name="connsiteY53" fmla="*/ 175926 h 535590"/>
                  <a:gd name="connsiteX54" fmla="*/ 271272 w 3560636"/>
                  <a:gd name="connsiteY54" fmla="*/ 182022 h 535590"/>
                  <a:gd name="connsiteX55" fmla="*/ 275463 w 3560636"/>
                  <a:gd name="connsiteY55" fmla="*/ 182022 h 535590"/>
                  <a:gd name="connsiteX56" fmla="*/ 275463 w 3560636"/>
                  <a:gd name="connsiteY56" fmla="*/ 188023 h 535590"/>
                  <a:gd name="connsiteX57" fmla="*/ 281750 w 3560636"/>
                  <a:gd name="connsiteY57" fmla="*/ 188023 h 535590"/>
                  <a:gd name="connsiteX58" fmla="*/ 281750 w 3560636"/>
                  <a:gd name="connsiteY58" fmla="*/ 200215 h 535590"/>
                  <a:gd name="connsiteX59" fmla="*/ 300704 w 3560636"/>
                  <a:gd name="connsiteY59" fmla="*/ 200215 h 535590"/>
                  <a:gd name="connsiteX60" fmla="*/ 300704 w 3560636"/>
                  <a:gd name="connsiteY60" fmla="*/ 206216 h 535590"/>
                  <a:gd name="connsiteX61" fmla="*/ 309086 w 3560636"/>
                  <a:gd name="connsiteY61" fmla="*/ 206216 h 535590"/>
                  <a:gd name="connsiteX62" fmla="*/ 309086 w 3560636"/>
                  <a:gd name="connsiteY62" fmla="*/ 212312 h 535590"/>
                  <a:gd name="connsiteX63" fmla="*/ 321755 w 3560636"/>
                  <a:gd name="connsiteY63" fmla="*/ 212312 h 535590"/>
                  <a:gd name="connsiteX64" fmla="*/ 321755 w 3560636"/>
                  <a:gd name="connsiteY64" fmla="*/ 218408 h 535590"/>
                  <a:gd name="connsiteX65" fmla="*/ 338614 w 3560636"/>
                  <a:gd name="connsiteY65" fmla="*/ 218408 h 535590"/>
                  <a:gd name="connsiteX66" fmla="*/ 338614 w 3560636"/>
                  <a:gd name="connsiteY66" fmla="*/ 224409 h 535590"/>
                  <a:gd name="connsiteX67" fmla="*/ 365951 w 3560636"/>
                  <a:gd name="connsiteY67" fmla="*/ 224409 h 535590"/>
                  <a:gd name="connsiteX68" fmla="*/ 365951 w 3560636"/>
                  <a:gd name="connsiteY68" fmla="*/ 230505 h 535590"/>
                  <a:gd name="connsiteX69" fmla="*/ 368046 w 3560636"/>
                  <a:gd name="connsiteY69" fmla="*/ 230505 h 535590"/>
                  <a:gd name="connsiteX70" fmla="*/ 368046 w 3560636"/>
                  <a:gd name="connsiteY70" fmla="*/ 236601 h 535590"/>
                  <a:gd name="connsiteX71" fmla="*/ 378523 w 3560636"/>
                  <a:gd name="connsiteY71" fmla="*/ 236601 h 535590"/>
                  <a:gd name="connsiteX72" fmla="*/ 378523 w 3560636"/>
                  <a:gd name="connsiteY72" fmla="*/ 242601 h 535590"/>
                  <a:gd name="connsiteX73" fmla="*/ 384810 w 3560636"/>
                  <a:gd name="connsiteY73" fmla="*/ 242601 h 535590"/>
                  <a:gd name="connsiteX74" fmla="*/ 384810 w 3560636"/>
                  <a:gd name="connsiteY74" fmla="*/ 254793 h 535590"/>
                  <a:gd name="connsiteX75" fmla="*/ 393287 w 3560636"/>
                  <a:gd name="connsiteY75" fmla="*/ 254793 h 535590"/>
                  <a:gd name="connsiteX76" fmla="*/ 393287 w 3560636"/>
                  <a:gd name="connsiteY76" fmla="*/ 260794 h 535590"/>
                  <a:gd name="connsiteX77" fmla="*/ 399574 w 3560636"/>
                  <a:gd name="connsiteY77" fmla="*/ 260794 h 535590"/>
                  <a:gd name="connsiteX78" fmla="*/ 399574 w 3560636"/>
                  <a:gd name="connsiteY78" fmla="*/ 272986 h 535590"/>
                  <a:gd name="connsiteX79" fmla="*/ 401669 w 3560636"/>
                  <a:gd name="connsiteY79" fmla="*/ 272986 h 535590"/>
                  <a:gd name="connsiteX80" fmla="*/ 401669 w 3560636"/>
                  <a:gd name="connsiteY80" fmla="*/ 279082 h 535590"/>
                  <a:gd name="connsiteX81" fmla="*/ 414242 w 3560636"/>
                  <a:gd name="connsiteY81" fmla="*/ 279082 h 535590"/>
                  <a:gd name="connsiteX82" fmla="*/ 414242 w 3560636"/>
                  <a:gd name="connsiteY82" fmla="*/ 285083 h 535590"/>
                  <a:gd name="connsiteX83" fmla="*/ 437388 w 3560636"/>
                  <a:gd name="connsiteY83" fmla="*/ 285083 h 535590"/>
                  <a:gd name="connsiteX84" fmla="*/ 437388 w 3560636"/>
                  <a:gd name="connsiteY84" fmla="*/ 291179 h 535590"/>
                  <a:gd name="connsiteX85" fmla="*/ 443770 w 3560636"/>
                  <a:gd name="connsiteY85" fmla="*/ 291179 h 535590"/>
                  <a:gd name="connsiteX86" fmla="*/ 443770 w 3560636"/>
                  <a:gd name="connsiteY86" fmla="*/ 297275 h 535590"/>
                  <a:gd name="connsiteX87" fmla="*/ 452152 w 3560636"/>
                  <a:gd name="connsiteY87" fmla="*/ 297275 h 535590"/>
                  <a:gd name="connsiteX88" fmla="*/ 452152 w 3560636"/>
                  <a:gd name="connsiteY88" fmla="*/ 303276 h 535590"/>
                  <a:gd name="connsiteX89" fmla="*/ 460534 w 3560636"/>
                  <a:gd name="connsiteY89" fmla="*/ 303276 h 535590"/>
                  <a:gd name="connsiteX90" fmla="*/ 460534 w 3560636"/>
                  <a:gd name="connsiteY90" fmla="*/ 309372 h 535590"/>
                  <a:gd name="connsiteX91" fmla="*/ 464725 w 3560636"/>
                  <a:gd name="connsiteY91" fmla="*/ 309372 h 535590"/>
                  <a:gd name="connsiteX92" fmla="*/ 464725 w 3560636"/>
                  <a:gd name="connsiteY92" fmla="*/ 315468 h 535590"/>
                  <a:gd name="connsiteX93" fmla="*/ 538353 w 3560636"/>
                  <a:gd name="connsiteY93" fmla="*/ 315468 h 535590"/>
                  <a:gd name="connsiteX94" fmla="*/ 538353 w 3560636"/>
                  <a:gd name="connsiteY94" fmla="*/ 321468 h 535590"/>
                  <a:gd name="connsiteX95" fmla="*/ 559403 w 3560636"/>
                  <a:gd name="connsiteY95" fmla="*/ 321468 h 535590"/>
                  <a:gd name="connsiteX96" fmla="*/ 559403 w 3560636"/>
                  <a:gd name="connsiteY96" fmla="*/ 327564 h 535590"/>
                  <a:gd name="connsiteX97" fmla="*/ 565690 w 3560636"/>
                  <a:gd name="connsiteY97" fmla="*/ 327564 h 535590"/>
                  <a:gd name="connsiteX98" fmla="*/ 565690 w 3560636"/>
                  <a:gd name="connsiteY98" fmla="*/ 333660 h 535590"/>
                  <a:gd name="connsiteX99" fmla="*/ 607790 w 3560636"/>
                  <a:gd name="connsiteY99" fmla="*/ 333660 h 535590"/>
                  <a:gd name="connsiteX100" fmla="*/ 607790 w 3560636"/>
                  <a:gd name="connsiteY100" fmla="*/ 339661 h 535590"/>
                  <a:gd name="connsiteX101" fmla="*/ 622459 w 3560636"/>
                  <a:gd name="connsiteY101" fmla="*/ 339661 h 535590"/>
                  <a:gd name="connsiteX102" fmla="*/ 622459 w 3560636"/>
                  <a:gd name="connsiteY102" fmla="*/ 345757 h 535590"/>
                  <a:gd name="connsiteX103" fmla="*/ 651986 w 3560636"/>
                  <a:gd name="connsiteY103" fmla="*/ 345757 h 535590"/>
                  <a:gd name="connsiteX104" fmla="*/ 651986 w 3560636"/>
                  <a:gd name="connsiteY104" fmla="*/ 351853 h 535590"/>
                  <a:gd name="connsiteX105" fmla="*/ 654082 w 3560636"/>
                  <a:gd name="connsiteY105" fmla="*/ 351853 h 535590"/>
                  <a:gd name="connsiteX106" fmla="*/ 654082 w 3560636"/>
                  <a:gd name="connsiteY106" fmla="*/ 357854 h 535590"/>
                  <a:gd name="connsiteX107" fmla="*/ 677132 w 3560636"/>
                  <a:gd name="connsiteY107" fmla="*/ 357854 h 535590"/>
                  <a:gd name="connsiteX108" fmla="*/ 677132 w 3560636"/>
                  <a:gd name="connsiteY108" fmla="*/ 363950 h 535590"/>
                  <a:gd name="connsiteX109" fmla="*/ 689801 w 3560636"/>
                  <a:gd name="connsiteY109" fmla="*/ 363950 h 535590"/>
                  <a:gd name="connsiteX110" fmla="*/ 689801 w 3560636"/>
                  <a:gd name="connsiteY110" fmla="*/ 370046 h 535590"/>
                  <a:gd name="connsiteX111" fmla="*/ 725519 w 3560636"/>
                  <a:gd name="connsiteY111" fmla="*/ 370046 h 535590"/>
                  <a:gd name="connsiteX112" fmla="*/ 725519 w 3560636"/>
                  <a:gd name="connsiteY112" fmla="*/ 376142 h 535590"/>
                  <a:gd name="connsiteX113" fmla="*/ 841248 w 3560636"/>
                  <a:gd name="connsiteY113" fmla="*/ 376142 h 535590"/>
                  <a:gd name="connsiteX114" fmla="*/ 841248 w 3560636"/>
                  <a:gd name="connsiteY114" fmla="*/ 382143 h 535590"/>
                  <a:gd name="connsiteX115" fmla="*/ 879062 w 3560636"/>
                  <a:gd name="connsiteY115" fmla="*/ 382143 h 535590"/>
                  <a:gd name="connsiteX116" fmla="*/ 879062 w 3560636"/>
                  <a:gd name="connsiteY116" fmla="*/ 388334 h 535590"/>
                  <a:gd name="connsiteX117" fmla="*/ 931640 w 3560636"/>
                  <a:gd name="connsiteY117" fmla="*/ 388334 h 535590"/>
                  <a:gd name="connsiteX118" fmla="*/ 931640 w 3560636"/>
                  <a:gd name="connsiteY118" fmla="*/ 394430 h 535590"/>
                  <a:gd name="connsiteX119" fmla="*/ 950595 w 3560636"/>
                  <a:gd name="connsiteY119" fmla="*/ 394430 h 535590"/>
                  <a:gd name="connsiteX120" fmla="*/ 950595 w 3560636"/>
                  <a:gd name="connsiteY120" fmla="*/ 400526 h 535590"/>
                  <a:gd name="connsiteX121" fmla="*/ 961073 w 3560636"/>
                  <a:gd name="connsiteY121" fmla="*/ 400526 h 535590"/>
                  <a:gd name="connsiteX122" fmla="*/ 961073 w 3560636"/>
                  <a:gd name="connsiteY122" fmla="*/ 406717 h 535590"/>
                  <a:gd name="connsiteX123" fmla="*/ 994791 w 3560636"/>
                  <a:gd name="connsiteY123" fmla="*/ 406717 h 535590"/>
                  <a:gd name="connsiteX124" fmla="*/ 994791 w 3560636"/>
                  <a:gd name="connsiteY124" fmla="*/ 412813 h 535590"/>
                  <a:gd name="connsiteX125" fmla="*/ 1001078 w 3560636"/>
                  <a:gd name="connsiteY125" fmla="*/ 412813 h 535590"/>
                  <a:gd name="connsiteX126" fmla="*/ 1001078 w 3560636"/>
                  <a:gd name="connsiteY126" fmla="*/ 418909 h 535590"/>
                  <a:gd name="connsiteX127" fmla="*/ 1015746 w 3560636"/>
                  <a:gd name="connsiteY127" fmla="*/ 418909 h 535590"/>
                  <a:gd name="connsiteX128" fmla="*/ 1015746 w 3560636"/>
                  <a:gd name="connsiteY128" fmla="*/ 425005 h 535590"/>
                  <a:gd name="connsiteX129" fmla="*/ 1028414 w 3560636"/>
                  <a:gd name="connsiteY129" fmla="*/ 425005 h 535590"/>
                  <a:gd name="connsiteX130" fmla="*/ 1028414 w 3560636"/>
                  <a:gd name="connsiteY130" fmla="*/ 431196 h 535590"/>
                  <a:gd name="connsiteX131" fmla="*/ 1053656 w 3560636"/>
                  <a:gd name="connsiteY131" fmla="*/ 431196 h 535590"/>
                  <a:gd name="connsiteX132" fmla="*/ 1053656 w 3560636"/>
                  <a:gd name="connsiteY132" fmla="*/ 437292 h 535590"/>
                  <a:gd name="connsiteX133" fmla="*/ 1282922 w 3560636"/>
                  <a:gd name="connsiteY133" fmla="*/ 437292 h 535590"/>
                  <a:gd name="connsiteX134" fmla="*/ 1282922 w 3560636"/>
                  <a:gd name="connsiteY134" fmla="*/ 443484 h 535590"/>
                  <a:gd name="connsiteX135" fmla="*/ 1396460 w 3560636"/>
                  <a:gd name="connsiteY135" fmla="*/ 443484 h 535590"/>
                  <a:gd name="connsiteX136" fmla="*/ 1396460 w 3560636"/>
                  <a:gd name="connsiteY136" fmla="*/ 449675 h 535590"/>
                  <a:gd name="connsiteX137" fmla="*/ 1665637 w 3560636"/>
                  <a:gd name="connsiteY137" fmla="*/ 449675 h 535590"/>
                  <a:gd name="connsiteX138" fmla="*/ 1665637 w 3560636"/>
                  <a:gd name="connsiteY138" fmla="*/ 455961 h 535590"/>
                  <a:gd name="connsiteX139" fmla="*/ 1739265 w 3560636"/>
                  <a:gd name="connsiteY139" fmla="*/ 455961 h 535590"/>
                  <a:gd name="connsiteX140" fmla="*/ 1739265 w 3560636"/>
                  <a:gd name="connsiteY140" fmla="*/ 462248 h 535590"/>
                  <a:gd name="connsiteX141" fmla="*/ 1819180 w 3560636"/>
                  <a:gd name="connsiteY141" fmla="*/ 462248 h 535590"/>
                  <a:gd name="connsiteX142" fmla="*/ 1819180 w 3560636"/>
                  <a:gd name="connsiteY142" fmla="*/ 468534 h 535590"/>
                  <a:gd name="connsiteX143" fmla="*/ 1981105 w 3560636"/>
                  <a:gd name="connsiteY143" fmla="*/ 468534 h 535590"/>
                  <a:gd name="connsiteX144" fmla="*/ 1981105 w 3560636"/>
                  <a:gd name="connsiteY144" fmla="*/ 475011 h 535590"/>
                  <a:gd name="connsiteX145" fmla="*/ 1997964 w 3560636"/>
                  <a:gd name="connsiteY145" fmla="*/ 475011 h 535590"/>
                  <a:gd name="connsiteX146" fmla="*/ 1997964 w 3560636"/>
                  <a:gd name="connsiteY146" fmla="*/ 481393 h 535590"/>
                  <a:gd name="connsiteX147" fmla="*/ 2115788 w 3560636"/>
                  <a:gd name="connsiteY147" fmla="*/ 481393 h 535590"/>
                  <a:gd name="connsiteX148" fmla="*/ 2115788 w 3560636"/>
                  <a:gd name="connsiteY148" fmla="*/ 487870 h 535590"/>
                  <a:gd name="connsiteX149" fmla="*/ 2208276 w 3560636"/>
                  <a:gd name="connsiteY149" fmla="*/ 487870 h 535590"/>
                  <a:gd name="connsiteX150" fmla="*/ 2208276 w 3560636"/>
                  <a:gd name="connsiteY150" fmla="*/ 494252 h 535590"/>
                  <a:gd name="connsiteX151" fmla="*/ 2227231 w 3560636"/>
                  <a:gd name="connsiteY151" fmla="*/ 494252 h 535590"/>
                  <a:gd name="connsiteX152" fmla="*/ 2227231 w 3560636"/>
                  <a:gd name="connsiteY152" fmla="*/ 500729 h 535590"/>
                  <a:gd name="connsiteX153" fmla="*/ 3081052 w 3560636"/>
                  <a:gd name="connsiteY153" fmla="*/ 500729 h 535590"/>
                  <a:gd name="connsiteX154" fmla="*/ 3081052 w 3560636"/>
                  <a:gd name="connsiteY154" fmla="*/ 535590 h 535590"/>
                  <a:gd name="connsiteX155" fmla="*/ 3560636 w 3560636"/>
                  <a:gd name="connsiteY155" fmla="*/ 535590 h 535590"/>
                  <a:gd name="connsiteX0" fmla="*/ 0 w 3550159"/>
                  <a:gd name="connsiteY0" fmla="*/ 0 h 535590"/>
                  <a:gd name="connsiteX1" fmla="*/ 0 w 3550159"/>
                  <a:gd name="connsiteY1" fmla="*/ 6096 h 535590"/>
                  <a:gd name="connsiteX2" fmla="*/ 6287 w 3550159"/>
                  <a:gd name="connsiteY2" fmla="*/ 6096 h 535590"/>
                  <a:gd name="connsiteX3" fmla="*/ 6287 w 3550159"/>
                  <a:gd name="connsiteY3" fmla="*/ 12096 h 535590"/>
                  <a:gd name="connsiteX4" fmla="*/ 21051 w 3550159"/>
                  <a:gd name="connsiteY4" fmla="*/ 12096 h 535590"/>
                  <a:gd name="connsiteX5" fmla="*/ 21051 w 3550159"/>
                  <a:gd name="connsiteY5" fmla="*/ 18192 h 535590"/>
                  <a:gd name="connsiteX6" fmla="*/ 29433 w 3550159"/>
                  <a:gd name="connsiteY6" fmla="*/ 18192 h 535590"/>
                  <a:gd name="connsiteX7" fmla="*/ 29433 w 3550159"/>
                  <a:gd name="connsiteY7" fmla="*/ 24288 h 535590"/>
                  <a:gd name="connsiteX8" fmla="*/ 40006 w 3550159"/>
                  <a:gd name="connsiteY8" fmla="*/ 24288 h 535590"/>
                  <a:gd name="connsiteX9" fmla="*/ 40006 w 3550159"/>
                  <a:gd name="connsiteY9" fmla="*/ 30289 h 535590"/>
                  <a:gd name="connsiteX10" fmla="*/ 52579 w 3550159"/>
                  <a:gd name="connsiteY10" fmla="*/ 30289 h 535590"/>
                  <a:gd name="connsiteX11" fmla="*/ 52579 w 3550159"/>
                  <a:gd name="connsiteY11" fmla="*/ 36385 h 535590"/>
                  <a:gd name="connsiteX12" fmla="*/ 58865 w 3550159"/>
                  <a:gd name="connsiteY12" fmla="*/ 36385 h 535590"/>
                  <a:gd name="connsiteX13" fmla="*/ 58865 w 3550159"/>
                  <a:gd name="connsiteY13" fmla="*/ 48482 h 535590"/>
                  <a:gd name="connsiteX14" fmla="*/ 63056 w 3550159"/>
                  <a:gd name="connsiteY14" fmla="*/ 48482 h 535590"/>
                  <a:gd name="connsiteX15" fmla="*/ 63056 w 3550159"/>
                  <a:gd name="connsiteY15" fmla="*/ 54578 h 535590"/>
                  <a:gd name="connsiteX16" fmla="*/ 75724 w 3550159"/>
                  <a:gd name="connsiteY16" fmla="*/ 54578 h 535590"/>
                  <a:gd name="connsiteX17" fmla="*/ 75724 w 3550159"/>
                  <a:gd name="connsiteY17" fmla="*/ 60674 h 535590"/>
                  <a:gd name="connsiteX18" fmla="*/ 90393 w 3550159"/>
                  <a:gd name="connsiteY18" fmla="*/ 60674 h 535590"/>
                  <a:gd name="connsiteX19" fmla="*/ 90393 w 3550159"/>
                  <a:gd name="connsiteY19" fmla="*/ 66675 h 535590"/>
                  <a:gd name="connsiteX20" fmla="*/ 94679 w 3550159"/>
                  <a:gd name="connsiteY20" fmla="*/ 66675 h 535590"/>
                  <a:gd name="connsiteX21" fmla="*/ 94679 w 3550159"/>
                  <a:gd name="connsiteY21" fmla="*/ 72771 h 535590"/>
                  <a:gd name="connsiteX22" fmla="*/ 105156 w 3550159"/>
                  <a:gd name="connsiteY22" fmla="*/ 72771 h 535590"/>
                  <a:gd name="connsiteX23" fmla="*/ 105156 w 3550159"/>
                  <a:gd name="connsiteY23" fmla="*/ 78867 h 535590"/>
                  <a:gd name="connsiteX24" fmla="*/ 113539 w 3550159"/>
                  <a:gd name="connsiteY24" fmla="*/ 78867 h 535590"/>
                  <a:gd name="connsiteX25" fmla="*/ 113539 w 3550159"/>
                  <a:gd name="connsiteY25" fmla="*/ 84963 h 535590"/>
                  <a:gd name="connsiteX26" fmla="*/ 128302 w 3550159"/>
                  <a:gd name="connsiteY26" fmla="*/ 84963 h 535590"/>
                  <a:gd name="connsiteX27" fmla="*/ 128302 w 3550159"/>
                  <a:gd name="connsiteY27" fmla="*/ 90963 h 535590"/>
                  <a:gd name="connsiteX28" fmla="*/ 132493 w 3550159"/>
                  <a:gd name="connsiteY28" fmla="*/ 90963 h 535590"/>
                  <a:gd name="connsiteX29" fmla="*/ 132493 w 3550159"/>
                  <a:gd name="connsiteY29" fmla="*/ 97059 h 535590"/>
                  <a:gd name="connsiteX30" fmla="*/ 136684 w 3550159"/>
                  <a:gd name="connsiteY30" fmla="*/ 97059 h 535590"/>
                  <a:gd name="connsiteX31" fmla="*/ 136684 w 3550159"/>
                  <a:gd name="connsiteY31" fmla="*/ 103155 h 535590"/>
                  <a:gd name="connsiteX32" fmla="*/ 149353 w 3550159"/>
                  <a:gd name="connsiteY32" fmla="*/ 103155 h 535590"/>
                  <a:gd name="connsiteX33" fmla="*/ 149353 w 3550159"/>
                  <a:gd name="connsiteY33" fmla="*/ 109156 h 535590"/>
                  <a:gd name="connsiteX34" fmla="*/ 178785 w 3550159"/>
                  <a:gd name="connsiteY34" fmla="*/ 109156 h 535590"/>
                  <a:gd name="connsiteX35" fmla="*/ 178785 w 3550159"/>
                  <a:gd name="connsiteY35" fmla="*/ 115252 h 535590"/>
                  <a:gd name="connsiteX36" fmla="*/ 187167 w 3550159"/>
                  <a:gd name="connsiteY36" fmla="*/ 115252 h 535590"/>
                  <a:gd name="connsiteX37" fmla="*/ 187167 w 3550159"/>
                  <a:gd name="connsiteY37" fmla="*/ 121348 h 535590"/>
                  <a:gd name="connsiteX38" fmla="*/ 189262 w 3550159"/>
                  <a:gd name="connsiteY38" fmla="*/ 121348 h 535590"/>
                  <a:gd name="connsiteX39" fmla="*/ 189262 w 3550159"/>
                  <a:gd name="connsiteY39" fmla="*/ 127349 h 535590"/>
                  <a:gd name="connsiteX40" fmla="*/ 204026 w 3550159"/>
                  <a:gd name="connsiteY40" fmla="*/ 127349 h 535590"/>
                  <a:gd name="connsiteX41" fmla="*/ 204026 w 3550159"/>
                  <a:gd name="connsiteY41" fmla="*/ 139541 h 535590"/>
                  <a:gd name="connsiteX42" fmla="*/ 206122 w 3550159"/>
                  <a:gd name="connsiteY42" fmla="*/ 139541 h 535590"/>
                  <a:gd name="connsiteX43" fmla="*/ 206122 w 3550159"/>
                  <a:gd name="connsiteY43" fmla="*/ 145542 h 535590"/>
                  <a:gd name="connsiteX44" fmla="*/ 212408 w 3550159"/>
                  <a:gd name="connsiteY44" fmla="*/ 145542 h 535590"/>
                  <a:gd name="connsiteX45" fmla="*/ 212408 w 3550159"/>
                  <a:gd name="connsiteY45" fmla="*/ 151638 h 535590"/>
                  <a:gd name="connsiteX46" fmla="*/ 216599 w 3550159"/>
                  <a:gd name="connsiteY46" fmla="*/ 151638 h 535590"/>
                  <a:gd name="connsiteX47" fmla="*/ 216599 w 3550159"/>
                  <a:gd name="connsiteY47" fmla="*/ 157734 h 535590"/>
                  <a:gd name="connsiteX48" fmla="*/ 233458 w 3550159"/>
                  <a:gd name="connsiteY48" fmla="*/ 157734 h 535590"/>
                  <a:gd name="connsiteX49" fmla="*/ 233458 w 3550159"/>
                  <a:gd name="connsiteY49" fmla="*/ 169830 h 535590"/>
                  <a:gd name="connsiteX50" fmla="*/ 237649 w 3550159"/>
                  <a:gd name="connsiteY50" fmla="*/ 169830 h 535590"/>
                  <a:gd name="connsiteX51" fmla="*/ 237649 w 3550159"/>
                  <a:gd name="connsiteY51" fmla="*/ 175926 h 535590"/>
                  <a:gd name="connsiteX52" fmla="*/ 260795 w 3550159"/>
                  <a:gd name="connsiteY52" fmla="*/ 175926 h 535590"/>
                  <a:gd name="connsiteX53" fmla="*/ 260795 w 3550159"/>
                  <a:gd name="connsiteY53" fmla="*/ 182022 h 535590"/>
                  <a:gd name="connsiteX54" fmla="*/ 264986 w 3550159"/>
                  <a:gd name="connsiteY54" fmla="*/ 182022 h 535590"/>
                  <a:gd name="connsiteX55" fmla="*/ 264986 w 3550159"/>
                  <a:gd name="connsiteY55" fmla="*/ 188023 h 535590"/>
                  <a:gd name="connsiteX56" fmla="*/ 271273 w 3550159"/>
                  <a:gd name="connsiteY56" fmla="*/ 188023 h 535590"/>
                  <a:gd name="connsiteX57" fmla="*/ 271273 w 3550159"/>
                  <a:gd name="connsiteY57" fmla="*/ 200215 h 535590"/>
                  <a:gd name="connsiteX58" fmla="*/ 290227 w 3550159"/>
                  <a:gd name="connsiteY58" fmla="*/ 200215 h 535590"/>
                  <a:gd name="connsiteX59" fmla="*/ 290227 w 3550159"/>
                  <a:gd name="connsiteY59" fmla="*/ 206216 h 535590"/>
                  <a:gd name="connsiteX60" fmla="*/ 298609 w 3550159"/>
                  <a:gd name="connsiteY60" fmla="*/ 206216 h 535590"/>
                  <a:gd name="connsiteX61" fmla="*/ 298609 w 3550159"/>
                  <a:gd name="connsiteY61" fmla="*/ 212312 h 535590"/>
                  <a:gd name="connsiteX62" fmla="*/ 311278 w 3550159"/>
                  <a:gd name="connsiteY62" fmla="*/ 212312 h 535590"/>
                  <a:gd name="connsiteX63" fmla="*/ 311278 w 3550159"/>
                  <a:gd name="connsiteY63" fmla="*/ 218408 h 535590"/>
                  <a:gd name="connsiteX64" fmla="*/ 328137 w 3550159"/>
                  <a:gd name="connsiteY64" fmla="*/ 218408 h 535590"/>
                  <a:gd name="connsiteX65" fmla="*/ 328137 w 3550159"/>
                  <a:gd name="connsiteY65" fmla="*/ 224409 h 535590"/>
                  <a:gd name="connsiteX66" fmla="*/ 355474 w 3550159"/>
                  <a:gd name="connsiteY66" fmla="*/ 224409 h 535590"/>
                  <a:gd name="connsiteX67" fmla="*/ 355474 w 3550159"/>
                  <a:gd name="connsiteY67" fmla="*/ 230505 h 535590"/>
                  <a:gd name="connsiteX68" fmla="*/ 357569 w 3550159"/>
                  <a:gd name="connsiteY68" fmla="*/ 230505 h 535590"/>
                  <a:gd name="connsiteX69" fmla="*/ 357569 w 3550159"/>
                  <a:gd name="connsiteY69" fmla="*/ 236601 h 535590"/>
                  <a:gd name="connsiteX70" fmla="*/ 368046 w 3550159"/>
                  <a:gd name="connsiteY70" fmla="*/ 236601 h 535590"/>
                  <a:gd name="connsiteX71" fmla="*/ 368046 w 3550159"/>
                  <a:gd name="connsiteY71" fmla="*/ 242601 h 535590"/>
                  <a:gd name="connsiteX72" fmla="*/ 374333 w 3550159"/>
                  <a:gd name="connsiteY72" fmla="*/ 242601 h 535590"/>
                  <a:gd name="connsiteX73" fmla="*/ 374333 w 3550159"/>
                  <a:gd name="connsiteY73" fmla="*/ 254793 h 535590"/>
                  <a:gd name="connsiteX74" fmla="*/ 382810 w 3550159"/>
                  <a:gd name="connsiteY74" fmla="*/ 254793 h 535590"/>
                  <a:gd name="connsiteX75" fmla="*/ 382810 w 3550159"/>
                  <a:gd name="connsiteY75" fmla="*/ 260794 h 535590"/>
                  <a:gd name="connsiteX76" fmla="*/ 389097 w 3550159"/>
                  <a:gd name="connsiteY76" fmla="*/ 260794 h 535590"/>
                  <a:gd name="connsiteX77" fmla="*/ 389097 w 3550159"/>
                  <a:gd name="connsiteY77" fmla="*/ 272986 h 535590"/>
                  <a:gd name="connsiteX78" fmla="*/ 391192 w 3550159"/>
                  <a:gd name="connsiteY78" fmla="*/ 272986 h 535590"/>
                  <a:gd name="connsiteX79" fmla="*/ 391192 w 3550159"/>
                  <a:gd name="connsiteY79" fmla="*/ 279082 h 535590"/>
                  <a:gd name="connsiteX80" fmla="*/ 403765 w 3550159"/>
                  <a:gd name="connsiteY80" fmla="*/ 279082 h 535590"/>
                  <a:gd name="connsiteX81" fmla="*/ 403765 w 3550159"/>
                  <a:gd name="connsiteY81" fmla="*/ 285083 h 535590"/>
                  <a:gd name="connsiteX82" fmla="*/ 426911 w 3550159"/>
                  <a:gd name="connsiteY82" fmla="*/ 285083 h 535590"/>
                  <a:gd name="connsiteX83" fmla="*/ 426911 w 3550159"/>
                  <a:gd name="connsiteY83" fmla="*/ 291179 h 535590"/>
                  <a:gd name="connsiteX84" fmla="*/ 433293 w 3550159"/>
                  <a:gd name="connsiteY84" fmla="*/ 291179 h 535590"/>
                  <a:gd name="connsiteX85" fmla="*/ 433293 w 3550159"/>
                  <a:gd name="connsiteY85" fmla="*/ 297275 h 535590"/>
                  <a:gd name="connsiteX86" fmla="*/ 441675 w 3550159"/>
                  <a:gd name="connsiteY86" fmla="*/ 297275 h 535590"/>
                  <a:gd name="connsiteX87" fmla="*/ 441675 w 3550159"/>
                  <a:gd name="connsiteY87" fmla="*/ 303276 h 535590"/>
                  <a:gd name="connsiteX88" fmla="*/ 450057 w 3550159"/>
                  <a:gd name="connsiteY88" fmla="*/ 303276 h 535590"/>
                  <a:gd name="connsiteX89" fmla="*/ 450057 w 3550159"/>
                  <a:gd name="connsiteY89" fmla="*/ 309372 h 535590"/>
                  <a:gd name="connsiteX90" fmla="*/ 454248 w 3550159"/>
                  <a:gd name="connsiteY90" fmla="*/ 309372 h 535590"/>
                  <a:gd name="connsiteX91" fmla="*/ 454248 w 3550159"/>
                  <a:gd name="connsiteY91" fmla="*/ 315468 h 535590"/>
                  <a:gd name="connsiteX92" fmla="*/ 527876 w 3550159"/>
                  <a:gd name="connsiteY92" fmla="*/ 315468 h 535590"/>
                  <a:gd name="connsiteX93" fmla="*/ 527876 w 3550159"/>
                  <a:gd name="connsiteY93" fmla="*/ 321468 h 535590"/>
                  <a:gd name="connsiteX94" fmla="*/ 548926 w 3550159"/>
                  <a:gd name="connsiteY94" fmla="*/ 321468 h 535590"/>
                  <a:gd name="connsiteX95" fmla="*/ 548926 w 3550159"/>
                  <a:gd name="connsiteY95" fmla="*/ 327564 h 535590"/>
                  <a:gd name="connsiteX96" fmla="*/ 555213 w 3550159"/>
                  <a:gd name="connsiteY96" fmla="*/ 327564 h 535590"/>
                  <a:gd name="connsiteX97" fmla="*/ 555213 w 3550159"/>
                  <a:gd name="connsiteY97" fmla="*/ 333660 h 535590"/>
                  <a:gd name="connsiteX98" fmla="*/ 597313 w 3550159"/>
                  <a:gd name="connsiteY98" fmla="*/ 333660 h 535590"/>
                  <a:gd name="connsiteX99" fmla="*/ 597313 w 3550159"/>
                  <a:gd name="connsiteY99" fmla="*/ 339661 h 535590"/>
                  <a:gd name="connsiteX100" fmla="*/ 611982 w 3550159"/>
                  <a:gd name="connsiteY100" fmla="*/ 339661 h 535590"/>
                  <a:gd name="connsiteX101" fmla="*/ 611982 w 3550159"/>
                  <a:gd name="connsiteY101" fmla="*/ 345757 h 535590"/>
                  <a:gd name="connsiteX102" fmla="*/ 641509 w 3550159"/>
                  <a:gd name="connsiteY102" fmla="*/ 345757 h 535590"/>
                  <a:gd name="connsiteX103" fmla="*/ 641509 w 3550159"/>
                  <a:gd name="connsiteY103" fmla="*/ 351853 h 535590"/>
                  <a:gd name="connsiteX104" fmla="*/ 643605 w 3550159"/>
                  <a:gd name="connsiteY104" fmla="*/ 351853 h 535590"/>
                  <a:gd name="connsiteX105" fmla="*/ 643605 w 3550159"/>
                  <a:gd name="connsiteY105" fmla="*/ 357854 h 535590"/>
                  <a:gd name="connsiteX106" fmla="*/ 666655 w 3550159"/>
                  <a:gd name="connsiteY106" fmla="*/ 357854 h 535590"/>
                  <a:gd name="connsiteX107" fmla="*/ 666655 w 3550159"/>
                  <a:gd name="connsiteY107" fmla="*/ 363950 h 535590"/>
                  <a:gd name="connsiteX108" fmla="*/ 679324 w 3550159"/>
                  <a:gd name="connsiteY108" fmla="*/ 363950 h 535590"/>
                  <a:gd name="connsiteX109" fmla="*/ 679324 w 3550159"/>
                  <a:gd name="connsiteY109" fmla="*/ 370046 h 535590"/>
                  <a:gd name="connsiteX110" fmla="*/ 715042 w 3550159"/>
                  <a:gd name="connsiteY110" fmla="*/ 370046 h 535590"/>
                  <a:gd name="connsiteX111" fmla="*/ 715042 w 3550159"/>
                  <a:gd name="connsiteY111" fmla="*/ 376142 h 535590"/>
                  <a:gd name="connsiteX112" fmla="*/ 830771 w 3550159"/>
                  <a:gd name="connsiteY112" fmla="*/ 376142 h 535590"/>
                  <a:gd name="connsiteX113" fmla="*/ 830771 w 3550159"/>
                  <a:gd name="connsiteY113" fmla="*/ 382143 h 535590"/>
                  <a:gd name="connsiteX114" fmla="*/ 868585 w 3550159"/>
                  <a:gd name="connsiteY114" fmla="*/ 382143 h 535590"/>
                  <a:gd name="connsiteX115" fmla="*/ 868585 w 3550159"/>
                  <a:gd name="connsiteY115" fmla="*/ 388334 h 535590"/>
                  <a:gd name="connsiteX116" fmla="*/ 921163 w 3550159"/>
                  <a:gd name="connsiteY116" fmla="*/ 388334 h 535590"/>
                  <a:gd name="connsiteX117" fmla="*/ 921163 w 3550159"/>
                  <a:gd name="connsiteY117" fmla="*/ 394430 h 535590"/>
                  <a:gd name="connsiteX118" fmla="*/ 940118 w 3550159"/>
                  <a:gd name="connsiteY118" fmla="*/ 394430 h 535590"/>
                  <a:gd name="connsiteX119" fmla="*/ 940118 w 3550159"/>
                  <a:gd name="connsiteY119" fmla="*/ 400526 h 535590"/>
                  <a:gd name="connsiteX120" fmla="*/ 950596 w 3550159"/>
                  <a:gd name="connsiteY120" fmla="*/ 400526 h 535590"/>
                  <a:gd name="connsiteX121" fmla="*/ 950596 w 3550159"/>
                  <a:gd name="connsiteY121" fmla="*/ 406717 h 535590"/>
                  <a:gd name="connsiteX122" fmla="*/ 984314 w 3550159"/>
                  <a:gd name="connsiteY122" fmla="*/ 406717 h 535590"/>
                  <a:gd name="connsiteX123" fmla="*/ 984314 w 3550159"/>
                  <a:gd name="connsiteY123" fmla="*/ 412813 h 535590"/>
                  <a:gd name="connsiteX124" fmla="*/ 990601 w 3550159"/>
                  <a:gd name="connsiteY124" fmla="*/ 412813 h 535590"/>
                  <a:gd name="connsiteX125" fmla="*/ 990601 w 3550159"/>
                  <a:gd name="connsiteY125" fmla="*/ 418909 h 535590"/>
                  <a:gd name="connsiteX126" fmla="*/ 1005269 w 3550159"/>
                  <a:gd name="connsiteY126" fmla="*/ 418909 h 535590"/>
                  <a:gd name="connsiteX127" fmla="*/ 1005269 w 3550159"/>
                  <a:gd name="connsiteY127" fmla="*/ 425005 h 535590"/>
                  <a:gd name="connsiteX128" fmla="*/ 1017937 w 3550159"/>
                  <a:gd name="connsiteY128" fmla="*/ 425005 h 535590"/>
                  <a:gd name="connsiteX129" fmla="*/ 1017937 w 3550159"/>
                  <a:gd name="connsiteY129" fmla="*/ 431196 h 535590"/>
                  <a:gd name="connsiteX130" fmla="*/ 1043179 w 3550159"/>
                  <a:gd name="connsiteY130" fmla="*/ 431196 h 535590"/>
                  <a:gd name="connsiteX131" fmla="*/ 1043179 w 3550159"/>
                  <a:gd name="connsiteY131" fmla="*/ 437292 h 535590"/>
                  <a:gd name="connsiteX132" fmla="*/ 1272445 w 3550159"/>
                  <a:gd name="connsiteY132" fmla="*/ 437292 h 535590"/>
                  <a:gd name="connsiteX133" fmla="*/ 1272445 w 3550159"/>
                  <a:gd name="connsiteY133" fmla="*/ 443484 h 535590"/>
                  <a:gd name="connsiteX134" fmla="*/ 1385983 w 3550159"/>
                  <a:gd name="connsiteY134" fmla="*/ 443484 h 535590"/>
                  <a:gd name="connsiteX135" fmla="*/ 1385983 w 3550159"/>
                  <a:gd name="connsiteY135" fmla="*/ 449675 h 535590"/>
                  <a:gd name="connsiteX136" fmla="*/ 1655160 w 3550159"/>
                  <a:gd name="connsiteY136" fmla="*/ 449675 h 535590"/>
                  <a:gd name="connsiteX137" fmla="*/ 1655160 w 3550159"/>
                  <a:gd name="connsiteY137" fmla="*/ 455961 h 535590"/>
                  <a:gd name="connsiteX138" fmla="*/ 1728788 w 3550159"/>
                  <a:gd name="connsiteY138" fmla="*/ 455961 h 535590"/>
                  <a:gd name="connsiteX139" fmla="*/ 1728788 w 3550159"/>
                  <a:gd name="connsiteY139" fmla="*/ 462248 h 535590"/>
                  <a:gd name="connsiteX140" fmla="*/ 1808703 w 3550159"/>
                  <a:gd name="connsiteY140" fmla="*/ 462248 h 535590"/>
                  <a:gd name="connsiteX141" fmla="*/ 1808703 w 3550159"/>
                  <a:gd name="connsiteY141" fmla="*/ 468534 h 535590"/>
                  <a:gd name="connsiteX142" fmla="*/ 1970628 w 3550159"/>
                  <a:gd name="connsiteY142" fmla="*/ 468534 h 535590"/>
                  <a:gd name="connsiteX143" fmla="*/ 1970628 w 3550159"/>
                  <a:gd name="connsiteY143" fmla="*/ 475011 h 535590"/>
                  <a:gd name="connsiteX144" fmla="*/ 1987487 w 3550159"/>
                  <a:gd name="connsiteY144" fmla="*/ 475011 h 535590"/>
                  <a:gd name="connsiteX145" fmla="*/ 1987487 w 3550159"/>
                  <a:gd name="connsiteY145" fmla="*/ 481393 h 535590"/>
                  <a:gd name="connsiteX146" fmla="*/ 2105311 w 3550159"/>
                  <a:gd name="connsiteY146" fmla="*/ 481393 h 535590"/>
                  <a:gd name="connsiteX147" fmla="*/ 2105311 w 3550159"/>
                  <a:gd name="connsiteY147" fmla="*/ 487870 h 535590"/>
                  <a:gd name="connsiteX148" fmla="*/ 2197799 w 3550159"/>
                  <a:gd name="connsiteY148" fmla="*/ 487870 h 535590"/>
                  <a:gd name="connsiteX149" fmla="*/ 2197799 w 3550159"/>
                  <a:gd name="connsiteY149" fmla="*/ 494252 h 535590"/>
                  <a:gd name="connsiteX150" fmla="*/ 2216754 w 3550159"/>
                  <a:gd name="connsiteY150" fmla="*/ 494252 h 535590"/>
                  <a:gd name="connsiteX151" fmla="*/ 2216754 w 3550159"/>
                  <a:gd name="connsiteY151" fmla="*/ 500729 h 535590"/>
                  <a:gd name="connsiteX152" fmla="*/ 3070575 w 3550159"/>
                  <a:gd name="connsiteY152" fmla="*/ 500729 h 535590"/>
                  <a:gd name="connsiteX153" fmla="*/ 3070575 w 3550159"/>
                  <a:gd name="connsiteY153" fmla="*/ 535590 h 535590"/>
                  <a:gd name="connsiteX154" fmla="*/ 3550159 w 3550159"/>
                  <a:gd name="connsiteY154" fmla="*/ 535590 h 535590"/>
                  <a:gd name="connsiteX0" fmla="*/ 0 w 3550159"/>
                  <a:gd name="connsiteY0" fmla="*/ 0 h 529494"/>
                  <a:gd name="connsiteX1" fmla="*/ 6287 w 3550159"/>
                  <a:gd name="connsiteY1" fmla="*/ 0 h 529494"/>
                  <a:gd name="connsiteX2" fmla="*/ 6287 w 3550159"/>
                  <a:gd name="connsiteY2" fmla="*/ 6000 h 529494"/>
                  <a:gd name="connsiteX3" fmla="*/ 21051 w 3550159"/>
                  <a:gd name="connsiteY3" fmla="*/ 6000 h 529494"/>
                  <a:gd name="connsiteX4" fmla="*/ 21051 w 3550159"/>
                  <a:gd name="connsiteY4" fmla="*/ 12096 h 529494"/>
                  <a:gd name="connsiteX5" fmla="*/ 29433 w 3550159"/>
                  <a:gd name="connsiteY5" fmla="*/ 12096 h 529494"/>
                  <a:gd name="connsiteX6" fmla="*/ 29433 w 3550159"/>
                  <a:gd name="connsiteY6" fmla="*/ 18192 h 529494"/>
                  <a:gd name="connsiteX7" fmla="*/ 40006 w 3550159"/>
                  <a:gd name="connsiteY7" fmla="*/ 18192 h 529494"/>
                  <a:gd name="connsiteX8" fmla="*/ 40006 w 3550159"/>
                  <a:gd name="connsiteY8" fmla="*/ 24193 h 529494"/>
                  <a:gd name="connsiteX9" fmla="*/ 52579 w 3550159"/>
                  <a:gd name="connsiteY9" fmla="*/ 24193 h 529494"/>
                  <a:gd name="connsiteX10" fmla="*/ 52579 w 3550159"/>
                  <a:gd name="connsiteY10" fmla="*/ 30289 h 529494"/>
                  <a:gd name="connsiteX11" fmla="*/ 58865 w 3550159"/>
                  <a:gd name="connsiteY11" fmla="*/ 30289 h 529494"/>
                  <a:gd name="connsiteX12" fmla="*/ 58865 w 3550159"/>
                  <a:gd name="connsiteY12" fmla="*/ 42386 h 529494"/>
                  <a:gd name="connsiteX13" fmla="*/ 63056 w 3550159"/>
                  <a:gd name="connsiteY13" fmla="*/ 42386 h 529494"/>
                  <a:gd name="connsiteX14" fmla="*/ 63056 w 3550159"/>
                  <a:gd name="connsiteY14" fmla="*/ 48482 h 529494"/>
                  <a:gd name="connsiteX15" fmla="*/ 75724 w 3550159"/>
                  <a:gd name="connsiteY15" fmla="*/ 48482 h 529494"/>
                  <a:gd name="connsiteX16" fmla="*/ 75724 w 3550159"/>
                  <a:gd name="connsiteY16" fmla="*/ 54578 h 529494"/>
                  <a:gd name="connsiteX17" fmla="*/ 90393 w 3550159"/>
                  <a:gd name="connsiteY17" fmla="*/ 54578 h 529494"/>
                  <a:gd name="connsiteX18" fmla="*/ 90393 w 3550159"/>
                  <a:gd name="connsiteY18" fmla="*/ 60579 h 529494"/>
                  <a:gd name="connsiteX19" fmla="*/ 94679 w 3550159"/>
                  <a:gd name="connsiteY19" fmla="*/ 60579 h 529494"/>
                  <a:gd name="connsiteX20" fmla="*/ 94679 w 3550159"/>
                  <a:gd name="connsiteY20" fmla="*/ 66675 h 529494"/>
                  <a:gd name="connsiteX21" fmla="*/ 105156 w 3550159"/>
                  <a:gd name="connsiteY21" fmla="*/ 66675 h 529494"/>
                  <a:gd name="connsiteX22" fmla="*/ 105156 w 3550159"/>
                  <a:gd name="connsiteY22" fmla="*/ 72771 h 529494"/>
                  <a:gd name="connsiteX23" fmla="*/ 113539 w 3550159"/>
                  <a:gd name="connsiteY23" fmla="*/ 72771 h 529494"/>
                  <a:gd name="connsiteX24" fmla="*/ 113539 w 3550159"/>
                  <a:gd name="connsiteY24" fmla="*/ 78867 h 529494"/>
                  <a:gd name="connsiteX25" fmla="*/ 128302 w 3550159"/>
                  <a:gd name="connsiteY25" fmla="*/ 78867 h 529494"/>
                  <a:gd name="connsiteX26" fmla="*/ 128302 w 3550159"/>
                  <a:gd name="connsiteY26" fmla="*/ 84867 h 529494"/>
                  <a:gd name="connsiteX27" fmla="*/ 132493 w 3550159"/>
                  <a:gd name="connsiteY27" fmla="*/ 84867 h 529494"/>
                  <a:gd name="connsiteX28" fmla="*/ 132493 w 3550159"/>
                  <a:gd name="connsiteY28" fmla="*/ 90963 h 529494"/>
                  <a:gd name="connsiteX29" fmla="*/ 136684 w 3550159"/>
                  <a:gd name="connsiteY29" fmla="*/ 90963 h 529494"/>
                  <a:gd name="connsiteX30" fmla="*/ 136684 w 3550159"/>
                  <a:gd name="connsiteY30" fmla="*/ 97059 h 529494"/>
                  <a:gd name="connsiteX31" fmla="*/ 149353 w 3550159"/>
                  <a:gd name="connsiteY31" fmla="*/ 97059 h 529494"/>
                  <a:gd name="connsiteX32" fmla="*/ 149353 w 3550159"/>
                  <a:gd name="connsiteY32" fmla="*/ 103060 h 529494"/>
                  <a:gd name="connsiteX33" fmla="*/ 178785 w 3550159"/>
                  <a:gd name="connsiteY33" fmla="*/ 103060 h 529494"/>
                  <a:gd name="connsiteX34" fmla="*/ 178785 w 3550159"/>
                  <a:gd name="connsiteY34" fmla="*/ 109156 h 529494"/>
                  <a:gd name="connsiteX35" fmla="*/ 187167 w 3550159"/>
                  <a:gd name="connsiteY35" fmla="*/ 109156 h 529494"/>
                  <a:gd name="connsiteX36" fmla="*/ 187167 w 3550159"/>
                  <a:gd name="connsiteY36" fmla="*/ 115252 h 529494"/>
                  <a:gd name="connsiteX37" fmla="*/ 189262 w 3550159"/>
                  <a:gd name="connsiteY37" fmla="*/ 115252 h 529494"/>
                  <a:gd name="connsiteX38" fmla="*/ 189262 w 3550159"/>
                  <a:gd name="connsiteY38" fmla="*/ 121253 h 529494"/>
                  <a:gd name="connsiteX39" fmla="*/ 204026 w 3550159"/>
                  <a:gd name="connsiteY39" fmla="*/ 121253 h 529494"/>
                  <a:gd name="connsiteX40" fmla="*/ 204026 w 3550159"/>
                  <a:gd name="connsiteY40" fmla="*/ 133445 h 529494"/>
                  <a:gd name="connsiteX41" fmla="*/ 206122 w 3550159"/>
                  <a:gd name="connsiteY41" fmla="*/ 133445 h 529494"/>
                  <a:gd name="connsiteX42" fmla="*/ 206122 w 3550159"/>
                  <a:gd name="connsiteY42" fmla="*/ 139446 h 529494"/>
                  <a:gd name="connsiteX43" fmla="*/ 212408 w 3550159"/>
                  <a:gd name="connsiteY43" fmla="*/ 139446 h 529494"/>
                  <a:gd name="connsiteX44" fmla="*/ 212408 w 3550159"/>
                  <a:gd name="connsiteY44" fmla="*/ 145542 h 529494"/>
                  <a:gd name="connsiteX45" fmla="*/ 216599 w 3550159"/>
                  <a:gd name="connsiteY45" fmla="*/ 145542 h 529494"/>
                  <a:gd name="connsiteX46" fmla="*/ 216599 w 3550159"/>
                  <a:gd name="connsiteY46" fmla="*/ 151638 h 529494"/>
                  <a:gd name="connsiteX47" fmla="*/ 233458 w 3550159"/>
                  <a:gd name="connsiteY47" fmla="*/ 151638 h 529494"/>
                  <a:gd name="connsiteX48" fmla="*/ 233458 w 3550159"/>
                  <a:gd name="connsiteY48" fmla="*/ 163734 h 529494"/>
                  <a:gd name="connsiteX49" fmla="*/ 237649 w 3550159"/>
                  <a:gd name="connsiteY49" fmla="*/ 163734 h 529494"/>
                  <a:gd name="connsiteX50" fmla="*/ 237649 w 3550159"/>
                  <a:gd name="connsiteY50" fmla="*/ 169830 h 529494"/>
                  <a:gd name="connsiteX51" fmla="*/ 260795 w 3550159"/>
                  <a:gd name="connsiteY51" fmla="*/ 169830 h 529494"/>
                  <a:gd name="connsiteX52" fmla="*/ 260795 w 3550159"/>
                  <a:gd name="connsiteY52" fmla="*/ 175926 h 529494"/>
                  <a:gd name="connsiteX53" fmla="*/ 264986 w 3550159"/>
                  <a:gd name="connsiteY53" fmla="*/ 175926 h 529494"/>
                  <a:gd name="connsiteX54" fmla="*/ 264986 w 3550159"/>
                  <a:gd name="connsiteY54" fmla="*/ 181927 h 529494"/>
                  <a:gd name="connsiteX55" fmla="*/ 271273 w 3550159"/>
                  <a:gd name="connsiteY55" fmla="*/ 181927 h 529494"/>
                  <a:gd name="connsiteX56" fmla="*/ 271273 w 3550159"/>
                  <a:gd name="connsiteY56" fmla="*/ 194119 h 529494"/>
                  <a:gd name="connsiteX57" fmla="*/ 290227 w 3550159"/>
                  <a:gd name="connsiteY57" fmla="*/ 194119 h 529494"/>
                  <a:gd name="connsiteX58" fmla="*/ 290227 w 3550159"/>
                  <a:gd name="connsiteY58" fmla="*/ 200120 h 529494"/>
                  <a:gd name="connsiteX59" fmla="*/ 298609 w 3550159"/>
                  <a:gd name="connsiteY59" fmla="*/ 200120 h 529494"/>
                  <a:gd name="connsiteX60" fmla="*/ 298609 w 3550159"/>
                  <a:gd name="connsiteY60" fmla="*/ 206216 h 529494"/>
                  <a:gd name="connsiteX61" fmla="*/ 311278 w 3550159"/>
                  <a:gd name="connsiteY61" fmla="*/ 206216 h 529494"/>
                  <a:gd name="connsiteX62" fmla="*/ 311278 w 3550159"/>
                  <a:gd name="connsiteY62" fmla="*/ 212312 h 529494"/>
                  <a:gd name="connsiteX63" fmla="*/ 328137 w 3550159"/>
                  <a:gd name="connsiteY63" fmla="*/ 212312 h 529494"/>
                  <a:gd name="connsiteX64" fmla="*/ 328137 w 3550159"/>
                  <a:gd name="connsiteY64" fmla="*/ 218313 h 529494"/>
                  <a:gd name="connsiteX65" fmla="*/ 355474 w 3550159"/>
                  <a:gd name="connsiteY65" fmla="*/ 218313 h 529494"/>
                  <a:gd name="connsiteX66" fmla="*/ 355474 w 3550159"/>
                  <a:gd name="connsiteY66" fmla="*/ 224409 h 529494"/>
                  <a:gd name="connsiteX67" fmla="*/ 357569 w 3550159"/>
                  <a:gd name="connsiteY67" fmla="*/ 224409 h 529494"/>
                  <a:gd name="connsiteX68" fmla="*/ 357569 w 3550159"/>
                  <a:gd name="connsiteY68" fmla="*/ 230505 h 529494"/>
                  <a:gd name="connsiteX69" fmla="*/ 368046 w 3550159"/>
                  <a:gd name="connsiteY69" fmla="*/ 230505 h 529494"/>
                  <a:gd name="connsiteX70" fmla="*/ 368046 w 3550159"/>
                  <a:gd name="connsiteY70" fmla="*/ 236505 h 529494"/>
                  <a:gd name="connsiteX71" fmla="*/ 374333 w 3550159"/>
                  <a:gd name="connsiteY71" fmla="*/ 236505 h 529494"/>
                  <a:gd name="connsiteX72" fmla="*/ 374333 w 3550159"/>
                  <a:gd name="connsiteY72" fmla="*/ 248697 h 529494"/>
                  <a:gd name="connsiteX73" fmla="*/ 382810 w 3550159"/>
                  <a:gd name="connsiteY73" fmla="*/ 248697 h 529494"/>
                  <a:gd name="connsiteX74" fmla="*/ 382810 w 3550159"/>
                  <a:gd name="connsiteY74" fmla="*/ 254698 h 529494"/>
                  <a:gd name="connsiteX75" fmla="*/ 389097 w 3550159"/>
                  <a:gd name="connsiteY75" fmla="*/ 254698 h 529494"/>
                  <a:gd name="connsiteX76" fmla="*/ 389097 w 3550159"/>
                  <a:gd name="connsiteY76" fmla="*/ 266890 h 529494"/>
                  <a:gd name="connsiteX77" fmla="*/ 391192 w 3550159"/>
                  <a:gd name="connsiteY77" fmla="*/ 266890 h 529494"/>
                  <a:gd name="connsiteX78" fmla="*/ 391192 w 3550159"/>
                  <a:gd name="connsiteY78" fmla="*/ 272986 h 529494"/>
                  <a:gd name="connsiteX79" fmla="*/ 403765 w 3550159"/>
                  <a:gd name="connsiteY79" fmla="*/ 272986 h 529494"/>
                  <a:gd name="connsiteX80" fmla="*/ 403765 w 3550159"/>
                  <a:gd name="connsiteY80" fmla="*/ 278987 h 529494"/>
                  <a:gd name="connsiteX81" fmla="*/ 426911 w 3550159"/>
                  <a:gd name="connsiteY81" fmla="*/ 278987 h 529494"/>
                  <a:gd name="connsiteX82" fmla="*/ 426911 w 3550159"/>
                  <a:gd name="connsiteY82" fmla="*/ 285083 h 529494"/>
                  <a:gd name="connsiteX83" fmla="*/ 433293 w 3550159"/>
                  <a:gd name="connsiteY83" fmla="*/ 285083 h 529494"/>
                  <a:gd name="connsiteX84" fmla="*/ 433293 w 3550159"/>
                  <a:gd name="connsiteY84" fmla="*/ 291179 h 529494"/>
                  <a:gd name="connsiteX85" fmla="*/ 441675 w 3550159"/>
                  <a:gd name="connsiteY85" fmla="*/ 291179 h 529494"/>
                  <a:gd name="connsiteX86" fmla="*/ 441675 w 3550159"/>
                  <a:gd name="connsiteY86" fmla="*/ 297180 h 529494"/>
                  <a:gd name="connsiteX87" fmla="*/ 450057 w 3550159"/>
                  <a:gd name="connsiteY87" fmla="*/ 297180 h 529494"/>
                  <a:gd name="connsiteX88" fmla="*/ 450057 w 3550159"/>
                  <a:gd name="connsiteY88" fmla="*/ 303276 h 529494"/>
                  <a:gd name="connsiteX89" fmla="*/ 454248 w 3550159"/>
                  <a:gd name="connsiteY89" fmla="*/ 303276 h 529494"/>
                  <a:gd name="connsiteX90" fmla="*/ 454248 w 3550159"/>
                  <a:gd name="connsiteY90" fmla="*/ 309372 h 529494"/>
                  <a:gd name="connsiteX91" fmla="*/ 527876 w 3550159"/>
                  <a:gd name="connsiteY91" fmla="*/ 309372 h 529494"/>
                  <a:gd name="connsiteX92" fmla="*/ 527876 w 3550159"/>
                  <a:gd name="connsiteY92" fmla="*/ 315372 h 529494"/>
                  <a:gd name="connsiteX93" fmla="*/ 548926 w 3550159"/>
                  <a:gd name="connsiteY93" fmla="*/ 315372 h 529494"/>
                  <a:gd name="connsiteX94" fmla="*/ 548926 w 3550159"/>
                  <a:gd name="connsiteY94" fmla="*/ 321468 h 529494"/>
                  <a:gd name="connsiteX95" fmla="*/ 555213 w 3550159"/>
                  <a:gd name="connsiteY95" fmla="*/ 321468 h 529494"/>
                  <a:gd name="connsiteX96" fmla="*/ 555213 w 3550159"/>
                  <a:gd name="connsiteY96" fmla="*/ 327564 h 529494"/>
                  <a:gd name="connsiteX97" fmla="*/ 597313 w 3550159"/>
                  <a:gd name="connsiteY97" fmla="*/ 327564 h 529494"/>
                  <a:gd name="connsiteX98" fmla="*/ 597313 w 3550159"/>
                  <a:gd name="connsiteY98" fmla="*/ 333565 h 529494"/>
                  <a:gd name="connsiteX99" fmla="*/ 611982 w 3550159"/>
                  <a:gd name="connsiteY99" fmla="*/ 333565 h 529494"/>
                  <a:gd name="connsiteX100" fmla="*/ 611982 w 3550159"/>
                  <a:gd name="connsiteY100" fmla="*/ 339661 h 529494"/>
                  <a:gd name="connsiteX101" fmla="*/ 641509 w 3550159"/>
                  <a:gd name="connsiteY101" fmla="*/ 339661 h 529494"/>
                  <a:gd name="connsiteX102" fmla="*/ 641509 w 3550159"/>
                  <a:gd name="connsiteY102" fmla="*/ 345757 h 529494"/>
                  <a:gd name="connsiteX103" fmla="*/ 643605 w 3550159"/>
                  <a:gd name="connsiteY103" fmla="*/ 345757 h 529494"/>
                  <a:gd name="connsiteX104" fmla="*/ 643605 w 3550159"/>
                  <a:gd name="connsiteY104" fmla="*/ 351758 h 529494"/>
                  <a:gd name="connsiteX105" fmla="*/ 666655 w 3550159"/>
                  <a:gd name="connsiteY105" fmla="*/ 351758 h 529494"/>
                  <a:gd name="connsiteX106" fmla="*/ 666655 w 3550159"/>
                  <a:gd name="connsiteY106" fmla="*/ 357854 h 529494"/>
                  <a:gd name="connsiteX107" fmla="*/ 679324 w 3550159"/>
                  <a:gd name="connsiteY107" fmla="*/ 357854 h 529494"/>
                  <a:gd name="connsiteX108" fmla="*/ 679324 w 3550159"/>
                  <a:gd name="connsiteY108" fmla="*/ 363950 h 529494"/>
                  <a:gd name="connsiteX109" fmla="*/ 715042 w 3550159"/>
                  <a:gd name="connsiteY109" fmla="*/ 363950 h 529494"/>
                  <a:gd name="connsiteX110" fmla="*/ 715042 w 3550159"/>
                  <a:gd name="connsiteY110" fmla="*/ 370046 h 529494"/>
                  <a:gd name="connsiteX111" fmla="*/ 830771 w 3550159"/>
                  <a:gd name="connsiteY111" fmla="*/ 370046 h 529494"/>
                  <a:gd name="connsiteX112" fmla="*/ 830771 w 3550159"/>
                  <a:gd name="connsiteY112" fmla="*/ 376047 h 529494"/>
                  <a:gd name="connsiteX113" fmla="*/ 868585 w 3550159"/>
                  <a:gd name="connsiteY113" fmla="*/ 376047 h 529494"/>
                  <a:gd name="connsiteX114" fmla="*/ 868585 w 3550159"/>
                  <a:gd name="connsiteY114" fmla="*/ 382238 h 529494"/>
                  <a:gd name="connsiteX115" fmla="*/ 921163 w 3550159"/>
                  <a:gd name="connsiteY115" fmla="*/ 382238 h 529494"/>
                  <a:gd name="connsiteX116" fmla="*/ 921163 w 3550159"/>
                  <a:gd name="connsiteY116" fmla="*/ 388334 h 529494"/>
                  <a:gd name="connsiteX117" fmla="*/ 940118 w 3550159"/>
                  <a:gd name="connsiteY117" fmla="*/ 388334 h 529494"/>
                  <a:gd name="connsiteX118" fmla="*/ 940118 w 3550159"/>
                  <a:gd name="connsiteY118" fmla="*/ 394430 h 529494"/>
                  <a:gd name="connsiteX119" fmla="*/ 950596 w 3550159"/>
                  <a:gd name="connsiteY119" fmla="*/ 394430 h 529494"/>
                  <a:gd name="connsiteX120" fmla="*/ 950596 w 3550159"/>
                  <a:gd name="connsiteY120" fmla="*/ 400621 h 529494"/>
                  <a:gd name="connsiteX121" fmla="*/ 984314 w 3550159"/>
                  <a:gd name="connsiteY121" fmla="*/ 400621 h 529494"/>
                  <a:gd name="connsiteX122" fmla="*/ 984314 w 3550159"/>
                  <a:gd name="connsiteY122" fmla="*/ 406717 h 529494"/>
                  <a:gd name="connsiteX123" fmla="*/ 990601 w 3550159"/>
                  <a:gd name="connsiteY123" fmla="*/ 406717 h 529494"/>
                  <a:gd name="connsiteX124" fmla="*/ 990601 w 3550159"/>
                  <a:gd name="connsiteY124" fmla="*/ 412813 h 529494"/>
                  <a:gd name="connsiteX125" fmla="*/ 1005269 w 3550159"/>
                  <a:gd name="connsiteY125" fmla="*/ 412813 h 529494"/>
                  <a:gd name="connsiteX126" fmla="*/ 1005269 w 3550159"/>
                  <a:gd name="connsiteY126" fmla="*/ 418909 h 529494"/>
                  <a:gd name="connsiteX127" fmla="*/ 1017937 w 3550159"/>
                  <a:gd name="connsiteY127" fmla="*/ 418909 h 529494"/>
                  <a:gd name="connsiteX128" fmla="*/ 1017937 w 3550159"/>
                  <a:gd name="connsiteY128" fmla="*/ 425100 h 529494"/>
                  <a:gd name="connsiteX129" fmla="*/ 1043179 w 3550159"/>
                  <a:gd name="connsiteY129" fmla="*/ 425100 h 529494"/>
                  <a:gd name="connsiteX130" fmla="*/ 1043179 w 3550159"/>
                  <a:gd name="connsiteY130" fmla="*/ 431196 h 529494"/>
                  <a:gd name="connsiteX131" fmla="*/ 1272445 w 3550159"/>
                  <a:gd name="connsiteY131" fmla="*/ 431196 h 529494"/>
                  <a:gd name="connsiteX132" fmla="*/ 1272445 w 3550159"/>
                  <a:gd name="connsiteY132" fmla="*/ 437388 h 529494"/>
                  <a:gd name="connsiteX133" fmla="*/ 1385983 w 3550159"/>
                  <a:gd name="connsiteY133" fmla="*/ 437388 h 529494"/>
                  <a:gd name="connsiteX134" fmla="*/ 1385983 w 3550159"/>
                  <a:gd name="connsiteY134" fmla="*/ 443579 h 529494"/>
                  <a:gd name="connsiteX135" fmla="*/ 1655160 w 3550159"/>
                  <a:gd name="connsiteY135" fmla="*/ 443579 h 529494"/>
                  <a:gd name="connsiteX136" fmla="*/ 1655160 w 3550159"/>
                  <a:gd name="connsiteY136" fmla="*/ 449865 h 529494"/>
                  <a:gd name="connsiteX137" fmla="*/ 1728788 w 3550159"/>
                  <a:gd name="connsiteY137" fmla="*/ 449865 h 529494"/>
                  <a:gd name="connsiteX138" fmla="*/ 1728788 w 3550159"/>
                  <a:gd name="connsiteY138" fmla="*/ 456152 h 529494"/>
                  <a:gd name="connsiteX139" fmla="*/ 1808703 w 3550159"/>
                  <a:gd name="connsiteY139" fmla="*/ 456152 h 529494"/>
                  <a:gd name="connsiteX140" fmla="*/ 1808703 w 3550159"/>
                  <a:gd name="connsiteY140" fmla="*/ 462438 h 529494"/>
                  <a:gd name="connsiteX141" fmla="*/ 1970628 w 3550159"/>
                  <a:gd name="connsiteY141" fmla="*/ 462438 h 529494"/>
                  <a:gd name="connsiteX142" fmla="*/ 1970628 w 3550159"/>
                  <a:gd name="connsiteY142" fmla="*/ 468915 h 529494"/>
                  <a:gd name="connsiteX143" fmla="*/ 1987487 w 3550159"/>
                  <a:gd name="connsiteY143" fmla="*/ 468915 h 529494"/>
                  <a:gd name="connsiteX144" fmla="*/ 1987487 w 3550159"/>
                  <a:gd name="connsiteY144" fmla="*/ 475297 h 529494"/>
                  <a:gd name="connsiteX145" fmla="*/ 2105311 w 3550159"/>
                  <a:gd name="connsiteY145" fmla="*/ 475297 h 529494"/>
                  <a:gd name="connsiteX146" fmla="*/ 2105311 w 3550159"/>
                  <a:gd name="connsiteY146" fmla="*/ 481774 h 529494"/>
                  <a:gd name="connsiteX147" fmla="*/ 2197799 w 3550159"/>
                  <a:gd name="connsiteY147" fmla="*/ 481774 h 529494"/>
                  <a:gd name="connsiteX148" fmla="*/ 2197799 w 3550159"/>
                  <a:gd name="connsiteY148" fmla="*/ 488156 h 529494"/>
                  <a:gd name="connsiteX149" fmla="*/ 2216754 w 3550159"/>
                  <a:gd name="connsiteY149" fmla="*/ 488156 h 529494"/>
                  <a:gd name="connsiteX150" fmla="*/ 2216754 w 3550159"/>
                  <a:gd name="connsiteY150" fmla="*/ 494633 h 529494"/>
                  <a:gd name="connsiteX151" fmla="*/ 3070575 w 3550159"/>
                  <a:gd name="connsiteY151" fmla="*/ 494633 h 529494"/>
                  <a:gd name="connsiteX152" fmla="*/ 3070575 w 3550159"/>
                  <a:gd name="connsiteY152" fmla="*/ 529494 h 529494"/>
                  <a:gd name="connsiteX153" fmla="*/ 3550159 w 3550159"/>
                  <a:gd name="connsiteY153" fmla="*/ 529494 h 529494"/>
                  <a:gd name="connsiteX0" fmla="*/ 0 w 3550159"/>
                  <a:gd name="connsiteY0" fmla="*/ 0 h 529494"/>
                  <a:gd name="connsiteX1" fmla="*/ 6287 w 3550159"/>
                  <a:gd name="connsiteY1" fmla="*/ 0 h 529494"/>
                  <a:gd name="connsiteX2" fmla="*/ 21051 w 3550159"/>
                  <a:gd name="connsiteY2" fmla="*/ 6000 h 529494"/>
                  <a:gd name="connsiteX3" fmla="*/ 21051 w 3550159"/>
                  <a:gd name="connsiteY3" fmla="*/ 12096 h 529494"/>
                  <a:gd name="connsiteX4" fmla="*/ 29433 w 3550159"/>
                  <a:gd name="connsiteY4" fmla="*/ 12096 h 529494"/>
                  <a:gd name="connsiteX5" fmla="*/ 29433 w 3550159"/>
                  <a:gd name="connsiteY5" fmla="*/ 18192 h 529494"/>
                  <a:gd name="connsiteX6" fmla="*/ 40006 w 3550159"/>
                  <a:gd name="connsiteY6" fmla="*/ 18192 h 529494"/>
                  <a:gd name="connsiteX7" fmla="*/ 40006 w 3550159"/>
                  <a:gd name="connsiteY7" fmla="*/ 24193 h 529494"/>
                  <a:gd name="connsiteX8" fmla="*/ 52579 w 3550159"/>
                  <a:gd name="connsiteY8" fmla="*/ 24193 h 529494"/>
                  <a:gd name="connsiteX9" fmla="*/ 52579 w 3550159"/>
                  <a:gd name="connsiteY9" fmla="*/ 30289 h 529494"/>
                  <a:gd name="connsiteX10" fmla="*/ 58865 w 3550159"/>
                  <a:gd name="connsiteY10" fmla="*/ 30289 h 529494"/>
                  <a:gd name="connsiteX11" fmla="*/ 58865 w 3550159"/>
                  <a:gd name="connsiteY11" fmla="*/ 42386 h 529494"/>
                  <a:gd name="connsiteX12" fmla="*/ 63056 w 3550159"/>
                  <a:gd name="connsiteY12" fmla="*/ 42386 h 529494"/>
                  <a:gd name="connsiteX13" fmla="*/ 63056 w 3550159"/>
                  <a:gd name="connsiteY13" fmla="*/ 48482 h 529494"/>
                  <a:gd name="connsiteX14" fmla="*/ 75724 w 3550159"/>
                  <a:gd name="connsiteY14" fmla="*/ 48482 h 529494"/>
                  <a:gd name="connsiteX15" fmla="*/ 75724 w 3550159"/>
                  <a:gd name="connsiteY15" fmla="*/ 54578 h 529494"/>
                  <a:gd name="connsiteX16" fmla="*/ 90393 w 3550159"/>
                  <a:gd name="connsiteY16" fmla="*/ 54578 h 529494"/>
                  <a:gd name="connsiteX17" fmla="*/ 90393 w 3550159"/>
                  <a:gd name="connsiteY17" fmla="*/ 60579 h 529494"/>
                  <a:gd name="connsiteX18" fmla="*/ 94679 w 3550159"/>
                  <a:gd name="connsiteY18" fmla="*/ 60579 h 529494"/>
                  <a:gd name="connsiteX19" fmla="*/ 94679 w 3550159"/>
                  <a:gd name="connsiteY19" fmla="*/ 66675 h 529494"/>
                  <a:gd name="connsiteX20" fmla="*/ 105156 w 3550159"/>
                  <a:gd name="connsiteY20" fmla="*/ 66675 h 529494"/>
                  <a:gd name="connsiteX21" fmla="*/ 105156 w 3550159"/>
                  <a:gd name="connsiteY21" fmla="*/ 72771 h 529494"/>
                  <a:gd name="connsiteX22" fmla="*/ 113539 w 3550159"/>
                  <a:gd name="connsiteY22" fmla="*/ 72771 h 529494"/>
                  <a:gd name="connsiteX23" fmla="*/ 113539 w 3550159"/>
                  <a:gd name="connsiteY23" fmla="*/ 78867 h 529494"/>
                  <a:gd name="connsiteX24" fmla="*/ 128302 w 3550159"/>
                  <a:gd name="connsiteY24" fmla="*/ 78867 h 529494"/>
                  <a:gd name="connsiteX25" fmla="*/ 128302 w 3550159"/>
                  <a:gd name="connsiteY25" fmla="*/ 84867 h 529494"/>
                  <a:gd name="connsiteX26" fmla="*/ 132493 w 3550159"/>
                  <a:gd name="connsiteY26" fmla="*/ 84867 h 529494"/>
                  <a:gd name="connsiteX27" fmla="*/ 132493 w 3550159"/>
                  <a:gd name="connsiteY27" fmla="*/ 90963 h 529494"/>
                  <a:gd name="connsiteX28" fmla="*/ 136684 w 3550159"/>
                  <a:gd name="connsiteY28" fmla="*/ 90963 h 529494"/>
                  <a:gd name="connsiteX29" fmla="*/ 136684 w 3550159"/>
                  <a:gd name="connsiteY29" fmla="*/ 97059 h 529494"/>
                  <a:gd name="connsiteX30" fmla="*/ 149353 w 3550159"/>
                  <a:gd name="connsiteY30" fmla="*/ 97059 h 529494"/>
                  <a:gd name="connsiteX31" fmla="*/ 149353 w 3550159"/>
                  <a:gd name="connsiteY31" fmla="*/ 103060 h 529494"/>
                  <a:gd name="connsiteX32" fmla="*/ 178785 w 3550159"/>
                  <a:gd name="connsiteY32" fmla="*/ 103060 h 529494"/>
                  <a:gd name="connsiteX33" fmla="*/ 178785 w 3550159"/>
                  <a:gd name="connsiteY33" fmla="*/ 109156 h 529494"/>
                  <a:gd name="connsiteX34" fmla="*/ 187167 w 3550159"/>
                  <a:gd name="connsiteY34" fmla="*/ 109156 h 529494"/>
                  <a:gd name="connsiteX35" fmla="*/ 187167 w 3550159"/>
                  <a:gd name="connsiteY35" fmla="*/ 115252 h 529494"/>
                  <a:gd name="connsiteX36" fmla="*/ 189262 w 3550159"/>
                  <a:gd name="connsiteY36" fmla="*/ 115252 h 529494"/>
                  <a:gd name="connsiteX37" fmla="*/ 189262 w 3550159"/>
                  <a:gd name="connsiteY37" fmla="*/ 121253 h 529494"/>
                  <a:gd name="connsiteX38" fmla="*/ 204026 w 3550159"/>
                  <a:gd name="connsiteY38" fmla="*/ 121253 h 529494"/>
                  <a:gd name="connsiteX39" fmla="*/ 204026 w 3550159"/>
                  <a:gd name="connsiteY39" fmla="*/ 133445 h 529494"/>
                  <a:gd name="connsiteX40" fmla="*/ 206122 w 3550159"/>
                  <a:gd name="connsiteY40" fmla="*/ 133445 h 529494"/>
                  <a:gd name="connsiteX41" fmla="*/ 206122 w 3550159"/>
                  <a:gd name="connsiteY41" fmla="*/ 139446 h 529494"/>
                  <a:gd name="connsiteX42" fmla="*/ 212408 w 3550159"/>
                  <a:gd name="connsiteY42" fmla="*/ 139446 h 529494"/>
                  <a:gd name="connsiteX43" fmla="*/ 212408 w 3550159"/>
                  <a:gd name="connsiteY43" fmla="*/ 145542 h 529494"/>
                  <a:gd name="connsiteX44" fmla="*/ 216599 w 3550159"/>
                  <a:gd name="connsiteY44" fmla="*/ 145542 h 529494"/>
                  <a:gd name="connsiteX45" fmla="*/ 216599 w 3550159"/>
                  <a:gd name="connsiteY45" fmla="*/ 151638 h 529494"/>
                  <a:gd name="connsiteX46" fmla="*/ 233458 w 3550159"/>
                  <a:gd name="connsiteY46" fmla="*/ 151638 h 529494"/>
                  <a:gd name="connsiteX47" fmla="*/ 233458 w 3550159"/>
                  <a:gd name="connsiteY47" fmla="*/ 163734 h 529494"/>
                  <a:gd name="connsiteX48" fmla="*/ 237649 w 3550159"/>
                  <a:gd name="connsiteY48" fmla="*/ 163734 h 529494"/>
                  <a:gd name="connsiteX49" fmla="*/ 237649 w 3550159"/>
                  <a:gd name="connsiteY49" fmla="*/ 169830 h 529494"/>
                  <a:gd name="connsiteX50" fmla="*/ 260795 w 3550159"/>
                  <a:gd name="connsiteY50" fmla="*/ 169830 h 529494"/>
                  <a:gd name="connsiteX51" fmla="*/ 260795 w 3550159"/>
                  <a:gd name="connsiteY51" fmla="*/ 175926 h 529494"/>
                  <a:gd name="connsiteX52" fmla="*/ 264986 w 3550159"/>
                  <a:gd name="connsiteY52" fmla="*/ 175926 h 529494"/>
                  <a:gd name="connsiteX53" fmla="*/ 264986 w 3550159"/>
                  <a:gd name="connsiteY53" fmla="*/ 181927 h 529494"/>
                  <a:gd name="connsiteX54" fmla="*/ 271273 w 3550159"/>
                  <a:gd name="connsiteY54" fmla="*/ 181927 h 529494"/>
                  <a:gd name="connsiteX55" fmla="*/ 271273 w 3550159"/>
                  <a:gd name="connsiteY55" fmla="*/ 194119 h 529494"/>
                  <a:gd name="connsiteX56" fmla="*/ 290227 w 3550159"/>
                  <a:gd name="connsiteY56" fmla="*/ 194119 h 529494"/>
                  <a:gd name="connsiteX57" fmla="*/ 290227 w 3550159"/>
                  <a:gd name="connsiteY57" fmla="*/ 200120 h 529494"/>
                  <a:gd name="connsiteX58" fmla="*/ 298609 w 3550159"/>
                  <a:gd name="connsiteY58" fmla="*/ 200120 h 529494"/>
                  <a:gd name="connsiteX59" fmla="*/ 298609 w 3550159"/>
                  <a:gd name="connsiteY59" fmla="*/ 206216 h 529494"/>
                  <a:gd name="connsiteX60" fmla="*/ 311278 w 3550159"/>
                  <a:gd name="connsiteY60" fmla="*/ 206216 h 529494"/>
                  <a:gd name="connsiteX61" fmla="*/ 311278 w 3550159"/>
                  <a:gd name="connsiteY61" fmla="*/ 212312 h 529494"/>
                  <a:gd name="connsiteX62" fmla="*/ 328137 w 3550159"/>
                  <a:gd name="connsiteY62" fmla="*/ 212312 h 529494"/>
                  <a:gd name="connsiteX63" fmla="*/ 328137 w 3550159"/>
                  <a:gd name="connsiteY63" fmla="*/ 218313 h 529494"/>
                  <a:gd name="connsiteX64" fmla="*/ 355474 w 3550159"/>
                  <a:gd name="connsiteY64" fmla="*/ 218313 h 529494"/>
                  <a:gd name="connsiteX65" fmla="*/ 355474 w 3550159"/>
                  <a:gd name="connsiteY65" fmla="*/ 224409 h 529494"/>
                  <a:gd name="connsiteX66" fmla="*/ 357569 w 3550159"/>
                  <a:gd name="connsiteY66" fmla="*/ 224409 h 529494"/>
                  <a:gd name="connsiteX67" fmla="*/ 357569 w 3550159"/>
                  <a:gd name="connsiteY67" fmla="*/ 230505 h 529494"/>
                  <a:gd name="connsiteX68" fmla="*/ 368046 w 3550159"/>
                  <a:gd name="connsiteY68" fmla="*/ 230505 h 529494"/>
                  <a:gd name="connsiteX69" fmla="*/ 368046 w 3550159"/>
                  <a:gd name="connsiteY69" fmla="*/ 236505 h 529494"/>
                  <a:gd name="connsiteX70" fmla="*/ 374333 w 3550159"/>
                  <a:gd name="connsiteY70" fmla="*/ 236505 h 529494"/>
                  <a:gd name="connsiteX71" fmla="*/ 374333 w 3550159"/>
                  <a:gd name="connsiteY71" fmla="*/ 248697 h 529494"/>
                  <a:gd name="connsiteX72" fmla="*/ 382810 w 3550159"/>
                  <a:gd name="connsiteY72" fmla="*/ 248697 h 529494"/>
                  <a:gd name="connsiteX73" fmla="*/ 382810 w 3550159"/>
                  <a:gd name="connsiteY73" fmla="*/ 254698 h 529494"/>
                  <a:gd name="connsiteX74" fmla="*/ 389097 w 3550159"/>
                  <a:gd name="connsiteY74" fmla="*/ 254698 h 529494"/>
                  <a:gd name="connsiteX75" fmla="*/ 389097 w 3550159"/>
                  <a:gd name="connsiteY75" fmla="*/ 266890 h 529494"/>
                  <a:gd name="connsiteX76" fmla="*/ 391192 w 3550159"/>
                  <a:gd name="connsiteY76" fmla="*/ 266890 h 529494"/>
                  <a:gd name="connsiteX77" fmla="*/ 391192 w 3550159"/>
                  <a:gd name="connsiteY77" fmla="*/ 272986 h 529494"/>
                  <a:gd name="connsiteX78" fmla="*/ 403765 w 3550159"/>
                  <a:gd name="connsiteY78" fmla="*/ 272986 h 529494"/>
                  <a:gd name="connsiteX79" fmla="*/ 403765 w 3550159"/>
                  <a:gd name="connsiteY79" fmla="*/ 278987 h 529494"/>
                  <a:gd name="connsiteX80" fmla="*/ 426911 w 3550159"/>
                  <a:gd name="connsiteY80" fmla="*/ 278987 h 529494"/>
                  <a:gd name="connsiteX81" fmla="*/ 426911 w 3550159"/>
                  <a:gd name="connsiteY81" fmla="*/ 285083 h 529494"/>
                  <a:gd name="connsiteX82" fmla="*/ 433293 w 3550159"/>
                  <a:gd name="connsiteY82" fmla="*/ 285083 h 529494"/>
                  <a:gd name="connsiteX83" fmla="*/ 433293 w 3550159"/>
                  <a:gd name="connsiteY83" fmla="*/ 291179 h 529494"/>
                  <a:gd name="connsiteX84" fmla="*/ 441675 w 3550159"/>
                  <a:gd name="connsiteY84" fmla="*/ 291179 h 529494"/>
                  <a:gd name="connsiteX85" fmla="*/ 441675 w 3550159"/>
                  <a:gd name="connsiteY85" fmla="*/ 297180 h 529494"/>
                  <a:gd name="connsiteX86" fmla="*/ 450057 w 3550159"/>
                  <a:gd name="connsiteY86" fmla="*/ 297180 h 529494"/>
                  <a:gd name="connsiteX87" fmla="*/ 450057 w 3550159"/>
                  <a:gd name="connsiteY87" fmla="*/ 303276 h 529494"/>
                  <a:gd name="connsiteX88" fmla="*/ 454248 w 3550159"/>
                  <a:gd name="connsiteY88" fmla="*/ 303276 h 529494"/>
                  <a:gd name="connsiteX89" fmla="*/ 454248 w 3550159"/>
                  <a:gd name="connsiteY89" fmla="*/ 309372 h 529494"/>
                  <a:gd name="connsiteX90" fmla="*/ 527876 w 3550159"/>
                  <a:gd name="connsiteY90" fmla="*/ 309372 h 529494"/>
                  <a:gd name="connsiteX91" fmla="*/ 527876 w 3550159"/>
                  <a:gd name="connsiteY91" fmla="*/ 315372 h 529494"/>
                  <a:gd name="connsiteX92" fmla="*/ 548926 w 3550159"/>
                  <a:gd name="connsiteY92" fmla="*/ 315372 h 529494"/>
                  <a:gd name="connsiteX93" fmla="*/ 548926 w 3550159"/>
                  <a:gd name="connsiteY93" fmla="*/ 321468 h 529494"/>
                  <a:gd name="connsiteX94" fmla="*/ 555213 w 3550159"/>
                  <a:gd name="connsiteY94" fmla="*/ 321468 h 529494"/>
                  <a:gd name="connsiteX95" fmla="*/ 555213 w 3550159"/>
                  <a:gd name="connsiteY95" fmla="*/ 327564 h 529494"/>
                  <a:gd name="connsiteX96" fmla="*/ 597313 w 3550159"/>
                  <a:gd name="connsiteY96" fmla="*/ 327564 h 529494"/>
                  <a:gd name="connsiteX97" fmla="*/ 597313 w 3550159"/>
                  <a:gd name="connsiteY97" fmla="*/ 333565 h 529494"/>
                  <a:gd name="connsiteX98" fmla="*/ 611982 w 3550159"/>
                  <a:gd name="connsiteY98" fmla="*/ 333565 h 529494"/>
                  <a:gd name="connsiteX99" fmla="*/ 611982 w 3550159"/>
                  <a:gd name="connsiteY99" fmla="*/ 339661 h 529494"/>
                  <a:gd name="connsiteX100" fmla="*/ 641509 w 3550159"/>
                  <a:gd name="connsiteY100" fmla="*/ 339661 h 529494"/>
                  <a:gd name="connsiteX101" fmla="*/ 641509 w 3550159"/>
                  <a:gd name="connsiteY101" fmla="*/ 345757 h 529494"/>
                  <a:gd name="connsiteX102" fmla="*/ 643605 w 3550159"/>
                  <a:gd name="connsiteY102" fmla="*/ 345757 h 529494"/>
                  <a:gd name="connsiteX103" fmla="*/ 643605 w 3550159"/>
                  <a:gd name="connsiteY103" fmla="*/ 351758 h 529494"/>
                  <a:gd name="connsiteX104" fmla="*/ 666655 w 3550159"/>
                  <a:gd name="connsiteY104" fmla="*/ 351758 h 529494"/>
                  <a:gd name="connsiteX105" fmla="*/ 666655 w 3550159"/>
                  <a:gd name="connsiteY105" fmla="*/ 357854 h 529494"/>
                  <a:gd name="connsiteX106" fmla="*/ 679324 w 3550159"/>
                  <a:gd name="connsiteY106" fmla="*/ 357854 h 529494"/>
                  <a:gd name="connsiteX107" fmla="*/ 679324 w 3550159"/>
                  <a:gd name="connsiteY107" fmla="*/ 363950 h 529494"/>
                  <a:gd name="connsiteX108" fmla="*/ 715042 w 3550159"/>
                  <a:gd name="connsiteY108" fmla="*/ 363950 h 529494"/>
                  <a:gd name="connsiteX109" fmla="*/ 715042 w 3550159"/>
                  <a:gd name="connsiteY109" fmla="*/ 370046 h 529494"/>
                  <a:gd name="connsiteX110" fmla="*/ 830771 w 3550159"/>
                  <a:gd name="connsiteY110" fmla="*/ 370046 h 529494"/>
                  <a:gd name="connsiteX111" fmla="*/ 830771 w 3550159"/>
                  <a:gd name="connsiteY111" fmla="*/ 376047 h 529494"/>
                  <a:gd name="connsiteX112" fmla="*/ 868585 w 3550159"/>
                  <a:gd name="connsiteY112" fmla="*/ 376047 h 529494"/>
                  <a:gd name="connsiteX113" fmla="*/ 868585 w 3550159"/>
                  <a:gd name="connsiteY113" fmla="*/ 382238 h 529494"/>
                  <a:gd name="connsiteX114" fmla="*/ 921163 w 3550159"/>
                  <a:gd name="connsiteY114" fmla="*/ 382238 h 529494"/>
                  <a:gd name="connsiteX115" fmla="*/ 921163 w 3550159"/>
                  <a:gd name="connsiteY115" fmla="*/ 388334 h 529494"/>
                  <a:gd name="connsiteX116" fmla="*/ 940118 w 3550159"/>
                  <a:gd name="connsiteY116" fmla="*/ 388334 h 529494"/>
                  <a:gd name="connsiteX117" fmla="*/ 940118 w 3550159"/>
                  <a:gd name="connsiteY117" fmla="*/ 394430 h 529494"/>
                  <a:gd name="connsiteX118" fmla="*/ 950596 w 3550159"/>
                  <a:gd name="connsiteY118" fmla="*/ 394430 h 529494"/>
                  <a:gd name="connsiteX119" fmla="*/ 950596 w 3550159"/>
                  <a:gd name="connsiteY119" fmla="*/ 400621 h 529494"/>
                  <a:gd name="connsiteX120" fmla="*/ 984314 w 3550159"/>
                  <a:gd name="connsiteY120" fmla="*/ 400621 h 529494"/>
                  <a:gd name="connsiteX121" fmla="*/ 984314 w 3550159"/>
                  <a:gd name="connsiteY121" fmla="*/ 406717 h 529494"/>
                  <a:gd name="connsiteX122" fmla="*/ 990601 w 3550159"/>
                  <a:gd name="connsiteY122" fmla="*/ 406717 h 529494"/>
                  <a:gd name="connsiteX123" fmla="*/ 990601 w 3550159"/>
                  <a:gd name="connsiteY123" fmla="*/ 412813 h 529494"/>
                  <a:gd name="connsiteX124" fmla="*/ 1005269 w 3550159"/>
                  <a:gd name="connsiteY124" fmla="*/ 412813 h 529494"/>
                  <a:gd name="connsiteX125" fmla="*/ 1005269 w 3550159"/>
                  <a:gd name="connsiteY125" fmla="*/ 418909 h 529494"/>
                  <a:gd name="connsiteX126" fmla="*/ 1017937 w 3550159"/>
                  <a:gd name="connsiteY126" fmla="*/ 418909 h 529494"/>
                  <a:gd name="connsiteX127" fmla="*/ 1017937 w 3550159"/>
                  <a:gd name="connsiteY127" fmla="*/ 425100 h 529494"/>
                  <a:gd name="connsiteX128" fmla="*/ 1043179 w 3550159"/>
                  <a:gd name="connsiteY128" fmla="*/ 425100 h 529494"/>
                  <a:gd name="connsiteX129" fmla="*/ 1043179 w 3550159"/>
                  <a:gd name="connsiteY129" fmla="*/ 431196 h 529494"/>
                  <a:gd name="connsiteX130" fmla="*/ 1272445 w 3550159"/>
                  <a:gd name="connsiteY130" fmla="*/ 431196 h 529494"/>
                  <a:gd name="connsiteX131" fmla="*/ 1272445 w 3550159"/>
                  <a:gd name="connsiteY131" fmla="*/ 437388 h 529494"/>
                  <a:gd name="connsiteX132" fmla="*/ 1385983 w 3550159"/>
                  <a:gd name="connsiteY132" fmla="*/ 437388 h 529494"/>
                  <a:gd name="connsiteX133" fmla="*/ 1385983 w 3550159"/>
                  <a:gd name="connsiteY133" fmla="*/ 443579 h 529494"/>
                  <a:gd name="connsiteX134" fmla="*/ 1655160 w 3550159"/>
                  <a:gd name="connsiteY134" fmla="*/ 443579 h 529494"/>
                  <a:gd name="connsiteX135" fmla="*/ 1655160 w 3550159"/>
                  <a:gd name="connsiteY135" fmla="*/ 449865 h 529494"/>
                  <a:gd name="connsiteX136" fmla="*/ 1728788 w 3550159"/>
                  <a:gd name="connsiteY136" fmla="*/ 449865 h 529494"/>
                  <a:gd name="connsiteX137" fmla="*/ 1728788 w 3550159"/>
                  <a:gd name="connsiteY137" fmla="*/ 456152 h 529494"/>
                  <a:gd name="connsiteX138" fmla="*/ 1808703 w 3550159"/>
                  <a:gd name="connsiteY138" fmla="*/ 456152 h 529494"/>
                  <a:gd name="connsiteX139" fmla="*/ 1808703 w 3550159"/>
                  <a:gd name="connsiteY139" fmla="*/ 462438 h 529494"/>
                  <a:gd name="connsiteX140" fmla="*/ 1970628 w 3550159"/>
                  <a:gd name="connsiteY140" fmla="*/ 462438 h 529494"/>
                  <a:gd name="connsiteX141" fmla="*/ 1970628 w 3550159"/>
                  <a:gd name="connsiteY141" fmla="*/ 468915 h 529494"/>
                  <a:gd name="connsiteX142" fmla="*/ 1987487 w 3550159"/>
                  <a:gd name="connsiteY142" fmla="*/ 468915 h 529494"/>
                  <a:gd name="connsiteX143" fmla="*/ 1987487 w 3550159"/>
                  <a:gd name="connsiteY143" fmla="*/ 475297 h 529494"/>
                  <a:gd name="connsiteX144" fmla="*/ 2105311 w 3550159"/>
                  <a:gd name="connsiteY144" fmla="*/ 475297 h 529494"/>
                  <a:gd name="connsiteX145" fmla="*/ 2105311 w 3550159"/>
                  <a:gd name="connsiteY145" fmla="*/ 481774 h 529494"/>
                  <a:gd name="connsiteX146" fmla="*/ 2197799 w 3550159"/>
                  <a:gd name="connsiteY146" fmla="*/ 481774 h 529494"/>
                  <a:gd name="connsiteX147" fmla="*/ 2197799 w 3550159"/>
                  <a:gd name="connsiteY147" fmla="*/ 488156 h 529494"/>
                  <a:gd name="connsiteX148" fmla="*/ 2216754 w 3550159"/>
                  <a:gd name="connsiteY148" fmla="*/ 488156 h 529494"/>
                  <a:gd name="connsiteX149" fmla="*/ 2216754 w 3550159"/>
                  <a:gd name="connsiteY149" fmla="*/ 494633 h 529494"/>
                  <a:gd name="connsiteX150" fmla="*/ 3070575 w 3550159"/>
                  <a:gd name="connsiteY150" fmla="*/ 494633 h 529494"/>
                  <a:gd name="connsiteX151" fmla="*/ 3070575 w 3550159"/>
                  <a:gd name="connsiteY151" fmla="*/ 529494 h 529494"/>
                  <a:gd name="connsiteX152" fmla="*/ 3550159 w 3550159"/>
                  <a:gd name="connsiteY152" fmla="*/ 529494 h 529494"/>
                  <a:gd name="connsiteX0" fmla="*/ 0 w 3550159"/>
                  <a:gd name="connsiteY0" fmla="*/ 0 h 529494"/>
                  <a:gd name="connsiteX1" fmla="*/ 21051 w 3550159"/>
                  <a:gd name="connsiteY1" fmla="*/ 6000 h 529494"/>
                  <a:gd name="connsiteX2" fmla="*/ 21051 w 3550159"/>
                  <a:gd name="connsiteY2" fmla="*/ 12096 h 529494"/>
                  <a:gd name="connsiteX3" fmla="*/ 29433 w 3550159"/>
                  <a:gd name="connsiteY3" fmla="*/ 12096 h 529494"/>
                  <a:gd name="connsiteX4" fmla="*/ 29433 w 3550159"/>
                  <a:gd name="connsiteY4" fmla="*/ 18192 h 529494"/>
                  <a:gd name="connsiteX5" fmla="*/ 40006 w 3550159"/>
                  <a:gd name="connsiteY5" fmla="*/ 18192 h 529494"/>
                  <a:gd name="connsiteX6" fmla="*/ 40006 w 3550159"/>
                  <a:gd name="connsiteY6" fmla="*/ 24193 h 529494"/>
                  <a:gd name="connsiteX7" fmla="*/ 52579 w 3550159"/>
                  <a:gd name="connsiteY7" fmla="*/ 24193 h 529494"/>
                  <a:gd name="connsiteX8" fmla="*/ 52579 w 3550159"/>
                  <a:gd name="connsiteY8" fmla="*/ 30289 h 529494"/>
                  <a:gd name="connsiteX9" fmla="*/ 58865 w 3550159"/>
                  <a:gd name="connsiteY9" fmla="*/ 30289 h 529494"/>
                  <a:gd name="connsiteX10" fmla="*/ 58865 w 3550159"/>
                  <a:gd name="connsiteY10" fmla="*/ 42386 h 529494"/>
                  <a:gd name="connsiteX11" fmla="*/ 63056 w 3550159"/>
                  <a:gd name="connsiteY11" fmla="*/ 42386 h 529494"/>
                  <a:gd name="connsiteX12" fmla="*/ 63056 w 3550159"/>
                  <a:gd name="connsiteY12" fmla="*/ 48482 h 529494"/>
                  <a:gd name="connsiteX13" fmla="*/ 75724 w 3550159"/>
                  <a:gd name="connsiteY13" fmla="*/ 48482 h 529494"/>
                  <a:gd name="connsiteX14" fmla="*/ 75724 w 3550159"/>
                  <a:gd name="connsiteY14" fmla="*/ 54578 h 529494"/>
                  <a:gd name="connsiteX15" fmla="*/ 90393 w 3550159"/>
                  <a:gd name="connsiteY15" fmla="*/ 54578 h 529494"/>
                  <a:gd name="connsiteX16" fmla="*/ 90393 w 3550159"/>
                  <a:gd name="connsiteY16" fmla="*/ 60579 h 529494"/>
                  <a:gd name="connsiteX17" fmla="*/ 94679 w 3550159"/>
                  <a:gd name="connsiteY17" fmla="*/ 60579 h 529494"/>
                  <a:gd name="connsiteX18" fmla="*/ 94679 w 3550159"/>
                  <a:gd name="connsiteY18" fmla="*/ 66675 h 529494"/>
                  <a:gd name="connsiteX19" fmla="*/ 105156 w 3550159"/>
                  <a:gd name="connsiteY19" fmla="*/ 66675 h 529494"/>
                  <a:gd name="connsiteX20" fmla="*/ 105156 w 3550159"/>
                  <a:gd name="connsiteY20" fmla="*/ 72771 h 529494"/>
                  <a:gd name="connsiteX21" fmla="*/ 113539 w 3550159"/>
                  <a:gd name="connsiteY21" fmla="*/ 72771 h 529494"/>
                  <a:gd name="connsiteX22" fmla="*/ 113539 w 3550159"/>
                  <a:gd name="connsiteY22" fmla="*/ 78867 h 529494"/>
                  <a:gd name="connsiteX23" fmla="*/ 128302 w 3550159"/>
                  <a:gd name="connsiteY23" fmla="*/ 78867 h 529494"/>
                  <a:gd name="connsiteX24" fmla="*/ 128302 w 3550159"/>
                  <a:gd name="connsiteY24" fmla="*/ 84867 h 529494"/>
                  <a:gd name="connsiteX25" fmla="*/ 132493 w 3550159"/>
                  <a:gd name="connsiteY25" fmla="*/ 84867 h 529494"/>
                  <a:gd name="connsiteX26" fmla="*/ 132493 w 3550159"/>
                  <a:gd name="connsiteY26" fmla="*/ 90963 h 529494"/>
                  <a:gd name="connsiteX27" fmla="*/ 136684 w 3550159"/>
                  <a:gd name="connsiteY27" fmla="*/ 90963 h 529494"/>
                  <a:gd name="connsiteX28" fmla="*/ 136684 w 3550159"/>
                  <a:gd name="connsiteY28" fmla="*/ 97059 h 529494"/>
                  <a:gd name="connsiteX29" fmla="*/ 149353 w 3550159"/>
                  <a:gd name="connsiteY29" fmla="*/ 97059 h 529494"/>
                  <a:gd name="connsiteX30" fmla="*/ 149353 w 3550159"/>
                  <a:gd name="connsiteY30" fmla="*/ 103060 h 529494"/>
                  <a:gd name="connsiteX31" fmla="*/ 178785 w 3550159"/>
                  <a:gd name="connsiteY31" fmla="*/ 103060 h 529494"/>
                  <a:gd name="connsiteX32" fmla="*/ 178785 w 3550159"/>
                  <a:gd name="connsiteY32" fmla="*/ 109156 h 529494"/>
                  <a:gd name="connsiteX33" fmla="*/ 187167 w 3550159"/>
                  <a:gd name="connsiteY33" fmla="*/ 109156 h 529494"/>
                  <a:gd name="connsiteX34" fmla="*/ 187167 w 3550159"/>
                  <a:gd name="connsiteY34" fmla="*/ 115252 h 529494"/>
                  <a:gd name="connsiteX35" fmla="*/ 189262 w 3550159"/>
                  <a:gd name="connsiteY35" fmla="*/ 115252 h 529494"/>
                  <a:gd name="connsiteX36" fmla="*/ 189262 w 3550159"/>
                  <a:gd name="connsiteY36" fmla="*/ 121253 h 529494"/>
                  <a:gd name="connsiteX37" fmla="*/ 204026 w 3550159"/>
                  <a:gd name="connsiteY37" fmla="*/ 121253 h 529494"/>
                  <a:gd name="connsiteX38" fmla="*/ 204026 w 3550159"/>
                  <a:gd name="connsiteY38" fmla="*/ 133445 h 529494"/>
                  <a:gd name="connsiteX39" fmla="*/ 206122 w 3550159"/>
                  <a:gd name="connsiteY39" fmla="*/ 133445 h 529494"/>
                  <a:gd name="connsiteX40" fmla="*/ 206122 w 3550159"/>
                  <a:gd name="connsiteY40" fmla="*/ 139446 h 529494"/>
                  <a:gd name="connsiteX41" fmla="*/ 212408 w 3550159"/>
                  <a:gd name="connsiteY41" fmla="*/ 139446 h 529494"/>
                  <a:gd name="connsiteX42" fmla="*/ 212408 w 3550159"/>
                  <a:gd name="connsiteY42" fmla="*/ 145542 h 529494"/>
                  <a:gd name="connsiteX43" fmla="*/ 216599 w 3550159"/>
                  <a:gd name="connsiteY43" fmla="*/ 145542 h 529494"/>
                  <a:gd name="connsiteX44" fmla="*/ 216599 w 3550159"/>
                  <a:gd name="connsiteY44" fmla="*/ 151638 h 529494"/>
                  <a:gd name="connsiteX45" fmla="*/ 233458 w 3550159"/>
                  <a:gd name="connsiteY45" fmla="*/ 151638 h 529494"/>
                  <a:gd name="connsiteX46" fmla="*/ 233458 w 3550159"/>
                  <a:gd name="connsiteY46" fmla="*/ 163734 h 529494"/>
                  <a:gd name="connsiteX47" fmla="*/ 237649 w 3550159"/>
                  <a:gd name="connsiteY47" fmla="*/ 163734 h 529494"/>
                  <a:gd name="connsiteX48" fmla="*/ 237649 w 3550159"/>
                  <a:gd name="connsiteY48" fmla="*/ 169830 h 529494"/>
                  <a:gd name="connsiteX49" fmla="*/ 260795 w 3550159"/>
                  <a:gd name="connsiteY49" fmla="*/ 169830 h 529494"/>
                  <a:gd name="connsiteX50" fmla="*/ 260795 w 3550159"/>
                  <a:gd name="connsiteY50" fmla="*/ 175926 h 529494"/>
                  <a:gd name="connsiteX51" fmla="*/ 264986 w 3550159"/>
                  <a:gd name="connsiteY51" fmla="*/ 175926 h 529494"/>
                  <a:gd name="connsiteX52" fmla="*/ 264986 w 3550159"/>
                  <a:gd name="connsiteY52" fmla="*/ 181927 h 529494"/>
                  <a:gd name="connsiteX53" fmla="*/ 271273 w 3550159"/>
                  <a:gd name="connsiteY53" fmla="*/ 181927 h 529494"/>
                  <a:gd name="connsiteX54" fmla="*/ 271273 w 3550159"/>
                  <a:gd name="connsiteY54" fmla="*/ 194119 h 529494"/>
                  <a:gd name="connsiteX55" fmla="*/ 290227 w 3550159"/>
                  <a:gd name="connsiteY55" fmla="*/ 194119 h 529494"/>
                  <a:gd name="connsiteX56" fmla="*/ 290227 w 3550159"/>
                  <a:gd name="connsiteY56" fmla="*/ 200120 h 529494"/>
                  <a:gd name="connsiteX57" fmla="*/ 298609 w 3550159"/>
                  <a:gd name="connsiteY57" fmla="*/ 200120 h 529494"/>
                  <a:gd name="connsiteX58" fmla="*/ 298609 w 3550159"/>
                  <a:gd name="connsiteY58" fmla="*/ 206216 h 529494"/>
                  <a:gd name="connsiteX59" fmla="*/ 311278 w 3550159"/>
                  <a:gd name="connsiteY59" fmla="*/ 206216 h 529494"/>
                  <a:gd name="connsiteX60" fmla="*/ 311278 w 3550159"/>
                  <a:gd name="connsiteY60" fmla="*/ 212312 h 529494"/>
                  <a:gd name="connsiteX61" fmla="*/ 328137 w 3550159"/>
                  <a:gd name="connsiteY61" fmla="*/ 212312 h 529494"/>
                  <a:gd name="connsiteX62" fmla="*/ 328137 w 3550159"/>
                  <a:gd name="connsiteY62" fmla="*/ 218313 h 529494"/>
                  <a:gd name="connsiteX63" fmla="*/ 355474 w 3550159"/>
                  <a:gd name="connsiteY63" fmla="*/ 218313 h 529494"/>
                  <a:gd name="connsiteX64" fmla="*/ 355474 w 3550159"/>
                  <a:gd name="connsiteY64" fmla="*/ 224409 h 529494"/>
                  <a:gd name="connsiteX65" fmla="*/ 357569 w 3550159"/>
                  <a:gd name="connsiteY65" fmla="*/ 224409 h 529494"/>
                  <a:gd name="connsiteX66" fmla="*/ 357569 w 3550159"/>
                  <a:gd name="connsiteY66" fmla="*/ 230505 h 529494"/>
                  <a:gd name="connsiteX67" fmla="*/ 368046 w 3550159"/>
                  <a:gd name="connsiteY67" fmla="*/ 230505 h 529494"/>
                  <a:gd name="connsiteX68" fmla="*/ 368046 w 3550159"/>
                  <a:gd name="connsiteY68" fmla="*/ 236505 h 529494"/>
                  <a:gd name="connsiteX69" fmla="*/ 374333 w 3550159"/>
                  <a:gd name="connsiteY69" fmla="*/ 236505 h 529494"/>
                  <a:gd name="connsiteX70" fmla="*/ 374333 w 3550159"/>
                  <a:gd name="connsiteY70" fmla="*/ 248697 h 529494"/>
                  <a:gd name="connsiteX71" fmla="*/ 382810 w 3550159"/>
                  <a:gd name="connsiteY71" fmla="*/ 248697 h 529494"/>
                  <a:gd name="connsiteX72" fmla="*/ 382810 w 3550159"/>
                  <a:gd name="connsiteY72" fmla="*/ 254698 h 529494"/>
                  <a:gd name="connsiteX73" fmla="*/ 389097 w 3550159"/>
                  <a:gd name="connsiteY73" fmla="*/ 254698 h 529494"/>
                  <a:gd name="connsiteX74" fmla="*/ 389097 w 3550159"/>
                  <a:gd name="connsiteY74" fmla="*/ 266890 h 529494"/>
                  <a:gd name="connsiteX75" fmla="*/ 391192 w 3550159"/>
                  <a:gd name="connsiteY75" fmla="*/ 266890 h 529494"/>
                  <a:gd name="connsiteX76" fmla="*/ 391192 w 3550159"/>
                  <a:gd name="connsiteY76" fmla="*/ 272986 h 529494"/>
                  <a:gd name="connsiteX77" fmla="*/ 403765 w 3550159"/>
                  <a:gd name="connsiteY77" fmla="*/ 272986 h 529494"/>
                  <a:gd name="connsiteX78" fmla="*/ 403765 w 3550159"/>
                  <a:gd name="connsiteY78" fmla="*/ 278987 h 529494"/>
                  <a:gd name="connsiteX79" fmla="*/ 426911 w 3550159"/>
                  <a:gd name="connsiteY79" fmla="*/ 278987 h 529494"/>
                  <a:gd name="connsiteX80" fmla="*/ 426911 w 3550159"/>
                  <a:gd name="connsiteY80" fmla="*/ 285083 h 529494"/>
                  <a:gd name="connsiteX81" fmla="*/ 433293 w 3550159"/>
                  <a:gd name="connsiteY81" fmla="*/ 285083 h 529494"/>
                  <a:gd name="connsiteX82" fmla="*/ 433293 w 3550159"/>
                  <a:gd name="connsiteY82" fmla="*/ 291179 h 529494"/>
                  <a:gd name="connsiteX83" fmla="*/ 441675 w 3550159"/>
                  <a:gd name="connsiteY83" fmla="*/ 291179 h 529494"/>
                  <a:gd name="connsiteX84" fmla="*/ 441675 w 3550159"/>
                  <a:gd name="connsiteY84" fmla="*/ 297180 h 529494"/>
                  <a:gd name="connsiteX85" fmla="*/ 450057 w 3550159"/>
                  <a:gd name="connsiteY85" fmla="*/ 297180 h 529494"/>
                  <a:gd name="connsiteX86" fmla="*/ 450057 w 3550159"/>
                  <a:gd name="connsiteY86" fmla="*/ 303276 h 529494"/>
                  <a:gd name="connsiteX87" fmla="*/ 454248 w 3550159"/>
                  <a:gd name="connsiteY87" fmla="*/ 303276 h 529494"/>
                  <a:gd name="connsiteX88" fmla="*/ 454248 w 3550159"/>
                  <a:gd name="connsiteY88" fmla="*/ 309372 h 529494"/>
                  <a:gd name="connsiteX89" fmla="*/ 527876 w 3550159"/>
                  <a:gd name="connsiteY89" fmla="*/ 309372 h 529494"/>
                  <a:gd name="connsiteX90" fmla="*/ 527876 w 3550159"/>
                  <a:gd name="connsiteY90" fmla="*/ 315372 h 529494"/>
                  <a:gd name="connsiteX91" fmla="*/ 548926 w 3550159"/>
                  <a:gd name="connsiteY91" fmla="*/ 315372 h 529494"/>
                  <a:gd name="connsiteX92" fmla="*/ 548926 w 3550159"/>
                  <a:gd name="connsiteY92" fmla="*/ 321468 h 529494"/>
                  <a:gd name="connsiteX93" fmla="*/ 555213 w 3550159"/>
                  <a:gd name="connsiteY93" fmla="*/ 321468 h 529494"/>
                  <a:gd name="connsiteX94" fmla="*/ 555213 w 3550159"/>
                  <a:gd name="connsiteY94" fmla="*/ 327564 h 529494"/>
                  <a:gd name="connsiteX95" fmla="*/ 597313 w 3550159"/>
                  <a:gd name="connsiteY95" fmla="*/ 327564 h 529494"/>
                  <a:gd name="connsiteX96" fmla="*/ 597313 w 3550159"/>
                  <a:gd name="connsiteY96" fmla="*/ 333565 h 529494"/>
                  <a:gd name="connsiteX97" fmla="*/ 611982 w 3550159"/>
                  <a:gd name="connsiteY97" fmla="*/ 333565 h 529494"/>
                  <a:gd name="connsiteX98" fmla="*/ 611982 w 3550159"/>
                  <a:gd name="connsiteY98" fmla="*/ 339661 h 529494"/>
                  <a:gd name="connsiteX99" fmla="*/ 641509 w 3550159"/>
                  <a:gd name="connsiteY99" fmla="*/ 339661 h 529494"/>
                  <a:gd name="connsiteX100" fmla="*/ 641509 w 3550159"/>
                  <a:gd name="connsiteY100" fmla="*/ 345757 h 529494"/>
                  <a:gd name="connsiteX101" fmla="*/ 643605 w 3550159"/>
                  <a:gd name="connsiteY101" fmla="*/ 345757 h 529494"/>
                  <a:gd name="connsiteX102" fmla="*/ 643605 w 3550159"/>
                  <a:gd name="connsiteY102" fmla="*/ 351758 h 529494"/>
                  <a:gd name="connsiteX103" fmla="*/ 666655 w 3550159"/>
                  <a:gd name="connsiteY103" fmla="*/ 351758 h 529494"/>
                  <a:gd name="connsiteX104" fmla="*/ 666655 w 3550159"/>
                  <a:gd name="connsiteY104" fmla="*/ 357854 h 529494"/>
                  <a:gd name="connsiteX105" fmla="*/ 679324 w 3550159"/>
                  <a:gd name="connsiteY105" fmla="*/ 357854 h 529494"/>
                  <a:gd name="connsiteX106" fmla="*/ 679324 w 3550159"/>
                  <a:gd name="connsiteY106" fmla="*/ 363950 h 529494"/>
                  <a:gd name="connsiteX107" fmla="*/ 715042 w 3550159"/>
                  <a:gd name="connsiteY107" fmla="*/ 363950 h 529494"/>
                  <a:gd name="connsiteX108" fmla="*/ 715042 w 3550159"/>
                  <a:gd name="connsiteY108" fmla="*/ 370046 h 529494"/>
                  <a:gd name="connsiteX109" fmla="*/ 830771 w 3550159"/>
                  <a:gd name="connsiteY109" fmla="*/ 370046 h 529494"/>
                  <a:gd name="connsiteX110" fmla="*/ 830771 w 3550159"/>
                  <a:gd name="connsiteY110" fmla="*/ 376047 h 529494"/>
                  <a:gd name="connsiteX111" fmla="*/ 868585 w 3550159"/>
                  <a:gd name="connsiteY111" fmla="*/ 376047 h 529494"/>
                  <a:gd name="connsiteX112" fmla="*/ 868585 w 3550159"/>
                  <a:gd name="connsiteY112" fmla="*/ 382238 h 529494"/>
                  <a:gd name="connsiteX113" fmla="*/ 921163 w 3550159"/>
                  <a:gd name="connsiteY113" fmla="*/ 382238 h 529494"/>
                  <a:gd name="connsiteX114" fmla="*/ 921163 w 3550159"/>
                  <a:gd name="connsiteY114" fmla="*/ 388334 h 529494"/>
                  <a:gd name="connsiteX115" fmla="*/ 940118 w 3550159"/>
                  <a:gd name="connsiteY115" fmla="*/ 388334 h 529494"/>
                  <a:gd name="connsiteX116" fmla="*/ 940118 w 3550159"/>
                  <a:gd name="connsiteY116" fmla="*/ 394430 h 529494"/>
                  <a:gd name="connsiteX117" fmla="*/ 950596 w 3550159"/>
                  <a:gd name="connsiteY117" fmla="*/ 394430 h 529494"/>
                  <a:gd name="connsiteX118" fmla="*/ 950596 w 3550159"/>
                  <a:gd name="connsiteY118" fmla="*/ 400621 h 529494"/>
                  <a:gd name="connsiteX119" fmla="*/ 984314 w 3550159"/>
                  <a:gd name="connsiteY119" fmla="*/ 400621 h 529494"/>
                  <a:gd name="connsiteX120" fmla="*/ 984314 w 3550159"/>
                  <a:gd name="connsiteY120" fmla="*/ 406717 h 529494"/>
                  <a:gd name="connsiteX121" fmla="*/ 990601 w 3550159"/>
                  <a:gd name="connsiteY121" fmla="*/ 406717 h 529494"/>
                  <a:gd name="connsiteX122" fmla="*/ 990601 w 3550159"/>
                  <a:gd name="connsiteY122" fmla="*/ 412813 h 529494"/>
                  <a:gd name="connsiteX123" fmla="*/ 1005269 w 3550159"/>
                  <a:gd name="connsiteY123" fmla="*/ 412813 h 529494"/>
                  <a:gd name="connsiteX124" fmla="*/ 1005269 w 3550159"/>
                  <a:gd name="connsiteY124" fmla="*/ 418909 h 529494"/>
                  <a:gd name="connsiteX125" fmla="*/ 1017937 w 3550159"/>
                  <a:gd name="connsiteY125" fmla="*/ 418909 h 529494"/>
                  <a:gd name="connsiteX126" fmla="*/ 1017937 w 3550159"/>
                  <a:gd name="connsiteY126" fmla="*/ 425100 h 529494"/>
                  <a:gd name="connsiteX127" fmla="*/ 1043179 w 3550159"/>
                  <a:gd name="connsiteY127" fmla="*/ 425100 h 529494"/>
                  <a:gd name="connsiteX128" fmla="*/ 1043179 w 3550159"/>
                  <a:gd name="connsiteY128" fmla="*/ 431196 h 529494"/>
                  <a:gd name="connsiteX129" fmla="*/ 1272445 w 3550159"/>
                  <a:gd name="connsiteY129" fmla="*/ 431196 h 529494"/>
                  <a:gd name="connsiteX130" fmla="*/ 1272445 w 3550159"/>
                  <a:gd name="connsiteY130" fmla="*/ 437388 h 529494"/>
                  <a:gd name="connsiteX131" fmla="*/ 1385983 w 3550159"/>
                  <a:gd name="connsiteY131" fmla="*/ 437388 h 529494"/>
                  <a:gd name="connsiteX132" fmla="*/ 1385983 w 3550159"/>
                  <a:gd name="connsiteY132" fmla="*/ 443579 h 529494"/>
                  <a:gd name="connsiteX133" fmla="*/ 1655160 w 3550159"/>
                  <a:gd name="connsiteY133" fmla="*/ 443579 h 529494"/>
                  <a:gd name="connsiteX134" fmla="*/ 1655160 w 3550159"/>
                  <a:gd name="connsiteY134" fmla="*/ 449865 h 529494"/>
                  <a:gd name="connsiteX135" fmla="*/ 1728788 w 3550159"/>
                  <a:gd name="connsiteY135" fmla="*/ 449865 h 529494"/>
                  <a:gd name="connsiteX136" fmla="*/ 1728788 w 3550159"/>
                  <a:gd name="connsiteY136" fmla="*/ 456152 h 529494"/>
                  <a:gd name="connsiteX137" fmla="*/ 1808703 w 3550159"/>
                  <a:gd name="connsiteY137" fmla="*/ 456152 h 529494"/>
                  <a:gd name="connsiteX138" fmla="*/ 1808703 w 3550159"/>
                  <a:gd name="connsiteY138" fmla="*/ 462438 h 529494"/>
                  <a:gd name="connsiteX139" fmla="*/ 1970628 w 3550159"/>
                  <a:gd name="connsiteY139" fmla="*/ 462438 h 529494"/>
                  <a:gd name="connsiteX140" fmla="*/ 1970628 w 3550159"/>
                  <a:gd name="connsiteY140" fmla="*/ 468915 h 529494"/>
                  <a:gd name="connsiteX141" fmla="*/ 1987487 w 3550159"/>
                  <a:gd name="connsiteY141" fmla="*/ 468915 h 529494"/>
                  <a:gd name="connsiteX142" fmla="*/ 1987487 w 3550159"/>
                  <a:gd name="connsiteY142" fmla="*/ 475297 h 529494"/>
                  <a:gd name="connsiteX143" fmla="*/ 2105311 w 3550159"/>
                  <a:gd name="connsiteY143" fmla="*/ 475297 h 529494"/>
                  <a:gd name="connsiteX144" fmla="*/ 2105311 w 3550159"/>
                  <a:gd name="connsiteY144" fmla="*/ 481774 h 529494"/>
                  <a:gd name="connsiteX145" fmla="*/ 2197799 w 3550159"/>
                  <a:gd name="connsiteY145" fmla="*/ 481774 h 529494"/>
                  <a:gd name="connsiteX146" fmla="*/ 2197799 w 3550159"/>
                  <a:gd name="connsiteY146" fmla="*/ 488156 h 529494"/>
                  <a:gd name="connsiteX147" fmla="*/ 2216754 w 3550159"/>
                  <a:gd name="connsiteY147" fmla="*/ 488156 h 529494"/>
                  <a:gd name="connsiteX148" fmla="*/ 2216754 w 3550159"/>
                  <a:gd name="connsiteY148" fmla="*/ 494633 h 529494"/>
                  <a:gd name="connsiteX149" fmla="*/ 3070575 w 3550159"/>
                  <a:gd name="connsiteY149" fmla="*/ 494633 h 529494"/>
                  <a:gd name="connsiteX150" fmla="*/ 3070575 w 3550159"/>
                  <a:gd name="connsiteY150" fmla="*/ 529494 h 529494"/>
                  <a:gd name="connsiteX151" fmla="*/ 3550159 w 3550159"/>
                  <a:gd name="connsiteY151" fmla="*/ 529494 h 529494"/>
                  <a:gd name="connsiteX0" fmla="*/ 0 w 3550159"/>
                  <a:gd name="connsiteY0" fmla="*/ 0 h 529494"/>
                  <a:gd name="connsiteX1" fmla="*/ 21051 w 3550159"/>
                  <a:gd name="connsiteY1" fmla="*/ 6000 h 529494"/>
                  <a:gd name="connsiteX2" fmla="*/ 21051 w 3550159"/>
                  <a:gd name="connsiteY2" fmla="*/ 12096 h 529494"/>
                  <a:gd name="connsiteX3" fmla="*/ 29433 w 3550159"/>
                  <a:gd name="connsiteY3" fmla="*/ 12096 h 529494"/>
                  <a:gd name="connsiteX4" fmla="*/ 40006 w 3550159"/>
                  <a:gd name="connsiteY4" fmla="*/ 18192 h 529494"/>
                  <a:gd name="connsiteX5" fmla="*/ 40006 w 3550159"/>
                  <a:gd name="connsiteY5" fmla="*/ 24193 h 529494"/>
                  <a:gd name="connsiteX6" fmla="*/ 52579 w 3550159"/>
                  <a:gd name="connsiteY6" fmla="*/ 24193 h 529494"/>
                  <a:gd name="connsiteX7" fmla="*/ 52579 w 3550159"/>
                  <a:gd name="connsiteY7" fmla="*/ 30289 h 529494"/>
                  <a:gd name="connsiteX8" fmla="*/ 58865 w 3550159"/>
                  <a:gd name="connsiteY8" fmla="*/ 30289 h 529494"/>
                  <a:gd name="connsiteX9" fmla="*/ 58865 w 3550159"/>
                  <a:gd name="connsiteY9" fmla="*/ 42386 h 529494"/>
                  <a:gd name="connsiteX10" fmla="*/ 63056 w 3550159"/>
                  <a:gd name="connsiteY10" fmla="*/ 42386 h 529494"/>
                  <a:gd name="connsiteX11" fmla="*/ 63056 w 3550159"/>
                  <a:gd name="connsiteY11" fmla="*/ 48482 h 529494"/>
                  <a:gd name="connsiteX12" fmla="*/ 75724 w 3550159"/>
                  <a:gd name="connsiteY12" fmla="*/ 48482 h 529494"/>
                  <a:gd name="connsiteX13" fmla="*/ 75724 w 3550159"/>
                  <a:gd name="connsiteY13" fmla="*/ 54578 h 529494"/>
                  <a:gd name="connsiteX14" fmla="*/ 90393 w 3550159"/>
                  <a:gd name="connsiteY14" fmla="*/ 54578 h 529494"/>
                  <a:gd name="connsiteX15" fmla="*/ 90393 w 3550159"/>
                  <a:gd name="connsiteY15" fmla="*/ 60579 h 529494"/>
                  <a:gd name="connsiteX16" fmla="*/ 94679 w 3550159"/>
                  <a:gd name="connsiteY16" fmla="*/ 60579 h 529494"/>
                  <a:gd name="connsiteX17" fmla="*/ 94679 w 3550159"/>
                  <a:gd name="connsiteY17" fmla="*/ 66675 h 529494"/>
                  <a:gd name="connsiteX18" fmla="*/ 105156 w 3550159"/>
                  <a:gd name="connsiteY18" fmla="*/ 66675 h 529494"/>
                  <a:gd name="connsiteX19" fmla="*/ 105156 w 3550159"/>
                  <a:gd name="connsiteY19" fmla="*/ 72771 h 529494"/>
                  <a:gd name="connsiteX20" fmla="*/ 113539 w 3550159"/>
                  <a:gd name="connsiteY20" fmla="*/ 72771 h 529494"/>
                  <a:gd name="connsiteX21" fmla="*/ 113539 w 3550159"/>
                  <a:gd name="connsiteY21" fmla="*/ 78867 h 529494"/>
                  <a:gd name="connsiteX22" fmla="*/ 128302 w 3550159"/>
                  <a:gd name="connsiteY22" fmla="*/ 78867 h 529494"/>
                  <a:gd name="connsiteX23" fmla="*/ 128302 w 3550159"/>
                  <a:gd name="connsiteY23" fmla="*/ 84867 h 529494"/>
                  <a:gd name="connsiteX24" fmla="*/ 132493 w 3550159"/>
                  <a:gd name="connsiteY24" fmla="*/ 84867 h 529494"/>
                  <a:gd name="connsiteX25" fmla="*/ 132493 w 3550159"/>
                  <a:gd name="connsiteY25" fmla="*/ 90963 h 529494"/>
                  <a:gd name="connsiteX26" fmla="*/ 136684 w 3550159"/>
                  <a:gd name="connsiteY26" fmla="*/ 90963 h 529494"/>
                  <a:gd name="connsiteX27" fmla="*/ 136684 w 3550159"/>
                  <a:gd name="connsiteY27" fmla="*/ 97059 h 529494"/>
                  <a:gd name="connsiteX28" fmla="*/ 149353 w 3550159"/>
                  <a:gd name="connsiteY28" fmla="*/ 97059 h 529494"/>
                  <a:gd name="connsiteX29" fmla="*/ 149353 w 3550159"/>
                  <a:gd name="connsiteY29" fmla="*/ 103060 h 529494"/>
                  <a:gd name="connsiteX30" fmla="*/ 178785 w 3550159"/>
                  <a:gd name="connsiteY30" fmla="*/ 103060 h 529494"/>
                  <a:gd name="connsiteX31" fmla="*/ 178785 w 3550159"/>
                  <a:gd name="connsiteY31" fmla="*/ 109156 h 529494"/>
                  <a:gd name="connsiteX32" fmla="*/ 187167 w 3550159"/>
                  <a:gd name="connsiteY32" fmla="*/ 109156 h 529494"/>
                  <a:gd name="connsiteX33" fmla="*/ 187167 w 3550159"/>
                  <a:gd name="connsiteY33" fmla="*/ 115252 h 529494"/>
                  <a:gd name="connsiteX34" fmla="*/ 189262 w 3550159"/>
                  <a:gd name="connsiteY34" fmla="*/ 115252 h 529494"/>
                  <a:gd name="connsiteX35" fmla="*/ 189262 w 3550159"/>
                  <a:gd name="connsiteY35" fmla="*/ 121253 h 529494"/>
                  <a:gd name="connsiteX36" fmla="*/ 204026 w 3550159"/>
                  <a:gd name="connsiteY36" fmla="*/ 121253 h 529494"/>
                  <a:gd name="connsiteX37" fmla="*/ 204026 w 3550159"/>
                  <a:gd name="connsiteY37" fmla="*/ 133445 h 529494"/>
                  <a:gd name="connsiteX38" fmla="*/ 206122 w 3550159"/>
                  <a:gd name="connsiteY38" fmla="*/ 133445 h 529494"/>
                  <a:gd name="connsiteX39" fmla="*/ 206122 w 3550159"/>
                  <a:gd name="connsiteY39" fmla="*/ 139446 h 529494"/>
                  <a:gd name="connsiteX40" fmla="*/ 212408 w 3550159"/>
                  <a:gd name="connsiteY40" fmla="*/ 139446 h 529494"/>
                  <a:gd name="connsiteX41" fmla="*/ 212408 w 3550159"/>
                  <a:gd name="connsiteY41" fmla="*/ 145542 h 529494"/>
                  <a:gd name="connsiteX42" fmla="*/ 216599 w 3550159"/>
                  <a:gd name="connsiteY42" fmla="*/ 145542 h 529494"/>
                  <a:gd name="connsiteX43" fmla="*/ 216599 w 3550159"/>
                  <a:gd name="connsiteY43" fmla="*/ 151638 h 529494"/>
                  <a:gd name="connsiteX44" fmla="*/ 233458 w 3550159"/>
                  <a:gd name="connsiteY44" fmla="*/ 151638 h 529494"/>
                  <a:gd name="connsiteX45" fmla="*/ 233458 w 3550159"/>
                  <a:gd name="connsiteY45" fmla="*/ 163734 h 529494"/>
                  <a:gd name="connsiteX46" fmla="*/ 237649 w 3550159"/>
                  <a:gd name="connsiteY46" fmla="*/ 163734 h 529494"/>
                  <a:gd name="connsiteX47" fmla="*/ 237649 w 3550159"/>
                  <a:gd name="connsiteY47" fmla="*/ 169830 h 529494"/>
                  <a:gd name="connsiteX48" fmla="*/ 260795 w 3550159"/>
                  <a:gd name="connsiteY48" fmla="*/ 169830 h 529494"/>
                  <a:gd name="connsiteX49" fmla="*/ 260795 w 3550159"/>
                  <a:gd name="connsiteY49" fmla="*/ 175926 h 529494"/>
                  <a:gd name="connsiteX50" fmla="*/ 264986 w 3550159"/>
                  <a:gd name="connsiteY50" fmla="*/ 175926 h 529494"/>
                  <a:gd name="connsiteX51" fmla="*/ 264986 w 3550159"/>
                  <a:gd name="connsiteY51" fmla="*/ 181927 h 529494"/>
                  <a:gd name="connsiteX52" fmla="*/ 271273 w 3550159"/>
                  <a:gd name="connsiteY52" fmla="*/ 181927 h 529494"/>
                  <a:gd name="connsiteX53" fmla="*/ 271273 w 3550159"/>
                  <a:gd name="connsiteY53" fmla="*/ 194119 h 529494"/>
                  <a:gd name="connsiteX54" fmla="*/ 290227 w 3550159"/>
                  <a:gd name="connsiteY54" fmla="*/ 194119 h 529494"/>
                  <a:gd name="connsiteX55" fmla="*/ 290227 w 3550159"/>
                  <a:gd name="connsiteY55" fmla="*/ 200120 h 529494"/>
                  <a:gd name="connsiteX56" fmla="*/ 298609 w 3550159"/>
                  <a:gd name="connsiteY56" fmla="*/ 200120 h 529494"/>
                  <a:gd name="connsiteX57" fmla="*/ 298609 w 3550159"/>
                  <a:gd name="connsiteY57" fmla="*/ 206216 h 529494"/>
                  <a:gd name="connsiteX58" fmla="*/ 311278 w 3550159"/>
                  <a:gd name="connsiteY58" fmla="*/ 206216 h 529494"/>
                  <a:gd name="connsiteX59" fmla="*/ 311278 w 3550159"/>
                  <a:gd name="connsiteY59" fmla="*/ 212312 h 529494"/>
                  <a:gd name="connsiteX60" fmla="*/ 328137 w 3550159"/>
                  <a:gd name="connsiteY60" fmla="*/ 212312 h 529494"/>
                  <a:gd name="connsiteX61" fmla="*/ 328137 w 3550159"/>
                  <a:gd name="connsiteY61" fmla="*/ 218313 h 529494"/>
                  <a:gd name="connsiteX62" fmla="*/ 355474 w 3550159"/>
                  <a:gd name="connsiteY62" fmla="*/ 218313 h 529494"/>
                  <a:gd name="connsiteX63" fmla="*/ 355474 w 3550159"/>
                  <a:gd name="connsiteY63" fmla="*/ 224409 h 529494"/>
                  <a:gd name="connsiteX64" fmla="*/ 357569 w 3550159"/>
                  <a:gd name="connsiteY64" fmla="*/ 224409 h 529494"/>
                  <a:gd name="connsiteX65" fmla="*/ 357569 w 3550159"/>
                  <a:gd name="connsiteY65" fmla="*/ 230505 h 529494"/>
                  <a:gd name="connsiteX66" fmla="*/ 368046 w 3550159"/>
                  <a:gd name="connsiteY66" fmla="*/ 230505 h 529494"/>
                  <a:gd name="connsiteX67" fmla="*/ 368046 w 3550159"/>
                  <a:gd name="connsiteY67" fmla="*/ 236505 h 529494"/>
                  <a:gd name="connsiteX68" fmla="*/ 374333 w 3550159"/>
                  <a:gd name="connsiteY68" fmla="*/ 236505 h 529494"/>
                  <a:gd name="connsiteX69" fmla="*/ 374333 w 3550159"/>
                  <a:gd name="connsiteY69" fmla="*/ 248697 h 529494"/>
                  <a:gd name="connsiteX70" fmla="*/ 382810 w 3550159"/>
                  <a:gd name="connsiteY70" fmla="*/ 248697 h 529494"/>
                  <a:gd name="connsiteX71" fmla="*/ 382810 w 3550159"/>
                  <a:gd name="connsiteY71" fmla="*/ 254698 h 529494"/>
                  <a:gd name="connsiteX72" fmla="*/ 389097 w 3550159"/>
                  <a:gd name="connsiteY72" fmla="*/ 254698 h 529494"/>
                  <a:gd name="connsiteX73" fmla="*/ 389097 w 3550159"/>
                  <a:gd name="connsiteY73" fmla="*/ 266890 h 529494"/>
                  <a:gd name="connsiteX74" fmla="*/ 391192 w 3550159"/>
                  <a:gd name="connsiteY74" fmla="*/ 266890 h 529494"/>
                  <a:gd name="connsiteX75" fmla="*/ 391192 w 3550159"/>
                  <a:gd name="connsiteY75" fmla="*/ 272986 h 529494"/>
                  <a:gd name="connsiteX76" fmla="*/ 403765 w 3550159"/>
                  <a:gd name="connsiteY76" fmla="*/ 272986 h 529494"/>
                  <a:gd name="connsiteX77" fmla="*/ 403765 w 3550159"/>
                  <a:gd name="connsiteY77" fmla="*/ 278987 h 529494"/>
                  <a:gd name="connsiteX78" fmla="*/ 426911 w 3550159"/>
                  <a:gd name="connsiteY78" fmla="*/ 278987 h 529494"/>
                  <a:gd name="connsiteX79" fmla="*/ 426911 w 3550159"/>
                  <a:gd name="connsiteY79" fmla="*/ 285083 h 529494"/>
                  <a:gd name="connsiteX80" fmla="*/ 433293 w 3550159"/>
                  <a:gd name="connsiteY80" fmla="*/ 285083 h 529494"/>
                  <a:gd name="connsiteX81" fmla="*/ 433293 w 3550159"/>
                  <a:gd name="connsiteY81" fmla="*/ 291179 h 529494"/>
                  <a:gd name="connsiteX82" fmla="*/ 441675 w 3550159"/>
                  <a:gd name="connsiteY82" fmla="*/ 291179 h 529494"/>
                  <a:gd name="connsiteX83" fmla="*/ 441675 w 3550159"/>
                  <a:gd name="connsiteY83" fmla="*/ 297180 h 529494"/>
                  <a:gd name="connsiteX84" fmla="*/ 450057 w 3550159"/>
                  <a:gd name="connsiteY84" fmla="*/ 297180 h 529494"/>
                  <a:gd name="connsiteX85" fmla="*/ 450057 w 3550159"/>
                  <a:gd name="connsiteY85" fmla="*/ 303276 h 529494"/>
                  <a:gd name="connsiteX86" fmla="*/ 454248 w 3550159"/>
                  <a:gd name="connsiteY86" fmla="*/ 303276 h 529494"/>
                  <a:gd name="connsiteX87" fmla="*/ 454248 w 3550159"/>
                  <a:gd name="connsiteY87" fmla="*/ 309372 h 529494"/>
                  <a:gd name="connsiteX88" fmla="*/ 527876 w 3550159"/>
                  <a:gd name="connsiteY88" fmla="*/ 309372 h 529494"/>
                  <a:gd name="connsiteX89" fmla="*/ 527876 w 3550159"/>
                  <a:gd name="connsiteY89" fmla="*/ 315372 h 529494"/>
                  <a:gd name="connsiteX90" fmla="*/ 548926 w 3550159"/>
                  <a:gd name="connsiteY90" fmla="*/ 315372 h 529494"/>
                  <a:gd name="connsiteX91" fmla="*/ 548926 w 3550159"/>
                  <a:gd name="connsiteY91" fmla="*/ 321468 h 529494"/>
                  <a:gd name="connsiteX92" fmla="*/ 555213 w 3550159"/>
                  <a:gd name="connsiteY92" fmla="*/ 321468 h 529494"/>
                  <a:gd name="connsiteX93" fmla="*/ 555213 w 3550159"/>
                  <a:gd name="connsiteY93" fmla="*/ 327564 h 529494"/>
                  <a:gd name="connsiteX94" fmla="*/ 597313 w 3550159"/>
                  <a:gd name="connsiteY94" fmla="*/ 327564 h 529494"/>
                  <a:gd name="connsiteX95" fmla="*/ 597313 w 3550159"/>
                  <a:gd name="connsiteY95" fmla="*/ 333565 h 529494"/>
                  <a:gd name="connsiteX96" fmla="*/ 611982 w 3550159"/>
                  <a:gd name="connsiteY96" fmla="*/ 333565 h 529494"/>
                  <a:gd name="connsiteX97" fmla="*/ 611982 w 3550159"/>
                  <a:gd name="connsiteY97" fmla="*/ 339661 h 529494"/>
                  <a:gd name="connsiteX98" fmla="*/ 641509 w 3550159"/>
                  <a:gd name="connsiteY98" fmla="*/ 339661 h 529494"/>
                  <a:gd name="connsiteX99" fmla="*/ 641509 w 3550159"/>
                  <a:gd name="connsiteY99" fmla="*/ 345757 h 529494"/>
                  <a:gd name="connsiteX100" fmla="*/ 643605 w 3550159"/>
                  <a:gd name="connsiteY100" fmla="*/ 345757 h 529494"/>
                  <a:gd name="connsiteX101" fmla="*/ 643605 w 3550159"/>
                  <a:gd name="connsiteY101" fmla="*/ 351758 h 529494"/>
                  <a:gd name="connsiteX102" fmla="*/ 666655 w 3550159"/>
                  <a:gd name="connsiteY102" fmla="*/ 351758 h 529494"/>
                  <a:gd name="connsiteX103" fmla="*/ 666655 w 3550159"/>
                  <a:gd name="connsiteY103" fmla="*/ 357854 h 529494"/>
                  <a:gd name="connsiteX104" fmla="*/ 679324 w 3550159"/>
                  <a:gd name="connsiteY104" fmla="*/ 357854 h 529494"/>
                  <a:gd name="connsiteX105" fmla="*/ 679324 w 3550159"/>
                  <a:gd name="connsiteY105" fmla="*/ 363950 h 529494"/>
                  <a:gd name="connsiteX106" fmla="*/ 715042 w 3550159"/>
                  <a:gd name="connsiteY106" fmla="*/ 363950 h 529494"/>
                  <a:gd name="connsiteX107" fmla="*/ 715042 w 3550159"/>
                  <a:gd name="connsiteY107" fmla="*/ 370046 h 529494"/>
                  <a:gd name="connsiteX108" fmla="*/ 830771 w 3550159"/>
                  <a:gd name="connsiteY108" fmla="*/ 370046 h 529494"/>
                  <a:gd name="connsiteX109" fmla="*/ 830771 w 3550159"/>
                  <a:gd name="connsiteY109" fmla="*/ 376047 h 529494"/>
                  <a:gd name="connsiteX110" fmla="*/ 868585 w 3550159"/>
                  <a:gd name="connsiteY110" fmla="*/ 376047 h 529494"/>
                  <a:gd name="connsiteX111" fmla="*/ 868585 w 3550159"/>
                  <a:gd name="connsiteY111" fmla="*/ 382238 h 529494"/>
                  <a:gd name="connsiteX112" fmla="*/ 921163 w 3550159"/>
                  <a:gd name="connsiteY112" fmla="*/ 382238 h 529494"/>
                  <a:gd name="connsiteX113" fmla="*/ 921163 w 3550159"/>
                  <a:gd name="connsiteY113" fmla="*/ 388334 h 529494"/>
                  <a:gd name="connsiteX114" fmla="*/ 940118 w 3550159"/>
                  <a:gd name="connsiteY114" fmla="*/ 388334 h 529494"/>
                  <a:gd name="connsiteX115" fmla="*/ 940118 w 3550159"/>
                  <a:gd name="connsiteY115" fmla="*/ 394430 h 529494"/>
                  <a:gd name="connsiteX116" fmla="*/ 950596 w 3550159"/>
                  <a:gd name="connsiteY116" fmla="*/ 394430 h 529494"/>
                  <a:gd name="connsiteX117" fmla="*/ 950596 w 3550159"/>
                  <a:gd name="connsiteY117" fmla="*/ 400621 h 529494"/>
                  <a:gd name="connsiteX118" fmla="*/ 984314 w 3550159"/>
                  <a:gd name="connsiteY118" fmla="*/ 400621 h 529494"/>
                  <a:gd name="connsiteX119" fmla="*/ 984314 w 3550159"/>
                  <a:gd name="connsiteY119" fmla="*/ 406717 h 529494"/>
                  <a:gd name="connsiteX120" fmla="*/ 990601 w 3550159"/>
                  <a:gd name="connsiteY120" fmla="*/ 406717 h 529494"/>
                  <a:gd name="connsiteX121" fmla="*/ 990601 w 3550159"/>
                  <a:gd name="connsiteY121" fmla="*/ 412813 h 529494"/>
                  <a:gd name="connsiteX122" fmla="*/ 1005269 w 3550159"/>
                  <a:gd name="connsiteY122" fmla="*/ 412813 h 529494"/>
                  <a:gd name="connsiteX123" fmla="*/ 1005269 w 3550159"/>
                  <a:gd name="connsiteY123" fmla="*/ 418909 h 529494"/>
                  <a:gd name="connsiteX124" fmla="*/ 1017937 w 3550159"/>
                  <a:gd name="connsiteY124" fmla="*/ 418909 h 529494"/>
                  <a:gd name="connsiteX125" fmla="*/ 1017937 w 3550159"/>
                  <a:gd name="connsiteY125" fmla="*/ 425100 h 529494"/>
                  <a:gd name="connsiteX126" fmla="*/ 1043179 w 3550159"/>
                  <a:gd name="connsiteY126" fmla="*/ 425100 h 529494"/>
                  <a:gd name="connsiteX127" fmla="*/ 1043179 w 3550159"/>
                  <a:gd name="connsiteY127" fmla="*/ 431196 h 529494"/>
                  <a:gd name="connsiteX128" fmla="*/ 1272445 w 3550159"/>
                  <a:gd name="connsiteY128" fmla="*/ 431196 h 529494"/>
                  <a:gd name="connsiteX129" fmla="*/ 1272445 w 3550159"/>
                  <a:gd name="connsiteY129" fmla="*/ 437388 h 529494"/>
                  <a:gd name="connsiteX130" fmla="*/ 1385983 w 3550159"/>
                  <a:gd name="connsiteY130" fmla="*/ 437388 h 529494"/>
                  <a:gd name="connsiteX131" fmla="*/ 1385983 w 3550159"/>
                  <a:gd name="connsiteY131" fmla="*/ 443579 h 529494"/>
                  <a:gd name="connsiteX132" fmla="*/ 1655160 w 3550159"/>
                  <a:gd name="connsiteY132" fmla="*/ 443579 h 529494"/>
                  <a:gd name="connsiteX133" fmla="*/ 1655160 w 3550159"/>
                  <a:gd name="connsiteY133" fmla="*/ 449865 h 529494"/>
                  <a:gd name="connsiteX134" fmla="*/ 1728788 w 3550159"/>
                  <a:gd name="connsiteY134" fmla="*/ 449865 h 529494"/>
                  <a:gd name="connsiteX135" fmla="*/ 1728788 w 3550159"/>
                  <a:gd name="connsiteY135" fmla="*/ 456152 h 529494"/>
                  <a:gd name="connsiteX136" fmla="*/ 1808703 w 3550159"/>
                  <a:gd name="connsiteY136" fmla="*/ 456152 h 529494"/>
                  <a:gd name="connsiteX137" fmla="*/ 1808703 w 3550159"/>
                  <a:gd name="connsiteY137" fmla="*/ 462438 h 529494"/>
                  <a:gd name="connsiteX138" fmla="*/ 1970628 w 3550159"/>
                  <a:gd name="connsiteY138" fmla="*/ 462438 h 529494"/>
                  <a:gd name="connsiteX139" fmla="*/ 1970628 w 3550159"/>
                  <a:gd name="connsiteY139" fmla="*/ 468915 h 529494"/>
                  <a:gd name="connsiteX140" fmla="*/ 1987487 w 3550159"/>
                  <a:gd name="connsiteY140" fmla="*/ 468915 h 529494"/>
                  <a:gd name="connsiteX141" fmla="*/ 1987487 w 3550159"/>
                  <a:gd name="connsiteY141" fmla="*/ 475297 h 529494"/>
                  <a:gd name="connsiteX142" fmla="*/ 2105311 w 3550159"/>
                  <a:gd name="connsiteY142" fmla="*/ 475297 h 529494"/>
                  <a:gd name="connsiteX143" fmla="*/ 2105311 w 3550159"/>
                  <a:gd name="connsiteY143" fmla="*/ 481774 h 529494"/>
                  <a:gd name="connsiteX144" fmla="*/ 2197799 w 3550159"/>
                  <a:gd name="connsiteY144" fmla="*/ 481774 h 529494"/>
                  <a:gd name="connsiteX145" fmla="*/ 2197799 w 3550159"/>
                  <a:gd name="connsiteY145" fmla="*/ 488156 h 529494"/>
                  <a:gd name="connsiteX146" fmla="*/ 2216754 w 3550159"/>
                  <a:gd name="connsiteY146" fmla="*/ 488156 h 529494"/>
                  <a:gd name="connsiteX147" fmla="*/ 2216754 w 3550159"/>
                  <a:gd name="connsiteY147" fmla="*/ 494633 h 529494"/>
                  <a:gd name="connsiteX148" fmla="*/ 3070575 w 3550159"/>
                  <a:gd name="connsiteY148" fmla="*/ 494633 h 529494"/>
                  <a:gd name="connsiteX149" fmla="*/ 3070575 w 3550159"/>
                  <a:gd name="connsiteY149" fmla="*/ 529494 h 529494"/>
                  <a:gd name="connsiteX150" fmla="*/ 3550159 w 3550159"/>
                  <a:gd name="connsiteY150" fmla="*/ 529494 h 529494"/>
                  <a:gd name="connsiteX0" fmla="*/ 0 w 3529108"/>
                  <a:gd name="connsiteY0" fmla="*/ 0 h 523494"/>
                  <a:gd name="connsiteX1" fmla="*/ 0 w 3529108"/>
                  <a:gd name="connsiteY1" fmla="*/ 6096 h 523494"/>
                  <a:gd name="connsiteX2" fmla="*/ 8382 w 3529108"/>
                  <a:gd name="connsiteY2" fmla="*/ 6096 h 523494"/>
                  <a:gd name="connsiteX3" fmla="*/ 18955 w 3529108"/>
                  <a:gd name="connsiteY3" fmla="*/ 12192 h 523494"/>
                  <a:gd name="connsiteX4" fmla="*/ 18955 w 3529108"/>
                  <a:gd name="connsiteY4" fmla="*/ 18193 h 523494"/>
                  <a:gd name="connsiteX5" fmla="*/ 31528 w 3529108"/>
                  <a:gd name="connsiteY5" fmla="*/ 18193 h 523494"/>
                  <a:gd name="connsiteX6" fmla="*/ 31528 w 3529108"/>
                  <a:gd name="connsiteY6" fmla="*/ 24289 h 523494"/>
                  <a:gd name="connsiteX7" fmla="*/ 37814 w 3529108"/>
                  <a:gd name="connsiteY7" fmla="*/ 24289 h 523494"/>
                  <a:gd name="connsiteX8" fmla="*/ 37814 w 3529108"/>
                  <a:gd name="connsiteY8" fmla="*/ 36386 h 523494"/>
                  <a:gd name="connsiteX9" fmla="*/ 42005 w 3529108"/>
                  <a:gd name="connsiteY9" fmla="*/ 36386 h 523494"/>
                  <a:gd name="connsiteX10" fmla="*/ 42005 w 3529108"/>
                  <a:gd name="connsiteY10" fmla="*/ 42482 h 523494"/>
                  <a:gd name="connsiteX11" fmla="*/ 54673 w 3529108"/>
                  <a:gd name="connsiteY11" fmla="*/ 42482 h 523494"/>
                  <a:gd name="connsiteX12" fmla="*/ 54673 w 3529108"/>
                  <a:gd name="connsiteY12" fmla="*/ 48578 h 523494"/>
                  <a:gd name="connsiteX13" fmla="*/ 69342 w 3529108"/>
                  <a:gd name="connsiteY13" fmla="*/ 48578 h 523494"/>
                  <a:gd name="connsiteX14" fmla="*/ 69342 w 3529108"/>
                  <a:gd name="connsiteY14" fmla="*/ 54579 h 523494"/>
                  <a:gd name="connsiteX15" fmla="*/ 73628 w 3529108"/>
                  <a:gd name="connsiteY15" fmla="*/ 54579 h 523494"/>
                  <a:gd name="connsiteX16" fmla="*/ 73628 w 3529108"/>
                  <a:gd name="connsiteY16" fmla="*/ 60675 h 523494"/>
                  <a:gd name="connsiteX17" fmla="*/ 84105 w 3529108"/>
                  <a:gd name="connsiteY17" fmla="*/ 60675 h 523494"/>
                  <a:gd name="connsiteX18" fmla="*/ 84105 w 3529108"/>
                  <a:gd name="connsiteY18" fmla="*/ 66771 h 523494"/>
                  <a:gd name="connsiteX19" fmla="*/ 92488 w 3529108"/>
                  <a:gd name="connsiteY19" fmla="*/ 66771 h 523494"/>
                  <a:gd name="connsiteX20" fmla="*/ 92488 w 3529108"/>
                  <a:gd name="connsiteY20" fmla="*/ 72867 h 523494"/>
                  <a:gd name="connsiteX21" fmla="*/ 107251 w 3529108"/>
                  <a:gd name="connsiteY21" fmla="*/ 72867 h 523494"/>
                  <a:gd name="connsiteX22" fmla="*/ 107251 w 3529108"/>
                  <a:gd name="connsiteY22" fmla="*/ 78867 h 523494"/>
                  <a:gd name="connsiteX23" fmla="*/ 111442 w 3529108"/>
                  <a:gd name="connsiteY23" fmla="*/ 78867 h 523494"/>
                  <a:gd name="connsiteX24" fmla="*/ 111442 w 3529108"/>
                  <a:gd name="connsiteY24" fmla="*/ 84963 h 523494"/>
                  <a:gd name="connsiteX25" fmla="*/ 115633 w 3529108"/>
                  <a:gd name="connsiteY25" fmla="*/ 84963 h 523494"/>
                  <a:gd name="connsiteX26" fmla="*/ 115633 w 3529108"/>
                  <a:gd name="connsiteY26" fmla="*/ 91059 h 523494"/>
                  <a:gd name="connsiteX27" fmla="*/ 128302 w 3529108"/>
                  <a:gd name="connsiteY27" fmla="*/ 91059 h 523494"/>
                  <a:gd name="connsiteX28" fmla="*/ 128302 w 3529108"/>
                  <a:gd name="connsiteY28" fmla="*/ 97060 h 523494"/>
                  <a:gd name="connsiteX29" fmla="*/ 157734 w 3529108"/>
                  <a:gd name="connsiteY29" fmla="*/ 97060 h 523494"/>
                  <a:gd name="connsiteX30" fmla="*/ 157734 w 3529108"/>
                  <a:gd name="connsiteY30" fmla="*/ 103156 h 523494"/>
                  <a:gd name="connsiteX31" fmla="*/ 166116 w 3529108"/>
                  <a:gd name="connsiteY31" fmla="*/ 103156 h 523494"/>
                  <a:gd name="connsiteX32" fmla="*/ 166116 w 3529108"/>
                  <a:gd name="connsiteY32" fmla="*/ 109252 h 523494"/>
                  <a:gd name="connsiteX33" fmla="*/ 168211 w 3529108"/>
                  <a:gd name="connsiteY33" fmla="*/ 109252 h 523494"/>
                  <a:gd name="connsiteX34" fmla="*/ 168211 w 3529108"/>
                  <a:gd name="connsiteY34" fmla="*/ 115253 h 523494"/>
                  <a:gd name="connsiteX35" fmla="*/ 182975 w 3529108"/>
                  <a:gd name="connsiteY35" fmla="*/ 115253 h 523494"/>
                  <a:gd name="connsiteX36" fmla="*/ 182975 w 3529108"/>
                  <a:gd name="connsiteY36" fmla="*/ 127445 h 523494"/>
                  <a:gd name="connsiteX37" fmla="*/ 185071 w 3529108"/>
                  <a:gd name="connsiteY37" fmla="*/ 127445 h 523494"/>
                  <a:gd name="connsiteX38" fmla="*/ 185071 w 3529108"/>
                  <a:gd name="connsiteY38" fmla="*/ 133446 h 523494"/>
                  <a:gd name="connsiteX39" fmla="*/ 191357 w 3529108"/>
                  <a:gd name="connsiteY39" fmla="*/ 133446 h 523494"/>
                  <a:gd name="connsiteX40" fmla="*/ 191357 w 3529108"/>
                  <a:gd name="connsiteY40" fmla="*/ 139542 h 523494"/>
                  <a:gd name="connsiteX41" fmla="*/ 195548 w 3529108"/>
                  <a:gd name="connsiteY41" fmla="*/ 139542 h 523494"/>
                  <a:gd name="connsiteX42" fmla="*/ 195548 w 3529108"/>
                  <a:gd name="connsiteY42" fmla="*/ 145638 h 523494"/>
                  <a:gd name="connsiteX43" fmla="*/ 212407 w 3529108"/>
                  <a:gd name="connsiteY43" fmla="*/ 145638 h 523494"/>
                  <a:gd name="connsiteX44" fmla="*/ 212407 w 3529108"/>
                  <a:gd name="connsiteY44" fmla="*/ 157734 h 523494"/>
                  <a:gd name="connsiteX45" fmla="*/ 216598 w 3529108"/>
                  <a:gd name="connsiteY45" fmla="*/ 157734 h 523494"/>
                  <a:gd name="connsiteX46" fmla="*/ 216598 w 3529108"/>
                  <a:gd name="connsiteY46" fmla="*/ 163830 h 523494"/>
                  <a:gd name="connsiteX47" fmla="*/ 239744 w 3529108"/>
                  <a:gd name="connsiteY47" fmla="*/ 163830 h 523494"/>
                  <a:gd name="connsiteX48" fmla="*/ 239744 w 3529108"/>
                  <a:gd name="connsiteY48" fmla="*/ 169926 h 523494"/>
                  <a:gd name="connsiteX49" fmla="*/ 243935 w 3529108"/>
                  <a:gd name="connsiteY49" fmla="*/ 169926 h 523494"/>
                  <a:gd name="connsiteX50" fmla="*/ 243935 w 3529108"/>
                  <a:gd name="connsiteY50" fmla="*/ 175927 h 523494"/>
                  <a:gd name="connsiteX51" fmla="*/ 250222 w 3529108"/>
                  <a:gd name="connsiteY51" fmla="*/ 175927 h 523494"/>
                  <a:gd name="connsiteX52" fmla="*/ 250222 w 3529108"/>
                  <a:gd name="connsiteY52" fmla="*/ 188119 h 523494"/>
                  <a:gd name="connsiteX53" fmla="*/ 269176 w 3529108"/>
                  <a:gd name="connsiteY53" fmla="*/ 188119 h 523494"/>
                  <a:gd name="connsiteX54" fmla="*/ 269176 w 3529108"/>
                  <a:gd name="connsiteY54" fmla="*/ 194120 h 523494"/>
                  <a:gd name="connsiteX55" fmla="*/ 277558 w 3529108"/>
                  <a:gd name="connsiteY55" fmla="*/ 194120 h 523494"/>
                  <a:gd name="connsiteX56" fmla="*/ 277558 w 3529108"/>
                  <a:gd name="connsiteY56" fmla="*/ 200216 h 523494"/>
                  <a:gd name="connsiteX57" fmla="*/ 290227 w 3529108"/>
                  <a:gd name="connsiteY57" fmla="*/ 200216 h 523494"/>
                  <a:gd name="connsiteX58" fmla="*/ 290227 w 3529108"/>
                  <a:gd name="connsiteY58" fmla="*/ 206312 h 523494"/>
                  <a:gd name="connsiteX59" fmla="*/ 307086 w 3529108"/>
                  <a:gd name="connsiteY59" fmla="*/ 206312 h 523494"/>
                  <a:gd name="connsiteX60" fmla="*/ 307086 w 3529108"/>
                  <a:gd name="connsiteY60" fmla="*/ 212313 h 523494"/>
                  <a:gd name="connsiteX61" fmla="*/ 334423 w 3529108"/>
                  <a:gd name="connsiteY61" fmla="*/ 212313 h 523494"/>
                  <a:gd name="connsiteX62" fmla="*/ 334423 w 3529108"/>
                  <a:gd name="connsiteY62" fmla="*/ 218409 h 523494"/>
                  <a:gd name="connsiteX63" fmla="*/ 336518 w 3529108"/>
                  <a:gd name="connsiteY63" fmla="*/ 218409 h 523494"/>
                  <a:gd name="connsiteX64" fmla="*/ 336518 w 3529108"/>
                  <a:gd name="connsiteY64" fmla="*/ 224505 h 523494"/>
                  <a:gd name="connsiteX65" fmla="*/ 346995 w 3529108"/>
                  <a:gd name="connsiteY65" fmla="*/ 224505 h 523494"/>
                  <a:gd name="connsiteX66" fmla="*/ 346995 w 3529108"/>
                  <a:gd name="connsiteY66" fmla="*/ 230505 h 523494"/>
                  <a:gd name="connsiteX67" fmla="*/ 353282 w 3529108"/>
                  <a:gd name="connsiteY67" fmla="*/ 230505 h 523494"/>
                  <a:gd name="connsiteX68" fmla="*/ 353282 w 3529108"/>
                  <a:gd name="connsiteY68" fmla="*/ 242697 h 523494"/>
                  <a:gd name="connsiteX69" fmla="*/ 361759 w 3529108"/>
                  <a:gd name="connsiteY69" fmla="*/ 242697 h 523494"/>
                  <a:gd name="connsiteX70" fmla="*/ 361759 w 3529108"/>
                  <a:gd name="connsiteY70" fmla="*/ 248698 h 523494"/>
                  <a:gd name="connsiteX71" fmla="*/ 368046 w 3529108"/>
                  <a:gd name="connsiteY71" fmla="*/ 248698 h 523494"/>
                  <a:gd name="connsiteX72" fmla="*/ 368046 w 3529108"/>
                  <a:gd name="connsiteY72" fmla="*/ 260890 h 523494"/>
                  <a:gd name="connsiteX73" fmla="*/ 370141 w 3529108"/>
                  <a:gd name="connsiteY73" fmla="*/ 260890 h 523494"/>
                  <a:gd name="connsiteX74" fmla="*/ 370141 w 3529108"/>
                  <a:gd name="connsiteY74" fmla="*/ 266986 h 523494"/>
                  <a:gd name="connsiteX75" fmla="*/ 382714 w 3529108"/>
                  <a:gd name="connsiteY75" fmla="*/ 266986 h 523494"/>
                  <a:gd name="connsiteX76" fmla="*/ 382714 w 3529108"/>
                  <a:gd name="connsiteY76" fmla="*/ 272987 h 523494"/>
                  <a:gd name="connsiteX77" fmla="*/ 405860 w 3529108"/>
                  <a:gd name="connsiteY77" fmla="*/ 272987 h 523494"/>
                  <a:gd name="connsiteX78" fmla="*/ 405860 w 3529108"/>
                  <a:gd name="connsiteY78" fmla="*/ 279083 h 523494"/>
                  <a:gd name="connsiteX79" fmla="*/ 412242 w 3529108"/>
                  <a:gd name="connsiteY79" fmla="*/ 279083 h 523494"/>
                  <a:gd name="connsiteX80" fmla="*/ 412242 w 3529108"/>
                  <a:gd name="connsiteY80" fmla="*/ 285179 h 523494"/>
                  <a:gd name="connsiteX81" fmla="*/ 420624 w 3529108"/>
                  <a:gd name="connsiteY81" fmla="*/ 285179 h 523494"/>
                  <a:gd name="connsiteX82" fmla="*/ 420624 w 3529108"/>
                  <a:gd name="connsiteY82" fmla="*/ 291180 h 523494"/>
                  <a:gd name="connsiteX83" fmla="*/ 429006 w 3529108"/>
                  <a:gd name="connsiteY83" fmla="*/ 291180 h 523494"/>
                  <a:gd name="connsiteX84" fmla="*/ 429006 w 3529108"/>
                  <a:gd name="connsiteY84" fmla="*/ 297276 h 523494"/>
                  <a:gd name="connsiteX85" fmla="*/ 433197 w 3529108"/>
                  <a:gd name="connsiteY85" fmla="*/ 297276 h 523494"/>
                  <a:gd name="connsiteX86" fmla="*/ 433197 w 3529108"/>
                  <a:gd name="connsiteY86" fmla="*/ 303372 h 523494"/>
                  <a:gd name="connsiteX87" fmla="*/ 506825 w 3529108"/>
                  <a:gd name="connsiteY87" fmla="*/ 303372 h 523494"/>
                  <a:gd name="connsiteX88" fmla="*/ 506825 w 3529108"/>
                  <a:gd name="connsiteY88" fmla="*/ 309372 h 523494"/>
                  <a:gd name="connsiteX89" fmla="*/ 527875 w 3529108"/>
                  <a:gd name="connsiteY89" fmla="*/ 309372 h 523494"/>
                  <a:gd name="connsiteX90" fmla="*/ 527875 w 3529108"/>
                  <a:gd name="connsiteY90" fmla="*/ 315468 h 523494"/>
                  <a:gd name="connsiteX91" fmla="*/ 534162 w 3529108"/>
                  <a:gd name="connsiteY91" fmla="*/ 315468 h 523494"/>
                  <a:gd name="connsiteX92" fmla="*/ 534162 w 3529108"/>
                  <a:gd name="connsiteY92" fmla="*/ 321564 h 523494"/>
                  <a:gd name="connsiteX93" fmla="*/ 576262 w 3529108"/>
                  <a:gd name="connsiteY93" fmla="*/ 321564 h 523494"/>
                  <a:gd name="connsiteX94" fmla="*/ 576262 w 3529108"/>
                  <a:gd name="connsiteY94" fmla="*/ 327565 h 523494"/>
                  <a:gd name="connsiteX95" fmla="*/ 590931 w 3529108"/>
                  <a:gd name="connsiteY95" fmla="*/ 327565 h 523494"/>
                  <a:gd name="connsiteX96" fmla="*/ 590931 w 3529108"/>
                  <a:gd name="connsiteY96" fmla="*/ 333661 h 523494"/>
                  <a:gd name="connsiteX97" fmla="*/ 620458 w 3529108"/>
                  <a:gd name="connsiteY97" fmla="*/ 333661 h 523494"/>
                  <a:gd name="connsiteX98" fmla="*/ 620458 w 3529108"/>
                  <a:gd name="connsiteY98" fmla="*/ 339757 h 523494"/>
                  <a:gd name="connsiteX99" fmla="*/ 622554 w 3529108"/>
                  <a:gd name="connsiteY99" fmla="*/ 339757 h 523494"/>
                  <a:gd name="connsiteX100" fmla="*/ 622554 w 3529108"/>
                  <a:gd name="connsiteY100" fmla="*/ 345758 h 523494"/>
                  <a:gd name="connsiteX101" fmla="*/ 645604 w 3529108"/>
                  <a:gd name="connsiteY101" fmla="*/ 345758 h 523494"/>
                  <a:gd name="connsiteX102" fmla="*/ 645604 w 3529108"/>
                  <a:gd name="connsiteY102" fmla="*/ 351854 h 523494"/>
                  <a:gd name="connsiteX103" fmla="*/ 658273 w 3529108"/>
                  <a:gd name="connsiteY103" fmla="*/ 351854 h 523494"/>
                  <a:gd name="connsiteX104" fmla="*/ 658273 w 3529108"/>
                  <a:gd name="connsiteY104" fmla="*/ 357950 h 523494"/>
                  <a:gd name="connsiteX105" fmla="*/ 693991 w 3529108"/>
                  <a:gd name="connsiteY105" fmla="*/ 357950 h 523494"/>
                  <a:gd name="connsiteX106" fmla="*/ 693991 w 3529108"/>
                  <a:gd name="connsiteY106" fmla="*/ 364046 h 523494"/>
                  <a:gd name="connsiteX107" fmla="*/ 809720 w 3529108"/>
                  <a:gd name="connsiteY107" fmla="*/ 364046 h 523494"/>
                  <a:gd name="connsiteX108" fmla="*/ 809720 w 3529108"/>
                  <a:gd name="connsiteY108" fmla="*/ 370047 h 523494"/>
                  <a:gd name="connsiteX109" fmla="*/ 847534 w 3529108"/>
                  <a:gd name="connsiteY109" fmla="*/ 370047 h 523494"/>
                  <a:gd name="connsiteX110" fmla="*/ 847534 w 3529108"/>
                  <a:gd name="connsiteY110" fmla="*/ 376238 h 523494"/>
                  <a:gd name="connsiteX111" fmla="*/ 900112 w 3529108"/>
                  <a:gd name="connsiteY111" fmla="*/ 376238 h 523494"/>
                  <a:gd name="connsiteX112" fmla="*/ 900112 w 3529108"/>
                  <a:gd name="connsiteY112" fmla="*/ 382334 h 523494"/>
                  <a:gd name="connsiteX113" fmla="*/ 919067 w 3529108"/>
                  <a:gd name="connsiteY113" fmla="*/ 382334 h 523494"/>
                  <a:gd name="connsiteX114" fmla="*/ 919067 w 3529108"/>
                  <a:gd name="connsiteY114" fmla="*/ 388430 h 523494"/>
                  <a:gd name="connsiteX115" fmla="*/ 929545 w 3529108"/>
                  <a:gd name="connsiteY115" fmla="*/ 388430 h 523494"/>
                  <a:gd name="connsiteX116" fmla="*/ 929545 w 3529108"/>
                  <a:gd name="connsiteY116" fmla="*/ 394621 h 523494"/>
                  <a:gd name="connsiteX117" fmla="*/ 963263 w 3529108"/>
                  <a:gd name="connsiteY117" fmla="*/ 394621 h 523494"/>
                  <a:gd name="connsiteX118" fmla="*/ 963263 w 3529108"/>
                  <a:gd name="connsiteY118" fmla="*/ 400717 h 523494"/>
                  <a:gd name="connsiteX119" fmla="*/ 969550 w 3529108"/>
                  <a:gd name="connsiteY119" fmla="*/ 400717 h 523494"/>
                  <a:gd name="connsiteX120" fmla="*/ 969550 w 3529108"/>
                  <a:gd name="connsiteY120" fmla="*/ 406813 h 523494"/>
                  <a:gd name="connsiteX121" fmla="*/ 984218 w 3529108"/>
                  <a:gd name="connsiteY121" fmla="*/ 406813 h 523494"/>
                  <a:gd name="connsiteX122" fmla="*/ 984218 w 3529108"/>
                  <a:gd name="connsiteY122" fmla="*/ 412909 h 523494"/>
                  <a:gd name="connsiteX123" fmla="*/ 996886 w 3529108"/>
                  <a:gd name="connsiteY123" fmla="*/ 412909 h 523494"/>
                  <a:gd name="connsiteX124" fmla="*/ 996886 w 3529108"/>
                  <a:gd name="connsiteY124" fmla="*/ 419100 h 523494"/>
                  <a:gd name="connsiteX125" fmla="*/ 1022128 w 3529108"/>
                  <a:gd name="connsiteY125" fmla="*/ 419100 h 523494"/>
                  <a:gd name="connsiteX126" fmla="*/ 1022128 w 3529108"/>
                  <a:gd name="connsiteY126" fmla="*/ 425196 h 523494"/>
                  <a:gd name="connsiteX127" fmla="*/ 1251394 w 3529108"/>
                  <a:gd name="connsiteY127" fmla="*/ 425196 h 523494"/>
                  <a:gd name="connsiteX128" fmla="*/ 1251394 w 3529108"/>
                  <a:gd name="connsiteY128" fmla="*/ 431388 h 523494"/>
                  <a:gd name="connsiteX129" fmla="*/ 1364932 w 3529108"/>
                  <a:gd name="connsiteY129" fmla="*/ 431388 h 523494"/>
                  <a:gd name="connsiteX130" fmla="*/ 1364932 w 3529108"/>
                  <a:gd name="connsiteY130" fmla="*/ 437579 h 523494"/>
                  <a:gd name="connsiteX131" fmla="*/ 1634109 w 3529108"/>
                  <a:gd name="connsiteY131" fmla="*/ 437579 h 523494"/>
                  <a:gd name="connsiteX132" fmla="*/ 1634109 w 3529108"/>
                  <a:gd name="connsiteY132" fmla="*/ 443865 h 523494"/>
                  <a:gd name="connsiteX133" fmla="*/ 1707737 w 3529108"/>
                  <a:gd name="connsiteY133" fmla="*/ 443865 h 523494"/>
                  <a:gd name="connsiteX134" fmla="*/ 1707737 w 3529108"/>
                  <a:gd name="connsiteY134" fmla="*/ 450152 h 523494"/>
                  <a:gd name="connsiteX135" fmla="*/ 1787652 w 3529108"/>
                  <a:gd name="connsiteY135" fmla="*/ 450152 h 523494"/>
                  <a:gd name="connsiteX136" fmla="*/ 1787652 w 3529108"/>
                  <a:gd name="connsiteY136" fmla="*/ 456438 h 523494"/>
                  <a:gd name="connsiteX137" fmla="*/ 1949577 w 3529108"/>
                  <a:gd name="connsiteY137" fmla="*/ 456438 h 523494"/>
                  <a:gd name="connsiteX138" fmla="*/ 1949577 w 3529108"/>
                  <a:gd name="connsiteY138" fmla="*/ 462915 h 523494"/>
                  <a:gd name="connsiteX139" fmla="*/ 1966436 w 3529108"/>
                  <a:gd name="connsiteY139" fmla="*/ 462915 h 523494"/>
                  <a:gd name="connsiteX140" fmla="*/ 1966436 w 3529108"/>
                  <a:gd name="connsiteY140" fmla="*/ 469297 h 523494"/>
                  <a:gd name="connsiteX141" fmla="*/ 2084260 w 3529108"/>
                  <a:gd name="connsiteY141" fmla="*/ 469297 h 523494"/>
                  <a:gd name="connsiteX142" fmla="*/ 2084260 w 3529108"/>
                  <a:gd name="connsiteY142" fmla="*/ 475774 h 523494"/>
                  <a:gd name="connsiteX143" fmla="*/ 2176748 w 3529108"/>
                  <a:gd name="connsiteY143" fmla="*/ 475774 h 523494"/>
                  <a:gd name="connsiteX144" fmla="*/ 2176748 w 3529108"/>
                  <a:gd name="connsiteY144" fmla="*/ 482156 h 523494"/>
                  <a:gd name="connsiteX145" fmla="*/ 2195703 w 3529108"/>
                  <a:gd name="connsiteY145" fmla="*/ 482156 h 523494"/>
                  <a:gd name="connsiteX146" fmla="*/ 2195703 w 3529108"/>
                  <a:gd name="connsiteY146" fmla="*/ 488633 h 523494"/>
                  <a:gd name="connsiteX147" fmla="*/ 3049524 w 3529108"/>
                  <a:gd name="connsiteY147" fmla="*/ 488633 h 523494"/>
                  <a:gd name="connsiteX148" fmla="*/ 3049524 w 3529108"/>
                  <a:gd name="connsiteY148" fmla="*/ 523494 h 523494"/>
                  <a:gd name="connsiteX149" fmla="*/ 3529108 w 3529108"/>
                  <a:gd name="connsiteY149" fmla="*/ 523494 h 523494"/>
                  <a:gd name="connsiteX0" fmla="*/ 0 w 3529108"/>
                  <a:gd name="connsiteY0" fmla="*/ 0 h 523494"/>
                  <a:gd name="connsiteX1" fmla="*/ 0 w 3529108"/>
                  <a:gd name="connsiteY1" fmla="*/ 6096 h 523494"/>
                  <a:gd name="connsiteX2" fmla="*/ 18955 w 3529108"/>
                  <a:gd name="connsiteY2" fmla="*/ 12192 h 523494"/>
                  <a:gd name="connsiteX3" fmla="*/ 18955 w 3529108"/>
                  <a:gd name="connsiteY3" fmla="*/ 18193 h 523494"/>
                  <a:gd name="connsiteX4" fmla="*/ 31528 w 3529108"/>
                  <a:gd name="connsiteY4" fmla="*/ 18193 h 523494"/>
                  <a:gd name="connsiteX5" fmla="*/ 31528 w 3529108"/>
                  <a:gd name="connsiteY5" fmla="*/ 24289 h 523494"/>
                  <a:gd name="connsiteX6" fmla="*/ 37814 w 3529108"/>
                  <a:gd name="connsiteY6" fmla="*/ 24289 h 523494"/>
                  <a:gd name="connsiteX7" fmla="*/ 37814 w 3529108"/>
                  <a:gd name="connsiteY7" fmla="*/ 36386 h 523494"/>
                  <a:gd name="connsiteX8" fmla="*/ 42005 w 3529108"/>
                  <a:gd name="connsiteY8" fmla="*/ 36386 h 523494"/>
                  <a:gd name="connsiteX9" fmla="*/ 42005 w 3529108"/>
                  <a:gd name="connsiteY9" fmla="*/ 42482 h 523494"/>
                  <a:gd name="connsiteX10" fmla="*/ 54673 w 3529108"/>
                  <a:gd name="connsiteY10" fmla="*/ 42482 h 523494"/>
                  <a:gd name="connsiteX11" fmla="*/ 54673 w 3529108"/>
                  <a:gd name="connsiteY11" fmla="*/ 48578 h 523494"/>
                  <a:gd name="connsiteX12" fmla="*/ 69342 w 3529108"/>
                  <a:gd name="connsiteY12" fmla="*/ 48578 h 523494"/>
                  <a:gd name="connsiteX13" fmla="*/ 69342 w 3529108"/>
                  <a:gd name="connsiteY13" fmla="*/ 54579 h 523494"/>
                  <a:gd name="connsiteX14" fmla="*/ 73628 w 3529108"/>
                  <a:gd name="connsiteY14" fmla="*/ 54579 h 523494"/>
                  <a:gd name="connsiteX15" fmla="*/ 73628 w 3529108"/>
                  <a:gd name="connsiteY15" fmla="*/ 60675 h 523494"/>
                  <a:gd name="connsiteX16" fmla="*/ 84105 w 3529108"/>
                  <a:gd name="connsiteY16" fmla="*/ 60675 h 523494"/>
                  <a:gd name="connsiteX17" fmla="*/ 84105 w 3529108"/>
                  <a:gd name="connsiteY17" fmla="*/ 66771 h 523494"/>
                  <a:gd name="connsiteX18" fmla="*/ 92488 w 3529108"/>
                  <a:gd name="connsiteY18" fmla="*/ 66771 h 523494"/>
                  <a:gd name="connsiteX19" fmla="*/ 92488 w 3529108"/>
                  <a:gd name="connsiteY19" fmla="*/ 72867 h 523494"/>
                  <a:gd name="connsiteX20" fmla="*/ 107251 w 3529108"/>
                  <a:gd name="connsiteY20" fmla="*/ 72867 h 523494"/>
                  <a:gd name="connsiteX21" fmla="*/ 107251 w 3529108"/>
                  <a:gd name="connsiteY21" fmla="*/ 78867 h 523494"/>
                  <a:gd name="connsiteX22" fmla="*/ 111442 w 3529108"/>
                  <a:gd name="connsiteY22" fmla="*/ 78867 h 523494"/>
                  <a:gd name="connsiteX23" fmla="*/ 111442 w 3529108"/>
                  <a:gd name="connsiteY23" fmla="*/ 84963 h 523494"/>
                  <a:gd name="connsiteX24" fmla="*/ 115633 w 3529108"/>
                  <a:gd name="connsiteY24" fmla="*/ 84963 h 523494"/>
                  <a:gd name="connsiteX25" fmla="*/ 115633 w 3529108"/>
                  <a:gd name="connsiteY25" fmla="*/ 91059 h 523494"/>
                  <a:gd name="connsiteX26" fmla="*/ 128302 w 3529108"/>
                  <a:gd name="connsiteY26" fmla="*/ 91059 h 523494"/>
                  <a:gd name="connsiteX27" fmla="*/ 128302 w 3529108"/>
                  <a:gd name="connsiteY27" fmla="*/ 97060 h 523494"/>
                  <a:gd name="connsiteX28" fmla="*/ 157734 w 3529108"/>
                  <a:gd name="connsiteY28" fmla="*/ 97060 h 523494"/>
                  <a:gd name="connsiteX29" fmla="*/ 157734 w 3529108"/>
                  <a:gd name="connsiteY29" fmla="*/ 103156 h 523494"/>
                  <a:gd name="connsiteX30" fmla="*/ 166116 w 3529108"/>
                  <a:gd name="connsiteY30" fmla="*/ 103156 h 523494"/>
                  <a:gd name="connsiteX31" fmla="*/ 166116 w 3529108"/>
                  <a:gd name="connsiteY31" fmla="*/ 109252 h 523494"/>
                  <a:gd name="connsiteX32" fmla="*/ 168211 w 3529108"/>
                  <a:gd name="connsiteY32" fmla="*/ 109252 h 523494"/>
                  <a:gd name="connsiteX33" fmla="*/ 168211 w 3529108"/>
                  <a:gd name="connsiteY33" fmla="*/ 115253 h 523494"/>
                  <a:gd name="connsiteX34" fmla="*/ 182975 w 3529108"/>
                  <a:gd name="connsiteY34" fmla="*/ 115253 h 523494"/>
                  <a:gd name="connsiteX35" fmla="*/ 182975 w 3529108"/>
                  <a:gd name="connsiteY35" fmla="*/ 127445 h 523494"/>
                  <a:gd name="connsiteX36" fmla="*/ 185071 w 3529108"/>
                  <a:gd name="connsiteY36" fmla="*/ 127445 h 523494"/>
                  <a:gd name="connsiteX37" fmla="*/ 185071 w 3529108"/>
                  <a:gd name="connsiteY37" fmla="*/ 133446 h 523494"/>
                  <a:gd name="connsiteX38" fmla="*/ 191357 w 3529108"/>
                  <a:gd name="connsiteY38" fmla="*/ 133446 h 523494"/>
                  <a:gd name="connsiteX39" fmla="*/ 191357 w 3529108"/>
                  <a:gd name="connsiteY39" fmla="*/ 139542 h 523494"/>
                  <a:gd name="connsiteX40" fmla="*/ 195548 w 3529108"/>
                  <a:gd name="connsiteY40" fmla="*/ 139542 h 523494"/>
                  <a:gd name="connsiteX41" fmla="*/ 195548 w 3529108"/>
                  <a:gd name="connsiteY41" fmla="*/ 145638 h 523494"/>
                  <a:gd name="connsiteX42" fmla="*/ 212407 w 3529108"/>
                  <a:gd name="connsiteY42" fmla="*/ 145638 h 523494"/>
                  <a:gd name="connsiteX43" fmla="*/ 212407 w 3529108"/>
                  <a:gd name="connsiteY43" fmla="*/ 157734 h 523494"/>
                  <a:gd name="connsiteX44" fmla="*/ 216598 w 3529108"/>
                  <a:gd name="connsiteY44" fmla="*/ 157734 h 523494"/>
                  <a:gd name="connsiteX45" fmla="*/ 216598 w 3529108"/>
                  <a:gd name="connsiteY45" fmla="*/ 163830 h 523494"/>
                  <a:gd name="connsiteX46" fmla="*/ 239744 w 3529108"/>
                  <a:gd name="connsiteY46" fmla="*/ 163830 h 523494"/>
                  <a:gd name="connsiteX47" fmla="*/ 239744 w 3529108"/>
                  <a:gd name="connsiteY47" fmla="*/ 169926 h 523494"/>
                  <a:gd name="connsiteX48" fmla="*/ 243935 w 3529108"/>
                  <a:gd name="connsiteY48" fmla="*/ 169926 h 523494"/>
                  <a:gd name="connsiteX49" fmla="*/ 243935 w 3529108"/>
                  <a:gd name="connsiteY49" fmla="*/ 175927 h 523494"/>
                  <a:gd name="connsiteX50" fmla="*/ 250222 w 3529108"/>
                  <a:gd name="connsiteY50" fmla="*/ 175927 h 523494"/>
                  <a:gd name="connsiteX51" fmla="*/ 250222 w 3529108"/>
                  <a:gd name="connsiteY51" fmla="*/ 188119 h 523494"/>
                  <a:gd name="connsiteX52" fmla="*/ 269176 w 3529108"/>
                  <a:gd name="connsiteY52" fmla="*/ 188119 h 523494"/>
                  <a:gd name="connsiteX53" fmla="*/ 269176 w 3529108"/>
                  <a:gd name="connsiteY53" fmla="*/ 194120 h 523494"/>
                  <a:gd name="connsiteX54" fmla="*/ 277558 w 3529108"/>
                  <a:gd name="connsiteY54" fmla="*/ 194120 h 523494"/>
                  <a:gd name="connsiteX55" fmla="*/ 277558 w 3529108"/>
                  <a:gd name="connsiteY55" fmla="*/ 200216 h 523494"/>
                  <a:gd name="connsiteX56" fmla="*/ 290227 w 3529108"/>
                  <a:gd name="connsiteY56" fmla="*/ 200216 h 523494"/>
                  <a:gd name="connsiteX57" fmla="*/ 290227 w 3529108"/>
                  <a:gd name="connsiteY57" fmla="*/ 206312 h 523494"/>
                  <a:gd name="connsiteX58" fmla="*/ 307086 w 3529108"/>
                  <a:gd name="connsiteY58" fmla="*/ 206312 h 523494"/>
                  <a:gd name="connsiteX59" fmla="*/ 307086 w 3529108"/>
                  <a:gd name="connsiteY59" fmla="*/ 212313 h 523494"/>
                  <a:gd name="connsiteX60" fmla="*/ 334423 w 3529108"/>
                  <a:gd name="connsiteY60" fmla="*/ 212313 h 523494"/>
                  <a:gd name="connsiteX61" fmla="*/ 334423 w 3529108"/>
                  <a:gd name="connsiteY61" fmla="*/ 218409 h 523494"/>
                  <a:gd name="connsiteX62" fmla="*/ 336518 w 3529108"/>
                  <a:gd name="connsiteY62" fmla="*/ 218409 h 523494"/>
                  <a:gd name="connsiteX63" fmla="*/ 336518 w 3529108"/>
                  <a:gd name="connsiteY63" fmla="*/ 224505 h 523494"/>
                  <a:gd name="connsiteX64" fmla="*/ 346995 w 3529108"/>
                  <a:gd name="connsiteY64" fmla="*/ 224505 h 523494"/>
                  <a:gd name="connsiteX65" fmla="*/ 346995 w 3529108"/>
                  <a:gd name="connsiteY65" fmla="*/ 230505 h 523494"/>
                  <a:gd name="connsiteX66" fmla="*/ 353282 w 3529108"/>
                  <a:gd name="connsiteY66" fmla="*/ 230505 h 523494"/>
                  <a:gd name="connsiteX67" fmla="*/ 353282 w 3529108"/>
                  <a:gd name="connsiteY67" fmla="*/ 242697 h 523494"/>
                  <a:gd name="connsiteX68" fmla="*/ 361759 w 3529108"/>
                  <a:gd name="connsiteY68" fmla="*/ 242697 h 523494"/>
                  <a:gd name="connsiteX69" fmla="*/ 361759 w 3529108"/>
                  <a:gd name="connsiteY69" fmla="*/ 248698 h 523494"/>
                  <a:gd name="connsiteX70" fmla="*/ 368046 w 3529108"/>
                  <a:gd name="connsiteY70" fmla="*/ 248698 h 523494"/>
                  <a:gd name="connsiteX71" fmla="*/ 368046 w 3529108"/>
                  <a:gd name="connsiteY71" fmla="*/ 260890 h 523494"/>
                  <a:gd name="connsiteX72" fmla="*/ 370141 w 3529108"/>
                  <a:gd name="connsiteY72" fmla="*/ 260890 h 523494"/>
                  <a:gd name="connsiteX73" fmla="*/ 370141 w 3529108"/>
                  <a:gd name="connsiteY73" fmla="*/ 266986 h 523494"/>
                  <a:gd name="connsiteX74" fmla="*/ 382714 w 3529108"/>
                  <a:gd name="connsiteY74" fmla="*/ 266986 h 523494"/>
                  <a:gd name="connsiteX75" fmla="*/ 382714 w 3529108"/>
                  <a:gd name="connsiteY75" fmla="*/ 272987 h 523494"/>
                  <a:gd name="connsiteX76" fmla="*/ 405860 w 3529108"/>
                  <a:gd name="connsiteY76" fmla="*/ 272987 h 523494"/>
                  <a:gd name="connsiteX77" fmla="*/ 405860 w 3529108"/>
                  <a:gd name="connsiteY77" fmla="*/ 279083 h 523494"/>
                  <a:gd name="connsiteX78" fmla="*/ 412242 w 3529108"/>
                  <a:gd name="connsiteY78" fmla="*/ 279083 h 523494"/>
                  <a:gd name="connsiteX79" fmla="*/ 412242 w 3529108"/>
                  <a:gd name="connsiteY79" fmla="*/ 285179 h 523494"/>
                  <a:gd name="connsiteX80" fmla="*/ 420624 w 3529108"/>
                  <a:gd name="connsiteY80" fmla="*/ 285179 h 523494"/>
                  <a:gd name="connsiteX81" fmla="*/ 420624 w 3529108"/>
                  <a:gd name="connsiteY81" fmla="*/ 291180 h 523494"/>
                  <a:gd name="connsiteX82" fmla="*/ 429006 w 3529108"/>
                  <a:gd name="connsiteY82" fmla="*/ 291180 h 523494"/>
                  <a:gd name="connsiteX83" fmla="*/ 429006 w 3529108"/>
                  <a:gd name="connsiteY83" fmla="*/ 297276 h 523494"/>
                  <a:gd name="connsiteX84" fmla="*/ 433197 w 3529108"/>
                  <a:gd name="connsiteY84" fmla="*/ 297276 h 523494"/>
                  <a:gd name="connsiteX85" fmla="*/ 433197 w 3529108"/>
                  <a:gd name="connsiteY85" fmla="*/ 303372 h 523494"/>
                  <a:gd name="connsiteX86" fmla="*/ 506825 w 3529108"/>
                  <a:gd name="connsiteY86" fmla="*/ 303372 h 523494"/>
                  <a:gd name="connsiteX87" fmla="*/ 506825 w 3529108"/>
                  <a:gd name="connsiteY87" fmla="*/ 309372 h 523494"/>
                  <a:gd name="connsiteX88" fmla="*/ 527875 w 3529108"/>
                  <a:gd name="connsiteY88" fmla="*/ 309372 h 523494"/>
                  <a:gd name="connsiteX89" fmla="*/ 527875 w 3529108"/>
                  <a:gd name="connsiteY89" fmla="*/ 315468 h 523494"/>
                  <a:gd name="connsiteX90" fmla="*/ 534162 w 3529108"/>
                  <a:gd name="connsiteY90" fmla="*/ 315468 h 523494"/>
                  <a:gd name="connsiteX91" fmla="*/ 534162 w 3529108"/>
                  <a:gd name="connsiteY91" fmla="*/ 321564 h 523494"/>
                  <a:gd name="connsiteX92" fmla="*/ 576262 w 3529108"/>
                  <a:gd name="connsiteY92" fmla="*/ 321564 h 523494"/>
                  <a:gd name="connsiteX93" fmla="*/ 576262 w 3529108"/>
                  <a:gd name="connsiteY93" fmla="*/ 327565 h 523494"/>
                  <a:gd name="connsiteX94" fmla="*/ 590931 w 3529108"/>
                  <a:gd name="connsiteY94" fmla="*/ 327565 h 523494"/>
                  <a:gd name="connsiteX95" fmla="*/ 590931 w 3529108"/>
                  <a:gd name="connsiteY95" fmla="*/ 333661 h 523494"/>
                  <a:gd name="connsiteX96" fmla="*/ 620458 w 3529108"/>
                  <a:gd name="connsiteY96" fmla="*/ 333661 h 523494"/>
                  <a:gd name="connsiteX97" fmla="*/ 620458 w 3529108"/>
                  <a:gd name="connsiteY97" fmla="*/ 339757 h 523494"/>
                  <a:gd name="connsiteX98" fmla="*/ 622554 w 3529108"/>
                  <a:gd name="connsiteY98" fmla="*/ 339757 h 523494"/>
                  <a:gd name="connsiteX99" fmla="*/ 622554 w 3529108"/>
                  <a:gd name="connsiteY99" fmla="*/ 345758 h 523494"/>
                  <a:gd name="connsiteX100" fmla="*/ 645604 w 3529108"/>
                  <a:gd name="connsiteY100" fmla="*/ 345758 h 523494"/>
                  <a:gd name="connsiteX101" fmla="*/ 645604 w 3529108"/>
                  <a:gd name="connsiteY101" fmla="*/ 351854 h 523494"/>
                  <a:gd name="connsiteX102" fmla="*/ 658273 w 3529108"/>
                  <a:gd name="connsiteY102" fmla="*/ 351854 h 523494"/>
                  <a:gd name="connsiteX103" fmla="*/ 658273 w 3529108"/>
                  <a:gd name="connsiteY103" fmla="*/ 357950 h 523494"/>
                  <a:gd name="connsiteX104" fmla="*/ 693991 w 3529108"/>
                  <a:gd name="connsiteY104" fmla="*/ 357950 h 523494"/>
                  <a:gd name="connsiteX105" fmla="*/ 693991 w 3529108"/>
                  <a:gd name="connsiteY105" fmla="*/ 364046 h 523494"/>
                  <a:gd name="connsiteX106" fmla="*/ 809720 w 3529108"/>
                  <a:gd name="connsiteY106" fmla="*/ 364046 h 523494"/>
                  <a:gd name="connsiteX107" fmla="*/ 809720 w 3529108"/>
                  <a:gd name="connsiteY107" fmla="*/ 370047 h 523494"/>
                  <a:gd name="connsiteX108" fmla="*/ 847534 w 3529108"/>
                  <a:gd name="connsiteY108" fmla="*/ 370047 h 523494"/>
                  <a:gd name="connsiteX109" fmla="*/ 847534 w 3529108"/>
                  <a:gd name="connsiteY109" fmla="*/ 376238 h 523494"/>
                  <a:gd name="connsiteX110" fmla="*/ 900112 w 3529108"/>
                  <a:gd name="connsiteY110" fmla="*/ 376238 h 523494"/>
                  <a:gd name="connsiteX111" fmla="*/ 900112 w 3529108"/>
                  <a:gd name="connsiteY111" fmla="*/ 382334 h 523494"/>
                  <a:gd name="connsiteX112" fmla="*/ 919067 w 3529108"/>
                  <a:gd name="connsiteY112" fmla="*/ 382334 h 523494"/>
                  <a:gd name="connsiteX113" fmla="*/ 919067 w 3529108"/>
                  <a:gd name="connsiteY113" fmla="*/ 388430 h 523494"/>
                  <a:gd name="connsiteX114" fmla="*/ 929545 w 3529108"/>
                  <a:gd name="connsiteY114" fmla="*/ 388430 h 523494"/>
                  <a:gd name="connsiteX115" fmla="*/ 929545 w 3529108"/>
                  <a:gd name="connsiteY115" fmla="*/ 394621 h 523494"/>
                  <a:gd name="connsiteX116" fmla="*/ 963263 w 3529108"/>
                  <a:gd name="connsiteY116" fmla="*/ 394621 h 523494"/>
                  <a:gd name="connsiteX117" fmla="*/ 963263 w 3529108"/>
                  <a:gd name="connsiteY117" fmla="*/ 400717 h 523494"/>
                  <a:gd name="connsiteX118" fmla="*/ 969550 w 3529108"/>
                  <a:gd name="connsiteY118" fmla="*/ 400717 h 523494"/>
                  <a:gd name="connsiteX119" fmla="*/ 969550 w 3529108"/>
                  <a:gd name="connsiteY119" fmla="*/ 406813 h 523494"/>
                  <a:gd name="connsiteX120" fmla="*/ 984218 w 3529108"/>
                  <a:gd name="connsiteY120" fmla="*/ 406813 h 523494"/>
                  <a:gd name="connsiteX121" fmla="*/ 984218 w 3529108"/>
                  <a:gd name="connsiteY121" fmla="*/ 412909 h 523494"/>
                  <a:gd name="connsiteX122" fmla="*/ 996886 w 3529108"/>
                  <a:gd name="connsiteY122" fmla="*/ 412909 h 523494"/>
                  <a:gd name="connsiteX123" fmla="*/ 996886 w 3529108"/>
                  <a:gd name="connsiteY123" fmla="*/ 419100 h 523494"/>
                  <a:gd name="connsiteX124" fmla="*/ 1022128 w 3529108"/>
                  <a:gd name="connsiteY124" fmla="*/ 419100 h 523494"/>
                  <a:gd name="connsiteX125" fmla="*/ 1022128 w 3529108"/>
                  <a:gd name="connsiteY125" fmla="*/ 425196 h 523494"/>
                  <a:gd name="connsiteX126" fmla="*/ 1251394 w 3529108"/>
                  <a:gd name="connsiteY126" fmla="*/ 425196 h 523494"/>
                  <a:gd name="connsiteX127" fmla="*/ 1251394 w 3529108"/>
                  <a:gd name="connsiteY127" fmla="*/ 431388 h 523494"/>
                  <a:gd name="connsiteX128" fmla="*/ 1364932 w 3529108"/>
                  <a:gd name="connsiteY128" fmla="*/ 431388 h 523494"/>
                  <a:gd name="connsiteX129" fmla="*/ 1364932 w 3529108"/>
                  <a:gd name="connsiteY129" fmla="*/ 437579 h 523494"/>
                  <a:gd name="connsiteX130" fmla="*/ 1634109 w 3529108"/>
                  <a:gd name="connsiteY130" fmla="*/ 437579 h 523494"/>
                  <a:gd name="connsiteX131" fmla="*/ 1634109 w 3529108"/>
                  <a:gd name="connsiteY131" fmla="*/ 443865 h 523494"/>
                  <a:gd name="connsiteX132" fmla="*/ 1707737 w 3529108"/>
                  <a:gd name="connsiteY132" fmla="*/ 443865 h 523494"/>
                  <a:gd name="connsiteX133" fmla="*/ 1707737 w 3529108"/>
                  <a:gd name="connsiteY133" fmla="*/ 450152 h 523494"/>
                  <a:gd name="connsiteX134" fmla="*/ 1787652 w 3529108"/>
                  <a:gd name="connsiteY134" fmla="*/ 450152 h 523494"/>
                  <a:gd name="connsiteX135" fmla="*/ 1787652 w 3529108"/>
                  <a:gd name="connsiteY135" fmla="*/ 456438 h 523494"/>
                  <a:gd name="connsiteX136" fmla="*/ 1949577 w 3529108"/>
                  <a:gd name="connsiteY136" fmla="*/ 456438 h 523494"/>
                  <a:gd name="connsiteX137" fmla="*/ 1949577 w 3529108"/>
                  <a:gd name="connsiteY137" fmla="*/ 462915 h 523494"/>
                  <a:gd name="connsiteX138" fmla="*/ 1966436 w 3529108"/>
                  <a:gd name="connsiteY138" fmla="*/ 462915 h 523494"/>
                  <a:gd name="connsiteX139" fmla="*/ 1966436 w 3529108"/>
                  <a:gd name="connsiteY139" fmla="*/ 469297 h 523494"/>
                  <a:gd name="connsiteX140" fmla="*/ 2084260 w 3529108"/>
                  <a:gd name="connsiteY140" fmla="*/ 469297 h 523494"/>
                  <a:gd name="connsiteX141" fmla="*/ 2084260 w 3529108"/>
                  <a:gd name="connsiteY141" fmla="*/ 475774 h 523494"/>
                  <a:gd name="connsiteX142" fmla="*/ 2176748 w 3529108"/>
                  <a:gd name="connsiteY142" fmla="*/ 475774 h 523494"/>
                  <a:gd name="connsiteX143" fmla="*/ 2176748 w 3529108"/>
                  <a:gd name="connsiteY143" fmla="*/ 482156 h 523494"/>
                  <a:gd name="connsiteX144" fmla="*/ 2195703 w 3529108"/>
                  <a:gd name="connsiteY144" fmla="*/ 482156 h 523494"/>
                  <a:gd name="connsiteX145" fmla="*/ 2195703 w 3529108"/>
                  <a:gd name="connsiteY145" fmla="*/ 488633 h 523494"/>
                  <a:gd name="connsiteX146" fmla="*/ 3049524 w 3529108"/>
                  <a:gd name="connsiteY146" fmla="*/ 488633 h 523494"/>
                  <a:gd name="connsiteX147" fmla="*/ 3049524 w 3529108"/>
                  <a:gd name="connsiteY147" fmla="*/ 523494 h 523494"/>
                  <a:gd name="connsiteX148" fmla="*/ 3529108 w 3529108"/>
                  <a:gd name="connsiteY148" fmla="*/ 523494 h 523494"/>
                  <a:gd name="connsiteX0" fmla="*/ 0 w 3529108"/>
                  <a:gd name="connsiteY0" fmla="*/ 0 h 523494"/>
                  <a:gd name="connsiteX1" fmla="*/ 18955 w 3529108"/>
                  <a:gd name="connsiteY1" fmla="*/ 12192 h 523494"/>
                  <a:gd name="connsiteX2" fmla="*/ 18955 w 3529108"/>
                  <a:gd name="connsiteY2" fmla="*/ 18193 h 523494"/>
                  <a:gd name="connsiteX3" fmla="*/ 31528 w 3529108"/>
                  <a:gd name="connsiteY3" fmla="*/ 18193 h 523494"/>
                  <a:gd name="connsiteX4" fmla="*/ 31528 w 3529108"/>
                  <a:gd name="connsiteY4" fmla="*/ 24289 h 523494"/>
                  <a:gd name="connsiteX5" fmla="*/ 37814 w 3529108"/>
                  <a:gd name="connsiteY5" fmla="*/ 24289 h 523494"/>
                  <a:gd name="connsiteX6" fmla="*/ 37814 w 3529108"/>
                  <a:gd name="connsiteY6" fmla="*/ 36386 h 523494"/>
                  <a:gd name="connsiteX7" fmla="*/ 42005 w 3529108"/>
                  <a:gd name="connsiteY7" fmla="*/ 36386 h 523494"/>
                  <a:gd name="connsiteX8" fmla="*/ 42005 w 3529108"/>
                  <a:gd name="connsiteY8" fmla="*/ 42482 h 523494"/>
                  <a:gd name="connsiteX9" fmla="*/ 54673 w 3529108"/>
                  <a:gd name="connsiteY9" fmla="*/ 42482 h 523494"/>
                  <a:gd name="connsiteX10" fmla="*/ 54673 w 3529108"/>
                  <a:gd name="connsiteY10" fmla="*/ 48578 h 523494"/>
                  <a:gd name="connsiteX11" fmla="*/ 69342 w 3529108"/>
                  <a:gd name="connsiteY11" fmla="*/ 48578 h 523494"/>
                  <a:gd name="connsiteX12" fmla="*/ 69342 w 3529108"/>
                  <a:gd name="connsiteY12" fmla="*/ 54579 h 523494"/>
                  <a:gd name="connsiteX13" fmla="*/ 73628 w 3529108"/>
                  <a:gd name="connsiteY13" fmla="*/ 54579 h 523494"/>
                  <a:gd name="connsiteX14" fmla="*/ 73628 w 3529108"/>
                  <a:gd name="connsiteY14" fmla="*/ 60675 h 523494"/>
                  <a:gd name="connsiteX15" fmla="*/ 84105 w 3529108"/>
                  <a:gd name="connsiteY15" fmla="*/ 60675 h 523494"/>
                  <a:gd name="connsiteX16" fmla="*/ 84105 w 3529108"/>
                  <a:gd name="connsiteY16" fmla="*/ 66771 h 523494"/>
                  <a:gd name="connsiteX17" fmla="*/ 92488 w 3529108"/>
                  <a:gd name="connsiteY17" fmla="*/ 66771 h 523494"/>
                  <a:gd name="connsiteX18" fmla="*/ 92488 w 3529108"/>
                  <a:gd name="connsiteY18" fmla="*/ 72867 h 523494"/>
                  <a:gd name="connsiteX19" fmla="*/ 107251 w 3529108"/>
                  <a:gd name="connsiteY19" fmla="*/ 72867 h 523494"/>
                  <a:gd name="connsiteX20" fmla="*/ 107251 w 3529108"/>
                  <a:gd name="connsiteY20" fmla="*/ 78867 h 523494"/>
                  <a:gd name="connsiteX21" fmla="*/ 111442 w 3529108"/>
                  <a:gd name="connsiteY21" fmla="*/ 78867 h 523494"/>
                  <a:gd name="connsiteX22" fmla="*/ 111442 w 3529108"/>
                  <a:gd name="connsiteY22" fmla="*/ 84963 h 523494"/>
                  <a:gd name="connsiteX23" fmla="*/ 115633 w 3529108"/>
                  <a:gd name="connsiteY23" fmla="*/ 84963 h 523494"/>
                  <a:gd name="connsiteX24" fmla="*/ 115633 w 3529108"/>
                  <a:gd name="connsiteY24" fmla="*/ 91059 h 523494"/>
                  <a:gd name="connsiteX25" fmla="*/ 128302 w 3529108"/>
                  <a:gd name="connsiteY25" fmla="*/ 91059 h 523494"/>
                  <a:gd name="connsiteX26" fmla="*/ 128302 w 3529108"/>
                  <a:gd name="connsiteY26" fmla="*/ 97060 h 523494"/>
                  <a:gd name="connsiteX27" fmla="*/ 157734 w 3529108"/>
                  <a:gd name="connsiteY27" fmla="*/ 97060 h 523494"/>
                  <a:gd name="connsiteX28" fmla="*/ 157734 w 3529108"/>
                  <a:gd name="connsiteY28" fmla="*/ 103156 h 523494"/>
                  <a:gd name="connsiteX29" fmla="*/ 166116 w 3529108"/>
                  <a:gd name="connsiteY29" fmla="*/ 103156 h 523494"/>
                  <a:gd name="connsiteX30" fmla="*/ 166116 w 3529108"/>
                  <a:gd name="connsiteY30" fmla="*/ 109252 h 523494"/>
                  <a:gd name="connsiteX31" fmla="*/ 168211 w 3529108"/>
                  <a:gd name="connsiteY31" fmla="*/ 109252 h 523494"/>
                  <a:gd name="connsiteX32" fmla="*/ 168211 w 3529108"/>
                  <a:gd name="connsiteY32" fmla="*/ 115253 h 523494"/>
                  <a:gd name="connsiteX33" fmla="*/ 182975 w 3529108"/>
                  <a:gd name="connsiteY33" fmla="*/ 115253 h 523494"/>
                  <a:gd name="connsiteX34" fmla="*/ 182975 w 3529108"/>
                  <a:gd name="connsiteY34" fmla="*/ 127445 h 523494"/>
                  <a:gd name="connsiteX35" fmla="*/ 185071 w 3529108"/>
                  <a:gd name="connsiteY35" fmla="*/ 127445 h 523494"/>
                  <a:gd name="connsiteX36" fmla="*/ 185071 w 3529108"/>
                  <a:gd name="connsiteY36" fmla="*/ 133446 h 523494"/>
                  <a:gd name="connsiteX37" fmla="*/ 191357 w 3529108"/>
                  <a:gd name="connsiteY37" fmla="*/ 133446 h 523494"/>
                  <a:gd name="connsiteX38" fmla="*/ 191357 w 3529108"/>
                  <a:gd name="connsiteY38" fmla="*/ 139542 h 523494"/>
                  <a:gd name="connsiteX39" fmla="*/ 195548 w 3529108"/>
                  <a:gd name="connsiteY39" fmla="*/ 139542 h 523494"/>
                  <a:gd name="connsiteX40" fmla="*/ 195548 w 3529108"/>
                  <a:gd name="connsiteY40" fmla="*/ 145638 h 523494"/>
                  <a:gd name="connsiteX41" fmla="*/ 212407 w 3529108"/>
                  <a:gd name="connsiteY41" fmla="*/ 145638 h 523494"/>
                  <a:gd name="connsiteX42" fmla="*/ 212407 w 3529108"/>
                  <a:gd name="connsiteY42" fmla="*/ 157734 h 523494"/>
                  <a:gd name="connsiteX43" fmla="*/ 216598 w 3529108"/>
                  <a:gd name="connsiteY43" fmla="*/ 157734 h 523494"/>
                  <a:gd name="connsiteX44" fmla="*/ 216598 w 3529108"/>
                  <a:gd name="connsiteY44" fmla="*/ 163830 h 523494"/>
                  <a:gd name="connsiteX45" fmla="*/ 239744 w 3529108"/>
                  <a:gd name="connsiteY45" fmla="*/ 163830 h 523494"/>
                  <a:gd name="connsiteX46" fmla="*/ 239744 w 3529108"/>
                  <a:gd name="connsiteY46" fmla="*/ 169926 h 523494"/>
                  <a:gd name="connsiteX47" fmla="*/ 243935 w 3529108"/>
                  <a:gd name="connsiteY47" fmla="*/ 169926 h 523494"/>
                  <a:gd name="connsiteX48" fmla="*/ 243935 w 3529108"/>
                  <a:gd name="connsiteY48" fmla="*/ 175927 h 523494"/>
                  <a:gd name="connsiteX49" fmla="*/ 250222 w 3529108"/>
                  <a:gd name="connsiteY49" fmla="*/ 175927 h 523494"/>
                  <a:gd name="connsiteX50" fmla="*/ 250222 w 3529108"/>
                  <a:gd name="connsiteY50" fmla="*/ 188119 h 523494"/>
                  <a:gd name="connsiteX51" fmla="*/ 269176 w 3529108"/>
                  <a:gd name="connsiteY51" fmla="*/ 188119 h 523494"/>
                  <a:gd name="connsiteX52" fmla="*/ 269176 w 3529108"/>
                  <a:gd name="connsiteY52" fmla="*/ 194120 h 523494"/>
                  <a:gd name="connsiteX53" fmla="*/ 277558 w 3529108"/>
                  <a:gd name="connsiteY53" fmla="*/ 194120 h 523494"/>
                  <a:gd name="connsiteX54" fmla="*/ 277558 w 3529108"/>
                  <a:gd name="connsiteY54" fmla="*/ 200216 h 523494"/>
                  <a:gd name="connsiteX55" fmla="*/ 290227 w 3529108"/>
                  <a:gd name="connsiteY55" fmla="*/ 200216 h 523494"/>
                  <a:gd name="connsiteX56" fmla="*/ 290227 w 3529108"/>
                  <a:gd name="connsiteY56" fmla="*/ 206312 h 523494"/>
                  <a:gd name="connsiteX57" fmla="*/ 307086 w 3529108"/>
                  <a:gd name="connsiteY57" fmla="*/ 206312 h 523494"/>
                  <a:gd name="connsiteX58" fmla="*/ 307086 w 3529108"/>
                  <a:gd name="connsiteY58" fmla="*/ 212313 h 523494"/>
                  <a:gd name="connsiteX59" fmla="*/ 334423 w 3529108"/>
                  <a:gd name="connsiteY59" fmla="*/ 212313 h 523494"/>
                  <a:gd name="connsiteX60" fmla="*/ 334423 w 3529108"/>
                  <a:gd name="connsiteY60" fmla="*/ 218409 h 523494"/>
                  <a:gd name="connsiteX61" fmla="*/ 336518 w 3529108"/>
                  <a:gd name="connsiteY61" fmla="*/ 218409 h 523494"/>
                  <a:gd name="connsiteX62" fmla="*/ 336518 w 3529108"/>
                  <a:gd name="connsiteY62" fmla="*/ 224505 h 523494"/>
                  <a:gd name="connsiteX63" fmla="*/ 346995 w 3529108"/>
                  <a:gd name="connsiteY63" fmla="*/ 224505 h 523494"/>
                  <a:gd name="connsiteX64" fmla="*/ 346995 w 3529108"/>
                  <a:gd name="connsiteY64" fmla="*/ 230505 h 523494"/>
                  <a:gd name="connsiteX65" fmla="*/ 353282 w 3529108"/>
                  <a:gd name="connsiteY65" fmla="*/ 230505 h 523494"/>
                  <a:gd name="connsiteX66" fmla="*/ 353282 w 3529108"/>
                  <a:gd name="connsiteY66" fmla="*/ 242697 h 523494"/>
                  <a:gd name="connsiteX67" fmla="*/ 361759 w 3529108"/>
                  <a:gd name="connsiteY67" fmla="*/ 242697 h 523494"/>
                  <a:gd name="connsiteX68" fmla="*/ 361759 w 3529108"/>
                  <a:gd name="connsiteY68" fmla="*/ 248698 h 523494"/>
                  <a:gd name="connsiteX69" fmla="*/ 368046 w 3529108"/>
                  <a:gd name="connsiteY69" fmla="*/ 248698 h 523494"/>
                  <a:gd name="connsiteX70" fmla="*/ 368046 w 3529108"/>
                  <a:gd name="connsiteY70" fmla="*/ 260890 h 523494"/>
                  <a:gd name="connsiteX71" fmla="*/ 370141 w 3529108"/>
                  <a:gd name="connsiteY71" fmla="*/ 260890 h 523494"/>
                  <a:gd name="connsiteX72" fmla="*/ 370141 w 3529108"/>
                  <a:gd name="connsiteY72" fmla="*/ 266986 h 523494"/>
                  <a:gd name="connsiteX73" fmla="*/ 382714 w 3529108"/>
                  <a:gd name="connsiteY73" fmla="*/ 266986 h 523494"/>
                  <a:gd name="connsiteX74" fmla="*/ 382714 w 3529108"/>
                  <a:gd name="connsiteY74" fmla="*/ 272987 h 523494"/>
                  <a:gd name="connsiteX75" fmla="*/ 405860 w 3529108"/>
                  <a:gd name="connsiteY75" fmla="*/ 272987 h 523494"/>
                  <a:gd name="connsiteX76" fmla="*/ 405860 w 3529108"/>
                  <a:gd name="connsiteY76" fmla="*/ 279083 h 523494"/>
                  <a:gd name="connsiteX77" fmla="*/ 412242 w 3529108"/>
                  <a:gd name="connsiteY77" fmla="*/ 279083 h 523494"/>
                  <a:gd name="connsiteX78" fmla="*/ 412242 w 3529108"/>
                  <a:gd name="connsiteY78" fmla="*/ 285179 h 523494"/>
                  <a:gd name="connsiteX79" fmla="*/ 420624 w 3529108"/>
                  <a:gd name="connsiteY79" fmla="*/ 285179 h 523494"/>
                  <a:gd name="connsiteX80" fmla="*/ 420624 w 3529108"/>
                  <a:gd name="connsiteY80" fmla="*/ 291180 h 523494"/>
                  <a:gd name="connsiteX81" fmla="*/ 429006 w 3529108"/>
                  <a:gd name="connsiteY81" fmla="*/ 291180 h 523494"/>
                  <a:gd name="connsiteX82" fmla="*/ 429006 w 3529108"/>
                  <a:gd name="connsiteY82" fmla="*/ 297276 h 523494"/>
                  <a:gd name="connsiteX83" fmla="*/ 433197 w 3529108"/>
                  <a:gd name="connsiteY83" fmla="*/ 297276 h 523494"/>
                  <a:gd name="connsiteX84" fmla="*/ 433197 w 3529108"/>
                  <a:gd name="connsiteY84" fmla="*/ 303372 h 523494"/>
                  <a:gd name="connsiteX85" fmla="*/ 506825 w 3529108"/>
                  <a:gd name="connsiteY85" fmla="*/ 303372 h 523494"/>
                  <a:gd name="connsiteX86" fmla="*/ 506825 w 3529108"/>
                  <a:gd name="connsiteY86" fmla="*/ 309372 h 523494"/>
                  <a:gd name="connsiteX87" fmla="*/ 527875 w 3529108"/>
                  <a:gd name="connsiteY87" fmla="*/ 309372 h 523494"/>
                  <a:gd name="connsiteX88" fmla="*/ 527875 w 3529108"/>
                  <a:gd name="connsiteY88" fmla="*/ 315468 h 523494"/>
                  <a:gd name="connsiteX89" fmla="*/ 534162 w 3529108"/>
                  <a:gd name="connsiteY89" fmla="*/ 315468 h 523494"/>
                  <a:gd name="connsiteX90" fmla="*/ 534162 w 3529108"/>
                  <a:gd name="connsiteY90" fmla="*/ 321564 h 523494"/>
                  <a:gd name="connsiteX91" fmla="*/ 576262 w 3529108"/>
                  <a:gd name="connsiteY91" fmla="*/ 321564 h 523494"/>
                  <a:gd name="connsiteX92" fmla="*/ 576262 w 3529108"/>
                  <a:gd name="connsiteY92" fmla="*/ 327565 h 523494"/>
                  <a:gd name="connsiteX93" fmla="*/ 590931 w 3529108"/>
                  <a:gd name="connsiteY93" fmla="*/ 327565 h 523494"/>
                  <a:gd name="connsiteX94" fmla="*/ 590931 w 3529108"/>
                  <a:gd name="connsiteY94" fmla="*/ 333661 h 523494"/>
                  <a:gd name="connsiteX95" fmla="*/ 620458 w 3529108"/>
                  <a:gd name="connsiteY95" fmla="*/ 333661 h 523494"/>
                  <a:gd name="connsiteX96" fmla="*/ 620458 w 3529108"/>
                  <a:gd name="connsiteY96" fmla="*/ 339757 h 523494"/>
                  <a:gd name="connsiteX97" fmla="*/ 622554 w 3529108"/>
                  <a:gd name="connsiteY97" fmla="*/ 339757 h 523494"/>
                  <a:gd name="connsiteX98" fmla="*/ 622554 w 3529108"/>
                  <a:gd name="connsiteY98" fmla="*/ 345758 h 523494"/>
                  <a:gd name="connsiteX99" fmla="*/ 645604 w 3529108"/>
                  <a:gd name="connsiteY99" fmla="*/ 345758 h 523494"/>
                  <a:gd name="connsiteX100" fmla="*/ 645604 w 3529108"/>
                  <a:gd name="connsiteY100" fmla="*/ 351854 h 523494"/>
                  <a:gd name="connsiteX101" fmla="*/ 658273 w 3529108"/>
                  <a:gd name="connsiteY101" fmla="*/ 351854 h 523494"/>
                  <a:gd name="connsiteX102" fmla="*/ 658273 w 3529108"/>
                  <a:gd name="connsiteY102" fmla="*/ 357950 h 523494"/>
                  <a:gd name="connsiteX103" fmla="*/ 693991 w 3529108"/>
                  <a:gd name="connsiteY103" fmla="*/ 357950 h 523494"/>
                  <a:gd name="connsiteX104" fmla="*/ 693991 w 3529108"/>
                  <a:gd name="connsiteY104" fmla="*/ 364046 h 523494"/>
                  <a:gd name="connsiteX105" fmla="*/ 809720 w 3529108"/>
                  <a:gd name="connsiteY105" fmla="*/ 364046 h 523494"/>
                  <a:gd name="connsiteX106" fmla="*/ 809720 w 3529108"/>
                  <a:gd name="connsiteY106" fmla="*/ 370047 h 523494"/>
                  <a:gd name="connsiteX107" fmla="*/ 847534 w 3529108"/>
                  <a:gd name="connsiteY107" fmla="*/ 370047 h 523494"/>
                  <a:gd name="connsiteX108" fmla="*/ 847534 w 3529108"/>
                  <a:gd name="connsiteY108" fmla="*/ 376238 h 523494"/>
                  <a:gd name="connsiteX109" fmla="*/ 900112 w 3529108"/>
                  <a:gd name="connsiteY109" fmla="*/ 376238 h 523494"/>
                  <a:gd name="connsiteX110" fmla="*/ 900112 w 3529108"/>
                  <a:gd name="connsiteY110" fmla="*/ 382334 h 523494"/>
                  <a:gd name="connsiteX111" fmla="*/ 919067 w 3529108"/>
                  <a:gd name="connsiteY111" fmla="*/ 382334 h 523494"/>
                  <a:gd name="connsiteX112" fmla="*/ 919067 w 3529108"/>
                  <a:gd name="connsiteY112" fmla="*/ 388430 h 523494"/>
                  <a:gd name="connsiteX113" fmla="*/ 929545 w 3529108"/>
                  <a:gd name="connsiteY113" fmla="*/ 388430 h 523494"/>
                  <a:gd name="connsiteX114" fmla="*/ 929545 w 3529108"/>
                  <a:gd name="connsiteY114" fmla="*/ 394621 h 523494"/>
                  <a:gd name="connsiteX115" fmla="*/ 963263 w 3529108"/>
                  <a:gd name="connsiteY115" fmla="*/ 394621 h 523494"/>
                  <a:gd name="connsiteX116" fmla="*/ 963263 w 3529108"/>
                  <a:gd name="connsiteY116" fmla="*/ 400717 h 523494"/>
                  <a:gd name="connsiteX117" fmla="*/ 969550 w 3529108"/>
                  <a:gd name="connsiteY117" fmla="*/ 400717 h 523494"/>
                  <a:gd name="connsiteX118" fmla="*/ 969550 w 3529108"/>
                  <a:gd name="connsiteY118" fmla="*/ 406813 h 523494"/>
                  <a:gd name="connsiteX119" fmla="*/ 984218 w 3529108"/>
                  <a:gd name="connsiteY119" fmla="*/ 406813 h 523494"/>
                  <a:gd name="connsiteX120" fmla="*/ 984218 w 3529108"/>
                  <a:gd name="connsiteY120" fmla="*/ 412909 h 523494"/>
                  <a:gd name="connsiteX121" fmla="*/ 996886 w 3529108"/>
                  <a:gd name="connsiteY121" fmla="*/ 412909 h 523494"/>
                  <a:gd name="connsiteX122" fmla="*/ 996886 w 3529108"/>
                  <a:gd name="connsiteY122" fmla="*/ 419100 h 523494"/>
                  <a:gd name="connsiteX123" fmla="*/ 1022128 w 3529108"/>
                  <a:gd name="connsiteY123" fmla="*/ 419100 h 523494"/>
                  <a:gd name="connsiteX124" fmla="*/ 1022128 w 3529108"/>
                  <a:gd name="connsiteY124" fmla="*/ 425196 h 523494"/>
                  <a:gd name="connsiteX125" fmla="*/ 1251394 w 3529108"/>
                  <a:gd name="connsiteY125" fmla="*/ 425196 h 523494"/>
                  <a:gd name="connsiteX126" fmla="*/ 1251394 w 3529108"/>
                  <a:gd name="connsiteY126" fmla="*/ 431388 h 523494"/>
                  <a:gd name="connsiteX127" fmla="*/ 1364932 w 3529108"/>
                  <a:gd name="connsiteY127" fmla="*/ 431388 h 523494"/>
                  <a:gd name="connsiteX128" fmla="*/ 1364932 w 3529108"/>
                  <a:gd name="connsiteY128" fmla="*/ 437579 h 523494"/>
                  <a:gd name="connsiteX129" fmla="*/ 1634109 w 3529108"/>
                  <a:gd name="connsiteY129" fmla="*/ 437579 h 523494"/>
                  <a:gd name="connsiteX130" fmla="*/ 1634109 w 3529108"/>
                  <a:gd name="connsiteY130" fmla="*/ 443865 h 523494"/>
                  <a:gd name="connsiteX131" fmla="*/ 1707737 w 3529108"/>
                  <a:gd name="connsiteY131" fmla="*/ 443865 h 523494"/>
                  <a:gd name="connsiteX132" fmla="*/ 1707737 w 3529108"/>
                  <a:gd name="connsiteY132" fmla="*/ 450152 h 523494"/>
                  <a:gd name="connsiteX133" fmla="*/ 1787652 w 3529108"/>
                  <a:gd name="connsiteY133" fmla="*/ 450152 h 523494"/>
                  <a:gd name="connsiteX134" fmla="*/ 1787652 w 3529108"/>
                  <a:gd name="connsiteY134" fmla="*/ 456438 h 523494"/>
                  <a:gd name="connsiteX135" fmla="*/ 1949577 w 3529108"/>
                  <a:gd name="connsiteY135" fmla="*/ 456438 h 523494"/>
                  <a:gd name="connsiteX136" fmla="*/ 1949577 w 3529108"/>
                  <a:gd name="connsiteY136" fmla="*/ 462915 h 523494"/>
                  <a:gd name="connsiteX137" fmla="*/ 1966436 w 3529108"/>
                  <a:gd name="connsiteY137" fmla="*/ 462915 h 523494"/>
                  <a:gd name="connsiteX138" fmla="*/ 1966436 w 3529108"/>
                  <a:gd name="connsiteY138" fmla="*/ 469297 h 523494"/>
                  <a:gd name="connsiteX139" fmla="*/ 2084260 w 3529108"/>
                  <a:gd name="connsiteY139" fmla="*/ 469297 h 523494"/>
                  <a:gd name="connsiteX140" fmla="*/ 2084260 w 3529108"/>
                  <a:gd name="connsiteY140" fmla="*/ 475774 h 523494"/>
                  <a:gd name="connsiteX141" fmla="*/ 2176748 w 3529108"/>
                  <a:gd name="connsiteY141" fmla="*/ 475774 h 523494"/>
                  <a:gd name="connsiteX142" fmla="*/ 2176748 w 3529108"/>
                  <a:gd name="connsiteY142" fmla="*/ 482156 h 523494"/>
                  <a:gd name="connsiteX143" fmla="*/ 2195703 w 3529108"/>
                  <a:gd name="connsiteY143" fmla="*/ 482156 h 523494"/>
                  <a:gd name="connsiteX144" fmla="*/ 2195703 w 3529108"/>
                  <a:gd name="connsiteY144" fmla="*/ 488633 h 523494"/>
                  <a:gd name="connsiteX145" fmla="*/ 3049524 w 3529108"/>
                  <a:gd name="connsiteY145" fmla="*/ 488633 h 523494"/>
                  <a:gd name="connsiteX146" fmla="*/ 3049524 w 3529108"/>
                  <a:gd name="connsiteY146" fmla="*/ 523494 h 523494"/>
                  <a:gd name="connsiteX147" fmla="*/ 3529108 w 3529108"/>
                  <a:gd name="connsiteY147" fmla="*/ 523494 h 523494"/>
                  <a:gd name="connsiteX0" fmla="*/ 0 w 3510153"/>
                  <a:gd name="connsiteY0" fmla="*/ 0 h 511302"/>
                  <a:gd name="connsiteX1" fmla="*/ 0 w 3510153"/>
                  <a:gd name="connsiteY1" fmla="*/ 6001 h 511302"/>
                  <a:gd name="connsiteX2" fmla="*/ 12573 w 3510153"/>
                  <a:gd name="connsiteY2" fmla="*/ 6001 h 511302"/>
                  <a:gd name="connsiteX3" fmla="*/ 12573 w 3510153"/>
                  <a:gd name="connsiteY3" fmla="*/ 12097 h 511302"/>
                  <a:gd name="connsiteX4" fmla="*/ 18859 w 3510153"/>
                  <a:gd name="connsiteY4" fmla="*/ 12097 h 511302"/>
                  <a:gd name="connsiteX5" fmla="*/ 18859 w 3510153"/>
                  <a:gd name="connsiteY5" fmla="*/ 24194 h 511302"/>
                  <a:gd name="connsiteX6" fmla="*/ 23050 w 3510153"/>
                  <a:gd name="connsiteY6" fmla="*/ 24194 h 511302"/>
                  <a:gd name="connsiteX7" fmla="*/ 23050 w 3510153"/>
                  <a:gd name="connsiteY7" fmla="*/ 30290 h 511302"/>
                  <a:gd name="connsiteX8" fmla="*/ 35718 w 3510153"/>
                  <a:gd name="connsiteY8" fmla="*/ 30290 h 511302"/>
                  <a:gd name="connsiteX9" fmla="*/ 35718 w 3510153"/>
                  <a:gd name="connsiteY9" fmla="*/ 36386 h 511302"/>
                  <a:gd name="connsiteX10" fmla="*/ 50387 w 3510153"/>
                  <a:gd name="connsiteY10" fmla="*/ 36386 h 511302"/>
                  <a:gd name="connsiteX11" fmla="*/ 50387 w 3510153"/>
                  <a:gd name="connsiteY11" fmla="*/ 42387 h 511302"/>
                  <a:gd name="connsiteX12" fmla="*/ 54673 w 3510153"/>
                  <a:gd name="connsiteY12" fmla="*/ 42387 h 511302"/>
                  <a:gd name="connsiteX13" fmla="*/ 54673 w 3510153"/>
                  <a:gd name="connsiteY13" fmla="*/ 48483 h 511302"/>
                  <a:gd name="connsiteX14" fmla="*/ 65150 w 3510153"/>
                  <a:gd name="connsiteY14" fmla="*/ 48483 h 511302"/>
                  <a:gd name="connsiteX15" fmla="*/ 65150 w 3510153"/>
                  <a:gd name="connsiteY15" fmla="*/ 54579 h 511302"/>
                  <a:gd name="connsiteX16" fmla="*/ 73533 w 3510153"/>
                  <a:gd name="connsiteY16" fmla="*/ 54579 h 511302"/>
                  <a:gd name="connsiteX17" fmla="*/ 73533 w 3510153"/>
                  <a:gd name="connsiteY17" fmla="*/ 60675 h 511302"/>
                  <a:gd name="connsiteX18" fmla="*/ 88296 w 3510153"/>
                  <a:gd name="connsiteY18" fmla="*/ 60675 h 511302"/>
                  <a:gd name="connsiteX19" fmla="*/ 88296 w 3510153"/>
                  <a:gd name="connsiteY19" fmla="*/ 66675 h 511302"/>
                  <a:gd name="connsiteX20" fmla="*/ 92487 w 3510153"/>
                  <a:gd name="connsiteY20" fmla="*/ 66675 h 511302"/>
                  <a:gd name="connsiteX21" fmla="*/ 92487 w 3510153"/>
                  <a:gd name="connsiteY21" fmla="*/ 72771 h 511302"/>
                  <a:gd name="connsiteX22" fmla="*/ 96678 w 3510153"/>
                  <a:gd name="connsiteY22" fmla="*/ 72771 h 511302"/>
                  <a:gd name="connsiteX23" fmla="*/ 96678 w 3510153"/>
                  <a:gd name="connsiteY23" fmla="*/ 78867 h 511302"/>
                  <a:gd name="connsiteX24" fmla="*/ 109347 w 3510153"/>
                  <a:gd name="connsiteY24" fmla="*/ 78867 h 511302"/>
                  <a:gd name="connsiteX25" fmla="*/ 109347 w 3510153"/>
                  <a:gd name="connsiteY25" fmla="*/ 84868 h 511302"/>
                  <a:gd name="connsiteX26" fmla="*/ 138779 w 3510153"/>
                  <a:gd name="connsiteY26" fmla="*/ 84868 h 511302"/>
                  <a:gd name="connsiteX27" fmla="*/ 138779 w 3510153"/>
                  <a:gd name="connsiteY27" fmla="*/ 90964 h 511302"/>
                  <a:gd name="connsiteX28" fmla="*/ 147161 w 3510153"/>
                  <a:gd name="connsiteY28" fmla="*/ 90964 h 511302"/>
                  <a:gd name="connsiteX29" fmla="*/ 147161 w 3510153"/>
                  <a:gd name="connsiteY29" fmla="*/ 97060 h 511302"/>
                  <a:gd name="connsiteX30" fmla="*/ 149256 w 3510153"/>
                  <a:gd name="connsiteY30" fmla="*/ 97060 h 511302"/>
                  <a:gd name="connsiteX31" fmla="*/ 149256 w 3510153"/>
                  <a:gd name="connsiteY31" fmla="*/ 103061 h 511302"/>
                  <a:gd name="connsiteX32" fmla="*/ 164020 w 3510153"/>
                  <a:gd name="connsiteY32" fmla="*/ 103061 h 511302"/>
                  <a:gd name="connsiteX33" fmla="*/ 164020 w 3510153"/>
                  <a:gd name="connsiteY33" fmla="*/ 115253 h 511302"/>
                  <a:gd name="connsiteX34" fmla="*/ 166116 w 3510153"/>
                  <a:gd name="connsiteY34" fmla="*/ 115253 h 511302"/>
                  <a:gd name="connsiteX35" fmla="*/ 166116 w 3510153"/>
                  <a:gd name="connsiteY35" fmla="*/ 121254 h 511302"/>
                  <a:gd name="connsiteX36" fmla="*/ 172402 w 3510153"/>
                  <a:gd name="connsiteY36" fmla="*/ 121254 h 511302"/>
                  <a:gd name="connsiteX37" fmla="*/ 172402 w 3510153"/>
                  <a:gd name="connsiteY37" fmla="*/ 127350 h 511302"/>
                  <a:gd name="connsiteX38" fmla="*/ 176593 w 3510153"/>
                  <a:gd name="connsiteY38" fmla="*/ 127350 h 511302"/>
                  <a:gd name="connsiteX39" fmla="*/ 176593 w 3510153"/>
                  <a:gd name="connsiteY39" fmla="*/ 133446 h 511302"/>
                  <a:gd name="connsiteX40" fmla="*/ 193452 w 3510153"/>
                  <a:gd name="connsiteY40" fmla="*/ 133446 h 511302"/>
                  <a:gd name="connsiteX41" fmla="*/ 193452 w 3510153"/>
                  <a:gd name="connsiteY41" fmla="*/ 145542 h 511302"/>
                  <a:gd name="connsiteX42" fmla="*/ 197643 w 3510153"/>
                  <a:gd name="connsiteY42" fmla="*/ 145542 h 511302"/>
                  <a:gd name="connsiteX43" fmla="*/ 197643 w 3510153"/>
                  <a:gd name="connsiteY43" fmla="*/ 151638 h 511302"/>
                  <a:gd name="connsiteX44" fmla="*/ 220789 w 3510153"/>
                  <a:gd name="connsiteY44" fmla="*/ 151638 h 511302"/>
                  <a:gd name="connsiteX45" fmla="*/ 220789 w 3510153"/>
                  <a:gd name="connsiteY45" fmla="*/ 157734 h 511302"/>
                  <a:gd name="connsiteX46" fmla="*/ 224980 w 3510153"/>
                  <a:gd name="connsiteY46" fmla="*/ 157734 h 511302"/>
                  <a:gd name="connsiteX47" fmla="*/ 224980 w 3510153"/>
                  <a:gd name="connsiteY47" fmla="*/ 163735 h 511302"/>
                  <a:gd name="connsiteX48" fmla="*/ 231267 w 3510153"/>
                  <a:gd name="connsiteY48" fmla="*/ 163735 h 511302"/>
                  <a:gd name="connsiteX49" fmla="*/ 231267 w 3510153"/>
                  <a:gd name="connsiteY49" fmla="*/ 175927 h 511302"/>
                  <a:gd name="connsiteX50" fmla="*/ 250221 w 3510153"/>
                  <a:gd name="connsiteY50" fmla="*/ 175927 h 511302"/>
                  <a:gd name="connsiteX51" fmla="*/ 250221 w 3510153"/>
                  <a:gd name="connsiteY51" fmla="*/ 181928 h 511302"/>
                  <a:gd name="connsiteX52" fmla="*/ 258603 w 3510153"/>
                  <a:gd name="connsiteY52" fmla="*/ 181928 h 511302"/>
                  <a:gd name="connsiteX53" fmla="*/ 258603 w 3510153"/>
                  <a:gd name="connsiteY53" fmla="*/ 188024 h 511302"/>
                  <a:gd name="connsiteX54" fmla="*/ 271272 w 3510153"/>
                  <a:gd name="connsiteY54" fmla="*/ 188024 h 511302"/>
                  <a:gd name="connsiteX55" fmla="*/ 271272 w 3510153"/>
                  <a:gd name="connsiteY55" fmla="*/ 194120 h 511302"/>
                  <a:gd name="connsiteX56" fmla="*/ 288131 w 3510153"/>
                  <a:gd name="connsiteY56" fmla="*/ 194120 h 511302"/>
                  <a:gd name="connsiteX57" fmla="*/ 288131 w 3510153"/>
                  <a:gd name="connsiteY57" fmla="*/ 200121 h 511302"/>
                  <a:gd name="connsiteX58" fmla="*/ 315468 w 3510153"/>
                  <a:gd name="connsiteY58" fmla="*/ 200121 h 511302"/>
                  <a:gd name="connsiteX59" fmla="*/ 315468 w 3510153"/>
                  <a:gd name="connsiteY59" fmla="*/ 206217 h 511302"/>
                  <a:gd name="connsiteX60" fmla="*/ 317563 w 3510153"/>
                  <a:gd name="connsiteY60" fmla="*/ 206217 h 511302"/>
                  <a:gd name="connsiteX61" fmla="*/ 317563 w 3510153"/>
                  <a:gd name="connsiteY61" fmla="*/ 212313 h 511302"/>
                  <a:gd name="connsiteX62" fmla="*/ 328040 w 3510153"/>
                  <a:gd name="connsiteY62" fmla="*/ 212313 h 511302"/>
                  <a:gd name="connsiteX63" fmla="*/ 328040 w 3510153"/>
                  <a:gd name="connsiteY63" fmla="*/ 218313 h 511302"/>
                  <a:gd name="connsiteX64" fmla="*/ 334327 w 3510153"/>
                  <a:gd name="connsiteY64" fmla="*/ 218313 h 511302"/>
                  <a:gd name="connsiteX65" fmla="*/ 334327 w 3510153"/>
                  <a:gd name="connsiteY65" fmla="*/ 230505 h 511302"/>
                  <a:gd name="connsiteX66" fmla="*/ 342804 w 3510153"/>
                  <a:gd name="connsiteY66" fmla="*/ 230505 h 511302"/>
                  <a:gd name="connsiteX67" fmla="*/ 342804 w 3510153"/>
                  <a:gd name="connsiteY67" fmla="*/ 236506 h 511302"/>
                  <a:gd name="connsiteX68" fmla="*/ 349091 w 3510153"/>
                  <a:gd name="connsiteY68" fmla="*/ 236506 h 511302"/>
                  <a:gd name="connsiteX69" fmla="*/ 349091 w 3510153"/>
                  <a:gd name="connsiteY69" fmla="*/ 248698 h 511302"/>
                  <a:gd name="connsiteX70" fmla="*/ 351186 w 3510153"/>
                  <a:gd name="connsiteY70" fmla="*/ 248698 h 511302"/>
                  <a:gd name="connsiteX71" fmla="*/ 351186 w 3510153"/>
                  <a:gd name="connsiteY71" fmla="*/ 254794 h 511302"/>
                  <a:gd name="connsiteX72" fmla="*/ 363759 w 3510153"/>
                  <a:gd name="connsiteY72" fmla="*/ 254794 h 511302"/>
                  <a:gd name="connsiteX73" fmla="*/ 363759 w 3510153"/>
                  <a:gd name="connsiteY73" fmla="*/ 260795 h 511302"/>
                  <a:gd name="connsiteX74" fmla="*/ 386905 w 3510153"/>
                  <a:gd name="connsiteY74" fmla="*/ 260795 h 511302"/>
                  <a:gd name="connsiteX75" fmla="*/ 386905 w 3510153"/>
                  <a:gd name="connsiteY75" fmla="*/ 266891 h 511302"/>
                  <a:gd name="connsiteX76" fmla="*/ 393287 w 3510153"/>
                  <a:gd name="connsiteY76" fmla="*/ 266891 h 511302"/>
                  <a:gd name="connsiteX77" fmla="*/ 393287 w 3510153"/>
                  <a:gd name="connsiteY77" fmla="*/ 272987 h 511302"/>
                  <a:gd name="connsiteX78" fmla="*/ 401669 w 3510153"/>
                  <a:gd name="connsiteY78" fmla="*/ 272987 h 511302"/>
                  <a:gd name="connsiteX79" fmla="*/ 401669 w 3510153"/>
                  <a:gd name="connsiteY79" fmla="*/ 278988 h 511302"/>
                  <a:gd name="connsiteX80" fmla="*/ 410051 w 3510153"/>
                  <a:gd name="connsiteY80" fmla="*/ 278988 h 511302"/>
                  <a:gd name="connsiteX81" fmla="*/ 410051 w 3510153"/>
                  <a:gd name="connsiteY81" fmla="*/ 285084 h 511302"/>
                  <a:gd name="connsiteX82" fmla="*/ 414242 w 3510153"/>
                  <a:gd name="connsiteY82" fmla="*/ 285084 h 511302"/>
                  <a:gd name="connsiteX83" fmla="*/ 414242 w 3510153"/>
                  <a:gd name="connsiteY83" fmla="*/ 291180 h 511302"/>
                  <a:gd name="connsiteX84" fmla="*/ 487870 w 3510153"/>
                  <a:gd name="connsiteY84" fmla="*/ 291180 h 511302"/>
                  <a:gd name="connsiteX85" fmla="*/ 487870 w 3510153"/>
                  <a:gd name="connsiteY85" fmla="*/ 297180 h 511302"/>
                  <a:gd name="connsiteX86" fmla="*/ 508920 w 3510153"/>
                  <a:gd name="connsiteY86" fmla="*/ 297180 h 511302"/>
                  <a:gd name="connsiteX87" fmla="*/ 508920 w 3510153"/>
                  <a:gd name="connsiteY87" fmla="*/ 303276 h 511302"/>
                  <a:gd name="connsiteX88" fmla="*/ 515207 w 3510153"/>
                  <a:gd name="connsiteY88" fmla="*/ 303276 h 511302"/>
                  <a:gd name="connsiteX89" fmla="*/ 515207 w 3510153"/>
                  <a:gd name="connsiteY89" fmla="*/ 309372 h 511302"/>
                  <a:gd name="connsiteX90" fmla="*/ 557307 w 3510153"/>
                  <a:gd name="connsiteY90" fmla="*/ 309372 h 511302"/>
                  <a:gd name="connsiteX91" fmla="*/ 557307 w 3510153"/>
                  <a:gd name="connsiteY91" fmla="*/ 315373 h 511302"/>
                  <a:gd name="connsiteX92" fmla="*/ 571976 w 3510153"/>
                  <a:gd name="connsiteY92" fmla="*/ 315373 h 511302"/>
                  <a:gd name="connsiteX93" fmla="*/ 571976 w 3510153"/>
                  <a:gd name="connsiteY93" fmla="*/ 321469 h 511302"/>
                  <a:gd name="connsiteX94" fmla="*/ 601503 w 3510153"/>
                  <a:gd name="connsiteY94" fmla="*/ 321469 h 511302"/>
                  <a:gd name="connsiteX95" fmla="*/ 601503 w 3510153"/>
                  <a:gd name="connsiteY95" fmla="*/ 327565 h 511302"/>
                  <a:gd name="connsiteX96" fmla="*/ 603599 w 3510153"/>
                  <a:gd name="connsiteY96" fmla="*/ 327565 h 511302"/>
                  <a:gd name="connsiteX97" fmla="*/ 603599 w 3510153"/>
                  <a:gd name="connsiteY97" fmla="*/ 333566 h 511302"/>
                  <a:gd name="connsiteX98" fmla="*/ 626649 w 3510153"/>
                  <a:gd name="connsiteY98" fmla="*/ 333566 h 511302"/>
                  <a:gd name="connsiteX99" fmla="*/ 626649 w 3510153"/>
                  <a:gd name="connsiteY99" fmla="*/ 339662 h 511302"/>
                  <a:gd name="connsiteX100" fmla="*/ 639318 w 3510153"/>
                  <a:gd name="connsiteY100" fmla="*/ 339662 h 511302"/>
                  <a:gd name="connsiteX101" fmla="*/ 639318 w 3510153"/>
                  <a:gd name="connsiteY101" fmla="*/ 345758 h 511302"/>
                  <a:gd name="connsiteX102" fmla="*/ 675036 w 3510153"/>
                  <a:gd name="connsiteY102" fmla="*/ 345758 h 511302"/>
                  <a:gd name="connsiteX103" fmla="*/ 675036 w 3510153"/>
                  <a:gd name="connsiteY103" fmla="*/ 351854 h 511302"/>
                  <a:gd name="connsiteX104" fmla="*/ 790765 w 3510153"/>
                  <a:gd name="connsiteY104" fmla="*/ 351854 h 511302"/>
                  <a:gd name="connsiteX105" fmla="*/ 790765 w 3510153"/>
                  <a:gd name="connsiteY105" fmla="*/ 357855 h 511302"/>
                  <a:gd name="connsiteX106" fmla="*/ 828579 w 3510153"/>
                  <a:gd name="connsiteY106" fmla="*/ 357855 h 511302"/>
                  <a:gd name="connsiteX107" fmla="*/ 828579 w 3510153"/>
                  <a:gd name="connsiteY107" fmla="*/ 364046 h 511302"/>
                  <a:gd name="connsiteX108" fmla="*/ 881157 w 3510153"/>
                  <a:gd name="connsiteY108" fmla="*/ 364046 h 511302"/>
                  <a:gd name="connsiteX109" fmla="*/ 881157 w 3510153"/>
                  <a:gd name="connsiteY109" fmla="*/ 370142 h 511302"/>
                  <a:gd name="connsiteX110" fmla="*/ 900112 w 3510153"/>
                  <a:gd name="connsiteY110" fmla="*/ 370142 h 511302"/>
                  <a:gd name="connsiteX111" fmla="*/ 900112 w 3510153"/>
                  <a:gd name="connsiteY111" fmla="*/ 376238 h 511302"/>
                  <a:gd name="connsiteX112" fmla="*/ 910590 w 3510153"/>
                  <a:gd name="connsiteY112" fmla="*/ 376238 h 511302"/>
                  <a:gd name="connsiteX113" fmla="*/ 910590 w 3510153"/>
                  <a:gd name="connsiteY113" fmla="*/ 382429 h 511302"/>
                  <a:gd name="connsiteX114" fmla="*/ 944308 w 3510153"/>
                  <a:gd name="connsiteY114" fmla="*/ 382429 h 511302"/>
                  <a:gd name="connsiteX115" fmla="*/ 944308 w 3510153"/>
                  <a:gd name="connsiteY115" fmla="*/ 388525 h 511302"/>
                  <a:gd name="connsiteX116" fmla="*/ 950595 w 3510153"/>
                  <a:gd name="connsiteY116" fmla="*/ 388525 h 511302"/>
                  <a:gd name="connsiteX117" fmla="*/ 950595 w 3510153"/>
                  <a:gd name="connsiteY117" fmla="*/ 394621 h 511302"/>
                  <a:gd name="connsiteX118" fmla="*/ 965263 w 3510153"/>
                  <a:gd name="connsiteY118" fmla="*/ 394621 h 511302"/>
                  <a:gd name="connsiteX119" fmla="*/ 965263 w 3510153"/>
                  <a:gd name="connsiteY119" fmla="*/ 400717 h 511302"/>
                  <a:gd name="connsiteX120" fmla="*/ 977931 w 3510153"/>
                  <a:gd name="connsiteY120" fmla="*/ 400717 h 511302"/>
                  <a:gd name="connsiteX121" fmla="*/ 977931 w 3510153"/>
                  <a:gd name="connsiteY121" fmla="*/ 406908 h 511302"/>
                  <a:gd name="connsiteX122" fmla="*/ 1003173 w 3510153"/>
                  <a:gd name="connsiteY122" fmla="*/ 406908 h 511302"/>
                  <a:gd name="connsiteX123" fmla="*/ 1003173 w 3510153"/>
                  <a:gd name="connsiteY123" fmla="*/ 413004 h 511302"/>
                  <a:gd name="connsiteX124" fmla="*/ 1232439 w 3510153"/>
                  <a:gd name="connsiteY124" fmla="*/ 413004 h 511302"/>
                  <a:gd name="connsiteX125" fmla="*/ 1232439 w 3510153"/>
                  <a:gd name="connsiteY125" fmla="*/ 419196 h 511302"/>
                  <a:gd name="connsiteX126" fmla="*/ 1345977 w 3510153"/>
                  <a:gd name="connsiteY126" fmla="*/ 419196 h 511302"/>
                  <a:gd name="connsiteX127" fmla="*/ 1345977 w 3510153"/>
                  <a:gd name="connsiteY127" fmla="*/ 425387 h 511302"/>
                  <a:gd name="connsiteX128" fmla="*/ 1615154 w 3510153"/>
                  <a:gd name="connsiteY128" fmla="*/ 425387 h 511302"/>
                  <a:gd name="connsiteX129" fmla="*/ 1615154 w 3510153"/>
                  <a:gd name="connsiteY129" fmla="*/ 431673 h 511302"/>
                  <a:gd name="connsiteX130" fmla="*/ 1688782 w 3510153"/>
                  <a:gd name="connsiteY130" fmla="*/ 431673 h 511302"/>
                  <a:gd name="connsiteX131" fmla="*/ 1688782 w 3510153"/>
                  <a:gd name="connsiteY131" fmla="*/ 437960 h 511302"/>
                  <a:gd name="connsiteX132" fmla="*/ 1768697 w 3510153"/>
                  <a:gd name="connsiteY132" fmla="*/ 437960 h 511302"/>
                  <a:gd name="connsiteX133" fmla="*/ 1768697 w 3510153"/>
                  <a:gd name="connsiteY133" fmla="*/ 444246 h 511302"/>
                  <a:gd name="connsiteX134" fmla="*/ 1930622 w 3510153"/>
                  <a:gd name="connsiteY134" fmla="*/ 444246 h 511302"/>
                  <a:gd name="connsiteX135" fmla="*/ 1930622 w 3510153"/>
                  <a:gd name="connsiteY135" fmla="*/ 450723 h 511302"/>
                  <a:gd name="connsiteX136" fmla="*/ 1947481 w 3510153"/>
                  <a:gd name="connsiteY136" fmla="*/ 450723 h 511302"/>
                  <a:gd name="connsiteX137" fmla="*/ 1947481 w 3510153"/>
                  <a:gd name="connsiteY137" fmla="*/ 457105 h 511302"/>
                  <a:gd name="connsiteX138" fmla="*/ 2065305 w 3510153"/>
                  <a:gd name="connsiteY138" fmla="*/ 457105 h 511302"/>
                  <a:gd name="connsiteX139" fmla="*/ 2065305 w 3510153"/>
                  <a:gd name="connsiteY139" fmla="*/ 463582 h 511302"/>
                  <a:gd name="connsiteX140" fmla="*/ 2157793 w 3510153"/>
                  <a:gd name="connsiteY140" fmla="*/ 463582 h 511302"/>
                  <a:gd name="connsiteX141" fmla="*/ 2157793 w 3510153"/>
                  <a:gd name="connsiteY141" fmla="*/ 469964 h 511302"/>
                  <a:gd name="connsiteX142" fmla="*/ 2176748 w 3510153"/>
                  <a:gd name="connsiteY142" fmla="*/ 469964 h 511302"/>
                  <a:gd name="connsiteX143" fmla="*/ 2176748 w 3510153"/>
                  <a:gd name="connsiteY143" fmla="*/ 476441 h 511302"/>
                  <a:gd name="connsiteX144" fmla="*/ 3030569 w 3510153"/>
                  <a:gd name="connsiteY144" fmla="*/ 476441 h 511302"/>
                  <a:gd name="connsiteX145" fmla="*/ 3030569 w 3510153"/>
                  <a:gd name="connsiteY145" fmla="*/ 511302 h 511302"/>
                  <a:gd name="connsiteX146" fmla="*/ 3510153 w 3510153"/>
                  <a:gd name="connsiteY146" fmla="*/ 511302 h 511302"/>
                  <a:gd name="connsiteX0" fmla="*/ 0 w 3510153"/>
                  <a:gd name="connsiteY0" fmla="*/ 0 h 511302"/>
                  <a:gd name="connsiteX1" fmla="*/ 12573 w 3510153"/>
                  <a:gd name="connsiteY1" fmla="*/ 6001 h 511302"/>
                  <a:gd name="connsiteX2" fmla="*/ 12573 w 3510153"/>
                  <a:gd name="connsiteY2" fmla="*/ 12097 h 511302"/>
                  <a:gd name="connsiteX3" fmla="*/ 18859 w 3510153"/>
                  <a:gd name="connsiteY3" fmla="*/ 12097 h 511302"/>
                  <a:gd name="connsiteX4" fmla="*/ 18859 w 3510153"/>
                  <a:gd name="connsiteY4" fmla="*/ 24194 h 511302"/>
                  <a:gd name="connsiteX5" fmla="*/ 23050 w 3510153"/>
                  <a:gd name="connsiteY5" fmla="*/ 24194 h 511302"/>
                  <a:gd name="connsiteX6" fmla="*/ 23050 w 3510153"/>
                  <a:gd name="connsiteY6" fmla="*/ 30290 h 511302"/>
                  <a:gd name="connsiteX7" fmla="*/ 35718 w 3510153"/>
                  <a:gd name="connsiteY7" fmla="*/ 30290 h 511302"/>
                  <a:gd name="connsiteX8" fmla="*/ 35718 w 3510153"/>
                  <a:gd name="connsiteY8" fmla="*/ 36386 h 511302"/>
                  <a:gd name="connsiteX9" fmla="*/ 50387 w 3510153"/>
                  <a:gd name="connsiteY9" fmla="*/ 36386 h 511302"/>
                  <a:gd name="connsiteX10" fmla="*/ 50387 w 3510153"/>
                  <a:gd name="connsiteY10" fmla="*/ 42387 h 511302"/>
                  <a:gd name="connsiteX11" fmla="*/ 54673 w 3510153"/>
                  <a:gd name="connsiteY11" fmla="*/ 42387 h 511302"/>
                  <a:gd name="connsiteX12" fmla="*/ 54673 w 3510153"/>
                  <a:gd name="connsiteY12" fmla="*/ 48483 h 511302"/>
                  <a:gd name="connsiteX13" fmla="*/ 65150 w 3510153"/>
                  <a:gd name="connsiteY13" fmla="*/ 48483 h 511302"/>
                  <a:gd name="connsiteX14" fmla="*/ 65150 w 3510153"/>
                  <a:gd name="connsiteY14" fmla="*/ 54579 h 511302"/>
                  <a:gd name="connsiteX15" fmla="*/ 73533 w 3510153"/>
                  <a:gd name="connsiteY15" fmla="*/ 54579 h 511302"/>
                  <a:gd name="connsiteX16" fmla="*/ 73533 w 3510153"/>
                  <a:gd name="connsiteY16" fmla="*/ 60675 h 511302"/>
                  <a:gd name="connsiteX17" fmla="*/ 88296 w 3510153"/>
                  <a:gd name="connsiteY17" fmla="*/ 60675 h 511302"/>
                  <a:gd name="connsiteX18" fmla="*/ 88296 w 3510153"/>
                  <a:gd name="connsiteY18" fmla="*/ 66675 h 511302"/>
                  <a:gd name="connsiteX19" fmla="*/ 92487 w 3510153"/>
                  <a:gd name="connsiteY19" fmla="*/ 66675 h 511302"/>
                  <a:gd name="connsiteX20" fmla="*/ 92487 w 3510153"/>
                  <a:gd name="connsiteY20" fmla="*/ 72771 h 511302"/>
                  <a:gd name="connsiteX21" fmla="*/ 96678 w 3510153"/>
                  <a:gd name="connsiteY21" fmla="*/ 72771 h 511302"/>
                  <a:gd name="connsiteX22" fmla="*/ 96678 w 3510153"/>
                  <a:gd name="connsiteY22" fmla="*/ 78867 h 511302"/>
                  <a:gd name="connsiteX23" fmla="*/ 109347 w 3510153"/>
                  <a:gd name="connsiteY23" fmla="*/ 78867 h 511302"/>
                  <a:gd name="connsiteX24" fmla="*/ 109347 w 3510153"/>
                  <a:gd name="connsiteY24" fmla="*/ 84868 h 511302"/>
                  <a:gd name="connsiteX25" fmla="*/ 138779 w 3510153"/>
                  <a:gd name="connsiteY25" fmla="*/ 84868 h 511302"/>
                  <a:gd name="connsiteX26" fmla="*/ 138779 w 3510153"/>
                  <a:gd name="connsiteY26" fmla="*/ 90964 h 511302"/>
                  <a:gd name="connsiteX27" fmla="*/ 147161 w 3510153"/>
                  <a:gd name="connsiteY27" fmla="*/ 90964 h 511302"/>
                  <a:gd name="connsiteX28" fmla="*/ 147161 w 3510153"/>
                  <a:gd name="connsiteY28" fmla="*/ 97060 h 511302"/>
                  <a:gd name="connsiteX29" fmla="*/ 149256 w 3510153"/>
                  <a:gd name="connsiteY29" fmla="*/ 97060 h 511302"/>
                  <a:gd name="connsiteX30" fmla="*/ 149256 w 3510153"/>
                  <a:gd name="connsiteY30" fmla="*/ 103061 h 511302"/>
                  <a:gd name="connsiteX31" fmla="*/ 164020 w 3510153"/>
                  <a:gd name="connsiteY31" fmla="*/ 103061 h 511302"/>
                  <a:gd name="connsiteX32" fmla="*/ 164020 w 3510153"/>
                  <a:gd name="connsiteY32" fmla="*/ 115253 h 511302"/>
                  <a:gd name="connsiteX33" fmla="*/ 166116 w 3510153"/>
                  <a:gd name="connsiteY33" fmla="*/ 115253 h 511302"/>
                  <a:gd name="connsiteX34" fmla="*/ 166116 w 3510153"/>
                  <a:gd name="connsiteY34" fmla="*/ 121254 h 511302"/>
                  <a:gd name="connsiteX35" fmla="*/ 172402 w 3510153"/>
                  <a:gd name="connsiteY35" fmla="*/ 121254 h 511302"/>
                  <a:gd name="connsiteX36" fmla="*/ 172402 w 3510153"/>
                  <a:gd name="connsiteY36" fmla="*/ 127350 h 511302"/>
                  <a:gd name="connsiteX37" fmla="*/ 176593 w 3510153"/>
                  <a:gd name="connsiteY37" fmla="*/ 127350 h 511302"/>
                  <a:gd name="connsiteX38" fmla="*/ 176593 w 3510153"/>
                  <a:gd name="connsiteY38" fmla="*/ 133446 h 511302"/>
                  <a:gd name="connsiteX39" fmla="*/ 193452 w 3510153"/>
                  <a:gd name="connsiteY39" fmla="*/ 133446 h 511302"/>
                  <a:gd name="connsiteX40" fmla="*/ 193452 w 3510153"/>
                  <a:gd name="connsiteY40" fmla="*/ 145542 h 511302"/>
                  <a:gd name="connsiteX41" fmla="*/ 197643 w 3510153"/>
                  <a:gd name="connsiteY41" fmla="*/ 145542 h 511302"/>
                  <a:gd name="connsiteX42" fmla="*/ 197643 w 3510153"/>
                  <a:gd name="connsiteY42" fmla="*/ 151638 h 511302"/>
                  <a:gd name="connsiteX43" fmla="*/ 220789 w 3510153"/>
                  <a:gd name="connsiteY43" fmla="*/ 151638 h 511302"/>
                  <a:gd name="connsiteX44" fmla="*/ 220789 w 3510153"/>
                  <a:gd name="connsiteY44" fmla="*/ 157734 h 511302"/>
                  <a:gd name="connsiteX45" fmla="*/ 224980 w 3510153"/>
                  <a:gd name="connsiteY45" fmla="*/ 157734 h 511302"/>
                  <a:gd name="connsiteX46" fmla="*/ 224980 w 3510153"/>
                  <a:gd name="connsiteY46" fmla="*/ 163735 h 511302"/>
                  <a:gd name="connsiteX47" fmla="*/ 231267 w 3510153"/>
                  <a:gd name="connsiteY47" fmla="*/ 163735 h 511302"/>
                  <a:gd name="connsiteX48" fmla="*/ 231267 w 3510153"/>
                  <a:gd name="connsiteY48" fmla="*/ 175927 h 511302"/>
                  <a:gd name="connsiteX49" fmla="*/ 250221 w 3510153"/>
                  <a:gd name="connsiteY49" fmla="*/ 175927 h 511302"/>
                  <a:gd name="connsiteX50" fmla="*/ 250221 w 3510153"/>
                  <a:gd name="connsiteY50" fmla="*/ 181928 h 511302"/>
                  <a:gd name="connsiteX51" fmla="*/ 258603 w 3510153"/>
                  <a:gd name="connsiteY51" fmla="*/ 181928 h 511302"/>
                  <a:gd name="connsiteX52" fmla="*/ 258603 w 3510153"/>
                  <a:gd name="connsiteY52" fmla="*/ 188024 h 511302"/>
                  <a:gd name="connsiteX53" fmla="*/ 271272 w 3510153"/>
                  <a:gd name="connsiteY53" fmla="*/ 188024 h 511302"/>
                  <a:gd name="connsiteX54" fmla="*/ 271272 w 3510153"/>
                  <a:gd name="connsiteY54" fmla="*/ 194120 h 511302"/>
                  <a:gd name="connsiteX55" fmla="*/ 288131 w 3510153"/>
                  <a:gd name="connsiteY55" fmla="*/ 194120 h 511302"/>
                  <a:gd name="connsiteX56" fmla="*/ 288131 w 3510153"/>
                  <a:gd name="connsiteY56" fmla="*/ 200121 h 511302"/>
                  <a:gd name="connsiteX57" fmla="*/ 315468 w 3510153"/>
                  <a:gd name="connsiteY57" fmla="*/ 200121 h 511302"/>
                  <a:gd name="connsiteX58" fmla="*/ 315468 w 3510153"/>
                  <a:gd name="connsiteY58" fmla="*/ 206217 h 511302"/>
                  <a:gd name="connsiteX59" fmla="*/ 317563 w 3510153"/>
                  <a:gd name="connsiteY59" fmla="*/ 206217 h 511302"/>
                  <a:gd name="connsiteX60" fmla="*/ 317563 w 3510153"/>
                  <a:gd name="connsiteY60" fmla="*/ 212313 h 511302"/>
                  <a:gd name="connsiteX61" fmla="*/ 328040 w 3510153"/>
                  <a:gd name="connsiteY61" fmla="*/ 212313 h 511302"/>
                  <a:gd name="connsiteX62" fmla="*/ 328040 w 3510153"/>
                  <a:gd name="connsiteY62" fmla="*/ 218313 h 511302"/>
                  <a:gd name="connsiteX63" fmla="*/ 334327 w 3510153"/>
                  <a:gd name="connsiteY63" fmla="*/ 218313 h 511302"/>
                  <a:gd name="connsiteX64" fmla="*/ 334327 w 3510153"/>
                  <a:gd name="connsiteY64" fmla="*/ 230505 h 511302"/>
                  <a:gd name="connsiteX65" fmla="*/ 342804 w 3510153"/>
                  <a:gd name="connsiteY65" fmla="*/ 230505 h 511302"/>
                  <a:gd name="connsiteX66" fmla="*/ 342804 w 3510153"/>
                  <a:gd name="connsiteY66" fmla="*/ 236506 h 511302"/>
                  <a:gd name="connsiteX67" fmla="*/ 349091 w 3510153"/>
                  <a:gd name="connsiteY67" fmla="*/ 236506 h 511302"/>
                  <a:gd name="connsiteX68" fmla="*/ 349091 w 3510153"/>
                  <a:gd name="connsiteY68" fmla="*/ 248698 h 511302"/>
                  <a:gd name="connsiteX69" fmla="*/ 351186 w 3510153"/>
                  <a:gd name="connsiteY69" fmla="*/ 248698 h 511302"/>
                  <a:gd name="connsiteX70" fmla="*/ 351186 w 3510153"/>
                  <a:gd name="connsiteY70" fmla="*/ 254794 h 511302"/>
                  <a:gd name="connsiteX71" fmla="*/ 363759 w 3510153"/>
                  <a:gd name="connsiteY71" fmla="*/ 254794 h 511302"/>
                  <a:gd name="connsiteX72" fmla="*/ 363759 w 3510153"/>
                  <a:gd name="connsiteY72" fmla="*/ 260795 h 511302"/>
                  <a:gd name="connsiteX73" fmla="*/ 386905 w 3510153"/>
                  <a:gd name="connsiteY73" fmla="*/ 260795 h 511302"/>
                  <a:gd name="connsiteX74" fmla="*/ 386905 w 3510153"/>
                  <a:gd name="connsiteY74" fmla="*/ 266891 h 511302"/>
                  <a:gd name="connsiteX75" fmla="*/ 393287 w 3510153"/>
                  <a:gd name="connsiteY75" fmla="*/ 266891 h 511302"/>
                  <a:gd name="connsiteX76" fmla="*/ 393287 w 3510153"/>
                  <a:gd name="connsiteY76" fmla="*/ 272987 h 511302"/>
                  <a:gd name="connsiteX77" fmla="*/ 401669 w 3510153"/>
                  <a:gd name="connsiteY77" fmla="*/ 272987 h 511302"/>
                  <a:gd name="connsiteX78" fmla="*/ 401669 w 3510153"/>
                  <a:gd name="connsiteY78" fmla="*/ 278988 h 511302"/>
                  <a:gd name="connsiteX79" fmla="*/ 410051 w 3510153"/>
                  <a:gd name="connsiteY79" fmla="*/ 278988 h 511302"/>
                  <a:gd name="connsiteX80" fmla="*/ 410051 w 3510153"/>
                  <a:gd name="connsiteY80" fmla="*/ 285084 h 511302"/>
                  <a:gd name="connsiteX81" fmla="*/ 414242 w 3510153"/>
                  <a:gd name="connsiteY81" fmla="*/ 285084 h 511302"/>
                  <a:gd name="connsiteX82" fmla="*/ 414242 w 3510153"/>
                  <a:gd name="connsiteY82" fmla="*/ 291180 h 511302"/>
                  <a:gd name="connsiteX83" fmla="*/ 487870 w 3510153"/>
                  <a:gd name="connsiteY83" fmla="*/ 291180 h 511302"/>
                  <a:gd name="connsiteX84" fmla="*/ 487870 w 3510153"/>
                  <a:gd name="connsiteY84" fmla="*/ 297180 h 511302"/>
                  <a:gd name="connsiteX85" fmla="*/ 508920 w 3510153"/>
                  <a:gd name="connsiteY85" fmla="*/ 297180 h 511302"/>
                  <a:gd name="connsiteX86" fmla="*/ 508920 w 3510153"/>
                  <a:gd name="connsiteY86" fmla="*/ 303276 h 511302"/>
                  <a:gd name="connsiteX87" fmla="*/ 515207 w 3510153"/>
                  <a:gd name="connsiteY87" fmla="*/ 303276 h 511302"/>
                  <a:gd name="connsiteX88" fmla="*/ 515207 w 3510153"/>
                  <a:gd name="connsiteY88" fmla="*/ 309372 h 511302"/>
                  <a:gd name="connsiteX89" fmla="*/ 557307 w 3510153"/>
                  <a:gd name="connsiteY89" fmla="*/ 309372 h 511302"/>
                  <a:gd name="connsiteX90" fmla="*/ 557307 w 3510153"/>
                  <a:gd name="connsiteY90" fmla="*/ 315373 h 511302"/>
                  <a:gd name="connsiteX91" fmla="*/ 571976 w 3510153"/>
                  <a:gd name="connsiteY91" fmla="*/ 315373 h 511302"/>
                  <a:gd name="connsiteX92" fmla="*/ 571976 w 3510153"/>
                  <a:gd name="connsiteY92" fmla="*/ 321469 h 511302"/>
                  <a:gd name="connsiteX93" fmla="*/ 601503 w 3510153"/>
                  <a:gd name="connsiteY93" fmla="*/ 321469 h 511302"/>
                  <a:gd name="connsiteX94" fmla="*/ 601503 w 3510153"/>
                  <a:gd name="connsiteY94" fmla="*/ 327565 h 511302"/>
                  <a:gd name="connsiteX95" fmla="*/ 603599 w 3510153"/>
                  <a:gd name="connsiteY95" fmla="*/ 327565 h 511302"/>
                  <a:gd name="connsiteX96" fmla="*/ 603599 w 3510153"/>
                  <a:gd name="connsiteY96" fmla="*/ 333566 h 511302"/>
                  <a:gd name="connsiteX97" fmla="*/ 626649 w 3510153"/>
                  <a:gd name="connsiteY97" fmla="*/ 333566 h 511302"/>
                  <a:gd name="connsiteX98" fmla="*/ 626649 w 3510153"/>
                  <a:gd name="connsiteY98" fmla="*/ 339662 h 511302"/>
                  <a:gd name="connsiteX99" fmla="*/ 639318 w 3510153"/>
                  <a:gd name="connsiteY99" fmla="*/ 339662 h 511302"/>
                  <a:gd name="connsiteX100" fmla="*/ 639318 w 3510153"/>
                  <a:gd name="connsiteY100" fmla="*/ 345758 h 511302"/>
                  <a:gd name="connsiteX101" fmla="*/ 675036 w 3510153"/>
                  <a:gd name="connsiteY101" fmla="*/ 345758 h 511302"/>
                  <a:gd name="connsiteX102" fmla="*/ 675036 w 3510153"/>
                  <a:gd name="connsiteY102" fmla="*/ 351854 h 511302"/>
                  <a:gd name="connsiteX103" fmla="*/ 790765 w 3510153"/>
                  <a:gd name="connsiteY103" fmla="*/ 351854 h 511302"/>
                  <a:gd name="connsiteX104" fmla="*/ 790765 w 3510153"/>
                  <a:gd name="connsiteY104" fmla="*/ 357855 h 511302"/>
                  <a:gd name="connsiteX105" fmla="*/ 828579 w 3510153"/>
                  <a:gd name="connsiteY105" fmla="*/ 357855 h 511302"/>
                  <a:gd name="connsiteX106" fmla="*/ 828579 w 3510153"/>
                  <a:gd name="connsiteY106" fmla="*/ 364046 h 511302"/>
                  <a:gd name="connsiteX107" fmla="*/ 881157 w 3510153"/>
                  <a:gd name="connsiteY107" fmla="*/ 364046 h 511302"/>
                  <a:gd name="connsiteX108" fmla="*/ 881157 w 3510153"/>
                  <a:gd name="connsiteY108" fmla="*/ 370142 h 511302"/>
                  <a:gd name="connsiteX109" fmla="*/ 900112 w 3510153"/>
                  <a:gd name="connsiteY109" fmla="*/ 370142 h 511302"/>
                  <a:gd name="connsiteX110" fmla="*/ 900112 w 3510153"/>
                  <a:gd name="connsiteY110" fmla="*/ 376238 h 511302"/>
                  <a:gd name="connsiteX111" fmla="*/ 910590 w 3510153"/>
                  <a:gd name="connsiteY111" fmla="*/ 376238 h 511302"/>
                  <a:gd name="connsiteX112" fmla="*/ 910590 w 3510153"/>
                  <a:gd name="connsiteY112" fmla="*/ 382429 h 511302"/>
                  <a:gd name="connsiteX113" fmla="*/ 944308 w 3510153"/>
                  <a:gd name="connsiteY113" fmla="*/ 382429 h 511302"/>
                  <a:gd name="connsiteX114" fmla="*/ 944308 w 3510153"/>
                  <a:gd name="connsiteY114" fmla="*/ 388525 h 511302"/>
                  <a:gd name="connsiteX115" fmla="*/ 950595 w 3510153"/>
                  <a:gd name="connsiteY115" fmla="*/ 388525 h 511302"/>
                  <a:gd name="connsiteX116" fmla="*/ 950595 w 3510153"/>
                  <a:gd name="connsiteY116" fmla="*/ 394621 h 511302"/>
                  <a:gd name="connsiteX117" fmla="*/ 965263 w 3510153"/>
                  <a:gd name="connsiteY117" fmla="*/ 394621 h 511302"/>
                  <a:gd name="connsiteX118" fmla="*/ 965263 w 3510153"/>
                  <a:gd name="connsiteY118" fmla="*/ 400717 h 511302"/>
                  <a:gd name="connsiteX119" fmla="*/ 977931 w 3510153"/>
                  <a:gd name="connsiteY119" fmla="*/ 400717 h 511302"/>
                  <a:gd name="connsiteX120" fmla="*/ 977931 w 3510153"/>
                  <a:gd name="connsiteY120" fmla="*/ 406908 h 511302"/>
                  <a:gd name="connsiteX121" fmla="*/ 1003173 w 3510153"/>
                  <a:gd name="connsiteY121" fmla="*/ 406908 h 511302"/>
                  <a:gd name="connsiteX122" fmla="*/ 1003173 w 3510153"/>
                  <a:gd name="connsiteY122" fmla="*/ 413004 h 511302"/>
                  <a:gd name="connsiteX123" fmla="*/ 1232439 w 3510153"/>
                  <a:gd name="connsiteY123" fmla="*/ 413004 h 511302"/>
                  <a:gd name="connsiteX124" fmla="*/ 1232439 w 3510153"/>
                  <a:gd name="connsiteY124" fmla="*/ 419196 h 511302"/>
                  <a:gd name="connsiteX125" fmla="*/ 1345977 w 3510153"/>
                  <a:gd name="connsiteY125" fmla="*/ 419196 h 511302"/>
                  <a:gd name="connsiteX126" fmla="*/ 1345977 w 3510153"/>
                  <a:gd name="connsiteY126" fmla="*/ 425387 h 511302"/>
                  <a:gd name="connsiteX127" fmla="*/ 1615154 w 3510153"/>
                  <a:gd name="connsiteY127" fmla="*/ 425387 h 511302"/>
                  <a:gd name="connsiteX128" fmla="*/ 1615154 w 3510153"/>
                  <a:gd name="connsiteY128" fmla="*/ 431673 h 511302"/>
                  <a:gd name="connsiteX129" fmla="*/ 1688782 w 3510153"/>
                  <a:gd name="connsiteY129" fmla="*/ 431673 h 511302"/>
                  <a:gd name="connsiteX130" fmla="*/ 1688782 w 3510153"/>
                  <a:gd name="connsiteY130" fmla="*/ 437960 h 511302"/>
                  <a:gd name="connsiteX131" fmla="*/ 1768697 w 3510153"/>
                  <a:gd name="connsiteY131" fmla="*/ 437960 h 511302"/>
                  <a:gd name="connsiteX132" fmla="*/ 1768697 w 3510153"/>
                  <a:gd name="connsiteY132" fmla="*/ 444246 h 511302"/>
                  <a:gd name="connsiteX133" fmla="*/ 1930622 w 3510153"/>
                  <a:gd name="connsiteY133" fmla="*/ 444246 h 511302"/>
                  <a:gd name="connsiteX134" fmla="*/ 1930622 w 3510153"/>
                  <a:gd name="connsiteY134" fmla="*/ 450723 h 511302"/>
                  <a:gd name="connsiteX135" fmla="*/ 1947481 w 3510153"/>
                  <a:gd name="connsiteY135" fmla="*/ 450723 h 511302"/>
                  <a:gd name="connsiteX136" fmla="*/ 1947481 w 3510153"/>
                  <a:gd name="connsiteY136" fmla="*/ 457105 h 511302"/>
                  <a:gd name="connsiteX137" fmla="*/ 2065305 w 3510153"/>
                  <a:gd name="connsiteY137" fmla="*/ 457105 h 511302"/>
                  <a:gd name="connsiteX138" fmla="*/ 2065305 w 3510153"/>
                  <a:gd name="connsiteY138" fmla="*/ 463582 h 511302"/>
                  <a:gd name="connsiteX139" fmla="*/ 2157793 w 3510153"/>
                  <a:gd name="connsiteY139" fmla="*/ 463582 h 511302"/>
                  <a:gd name="connsiteX140" fmla="*/ 2157793 w 3510153"/>
                  <a:gd name="connsiteY140" fmla="*/ 469964 h 511302"/>
                  <a:gd name="connsiteX141" fmla="*/ 2176748 w 3510153"/>
                  <a:gd name="connsiteY141" fmla="*/ 469964 h 511302"/>
                  <a:gd name="connsiteX142" fmla="*/ 2176748 w 3510153"/>
                  <a:gd name="connsiteY142" fmla="*/ 476441 h 511302"/>
                  <a:gd name="connsiteX143" fmla="*/ 3030569 w 3510153"/>
                  <a:gd name="connsiteY143" fmla="*/ 476441 h 511302"/>
                  <a:gd name="connsiteX144" fmla="*/ 3030569 w 3510153"/>
                  <a:gd name="connsiteY144" fmla="*/ 511302 h 511302"/>
                  <a:gd name="connsiteX145" fmla="*/ 3510153 w 3510153"/>
                  <a:gd name="connsiteY145" fmla="*/ 511302 h 511302"/>
                  <a:gd name="connsiteX0" fmla="*/ 0 w 3497580"/>
                  <a:gd name="connsiteY0" fmla="*/ 0 h 505301"/>
                  <a:gd name="connsiteX1" fmla="*/ 0 w 3497580"/>
                  <a:gd name="connsiteY1" fmla="*/ 6096 h 505301"/>
                  <a:gd name="connsiteX2" fmla="*/ 6286 w 3497580"/>
                  <a:gd name="connsiteY2" fmla="*/ 6096 h 505301"/>
                  <a:gd name="connsiteX3" fmla="*/ 6286 w 3497580"/>
                  <a:gd name="connsiteY3" fmla="*/ 18193 h 505301"/>
                  <a:gd name="connsiteX4" fmla="*/ 10477 w 3497580"/>
                  <a:gd name="connsiteY4" fmla="*/ 18193 h 505301"/>
                  <a:gd name="connsiteX5" fmla="*/ 10477 w 3497580"/>
                  <a:gd name="connsiteY5" fmla="*/ 24289 h 505301"/>
                  <a:gd name="connsiteX6" fmla="*/ 23145 w 3497580"/>
                  <a:gd name="connsiteY6" fmla="*/ 24289 h 505301"/>
                  <a:gd name="connsiteX7" fmla="*/ 23145 w 3497580"/>
                  <a:gd name="connsiteY7" fmla="*/ 30385 h 505301"/>
                  <a:gd name="connsiteX8" fmla="*/ 37814 w 3497580"/>
                  <a:gd name="connsiteY8" fmla="*/ 30385 h 505301"/>
                  <a:gd name="connsiteX9" fmla="*/ 37814 w 3497580"/>
                  <a:gd name="connsiteY9" fmla="*/ 36386 h 505301"/>
                  <a:gd name="connsiteX10" fmla="*/ 42100 w 3497580"/>
                  <a:gd name="connsiteY10" fmla="*/ 36386 h 505301"/>
                  <a:gd name="connsiteX11" fmla="*/ 42100 w 3497580"/>
                  <a:gd name="connsiteY11" fmla="*/ 42482 h 505301"/>
                  <a:gd name="connsiteX12" fmla="*/ 52577 w 3497580"/>
                  <a:gd name="connsiteY12" fmla="*/ 42482 h 505301"/>
                  <a:gd name="connsiteX13" fmla="*/ 52577 w 3497580"/>
                  <a:gd name="connsiteY13" fmla="*/ 48578 h 505301"/>
                  <a:gd name="connsiteX14" fmla="*/ 60960 w 3497580"/>
                  <a:gd name="connsiteY14" fmla="*/ 48578 h 505301"/>
                  <a:gd name="connsiteX15" fmla="*/ 60960 w 3497580"/>
                  <a:gd name="connsiteY15" fmla="*/ 54674 h 505301"/>
                  <a:gd name="connsiteX16" fmla="*/ 75723 w 3497580"/>
                  <a:gd name="connsiteY16" fmla="*/ 54674 h 505301"/>
                  <a:gd name="connsiteX17" fmla="*/ 75723 w 3497580"/>
                  <a:gd name="connsiteY17" fmla="*/ 60674 h 505301"/>
                  <a:gd name="connsiteX18" fmla="*/ 79914 w 3497580"/>
                  <a:gd name="connsiteY18" fmla="*/ 60674 h 505301"/>
                  <a:gd name="connsiteX19" fmla="*/ 79914 w 3497580"/>
                  <a:gd name="connsiteY19" fmla="*/ 66770 h 505301"/>
                  <a:gd name="connsiteX20" fmla="*/ 84105 w 3497580"/>
                  <a:gd name="connsiteY20" fmla="*/ 66770 h 505301"/>
                  <a:gd name="connsiteX21" fmla="*/ 84105 w 3497580"/>
                  <a:gd name="connsiteY21" fmla="*/ 72866 h 505301"/>
                  <a:gd name="connsiteX22" fmla="*/ 96774 w 3497580"/>
                  <a:gd name="connsiteY22" fmla="*/ 72866 h 505301"/>
                  <a:gd name="connsiteX23" fmla="*/ 96774 w 3497580"/>
                  <a:gd name="connsiteY23" fmla="*/ 78867 h 505301"/>
                  <a:gd name="connsiteX24" fmla="*/ 126206 w 3497580"/>
                  <a:gd name="connsiteY24" fmla="*/ 78867 h 505301"/>
                  <a:gd name="connsiteX25" fmla="*/ 126206 w 3497580"/>
                  <a:gd name="connsiteY25" fmla="*/ 84963 h 505301"/>
                  <a:gd name="connsiteX26" fmla="*/ 134588 w 3497580"/>
                  <a:gd name="connsiteY26" fmla="*/ 84963 h 505301"/>
                  <a:gd name="connsiteX27" fmla="*/ 134588 w 3497580"/>
                  <a:gd name="connsiteY27" fmla="*/ 91059 h 505301"/>
                  <a:gd name="connsiteX28" fmla="*/ 136683 w 3497580"/>
                  <a:gd name="connsiteY28" fmla="*/ 91059 h 505301"/>
                  <a:gd name="connsiteX29" fmla="*/ 136683 w 3497580"/>
                  <a:gd name="connsiteY29" fmla="*/ 97060 h 505301"/>
                  <a:gd name="connsiteX30" fmla="*/ 151447 w 3497580"/>
                  <a:gd name="connsiteY30" fmla="*/ 97060 h 505301"/>
                  <a:gd name="connsiteX31" fmla="*/ 151447 w 3497580"/>
                  <a:gd name="connsiteY31" fmla="*/ 109252 h 505301"/>
                  <a:gd name="connsiteX32" fmla="*/ 153543 w 3497580"/>
                  <a:gd name="connsiteY32" fmla="*/ 109252 h 505301"/>
                  <a:gd name="connsiteX33" fmla="*/ 153543 w 3497580"/>
                  <a:gd name="connsiteY33" fmla="*/ 115253 h 505301"/>
                  <a:gd name="connsiteX34" fmla="*/ 159829 w 3497580"/>
                  <a:gd name="connsiteY34" fmla="*/ 115253 h 505301"/>
                  <a:gd name="connsiteX35" fmla="*/ 159829 w 3497580"/>
                  <a:gd name="connsiteY35" fmla="*/ 121349 h 505301"/>
                  <a:gd name="connsiteX36" fmla="*/ 164020 w 3497580"/>
                  <a:gd name="connsiteY36" fmla="*/ 121349 h 505301"/>
                  <a:gd name="connsiteX37" fmla="*/ 164020 w 3497580"/>
                  <a:gd name="connsiteY37" fmla="*/ 127445 h 505301"/>
                  <a:gd name="connsiteX38" fmla="*/ 180879 w 3497580"/>
                  <a:gd name="connsiteY38" fmla="*/ 127445 h 505301"/>
                  <a:gd name="connsiteX39" fmla="*/ 180879 w 3497580"/>
                  <a:gd name="connsiteY39" fmla="*/ 139541 h 505301"/>
                  <a:gd name="connsiteX40" fmla="*/ 185070 w 3497580"/>
                  <a:gd name="connsiteY40" fmla="*/ 139541 h 505301"/>
                  <a:gd name="connsiteX41" fmla="*/ 185070 w 3497580"/>
                  <a:gd name="connsiteY41" fmla="*/ 145637 h 505301"/>
                  <a:gd name="connsiteX42" fmla="*/ 208216 w 3497580"/>
                  <a:gd name="connsiteY42" fmla="*/ 145637 h 505301"/>
                  <a:gd name="connsiteX43" fmla="*/ 208216 w 3497580"/>
                  <a:gd name="connsiteY43" fmla="*/ 151733 h 505301"/>
                  <a:gd name="connsiteX44" fmla="*/ 212407 w 3497580"/>
                  <a:gd name="connsiteY44" fmla="*/ 151733 h 505301"/>
                  <a:gd name="connsiteX45" fmla="*/ 212407 w 3497580"/>
                  <a:gd name="connsiteY45" fmla="*/ 157734 h 505301"/>
                  <a:gd name="connsiteX46" fmla="*/ 218694 w 3497580"/>
                  <a:gd name="connsiteY46" fmla="*/ 157734 h 505301"/>
                  <a:gd name="connsiteX47" fmla="*/ 218694 w 3497580"/>
                  <a:gd name="connsiteY47" fmla="*/ 169926 h 505301"/>
                  <a:gd name="connsiteX48" fmla="*/ 237648 w 3497580"/>
                  <a:gd name="connsiteY48" fmla="*/ 169926 h 505301"/>
                  <a:gd name="connsiteX49" fmla="*/ 237648 w 3497580"/>
                  <a:gd name="connsiteY49" fmla="*/ 175927 h 505301"/>
                  <a:gd name="connsiteX50" fmla="*/ 246030 w 3497580"/>
                  <a:gd name="connsiteY50" fmla="*/ 175927 h 505301"/>
                  <a:gd name="connsiteX51" fmla="*/ 246030 w 3497580"/>
                  <a:gd name="connsiteY51" fmla="*/ 182023 h 505301"/>
                  <a:gd name="connsiteX52" fmla="*/ 258699 w 3497580"/>
                  <a:gd name="connsiteY52" fmla="*/ 182023 h 505301"/>
                  <a:gd name="connsiteX53" fmla="*/ 258699 w 3497580"/>
                  <a:gd name="connsiteY53" fmla="*/ 188119 h 505301"/>
                  <a:gd name="connsiteX54" fmla="*/ 275558 w 3497580"/>
                  <a:gd name="connsiteY54" fmla="*/ 188119 h 505301"/>
                  <a:gd name="connsiteX55" fmla="*/ 275558 w 3497580"/>
                  <a:gd name="connsiteY55" fmla="*/ 194120 h 505301"/>
                  <a:gd name="connsiteX56" fmla="*/ 302895 w 3497580"/>
                  <a:gd name="connsiteY56" fmla="*/ 194120 h 505301"/>
                  <a:gd name="connsiteX57" fmla="*/ 302895 w 3497580"/>
                  <a:gd name="connsiteY57" fmla="*/ 200216 h 505301"/>
                  <a:gd name="connsiteX58" fmla="*/ 304990 w 3497580"/>
                  <a:gd name="connsiteY58" fmla="*/ 200216 h 505301"/>
                  <a:gd name="connsiteX59" fmla="*/ 304990 w 3497580"/>
                  <a:gd name="connsiteY59" fmla="*/ 206312 h 505301"/>
                  <a:gd name="connsiteX60" fmla="*/ 315467 w 3497580"/>
                  <a:gd name="connsiteY60" fmla="*/ 206312 h 505301"/>
                  <a:gd name="connsiteX61" fmla="*/ 315467 w 3497580"/>
                  <a:gd name="connsiteY61" fmla="*/ 212312 h 505301"/>
                  <a:gd name="connsiteX62" fmla="*/ 321754 w 3497580"/>
                  <a:gd name="connsiteY62" fmla="*/ 212312 h 505301"/>
                  <a:gd name="connsiteX63" fmla="*/ 321754 w 3497580"/>
                  <a:gd name="connsiteY63" fmla="*/ 224504 h 505301"/>
                  <a:gd name="connsiteX64" fmla="*/ 330231 w 3497580"/>
                  <a:gd name="connsiteY64" fmla="*/ 224504 h 505301"/>
                  <a:gd name="connsiteX65" fmla="*/ 330231 w 3497580"/>
                  <a:gd name="connsiteY65" fmla="*/ 230505 h 505301"/>
                  <a:gd name="connsiteX66" fmla="*/ 336518 w 3497580"/>
                  <a:gd name="connsiteY66" fmla="*/ 230505 h 505301"/>
                  <a:gd name="connsiteX67" fmla="*/ 336518 w 3497580"/>
                  <a:gd name="connsiteY67" fmla="*/ 242697 h 505301"/>
                  <a:gd name="connsiteX68" fmla="*/ 338613 w 3497580"/>
                  <a:gd name="connsiteY68" fmla="*/ 242697 h 505301"/>
                  <a:gd name="connsiteX69" fmla="*/ 338613 w 3497580"/>
                  <a:gd name="connsiteY69" fmla="*/ 248793 h 505301"/>
                  <a:gd name="connsiteX70" fmla="*/ 351186 w 3497580"/>
                  <a:gd name="connsiteY70" fmla="*/ 248793 h 505301"/>
                  <a:gd name="connsiteX71" fmla="*/ 351186 w 3497580"/>
                  <a:gd name="connsiteY71" fmla="*/ 254794 h 505301"/>
                  <a:gd name="connsiteX72" fmla="*/ 374332 w 3497580"/>
                  <a:gd name="connsiteY72" fmla="*/ 254794 h 505301"/>
                  <a:gd name="connsiteX73" fmla="*/ 374332 w 3497580"/>
                  <a:gd name="connsiteY73" fmla="*/ 260890 h 505301"/>
                  <a:gd name="connsiteX74" fmla="*/ 380714 w 3497580"/>
                  <a:gd name="connsiteY74" fmla="*/ 260890 h 505301"/>
                  <a:gd name="connsiteX75" fmla="*/ 380714 w 3497580"/>
                  <a:gd name="connsiteY75" fmla="*/ 266986 h 505301"/>
                  <a:gd name="connsiteX76" fmla="*/ 389096 w 3497580"/>
                  <a:gd name="connsiteY76" fmla="*/ 266986 h 505301"/>
                  <a:gd name="connsiteX77" fmla="*/ 389096 w 3497580"/>
                  <a:gd name="connsiteY77" fmla="*/ 272987 h 505301"/>
                  <a:gd name="connsiteX78" fmla="*/ 397478 w 3497580"/>
                  <a:gd name="connsiteY78" fmla="*/ 272987 h 505301"/>
                  <a:gd name="connsiteX79" fmla="*/ 397478 w 3497580"/>
                  <a:gd name="connsiteY79" fmla="*/ 279083 h 505301"/>
                  <a:gd name="connsiteX80" fmla="*/ 401669 w 3497580"/>
                  <a:gd name="connsiteY80" fmla="*/ 279083 h 505301"/>
                  <a:gd name="connsiteX81" fmla="*/ 401669 w 3497580"/>
                  <a:gd name="connsiteY81" fmla="*/ 285179 h 505301"/>
                  <a:gd name="connsiteX82" fmla="*/ 475297 w 3497580"/>
                  <a:gd name="connsiteY82" fmla="*/ 285179 h 505301"/>
                  <a:gd name="connsiteX83" fmla="*/ 475297 w 3497580"/>
                  <a:gd name="connsiteY83" fmla="*/ 291179 h 505301"/>
                  <a:gd name="connsiteX84" fmla="*/ 496347 w 3497580"/>
                  <a:gd name="connsiteY84" fmla="*/ 291179 h 505301"/>
                  <a:gd name="connsiteX85" fmla="*/ 496347 w 3497580"/>
                  <a:gd name="connsiteY85" fmla="*/ 297275 h 505301"/>
                  <a:gd name="connsiteX86" fmla="*/ 502634 w 3497580"/>
                  <a:gd name="connsiteY86" fmla="*/ 297275 h 505301"/>
                  <a:gd name="connsiteX87" fmla="*/ 502634 w 3497580"/>
                  <a:gd name="connsiteY87" fmla="*/ 303371 h 505301"/>
                  <a:gd name="connsiteX88" fmla="*/ 544734 w 3497580"/>
                  <a:gd name="connsiteY88" fmla="*/ 303371 h 505301"/>
                  <a:gd name="connsiteX89" fmla="*/ 544734 w 3497580"/>
                  <a:gd name="connsiteY89" fmla="*/ 309372 h 505301"/>
                  <a:gd name="connsiteX90" fmla="*/ 559403 w 3497580"/>
                  <a:gd name="connsiteY90" fmla="*/ 309372 h 505301"/>
                  <a:gd name="connsiteX91" fmla="*/ 559403 w 3497580"/>
                  <a:gd name="connsiteY91" fmla="*/ 315468 h 505301"/>
                  <a:gd name="connsiteX92" fmla="*/ 588930 w 3497580"/>
                  <a:gd name="connsiteY92" fmla="*/ 315468 h 505301"/>
                  <a:gd name="connsiteX93" fmla="*/ 588930 w 3497580"/>
                  <a:gd name="connsiteY93" fmla="*/ 321564 h 505301"/>
                  <a:gd name="connsiteX94" fmla="*/ 591026 w 3497580"/>
                  <a:gd name="connsiteY94" fmla="*/ 321564 h 505301"/>
                  <a:gd name="connsiteX95" fmla="*/ 591026 w 3497580"/>
                  <a:gd name="connsiteY95" fmla="*/ 327565 h 505301"/>
                  <a:gd name="connsiteX96" fmla="*/ 614076 w 3497580"/>
                  <a:gd name="connsiteY96" fmla="*/ 327565 h 505301"/>
                  <a:gd name="connsiteX97" fmla="*/ 614076 w 3497580"/>
                  <a:gd name="connsiteY97" fmla="*/ 333661 h 505301"/>
                  <a:gd name="connsiteX98" fmla="*/ 626745 w 3497580"/>
                  <a:gd name="connsiteY98" fmla="*/ 333661 h 505301"/>
                  <a:gd name="connsiteX99" fmla="*/ 626745 w 3497580"/>
                  <a:gd name="connsiteY99" fmla="*/ 339757 h 505301"/>
                  <a:gd name="connsiteX100" fmla="*/ 662463 w 3497580"/>
                  <a:gd name="connsiteY100" fmla="*/ 339757 h 505301"/>
                  <a:gd name="connsiteX101" fmla="*/ 662463 w 3497580"/>
                  <a:gd name="connsiteY101" fmla="*/ 345853 h 505301"/>
                  <a:gd name="connsiteX102" fmla="*/ 778192 w 3497580"/>
                  <a:gd name="connsiteY102" fmla="*/ 345853 h 505301"/>
                  <a:gd name="connsiteX103" fmla="*/ 778192 w 3497580"/>
                  <a:gd name="connsiteY103" fmla="*/ 351854 h 505301"/>
                  <a:gd name="connsiteX104" fmla="*/ 816006 w 3497580"/>
                  <a:gd name="connsiteY104" fmla="*/ 351854 h 505301"/>
                  <a:gd name="connsiteX105" fmla="*/ 816006 w 3497580"/>
                  <a:gd name="connsiteY105" fmla="*/ 358045 h 505301"/>
                  <a:gd name="connsiteX106" fmla="*/ 868584 w 3497580"/>
                  <a:gd name="connsiteY106" fmla="*/ 358045 h 505301"/>
                  <a:gd name="connsiteX107" fmla="*/ 868584 w 3497580"/>
                  <a:gd name="connsiteY107" fmla="*/ 364141 h 505301"/>
                  <a:gd name="connsiteX108" fmla="*/ 887539 w 3497580"/>
                  <a:gd name="connsiteY108" fmla="*/ 364141 h 505301"/>
                  <a:gd name="connsiteX109" fmla="*/ 887539 w 3497580"/>
                  <a:gd name="connsiteY109" fmla="*/ 370237 h 505301"/>
                  <a:gd name="connsiteX110" fmla="*/ 898017 w 3497580"/>
                  <a:gd name="connsiteY110" fmla="*/ 370237 h 505301"/>
                  <a:gd name="connsiteX111" fmla="*/ 898017 w 3497580"/>
                  <a:gd name="connsiteY111" fmla="*/ 376428 h 505301"/>
                  <a:gd name="connsiteX112" fmla="*/ 931735 w 3497580"/>
                  <a:gd name="connsiteY112" fmla="*/ 376428 h 505301"/>
                  <a:gd name="connsiteX113" fmla="*/ 931735 w 3497580"/>
                  <a:gd name="connsiteY113" fmla="*/ 382524 h 505301"/>
                  <a:gd name="connsiteX114" fmla="*/ 938022 w 3497580"/>
                  <a:gd name="connsiteY114" fmla="*/ 382524 h 505301"/>
                  <a:gd name="connsiteX115" fmla="*/ 938022 w 3497580"/>
                  <a:gd name="connsiteY115" fmla="*/ 388620 h 505301"/>
                  <a:gd name="connsiteX116" fmla="*/ 952690 w 3497580"/>
                  <a:gd name="connsiteY116" fmla="*/ 388620 h 505301"/>
                  <a:gd name="connsiteX117" fmla="*/ 952690 w 3497580"/>
                  <a:gd name="connsiteY117" fmla="*/ 394716 h 505301"/>
                  <a:gd name="connsiteX118" fmla="*/ 965358 w 3497580"/>
                  <a:gd name="connsiteY118" fmla="*/ 394716 h 505301"/>
                  <a:gd name="connsiteX119" fmla="*/ 965358 w 3497580"/>
                  <a:gd name="connsiteY119" fmla="*/ 400907 h 505301"/>
                  <a:gd name="connsiteX120" fmla="*/ 990600 w 3497580"/>
                  <a:gd name="connsiteY120" fmla="*/ 400907 h 505301"/>
                  <a:gd name="connsiteX121" fmla="*/ 990600 w 3497580"/>
                  <a:gd name="connsiteY121" fmla="*/ 407003 h 505301"/>
                  <a:gd name="connsiteX122" fmla="*/ 1219866 w 3497580"/>
                  <a:gd name="connsiteY122" fmla="*/ 407003 h 505301"/>
                  <a:gd name="connsiteX123" fmla="*/ 1219866 w 3497580"/>
                  <a:gd name="connsiteY123" fmla="*/ 413195 h 505301"/>
                  <a:gd name="connsiteX124" fmla="*/ 1333404 w 3497580"/>
                  <a:gd name="connsiteY124" fmla="*/ 413195 h 505301"/>
                  <a:gd name="connsiteX125" fmla="*/ 1333404 w 3497580"/>
                  <a:gd name="connsiteY125" fmla="*/ 419386 h 505301"/>
                  <a:gd name="connsiteX126" fmla="*/ 1602581 w 3497580"/>
                  <a:gd name="connsiteY126" fmla="*/ 419386 h 505301"/>
                  <a:gd name="connsiteX127" fmla="*/ 1602581 w 3497580"/>
                  <a:gd name="connsiteY127" fmla="*/ 425672 h 505301"/>
                  <a:gd name="connsiteX128" fmla="*/ 1676209 w 3497580"/>
                  <a:gd name="connsiteY128" fmla="*/ 425672 h 505301"/>
                  <a:gd name="connsiteX129" fmla="*/ 1676209 w 3497580"/>
                  <a:gd name="connsiteY129" fmla="*/ 431959 h 505301"/>
                  <a:gd name="connsiteX130" fmla="*/ 1756124 w 3497580"/>
                  <a:gd name="connsiteY130" fmla="*/ 431959 h 505301"/>
                  <a:gd name="connsiteX131" fmla="*/ 1756124 w 3497580"/>
                  <a:gd name="connsiteY131" fmla="*/ 438245 h 505301"/>
                  <a:gd name="connsiteX132" fmla="*/ 1918049 w 3497580"/>
                  <a:gd name="connsiteY132" fmla="*/ 438245 h 505301"/>
                  <a:gd name="connsiteX133" fmla="*/ 1918049 w 3497580"/>
                  <a:gd name="connsiteY133" fmla="*/ 444722 h 505301"/>
                  <a:gd name="connsiteX134" fmla="*/ 1934908 w 3497580"/>
                  <a:gd name="connsiteY134" fmla="*/ 444722 h 505301"/>
                  <a:gd name="connsiteX135" fmla="*/ 1934908 w 3497580"/>
                  <a:gd name="connsiteY135" fmla="*/ 451104 h 505301"/>
                  <a:gd name="connsiteX136" fmla="*/ 2052732 w 3497580"/>
                  <a:gd name="connsiteY136" fmla="*/ 451104 h 505301"/>
                  <a:gd name="connsiteX137" fmla="*/ 2052732 w 3497580"/>
                  <a:gd name="connsiteY137" fmla="*/ 457581 h 505301"/>
                  <a:gd name="connsiteX138" fmla="*/ 2145220 w 3497580"/>
                  <a:gd name="connsiteY138" fmla="*/ 457581 h 505301"/>
                  <a:gd name="connsiteX139" fmla="*/ 2145220 w 3497580"/>
                  <a:gd name="connsiteY139" fmla="*/ 463963 h 505301"/>
                  <a:gd name="connsiteX140" fmla="*/ 2164175 w 3497580"/>
                  <a:gd name="connsiteY140" fmla="*/ 463963 h 505301"/>
                  <a:gd name="connsiteX141" fmla="*/ 2164175 w 3497580"/>
                  <a:gd name="connsiteY141" fmla="*/ 470440 h 505301"/>
                  <a:gd name="connsiteX142" fmla="*/ 3017996 w 3497580"/>
                  <a:gd name="connsiteY142" fmla="*/ 470440 h 505301"/>
                  <a:gd name="connsiteX143" fmla="*/ 3017996 w 3497580"/>
                  <a:gd name="connsiteY143" fmla="*/ 505301 h 505301"/>
                  <a:gd name="connsiteX144" fmla="*/ 3497580 w 3497580"/>
                  <a:gd name="connsiteY144" fmla="*/ 505301 h 505301"/>
                  <a:gd name="connsiteX0" fmla="*/ 0 w 3497580"/>
                  <a:gd name="connsiteY0" fmla="*/ 0 h 505301"/>
                  <a:gd name="connsiteX1" fmla="*/ 6286 w 3497580"/>
                  <a:gd name="connsiteY1" fmla="*/ 6096 h 505301"/>
                  <a:gd name="connsiteX2" fmla="*/ 6286 w 3497580"/>
                  <a:gd name="connsiteY2" fmla="*/ 18193 h 505301"/>
                  <a:gd name="connsiteX3" fmla="*/ 10477 w 3497580"/>
                  <a:gd name="connsiteY3" fmla="*/ 18193 h 505301"/>
                  <a:gd name="connsiteX4" fmla="*/ 10477 w 3497580"/>
                  <a:gd name="connsiteY4" fmla="*/ 24289 h 505301"/>
                  <a:gd name="connsiteX5" fmla="*/ 23145 w 3497580"/>
                  <a:gd name="connsiteY5" fmla="*/ 24289 h 505301"/>
                  <a:gd name="connsiteX6" fmla="*/ 23145 w 3497580"/>
                  <a:gd name="connsiteY6" fmla="*/ 30385 h 505301"/>
                  <a:gd name="connsiteX7" fmla="*/ 37814 w 3497580"/>
                  <a:gd name="connsiteY7" fmla="*/ 30385 h 505301"/>
                  <a:gd name="connsiteX8" fmla="*/ 37814 w 3497580"/>
                  <a:gd name="connsiteY8" fmla="*/ 36386 h 505301"/>
                  <a:gd name="connsiteX9" fmla="*/ 42100 w 3497580"/>
                  <a:gd name="connsiteY9" fmla="*/ 36386 h 505301"/>
                  <a:gd name="connsiteX10" fmla="*/ 42100 w 3497580"/>
                  <a:gd name="connsiteY10" fmla="*/ 42482 h 505301"/>
                  <a:gd name="connsiteX11" fmla="*/ 52577 w 3497580"/>
                  <a:gd name="connsiteY11" fmla="*/ 42482 h 505301"/>
                  <a:gd name="connsiteX12" fmla="*/ 52577 w 3497580"/>
                  <a:gd name="connsiteY12" fmla="*/ 48578 h 505301"/>
                  <a:gd name="connsiteX13" fmla="*/ 60960 w 3497580"/>
                  <a:gd name="connsiteY13" fmla="*/ 48578 h 505301"/>
                  <a:gd name="connsiteX14" fmla="*/ 60960 w 3497580"/>
                  <a:gd name="connsiteY14" fmla="*/ 54674 h 505301"/>
                  <a:gd name="connsiteX15" fmla="*/ 75723 w 3497580"/>
                  <a:gd name="connsiteY15" fmla="*/ 54674 h 505301"/>
                  <a:gd name="connsiteX16" fmla="*/ 75723 w 3497580"/>
                  <a:gd name="connsiteY16" fmla="*/ 60674 h 505301"/>
                  <a:gd name="connsiteX17" fmla="*/ 79914 w 3497580"/>
                  <a:gd name="connsiteY17" fmla="*/ 60674 h 505301"/>
                  <a:gd name="connsiteX18" fmla="*/ 79914 w 3497580"/>
                  <a:gd name="connsiteY18" fmla="*/ 66770 h 505301"/>
                  <a:gd name="connsiteX19" fmla="*/ 84105 w 3497580"/>
                  <a:gd name="connsiteY19" fmla="*/ 66770 h 505301"/>
                  <a:gd name="connsiteX20" fmla="*/ 84105 w 3497580"/>
                  <a:gd name="connsiteY20" fmla="*/ 72866 h 505301"/>
                  <a:gd name="connsiteX21" fmla="*/ 96774 w 3497580"/>
                  <a:gd name="connsiteY21" fmla="*/ 72866 h 505301"/>
                  <a:gd name="connsiteX22" fmla="*/ 96774 w 3497580"/>
                  <a:gd name="connsiteY22" fmla="*/ 78867 h 505301"/>
                  <a:gd name="connsiteX23" fmla="*/ 126206 w 3497580"/>
                  <a:gd name="connsiteY23" fmla="*/ 78867 h 505301"/>
                  <a:gd name="connsiteX24" fmla="*/ 126206 w 3497580"/>
                  <a:gd name="connsiteY24" fmla="*/ 84963 h 505301"/>
                  <a:gd name="connsiteX25" fmla="*/ 134588 w 3497580"/>
                  <a:gd name="connsiteY25" fmla="*/ 84963 h 505301"/>
                  <a:gd name="connsiteX26" fmla="*/ 134588 w 3497580"/>
                  <a:gd name="connsiteY26" fmla="*/ 91059 h 505301"/>
                  <a:gd name="connsiteX27" fmla="*/ 136683 w 3497580"/>
                  <a:gd name="connsiteY27" fmla="*/ 91059 h 505301"/>
                  <a:gd name="connsiteX28" fmla="*/ 136683 w 3497580"/>
                  <a:gd name="connsiteY28" fmla="*/ 97060 h 505301"/>
                  <a:gd name="connsiteX29" fmla="*/ 151447 w 3497580"/>
                  <a:gd name="connsiteY29" fmla="*/ 97060 h 505301"/>
                  <a:gd name="connsiteX30" fmla="*/ 151447 w 3497580"/>
                  <a:gd name="connsiteY30" fmla="*/ 109252 h 505301"/>
                  <a:gd name="connsiteX31" fmla="*/ 153543 w 3497580"/>
                  <a:gd name="connsiteY31" fmla="*/ 109252 h 505301"/>
                  <a:gd name="connsiteX32" fmla="*/ 153543 w 3497580"/>
                  <a:gd name="connsiteY32" fmla="*/ 115253 h 505301"/>
                  <a:gd name="connsiteX33" fmla="*/ 159829 w 3497580"/>
                  <a:gd name="connsiteY33" fmla="*/ 115253 h 505301"/>
                  <a:gd name="connsiteX34" fmla="*/ 159829 w 3497580"/>
                  <a:gd name="connsiteY34" fmla="*/ 121349 h 505301"/>
                  <a:gd name="connsiteX35" fmla="*/ 164020 w 3497580"/>
                  <a:gd name="connsiteY35" fmla="*/ 121349 h 505301"/>
                  <a:gd name="connsiteX36" fmla="*/ 164020 w 3497580"/>
                  <a:gd name="connsiteY36" fmla="*/ 127445 h 505301"/>
                  <a:gd name="connsiteX37" fmla="*/ 180879 w 3497580"/>
                  <a:gd name="connsiteY37" fmla="*/ 127445 h 505301"/>
                  <a:gd name="connsiteX38" fmla="*/ 180879 w 3497580"/>
                  <a:gd name="connsiteY38" fmla="*/ 139541 h 505301"/>
                  <a:gd name="connsiteX39" fmla="*/ 185070 w 3497580"/>
                  <a:gd name="connsiteY39" fmla="*/ 139541 h 505301"/>
                  <a:gd name="connsiteX40" fmla="*/ 185070 w 3497580"/>
                  <a:gd name="connsiteY40" fmla="*/ 145637 h 505301"/>
                  <a:gd name="connsiteX41" fmla="*/ 208216 w 3497580"/>
                  <a:gd name="connsiteY41" fmla="*/ 145637 h 505301"/>
                  <a:gd name="connsiteX42" fmla="*/ 208216 w 3497580"/>
                  <a:gd name="connsiteY42" fmla="*/ 151733 h 505301"/>
                  <a:gd name="connsiteX43" fmla="*/ 212407 w 3497580"/>
                  <a:gd name="connsiteY43" fmla="*/ 151733 h 505301"/>
                  <a:gd name="connsiteX44" fmla="*/ 212407 w 3497580"/>
                  <a:gd name="connsiteY44" fmla="*/ 157734 h 505301"/>
                  <a:gd name="connsiteX45" fmla="*/ 218694 w 3497580"/>
                  <a:gd name="connsiteY45" fmla="*/ 157734 h 505301"/>
                  <a:gd name="connsiteX46" fmla="*/ 218694 w 3497580"/>
                  <a:gd name="connsiteY46" fmla="*/ 169926 h 505301"/>
                  <a:gd name="connsiteX47" fmla="*/ 237648 w 3497580"/>
                  <a:gd name="connsiteY47" fmla="*/ 169926 h 505301"/>
                  <a:gd name="connsiteX48" fmla="*/ 237648 w 3497580"/>
                  <a:gd name="connsiteY48" fmla="*/ 175927 h 505301"/>
                  <a:gd name="connsiteX49" fmla="*/ 246030 w 3497580"/>
                  <a:gd name="connsiteY49" fmla="*/ 175927 h 505301"/>
                  <a:gd name="connsiteX50" fmla="*/ 246030 w 3497580"/>
                  <a:gd name="connsiteY50" fmla="*/ 182023 h 505301"/>
                  <a:gd name="connsiteX51" fmla="*/ 258699 w 3497580"/>
                  <a:gd name="connsiteY51" fmla="*/ 182023 h 505301"/>
                  <a:gd name="connsiteX52" fmla="*/ 258699 w 3497580"/>
                  <a:gd name="connsiteY52" fmla="*/ 188119 h 505301"/>
                  <a:gd name="connsiteX53" fmla="*/ 275558 w 3497580"/>
                  <a:gd name="connsiteY53" fmla="*/ 188119 h 505301"/>
                  <a:gd name="connsiteX54" fmla="*/ 275558 w 3497580"/>
                  <a:gd name="connsiteY54" fmla="*/ 194120 h 505301"/>
                  <a:gd name="connsiteX55" fmla="*/ 302895 w 3497580"/>
                  <a:gd name="connsiteY55" fmla="*/ 194120 h 505301"/>
                  <a:gd name="connsiteX56" fmla="*/ 302895 w 3497580"/>
                  <a:gd name="connsiteY56" fmla="*/ 200216 h 505301"/>
                  <a:gd name="connsiteX57" fmla="*/ 304990 w 3497580"/>
                  <a:gd name="connsiteY57" fmla="*/ 200216 h 505301"/>
                  <a:gd name="connsiteX58" fmla="*/ 304990 w 3497580"/>
                  <a:gd name="connsiteY58" fmla="*/ 206312 h 505301"/>
                  <a:gd name="connsiteX59" fmla="*/ 315467 w 3497580"/>
                  <a:gd name="connsiteY59" fmla="*/ 206312 h 505301"/>
                  <a:gd name="connsiteX60" fmla="*/ 315467 w 3497580"/>
                  <a:gd name="connsiteY60" fmla="*/ 212312 h 505301"/>
                  <a:gd name="connsiteX61" fmla="*/ 321754 w 3497580"/>
                  <a:gd name="connsiteY61" fmla="*/ 212312 h 505301"/>
                  <a:gd name="connsiteX62" fmla="*/ 321754 w 3497580"/>
                  <a:gd name="connsiteY62" fmla="*/ 224504 h 505301"/>
                  <a:gd name="connsiteX63" fmla="*/ 330231 w 3497580"/>
                  <a:gd name="connsiteY63" fmla="*/ 224504 h 505301"/>
                  <a:gd name="connsiteX64" fmla="*/ 330231 w 3497580"/>
                  <a:gd name="connsiteY64" fmla="*/ 230505 h 505301"/>
                  <a:gd name="connsiteX65" fmla="*/ 336518 w 3497580"/>
                  <a:gd name="connsiteY65" fmla="*/ 230505 h 505301"/>
                  <a:gd name="connsiteX66" fmla="*/ 336518 w 3497580"/>
                  <a:gd name="connsiteY66" fmla="*/ 242697 h 505301"/>
                  <a:gd name="connsiteX67" fmla="*/ 338613 w 3497580"/>
                  <a:gd name="connsiteY67" fmla="*/ 242697 h 505301"/>
                  <a:gd name="connsiteX68" fmla="*/ 338613 w 3497580"/>
                  <a:gd name="connsiteY68" fmla="*/ 248793 h 505301"/>
                  <a:gd name="connsiteX69" fmla="*/ 351186 w 3497580"/>
                  <a:gd name="connsiteY69" fmla="*/ 248793 h 505301"/>
                  <a:gd name="connsiteX70" fmla="*/ 351186 w 3497580"/>
                  <a:gd name="connsiteY70" fmla="*/ 254794 h 505301"/>
                  <a:gd name="connsiteX71" fmla="*/ 374332 w 3497580"/>
                  <a:gd name="connsiteY71" fmla="*/ 254794 h 505301"/>
                  <a:gd name="connsiteX72" fmla="*/ 374332 w 3497580"/>
                  <a:gd name="connsiteY72" fmla="*/ 260890 h 505301"/>
                  <a:gd name="connsiteX73" fmla="*/ 380714 w 3497580"/>
                  <a:gd name="connsiteY73" fmla="*/ 260890 h 505301"/>
                  <a:gd name="connsiteX74" fmla="*/ 380714 w 3497580"/>
                  <a:gd name="connsiteY74" fmla="*/ 266986 h 505301"/>
                  <a:gd name="connsiteX75" fmla="*/ 389096 w 3497580"/>
                  <a:gd name="connsiteY75" fmla="*/ 266986 h 505301"/>
                  <a:gd name="connsiteX76" fmla="*/ 389096 w 3497580"/>
                  <a:gd name="connsiteY76" fmla="*/ 272987 h 505301"/>
                  <a:gd name="connsiteX77" fmla="*/ 397478 w 3497580"/>
                  <a:gd name="connsiteY77" fmla="*/ 272987 h 505301"/>
                  <a:gd name="connsiteX78" fmla="*/ 397478 w 3497580"/>
                  <a:gd name="connsiteY78" fmla="*/ 279083 h 505301"/>
                  <a:gd name="connsiteX79" fmla="*/ 401669 w 3497580"/>
                  <a:gd name="connsiteY79" fmla="*/ 279083 h 505301"/>
                  <a:gd name="connsiteX80" fmla="*/ 401669 w 3497580"/>
                  <a:gd name="connsiteY80" fmla="*/ 285179 h 505301"/>
                  <a:gd name="connsiteX81" fmla="*/ 475297 w 3497580"/>
                  <a:gd name="connsiteY81" fmla="*/ 285179 h 505301"/>
                  <a:gd name="connsiteX82" fmla="*/ 475297 w 3497580"/>
                  <a:gd name="connsiteY82" fmla="*/ 291179 h 505301"/>
                  <a:gd name="connsiteX83" fmla="*/ 496347 w 3497580"/>
                  <a:gd name="connsiteY83" fmla="*/ 291179 h 505301"/>
                  <a:gd name="connsiteX84" fmla="*/ 496347 w 3497580"/>
                  <a:gd name="connsiteY84" fmla="*/ 297275 h 505301"/>
                  <a:gd name="connsiteX85" fmla="*/ 502634 w 3497580"/>
                  <a:gd name="connsiteY85" fmla="*/ 297275 h 505301"/>
                  <a:gd name="connsiteX86" fmla="*/ 502634 w 3497580"/>
                  <a:gd name="connsiteY86" fmla="*/ 303371 h 505301"/>
                  <a:gd name="connsiteX87" fmla="*/ 544734 w 3497580"/>
                  <a:gd name="connsiteY87" fmla="*/ 303371 h 505301"/>
                  <a:gd name="connsiteX88" fmla="*/ 544734 w 3497580"/>
                  <a:gd name="connsiteY88" fmla="*/ 309372 h 505301"/>
                  <a:gd name="connsiteX89" fmla="*/ 559403 w 3497580"/>
                  <a:gd name="connsiteY89" fmla="*/ 309372 h 505301"/>
                  <a:gd name="connsiteX90" fmla="*/ 559403 w 3497580"/>
                  <a:gd name="connsiteY90" fmla="*/ 315468 h 505301"/>
                  <a:gd name="connsiteX91" fmla="*/ 588930 w 3497580"/>
                  <a:gd name="connsiteY91" fmla="*/ 315468 h 505301"/>
                  <a:gd name="connsiteX92" fmla="*/ 588930 w 3497580"/>
                  <a:gd name="connsiteY92" fmla="*/ 321564 h 505301"/>
                  <a:gd name="connsiteX93" fmla="*/ 591026 w 3497580"/>
                  <a:gd name="connsiteY93" fmla="*/ 321564 h 505301"/>
                  <a:gd name="connsiteX94" fmla="*/ 591026 w 3497580"/>
                  <a:gd name="connsiteY94" fmla="*/ 327565 h 505301"/>
                  <a:gd name="connsiteX95" fmla="*/ 614076 w 3497580"/>
                  <a:gd name="connsiteY95" fmla="*/ 327565 h 505301"/>
                  <a:gd name="connsiteX96" fmla="*/ 614076 w 3497580"/>
                  <a:gd name="connsiteY96" fmla="*/ 333661 h 505301"/>
                  <a:gd name="connsiteX97" fmla="*/ 626745 w 3497580"/>
                  <a:gd name="connsiteY97" fmla="*/ 333661 h 505301"/>
                  <a:gd name="connsiteX98" fmla="*/ 626745 w 3497580"/>
                  <a:gd name="connsiteY98" fmla="*/ 339757 h 505301"/>
                  <a:gd name="connsiteX99" fmla="*/ 662463 w 3497580"/>
                  <a:gd name="connsiteY99" fmla="*/ 339757 h 505301"/>
                  <a:gd name="connsiteX100" fmla="*/ 662463 w 3497580"/>
                  <a:gd name="connsiteY100" fmla="*/ 345853 h 505301"/>
                  <a:gd name="connsiteX101" fmla="*/ 778192 w 3497580"/>
                  <a:gd name="connsiteY101" fmla="*/ 345853 h 505301"/>
                  <a:gd name="connsiteX102" fmla="*/ 778192 w 3497580"/>
                  <a:gd name="connsiteY102" fmla="*/ 351854 h 505301"/>
                  <a:gd name="connsiteX103" fmla="*/ 816006 w 3497580"/>
                  <a:gd name="connsiteY103" fmla="*/ 351854 h 505301"/>
                  <a:gd name="connsiteX104" fmla="*/ 816006 w 3497580"/>
                  <a:gd name="connsiteY104" fmla="*/ 358045 h 505301"/>
                  <a:gd name="connsiteX105" fmla="*/ 868584 w 3497580"/>
                  <a:gd name="connsiteY105" fmla="*/ 358045 h 505301"/>
                  <a:gd name="connsiteX106" fmla="*/ 868584 w 3497580"/>
                  <a:gd name="connsiteY106" fmla="*/ 364141 h 505301"/>
                  <a:gd name="connsiteX107" fmla="*/ 887539 w 3497580"/>
                  <a:gd name="connsiteY107" fmla="*/ 364141 h 505301"/>
                  <a:gd name="connsiteX108" fmla="*/ 887539 w 3497580"/>
                  <a:gd name="connsiteY108" fmla="*/ 370237 h 505301"/>
                  <a:gd name="connsiteX109" fmla="*/ 898017 w 3497580"/>
                  <a:gd name="connsiteY109" fmla="*/ 370237 h 505301"/>
                  <a:gd name="connsiteX110" fmla="*/ 898017 w 3497580"/>
                  <a:gd name="connsiteY110" fmla="*/ 376428 h 505301"/>
                  <a:gd name="connsiteX111" fmla="*/ 931735 w 3497580"/>
                  <a:gd name="connsiteY111" fmla="*/ 376428 h 505301"/>
                  <a:gd name="connsiteX112" fmla="*/ 931735 w 3497580"/>
                  <a:gd name="connsiteY112" fmla="*/ 382524 h 505301"/>
                  <a:gd name="connsiteX113" fmla="*/ 938022 w 3497580"/>
                  <a:gd name="connsiteY113" fmla="*/ 382524 h 505301"/>
                  <a:gd name="connsiteX114" fmla="*/ 938022 w 3497580"/>
                  <a:gd name="connsiteY114" fmla="*/ 388620 h 505301"/>
                  <a:gd name="connsiteX115" fmla="*/ 952690 w 3497580"/>
                  <a:gd name="connsiteY115" fmla="*/ 388620 h 505301"/>
                  <a:gd name="connsiteX116" fmla="*/ 952690 w 3497580"/>
                  <a:gd name="connsiteY116" fmla="*/ 394716 h 505301"/>
                  <a:gd name="connsiteX117" fmla="*/ 965358 w 3497580"/>
                  <a:gd name="connsiteY117" fmla="*/ 394716 h 505301"/>
                  <a:gd name="connsiteX118" fmla="*/ 965358 w 3497580"/>
                  <a:gd name="connsiteY118" fmla="*/ 400907 h 505301"/>
                  <a:gd name="connsiteX119" fmla="*/ 990600 w 3497580"/>
                  <a:gd name="connsiteY119" fmla="*/ 400907 h 505301"/>
                  <a:gd name="connsiteX120" fmla="*/ 990600 w 3497580"/>
                  <a:gd name="connsiteY120" fmla="*/ 407003 h 505301"/>
                  <a:gd name="connsiteX121" fmla="*/ 1219866 w 3497580"/>
                  <a:gd name="connsiteY121" fmla="*/ 407003 h 505301"/>
                  <a:gd name="connsiteX122" fmla="*/ 1219866 w 3497580"/>
                  <a:gd name="connsiteY122" fmla="*/ 413195 h 505301"/>
                  <a:gd name="connsiteX123" fmla="*/ 1333404 w 3497580"/>
                  <a:gd name="connsiteY123" fmla="*/ 413195 h 505301"/>
                  <a:gd name="connsiteX124" fmla="*/ 1333404 w 3497580"/>
                  <a:gd name="connsiteY124" fmla="*/ 419386 h 505301"/>
                  <a:gd name="connsiteX125" fmla="*/ 1602581 w 3497580"/>
                  <a:gd name="connsiteY125" fmla="*/ 419386 h 505301"/>
                  <a:gd name="connsiteX126" fmla="*/ 1602581 w 3497580"/>
                  <a:gd name="connsiteY126" fmla="*/ 425672 h 505301"/>
                  <a:gd name="connsiteX127" fmla="*/ 1676209 w 3497580"/>
                  <a:gd name="connsiteY127" fmla="*/ 425672 h 505301"/>
                  <a:gd name="connsiteX128" fmla="*/ 1676209 w 3497580"/>
                  <a:gd name="connsiteY128" fmla="*/ 431959 h 505301"/>
                  <a:gd name="connsiteX129" fmla="*/ 1756124 w 3497580"/>
                  <a:gd name="connsiteY129" fmla="*/ 431959 h 505301"/>
                  <a:gd name="connsiteX130" fmla="*/ 1756124 w 3497580"/>
                  <a:gd name="connsiteY130" fmla="*/ 438245 h 505301"/>
                  <a:gd name="connsiteX131" fmla="*/ 1918049 w 3497580"/>
                  <a:gd name="connsiteY131" fmla="*/ 438245 h 505301"/>
                  <a:gd name="connsiteX132" fmla="*/ 1918049 w 3497580"/>
                  <a:gd name="connsiteY132" fmla="*/ 444722 h 505301"/>
                  <a:gd name="connsiteX133" fmla="*/ 1934908 w 3497580"/>
                  <a:gd name="connsiteY133" fmla="*/ 444722 h 505301"/>
                  <a:gd name="connsiteX134" fmla="*/ 1934908 w 3497580"/>
                  <a:gd name="connsiteY134" fmla="*/ 451104 h 505301"/>
                  <a:gd name="connsiteX135" fmla="*/ 2052732 w 3497580"/>
                  <a:gd name="connsiteY135" fmla="*/ 451104 h 505301"/>
                  <a:gd name="connsiteX136" fmla="*/ 2052732 w 3497580"/>
                  <a:gd name="connsiteY136" fmla="*/ 457581 h 505301"/>
                  <a:gd name="connsiteX137" fmla="*/ 2145220 w 3497580"/>
                  <a:gd name="connsiteY137" fmla="*/ 457581 h 505301"/>
                  <a:gd name="connsiteX138" fmla="*/ 2145220 w 3497580"/>
                  <a:gd name="connsiteY138" fmla="*/ 463963 h 505301"/>
                  <a:gd name="connsiteX139" fmla="*/ 2164175 w 3497580"/>
                  <a:gd name="connsiteY139" fmla="*/ 463963 h 505301"/>
                  <a:gd name="connsiteX140" fmla="*/ 2164175 w 3497580"/>
                  <a:gd name="connsiteY140" fmla="*/ 470440 h 505301"/>
                  <a:gd name="connsiteX141" fmla="*/ 3017996 w 3497580"/>
                  <a:gd name="connsiteY141" fmla="*/ 470440 h 505301"/>
                  <a:gd name="connsiteX142" fmla="*/ 3017996 w 3497580"/>
                  <a:gd name="connsiteY142" fmla="*/ 505301 h 505301"/>
                  <a:gd name="connsiteX143" fmla="*/ 3497580 w 3497580"/>
                  <a:gd name="connsiteY143" fmla="*/ 505301 h 505301"/>
                  <a:gd name="connsiteX0" fmla="*/ 0 w 3497580"/>
                  <a:gd name="connsiteY0" fmla="*/ 0 h 505301"/>
                  <a:gd name="connsiteX1" fmla="*/ 6286 w 3497580"/>
                  <a:gd name="connsiteY1" fmla="*/ 18193 h 505301"/>
                  <a:gd name="connsiteX2" fmla="*/ 10477 w 3497580"/>
                  <a:gd name="connsiteY2" fmla="*/ 18193 h 505301"/>
                  <a:gd name="connsiteX3" fmla="*/ 10477 w 3497580"/>
                  <a:gd name="connsiteY3" fmla="*/ 24289 h 505301"/>
                  <a:gd name="connsiteX4" fmla="*/ 23145 w 3497580"/>
                  <a:gd name="connsiteY4" fmla="*/ 24289 h 505301"/>
                  <a:gd name="connsiteX5" fmla="*/ 23145 w 3497580"/>
                  <a:gd name="connsiteY5" fmla="*/ 30385 h 505301"/>
                  <a:gd name="connsiteX6" fmla="*/ 37814 w 3497580"/>
                  <a:gd name="connsiteY6" fmla="*/ 30385 h 505301"/>
                  <a:gd name="connsiteX7" fmla="*/ 37814 w 3497580"/>
                  <a:gd name="connsiteY7" fmla="*/ 36386 h 505301"/>
                  <a:gd name="connsiteX8" fmla="*/ 42100 w 3497580"/>
                  <a:gd name="connsiteY8" fmla="*/ 36386 h 505301"/>
                  <a:gd name="connsiteX9" fmla="*/ 42100 w 3497580"/>
                  <a:gd name="connsiteY9" fmla="*/ 42482 h 505301"/>
                  <a:gd name="connsiteX10" fmla="*/ 52577 w 3497580"/>
                  <a:gd name="connsiteY10" fmla="*/ 42482 h 505301"/>
                  <a:gd name="connsiteX11" fmla="*/ 52577 w 3497580"/>
                  <a:gd name="connsiteY11" fmla="*/ 48578 h 505301"/>
                  <a:gd name="connsiteX12" fmla="*/ 60960 w 3497580"/>
                  <a:gd name="connsiteY12" fmla="*/ 48578 h 505301"/>
                  <a:gd name="connsiteX13" fmla="*/ 60960 w 3497580"/>
                  <a:gd name="connsiteY13" fmla="*/ 54674 h 505301"/>
                  <a:gd name="connsiteX14" fmla="*/ 75723 w 3497580"/>
                  <a:gd name="connsiteY14" fmla="*/ 54674 h 505301"/>
                  <a:gd name="connsiteX15" fmla="*/ 75723 w 3497580"/>
                  <a:gd name="connsiteY15" fmla="*/ 60674 h 505301"/>
                  <a:gd name="connsiteX16" fmla="*/ 79914 w 3497580"/>
                  <a:gd name="connsiteY16" fmla="*/ 60674 h 505301"/>
                  <a:gd name="connsiteX17" fmla="*/ 79914 w 3497580"/>
                  <a:gd name="connsiteY17" fmla="*/ 66770 h 505301"/>
                  <a:gd name="connsiteX18" fmla="*/ 84105 w 3497580"/>
                  <a:gd name="connsiteY18" fmla="*/ 66770 h 505301"/>
                  <a:gd name="connsiteX19" fmla="*/ 84105 w 3497580"/>
                  <a:gd name="connsiteY19" fmla="*/ 72866 h 505301"/>
                  <a:gd name="connsiteX20" fmla="*/ 96774 w 3497580"/>
                  <a:gd name="connsiteY20" fmla="*/ 72866 h 505301"/>
                  <a:gd name="connsiteX21" fmla="*/ 96774 w 3497580"/>
                  <a:gd name="connsiteY21" fmla="*/ 78867 h 505301"/>
                  <a:gd name="connsiteX22" fmla="*/ 126206 w 3497580"/>
                  <a:gd name="connsiteY22" fmla="*/ 78867 h 505301"/>
                  <a:gd name="connsiteX23" fmla="*/ 126206 w 3497580"/>
                  <a:gd name="connsiteY23" fmla="*/ 84963 h 505301"/>
                  <a:gd name="connsiteX24" fmla="*/ 134588 w 3497580"/>
                  <a:gd name="connsiteY24" fmla="*/ 84963 h 505301"/>
                  <a:gd name="connsiteX25" fmla="*/ 134588 w 3497580"/>
                  <a:gd name="connsiteY25" fmla="*/ 91059 h 505301"/>
                  <a:gd name="connsiteX26" fmla="*/ 136683 w 3497580"/>
                  <a:gd name="connsiteY26" fmla="*/ 91059 h 505301"/>
                  <a:gd name="connsiteX27" fmla="*/ 136683 w 3497580"/>
                  <a:gd name="connsiteY27" fmla="*/ 97060 h 505301"/>
                  <a:gd name="connsiteX28" fmla="*/ 151447 w 3497580"/>
                  <a:gd name="connsiteY28" fmla="*/ 97060 h 505301"/>
                  <a:gd name="connsiteX29" fmla="*/ 151447 w 3497580"/>
                  <a:gd name="connsiteY29" fmla="*/ 109252 h 505301"/>
                  <a:gd name="connsiteX30" fmla="*/ 153543 w 3497580"/>
                  <a:gd name="connsiteY30" fmla="*/ 109252 h 505301"/>
                  <a:gd name="connsiteX31" fmla="*/ 153543 w 3497580"/>
                  <a:gd name="connsiteY31" fmla="*/ 115253 h 505301"/>
                  <a:gd name="connsiteX32" fmla="*/ 159829 w 3497580"/>
                  <a:gd name="connsiteY32" fmla="*/ 115253 h 505301"/>
                  <a:gd name="connsiteX33" fmla="*/ 159829 w 3497580"/>
                  <a:gd name="connsiteY33" fmla="*/ 121349 h 505301"/>
                  <a:gd name="connsiteX34" fmla="*/ 164020 w 3497580"/>
                  <a:gd name="connsiteY34" fmla="*/ 121349 h 505301"/>
                  <a:gd name="connsiteX35" fmla="*/ 164020 w 3497580"/>
                  <a:gd name="connsiteY35" fmla="*/ 127445 h 505301"/>
                  <a:gd name="connsiteX36" fmla="*/ 180879 w 3497580"/>
                  <a:gd name="connsiteY36" fmla="*/ 127445 h 505301"/>
                  <a:gd name="connsiteX37" fmla="*/ 180879 w 3497580"/>
                  <a:gd name="connsiteY37" fmla="*/ 139541 h 505301"/>
                  <a:gd name="connsiteX38" fmla="*/ 185070 w 3497580"/>
                  <a:gd name="connsiteY38" fmla="*/ 139541 h 505301"/>
                  <a:gd name="connsiteX39" fmla="*/ 185070 w 3497580"/>
                  <a:gd name="connsiteY39" fmla="*/ 145637 h 505301"/>
                  <a:gd name="connsiteX40" fmla="*/ 208216 w 3497580"/>
                  <a:gd name="connsiteY40" fmla="*/ 145637 h 505301"/>
                  <a:gd name="connsiteX41" fmla="*/ 208216 w 3497580"/>
                  <a:gd name="connsiteY41" fmla="*/ 151733 h 505301"/>
                  <a:gd name="connsiteX42" fmla="*/ 212407 w 3497580"/>
                  <a:gd name="connsiteY42" fmla="*/ 151733 h 505301"/>
                  <a:gd name="connsiteX43" fmla="*/ 212407 w 3497580"/>
                  <a:gd name="connsiteY43" fmla="*/ 157734 h 505301"/>
                  <a:gd name="connsiteX44" fmla="*/ 218694 w 3497580"/>
                  <a:gd name="connsiteY44" fmla="*/ 157734 h 505301"/>
                  <a:gd name="connsiteX45" fmla="*/ 218694 w 3497580"/>
                  <a:gd name="connsiteY45" fmla="*/ 169926 h 505301"/>
                  <a:gd name="connsiteX46" fmla="*/ 237648 w 3497580"/>
                  <a:gd name="connsiteY46" fmla="*/ 169926 h 505301"/>
                  <a:gd name="connsiteX47" fmla="*/ 237648 w 3497580"/>
                  <a:gd name="connsiteY47" fmla="*/ 175927 h 505301"/>
                  <a:gd name="connsiteX48" fmla="*/ 246030 w 3497580"/>
                  <a:gd name="connsiteY48" fmla="*/ 175927 h 505301"/>
                  <a:gd name="connsiteX49" fmla="*/ 246030 w 3497580"/>
                  <a:gd name="connsiteY49" fmla="*/ 182023 h 505301"/>
                  <a:gd name="connsiteX50" fmla="*/ 258699 w 3497580"/>
                  <a:gd name="connsiteY50" fmla="*/ 182023 h 505301"/>
                  <a:gd name="connsiteX51" fmla="*/ 258699 w 3497580"/>
                  <a:gd name="connsiteY51" fmla="*/ 188119 h 505301"/>
                  <a:gd name="connsiteX52" fmla="*/ 275558 w 3497580"/>
                  <a:gd name="connsiteY52" fmla="*/ 188119 h 505301"/>
                  <a:gd name="connsiteX53" fmla="*/ 275558 w 3497580"/>
                  <a:gd name="connsiteY53" fmla="*/ 194120 h 505301"/>
                  <a:gd name="connsiteX54" fmla="*/ 302895 w 3497580"/>
                  <a:gd name="connsiteY54" fmla="*/ 194120 h 505301"/>
                  <a:gd name="connsiteX55" fmla="*/ 302895 w 3497580"/>
                  <a:gd name="connsiteY55" fmla="*/ 200216 h 505301"/>
                  <a:gd name="connsiteX56" fmla="*/ 304990 w 3497580"/>
                  <a:gd name="connsiteY56" fmla="*/ 200216 h 505301"/>
                  <a:gd name="connsiteX57" fmla="*/ 304990 w 3497580"/>
                  <a:gd name="connsiteY57" fmla="*/ 206312 h 505301"/>
                  <a:gd name="connsiteX58" fmla="*/ 315467 w 3497580"/>
                  <a:gd name="connsiteY58" fmla="*/ 206312 h 505301"/>
                  <a:gd name="connsiteX59" fmla="*/ 315467 w 3497580"/>
                  <a:gd name="connsiteY59" fmla="*/ 212312 h 505301"/>
                  <a:gd name="connsiteX60" fmla="*/ 321754 w 3497580"/>
                  <a:gd name="connsiteY60" fmla="*/ 212312 h 505301"/>
                  <a:gd name="connsiteX61" fmla="*/ 321754 w 3497580"/>
                  <a:gd name="connsiteY61" fmla="*/ 224504 h 505301"/>
                  <a:gd name="connsiteX62" fmla="*/ 330231 w 3497580"/>
                  <a:gd name="connsiteY62" fmla="*/ 224504 h 505301"/>
                  <a:gd name="connsiteX63" fmla="*/ 330231 w 3497580"/>
                  <a:gd name="connsiteY63" fmla="*/ 230505 h 505301"/>
                  <a:gd name="connsiteX64" fmla="*/ 336518 w 3497580"/>
                  <a:gd name="connsiteY64" fmla="*/ 230505 h 505301"/>
                  <a:gd name="connsiteX65" fmla="*/ 336518 w 3497580"/>
                  <a:gd name="connsiteY65" fmla="*/ 242697 h 505301"/>
                  <a:gd name="connsiteX66" fmla="*/ 338613 w 3497580"/>
                  <a:gd name="connsiteY66" fmla="*/ 242697 h 505301"/>
                  <a:gd name="connsiteX67" fmla="*/ 338613 w 3497580"/>
                  <a:gd name="connsiteY67" fmla="*/ 248793 h 505301"/>
                  <a:gd name="connsiteX68" fmla="*/ 351186 w 3497580"/>
                  <a:gd name="connsiteY68" fmla="*/ 248793 h 505301"/>
                  <a:gd name="connsiteX69" fmla="*/ 351186 w 3497580"/>
                  <a:gd name="connsiteY69" fmla="*/ 254794 h 505301"/>
                  <a:gd name="connsiteX70" fmla="*/ 374332 w 3497580"/>
                  <a:gd name="connsiteY70" fmla="*/ 254794 h 505301"/>
                  <a:gd name="connsiteX71" fmla="*/ 374332 w 3497580"/>
                  <a:gd name="connsiteY71" fmla="*/ 260890 h 505301"/>
                  <a:gd name="connsiteX72" fmla="*/ 380714 w 3497580"/>
                  <a:gd name="connsiteY72" fmla="*/ 260890 h 505301"/>
                  <a:gd name="connsiteX73" fmla="*/ 380714 w 3497580"/>
                  <a:gd name="connsiteY73" fmla="*/ 266986 h 505301"/>
                  <a:gd name="connsiteX74" fmla="*/ 389096 w 3497580"/>
                  <a:gd name="connsiteY74" fmla="*/ 266986 h 505301"/>
                  <a:gd name="connsiteX75" fmla="*/ 389096 w 3497580"/>
                  <a:gd name="connsiteY75" fmla="*/ 272987 h 505301"/>
                  <a:gd name="connsiteX76" fmla="*/ 397478 w 3497580"/>
                  <a:gd name="connsiteY76" fmla="*/ 272987 h 505301"/>
                  <a:gd name="connsiteX77" fmla="*/ 397478 w 3497580"/>
                  <a:gd name="connsiteY77" fmla="*/ 279083 h 505301"/>
                  <a:gd name="connsiteX78" fmla="*/ 401669 w 3497580"/>
                  <a:gd name="connsiteY78" fmla="*/ 279083 h 505301"/>
                  <a:gd name="connsiteX79" fmla="*/ 401669 w 3497580"/>
                  <a:gd name="connsiteY79" fmla="*/ 285179 h 505301"/>
                  <a:gd name="connsiteX80" fmla="*/ 475297 w 3497580"/>
                  <a:gd name="connsiteY80" fmla="*/ 285179 h 505301"/>
                  <a:gd name="connsiteX81" fmla="*/ 475297 w 3497580"/>
                  <a:gd name="connsiteY81" fmla="*/ 291179 h 505301"/>
                  <a:gd name="connsiteX82" fmla="*/ 496347 w 3497580"/>
                  <a:gd name="connsiteY82" fmla="*/ 291179 h 505301"/>
                  <a:gd name="connsiteX83" fmla="*/ 496347 w 3497580"/>
                  <a:gd name="connsiteY83" fmla="*/ 297275 h 505301"/>
                  <a:gd name="connsiteX84" fmla="*/ 502634 w 3497580"/>
                  <a:gd name="connsiteY84" fmla="*/ 297275 h 505301"/>
                  <a:gd name="connsiteX85" fmla="*/ 502634 w 3497580"/>
                  <a:gd name="connsiteY85" fmla="*/ 303371 h 505301"/>
                  <a:gd name="connsiteX86" fmla="*/ 544734 w 3497580"/>
                  <a:gd name="connsiteY86" fmla="*/ 303371 h 505301"/>
                  <a:gd name="connsiteX87" fmla="*/ 544734 w 3497580"/>
                  <a:gd name="connsiteY87" fmla="*/ 309372 h 505301"/>
                  <a:gd name="connsiteX88" fmla="*/ 559403 w 3497580"/>
                  <a:gd name="connsiteY88" fmla="*/ 309372 h 505301"/>
                  <a:gd name="connsiteX89" fmla="*/ 559403 w 3497580"/>
                  <a:gd name="connsiteY89" fmla="*/ 315468 h 505301"/>
                  <a:gd name="connsiteX90" fmla="*/ 588930 w 3497580"/>
                  <a:gd name="connsiteY90" fmla="*/ 315468 h 505301"/>
                  <a:gd name="connsiteX91" fmla="*/ 588930 w 3497580"/>
                  <a:gd name="connsiteY91" fmla="*/ 321564 h 505301"/>
                  <a:gd name="connsiteX92" fmla="*/ 591026 w 3497580"/>
                  <a:gd name="connsiteY92" fmla="*/ 321564 h 505301"/>
                  <a:gd name="connsiteX93" fmla="*/ 591026 w 3497580"/>
                  <a:gd name="connsiteY93" fmla="*/ 327565 h 505301"/>
                  <a:gd name="connsiteX94" fmla="*/ 614076 w 3497580"/>
                  <a:gd name="connsiteY94" fmla="*/ 327565 h 505301"/>
                  <a:gd name="connsiteX95" fmla="*/ 614076 w 3497580"/>
                  <a:gd name="connsiteY95" fmla="*/ 333661 h 505301"/>
                  <a:gd name="connsiteX96" fmla="*/ 626745 w 3497580"/>
                  <a:gd name="connsiteY96" fmla="*/ 333661 h 505301"/>
                  <a:gd name="connsiteX97" fmla="*/ 626745 w 3497580"/>
                  <a:gd name="connsiteY97" fmla="*/ 339757 h 505301"/>
                  <a:gd name="connsiteX98" fmla="*/ 662463 w 3497580"/>
                  <a:gd name="connsiteY98" fmla="*/ 339757 h 505301"/>
                  <a:gd name="connsiteX99" fmla="*/ 662463 w 3497580"/>
                  <a:gd name="connsiteY99" fmla="*/ 345853 h 505301"/>
                  <a:gd name="connsiteX100" fmla="*/ 778192 w 3497580"/>
                  <a:gd name="connsiteY100" fmla="*/ 345853 h 505301"/>
                  <a:gd name="connsiteX101" fmla="*/ 778192 w 3497580"/>
                  <a:gd name="connsiteY101" fmla="*/ 351854 h 505301"/>
                  <a:gd name="connsiteX102" fmla="*/ 816006 w 3497580"/>
                  <a:gd name="connsiteY102" fmla="*/ 351854 h 505301"/>
                  <a:gd name="connsiteX103" fmla="*/ 816006 w 3497580"/>
                  <a:gd name="connsiteY103" fmla="*/ 358045 h 505301"/>
                  <a:gd name="connsiteX104" fmla="*/ 868584 w 3497580"/>
                  <a:gd name="connsiteY104" fmla="*/ 358045 h 505301"/>
                  <a:gd name="connsiteX105" fmla="*/ 868584 w 3497580"/>
                  <a:gd name="connsiteY105" fmla="*/ 364141 h 505301"/>
                  <a:gd name="connsiteX106" fmla="*/ 887539 w 3497580"/>
                  <a:gd name="connsiteY106" fmla="*/ 364141 h 505301"/>
                  <a:gd name="connsiteX107" fmla="*/ 887539 w 3497580"/>
                  <a:gd name="connsiteY107" fmla="*/ 370237 h 505301"/>
                  <a:gd name="connsiteX108" fmla="*/ 898017 w 3497580"/>
                  <a:gd name="connsiteY108" fmla="*/ 370237 h 505301"/>
                  <a:gd name="connsiteX109" fmla="*/ 898017 w 3497580"/>
                  <a:gd name="connsiteY109" fmla="*/ 376428 h 505301"/>
                  <a:gd name="connsiteX110" fmla="*/ 931735 w 3497580"/>
                  <a:gd name="connsiteY110" fmla="*/ 376428 h 505301"/>
                  <a:gd name="connsiteX111" fmla="*/ 931735 w 3497580"/>
                  <a:gd name="connsiteY111" fmla="*/ 382524 h 505301"/>
                  <a:gd name="connsiteX112" fmla="*/ 938022 w 3497580"/>
                  <a:gd name="connsiteY112" fmla="*/ 382524 h 505301"/>
                  <a:gd name="connsiteX113" fmla="*/ 938022 w 3497580"/>
                  <a:gd name="connsiteY113" fmla="*/ 388620 h 505301"/>
                  <a:gd name="connsiteX114" fmla="*/ 952690 w 3497580"/>
                  <a:gd name="connsiteY114" fmla="*/ 388620 h 505301"/>
                  <a:gd name="connsiteX115" fmla="*/ 952690 w 3497580"/>
                  <a:gd name="connsiteY115" fmla="*/ 394716 h 505301"/>
                  <a:gd name="connsiteX116" fmla="*/ 965358 w 3497580"/>
                  <a:gd name="connsiteY116" fmla="*/ 394716 h 505301"/>
                  <a:gd name="connsiteX117" fmla="*/ 965358 w 3497580"/>
                  <a:gd name="connsiteY117" fmla="*/ 400907 h 505301"/>
                  <a:gd name="connsiteX118" fmla="*/ 990600 w 3497580"/>
                  <a:gd name="connsiteY118" fmla="*/ 400907 h 505301"/>
                  <a:gd name="connsiteX119" fmla="*/ 990600 w 3497580"/>
                  <a:gd name="connsiteY119" fmla="*/ 407003 h 505301"/>
                  <a:gd name="connsiteX120" fmla="*/ 1219866 w 3497580"/>
                  <a:gd name="connsiteY120" fmla="*/ 407003 h 505301"/>
                  <a:gd name="connsiteX121" fmla="*/ 1219866 w 3497580"/>
                  <a:gd name="connsiteY121" fmla="*/ 413195 h 505301"/>
                  <a:gd name="connsiteX122" fmla="*/ 1333404 w 3497580"/>
                  <a:gd name="connsiteY122" fmla="*/ 413195 h 505301"/>
                  <a:gd name="connsiteX123" fmla="*/ 1333404 w 3497580"/>
                  <a:gd name="connsiteY123" fmla="*/ 419386 h 505301"/>
                  <a:gd name="connsiteX124" fmla="*/ 1602581 w 3497580"/>
                  <a:gd name="connsiteY124" fmla="*/ 419386 h 505301"/>
                  <a:gd name="connsiteX125" fmla="*/ 1602581 w 3497580"/>
                  <a:gd name="connsiteY125" fmla="*/ 425672 h 505301"/>
                  <a:gd name="connsiteX126" fmla="*/ 1676209 w 3497580"/>
                  <a:gd name="connsiteY126" fmla="*/ 425672 h 505301"/>
                  <a:gd name="connsiteX127" fmla="*/ 1676209 w 3497580"/>
                  <a:gd name="connsiteY127" fmla="*/ 431959 h 505301"/>
                  <a:gd name="connsiteX128" fmla="*/ 1756124 w 3497580"/>
                  <a:gd name="connsiteY128" fmla="*/ 431959 h 505301"/>
                  <a:gd name="connsiteX129" fmla="*/ 1756124 w 3497580"/>
                  <a:gd name="connsiteY129" fmla="*/ 438245 h 505301"/>
                  <a:gd name="connsiteX130" fmla="*/ 1918049 w 3497580"/>
                  <a:gd name="connsiteY130" fmla="*/ 438245 h 505301"/>
                  <a:gd name="connsiteX131" fmla="*/ 1918049 w 3497580"/>
                  <a:gd name="connsiteY131" fmla="*/ 444722 h 505301"/>
                  <a:gd name="connsiteX132" fmla="*/ 1934908 w 3497580"/>
                  <a:gd name="connsiteY132" fmla="*/ 444722 h 505301"/>
                  <a:gd name="connsiteX133" fmla="*/ 1934908 w 3497580"/>
                  <a:gd name="connsiteY133" fmla="*/ 451104 h 505301"/>
                  <a:gd name="connsiteX134" fmla="*/ 2052732 w 3497580"/>
                  <a:gd name="connsiteY134" fmla="*/ 451104 h 505301"/>
                  <a:gd name="connsiteX135" fmla="*/ 2052732 w 3497580"/>
                  <a:gd name="connsiteY135" fmla="*/ 457581 h 505301"/>
                  <a:gd name="connsiteX136" fmla="*/ 2145220 w 3497580"/>
                  <a:gd name="connsiteY136" fmla="*/ 457581 h 505301"/>
                  <a:gd name="connsiteX137" fmla="*/ 2145220 w 3497580"/>
                  <a:gd name="connsiteY137" fmla="*/ 463963 h 505301"/>
                  <a:gd name="connsiteX138" fmla="*/ 2164175 w 3497580"/>
                  <a:gd name="connsiteY138" fmla="*/ 463963 h 505301"/>
                  <a:gd name="connsiteX139" fmla="*/ 2164175 w 3497580"/>
                  <a:gd name="connsiteY139" fmla="*/ 470440 h 505301"/>
                  <a:gd name="connsiteX140" fmla="*/ 3017996 w 3497580"/>
                  <a:gd name="connsiteY140" fmla="*/ 470440 h 505301"/>
                  <a:gd name="connsiteX141" fmla="*/ 3017996 w 3497580"/>
                  <a:gd name="connsiteY141" fmla="*/ 505301 h 505301"/>
                  <a:gd name="connsiteX142" fmla="*/ 3497580 w 3497580"/>
                  <a:gd name="connsiteY142" fmla="*/ 505301 h 505301"/>
                  <a:gd name="connsiteX0" fmla="*/ 0 w 3491294"/>
                  <a:gd name="connsiteY0" fmla="*/ 0 h 487108"/>
                  <a:gd name="connsiteX1" fmla="*/ 4191 w 3491294"/>
                  <a:gd name="connsiteY1" fmla="*/ 0 h 487108"/>
                  <a:gd name="connsiteX2" fmla="*/ 4191 w 3491294"/>
                  <a:gd name="connsiteY2" fmla="*/ 6096 h 487108"/>
                  <a:gd name="connsiteX3" fmla="*/ 16859 w 3491294"/>
                  <a:gd name="connsiteY3" fmla="*/ 6096 h 487108"/>
                  <a:gd name="connsiteX4" fmla="*/ 16859 w 3491294"/>
                  <a:gd name="connsiteY4" fmla="*/ 12192 h 487108"/>
                  <a:gd name="connsiteX5" fmla="*/ 31528 w 3491294"/>
                  <a:gd name="connsiteY5" fmla="*/ 12192 h 487108"/>
                  <a:gd name="connsiteX6" fmla="*/ 31528 w 3491294"/>
                  <a:gd name="connsiteY6" fmla="*/ 18193 h 487108"/>
                  <a:gd name="connsiteX7" fmla="*/ 35814 w 3491294"/>
                  <a:gd name="connsiteY7" fmla="*/ 18193 h 487108"/>
                  <a:gd name="connsiteX8" fmla="*/ 35814 w 3491294"/>
                  <a:gd name="connsiteY8" fmla="*/ 24289 h 487108"/>
                  <a:gd name="connsiteX9" fmla="*/ 46291 w 3491294"/>
                  <a:gd name="connsiteY9" fmla="*/ 24289 h 487108"/>
                  <a:gd name="connsiteX10" fmla="*/ 46291 w 3491294"/>
                  <a:gd name="connsiteY10" fmla="*/ 30385 h 487108"/>
                  <a:gd name="connsiteX11" fmla="*/ 54674 w 3491294"/>
                  <a:gd name="connsiteY11" fmla="*/ 30385 h 487108"/>
                  <a:gd name="connsiteX12" fmla="*/ 54674 w 3491294"/>
                  <a:gd name="connsiteY12" fmla="*/ 36481 h 487108"/>
                  <a:gd name="connsiteX13" fmla="*/ 69437 w 3491294"/>
                  <a:gd name="connsiteY13" fmla="*/ 36481 h 487108"/>
                  <a:gd name="connsiteX14" fmla="*/ 69437 w 3491294"/>
                  <a:gd name="connsiteY14" fmla="*/ 42481 h 487108"/>
                  <a:gd name="connsiteX15" fmla="*/ 73628 w 3491294"/>
                  <a:gd name="connsiteY15" fmla="*/ 42481 h 487108"/>
                  <a:gd name="connsiteX16" fmla="*/ 73628 w 3491294"/>
                  <a:gd name="connsiteY16" fmla="*/ 48577 h 487108"/>
                  <a:gd name="connsiteX17" fmla="*/ 77819 w 3491294"/>
                  <a:gd name="connsiteY17" fmla="*/ 48577 h 487108"/>
                  <a:gd name="connsiteX18" fmla="*/ 77819 w 3491294"/>
                  <a:gd name="connsiteY18" fmla="*/ 54673 h 487108"/>
                  <a:gd name="connsiteX19" fmla="*/ 90488 w 3491294"/>
                  <a:gd name="connsiteY19" fmla="*/ 54673 h 487108"/>
                  <a:gd name="connsiteX20" fmla="*/ 90488 w 3491294"/>
                  <a:gd name="connsiteY20" fmla="*/ 60674 h 487108"/>
                  <a:gd name="connsiteX21" fmla="*/ 119920 w 3491294"/>
                  <a:gd name="connsiteY21" fmla="*/ 60674 h 487108"/>
                  <a:gd name="connsiteX22" fmla="*/ 119920 w 3491294"/>
                  <a:gd name="connsiteY22" fmla="*/ 66770 h 487108"/>
                  <a:gd name="connsiteX23" fmla="*/ 128302 w 3491294"/>
                  <a:gd name="connsiteY23" fmla="*/ 66770 h 487108"/>
                  <a:gd name="connsiteX24" fmla="*/ 128302 w 3491294"/>
                  <a:gd name="connsiteY24" fmla="*/ 72866 h 487108"/>
                  <a:gd name="connsiteX25" fmla="*/ 130397 w 3491294"/>
                  <a:gd name="connsiteY25" fmla="*/ 72866 h 487108"/>
                  <a:gd name="connsiteX26" fmla="*/ 130397 w 3491294"/>
                  <a:gd name="connsiteY26" fmla="*/ 78867 h 487108"/>
                  <a:gd name="connsiteX27" fmla="*/ 145161 w 3491294"/>
                  <a:gd name="connsiteY27" fmla="*/ 78867 h 487108"/>
                  <a:gd name="connsiteX28" fmla="*/ 145161 w 3491294"/>
                  <a:gd name="connsiteY28" fmla="*/ 91059 h 487108"/>
                  <a:gd name="connsiteX29" fmla="*/ 147257 w 3491294"/>
                  <a:gd name="connsiteY29" fmla="*/ 91059 h 487108"/>
                  <a:gd name="connsiteX30" fmla="*/ 147257 w 3491294"/>
                  <a:gd name="connsiteY30" fmla="*/ 97060 h 487108"/>
                  <a:gd name="connsiteX31" fmla="*/ 153543 w 3491294"/>
                  <a:gd name="connsiteY31" fmla="*/ 97060 h 487108"/>
                  <a:gd name="connsiteX32" fmla="*/ 153543 w 3491294"/>
                  <a:gd name="connsiteY32" fmla="*/ 103156 h 487108"/>
                  <a:gd name="connsiteX33" fmla="*/ 157734 w 3491294"/>
                  <a:gd name="connsiteY33" fmla="*/ 103156 h 487108"/>
                  <a:gd name="connsiteX34" fmla="*/ 157734 w 3491294"/>
                  <a:gd name="connsiteY34" fmla="*/ 109252 h 487108"/>
                  <a:gd name="connsiteX35" fmla="*/ 174593 w 3491294"/>
                  <a:gd name="connsiteY35" fmla="*/ 109252 h 487108"/>
                  <a:gd name="connsiteX36" fmla="*/ 174593 w 3491294"/>
                  <a:gd name="connsiteY36" fmla="*/ 121348 h 487108"/>
                  <a:gd name="connsiteX37" fmla="*/ 178784 w 3491294"/>
                  <a:gd name="connsiteY37" fmla="*/ 121348 h 487108"/>
                  <a:gd name="connsiteX38" fmla="*/ 178784 w 3491294"/>
                  <a:gd name="connsiteY38" fmla="*/ 127444 h 487108"/>
                  <a:gd name="connsiteX39" fmla="*/ 201930 w 3491294"/>
                  <a:gd name="connsiteY39" fmla="*/ 127444 h 487108"/>
                  <a:gd name="connsiteX40" fmla="*/ 201930 w 3491294"/>
                  <a:gd name="connsiteY40" fmla="*/ 133540 h 487108"/>
                  <a:gd name="connsiteX41" fmla="*/ 206121 w 3491294"/>
                  <a:gd name="connsiteY41" fmla="*/ 133540 h 487108"/>
                  <a:gd name="connsiteX42" fmla="*/ 206121 w 3491294"/>
                  <a:gd name="connsiteY42" fmla="*/ 139541 h 487108"/>
                  <a:gd name="connsiteX43" fmla="*/ 212408 w 3491294"/>
                  <a:gd name="connsiteY43" fmla="*/ 139541 h 487108"/>
                  <a:gd name="connsiteX44" fmla="*/ 212408 w 3491294"/>
                  <a:gd name="connsiteY44" fmla="*/ 151733 h 487108"/>
                  <a:gd name="connsiteX45" fmla="*/ 231362 w 3491294"/>
                  <a:gd name="connsiteY45" fmla="*/ 151733 h 487108"/>
                  <a:gd name="connsiteX46" fmla="*/ 231362 w 3491294"/>
                  <a:gd name="connsiteY46" fmla="*/ 157734 h 487108"/>
                  <a:gd name="connsiteX47" fmla="*/ 239744 w 3491294"/>
                  <a:gd name="connsiteY47" fmla="*/ 157734 h 487108"/>
                  <a:gd name="connsiteX48" fmla="*/ 239744 w 3491294"/>
                  <a:gd name="connsiteY48" fmla="*/ 163830 h 487108"/>
                  <a:gd name="connsiteX49" fmla="*/ 252413 w 3491294"/>
                  <a:gd name="connsiteY49" fmla="*/ 163830 h 487108"/>
                  <a:gd name="connsiteX50" fmla="*/ 252413 w 3491294"/>
                  <a:gd name="connsiteY50" fmla="*/ 169926 h 487108"/>
                  <a:gd name="connsiteX51" fmla="*/ 269272 w 3491294"/>
                  <a:gd name="connsiteY51" fmla="*/ 169926 h 487108"/>
                  <a:gd name="connsiteX52" fmla="*/ 269272 w 3491294"/>
                  <a:gd name="connsiteY52" fmla="*/ 175927 h 487108"/>
                  <a:gd name="connsiteX53" fmla="*/ 296609 w 3491294"/>
                  <a:gd name="connsiteY53" fmla="*/ 175927 h 487108"/>
                  <a:gd name="connsiteX54" fmla="*/ 296609 w 3491294"/>
                  <a:gd name="connsiteY54" fmla="*/ 182023 h 487108"/>
                  <a:gd name="connsiteX55" fmla="*/ 298704 w 3491294"/>
                  <a:gd name="connsiteY55" fmla="*/ 182023 h 487108"/>
                  <a:gd name="connsiteX56" fmla="*/ 298704 w 3491294"/>
                  <a:gd name="connsiteY56" fmla="*/ 188119 h 487108"/>
                  <a:gd name="connsiteX57" fmla="*/ 309181 w 3491294"/>
                  <a:gd name="connsiteY57" fmla="*/ 188119 h 487108"/>
                  <a:gd name="connsiteX58" fmla="*/ 309181 w 3491294"/>
                  <a:gd name="connsiteY58" fmla="*/ 194119 h 487108"/>
                  <a:gd name="connsiteX59" fmla="*/ 315468 w 3491294"/>
                  <a:gd name="connsiteY59" fmla="*/ 194119 h 487108"/>
                  <a:gd name="connsiteX60" fmla="*/ 315468 w 3491294"/>
                  <a:gd name="connsiteY60" fmla="*/ 206311 h 487108"/>
                  <a:gd name="connsiteX61" fmla="*/ 323945 w 3491294"/>
                  <a:gd name="connsiteY61" fmla="*/ 206311 h 487108"/>
                  <a:gd name="connsiteX62" fmla="*/ 323945 w 3491294"/>
                  <a:gd name="connsiteY62" fmla="*/ 212312 h 487108"/>
                  <a:gd name="connsiteX63" fmla="*/ 330232 w 3491294"/>
                  <a:gd name="connsiteY63" fmla="*/ 212312 h 487108"/>
                  <a:gd name="connsiteX64" fmla="*/ 330232 w 3491294"/>
                  <a:gd name="connsiteY64" fmla="*/ 224504 h 487108"/>
                  <a:gd name="connsiteX65" fmla="*/ 332327 w 3491294"/>
                  <a:gd name="connsiteY65" fmla="*/ 224504 h 487108"/>
                  <a:gd name="connsiteX66" fmla="*/ 332327 w 3491294"/>
                  <a:gd name="connsiteY66" fmla="*/ 230600 h 487108"/>
                  <a:gd name="connsiteX67" fmla="*/ 344900 w 3491294"/>
                  <a:gd name="connsiteY67" fmla="*/ 230600 h 487108"/>
                  <a:gd name="connsiteX68" fmla="*/ 344900 w 3491294"/>
                  <a:gd name="connsiteY68" fmla="*/ 236601 h 487108"/>
                  <a:gd name="connsiteX69" fmla="*/ 368046 w 3491294"/>
                  <a:gd name="connsiteY69" fmla="*/ 236601 h 487108"/>
                  <a:gd name="connsiteX70" fmla="*/ 368046 w 3491294"/>
                  <a:gd name="connsiteY70" fmla="*/ 242697 h 487108"/>
                  <a:gd name="connsiteX71" fmla="*/ 374428 w 3491294"/>
                  <a:gd name="connsiteY71" fmla="*/ 242697 h 487108"/>
                  <a:gd name="connsiteX72" fmla="*/ 374428 w 3491294"/>
                  <a:gd name="connsiteY72" fmla="*/ 248793 h 487108"/>
                  <a:gd name="connsiteX73" fmla="*/ 382810 w 3491294"/>
                  <a:gd name="connsiteY73" fmla="*/ 248793 h 487108"/>
                  <a:gd name="connsiteX74" fmla="*/ 382810 w 3491294"/>
                  <a:gd name="connsiteY74" fmla="*/ 254794 h 487108"/>
                  <a:gd name="connsiteX75" fmla="*/ 391192 w 3491294"/>
                  <a:gd name="connsiteY75" fmla="*/ 254794 h 487108"/>
                  <a:gd name="connsiteX76" fmla="*/ 391192 w 3491294"/>
                  <a:gd name="connsiteY76" fmla="*/ 260890 h 487108"/>
                  <a:gd name="connsiteX77" fmla="*/ 395383 w 3491294"/>
                  <a:gd name="connsiteY77" fmla="*/ 260890 h 487108"/>
                  <a:gd name="connsiteX78" fmla="*/ 395383 w 3491294"/>
                  <a:gd name="connsiteY78" fmla="*/ 266986 h 487108"/>
                  <a:gd name="connsiteX79" fmla="*/ 469011 w 3491294"/>
                  <a:gd name="connsiteY79" fmla="*/ 266986 h 487108"/>
                  <a:gd name="connsiteX80" fmla="*/ 469011 w 3491294"/>
                  <a:gd name="connsiteY80" fmla="*/ 272986 h 487108"/>
                  <a:gd name="connsiteX81" fmla="*/ 490061 w 3491294"/>
                  <a:gd name="connsiteY81" fmla="*/ 272986 h 487108"/>
                  <a:gd name="connsiteX82" fmla="*/ 490061 w 3491294"/>
                  <a:gd name="connsiteY82" fmla="*/ 279082 h 487108"/>
                  <a:gd name="connsiteX83" fmla="*/ 496348 w 3491294"/>
                  <a:gd name="connsiteY83" fmla="*/ 279082 h 487108"/>
                  <a:gd name="connsiteX84" fmla="*/ 496348 w 3491294"/>
                  <a:gd name="connsiteY84" fmla="*/ 285178 h 487108"/>
                  <a:gd name="connsiteX85" fmla="*/ 538448 w 3491294"/>
                  <a:gd name="connsiteY85" fmla="*/ 285178 h 487108"/>
                  <a:gd name="connsiteX86" fmla="*/ 538448 w 3491294"/>
                  <a:gd name="connsiteY86" fmla="*/ 291179 h 487108"/>
                  <a:gd name="connsiteX87" fmla="*/ 553117 w 3491294"/>
                  <a:gd name="connsiteY87" fmla="*/ 291179 h 487108"/>
                  <a:gd name="connsiteX88" fmla="*/ 553117 w 3491294"/>
                  <a:gd name="connsiteY88" fmla="*/ 297275 h 487108"/>
                  <a:gd name="connsiteX89" fmla="*/ 582644 w 3491294"/>
                  <a:gd name="connsiteY89" fmla="*/ 297275 h 487108"/>
                  <a:gd name="connsiteX90" fmla="*/ 582644 w 3491294"/>
                  <a:gd name="connsiteY90" fmla="*/ 303371 h 487108"/>
                  <a:gd name="connsiteX91" fmla="*/ 584740 w 3491294"/>
                  <a:gd name="connsiteY91" fmla="*/ 303371 h 487108"/>
                  <a:gd name="connsiteX92" fmla="*/ 584740 w 3491294"/>
                  <a:gd name="connsiteY92" fmla="*/ 309372 h 487108"/>
                  <a:gd name="connsiteX93" fmla="*/ 607790 w 3491294"/>
                  <a:gd name="connsiteY93" fmla="*/ 309372 h 487108"/>
                  <a:gd name="connsiteX94" fmla="*/ 607790 w 3491294"/>
                  <a:gd name="connsiteY94" fmla="*/ 315468 h 487108"/>
                  <a:gd name="connsiteX95" fmla="*/ 620459 w 3491294"/>
                  <a:gd name="connsiteY95" fmla="*/ 315468 h 487108"/>
                  <a:gd name="connsiteX96" fmla="*/ 620459 w 3491294"/>
                  <a:gd name="connsiteY96" fmla="*/ 321564 h 487108"/>
                  <a:gd name="connsiteX97" fmla="*/ 656177 w 3491294"/>
                  <a:gd name="connsiteY97" fmla="*/ 321564 h 487108"/>
                  <a:gd name="connsiteX98" fmla="*/ 656177 w 3491294"/>
                  <a:gd name="connsiteY98" fmla="*/ 327660 h 487108"/>
                  <a:gd name="connsiteX99" fmla="*/ 771906 w 3491294"/>
                  <a:gd name="connsiteY99" fmla="*/ 327660 h 487108"/>
                  <a:gd name="connsiteX100" fmla="*/ 771906 w 3491294"/>
                  <a:gd name="connsiteY100" fmla="*/ 333661 h 487108"/>
                  <a:gd name="connsiteX101" fmla="*/ 809720 w 3491294"/>
                  <a:gd name="connsiteY101" fmla="*/ 333661 h 487108"/>
                  <a:gd name="connsiteX102" fmla="*/ 809720 w 3491294"/>
                  <a:gd name="connsiteY102" fmla="*/ 339852 h 487108"/>
                  <a:gd name="connsiteX103" fmla="*/ 862298 w 3491294"/>
                  <a:gd name="connsiteY103" fmla="*/ 339852 h 487108"/>
                  <a:gd name="connsiteX104" fmla="*/ 862298 w 3491294"/>
                  <a:gd name="connsiteY104" fmla="*/ 345948 h 487108"/>
                  <a:gd name="connsiteX105" fmla="*/ 881253 w 3491294"/>
                  <a:gd name="connsiteY105" fmla="*/ 345948 h 487108"/>
                  <a:gd name="connsiteX106" fmla="*/ 881253 w 3491294"/>
                  <a:gd name="connsiteY106" fmla="*/ 352044 h 487108"/>
                  <a:gd name="connsiteX107" fmla="*/ 891731 w 3491294"/>
                  <a:gd name="connsiteY107" fmla="*/ 352044 h 487108"/>
                  <a:gd name="connsiteX108" fmla="*/ 891731 w 3491294"/>
                  <a:gd name="connsiteY108" fmla="*/ 358235 h 487108"/>
                  <a:gd name="connsiteX109" fmla="*/ 925449 w 3491294"/>
                  <a:gd name="connsiteY109" fmla="*/ 358235 h 487108"/>
                  <a:gd name="connsiteX110" fmla="*/ 925449 w 3491294"/>
                  <a:gd name="connsiteY110" fmla="*/ 364331 h 487108"/>
                  <a:gd name="connsiteX111" fmla="*/ 931736 w 3491294"/>
                  <a:gd name="connsiteY111" fmla="*/ 364331 h 487108"/>
                  <a:gd name="connsiteX112" fmla="*/ 931736 w 3491294"/>
                  <a:gd name="connsiteY112" fmla="*/ 370427 h 487108"/>
                  <a:gd name="connsiteX113" fmla="*/ 946404 w 3491294"/>
                  <a:gd name="connsiteY113" fmla="*/ 370427 h 487108"/>
                  <a:gd name="connsiteX114" fmla="*/ 946404 w 3491294"/>
                  <a:gd name="connsiteY114" fmla="*/ 376523 h 487108"/>
                  <a:gd name="connsiteX115" fmla="*/ 959072 w 3491294"/>
                  <a:gd name="connsiteY115" fmla="*/ 376523 h 487108"/>
                  <a:gd name="connsiteX116" fmla="*/ 959072 w 3491294"/>
                  <a:gd name="connsiteY116" fmla="*/ 382714 h 487108"/>
                  <a:gd name="connsiteX117" fmla="*/ 984314 w 3491294"/>
                  <a:gd name="connsiteY117" fmla="*/ 382714 h 487108"/>
                  <a:gd name="connsiteX118" fmla="*/ 984314 w 3491294"/>
                  <a:gd name="connsiteY118" fmla="*/ 388810 h 487108"/>
                  <a:gd name="connsiteX119" fmla="*/ 1213580 w 3491294"/>
                  <a:gd name="connsiteY119" fmla="*/ 388810 h 487108"/>
                  <a:gd name="connsiteX120" fmla="*/ 1213580 w 3491294"/>
                  <a:gd name="connsiteY120" fmla="*/ 395002 h 487108"/>
                  <a:gd name="connsiteX121" fmla="*/ 1327118 w 3491294"/>
                  <a:gd name="connsiteY121" fmla="*/ 395002 h 487108"/>
                  <a:gd name="connsiteX122" fmla="*/ 1327118 w 3491294"/>
                  <a:gd name="connsiteY122" fmla="*/ 401193 h 487108"/>
                  <a:gd name="connsiteX123" fmla="*/ 1596295 w 3491294"/>
                  <a:gd name="connsiteY123" fmla="*/ 401193 h 487108"/>
                  <a:gd name="connsiteX124" fmla="*/ 1596295 w 3491294"/>
                  <a:gd name="connsiteY124" fmla="*/ 407479 h 487108"/>
                  <a:gd name="connsiteX125" fmla="*/ 1669923 w 3491294"/>
                  <a:gd name="connsiteY125" fmla="*/ 407479 h 487108"/>
                  <a:gd name="connsiteX126" fmla="*/ 1669923 w 3491294"/>
                  <a:gd name="connsiteY126" fmla="*/ 413766 h 487108"/>
                  <a:gd name="connsiteX127" fmla="*/ 1749838 w 3491294"/>
                  <a:gd name="connsiteY127" fmla="*/ 413766 h 487108"/>
                  <a:gd name="connsiteX128" fmla="*/ 1749838 w 3491294"/>
                  <a:gd name="connsiteY128" fmla="*/ 420052 h 487108"/>
                  <a:gd name="connsiteX129" fmla="*/ 1911763 w 3491294"/>
                  <a:gd name="connsiteY129" fmla="*/ 420052 h 487108"/>
                  <a:gd name="connsiteX130" fmla="*/ 1911763 w 3491294"/>
                  <a:gd name="connsiteY130" fmla="*/ 426529 h 487108"/>
                  <a:gd name="connsiteX131" fmla="*/ 1928622 w 3491294"/>
                  <a:gd name="connsiteY131" fmla="*/ 426529 h 487108"/>
                  <a:gd name="connsiteX132" fmla="*/ 1928622 w 3491294"/>
                  <a:gd name="connsiteY132" fmla="*/ 432911 h 487108"/>
                  <a:gd name="connsiteX133" fmla="*/ 2046446 w 3491294"/>
                  <a:gd name="connsiteY133" fmla="*/ 432911 h 487108"/>
                  <a:gd name="connsiteX134" fmla="*/ 2046446 w 3491294"/>
                  <a:gd name="connsiteY134" fmla="*/ 439388 h 487108"/>
                  <a:gd name="connsiteX135" fmla="*/ 2138934 w 3491294"/>
                  <a:gd name="connsiteY135" fmla="*/ 439388 h 487108"/>
                  <a:gd name="connsiteX136" fmla="*/ 2138934 w 3491294"/>
                  <a:gd name="connsiteY136" fmla="*/ 445770 h 487108"/>
                  <a:gd name="connsiteX137" fmla="*/ 2157889 w 3491294"/>
                  <a:gd name="connsiteY137" fmla="*/ 445770 h 487108"/>
                  <a:gd name="connsiteX138" fmla="*/ 2157889 w 3491294"/>
                  <a:gd name="connsiteY138" fmla="*/ 452247 h 487108"/>
                  <a:gd name="connsiteX139" fmla="*/ 3011710 w 3491294"/>
                  <a:gd name="connsiteY139" fmla="*/ 452247 h 487108"/>
                  <a:gd name="connsiteX140" fmla="*/ 3011710 w 3491294"/>
                  <a:gd name="connsiteY140" fmla="*/ 487108 h 487108"/>
                  <a:gd name="connsiteX141" fmla="*/ 3491294 w 3491294"/>
                  <a:gd name="connsiteY141" fmla="*/ 487108 h 487108"/>
                  <a:gd name="connsiteX0" fmla="*/ 0 w 3491294"/>
                  <a:gd name="connsiteY0" fmla="*/ 0 h 487108"/>
                  <a:gd name="connsiteX1" fmla="*/ 4191 w 3491294"/>
                  <a:gd name="connsiteY1" fmla="*/ 0 h 487108"/>
                  <a:gd name="connsiteX2" fmla="*/ 16859 w 3491294"/>
                  <a:gd name="connsiteY2" fmla="*/ 6096 h 487108"/>
                  <a:gd name="connsiteX3" fmla="*/ 16859 w 3491294"/>
                  <a:gd name="connsiteY3" fmla="*/ 12192 h 487108"/>
                  <a:gd name="connsiteX4" fmla="*/ 31528 w 3491294"/>
                  <a:gd name="connsiteY4" fmla="*/ 12192 h 487108"/>
                  <a:gd name="connsiteX5" fmla="*/ 31528 w 3491294"/>
                  <a:gd name="connsiteY5" fmla="*/ 18193 h 487108"/>
                  <a:gd name="connsiteX6" fmla="*/ 35814 w 3491294"/>
                  <a:gd name="connsiteY6" fmla="*/ 18193 h 487108"/>
                  <a:gd name="connsiteX7" fmla="*/ 35814 w 3491294"/>
                  <a:gd name="connsiteY7" fmla="*/ 24289 h 487108"/>
                  <a:gd name="connsiteX8" fmla="*/ 46291 w 3491294"/>
                  <a:gd name="connsiteY8" fmla="*/ 24289 h 487108"/>
                  <a:gd name="connsiteX9" fmla="*/ 46291 w 3491294"/>
                  <a:gd name="connsiteY9" fmla="*/ 30385 h 487108"/>
                  <a:gd name="connsiteX10" fmla="*/ 54674 w 3491294"/>
                  <a:gd name="connsiteY10" fmla="*/ 30385 h 487108"/>
                  <a:gd name="connsiteX11" fmla="*/ 54674 w 3491294"/>
                  <a:gd name="connsiteY11" fmla="*/ 36481 h 487108"/>
                  <a:gd name="connsiteX12" fmla="*/ 69437 w 3491294"/>
                  <a:gd name="connsiteY12" fmla="*/ 36481 h 487108"/>
                  <a:gd name="connsiteX13" fmla="*/ 69437 w 3491294"/>
                  <a:gd name="connsiteY13" fmla="*/ 42481 h 487108"/>
                  <a:gd name="connsiteX14" fmla="*/ 73628 w 3491294"/>
                  <a:gd name="connsiteY14" fmla="*/ 42481 h 487108"/>
                  <a:gd name="connsiteX15" fmla="*/ 73628 w 3491294"/>
                  <a:gd name="connsiteY15" fmla="*/ 48577 h 487108"/>
                  <a:gd name="connsiteX16" fmla="*/ 77819 w 3491294"/>
                  <a:gd name="connsiteY16" fmla="*/ 48577 h 487108"/>
                  <a:gd name="connsiteX17" fmla="*/ 77819 w 3491294"/>
                  <a:gd name="connsiteY17" fmla="*/ 54673 h 487108"/>
                  <a:gd name="connsiteX18" fmla="*/ 90488 w 3491294"/>
                  <a:gd name="connsiteY18" fmla="*/ 54673 h 487108"/>
                  <a:gd name="connsiteX19" fmla="*/ 90488 w 3491294"/>
                  <a:gd name="connsiteY19" fmla="*/ 60674 h 487108"/>
                  <a:gd name="connsiteX20" fmla="*/ 119920 w 3491294"/>
                  <a:gd name="connsiteY20" fmla="*/ 60674 h 487108"/>
                  <a:gd name="connsiteX21" fmla="*/ 119920 w 3491294"/>
                  <a:gd name="connsiteY21" fmla="*/ 66770 h 487108"/>
                  <a:gd name="connsiteX22" fmla="*/ 128302 w 3491294"/>
                  <a:gd name="connsiteY22" fmla="*/ 66770 h 487108"/>
                  <a:gd name="connsiteX23" fmla="*/ 128302 w 3491294"/>
                  <a:gd name="connsiteY23" fmla="*/ 72866 h 487108"/>
                  <a:gd name="connsiteX24" fmla="*/ 130397 w 3491294"/>
                  <a:gd name="connsiteY24" fmla="*/ 72866 h 487108"/>
                  <a:gd name="connsiteX25" fmla="*/ 130397 w 3491294"/>
                  <a:gd name="connsiteY25" fmla="*/ 78867 h 487108"/>
                  <a:gd name="connsiteX26" fmla="*/ 145161 w 3491294"/>
                  <a:gd name="connsiteY26" fmla="*/ 78867 h 487108"/>
                  <a:gd name="connsiteX27" fmla="*/ 145161 w 3491294"/>
                  <a:gd name="connsiteY27" fmla="*/ 91059 h 487108"/>
                  <a:gd name="connsiteX28" fmla="*/ 147257 w 3491294"/>
                  <a:gd name="connsiteY28" fmla="*/ 91059 h 487108"/>
                  <a:gd name="connsiteX29" fmla="*/ 147257 w 3491294"/>
                  <a:gd name="connsiteY29" fmla="*/ 97060 h 487108"/>
                  <a:gd name="connsiteX30" fmla="*/ 153543 w 3491294"/>
                  <a:gd name="connsiteY30" fmla="*/ 97060 h 487108"/>
                  <a:gd name="connsiteX31" fmla="*/ 153543 w 3491294"/>
                  <a:gd name="connsiteY31" fmla="*/ 103156 h 487108"/>
                  <a:gd name="connsiteX32" fmla="*/ 157734 w 3491294"/>
                  <a:gd name="connsiteY32" fmla="*/ 103156 h 487108"/>
                  <a:gd name="connsiteX33" fmla="*/ 157734 w 3491294"/>
                  <a:gd name="connsiteY33" fmla="*/ 109252 h 487108"/>
                  <a:gd name="connsiteX34" fmla="*/ 174593 w 3491294"/>
                  <a:gd name="connsiteY34" fmla="*/ 109252 h 487108"/>
                  <a:gd name="connsiteX35" fmla="*/ 174593 w 3491294"/>
                  <a:gd name="connsiteY35" fmla="*/ 121348 h 487108"/>
                  <a:gd name="connsiteX36" fmla="*/ 178784 w 3491294"/>
                  <a:gd name="connsiteY36" fmla="*/ 121348 h 487108"/>
                  <a:gd name="connsiteX37" fmla="*/ 178784 w 3491294"/>
                  <a:gd name="connsiteY37" fmla="*/ 127444 h 487108"/>
                  <a:gd name="connsiteX38" fmla="*/ 201930 w 3491294"/>
                  <a:gd name="connsiteY38" fmla="*/ 127444 h 487108"/>
                  <a:gd name="connsiteX39" fmla="*/ 201930 w 3491294"/>
                  <a:gd name="connsiteY39" fmla="*/ 133540 h 487108"/>
                  <a:gd name="connsiteX40" fmla="*/ 206121 w 3491294"/>
                  <a:gd name="connsiteY40" fmla="*/ 133540 h 487108"/>
                  <a:gd name="connsiteX41" fmla="*/ 206121 w 3491294"/>
                  <a:gd name="connsiteY41" fmla="*/ 139541 h 487108"/>
                  <a:gd name="connsiteX42" fmla="*/ 212408 w 3491294"/>
                  <a:gd name="connsiteY42" fmla="*/ 139541 h 487108"/>
                  <a:gd name="connsiteX43" fmla="*/ 212408 w 3491294"/>
                  <a:gd name="connsiteY43" fmla="*/ 151733 h 487108"/>
                  <a:gd name="connsiteX44" fmla="*/ 231362 w 3491294"/>
                  <a:gd name="connsiteY44" fmla="*/ 151733 h 487108"/>
                  <a:gd name="connsiteX45" fmla="*/ 231362 w 3491294"/>
                  <a:gd name="connsiteY45" fmla="*/ 157734 h 487108"/>
                  <a:gd name="connsiteX46" fmla="*/ 239744 w 3491294"/>
                  <a:gd name="connsiteY46" fmla="*/ 157734 h 487108"/>
                  <a:gd name="connsiteX47" fmla="*/ 239744 w 3491294"/>
                  <a:gd name="connsiteY47" fmla="*/ 163830 h 487108"/>
                  <a:gd name="connsiteX48" fmla="*/ 252413 w 3491294"/>
                  <a:gd name="connsiteY48" fmla="*/ 163830 h 487108"/>
                  <a:gd name="connsiteX49" fmla="*/ 252413 w 3491294"/>
                  <a:gd name="connsiteY49" fmla="*/ 169926 h 487108"/>
                  <a:gd name="connsiteX50" fmla="*/ 269272 w 3491294"/>
                  <a:gd name="connsiteY50" fmla="*/ 169926 h 487108"/>
                  <a:gd name="connsiteX51" fmla="*/ 269272 w 3491294"/>
                  <a:gd name="connsiteY51" fmla="*/ 175927 h 487108"/>
                  <a:gd name="connsiteX52" fmla="*/ 296609 w 3491294"/>
                  <a:gd name="connsiteY52" fmla="*/ 175927 h 487108"/>
                  <a:gd name="connsiteX53" fmla="*/ 296609 w 3491294"/>
                  <a:gd name="connsiteY53" fmla="*/ 182023 h 487108"/>
                  <a:gd name="connsiteX54" fmla="*/ 298704 w 3491294"/>
                  <a:gd name="connsiteY54" fmla="*/ 182023 h 487108"/>
                  <a:gd name="connsiteX55" fmla="*/ 298704 w 3491294"/>
                  <a:gd name="connsiteY55" fmla="*/ 188119 h 487108"/>
                  <a:gd name="connsiteX56" fmla="*/ 309181 w 3491294"/>
                  <a:gd name="connsiteY56" fmla="*/ 188119 h 487108"/>
                  <a:gd name="connsiteX57" fmla="*/ 309181 w 3491294"/>
                  <a:gd name="connsiteY57" fmla="*/ 194119 h 487108"/>
                  <a:gd name="connsiteX58" fmla="*/ 315468 w 3491294"/>
                  <a:gd name="connsiteY58" fmla="*/ 194119 h 487108"/>
                  <a:gd name="connsiteX59" fmla="*/ 315468 w 3491294"/>
                  <a:gd name="connsiteY59" fmla="*/ 206311 h 487108"/>
                  <a:gd name="connsiteX60" fmla="*/ 323945 w 3491294"/>
                  <a:gd name="connsiteY60" fmla="*/ 206311 h 487108"/>
                  <a:gd name="connsiteX61" fmla="*/ 323945 w 3491294"/>
                  <a:gd name="connsiteY61" fmla="*/ 212312 h 487108"/>
                  <a:gd name="connsiteX62" fmla="*/ 330232 w 3491294"/>
                  <a:gd name="connsiteY62" fmla="*/ 212312 h 487108"/>
                  <a:gd name="connsiteX63" fmla="*/ 330232 w 3491294"/>
                  <a:gd name="connsiteY63" fmla="*/ 224504 h 487108"/>
                  <a:gd name="connsiteX64" fmla="*/ 332327 w 3491294"/>
                  <a:gd name="connsiteY64" fmla="*/ 224504 h 487108"/>
                  <a:gd name="connsiteX65" fmla="*/ 332327 w 3491294"/>
                  <a:gd name="connsiteY65" fmla="*/ 230600 h 487108"/>
                  <a:gd name="connsiteX66" fmla="*/ 344900 w 3491294"/>
                  <a:gd name="connsiteY66" fmla="*/ 230600 h 487108"/>
                  <a:gd name="connsiteX67" fmla="*/ 344900 w 3491294"/>
                  <a:gd name="connsiteY67" fmla="*/ 236601 h 487108"/>
                  <a:gd name="connsiteX68" fmla="*/ 368046 w 3491294"/>
                  <a:gd name="connsiteY68" fmla="*/ 236601 h 487108"/>
                  <a:gd name="connsiteX69" fmla="*/ 368046 w 3491294"/>
                  <a:gd name="connsiteY69" fmla="*/ 242697 h 487108"/>
                  <a:gd name="connsiteX70" fmla="*/ 374428 w 3491294"/>
                  <a:gd name="connsiteY70" fmla="*/ 242697 h 487108"/>
                  <a:gd name="connsiteX71" fmla="*/ 374428 w 3491294"/>
                  <a:gd name="connsiteY71" fmla="*/ 248793 h 487108"/>
                  <a:gd name="connsiteX72" fmla="*/ 382810 w 3491294"/>
                  <a:gd name="connsiteY72" fmla="*/ 248793 h 487108"/>
                  <a:gd name="connsiteX73" fmla="*/ 382810 w 3491294"/>
                  <a:gd name="connsiteY73" fmla="*/ 254794 h 487108"/>
                  <a:gd name="connsiteX74" fmla="*/ 391192 w 3491294"/>
                  <a:gd name="connsiteY74" fmla="*/ 254794 h 487108"/>
                  <a:gd name="connsiteX75" fmla="*/ 391192 w 3491294"/>
                  <a:gd name="connsiteY75" fmla="*/ 260890 h 487108"/>
                  <a:gd name="connsiteX76" fmla="*/ 395383 w 3491294"/>
                  <a:gd name="connsiteY76" fmla="*/ 260890 h 487108"/>
                  <a:gd name="connsiteX77" fmla="*/ 395383 w 3491294"/>
                  <a:gd name="connsiteY77" fmla="*/ 266986 h 487108"/>
                  <a:gd name="connsiteX78" fmla="*/ 469011 w 3491294"/>
                  <a:gd name="connsiteY78" fmla="*/ 266986 h 487108"/>
                  <a:gd name="connsiteX79" fmla="*/ 469011 w 3491294"/>
                  <a:gd name="connsiteY79" fmla="*/ 272986 h 487108"/>
                  <a:gd name="connsiteX80" fmla="*/ 490061 w 3491294"/>
                  <a:gd name="connsiteY80" fmla="*/ 272986 h 487108"/>
                  <a:gd name="connsiteX81" fmla="*/ 490061 w 3491294"/>
                  <a:gd name="connsiteY81" fmla="*/ 279082 h 487108"/>
                  <a:gd name="connsiteX82" fmla="*/ 496348 w 3491294"/>
                  <a:gd name="connsiteY82" fmla="*/ 279082 h 487108"/>
                  <a:gd name="connsiteX83" fmla="*/ 496348 w 3491294"/>
                  <a:gd name="connsiteY83" fmla="*/ 285178 h 487108"/>
                  <a:gd name="connsiteX84" fmla="*/ 538448 w 3491294"/>
                  <a:gd name="connsiteY84" fmla="*/ 285178 h 487108"/>
                  <a:gd name="connsiteX85" fmla="*/ 538448 w 3491294"/>
                  <a:gd name="connsiteY85" fmla="*/ 291179 h 487108"/>
                  <a:gd name="connsiteX86" fmla="*/ 553117 w 3491294"/>
                  <a:gd name="connsiteY86" fmla="*/ 291179 h 487108"/>
                  <a:gd name="connsiteX87" fmla="*/ 553117 w 3491294"/>
                  <a:gd name="connsiteY87" fmla="*/ 297275 h 487108"/>
                  <a:gd name="connsiteX88" fmla="*/ 582644 w 3491294"/>
                  <a:gd name="connsiteY88" fmla="*/ 297275 h 487108"/>
                  <a:gd name="connsiteX89" fmla="*/ 582644 w 3491294"/>
                  <a:gd name="connsiteY89" fmla="*/ 303371 h 487108"/>
                  <a:gd name="connsiteX90" fmla="*/ 584740 w 3491294"/>
                  <a:gd name="connsiteY90" fmla="*/ 303371 h 487108"/>
                  <a:gd name="connsiteX91" fmla="*/ 584740 w 3491294"/>
                  <a:gd name="connsiteY91" fmla="*/ 309372 h 487108"/>
                  <a:gd name="connsiteX92" fmla="*/ 607790 w 3491294"/>
                  <a:gd name="connsiteY92" fmla="*/ 309372 h 487108"/>
                  <a:gd name="connsiteX93" fmla="*/ 607790 w 3491294"/>
                  <a:gd name="connsiteY93" fmla="*/ 315468 h 487108"/>
                  <a:gd name="connsiteX94" fmla="*/ 620459 w 3491294"/>
                  <a:gd name="connsiteY94" fmla="*/ 315468 h 487108"/>
                  <a:gd name="connsiteX95" fmla="*/ 620459 w 3491294"/>
                  <a:gd name="connsiteY95" fmla="*/ 321564 h 487108"/>
                  <a:gd name="connsiteX96" fmla="*/ 656177 w 3491294"/>
                  <a:gd name="connsiteY96" fmla="*/ 321564 h 487108"/>
                  <a:gd name="connsiteX97" fmla="*/ 656177 w 3491294"/>
                  <a:gd name="connsiteY97" fmla="*/ 327660 h 487108"/>
                  <a:gd name="connsiteX98" fmla="*/ 771906 w 3491294"/>
                  <a:gd name="connsiteY98" fmla="*/ 327660 h 487108"/>
                  <a:gd name="connsiteX99" fmla="*/ 771906 w 3491294"/>
                  <a:gd name="connsiteY99" fmla="*/ 333661 h 487108"/>
                  <a:gd name="connsiteX100" fmla="*/ 809720 w 3491294"/>
                  <a:gd name="connsiteY100" fmla="*/ 333661 h 487108"/>
                  <a:gd name="connsiteX101" fmla="*/ 809720 w 3491294"/>
                  <a:gd name="connsiteY101" fmla="*/ 339852 h 487108"/>
                  <a:gd name="connsiteX102" fmla="*/ 862298 w 3491294"/>
                  <a:gd name="connsiteY102" fmla="*/ 339852 h 487108"/>
                  <a:gd name="connsiteX103" fmla="*/ 862298 w 3491294"/>
                  <a:gd name="connsiteY103" fmla="*/ 345948 h 487108"/>
                  <a:gd name="connsiteX104" fmla="*/ 881253 w 3491294"/>
                  <a:gd name="connsiteY104" fmla="*/ 345948 h 487108"/>
                  <a:gd name="connsiteX105" fmla="*/ 881253 w 3491294"/>
                  <a:gd name="connsiteY105" fmla="*/ 352044 h 487108"/>
                  <a:gd name="connsiteX106" fmla="*/ 891731 w 3491294"/>
                  <a:gd name="connsiteY106" fmla="*/ 352044 h 487108"/>
                  <a:gd name="connsiteX107" fmla="*/ 891731 w 3491294"/>
                  <a:gd name="connsiteY107" fmla="*/ 358235 h 487108"/>
                  <a:gd name="connsiteX108" fmla="*/ 925449 w 3491294"/>
                  <a:gd name="connsiteY108" fmla="*/ 358235 h 487108"/>
                  <a:gd name="connsiteX109" fmla="*/ 925449 w 3491294"/>
                  <a:gd name="connsiteY109" fmla="*/ 364331 h 487108"/>
                  <a:gd name="connsiteX110" fmla="*/ 931736 w 3491294"/>
                  <a:gd name="connsiteY110" fmla="*/ 364331 h 487108"/>
                  <a:gd name="connsiteX111" fmla="*/ 931736 w 3491294"/>
                  <a:gd name="connsiteY111" fmla="*/ 370427 h 487108"/>
                  <a:gd name="connsiteX112" fmla="*/ 946404 w 3491294"/>
                  <a:gd name="connsiteY112" fmla="*/ 370427 h 487108"/>
                  <a:gd name="connsiteX113" fmla="*/ 946404 w 3491294"/>
                  <a:gd name="connsiteY113" fmla="*/ 376523 h 487108"/>
                  <a:gd name="connsiteX114" fmla="*/ 959072 w 3491294"/>
                  <a:gd name="connsiteY114" fmla="*/ 376523 h 487108"/>
                  <a:gd name="connsiteX115" fmla="*/ 959072 w 3491294"/>
                  <a:gd name="connsiteY115" fmla="*/ 382714 h 487108"/>
                  <a:gd name="connsiteX116" fmla="*/ 984314 w 3491294"/>
                  <a:gd name="connsiteY116" fmla="*/ 382714 h 487108"/>
                  <a:gd name="connsiteX117" fmla="*/ 984314 w 3491294"/>
                  <a:gd name="connsiteY117" fmla="*/ 388810 h 487108"/>
                  <a:gd name="connsiteX118" fmla="*/ 1213580 w 3491294"/>
                  <a:gd name="connsiteY118" fmla="*/ 388810 h 487108"/>
                  <a:gd name="connsiteX119" fmla="*/ 1213580 w 3491294"/>
                  <a:gd name="connsiteY119" fmla="*/ 395002 h 487108"/>
                  <a:gd name="connsiteX120" fmla="*/ 1327118 w 3491294"/>
                  <a:gd name="connsiteY120" fmla="*/ 395002 h 487108"/>
                  <a:gd name="connsiteX121" fmla="*/ 1327118 w 3491294"/>
                  <a:gd name="connsiteY121" fmla="*/ 401193 h 487108"/>
                  <a:gd name="connsiteX122" fmla="*/ 1596295 w 3491294"/>
                  <a:gd name="connsiteY122" fmla="*/ 401193 h 487108"/>
                  <a:gd name="connsiteX123" fmla="*/ 1596295 w 3491294"/>
                  <a:gd name="connsiteY123" fmla="*/ 407479 h 487108"/>
                  <a:gd name="connsiteX124" fmla="*/ 1669923 w 3491294"/>
                  <a:gd name="connsiteY124" fmla="*/ 407479 h 487108"/>
                  <a:gd name="connsiteX125" fmla="*/ 1669923 w 3491294"/>
                  <a:gd name="connsiteY125" fmla="*/ 413766 h 487108"/>
                  <a:gd name="connsiteX126" fmla="*/ 1749838 w 3491294"/>
                  <a:gd name="connsiteY126" fmla="*/ 413766 h 487108"/>
                  <a:gd name="connsiteX127" fmla="*/ 1749838 w 3491294"/>
                  <a:gd name="connsiteY127" fmla="*/ 420052 h 487108"/>
                  <a:gd name="connsiteX128" fmla="*/ 1911763 w 3491294"/>
                  <a:gd name="connsiteY128" fmla="*/ 420052 h 487108"/>
                  <a:gd name="connsiteX129" fmla="*/ 1911763 w 3491294"/>
                  <a:gd name="connsiteY129" fmla="*/ 426529 h 487108"/>
                  <a:gd name="connsiteX130" fmla="*/ 1928622 w 3491294"/>
                  <a:gd name="connsiteY130" fmla="*/ 426529 h 487108"/>
                  <a:gd name="connsiteX131" fmla="*/ 1928622 w 3491294"/>
                  <a:gd name="connsiteY131" fmla="*/ 432911 h 487108"/>
                  <a:gd name="connsiteX132" fmla="*/ 2046446 w 3491294"/>
                  <a:gd name="connsiteY132" fmla="*/ 432911 h 487108"/>
                  <a:gd name="connsiteX133" fmla="*/ 2046446 w 3491294"/>
                  <a:gd name="connsiteY133" fmla="*/ 439388 h 487108"/>
                  <a:gd name="connsiteX134" fmla="*/ 2138934 w 3491294"/>
                  <a:gd name="connsiteY134" fmla="*/ 439388 h 487108"/>
                  <a:gd name="connsiteX135" fmla="*/ 2138934 w 3491294"/>
                  <a:gd name="connsiteY135" fmla="*/ 445770 h 487108"/>
                  <a:gd name="connsiteX136" fmla="*/ 2157889 w 3491294"/>
                  <a:gd name="connsiteY136" fmla="*/ 445770 h 487108"/>
                  <a:gd name="connsiteX137" fmla="*/ 2157889 w 3491294"/>
                  <a:gd name="connsiteY137" fmla="*/ 452247 h 487108"/>
                  <a:gd name="connsiteX138" fmla="*/ 3011710 w 3491294"/>
                  <a:gd name="connsiteY138" fmla="*/ 452247 h 487108"/>
                  <a:gd name="connsiteX139" fmla="*/ 3011710 w 3491294"/>
                  <a:gd name="connsiteY139" fmla="*/ 487108 h 487108"/>
                  <a:gd name="connsiteX140" fmla="*/ 3491294 w 3491294"/>
                  <a:gd name="connsiteY140" fmla="*/ 487108 h 487108"/>
                  <a:gd name="connsiteX0" fmla="*/ 0 w 3491294"/>
                  <a:gd name="connsiteY0" fmla="*/ 0 h 487108"/>
                  <a:gd name="connsiteX1" fmla="*/ 16859 w 3491294"/>
                  <a:gd name="connsiteY1" fmla="*/ 6096 h 487108"/>
                  <a:gd name="connsiteX2" fmla="*/ 16859 w 3491294"/>
                  <a:gd name="connsiteY2" fmla="*/ 12192 h 487108"/>
                  <a:gd name="connsiteX3" fmla="*/ 31528 w 3491294"/>
                  <a:gd name="connsiteY3" fmla="*/ 12192 h 487108"/>
                  <a:gd name="connsiteX4" fmla="*/ 31528 w 3491294"/>
                  <a:gd name="connsiteY4" fmla="*/ 18193 h 487108"/>
                  <a:gd name="connsiteX5" fmla="*/ 35814 w 3491294"/>
                  <a:gd name="connsiteY5" fmla="*/ 18193 h 487108"/>
                  <a:gd name="connsiteX6" fmla="*/ 35814 w 3491294"/>
                  <a:gd name="connsiteY6" fmla="*/ 24289 h 487108"/>
                  <a:gd name="connsiteX7" fmla="*/ 46291 w 3491294"/>
                  <a:gd name="connsiteY7" fmla="*/ 24289 h 487108"/>
                  <a:gd name="connsiteX8" fmla="*/ 46291 w 3491294"/>
                  <a:gd name="connsiteY8" fmla="*/ 30385 h 487108"/>
                  <a:gd name="connsiteX9" fmla="*/ 54674 w 3491294"/>
                  <a:gd name="connsiteY9" fmla="*/ 30385 h 487108"/>
                  <a:gd name="connsiteX10" fmla="*/ 54674 w 3491294"/>
                  <a:gd name="connsiteY10" fmla="*/ 36481 h 487108"/>
                  <a:gd name="connsiteX11" fmla="*/ 69437 w 3491294"/>
                  <a:gd name="connsiteY11" fmla="*/ 36481 h 487108"/>
                  <a:gd name="connsiteX12" fmla="*/ 69437 w 3491294"/>
                  <a:gd name="connsiteY12" fmla="*/ 42481 h 487108"/>
                  <a:gd name="connsiteX13" fmla="*/ 73628 w 3491294"/>
                  <a:gd name="connsiteY13" fmla="*/ 42481 h 487108"/>
                  <a:gd name="connsiteX14" fmla="*/ 73628 w 3491294"/>
                  <a:gd name="connsiteY14" fmla="*/ 48577 h 487108"/>
                  <a:gd name="connsiteX15" fmla="*/ 77819 w 3491294"/>
                  <a:gd name="connsiteY15" fmla="*/ 48577 h 487108"/>
                  <a:gd name="connsiteX16" fmla="*/ 77819 w 3491294"/>
                  <a:gd name="connsiteY16" fmla="*/ 54673 h 487108"/>
                  <a:gd name="connsiteX17" fmla="*/ 90488 w 3491294"/>
                  <a:gd name="connsiteY17" fmla="*/ 54673 h 487108"/>
                  <a:gd name="connsiteX18" fmla="*/ 90488 w 3491294"/>
                  <a:gd name="connsiteY18" fmla="*/ 60674 h 487108"/>
                  <a:gd name="connsiteX19" fmla="*/ 119920 w 3491294"/>
                  <a:gd name="connsiteY19" fmla="*/ 60674 h 487108"/>
                  <a:gd name="connsiteX20" fmla="*/ 119920 w 3491294"/>
                  <a:gd name="connsiteY20" fmla="*/ 66770 h 487108"/>
                  <a:gd name="connsiteX21" fmla="*/ 128302 w 3491294"/>
                  <a:gd name="connsiteY21" fmla="*/ 66770 h 487108"/>
                  <a:gd name="connsiteX22" fmla="*/ 128302 w 3491294"/>
                  <a:gd name="connsiteY22" fmla="*/ 72866 h 487108"/>
                  <a:gd name="connsiteX23" fmla="*/ 130397 w 3491294"/>
                  <a:gd name="connsiteY23" fmla="*/ 72866 h 487108"/>
                  <a:gd name="connsiteX24" fmla="*/ 130397 w 3491294"/>
                  <a:gd name="connsiteY24" fmla="*/ 78867 h 487108"/>
                  <a:gd name="connsiteX25" fmla="*/ 145161 w 3491294"/>
                  <a:gd name="connsiteY25" fmla="*/ 78867 h 487108"/>
                  <a:gd name="connsiteX26" fmla="*/ 145161 w 3491294"/>
                  <a:gd name="connsiteY26" fmla="*/ 91059 h 487108"/>
                  <a:gd name="connsiteX27" fmla="*/ 147257 w 3491294"/>
                  <a:gd name="connsiteY27" fmla="*/ 91059 h 487108"/>
                  <a:gd name="connsiteX28" fmla="*/ 147257 w 3491294"/>
                  <a:gd name="connsiteY28" fmla="*/ 97060 h 487108"/>
                  <a:gd name="connsiteX29" fmla="*/ 153543 w 3491294"/>
                  <a:gd name="connsiteY29" fmla="*/ 97060 h 487108"/>
                  <a:gd name="connsiteX30" fmla="*/ 153543 w 3491294"/>
                  <a:gd name="connsiteY30" fmla="*/ 103156 h 487108"/>
                  <a:gd name="connsiteX31" fmla="*/ 157734 w 3491294"/>
                  <a:gd name="connsiteY31" fmla="*/ 103156 h 487108"/>
                  <a:gd name="connsiteX32" fmla="*/ 157734 w 3491294"/>
                  <a:gd name="connsiteY32" fmla="*/ 109252 h 487108"/>
                  <a:gd name="connsiteX33" fmla="*/ 174593 w 3491294"/>
                  <a:gd name="connsiteY33" fmla="*/ 109252 h 487108"/>
                  <a:gd name="connsiteX34" fmla="*/ 174593 w 3491294"/>
                  <a:gd name="connsiteY34" fmla="*/ 121348 h 487108"/>
                  <a:gd name="connsiteX35" fmla="*/ 178784 w 3491294"/>
                  <a:gd name="connsiteY35" fmla="*/ 121348 h 487108"/>
                  <a:gd name="connsiteX36" fmla="*/ 178784 w 3491294"/>
                  <a:gd name="connsiteY36" fmla="*/ 127444 h 487108"/>
                  <a:gd name="connsiteX37" fmla="*/ 201930 w 3491294"/>
                  <a:gd name="connsiteY37" fmla="*/ 127444 h 487108"/>
                  <a:gd name="connsiteX38" fmla="*/ 201930 w 3491294"/>
                  <a:gd name="connsiteY38" fmla="*/ 133540 h 487108"/>
                  <a:gd name="connsiteX39" fmla="*/ 206121 w 3491294"/>
                  <a:gd name="connsiteY39" fmla="*/ 133540 h 487108"/>
                  <a:gd name="connsiteX40" fmla="*/ 206121 w 3491294"/>
                  <a:gd name="connsiteY40" fmla="*/ 139541 h 487108"/>
                  <a:gd name="connsiteX41" fmla="*/ 212408 w 3491294"/>
                  <a:gd name="connsiteY41" fmla="*/ 139541 h 487108"/>
                  <a:gd name="connsiteX42" fmla="*/ 212408 w 3491294"/>
                  <a:gd name="connsiteY42" fmla="*/ 151733 h 487108"/>
                  <a:gd name="connsiteX43" fmla="*/ 231362 w 3491294"/>
                  <a:gd name="connsiteY43" fmla="*/ 151733 h 487108"/>
                  <a:gd name="connsiteX44" fmla="*/ 231362 w 3491294"/>
                  <a:gd name="connsiteY44" fmla="*/ 157734 h 487108"/>
                  <a:gd name="connsiteX45" fmla="*/ 239744 w 3491294"/>
                  <a:gd name="connsiteY45" fmla="*/ 157734 h 487108"/>
                  <a:gd name="connsiteX46" fmla="*/ 239744 w 3491294"/>
                  <a:gd name="connsiteY46" fmla="*/ 163830 h 487108"/>
                  <a:gd name="connsiteX47" fmla="*/ 252413 w 3491294"/>
                  <a:gd name="connsiteY47" fmla="*/ 163830 h 487108"/>
                  <a:gd name="connsiteX48" fmla="*/ 252413 w 3491294"/>
                  <a:gd name="connsiteY48" fmla="*/ 169926 h 487108"/>
                  <a:gd name="connsiteX49" fmla="*/ 269272 w 3491294"/>
                  <a:gd name="connsiteY49" fmla="*/ 169926 h 487108"/>
                  <a:gd name="connsiteX50" fmla="*/ 269272 w 3491294"/>
                  <a:gd name="connsiteY50" fmla="*/ 175927 h 487108"/>
                  <a:gd name="connsiteX51" fmla="*/ 296609 w 3491294"/>
                  <a:gd name="connsiteY51" fmla="*/ 175927 h 487108"/>
                  <a:gd name="connsiteX52" fmla="*/ 296609 w 3491294"/>
                  <a:gd name="connsiteY52" fmla="*/ 182023 h 487108"/>
                  <a:gd name="connsiteX53" fmla="*/ 298704 w 3491294"/>
                  <a:gd name="connsiteY53" fmla="*/ 182023 h 487108"/>
                  <a:gd name="connsiteX54" fmla="*/ 298704 w 3491294"/>
                  <a:gd name="connsiteY54" fmla="*/ 188119 h 487108"/>
                  <a:gd name="connsiteX55" fmla="*/ 309181 w 3491294"/>
                  <a:gd name="connsiteY55" fmla="*/ 188119 h 487108"/>
                  <a:gd name="connsiteX56" fmla="*/ 309181 w 3491294"/>
                  <a:gd name="connsiteY56" fmla="*/ 194119 h 487108"/>
                  <a:gd name="connsiteX57" fmla="*/ 315468 w 3491294"/>
                  <a:gd name="connsiteY57" fmla="*/ 194119 h 487108"/>
                  <a:gd name="connsiteX58" fmla="*/ 315468 w 3491294"/>
                  <a:gd name="connsiteY58" fmla="*/ 206311 h 487108"/>
                  <a:gd name="connsiteX59" fmla="*/ 323945 w 3491294"/>
                  <a:gd name="connsiteY59" fmla="*/ 206311 h 487108"/>
                  <a:gd name="connsiteX60" fmla="*/ 323945 w 3491294"/>
                  <a:gd name="connsiteY60" fmla="*/ 212312 h 487108"/>
                  <a:gd name="connsiteX61" fmla="*/ 330232 w 3491294"/>
                  <a:gd name="connsiteY61" fmla="*/ 212312 h 487108"/>
                  <a:gd name="connsiteX62" fmla="*/ 330232 w 3491294"/>
                  <a:gd name="connsiteY62" fmla="*/ 224504 h 487108"/>
                  <a:gd name="connsiteX63" fmla="*/ 332327 w 3491294"/>
                  <a:gd name="connsiteY63" fmla="*/ 224504 h 487108"/>
                  <a:gd name="connsiteX64" fmla="*/ 332327 w 3491294"/>
                  <a:gd name="connsiteY64" fmla="*/ 230600 h 487108"/>
                  <a:gd name="connsiteX65" fmla="*/ 344900 w 3491294"/>
                  <a:gd name="connsiteY65" fmla="*/ 230600 h 487108"/>
                  <a:gd name="connsiteX66" fmla="*/ 344900 w 3491294"/>
                  <a:gd name="connsiteY66" fmla="*/ 236601 h 487108"/>
                  <a:gd name="connsiteX67" fmla="*/ 368046 w 3491294"/>
                  <a:gd name="connsiteY67" fmla="*/ 236601 h 487108"/>
                  <a:gd name="connsiteX68" fmla="*/ 368046 w 3491294"/>
                  <a:gd name="connsiteY68" fmla="*/ 242697 h 487108"/>
                  <a:gd name="connsiteX69" fmla="*/ 374428 w 3491294"/>
                  <a:gd name="connsiteY69" fmla="*/ 242697 h 487108"/>
                  <a:gd name="connsiteX70" fmla="*/ 374428 w 3491294"/>
                  <a:gd name="connsiteY70" fmla="*/ 248793 h 487108"/>
                  <a:gd name="connsiteX71" fmla="*/ 382810 w 3491294"/>
                  <a:gd name="connsiteY71" fmla="*/ 248793 h 487108"/>
                  <a:gd name="connsiteX72" fmla="*/ 382810 w 3491294"/>
                  <a:gd name="connsiteY72" fmla="*/ 254794 h 487108"/>
                  <a:gd name="connsiteX73" fmla="*/ 391192 w 3491294"/>
                  <a:gd name="connsiteY73" fmla="*/ 254794 h 487108"/>
                  <a:gd name="connsiteX74" fmla="*/ 391192 w 3491294"/>
                  <a:gd name="connsiteY74" fmla="*/ 260890 h 487108"/>
                  <a:gd name="connsiteX75" fmla="*/ 395383 w 3491294"/>
                  <a:gd name="connsiteY75" fmla="*/ 260890 h 487108"/>
                  <a:gd name="connsiteX76" fmla="*/ 395383 w 3491294"/>
                  <a:gd name="connsiteY76" fmla="*/ 266986 h 487108"/>
                  <a:gd name="connsiteX77" fmla="*/ 469011 w 3491294"/>
                  <a:gd name="connsiteY77" fmla="*/ 266986 h 487108"/>
                  <a:gd name="connsiteX78" fmla="*/ 469011 w 3491294"/>
                  <a:gd name="connsiteY78" fmla="*/ 272986 h 487108"/>
                  <a:gd name="connsiteX79" fmla="*/ 490061 w 3491294"/>
                  <a:gd name="connsiteY79" fmla="*/ 272986 h 487108"/>
                  <a:gd name="connsiteX80" fmla="*/ 490061 w 3491294"/>
                  <a:gd name="connsiteY80" fmla="*/ 279082 h 487108"/>
                  <a:gd name="connsiteX81" fmla="*/ 496348 w 3491294"/>
                  <a:gd name="connsiteY81" fmla="*/ 279082 h 487108"/>
                  <a:gd name="connsiteX82" fmla="*/ 496348 w 3491294"/>
                  <a:gd name="connsiteY82" fmla="*/ 285178 h 487108"/>
                  <a:gd name="connsiteX83" fmla="*/ 538448 w 3491294"/>
                  <a:gd name="connsiteY83" fmla="*/ 285178 h 487108"/>
                  <a:gd name="connsiteX84" fmla="*/ 538448 w 3491294"/>
                  <a:gd name="connsiteY84" fmla="*/ 291179 h 487108"/>
                  <a:gd name="connsiteX85" fmla="*/ 553117 w 3491294"/>
                  <a:gd name="connsiteY85" fmla="*/ 291179 h 487108"/>
                  <a:gd name="connsiteX86" fmla="*/ 553117 w 3491294"/>
                  <a:gd name="connsiteY86" fmla="*/ 297275 h 487108"/>
                  <a:gd name="connsiteX87" fmla="*/ 582644 w 3491294"/>
                  <a:gd name="connsiteY87" fmla="*/ 297275 h 487108"/>
                  <a:gd name="connsiteX88" fmla="*/ 582644 w 3491294"/>
                  <a:gd name="connsiteY88" fmla="*/ 303371 h 487108"/>
                  <a:gd name="connsiteX89" fmla="*/ 584740 w 3491294"/>
                  <a:gd name="connsiteY89" fmla="*/ 303371 h 487108"/>
                  <a:gd name="connsiteX90" fmla="*/ 584740 w 3491294"/>
                  <a:gd name="connsiteY90" fmla="*/ 309372 h 487108"/>
                  <a:gd name="connsiteX91" fmla="*/ 607790 w 3491294"/>
                  <a:gd name="connsiteY91" fmla="*/ 309372 h 487108"/>
                  <a:gd name="connsiteX92" fmla="*/ 607790 w 3491294"/>
                  <a:gd name="connsiteY92" fmla="*/ 315468 h 487108"/>
                  <a:gd name="connsiteX93" fmla="*/ 620459 w 3491294"/>
                  <a:gd name="connsiteY93" fmla="*/ 315468 h 487108"/>
                  <a:gd name="connsiteX94" fmla="*/ 620459 w 3491294"/>
                  <a:gd name="connsiteY94" fmla="*/ 321564 h 487108"/>
                  <a:gd name="connsiteX95" fmla="*/ 656177 w 3491294"/>
                  <a:gd name="connsiteY95" fmla="*/ 321564 h 487108"/>
                  <a:gd name="connsiteX96" fmla="*/ 656177 w 3491294"/>
                  <a:gd name="connsiteY96" fmla="*/ 327660 h 487108"/>
                  <a:gd name="connsiteX97" fmla="*/ 771906 w 3491294"/>
                  <a:gd name="connsiteY97" fmla="*/ 327660 h 487108"/>
                  <a:gd name="connsiteX98" fmla="*/ 771906 w 3491294"/>
                  <a:gd name="connsiteY98" fmla="*/ 333661 h 487108"/>
                  <a:gd name="connsiteX99" fmla="*/ 809720 w 3491294"/>
                  <a:gd name="connsiteY99" fmla="*/ 333661 h 487108"/>
                  <a:gd name="connsiteX100" fmla="*/ 809720 w 3491294"/>
                  <a:gd name="connsiteY100" fmla="*/ 339852 h 487108"/>
                  <a:gd name="connsiteX101" fmla="*/ 862298 w 3491294"/>
                  <a:gd name="connsiteY101" fmla="*/ 339852 h 487108"/>
                  <a:gd name="connsiteX102" fmla="*/ 862298 w 3491294"/>
                  <a:gd name="connsiteY102" fmla="*/ 345948 h 487108"/>
                  <a:gd name="connsiteX103" fmla="*/ 881253 w 3491294"/>
                  <a:gd name="connsiteY103" fmla="*/ 345948 h 487108"/>
                  <a:gd name="connsiteX104" fmla="*/ 881253 w 3491294"/>
                  <a:gd name="connsiteY104" fmla="*/ 352044 h 487108"/>
                  <a:gd name="connsiteX105" fmla="*/ 891731 w 3491294"/>
                  <a:gd name="connsiteY105" fmla="*/ 352044 h 487108"/>
                  <a:gd name="connsiteX106" fmla="*/ 891731 w 3491294"/>
                  <a:gd name="connsiteY106" fmla="*/ 358235 h 487108"/>
                  <a:gd name="connsiteX107" fmla="*/ 925449 w 3491294"/>
                  <a:gd name="connsiteY107" fmla="*/ 358235 h 487108"/>
                  <a:gd name="connsiteX108" fmla="*/ 925449 w 3491294"/>
                  <a:gd name="connsiteY108" fmla="*/ 364331 h 487108"/>
                  <a:gd name="connsiteX109" fmla="*/ 931736 w 3491294"/>
                  <a:gd name="connsiteY109" fmla="*/ 364331 h 487108"/>
                  <a:gd name="connsiteX110" fmla="*/ 931736 w 3491294"/>
                  <a:gd name="connsiteY110" fmla="*/ 370427 h 487108"/>
                  <a:gd name="connsiteX111" fmla="*/ 946404 w 3491294"/>
                  <a:gd name="connsiteY111" fmla="*/ 370427 h 487108"/>
                  <a:gd name="connsiteX112" fmla="*/ 946404 w 3491294"/>
                  <a:gd name="connsiteY112" fmla="*/ 376523 h 487108"/>
                  <a:gd name="connsiteX113" fmla="*/ 959072 w 3491294"/>
                  <a:gd name="connsiteY113" fmla="*/ 376523 h 487108"/>
                  <a:gd name="connsiteX114" fmla="*/ 959072 w 3491294"/>
                  <a:gd name="connsiteY114" fmla="*/ 382714 h 487108"/>
                  <a:gd name="connsiteX115" fmla="*/ 984314 w 3491294"/>
                  <a:gd name="connsiteY115" fmla="*/ 382714 h 487108"/>
                  <a:gd name="connsiteX116" fmla="*/ 984314 w 3491294"/>
                  <a:gd name="connsiteY116" fmla="*/ 388810 h 487108"/>
                  <a:gd name="connsiteX117" fmla="*/ 1213580 w 3491294"/>
                  <a:gd name="connsiteY117" fmla="*/ 388810 h 487108"/>
                  <a:gd name="connsiteX118" fmla="*/ 1213580 w 3491294"/>
                  <a:gd name="connsiteY118" fmla="*/ 395002 h 487108"/>
                  <a:gd name="connsiteX119" fmla="*/ 1327118 w 3491294"/>
                  <a:gd name="connsiteY119" fmla="*/ 395002 h 487108"/>
                  <a:gd name="connsiteX120" fmla="*/ 1327118 w 3491294"/>
                  <a:gd name="connsiteY120" fmla="*/ 401193 h 487108"/>
                  <a:gd name="connsiteX121" fmla="*/ 1596295 w 3491294"/>
                  <a:gd name="connsiteY121" fmla="*/ 401193 h 487108"/>
                  <a:gd name="connsiteX122" fmla="*/ 1596295 w 3491294"/>
                  <a:gd name="connsiteY122" fmla="*/ 407479 h 487108"/>
                  <a:gd name="connsiteX123" fmla="*/ 1669923 w 3491294"/>
                  <a:gd name="connsiteY123" fmla="*/ 407479 h 487108"/>
                  <a:gd name="connsiteX124" fmla="*/ 1669923 w 3491294"/>
                  <a:gd name="connsiteY124" fmla="*/ 413766 h 487108"/>
                  <a:gd name="connsiteX125" fmla="*/ 1749838 w 3491294"/>
                  <a:gd name="connsiteY125" fmla="*/ 413766 h 487108"/>
                  <a:gd name="connsiteX126" fmla="*/ 1749838 w 3491294"/>
                  <a:gd name="connsiteY126" fmla="*/ 420052 h 487108"/>
                  <a:gd name="connsiteX127" fmla="*/ 1911763 w 3491294"/>
                  <a:gd name="connsiteY127" fmla="*/ 420052 h 487108"/>
                  <a:gd name="connsiteX128" fmla="*/ 1911763 w 3491294"/>
                  <a:gd name="connsiteY128" fmla="*/ 426529 h 487108"/>
                  <a:gd name="connsiteX129" fmla="*/ 1928622 w 3491294"/>
                  <a:gd name="connsiteY129" fmla="*/ 426529 h 487108"/>
                  <a:gd name="connsiteX130" fmla="*/ 1928622 w 3491294"/>
                  <a:gd name="connsiteY130" fmla="*/ 432911 h 487108"/>
                  <a:gd name="connsiteX131" fmla="*/ 2046446 w 3491294"/>
                  <a:gd name="connsiteY131" fmla="*/ 432911 h 487108"/>
                  <a:gd name="connsiteX132" fmla="*/ 2046446 w 3491294"/>
                  <a:gd name="connsiteY132" fmla="*/ 439388 h 487108"/>
                  <a:gd name="connsiteX133" fmla="*/ 2138934 w 3491294"/>
                  <a:gd name="connsiteY133" fmla="*/ 439388 h 487108"/>
                  <a:gd name="connsiteX134" fmla="*/ 2138934 w 3491294"/>
                  <a:gd name="connsiteY134" fmla="*/ 445770 h 487108"/>
                  <a:gd name="connsiteX135" fmla="*/ 2157889 w 3491294"/>
                  <a:gd name="connsiteY135" fmla="*/ 445770 h 487108"/>
                  <a:gd name="connsiteX136" fmla="*/ 2157889 w 3491294"/>
                  <a:gd name="connsiteY136" fmla="*/ 452247 h 487108"/>
                  <a:gd name="connsiteX137" fmla="*/ 3011710 w 3491294"/>
                  <a:gd name="connsiteY137" fmla="*/ 452247 h 487108"/>
                  <a:gd name="connsiteX138" fmla="*/ 3011710 w 3491294"/>
                  <a:gd name="connsiteY138" fmla="*/ 487108 h 487108"/>
                  <a:gd name="connsiteX139" fmla="*/ 3491294 w 3491294"/>
                  <a:gd name="connsiteY139" fmla="*/ 487108 h 487108"/>
                  <a:gd name="connsiteX0" fmla="*/ 0 w 3474435"/>
                  <a:gd name="connsiteY0" fmla="*/ 0 h 481012"/>
                  <a:gd name="connsiteX1" fmla="*/ 0 w 3474435"/>
                  <a:gd name="connsiteY1" fmla="*/ 6096 h 481012"/>
                  <a:gd name="connsiteX2" fmla="*/ 14669 w 3474435"/>
                  <a:gd name="connsiteY2" fmla="*/ 6096 h 481012"/>
                  <a:gd name="connsiteX3" fmla="*/ 14669 w 3474435"/>
                  <a:gd name="connsiteY3" fmla="*/ 12097 h 481012"/>
                  <a:gd name="connsiteX4" fmla="*/ 18955 w 3474435"/>
                  <a:gd name="connsiteY4" fmla="*/ 12097 h 481012"/>
                  <a:gd name="connsiteX5" fmla="*/ 18955 w 3474435"/>
                  <a:gd name="connsiteY5" fmla="*/ 18193 h 481012"/>
                  <a:gd name="connsiteX6" fmla="*/ 29432 w 3474435"/>
                  <a:gd name="connsiteY6" fmla="*/ 18193 h 481012"/>
                  <a:gd name="connsiteX7" fmla="*/ 29432 w 3474435"/>
                  <a:gd name="connsiteY7" fmla="*/ 24289 h 481012"/>
                  <a:gd name="connsiteX8" fmla="*/ 37815 w 3474435"/>
                  <a:gd name="connsiteY8" fmla="*/ 24289 h 481012"/>
                  <a:gd name="connsiteX9" fmla="*/ 37815 w 3474435"/>
                  <a:gd name="connsiteY9" fmla="*/ 30385 h 481012"/>
                  <a:gd name="connsiteX10" fmla="*/ 52578 w 3474435"/>
                  <a:gd name="connsiteY10" fmla="*/ 30385 h 481012"/>
                  <a:gd name="connsiteX11" fmla="*/ 52578 w 3474435"/>
                  <a:gd name="connsiteY11" fmla="*/ 36385 h 481012"/>
                  <a:gd name="connsiteX12" fmla="*/ 56769 w 3474435"/>
                  <a:gd name="connsiteY12" fmla="*/ 36385 h 481012"/>
                  <a:gd name="connsiteX13" fmla="*/ 56769 w 3474435"/>
                  <a:gd name="connsiteY13" fmla="*/ 42481 h 481012"/>
                  <a:gd name="connsiteX14" fmla="*/ 60960 w 3474435"/>
                  <a:gd name="connsiteY14" fmla="*/ 42481 h 481012"/>
                  <a:gd name="connsiteX15" fmla="*/ 60960 w 3474435"/>
                  <a:gd name="connsiteY15" fmla="*/ 48577 h 481012"/>
                  <a:gd name="connsiteX16" fmla="*/ 73629 w 3474435"/>
                  <a:gd name="connsiteY16" fmla="*/ 48577 h 481012"/>
                  <a:gd name="connsiteX17" fmla="*/ 73629 w 3474435"/>
                  <a:gd name="connsiteY17" fmla="*/ 54578 h 481012"/>
                  <a:gd name="connsiteX18" fmla="*/ 103061 w 3474435"/>
                  <a:gd name="connsiteY18" fmla="*/ 54578 h 481012"/>
                  <a:gd name="connsiteX19" fmla="*/ 103061 w 3474435"/>
                  <a:gd name="connsiteY19" fmla="*/ 60674 h 481012"/>
                  <a:gd name="connsiteX20" fmla="*/ 111443 w 3474435"/>
                  <a:gd name="connsiteY20" fmla="*/ 60674 h 481012"/>
                  <a:gd name="connsiteX21" fmla="*/ 111443 w 3474435"/>
                  <a:gd name="connsiteY21" fmla="*/ 66770 h 481012"/>
                  <a:gd name="connsiteX22" fmla="*/ 113538 w 3474435"/>
                  <a:gd name="connsiteY22" fmla="*/ 66770 h 481012"/>
                  <a:gd name="connsiteX23" fmla="*/ 113538 w 3474435"/>
                  <a:gd name="connsiteY23" fmla="*/ 72771 h 481012"/>
                  <a:gd name="connsiteX24" fmla="*/ 128302 w 3474435"/>
                  <a:gd name="connsiteY24" fmla="*/ 72771 h 481012"/>
                  <a:gd name="connsiteX25" fmla="*/ 128302 w 3474435"/>
                  <a:gd name="connsiteY25" fmla="*/ 84963 h 481012"/>
                  <a:gd name="connsiteX26" fmla="*/ 130398 w 3474435"/>
                  <a:gd name="connsiteY26" fmla="*/ 84963 h 481012"/>
                  <a:gd name="connsiteX27" fmla="*/ 130398 w 3474435"/>
                  <a:gd name="connsiteY27" fmla="*/ 90964 h 481012"/>
                  <a:gd name="connsiteX28" fmla="*/ 136684 w 3474435"/>
                  <a:gd name="connsiteY28" fmla="*/ 90964 h 481012"/>
                  <a:gd name="connsiteX29" fmla="*/ 136684 w 3474435"/>
                  <a:gd name="connsiteY29" fmla="*/ 97060 h 481012"/>
                  <a:gd name="connsiteX30" fmla="*/ 140875 w 3474435"/>
                  <a:gd name="connsiteY30" fmla="*/ 97060 h 481012"/>
                  <a:gd name="connsiteX31" fmla="*/ 140875 w 3474435"/>
                  <a:gd name="connsiteY31" fmla="*/ 103156 h 481012"/>
                  <a:gd name="connsiteX32" fmla="*/ 157734 w 3474435"/>
                  <a:gd name="connsiteY32" fmla="*/ 103156 h 481012"/>
                  <a:gd name="connsiteX33" fmla="*/ 157734 w 3474435"/>
                  <a:gd name="connsiteY33" fmla="*/ 115252 h 481012"/>
                  <a:gd name="connsiteX34" fmla="*/ 161925 w 3474435"/>
                  <a:gd name="connsiteY34" fmla="*/ 115252 h 481012"/>
                  <a:gd name="connsiteX35" fmla="*/ 161925 w 3474435"/>
                  <a:gd name="connsiteY35" fmla="*/ 121348 h 481012"/>
                  <a:gd name="connsiteX36" fmla="*/ 185071 w 3474435"/>
                  <a:gd name="connsiteY36" fmla="*/ 121348 h 481012"/>
                  <a:gd name="connsiteX37" fmla="*/ 185071 w 3474435"/>
                  <a:gd name="connsiteY37" fmla="*/ 127444 h 481012"/>
                  <a:gd name="connsiteX38" fmla="*/ 189262 w 3474435"/>
                  <a:gd name="connsiteY38" fmla="*/ 127444 h 481012"/>
                  <a:gd name="connsiteX39" fmla="*/ 189262 w 3474435"/>
                  <a:gd name="connsiteY39" fmla="*/ 133445 h 481012"/>
                  <a:gd name="connsiteX40" fmla="*/ 195549 w 3474435"/>
                  <a:gd name="connsiteY40" fmla="*/ 133445 h 481012"/>
                  <a:gd name="connsiteX41" fmla="*/ 195549 w 3474435"/>
                  <a:gd name="connsiteY41" fmla="*/ 145637 h 481012"/>
                  <a:gd name="connsiteX42" fmla="*/ 214503 w 3474435"/>
                  <a:gd name="connsiteY42" fmla="*/ 145637 h 481012"/>
                  <a:gd name="connsiteX43" fmla="*/ 214503 w 3474435"/>
                  <a:gd name="connsiteY43" fmla="*/ 151638 h 481012"/>
                  <a:gd name="connsiteX44" fmla="*/ 222885 w 3474435"/>
                  <a:gd name="connsiteY44" fmla="*/ 151638 h 481012"/>
                  <a:gd name="connsiteX45" fmla="*/ 222885 w 3474435"/>
                  <a:gd name="connsiteY45" fmla="*/ 157734 h 481012"/>
                  <a:gd name="connsiteX46" fmla="*/ 235554 w 3474435"/>
                  <a:gd name="connsiteY46" fmla="*/ 157734 h 481012"/>
                  <a:gd name="connsiteX47" fmla="*/ 235554 w 3474435"/>
                  <a:gd name="connsiteY47" fmla="*/ 163830 h 481012"/>
                  <a:gd name="connsiteX48" fmla="*/ 252413 w 3474435"/>
                  <a:gd name="connsiteY48" fmla="*/ 163830 h 481012"/>
                  <a:gd name="connsiteX49" fmla="*/ 252413 w 3474435"/>
                  <a:gd name="connsiteY49" fmla="*/ 169831 h 481012"/>
                  <a:gd name="connsiteX50" fmla="*/ 279750 w 3474435"/>
                  <a:gd name="connsiteY50" fmla="*/ 169831 h 481012"/>
                  <a:gd name="connsiteX51" fmla="*/ 279750 w 3474435"/>
                  <a:gd name="connsiteY51" fmla="*/ 175927 h 481012"/>
                  <a:gd name="connsiteX52" fmla="*/ 281845 w 3474435"/>
                  <a:gd name="connsiteY52" fmla="*/ 175927 h 481012"/>
                  <a:gd name="connsiteX53" fmla="*/ 281845 w 3474435"/>
                  <a:gd name="connsiteY53" fmla="*/ 182023 h 481012"/>
                  <a:gd name="connsiteX54" fmla="*/ 292322 w 3474435"/>
                  <a:gd name="connsiteY54" fmla="*/ 182023 h 481012"/>
                  <a:gd name="connsiteX55" fmla="*/ 292322 w 3474435"/>
                  <a:gd name="connsiteY55" fmla="*/ 188023 h 481012"/>
                  <a:gd name="connsiteX56" fmla="*/ 298609 w 3474435"/>
                  <a:gd name="connsiteY56" fmla="*/ 188023 h 481012"/>
                  <a:gd name="connsiteX57" fmla="*/ 298609 w 3474435"/>
                  <a:gd name="connsiteY57" fmla="*/ 200215 h 481012"/>
                  <a:gd name="connsiteX58" fmla="*/ 307086 w 3474435"/>
                  <a:gd name="connsiteY58" fmla="*/ 200215 h 481012"/>
                  <a:gd name="connsiteX59" fmla="*/ 307086 w 3474435"/>
                  <a:gd name="connsiteY59" fmla="*/ 206216 h 481012"/>
                  <a:gd name="connsiteX60" fmla="*/ 313373 w 3474435"/>
                  <a:gd name="connsiteY60" fmla="*/ 206216 h 481012"/>
                  <a:gd name="connsiteX61" fmla="*/ 313373 w 3474435"/>
                  <a:gd name="connsiteY61" fmla="*/ 218408 h 481012"/>
                  <a:gd name="connsiteX62" fmla="*/ 315468 w 3474435"/>
                  <a:gd name="connsiteY62" fmla="*/ 218408 h 481012"/>
                  <a:gd name="connsiteX63" fmla="*/ 315468 w 3474435"/>
                  <a:gd name="connsiteY63" fmla="*/ 224504 h 481012"/>
                  <a:gd name="connsiteX64" fmla="*/ 328041 w 3474435"/>
                  <a:gd name="connsiteY64" fmla="*/ 224504 h 481012"/>
                  <a:gd name="connsiteX65" fmla="*/ 328041 w 3474435"/>
                  <a:gd name="connsiteY65" fmla="*/ 230505 h 481012"/>
                  <a:gd name="connsiteX66" fmla="*/ 351187 w 3474435"/>
                  <a:gd name="connsiteY66" fmla="*/ 230505 h 481012"/>
                  <a:gd name="connsiteX67" fmla="*/ 351187 w 3474435"/>
                  <a:gd name="connsiteY67" fmla="*/ 236601 h 481012"/>
                  <a:gd name="connsiteX68" fmla="*/ 357569 w 3474435"/>
                  <a:gd name="connsiteY68" fmla="*/ 236601 h 481012"/>
                  <a:gd name="connsiteX69" fmla="*/ 357569 w 3474435"/>
                  <a:gd name="connsiteY69" fmla="*/ 242697 h 481012"/>
                  <a:gd name="connsiteX70" fmla="*/ 365951 w 3474435"/>
                  <a:gd name="connsiteY70" fmla="*/ 242697 h 481012"/>
                  <a:gd name="connsiteX71" fmla="*/ 365951 w 3474435"/>
                  <a:gd name="connsiteY71" fmla="*/ 248698 h 481012"/>
                  <a:gd name="connsiteX72" fmla="*/ 374333 w 3474435"/>
                  <a:gd name="connsiteY72" fmla="*/ 248698 h 481012"/>
                  <a:gd name="connsiteX73" fmla="*/ 374333 w 3474435"/>
                  <a:gd name="connsiteY73" fmla="*/ 254794 h 481012"/>
                  <a:gd name="connsiteX74" fmla="*/ 378524 w 3474435"/>
                  <a:gd name="connsiteY74" fmla="*/ 254794 h 481012"/>
                  <a:gd name="connsiteX75" fmla="*/ 378524 w 3474435"/>
                  <a:gd name="connsiteY75" fmla="*/ 260890 h 481012"/>
                  <a:gd name="connsiteX76" fmla="*/ 452152 w 3474435"/>
                  <a:gd name="connsiteY76" fmla="*/ 260890 h 481012"/>
                  <a:gd name="connsiteX77" fmla="*/ 452152 w 3474435"/>
                  <a:gd name="connsiteY77" fmla="*/ 266890 h 481012"/>
                  <a:gd name="connsiteX78" fmla="*/ 473202 w 3474435"/>
                  <a:gd name="connsiteY78" fmla="*/ 266890 h 481012"/>
                  <a:gd name="connsiteX79" fmla="*/ 473202 w 3474435"/>
                  <a:gd name="connsiteY79" fmla="*/ 272986 h 481012"/>
                  <a:gd name="connsiteX80" fmla="*/ 479489 w 3474435"/>
                  <a:gd name="connsiteY80" fmla="*/ 272986 h 481012"/>
                  <a:gd name="connsiteX81" fmla="*/ 479489 w 3474435"/>
                  <a:gd name="connsiteY81" fmla="*/ 279082 h 481012"/>
                  <a:gd name="connsiteX82" fmla="*/ 521589 w 3474435"/>
                  <a:gd name="connsiteY82" fmla="*/ 279082 h 481012"/>
                  <a:gd name="connsiteX83" fmla="*/ 521589 w 3474435"/>
                  <a:gd name="connsiteY83" fmla="*/ 285083 h 481012"/>
                  <a:gd name="connsiteX84" fmla="*/ 536258 w 3474435"/>
                  <a:gd name="connsiteY84" fmla="*/ 285083 h 481012"/>
                  <a:gd name="connsiteX85" fmla="*/ 536258 w 3474435"/>
                  <a:gd name="connsiteY85" fmla="*/ 291179 h 481012"/>
                  <a:gd name="connsiteX86" fmla="*/ 565785 w 3474435"/>
                  <a:gd name="connsiteY86" fmla="*/ 291179 h 481012"/>
                  <a:gd name="connsiteX87" fmla="*/ 565785 w 3474435"/>
                  <a:gd name="connsiteY87" fmla="*/ 297275 h 481012"/>
                  <a:gd name="connsiteX88" fmla="*/ 567881 w 3474435"/>
                  <a:gd name="connsiteY88" fmla="*/ 297275 h 481012"/>
                  <a:gd name="connsiteX89" fmla="*/ 567881 w 3474435"/>
                  <a:gd name="connsiteY89" fmla="*/ 303276 h 481012"/>
                  <a:gd name="connsiteX90" fmla="*/ 590931 w 3474435"/>
                  <a:gd name="connsiteY90" fmla="*/ 303276 h 481012"/>
                  <a:gd name="connsiteX91" fmla="*/ 590931 w 3474435"/>
                  <a:gd name="connsiteY91" fmla="*/ 309372 h 481012"/>
                  <a:gd name="connsiteX92" fmla="*/ 603600 w 3474435"/>
                  <a:gd name="connsiteY92" fmla="*/ 309372 h 481012"/>
                  <a:gd name="connsiteX93" fmla="*/ 603600 w 3474435"/>
                  <a:gd name="connsiteY93" fmla="*/ 315468 h 481012"/>
                  <a:gd name="connsiteX94" fmla="*/ 639318 w 3474435"/>
                  <a:gd name="connsiteY94" fmla="*/ 315468 h 481012"/>
                  <a:gd name="connsiteX95" fmla="*/ 639318 w 3474435"/>
                  <a:gd name="connsiteY95" fmla="*/ 321564 h 481012"/>
                  <a:gd name="connsiteX96" fmla="*/ 755047 w 3474435"/>
                  <a:gd name="connsiteY96" fmla="*/ 321564 h 481012"/>
                  <a:gd name="connsiteX97" fmla="*/ 755047 w 3474435"/>
                  <a:gd name="connsiteY97" fmla="*/ 327565 h 481012"/>
                  <a:gd name="connsiteX98" fmla="*/ 792861 w 3474435"/>
                  <a:gd name="connsiteY98" fmla="*/ 327565 h 481012"/>
                  <a:gd name="connsiteX99" fmla="*/ 792861 w 3474435"/>
                  <a:gd name="connsiteY99" fmla="*/ 333756 h 481012"/>
                  <a:gd name="connsiteX100" fmla="*/ 845439 w 3474435"/>
                  <a:gd name="connsiteY100" fmla="*/ 333756 h 481012"/>
                  <a:gd name="connsiteX101" fmla="*/ 845439 w 3474435"/>
                  <a:gd name="connsiteY101" fmla="*/ 339852 h 481012"/>
                  <a:gd name="connsiteX102" fmla="*/ 864394 w 3474435"/>
                  <a:gd name="connsiteY102" fmla="*/ 339852 h 481012"/>
                  <a:gd name="connsiteX103" fmla="*/ 864394 w 3474435"/>
                  <a:gd name="connsiteY103" fmla="*/ 345948 h 481012"/>
                  <a:gd name="connsiteX104" fmla="*/ 874872 w 3474435"/>
                  <a:gd name="connsiteY104" fmla="*/ 345948 h 481012"/>
                  <a:gd name="connsiteX105" fmla="*/ 874872 w 3474435"/>
                  <a:gd name="connsiteY105" fmla="*/ 352139 h 481012"/>
                  <a:gd name="connsiteX106" fmla="*/ 908590 w 3474435"/>
                  <a:gd name="connsiteY106" fmla="*/ 352139 h 481012"/>
                  <a:gd name="connsiteX107" fmla="*/ 908590 w 3474435"/>
                  <a:gd name="connsiteY107" fmla="*/ 358235 h 481012"/>
                  <a:gd name="connsiteX108" fmla="*/ 914877 w 3474435"/>
                  <a:gd name="connsiteY108" fmla="*/ 358235 h 481012"/>
                  <a:gd name="connsiteX109" fmla="*/ 914877 w 3474435"/>
                  <a:gd name="connsiteY109" fmla="*/ 364331 h 481012"/>
                  <a:gd name="connsiteX110" fmla="*/ 929545 w 3474435"/>
                  <a:gd name="connsiteY110" fmla="*/ 364331 h 481012"/>
                  <a:gd name="connsiteX111" fmla="*/ 929545 w 3474435"/>
                  <a:gd name="connsiteY111" fmla="*/ 370427 h 481012"/>
                  <a:gd name="connsiteX112" fmla="*/ 942213 w 3474435"/>
                  <a:gd name="connsiteY112" fmla="*/ 370427 h 481012"/>
                  <a:gd name="connsiteX113" fmla="*/ 942213 w 3474435"/>
                  <a:gd name="connsiteY113" fmla="*/ 376618 h 481012"/>
                  <a:gd name="connsiteX114" fmla="*/ 967455 w 3474435"/>
                  <a:gd name="connsiteY114" fmla="*/ 376618 h 481012"/>
                  <a:gd name="connsiteX115" fmla="*/ 967455 w 3474435"/>
                  <a:gd name="connsiteY115" fmla="*/ 382714 h 481012"/>
                  <a:gd name="connsiteX116" fmla="*/ 1196721 w 3474435"/>
                  <a:gd name="connsiteY116" fmla="*/ 382714 h 481012"/>
                  <a:gd name="connsiteX117" fmla="*/ 1196721 w 3474435"/>
                  <a:gd name="connsiteY117" fmla="*/ 388906 h 481012"/>
                  <a:gd name="connsiteX118" fmla="*/ 1310259 w 3474435"/>
                  <a:gd name="connsiteY118" fmla="*/ 388906 h 481012"/>
                  <a:gd name="connsiteX119" fmla="*/ 1310259 w 3474435"/>
                  <a:gd name="connsiteY119" fmla="*/ 395097 h 481012"/>
                  <a:gd name="connsiteX120" fmla="*/ 1579436 w 3474435"/>
                  <a:gd name="connsiteY120" fmla="*/ 395097 h 481012"/>
                  <a:gd name="connsiteX121" fmla="*/ 1579436 w 3474435"/>
                  <a:gd name="connsiteY121" fmla="*/ 401383 h 481012"/>
                  <a:gd name="connsiteX122" fmla="*/ 1653064 w 3474435"/>
                  <a:gd name="connsiteY122" fmla="*/ 401383 h 481012"/>
                  <a:gd name="connsiteX123" fmla="*/ 1653064 w 3474435"/>
                  <a:gd name="connsiteY123" fmla="*/ 407670 h 481012"/>
                  <a:gd name="connsiteX124" fmla="*/ 1732979 w 3474435"/>
                  <a:gd name="connsiteY124" fmla="*/ 407670 h 481012"/>
                  <a:gd name="connsiteX125" fmla="*/ 1732979 w 3474435"/>
                  <a:gd name="connsiteY125" fmla="*/ 413956 h 481012"/>
                  <a:gd name="connsiteX126" fmla="*/ 1894904 w 3474435"/>
                  <a:gd name="connsiteY126" fmla="*/ 413956 h 481012"/>
                  <a:gd name="connsiteX127" fmla="*/ 1894904 w 3474435"/>
                  <a:gd name="connsiteY127" fmla="*/ 420433 h 481012"/>
                  <a:gd name="connsiteX128" fmla="*/ 1911763 w 3474435"/>
                  <a:gd name="connsiteY128" fmla="*/ 420433 h 481012"/>
                  <a:gd name="connsiteX129" fmla="*/ 1911763 w 3474435"/>
                  <a:gd name="connsiteY129" fmla="*/ 426815 h 481012"/>
                  <a:gd name="connsiteX130" fmla="*/ 2029587 w 3474435"/>
                  <a:gd name="connsiteY130" fmla="*/ 426815 h 481012"/>
                  <a:gd name="connsiteX131" fmla="*/ 2029587 w 3474435"/>
                  <a:gd name="connsiteY131" fmla="*/ 433292 h 481012"/>
                  <a:gd name="connsiteX132" fmla="*/ 2122075 w 3474435"/>
                  <a:gd name="connsiteY132" fmla="*/ 433292 h 481012"/>
                  <a:gd name="connsiteX133" fmla="*/ 2122075 w 3474435"/>
                  <a:gd name="connsiteY133" fmla="*/ 439674 h 481012"/>
                  <a:gd name="connsiteX134" fmla="*/ 2141030 w 3474435"/>
                  <a:gd name="connsiteY134" fmla="*/ 439674 h 481012"/>
                  <a:gd name="connsiteX135" fmla="*/ 2141030 w 3474435"/>
                  <a:gd name="connsiteY135" fmla="*/ 446151 h 481012"/>
                  <a:gd name="connsiteX136" fmla="*/ 2994851 w 3474435"/>
                  <a:gd name="connsiteY136" fmla="*/ 446151 h 481012"/>
                  <a:gd name="connsiteX137" fmla="*/ 2994851 w 3474435"/>
                  <a:gd name="connsiteY137" fmla="*/ 481012 h 481012"/>
                  <a:gd name="connsiteX138" fmla="*/ 3474435 w 3474435"/>
                  <a:gd name="connsiteY138" fmla="*/ 481012 h 481012"/>
                  <a:gd name="connsiteX0" fmla="*/ 0 w 3474435"/>
                  <a:gd name="connsiteY0" fmla="*/ 0 h 474916"/>
                  <a:gd name="connsiteX1" fmla="*/ 14669 w 3474435"/>
                  <a:gd name="connsiteY1" fmla="*/ 0 h 474916"/>
                  <a:gd name="connsiteX2" fmla="*/ 14669 w 3474435"/>
                  <a:gd name="connsiteY2" fmla="*/ 6001 h 474916"/>
                  <a:gd name="connsiteX3" fmla="*/ 18955 w 3474435"/>
                  <a:gd name="connsiteY3" fmla="*/ 6001 h 474916"/>
                  <a:gd name="connsiteX4" fmla="*/ 18955 w 3474435"/>
                  <a:gd name="connsiteY4" fmla="*/ 12097 h 474916"/>
                  <a:gd name="connsiteX5" fmla="*/ 29432 w 3474435"/>
                  <a:gd name="connsiteY5" fmla="*/ 12097 h 474916"/>
                  <a:gd name="connsiteX6" fmla="*/ 29432 w 3474435"/>
                  <a:gd name="connsiteY6" fmla="*/ 18193 h 474916"/>
                  <a:gd name="connsiteX7" fmla="*/ 37815 w 3474435"/>
                  <a:gd name="connsiteY7" fmla="*/ 18193 h 474916"/>
                  <a:gd name="connsiteX8" fmla="*/ 37815 w 3474435"/>
                  <a:gd name="connsiteY8" fmla="*/ 24289 h 474916"/>
                  <a:gd name="connsiteX9" fmla="*/ 52578 w 3474435"/>
                  <a:gd name="connsiteY9" fmla="*/ 24289 h 474916"/>
                  <a:gd name="connsiteX10" fmla="*/ 52578 w 3474435"/>
                  <a:gd name="connsiteY10" fmla="*/ 30289 h 474916"/>
                  <a:gd name="connsiteX11" fmla="*/ 56769 w 3474435"/>
                  <a:gd name="connsiteY11" fmla="*/ 30289 h 474916"/>
                  <a:gd name="connsiteX12" fmla="*/ 56769 w 3474435"/>
                  <a:gd name="connsiteY12" fmla="*/ 36385 h 474916"/>
                  <a:gd name="connsiteX13" fmla="*/ 60960 w 3474435"/>
                  <a:gd name="connsiteY13" fmla="*/ 36385 h 474916"/>
                  <a:gd name="connsiteX14" fmla="*/ 60960 w 3474435"/>
                  <a:gd name="connsiteY14" fmla="*/ 42481 h 474916"/>
                  <a:gd name="connsiteX15" fmla="*/ 73629 w 3474435"/>
                  <a:gd name="connsiteY15" fmla="*/ 42481 h 474916"/>
                  <a:gd name="connsiteX16" fmla="*/ 73629 w 3474435"/>
                  <a:gd name="connsiteY16" fmla="*/ 48482 h 474916"/>
                  <a:gd name="connsiteX17" fmla="*/ 103061 w 3474435"/>
                  <a:gd name="connsiteY17" fmla="*/ 48482 h 474916"/>
                  <a:gd name="connsiteX18" fmla="*/ 103061 w 3474435"/>
                  <a:gd name="connsiteY18" fmla="*/ 54578 h 474916"/>
                  <a:gd name="connsiteX19" fmla="*/ 111443 w 3474435"/>
                  <a:gd name="connsiteY19" fmla="*/ 54578 h 474916"/>
                  <a:gd name="connsiteX20" fmla="*/ 111443 w 3474435"/>
                  <a:gd name="connsiteY20" fmla="*/ 60674 h 474916"/>
                  <a:gd name="connsiteX21" fmla="*/ 113538 w 3474435"/>
                  <a:gd name="connsiteY21" fmla="*/ 60674 h 474916"/>
                  <a:gd name="connsiteX22" fmla="*/ 113538 w 3474435"/>
                  <a:gd name="connsiteY22" fmla="*/ 66675 h 474916"/>
                  <a:gd name="connsiteX23" fmla="*/ 128302 w 3474435"/>
                  <a:gd name="connsiteY23" fmla="*/ 66675 h 474916"/>
                  <a:gd name="connsiteX24" fmla="*/ 128302 w 3474435"/>
                  <a:gd name="connsiteY24" fmla="*/ 78867 h 474916"/>
                  <a:gd name="connsiteX25" fmla="*/ 130398 w 3474435"/>
                  <a:gd name="connsiteY25" fmla="*/ 78867 h 474916"/>
                  <a:gd name="connsiteX26" fmla="*/ 130398 w 3474435"/>
                  <a:gd name="connsiteY26" fmla="*/ 84868 h 474916"/>
                  <a:gd name="connsiteX27" fmla="*/ 136684 w 3474435"/>
                  <a:gd name="connsiteY27" fmla="*/ 84868 h 474916"/>
                  <a:gd name="connsiteX28" fmla="*/ 136684 w 3474435"/>
                  <a:gd name="connsiteY28" fmla="*/ 90964 h 474916"/>
                  <a:gd name="connsiteX29" fmla="*/ 140875 w 3474435"/>
                  <a:gd name="connsiteY29" fmla="*/ 90964 h 474916"/>
                  <a:gd name="connsiteX30" fmla="*/ 140875 w 3474435"/>
                  <a:gd name="connsiteY30" fmla="*/ 97060 h 474916"/>
                  <a:gd name="connsiteX31" fmla="*/ 157734 w 3474435"/>
                  <a:gd name="connsiteY31" fmla="*/ 97060 h 474916"/>
                  <a:gd name="connsiteX32" fmla="*/ 157734 w 3474435"/>
                  <a:gd name="connsiteY32" fmla="*/ 109156 h 474916"/>
                  <a:gd name="connsiteX33" fmla="*/ 161925 w 3474435"/>
                  <a:gd name="connsiteY33" fmla="*/ 109156 h 474916"/>
                  <a:gd name="connsiteX34" fmla="*/ 161925 w 3474435"/>
                  <a:gd name="connsiteY34" fmla="*/ 115252 h 474916"/>
                  <a:gd name="connsiteX35" fmla="*/ 185071 w 3474435"/>
                  <a:gd name="connsiteY35" fmla="*/ 115252 h 474916"/>
                  <a:gd name="connsiteX36" fmla="*/ 185071 w 3474435"/>
                  <a:gd name="connsiteY36" fmla="*/ 121348 h 474916"/>
                  <a:gd name="connsiteX37" fmla="*/ 189262 w 3474435"/>
                  <a:gd name="connsiteY37" fmla="*/ 121348 h 474916"/>
                  <a:gd name="connsiteX38" fmla="*/ 189262 w 3474435"/>
                  <a:gd name="connsiteY38" fmla="*/ 127349 h 474916"/>
                  <a:gd name="connsiteX39" fmla="*/ 195549 w 3474435"/>
                  <a:gd name="connsiteY39" fmla="*/ 127349 h 474916"/>
                  <a:gd name="connsiteX40" fmla="*/ 195549 w 3474435"/>
                  <a:gd name="connsiteY40" fmla="*/ 139541 h 474916"/>
                  <a:gd name="connsiteX41" fmla="*/ 214503 w 3474435"/>
                  <a:gd name="connsiteY41" fmla="*/ 139541 h 474916"/>
                  <a:gd name="connsiteX42" fmla="*/ 214503 w 3474435"/>
                  <a:gd name="connsiteY42" fmla="*/ 145542 h 474916"/>
                  <a:gd name="connsiteX43" fmla="*/ 222885 w 3474435"/>
                  <a:gd name="connsiteY43" fmla="*/ 145542 h 474916"/>
                  <a:gd name="connsiteX44" fmla="*/ 222885 w 3474435"/>
                  <a:gd name="connsiteY44" fmla="*/ 151638 h 474916"/>
                  <a:gd name="connsiteX45" fmla="*/ 235554 w 3474435"/>
                  <a:gd name="connsiteY45" fmla="*/ 151638 h 474916"/>
                  <a:gd name="connsiteX46" fmla="*/ 235554 w 3474435"/>
                  <a:gd name="connsiteY46" fmla="*/ 157734 h 474916"/>
                  <a:gd name="connsiteX47" fmla="*/ 252413 w 3474435"/>
                  <a:gd name="connsiteY47" fmla="*/ 157734 h 474916"/>
                  <a:gd name="connsiteX48" fmla="*/ 252413 w 3474435"/>
                  <a:gd name="connsiteY48" fmla="*/ 163735 h 474916"/>
                  <a:gd name="connsiteX49" fmla="*/ 279750 w 3474435"/>
                  <a:gd name="connsiteY49" fmla="*/ 163735 h 474916"/>
                  <a:gd name="connsiteX50" fmla="*/ 279750 w 3474435"/>
                  <a:gd name="connsiteY50" fmla="*/ 169831 h 474916"/>
                  <a:gd name="connsiteX51" fmla="*/ 281845 w 3474435"/>
                  <a:gd name="connsiteY51" fmla="*/ 169831 h 474916"/>
                  <a:gd name="connsiteX52" fmla="*/ 281845 w 3474435"/>
                  <a:gd name="connsiteY52" fmla="*/ 175927 h 474916"/>
                  <a:gd name="connsiteX53" fmla="*/ 292322 w 3474435"/>
                  <a:gd name="connsiteY53" fmla="*/ 175927 h 474916"/>
                  <a:gd name="connsiteX54" fmla="*/ 292322 w 3474435"/>
                  <a:gd name="connsiteY54" fmla="*/ 181927 h 474916"/>
                  <a:gd name="connsiteX55" fmla="*/ 298609 w 3474435"/>
                  <a:gd name="connsiteY55" fmla="*/ 181927 h 474916"/>
                  <a:gd name="connsiteX56" fmla="*/ 298609 w 3474435"/>
                  <a:gd name="connsiteY56" fmla="*/ 194119 h 474916"/>
                  <a:gd name="connsiteX57" fmla="*/ 307086 w 3474435"/>
                  <a:gd name="connsiteY57" fmla="*/ 194119 h 474916"/>
                  <a:gd name="connsiteX58" fmla="*/ 307086 w 3474435"/>
                  <a:gd name="connsiteY58" fmla="*/ 200120 h 474916"/>
                  <a:gd name="connsiteX59" fmla="*/ 313373 w 3474435"/>
                  <a:gd name="connsiteY59" fmla="*/ 200120 h 474916"/>
                  <a:gd name="connsiteX60" fmla="*/ 313373 w 3474435"/>
                  <a:gd name="connsiteY60" fmla="*/ 212312 h 474916"/>
                  <a:gd name="connsiteX61" fmla="*/ 315468 w 3474435"/>
                  <a:gd name="connsiteY61" fmla="*/ 212312 h 474916"/>
                  <a:gd name="connsiteX62" fmla="*/ 315468 w 3474435"/>
                  <a:gd name="connsiteY62" fmla="*/ 218408 h 474916"/>
                  <a:gd name="connsiteX63" fmla="*/ 328041 w 3474435"/>
                  <a:gd name="connsiteY63" fmla="*/ 218408 h 474916"/>
                  <a:gd name="connsiteX64" fmla="*/ 328041 w 3474435"/>
                  <a:gd name="connsiteY64" fmla="*/ 224409 h 474916"/>
                  <a:gd name="connsiteX65" fmla="*/ 351187 w 3474435"/>
                  <a:gd name="connsiteY65" fmla="*/ 224409 h 474916"/>
                  <a:gd name="connsiteX66" fmla="*/ 351187 w 3474435"/>
                  <a:gd name="connsiteY66" fmla="*/ 230505 h 474916"/>
                  <a:gd name="connsiteX67" fmla="*/ 357569 w 3474435"/>
                  <a:gd name="connsiteY67" fmla="*/ 230505 h 474916"/>
                  <a:gd name="connsiteX68" fmla="*/ 357569 w 3474435"/>
                  <a:gd name="connsiteY68" fmla="*/ 236601 h 474916"/>
                  <a:gd name="connsiteX69" fmla="*/ 365951 w 3474435"/>
                  <a:gd name="connsiteY69" fmla="*/ 236601 h 474916"/>
                  <a:gd name="connsiteX70" fmla="*/ 365951 w 3474435"/>
                  <a:gd name="connsiteY70" fmla="*/ 242602 h 474916"/>
                  <a:gd name="connsiteX71" fmla="*/ 374333 w 3474435"/>
                  <a:gd name="connsiteY71" fmla="*/ 242602 h 474916"/>
                  <a:gd name="connsiteX72" fmla="*/ 374333 w 3474435"/>
                  <a:gd name="connsiteY72" fmla="*/ 248698 h 474916"/>
                  <a:gd name="connsiteX73" fmla="*/ 378524 w 3474435"/>
                  <a:gd name="connsiteY73" fmla="*/ 248698 h 474916"/>
                  <a:gd name="connsiteX74" fmla="*/ 378524 w 3474435"/>
                  <a:gd name="connsiteY74" fmla="*/ 254794 h 474916"/>
                  <a:gd name="connsiteX75" fmla="*/ 452152 w 3474435"/>
                  <a:gd name="connsiteY75" fmla="*/ 254794 h 474916"/>
                  <a:gd name="connsiteX76" fmla="*/ 452152 w 3474435"/>
                  <a:gd name="connsiteY76" fmla="*/ 260794 h 474916"/>
                  <a:gd name="connsiteX77" fmla="*/ 473202 w 3474435"/>
                  <a:gd name="connsiteY77" fmla="*/ 260794 h 474916"/>
                  <a:gd name="connsiteX78" fmla="*/ 473202 w 3474435"/>
                  <a:gd name="connsiteY78" fmla="*/ 266890 h 474916"/>
                  <a:gd name="connsiteX79" fmla="*/ 479489 w 3474435"/>
                  <a:gd name="connsiteY79" fmla="*/ 266890 h 474916"/>
                  <a:gd name="connsiteX80" fmla="*/ 479489 w 3474435"/>
                  <a:gd name="connsiteY80" fmla="*/ 272986 h 474916"/>
                  <a:gd name="connsiteX81" fmla="*/ 521589 w 3474435"/>
                  <a:gd name="connsiteY81" fmla="*/ 272986 h 474916"/>
                  <a:gd name="connsiteX82" fmla="*/ 521589 w 3474435"/>
                  <a:gd name="connsiteY82" fmla="*/ 278987 h 474916"/>
                  <a:gd name="connsiteX83" fmla="*/ 536258 w 3474435"/>
                  <a:gd name="connsiteY83" fmla="*/ 278987 h 474916"/>
                  <a:gd name="connsiteX84" fmla="*/ 536258 w 3474435"/>
                  <a:gd name="connsiteY84" fmla="*/ 285083 h 474916"/>
                  <a:gd name="connsiteX85" fmla="*/ 565785 w 3474435"/>
                  <a:gd name="connsiteY85" fmla="*/ 285083 h 474916"/>
                  <a:gd name="connsiteX86" fmla="*/ 565785 w 3474435"/>
                  <a:gd name="connsiteY86" fmla="*/ 291179 h 474916"/>
                  <a:gd name="connsiteX87" fmla="*/ 567881 w 3474435"/>
                  <a:gd name="connsiteY87" fmla="*/ 291179 h 474916"/>
                  <a:gd name="connsiteX88" fmla="*/ 567881 w 3474435"/>
                  <a:gd name="connsiteY88" fmla="*/ 297180 h 474916"/>
                  <a:gd name="connsiteX89" fmla="*/ 590931 w 3474435"/>
                  <a:gd name="connsiteY89" fmla="*/ 297180 h 474916"/>
                  <a:gd name="connsiteX90" fmla="*/ 590931 w 3474435"/>
                  <a:gd name="connsiteY90" fmla="*/ 303276 h 474916"/>
                  <a:gd name="connsiteX91" fmla="*/ 603600 w 3474435"/>
                  <a:gd name="connsiteY91" fmla="*/ 303276 h 474916"/>
                  <a:gd name="connsiteX92" fmla="*/ 603600 w 3474435"/>
                  <a:gd name="connsiteY92" fmla="*/ 309372 h 474916"/>
                  <a:gd name="connsiteX93" fmla="*/ 639318 w 3474435"/>
                  <a:gd name="connsiteY93" fmla="*/ 309372 h 474916"/>
                  <a:gd name="connsiteX94" fmla="*/ 639318 w 3474435"/>
                  <a:gd name="connsiteY94" fmla="*/ 315468 h 474916"/>
                  <a:gd name="connsiteX95" fmla="*/ 755047 w 3474435"/>
                  <a:gd name="connsiteY95" fmla="*/ 315468 h 474916"/>
                  <a:gd name="connsiteX96" fmla="*/ 755047 w 3474435"/>
                  <a:gd name="connsiteY96" fmla="*/ 321469 h 474916"/>
                  <a:gd name="connsiteX97" fmla="*/ 792861 w 3474435"/>
                  <a:gd name="connsiteY97" fmla="*/ 321469 h 474916"/>
                  <a:gd name="connsiteX98" fmla="*/ 792861 w 3474435"/>
                  <a:gd name="connsiteY98" fmla="*/ 327660 h 474916"/>
                  <a:gd name="connsiteX99" fmla="*/ 845439 w 3474435"/>
                  <a:gd name="connsiteY99" fmla="*/ 327660 h 474916"/>
                  <a:gd name="connsiteX100" fmla="*/ 845439 w 3474435"/>
                  <a:gd name="connsiteY100" fmla="*/ 333756 h 474916"/>
                  <a:gd name="connsiteX101" fmla="*/ 864394 w 3474435"/>
                  <a:gd name="connsiteY101" fmla="*/ 333756 h 474916"/>
                  <a:gd name="connsiteX102" fmla="*/ 864394 w 3474435"/>
                  <a:gd name="connsiteY102" fmla="*/ 339852 h 474916"/>
                  <a:gd name="connsiteX103" fmla="*/ 874872 w 3474435"/>
                  <a:gd name="connsiteY103" fmla="*/ 339852 h 474916"/>
                  <a:gd name="connsiteX104" fmla="*/ 874872 w 3474435"/>
                  <a:gd name="connsiteY104" fmla="*/ 346043 h 474916"/>
                  <a:gd name="connsiteX105" fmla="*/ 908590 w 3474435"/>
                  <a:gd name="connsiteY105" fmla="*/ 346043 h 474916"/>
                  <a:gd name="connsiteX106" fmla="*/ 908590 w 3474435"/>
                  <a:gd name="connsiteY106" fmla="*/ 352139 h 474916"/>
                  <a:gd name="connsiteX107" fmla="*/ 914877 w 3474435"/>
                  <a:gd name="connsiteY107" fmla="*/ 352139 h 474916"/>
                  <a:gd name="connsiteX108" fmla="*/ 914877 w 3474435"/>
                  <a:gd name="connsiteY108" fmla="*/ 358235 h 474916"/>
                  <a:gd name="connsiteX109" fmla="*/ 929545 w 3474435"/>
                  <a:gd name="connsiteY109" fmla="*/ 358235 h 474916"/>
                  <a:gd name="connsiteX110" fmla="*/ 929545 w 3474435"/>
                  <a:gd name="connsiteY110" fmla="*/ 364331 h 474916"/>
                  <a:gd name="connsiteX111" fmla="*/ 942213 w 3474435"/>
                  <a:gd name="connsiteY111" fmla="*/ 364331 h 474916"/>
                  <a:gd name="connsiteX112" fmla="*/ 942213 w 3474435"/>
                  <a:gd name="connsiteY112" fmla="*/ 370522 h 474916"/>
                  <a:gd name="connsiteX113" fmla="*/ 967455 w 3474435"/>
                  <a:gd name="connsiteY113" fmla="*/ 370522 h 474916"/>
                  <a:gd name="connsiteX114" fmla="*/ 967455 w 3474435"/>
                  <a:gd name="connsiteY114" fmla="*/ 376618 h 474916"/>
                  <a:gd name="connsiteX115" fmla="*/ 1196721 w 3474435"/>
                  <a:gd name="connsiteY115" fmla="*/ 376618 h 474916"/>
                  <a:gd name="connsiteX116" fmla="*/ 1196721 w 3474435"/>
                  <a:gd name="connsiteY116" fmla="*/ 382810 h 474916"/>
                  <a:gd name="connsiteX117" fmla="*/ 1310259 w 3474435"/>
                  <a:gd name="connsiteY117" fmla="*/ 382810 h 474916"/>
                  <a:gd name="connsiteX118" fmla="*/ 1310259 w 3474435"/>
                  <a:gd name="connsiteY118" fmla="*/ 389001 h 474916"/>
                  <a:gd name="connsiteX119" fmla="*/ 1579436 w 3474435"/>
                  <a:gd name="connsiteY119" fmla="*/ 389001 h 474916"/>
                  <a:gd name="connsiteX120" fmla="*/ 1579436 w 3474435"/>
                  <a:gd name="connsiteY120" fmla="*/ 395287 h 474916"/>
                  <a:gd name="connsiteX121" fmla="*/ 1653064 w 3474435"/>
                  <a:gd name="connsiteY121" fmla="*/ 395287 h 474916"/>
                  <a:gd name="connsiteX122" fmla="*/ 1653064 w 3474435"/>
                  <a:gd name="connsiteY122" fmla="*/ 401574 h 474916"/>
                  <a:gd name="connsiteX123" fmla="*/ 1732979 w 3474435"/>
                  <a:gd name="connsiteY123" fmla="*/ 401574 h 474916"/>
                  <a:gd name="connsiteX124" fmla="*/ 1732979 w 3474435"/>
                  <a:gd name="connsiteY124" fmla="*/ 407860 h 474916"/>
                  <a:gd name="connsiteX125" fmla="*/ 1894904 w 3474435"/>
                  <a:gd name="connsiteY125" fmla="*/ 407860 h 474916"/>
                  <a:gd name="connsiteX126" fmla="*/ 1894904 w 3474435"/>
                  <a:gd name="connsiteY126" fmla="*/ 414337 h 474916"/>
                  <a:gd name="connsiteX127" fmla="*/ 1911763 w 3474435"/>
                  <a:gd name="connsiteY127" fmla="*/ 414337 h 474916"/>
                  <a:gd name="connsiteX128" fmla="*/ 1911763 w 3474435"/>
                  <a:gd name="connsiteY128" fmla="*/ 420719 h 474916"/>
                  <a:gd name="connsiteX129" fmla="*/ 2029587 w 3474435"/>
                  <a:gd name="connsiteY129" fmla="*/ 420719 h 474916"/>
                  <a:gd name="connsiteX130" fmla="*/ 2029587 w 3474435"/>
                  <a:gd name="connsiteY130" fmla="*/ 427196 h 474916"/>
                  <a:gd name="connsiteX131" fmla="*/ 2122075 w 3474435"/>
                  <a:gd name="connsiteY131" fmla="*/ 427196 h 474916"/>
                  <a:gd name="connsiteX132" fmla="*/ 2122075 w 3474435"/>
                  <a:gd name="connsiteY132" fmla="*/ 433578 h 474916"/>
                  <a:gd name="connsiteX133" fmla="*/ 2141030 w 3474435"/>
                  <a:gd name="connsiteY133" fmla="*/ 433578 h 474916"/>
                  <a:gd name="connsiteX134" fmla="*/ 2141030 w 3474435"/>
                  <a:gd name="connsiteY134" fmla="*/ 440055 h 474916"/>
                  <a:gd name="connsiteX135" fmla="*/ 2994851 w 3474435"/>
                  <a:gd name="connsiteY135" fmla="*/ 440055 h 474916"/>
                  <a:gd name="connsiteX136" fmla="*/ 2994851 w 3474435"/>
                  <a:gd name="connsiteY136" fmla="*/ 474916 h 474916"/>
                  <a:gd name="connsiteX137" fmla="*/ 3474435 w 3474435"/>
                  <a:gd name="connsiteY137" fmla="*/ 474916 h 474916"/>
                  <a:gd name="connsiteX0" fmla="*/ 0 w 3474435"/>
                  <a:gd name="connsiteY0" fmla="*/ 0 h 474916"/>
                  <a:gd name="connsiteX1" fmla="*/ 14669 w 3474435"/>
                  <a:gd name="connsiteY1" fmla="*/ 6001 h 474916"/>
                  <a:gd name="connsiteX2" fmla="*/ 18955 w 3474435"/>
                  <a:gd name="connsiteY2" fmla="*/ 6001 h 474916"/>
                  <a:gd name="connsiteX3" fmla="*/ 18955 w 3474435"/>
                  <a:gd name="connsiteY3" fmla="*/ 12097 h 474916"/>
                  <a:gd name="connsiteX4" fmla="*/ 29432 w 3474435"/>
                  <a:gd name="connsiteY4" fmla="*/ 12097 h 474916"/>
                  <a:gd name="connsiteX5" fmla="*/ 29432 w 3474435"/>
                  <a:gd name="connsiteY5" fmla="*/ 18193 h 474916"/>
                  <a:gd name="connsiteX6" fmla="*/ 37815 w 3474435"/>
                  <a:gd name="connsiteY6" fmla="*/ 18193 h 474916"/>
                  <a:gd name="connsiteX7" fmla="*/ 37815 w 3474435"/>
                  <a:gd name="connsiteY7" fmla="*/ 24289 h 474916"/>
                  <a:gd name="connsiteX8" fmla="*/ 52578 w 3474435"/>
                  <a:gd name="connsiteY8" fmla="*/ 24289 h 474916"/>
                  <a:gd name="connsiteX9" fmla="*/ 52578 w 3474435"/>
                  <a:gd name="connsiteY9" fmla="*/ 30289 h 474916"/>
                  <a:gd name="connsiteX10" fmla="*/ 56769 w 3474435"/>
                  <a:gd name="connsiteY10" fmla="*/ 30289 h 474916"/>
                  <a:gd name="connsiteX11" fmla="*/ 56769 w 3474435"/>
                  <a:gd name="connsiteY11" fmla="*/ 36385 h 474916"/>
                  <a:gd name="connsiteX12" fmla="*/ 60960 w 3474435"/>
                  <a:gd name="connsiteY12" fmla="*/ 36385 h 474916"/>
                  <a:gd name="connsiteX13" fmla="*/ 60960 w 3474435"/>
                  <a:gd name="connsiteY13" fmla="*/ 42481 h 474916"/>
                  <a:gd name="connsiteX14" fmla="*/ 73629 w 3474435"/>
                  <a:gd name="connsiteY14" fmla="*/ 42481 h 474916"/>
                  <a:gd name="connsiteX15" fmla="*/ 73629 w 3474435"/>
                  <a:gd name="connsiteY15" fmla="*/ 48482 h 474916"/>
                  <a:gd name="connsiteX16" fmla="*/ 103061 w 3474435"/>
                  <a:gd name="connsiteY16" fmla="*/ 48482 h 474916"/>
                  <a:gd name="connsiteX17" fmla="*/ 103061 w 3474435"/>
                  <a:gd name="connsiteY17" fmla="*/ 54578 h 474916"/>
                  <a:gd name="connsiteX18" fmla="*/ 111443 w 3474435"/>
                  <a:gd name="connsiteY18" fmla="*/ 54578 h 474916"/>
                  <a:gd name="connsiteX19" fmla="*/ 111443 w 3474435"/>
                  <a:gd name="connsiteY19" fmla="*/ 60674 h 474916"/>
                  <a:gd name="connsiteX20" fmla="*/ 113538 w 3474435"/>
                  <a:gd name="connsiteY20" fmla="*/ 60674 h 474916"/>
                  <a:gd name="connsiteX21" fmla="*/ 113538 w 3474435"/>
                  <a:gd name="connsiteY21" fmla="*/ 66675 h 474916"/>
                  <a:gd name="connsiteX22" fmla="*/ 128302 w 3474435"/>
                  <a:gd name="connsiteY22" fmla="*/ 66675 h 474916"/>
                  <a:gd name="connsiteX23" fmla="*/ 128302 w 3474435"/>
                  <a:gd name="connsiteY23" fmla="*/ 78867 h 474916"/>
                  <a:gd name="connsiteX24" fmla="*/ 130398 w 3474435"/>
                  <a:gd name="connsiteY24" fmla="*/ 78867 h 474916"/>
                  <a:gd name="connsiteX25" fmla="*/ 130398 w 3474435"/>
                  <a:gd name="connsiteY25" fmla="*/ 84868 h 474916"/>
                  <a:gd name="connsiteX26" fmla="*/ 136684 w 3474435"/>
                  <a:gd name="connsiteY26" fmla="*/ 84868 h 474916"/>
                  <a:gd name="connsiteX27" fmla="*/ 136684 w 3474435"/>
                  <a:gd name="connsiteY27" fmla="*/ 90964 h 474916"/>
                  <a:gd name="connsiteX28" fmla="*/ 140875 w 3474435"/>
                  <a:gd name="connsiteY28" fmla="*/ 90964 h 474916"/>
                  <a:gd name="connsiteX29" fmla="*/ 140875 w 3474435"/>
                  <a:gd name="connsiteY29" fmla="*/ 97060 h 474916"/>
                  <a:gd name="connsiteX30" fmla="*/ 157734 w 3474435"/>
                  <a:gd name="connsiteY30" fmla="*/ 97060 h 474916"/>
                  <a:gd name="connsiteX31" fmla="*/ 157734 w 3474435"/>
                  <a:gd name="connsiteY31" fmla="*/ 109156 h 474916"/>
                  <a:gd name="connsiteX32" fmla="*/ 161925 w 3474435"/>
                  <a:gd name="connsiteY32" fmla="*/ 109156 h 474916"/>
                  <a:gd name="connsiteX33" fmla="*/ 161925 w 3474435"/>
                  <a:gd name="connsiteY33" fmla="*/ 115252 h 474916"/>
                  <a:gd name="connsiteX34" fmla="*/ 185071 w 3474435"/>
                  <a:gd name="connsiteY34" fmla="*/ 115252 h 474916"/>
                  <a:gd name="connsiteX35" fmla="*/ 185071 w 3474435"/>
                  <a:gd name="connsiteY35" fmla="*/ 121348 h 474916"/>
                  <a:gd name="connsiteX36" fmla="*/ 189262 w 3474435"/>
                  <a:gd name="connsiteY36" fmla="*/ 121348 h 474916"/>
                  <a:gd name="connsiteX37" fmla="*/ 189262 w 3474435"/>
                  <a:gd name="connsiteY37" fmla="*/ 127349 h 474916"/>
                  <a:gd name="connsiteX38" fmla="*/ 195549 w 3474435"/>
                  <a:gd name="connsiteY38" fmla="*/ 127349 h 474916"/>
                  <a:gd name="connsiteX39" fmla="*/ 195549 w 3474435"/>
                  <a:gd name="connsiteY39" fmla="*/ 139541 h 474916"/>
                  <a:gd name="connsiteX40" fmla="*/ 214503 w 3474435"/>
                  <a:gd name="connsiteY40" fmla="*/ 139541 h 474916"/>
                  <a:gd name="connsiteX41" fmla="*/ 214503 w 3474435"/>
                  <a:gd name="connsiteY41" fmla="*/ 145542 h 474916"/>
                  <a:gd name="connsiteX42" fmla="*/ 222885 w 3474435"/>
                  <a:gd name="connsiteY42" fmla="*/ 145542 h 474916"/>
                  <a:gd name="connsiteX43" fmla="*/ 222885 w 3474435"/>
                  <a:gd name="connsiteY43" fmla="*/ 151638 h 474916"/>
                  <a:gd name="connsiteX44" fmla="*/ 235554 w 3474435"/>
                  <a:gd name="connsiteY44" fmla="*/ 151638 h 474916"/>
                  <a:gd name="connsiteX45" fmla="*/ 235554 w 3474435"/>
                  <a:gd name="connsiteY45" fmla="*/ 157734 h 474916"/>
                  <a:gd name="connsiteX46" fmla="*/ 252413 w 3474435"/>
                  <a:gd name="connsiteY46" fmla="*/ 157734 h 474916"/>
                  <a:gd name="connsiteX47" fmla="*/ 252413 w 3474435"/>
                  <a:gd name="connsiteY47" fmla="*/ 163735 h 474916"/>
                  <a:gd name="connsiteX48" fmla="*/ 279750 w 3474435"/>
                  <a:gd name="connsiteY48" fmla="*/ 163735 h 474916"/>
                  <a:gd name="connsiteX49" fmla="*/ 279750 w 3474435"/>
                  <a:gd name="connsiteY49" fmla="*/ 169831 h 474916"/>
                  <a:gd name="connsiteX50" fmla="*/ 281845 w 3474435"/>
                  <a:gd name="connsiteY50" fmla="*/ 169831 h 474916"/>
                  <a:gd name="connsiteX51" fmla="*/ 281845 w 3474435"/>
                  <a:gd name="connsiteY51" fmla="*/ 175927 h 474916"/>
                  <a:gd name="connsiteX52" fmla="*/ 292322 w 3474435"/>
                  <a:gd name="connsiteY52" fmla="*/ 175927 h 474916"/>
                  <a:gd name="connsiteX53" fmla="*/ 292322 w 3474435"/>
                  <a:gd name="connsiteY53" fmla="*/ 181927 h 474916"/>
                  <a:gd name="connsiteX54" fmla="*/ 298609 w 3474435"/>
                  <a:gd name="connsiteY54" fmla="*/ 181927 h 474916"/>
                  <a:gd name="connsiteX55" fmla="*/ 298609 w 3474435"/>
                  <a:gd name="connsiteY55" fmla="*/ 194119 h 474916"/>
                  <a:gd name="connsiteX56" fmla="*/ 307086 w 3474435"/>
                  <a:gd name="connsiteY56" fmla="*/ 194119 h 474916"/>
                  <a:gd name="connsiteX57" fmla="*/ 307086 w 3474435"/>
                  <a:gd name="connsiteY57" fmla="*/ 200120 h 474916"/>
                  <a:gd name="connsiteX58" fmla="*/ 313373 w 3474435"/>
                  <a:gd name="connsiteY58" fmla="*/ 200120 h 474916"/>
                  <a:gd name="connsiteX59" fmla="*/ 313373 w 3474435"/>
                  <a:gd name="connsiteY59" fmla="*/ 212312 h 474916"/>
                  <a:gd name="connsiteX60" fmla="*/ 315468 w 3474435"/>
                  <a:gd name="connsiteY60" fmla="*/ 212312 h 474916"/>
                  <a:gd name="connsiteX61" fmla="*/ 315468 w 3474435"/>
                  <a:gd name="connsiteY61" fmla="*/ 218408 h 474916"/>
                  <a:gd name="connsiteX62" fmla="*/ 328041 w 3474435"/>
                  <a:gd name="connsiteY62" fmla="*/ 218408 h 474916"/>
                  <a:gd name="connsiteX63" fmla="*/ 328041 w 3474435"/>
                  <a:gd name="connsiteY63" fmla="*/ 224409 h 474916"/>
                  <a:gd name="connsiteX64" fmla="*/ 351187 w 3474435"/>
                  <a:gd name="connsiteY64" fmla="*/ 224409 h 474916"/>
                  <a:gd name="connsiteX65" fmla="*/ 351187 w 3474435"/>
                  <a:gd name="connsiteY65" fmla="*/ 230505 h 474916"/>
                  <a:gd name="connsiteX66" fmla="*/ 357569 w 3474435"/>
                  <a:gd name="connsiteY66" fmla="*/ 230505 h 474916"/>
                  <a:gd name="connsiteX67" fmla="*/ 357569 w 3474435"/>
                  <a:gd name="connsiteY67" fmla="*/ 236601 h 474916"/>
                  <a:gd name="connsiteX68" fmla="*/ 365951 w 3474435"/>
                  <a:gd name="connsiteY68" fmla="*/ 236601 h 474916"/>
                  <a:gd name="connsiteX69" fmla="*/ 365951 w 3474435"/>
                  <a:gd name="connsiteY69" fmla="*/ 242602 h 474916"/>
                  <a:gd name="connsiteX70" fmla="*/ 374333 w 3474435"/>
                  <a:gd name="connsiteY70" fmla="*/ 242602 h 474916"/>
                  <a:gd name="connsiteX71" fmla="*/ 374333 w 3474435"/>
                  <a:gd name="connsiteY71" fmla="*/ 248698 h 474916"/>
                  <a:gd name="connsiteX72" fmla="*/ 378524 w 3474435"/>
                  <a:gd name="connsiteY72" fmla="*/ 248698 h 474916"/>
                  <a:gd name="connsiteX73" fmla="*/ 378524 w 3474435"/>
                  <a:gd name="connsiteY73" fmla="*/ 254794 h 474916"/>
                  <a:gd name="connsiteX74" fmla="*/ 452152 w 3474435"/>
                  <a:gd name="connsiteY74" fmla="*/ 254794 h 474916"/>
                  <a:gd name="connsiteX75" fmla="*/ 452152 w 3474435"/>
                  <a:gd name="connsiteY75" fmla="*/ 260794 h 474916"/>
                  <a:gd name="connsiteX76" fmla="*/ 473202 w 3474435"/>
                  <a:gd name="connsiteY76" fmla="*/ 260794 h 474916"/>
                  <a:gd name="connsiteX77" fmla="*/ 473202 w 3474435"/>
                  <a:gd name="connsiteY77" fmla="*/ 266890 h 474916"/>
                  <a:gd name="connsiteX78" fmla="*/ 479489 w 3474435"/>
                  <a:gd name="connsiteY78" fmla="*/ 266890 h 474916"/>
                  <a:gd name="connsiteX79" fmla="*/ 479489 w 3474435"/>
                  <a:gd name="connsiteY79" fmla="*/ 272986 h 474916"/>
                  <a:gd name="connsiteX80" fmla="*/ 521589 w 3474435"/>
                  <a:gd name="connsiteY80" fmla="*/ 272986 h 474916"/>
                  <a:gd name="connsiteX81" fmla="*/ 521589 w 3474435"/>
                  <a:gd name="connsiteY81" fmla="*/ 278987 h 474916"/>
                  <a:gd name="connsiteX82" fmla="*/ 536258 w 3474435"/>
                  <a:gd name="connsiteY82" fmla="*/ 278987 h 474916"/>
                  <a:gd name="connsiteX83" fmla="*/ 536258 w 3474435"/>
                  <a:gd name="connsiteY83" fmla="*/ 285083 h 474916"/>
                  <a:gd name="connsiteX84" fmla="*/ 565785 w 3474435"/>
                  <a:gd name="connsiteY84" fmla="*/ 285083 h 474916"/>
                  <a:gd name="connsiteX85" fmla="*/ 565785 w 3474435"/>
                  <a:gd name="connsiteY85" fmla="*/ 291179 h 474916"/>
                  <a:gd name="connsiteX86" fmla="*/ 567881 w 3474435"/>
                  <a:gd name="connsiteY86" fmla="*/ 291179 h 474916"/>
                  <a:gd name="connsiteX87" fmla="*/ 567881 w 3474435"/>
                  <a:gd name="connsiteY87" fmla="*/ 297180 h 474916"/>
                  <a:gd name="connsiteX88" fmla="*/ 590931 w 3474435"/>
                  <a:gd name="connsiteY88" fmla="*/ 297180 h 474916"/>
                  <a:gd name="connsiteX89" fmla="*/ 590931 w 3474435"/>
                  <a:gd name="connsiteY89" fmla="*/ 303276 h 474916"/>
                  <a:gd name="connsiteX90" fmla="*/ 603600 w 3474435"/>
                  <a:gd name="connsiteY90" fmla="*/ 303276 h 474916"/>
                  <a:gd name="connsiteX91" fmla="*/ 603600 w 3474435"/>
                  <a:gd name="connsiteY91" fmla="*/ 309372 h 474916"/>
                  <a:gd name="connsiteX92" fmla="*/ 639318 w 3474435"/>
                  <a:gd name="connsiteY92" fmla="*/ 309372 h 474916"/>
                  <a:gd name="connsiteX93" fmla="*/ 639318 w 3474435"/>
                  <a:gd name="connsiteY93" fmla="*/ 315468 h 474916"/>
                  <a:gd name="connsiteX94" fmla="*/ 755047 w 3474435"/>
                  <a:gd name="connsiteY94" fmla="*/ 315468 h 474916"/>
                  <a:gd name="connsiteX95" fmla="*/ 755047 w 3474435"/>
                  <a:gd name="connsiteY95" fmla="*/ 321469 h 474916"/>
                  <a:gd name="connsiteX96" fmla="*/ 792861 w 3474435"/>
                  <a:gd name="connsiteY96" fmla="*/ 321469 h 474916"/>
                  <a:gd name="connsiteX97" fmla="*/ 792861 w 3474435"/>
                  <a:gd name="connsiteY97" fmla="*/ 327660 h 474916"/>
                  <a:gd name="connsiteX98" fmla="*/ 845439 w 3474435"/>
                  <a:gd name="connsiteY98" fmla="*/ 327660 h 474916"/>
                  <a:gd name="connsiteX99" fmla="*/ 845439 w 3474435"/>
                  <a:gd name="connsiteY99" fmla="*/ 333756 h 474916"/>
                  <a:gd name="connsiteX100" fmla="*/ 864394 w 3474435"/>
                  <a:gd name="connsiteY100" fmla="*/ 333756 h 474916"/>
                  <a:gd name="connsiteX101" fmla="*/ 864394 w 3474435"/>
                  <a:gd name="connsiteY101" fmla="*/ 339852 h 474916"/>
                  <a:gd name="connsiteX102" fmla="*/ 874872 w 3474435"/>
                  <a:gd name="connsiteY102" fmla="*/ 339852 h 474916"/>
                  <a:gd name="connsiteX103" fmla="*/ 874872 w 3474435"/>
                  <a:gd name="connsiteY103" fmla="*/ 346043 h 474916"/>
                  <a:gd name="connsiteX104" fmla="*/ 908590 w 3474435"/>
                  <a:gd name="connsiteY104" fmla="*/ 346043 h 474916"/>
                  <a:gd name="connsiteX105" fmla="*/ 908590 w 3474435"/>
                  <a:gd name="connsiteY105" fmla="*/ 352139 h 474916"/>
                  <a:gd name="connsiteX106" fmla="*/ 914877 w 3474435"/>
                  <a:gd name="connsiteY106" fmla="*/ 352139 h 474916"/>
                  <a:gd name="connsiteX107" fmla="*/ 914877 w 3474435"/>
                  <a:gd name="connsiteY107" fmla="*/ 358235 h 474916"/>
                  <a:gd name="connsiteX108" fmla="*/ 929545 w 3474435"/>
                  <a:gd name="connsiteY108" fmla="*/ 358235 h 474916"/>
                  <a:gd name="connsiteX109" fmla="*/ 929545 w 3474435"/>
                  <a:gd name="connsiteY109" fmla="*/ 364331 h 474916"/>
                  <a:gd name="connsiteX110" fmla="*/ 942213 w 3474435"/>
                  <a:gd name="connsiteY110" fmla="*/ 364331 h 474916"/>
                  <a:gd name="connsiteX111" fmla="*/ 942213 w 3474435"/>
                  <a:gd name="connsiteY111" fmla="*/ 370522 h 474916"/>
                  <a:gd name="connsiteX112" fmla="*/ 967455 w 3474435"/>
                  <a:gd name="connsiteY112" fmla="*/ 370522 h 474916"/>
                  <a:gd name="connsiteX113" fmla="*/ 967455 w 3474435"/>
                  <a:gd name="connsiteY113" fmla="*/ 376618 h 474916"/>
                  <a:gd name="connsiteX114" fmla="*/ 1196721 w 3474435"/>
                  <a:gd name="connsiteY114" fmla="*/ 376618 h 474916"/>
                  <a:gd name="connsiteX115" fmla="*/ 1196721 w 3474435"/>
                  <a:gd name="connsiteY115" fmla="*/ 382810 h 474916"/>
                  <a:gd name="connsiteX116" fmla="*/ 1310259 w 3474435"/>
                  <a:gd name="connsiteY116" fmla="*/ 382810 h 474916"/>
                  <a:gd name="connsiteX117" fmla="*/ 1310259 w 3474435"/>
                  <a:gd name="connsiteY117" fmla="*/ 389001 h 474916"/>
                  <a:gd name="connsiteX118" fmla="*/ 1579436 w 3474435"/>
                  <a:gd name="connsiteY118" fmla="*/ 389001 h 474916"/>
                  <a:gd name="connsiteX119" fmla="*/ 1579436 w 3474435"/>
                  <a:gd name="connsiteY119" fmla="*/ 395287 h 474916"/>
                  <a:gd name="connsiteX120" fmla="*/ 1653064 w 3474435"/>
                  <a:gd name="connsiteY120" fmla="*/ 395287 h 474916"/>
                  <a:gd name="connsiteX121" fmla="*/ 1653064 w 3474435"/>
                  <a:gd name="connsiteY121" fmla="*/ 401574 h 474916"/>
                  <a:gd name="connsiteX122" fmla="*/ 1732979 w 3474435"/>
                  <a:gd name="connsiteY122" fmla="*/ 401574 h 474916"/>
                  <a:gd name="connsiteX123" fmla="*/ 1732979 w 3474435"/>
                  <a:gd name="connsiteY123" fmla="*/ 407860 h 474916"/>
                  <a:gd name="connsiteX124" fmla="*/ 1894904 w 3474435"/>
                  <a:gd name="connsiteY124" fmla="*/ 407860 h 474916"/>
                  <a:gd name="connsiteX125" fmla="*/ 1894904 w 3474435"/>
                  <a:gd name="connsiteY125" fmla="*/ 414337 h 474916"/>
                  <a:gd name="connsiteX126" fmla="*/ 1911763 w 3474435"/>
                  <a:gd name="connsiteY126" fmla="*/ 414337 h 474916"/>
                  <a:gd name="connsiteX127" fmla="*/ 1911763 w 3474435"/>
                  <a:gd name="connsiteY127" fmla="*/ 420719 h 474916"/>
                  <a:gd name="connsiteX128" fmla="*/ 2029587 w 3474435"/>
                  <a:gd name="connsiteY128" fmla="*/ 420719 h 474916"/>
                  <a:gd name="connsiteX129" fmla="*/ 2029587 w 3474435"/>
                  <a:gd name="connsiteY129" fmla="*/ 427196 h 474916"/>
                  <a:gd name="connsiteX130" fmla="*/ 2122075 w 3474435"/>
                  <a:gd name="connsiteY130" fmla="*/ 427196 h 474916"/>
                  <a:gd name="connsiteX131" fmla="*/ 2122075 w 3474435"/>
                  <a:gd name="connsiteY131" fmla="*/ 433578 h 474916"/>
                  <a:gd name="connsiteX132" fmla="*/ 2141030 w 3474435"/>
                  <a:gd name="connsiteY132" fmla="*/ 433578 h 474916"/>
                  <a:gd name="connsiteX133" fmla="*/ 2141030 w 3474435"/>
                  <a:gd name="connsiteY133" fmla="*/ 440055 h 474916"/>
                  <a:gd name="connsiteX134" fmla="*/ 2994851 w 3474435"/>
                  <a:gd name="connsiteY134" fmla="*/ 440055 h 474916"/>
                  <a:gd name="connsiteX135" fmla="*/ 2994851 w 3474435"/>
                  <a:gd name="connsiteY135" fmla="*/ 474916 h 474916"/>
                  <a:gd name="connsiteX136" fmla="*/ 3474435 w 3474435"/>
                  <a:gd name="connsiteY136" fmla="*/ 474916 h 474916"/>
                  <a:gd name="connsiteX0" fmla="*/ 0 w 3459766"/>
                  <a:gd name="connsiteY0" fmla="*/ 0 h 468915"/>
                  <a:gd name="connsiteX1" fmla="*/ 4286 w 3459766"/>
                  <a:gd name="connsiteY1" fmla="*/ 0 h 468915"/>
                  <a:gd name="connsiteX2" fmla="*/ 4286 w 3459766"/>
                  <a:gd name="connsiteY2" fmla="*/ 6096 h 468915"/>
                  <a:gd name="connsiteX3" fmla="*/ 14763 w 3459766"/>
                  <a:gd name="connsiteY3" fmla="*/ 6096 h 468915"/>
                  <a:gd name="connsiteX4" fmla="*/ 14763 w 3459766"/>
                  <a:gd name="connsiteY4" fmla="*/ 12192 h 468915"/>
                  <a:gd name="connsiteX5" fmla="*/ 23146 w 3459766"/>
                  <a:gd name="connsiteY5" fmla="*/ 12192 h 468915"/>
                  <a:gd name="connsiteX6" fmla="*/ 23146 w 3459766"/>
                  <a:gd name="connsiteY6" fmla="*/ 18288 h 468915"/>
                  <a:gd name="connsiteX7" fmla="*/ 37909 w 3459766"/>
                  <a:gd name="connsiteY7" fmla="*/ 18288 h 468915"/>
                  <a:gd name="connsiteX8" fmla="*/ 37909 w 3459766"/>
                  <a:gd name="connsiteY8" fmla="*/ 24288 h 468915"/>
                  <a:gd name="connsiteX9" fmla="*/ 42100 w 3459766"/>
                  <a:gd name="connsiteY9" fmla="*/ 24288 h 468915"/>
                  <a:gd name="connsiteX10" fmla="*/ 42100 w 3459766"/>
                  <a:gd name="connsiteY10" fmla="*/ 30384 h 468915"/>
                  <a:gd name="connsiteX11" fmla="*/ 46291 w 3459766"/>
                  <a:gd name="connsiteY11" fmla="*/ 30384 h 468915"/>
                  <a:gd name="connsiteX12" fmla="*/ 46291 w 3459766"/>
                  <a:gd name="connsiteY12" fmla="*/ 36480 h 468915"/>
                  <a:gd name="connsiteX13" fmla="*/ 58960 w 3459766"/>
                  <a:gd name="connsiteY13" fmla="*/ 36480 h 468915"/>
                  <a:gd name="connsiteX14" fmla="*/ 58960 w 3459766"/>
                  <a:gd name="connsiteY14" fmla="*/ 42481 h 468915"/>
                  <a:gd name="connsiteX15" fmla="*/ 88392 w 3459766"/>
                  <a:gd name="connsiteY15" fmla="*/ 42481 h 468915"/>
                  <a:gd name="connsiteX16" fmla="*/ 88392 w 3459766"/>
                  <a:gd name="connsiteY16" fmla="*/ 48577 h 468915"/>
                  <a:gd name="connsiteX17" fmla="*/ 96774 w 3459766"/>
                  <a:gd name="connsiteY17" fmla="*/ 48577 h 468915"/>
                  <a:gd name="connsiteX18" fmla="*/ 96774 w 3459766"/>
                  <a:gd name="connsiteY18" fmla="*/ 54673 h 468915"/>
                  <a:gd name="connsiteX19" fmla="*/ 98869 w 3459766"/>
                  <a:gd name="connsiteY19" fmla="*/ 54673 h 468915"/>
                  <a:gd name="connsiteX20" fmla="*/ 98869 w 3459766"/>
                  <a:gd name="connsiteY20" fmla="*/ 60674 h 468915"/>
                  <a:gd name="connsiteX21" fmla="*/ 113633 w 3459766"/>
                  <a:gd name="connsiteY21" fmla="*/ 60674 h 468915"/>
                  <a:gd name="connsiteX22" fmla="*/ 113633 w 3459766"/>
                  <a:gd name="connsiteY22" fmla="*/ 72866 h 468915"/>
                  <a:gd name="connsiteX23" fmla="*/ 115729 w 3459766"/>
                  <a:gd name="connsiteY23" fmla="*/ 72866 h 468915"/>
                  <a:gd name="connsiteX24" fmla="*/ 115729 w 3459766"/>
                  <a:gd name="connsiteY24" fmla="*/ 78867 h 468915"/>
                  <a:gd name="connsiteX25" fmla="*/ 122015 w 3459766"/>
                  <a:gd name="connsiteY25" fmla="*/ 78867 h 468915"/>
                  <a:gd name="connsiteX26" fmla="*/ 122015 w 3459766"/>
                  <a:gd name="connsiteY26" fmla="*/ 84963 h 468915"/>
                  <a:gd name="connsiteX27" fmla="*/ 126206 w 3459766"/>
                  <a:gd name="connsiteY27" fmla="*/ 84963 h 468915"/>
                  <a:gd name="connsiteX28" fmla="*/ 126206 w 3459766"/>
                  <a:gd name="connsiteY28" fmla="*/ 91059 h 468915"/>
                  <a:gd name="connsiteX29" fmla="*/ 143065 w 3459766"/>
                  <a:gd name="connsiteY29" fmla="*/ 91059 h 468915"/>
                  <a:gd name="connsiteX30" fmla="*/ 143065 w 3459766"/>
                  <a:gd name="connsiteY30" fmla="*/ 103155 h 468915"/>
                  <a:gd name="connsiteX31" fmla="*/ 147256 w 3459766"/>
                  <a:gd name="connsiteY31" fmla="*/ 103155 h 468915"/>
                  <a:gd name="connsiteX32" fmla="*/ 147256 w 3459766"/>
                  <a:gd name="connsiteY32" fmla="*/ 109251 h 468915"/>
                  <a:gd name="connsiteX33" fmla="*/ 170402 w 3459766"/>
                  <a:gd name="connsiteY33" fmla="*/ 109251 h 468915"/>
                  <a:gd name="connsiteX34" fmla="*/ 170402 w 3459766"/>
                  <a:gd name="connsiteY34" fmla="*/ 115347 h 468915"/>
                  <a:gd name="connsiteX35" fmla="*/ 174593 w 3459766"/>
                  <a:gd name="connsiteY35" fmla="*/ 115347 h 468915"/>
                  <a:gd name="connsiteX36" fmla="*/ 174593 w 3459766"/>
                  <a:gd name="connsiteY36" fmla="*/ 121348 h 468915"/>
                  <a:gd name="connsiteX37" fmla="*/ 180880 w 3459766"/>
                  <a:gd name="connsiteY37" fmla="*/ 121348 h 468915"/>
                  <a:gd name="connsiteX38" fmla="*/ 180880 w 3459766"/>
                  <a:gd name="connsiteY38" fmla="*/ 133540 h 468915"/>
                  <a:gd name="connsiteX39" fmla="*/ 199834 w 3459766"/>
                  <a:gd name="connsiteY39" fmla="*/ 133540 h 468915"/>
                  <a:gd name="connsiteX40" fmla="*/ 199834 w 3459766"/>
                  <a:gd name="connsiteY40" fmla="*/ 139541 h 468915"/>
                  <a:gd name="connsiteX41" fmla="*/ 208216 w 3459766"/>
                  <a:gd name="connsiteY41" fmla="*/ 139541 h 468915"/>
                  <a:gd name="connsiteX42" fmla="*/ 208216 w 3459766"/>
                  <a:gd name="connsiteY42" fmla="*/ 145637 h 468915"/>
                  <a:gd name="connsiteX43" fmla="*/ 220885 w 3459766"/>
                  <a:gd name="connsiteY43" fmla="*/ 145637 h 468915"/>
                  <a:gd name="connsiteX44" fmla="*/ 220885 w 3459766"/>
                  <a:gd name="connsiteY44" fmla="*/ 151733 h 468915"/>
                  <a:gd name="connsiteX45" fmla="*/ 237744 w 3459766"/>
                  <a:gd name="connsiteY45" fmla="*/ 151733 h 468915"/>
                  <a:gd name="connsiteX46" fmla="*/ 237744 w 3459766"/>
                  <a:gd name="connsiteY46" fmla="*/ 157734 h 468915"/>
                  <a:gd name="connsiteX47" fmla="*/ 265081 w 3459766"/>
                  <a:gd name="connsiteY47" fmla="*/ 157734 h 468915"/>
                  <a:gd name="connsiteX48" fmla="*/ 265081 w 3459766"/>
                  <a:gd name="connsiteY48" fmla="*/ 163830 h 468915"/>
                  <a:gd name="connsiteX49" fmla="*/ 267176 w 3459766"/>
                  <a:gd name="connsiteY49" fmla="*/ 163830 h 468915"/>
                  <a:gd name="connsiteX50" fmla="*/ 267176 w 3459766"/>
                  <a:gd name="connsiteY50" fmla="*/ 169926 h 468915"/>
                  <a:gd name="connsiteX51" fmla="*/ 277653 w 3459766"/>
                  <a:gd name="connsiteY51" fmla="*/ 169926 h 468915"/>
                  <a:gd name="connsiteX52" fmla="*/ 277653 w 3459766"/>
                  <a:gd name="connsiteY52" fmla="*/ 175926 h 468915"/>
                  <a:gd name="connsiteX53" fmla="*/ 283940 w 3459766"/>
                  <a:gd name="connsiteY53" fmla="*/ 175926 h 468915"/>
                  <a:gd name="connsiteX54" fmla="*/ 283940 w 3459766"/>
                  <a:gd name="connsiteY54" fmla="*/ 188118 h 468915"/>
                  <a:gd name="connsiteX55" fmla="*/ 292417 w 3459766"/>
                  <a:gd name="connsiteY55" fmla="*/ 188118 h 468915"/>
                  <a:gd name="connsiteX56" fmla="*/ 292417 w 3459766"/>
                  <a:gd name="connsiteY56" fmla="*/ 194119 h 468915"/>
                  <a:gd name="connsiteX57" fmla="*/ 298704 w 3459766"/>
                  <a:gd name="connsiteY57" fmla="*/ 194119 h 468915"/>
                  <a:gd name="connsiteX58" fmla="*/ 298704 w 3459766"/>
                  <a:gd name="connsiteY58" fmla="*/ 206311 h 468915"/>
                  <a:gd name="connsiteX59" fmla="*/ 300799 w 3459766"/>
                  <a:gd name="connsiteY59" fmla="*/ 206311 h 468915"/>
                  <a:gd name="connsiteX60" fmla="*/ 300799 w 3459766"/>
                  <a:gd name="connsiteY60" fmla="*/ 212407 h 468915"/>
                  <a:gd name="connsiteX61" fmla="*/ 313372 w 3459766"/>
                  <a:gd name="connsiteY61" fmla="*/ 212407 h 468915"/>
                  <a:gd name="connsiteX62" fmla="*/ 313372 w 3459766"/>
                  <a:gd name="connsiteY62" fmla="*/ 218408 h 468915"/>
                  <a:gd name="connsiteX63" fmla="*/ 336518 w 3459766"/>
                  <a:gd name="connsiteY63" fmla="*/ 218408 h 468915"/>
                  <a:gd name="connsiteX64" fmla="*/ 336518 w 3459766"/>
                  <a:gd name="connsiteY64" fmla="*/ 224504 h 468915"/>
                  <a:gd name="connsiteX65" fmla="*/ 342900 w 3459766"/>
                  <a:gd name="connsiteY65" fmla="*/ 224504 h 468915"/>
                  <a:gd name="connsiteX66" fmla="*/ 342900 w 3459766"/>
                  <a:gd name="connsiteY66" fmla="*/ 230600 h 468915"/>
                  <a:gd name="connsiteX67" fmla="*/ 351282 w 3459766"/>
                  <a:gd name="connsiteY67" fmla="*/ 230600 h 468915"/>
                  <a:gd name="connsiteX68" fmla="*/ 351282 w 3459766"/>
                  <a:gd name="connsiteY68" fmla="*/ 236601 h 468915"/>
                  <a:gd name="connsiteX69" fmla="*/ 359664 w 3459766"/>
                  <a:gd name="connsiteY69" fmla="*/ 236601 h 468915"/>
                  <a:gd name="connsiteX70" fmla="*/ 359664 w 3459766"/>
                  <a:gd name="connsiteY70" fmla="*/ 242697 h 468915"/>
                  <a:gd name="connsiteX71" fmla="*/ 363855 w 3459766"/>
                  <a:gd name="connsiteY71" fmla="*/ 242697 h 468915"/>
                  <a:gd name="connsiteX72" fmla="*/ 363855 w 3459766"/>
                  <a:gd name="connsiteY72" fmla="*/ 248793 h 468915"/>
                  <a:gd name="connsiteX73" fmla="*/ 437483 w 3459766"/>
                  <a:gd name="connsiteY73" fmla="*/ 248793 h 468915"/>
                  <a:gd name="connsiteX74" fmla="*/ 437483 w 3459766"/>
                  <a:gd name="connsiteY74" fmla="*/ 254793 h 468915"/>
                  <a:gd name="connsiteX75" fmla="*/ 458533 w 3459766"/>
                  <a:gd name="connsiteY75" fmla="*/ 254793 h 468915"/>
                  <a:gd name="connsiteX76" fmla="*/ 458533 w 3459766"/>
                  <a:gd name="connsiteY76" fmla="*/ 260889 h 468915"/>
                  <a:gd name="connsiteX77" fmla="*/ 464820 w 3459766"/>
                  <a:gd name="connsiteY77" fmla="*/ 260889 h 468915"/>
                  <a:gd name="connsiteX78" fmla="*/ 464820 w 3459766"/>
                  <a:gd name="connsiteY78" fmla="*/ 266985 h 468915"/>
                  <a:gd name="connsiteX79" fmla="*/ 506920 w 3459766"/>
                  <a:gd name="connsiteY79" fmla="*/ 266985 h 468915"/>
                  <a:gd name="connsiteX80" fmla="*/ 506920 w 3459766"/>
                  <a:gd name="connsiteY80" fmla="*/ 272986 h 468915"/>
                  <a:gd name="connsiteX81" fmla="*/ 521589 w 3459766"/>
                  <a:gd name="connsiteY81" fmla="*/ 272986 h 468915"/>
                  <a:gd name="connsiteX82" fmla="*/ 521589 w 3459766"/>
                  <a:gd name="connsiteY82" fmla="*/ 279082 h 468915"/>
                  <a:gd name="connsiteX83" fmla="*/ 551116 w 3459766"/>
                  <a:gd name="connsiteY83" fmla="*/ 279082 h 468915"/>
                  <a:gd name="connsiteX84" fmla="*/ 551116 w 3459766"/>
                  <a:gd name="connsiteY84" fmla="*/ 285178 h 468915"/>
                  <a:gd name="connsiteX85" fmla="*/ 553212 w 3459766"/>
                  <a:gd name="connsiteY85" fmla="*/ 285178 h 468915"/>
                  <a:gd name="connsiteX86" fmla="*/ 553212 w 3459766"/>
                  <a:gd name="connsiteY86" fmla="*/ 291179 h 468915"/>
                  <a:gd name="connsiteX87" fmla="*/ 576262 w 3459766"/>
                  <a:gd name="connsiteY87" fmla="*/ 291179 h 468915"/>
                  <a:gd name="connsiteX88" fmla="*/ 576262 w 3459766"/>
                  <a:gd name="connsiteY88" fmla="*/ 297275 h 468915"/>
                  <a:gd name="connsiteX89" fmla="*/ 588931 w 3459766"/>
                  <a:gd name="connsiteY89" fmla="*/ 297275 h 468915"/>
                  <a:gd name="connsiteX90" fmla="*/ 588931 w 3459766"/>
                  <a:gd name="connsiteY90" fmla="*/ 303371 h 468915"/>
                  <a:gd name="connsiteX91" fmla="*/ 624649 w 3459766"/>
                  <a:gd name="connsiteY91" fmla="*/ 303371 h 468915"/>
                  <a:gd name="connsiteX92" fmla="*/ 624649 w 3459766"/>
                  <a:gd name="connsiteY92" fmla="*/ 309467 h 468915"/>
                  <a:gd name="connsiteX93" fmla="*/ 740378 w 3459766"/>
                  <a:gd name="connsiteY93" fmla="*/ 309467 h 468915"/>
                  <a:gd name="connsiteX94" fmla="*/ 740378 w 3459766"/>
                  <a:gd name="connsiteY94" fmla="*/ 315468 h 468915"/>
                  <a:gd name="connsiteX95" fmla="*/ 778192 w 3459766"/>
                  <a:gd name="connsiteY95" fmla="*/ 315468 h 468915"/>
                  <a:gd name="connsiteX96" fmla="*/ 778192 w 3459766"/>
                  <a:gd name="connsiteY96" fmla="*/ 321659 h 468915"/>
                  <a:gd name="connsiteX97" fmla="*/ 830770 w 3459766"/>
                  <a:gd name="connsiteY97" fmla="*/ 321659 h 468915"/>
                  <a:gd name="connsiteX98" fmla="*/ 830770 w 3459766"/>
                  <a:gd name="connsiteY98" fmla="*/ 327755 h 468915"/>
                  <a:gd name="connsiteX99" fmla="*/ 849725 w 3459766"/>
                  <a:gd name="connsiteY99" fmla="*/ 327755 h 468915"/>
                  <a:gd name="connsiteX100" fmla="*/ 849725 w 3459766"/>
                  <a:gd name="connsiteY100" fmla="*/ 333851 h 468915"/>
                  <a:gd name="connsiteX101" fmla="*/ 860203 w 3459766"/>
                  <a:gd name="connsiteY101" fmla="*/ 333851 h 468915"/>
                  <a:gd name="connsiteX102" fmla="*/ 860203 w 3459766"/>
                  <a:gd name="connsiteY102" fmla="*/ 340042 h 468915"/>
                  <a:gd name="connsiteX103" fmla="*/ 893921 w 3459766"/>
                  <a:gd name="connsiteY103" fmla="*/ 340042 h 468915"/>
                  <a:gd name="connsiteX104" fmla="*/ 893921 w 3459766"/>
                  <a:gd name="connsiteY104" fmla="*/ 346138 h 468915"/>
                  <a:gd name="connsiteX105" fmla="*/ 900208 w 3459766"/>
                  <a:gd name="connsiteY105" fmla="*/ 346138 h 468915"/>
                  <a:gd name="connsiteX106" fmla="*/ 900208 w 3459766"/>
                  <a:gd name="connsiteY106" fmla="*/ 352234 h 468915"/>
                  <a:gd name="connsiteX107" fmla="*/ 914876 w 3459766"/>
                  <a:gd name="connsiteY107" fmla="*/ 352234 h 468915"/>
                  <a:gd name="connsiteX108" fmla="*/ 914876 w 3459766"/>
                  <a:gd name="connsiteY108" fmla="*/ 358330 h 468915"/>
                  <a:gd name="connsiteX109" fmla="*/ 927544 w 3459766"/>
                  <a:gd name="connsiteY109" fmla="*/ 358330 h 468915"/>
                  <a:gd name="connsiteX110" fmla="*/ 927544 w 3459766"/>
                  <a:gd name="connsiteY110" fmla="*/ 364521 h 468915"/>
                  <a:gd name="connsiteX111" fmla="*/ 952786 w 3459766"/>
                  <a:gd name="connsiteY111" fmla="*/ 364521 h 468915"/>
                  <a:gd name="connsiteX112" fmla="*/ 952786 w 3459766"/>
                  <a:gd name="connsiteY112" fmla="*/ 370617 h 468915"/>
                  <a:gd name="connsiteX113" fmla="*/ 1182052 w 3459766"/>
                  <a:gd name="connsiteY113" fmla="*/ 370617 h 468915"/>
                  <a:gd name="connsiteX114" fmla="*/ 1182052 w 3459766"/>
                  <a:gd name="connsiteY114" fmla="*/ 376809 h 468915"/>
                  <a:gd name="connsiteX115" fmla="*/ 1295590 w 3459766"/>
                  <a:gd name="connsiteY115" fmla="*/ 376809 h 468915"/>
                  <a:gd name="connsiteX116" fmla="*/ 1295590 w 3459766"/>
                  <a:gd name="connsiteY116" fmla="*/ 383000 h 468915"/>
                  <a:gd name="connsiteX117" fmla="*/ 1564767 w 3459766"/>
                  <a:gd name="connsiteY117" fmla="*/ 383000 h 468915"/>
                  <a:gd name="connsiteX118" fmla="*/ 1564767 w 3459766"/>
                  <a:gd name="connsiteY118" fmla="*/ 389286 h 468915"/>
                  <a:gd name="connsiteX119" fmla="*/ 1638395 w 3459766"/>
                  <a:gd name="connsiteY119" fmla="*/ 389286 h 468915"/>
                  <a:gd name="connsiteX120" fmla="*/ 1638395 w 3459766"/>
                  <a:gd name="connsiteY120" fmla="*/ 395573 h 468915"/>
                  <a:gd name="connsiteX121" fmla="*/ 1718310 w 3459766"/>
                  <a:gd name="connsiteY121" fmla="*/ 395573 h 468915"/>
                  <a:gd name="connsiteX122" fmla="*/ 1718310 w 3459766"/>
                  <a:gd name="connsiteY122" fmla="*/ 401859 h 468915"/>
                  <a:gd name="connsiteX123" fmla="*/ 1880235 w 3459766"/>
                  <a:gd name="connsiteY123" fmla="*/ 401859 h 468915"/>
                  <a:gd name="connsiteX124" fmla="*/ 1880235 w 3459766"/>
                  <a:gd name="connsiteY124" fmla="*/ 408336 h 468915"/>
                  <a:gd name="connsiteX125" fmla="*/ 1897094 w 3459766"/>
                  <a:gd name="connsiteY125" fmla="*/ 408336 h 468915"/>
                  <a:gd name="connsiteX126" fmla="*/ 1897094 w 3459766"/>
                  <a:gd name="connsiteY126" fmla="*/ 414718 h 468915"/>
                  <a:gd name="connsiteX127" fmla="*/ 2014918 w 3459766"/>
                  <a:gd name="connsiteY127" fmla="*/ 414718 h 468915"/>
                  <a:gd name="connsiteX128" fmla="*/ 2014918 w 3459766"/>
                  <a:gd name="connsiteY128" fmla="*/ 421195 h 468915"/>
                  <a:gd name="connsiteX129" fmla="*/ 2107406 w 3459766"/>
                  <a:gd name="connsiteY129" fmla="*/ 421195 h 468915"/>
                  <a:gd name="connsiteX130" fmla="*/ 2107406 w 3459766"/>
                  <a:gd name="connsiteY130" fmla="*/ 427577 h 468915"/>
                  <a:gd name="connsiteX131" fmla="*/ 2126361 w 3459766"/>
                  <a:gd name="connsiteY131" fmla="*/ 427577 h 468915"/>
                  <a:gd name="connsiteX132" fmla="*/ 2126361 w 3459766"/>
                  <a:gd name="connsiteY132" fmla="*/ 434054 h 468915"/>
                  <a:gd name="connsiteX133" fmla="*/ 2980182 w 3459766"/>
                  <a:gd name="connsiteY133" fmla="*/ 434054 h 468915"/>
                  <a:gd name="connsiteX134" fmla="*/ 2980182 w 3459766"/>
                  <a:gd name="connsiteY134" fmla="*/ 468915 h 468915"/>
                  <a:gd name="connsiteX135" fmla="*/ 3459766 w 3459766"/>
                  <a:gd name="connsiteY135" fmla="*/ 468915 h 468915"/>
                  <a:gd name="connsiteX0" fmla="*/ 0 w 3455480"/>
                  <a:gd name="connsiteY0" fmla="*/ 0 h 468915"/>
                  <a:gd name="connsiteX1" fmla="*/ 0 w 3455480"/>
                  <a:gd name="connsiteY1" fmla="*/ 6096 h 468915"/>
                  <a:gd name="connsiteX2" fmla="*/ 10477 w 3455480"/>
                  <a:gd name="connsiteY2" fmla="*/ 6096 h 468915"/>
                  <a:gd name="connsiteX3" fmla="*/ 10477 w 3455480"/>
                  <a:gd name="connsiteY3" fmla="*/ 12192 h 468915"/>
                  <a:gd name="connsiteX4" fmla="*/ 18860 w 3455480"/>
                  <a:gd name="connsiteY4" fmla="*/ 12192 h 468915"/>
                  <a:gd name="connsiteX5" fmla="*/ 18860 w 3455480"/>
                  <a:gd name="connsiteY5" fmla="*/ 18288 h 468915"/>
                  <a:gd name="connsiteX6" fmla="*/ 33623 w 3455480"/>
                  <a:gd name="connsiteY6" fmla="*/ 18288 h 468915"/>
                  <a:gd name="connsiteX7" fmla="*/ 33623 w 3455480"/>
                  <a:gd name="connsiteY7" fmla="*/ 24288 h 468915"/>
                  <a:gd name="connsiteX8" fmla="*/ 37814 w 3455480"/>
                  <a:gd name="connsiteY8" fmla="*/ 24288 h 468915"/>
                  <a:gd name="connsiteX9" fmla="*/ 37814 w 3455480"/>
                  <a:gd name="connsiteY9" fmla="*/ 30384 h 468915"/>
                  <a:gd name="connsiteX10" fmla="*/ 42005 w 3455480"/>
                  <a:gd name="connsiteY10" fmla="*/ 30384 h 468915"/>
                  <a:gd name="connsiteX11" fmla="*/ 42005 w 3455480"/>
                  <a:gd name="connsiteY11" fmla="*/ 36480 h 468915"/>
                  <a:gd name="connsiteX12" fmla="*/ 54674 w 3455480"/>
                  <a:gd name="connsiteY12" fmla="*/ 36480 h 468915"/>
                  <a:gd name="connsiteX13" fmla="*/ 54674 w 3455480"/>
                  <a:gd name="connsiteY13" fmla="*/ 42481 h 468915"/>
                  <a:gd name="connsiteX14" fmla="*/ 84106 w 3455480"/>
                  <a:gd name="connsiteY14" fmla="*/ 42481 h 468915"/>
                  <a:gd name="connsiteX15" fmla="*/ 84106 w 3455480"/>
                  <a:gd name="connsiteY15" fmla="*/ 48577 h 468915"/>
                  <a:gd name="connsiteX16" fmla="*/ 92488 w 3455480"/>
                  <a:gd name="connsiteY16" fmla="*/ 48577 h 468915"/>
                  <a:gd name="connsiteX17" fmla="*/ 92488 w 3455480"/>
                  <a:gd name="connsiteY17" fmla="*/ 54673 h 468915"/>
                  <a:gd name="connsiteX18" fmla="*/ 94583 w 3455480"/>
                  <a:gd name="connsiteY18" fmla="*/ 54673 h 468915"/>
                  <a:gd name="connsiteX19" fmla="*/ 94583 w 3455480"/>
                  <a:gd name="connsiteY19" fmla="*/ 60674 h 468915"/>
                  <a:gd name="connsiteX20" fmla="*/ 109347 w 3455480"/>
                  <a:gd name="connsiteY20" fmla="*/ 60674 h 468915"/>
                  <a:gd name="connsiteX21" fmla="*/ 109347 w 3455480"/>
                  <a:gd name="connsiteY21" fmla="*/ 72866 h 468915"/>
                  <a:gd name="connsiteX22" fmla="*/ 111443 w 3455480"/>
                  <a:gd name="connsiteY22" fmla="*/ 72866 h 468915"/>
                  <a:gd name="connsiteX23" fmla="*/ 111443 w 3455480"/>
                  <a:gd name="connsiteY23" fmla="*/ 78867 h 468915"/>
                  <a:gd name="connsiteX24" fmla="*/ 117729 w 3455480"/>
                  <a:gd name="connsiteY24" fmla="*/ 78867 h 468915"/>
                  <a:gd name="connsiteX25" fmla="*/ 117729 w 3455480"/>
                  <a:gd name="connsiteY25" fmla="*/ 84963 h 468915"/>
                  <a:gd name="connsiteX26" fmla="*/ 121920 w 3455480"/>
                  <a:gd name="connsiteY26" fmla="*/ 84963 h 468915"/>
                  <a:gd name="connsiteX27" fmla="*/ 121920 w 3455480"/>
                  <a:gd name="connsiteY27" fmla="*/ 91059 h 468915"/>
                  <a:gd name="connsiteX28" fmla="*/ 138779 w 3455480"/>
                  <a:gd name="connsiteY28" fmla="*/ 91059 h 468915"/>
                  <a:gd name="connsiteX29" fmla="*/ 138779 w 3455480"/>
                  <a:gd name="connsiteY29" fmla="*/ 103155 h 468915"/>
                  <a:gd name="connsiteX30" fmla="*/ 142970 w 3455480"/>
                  <a:gd name="connsiteY30" fmla="*/ 103155 h 468915"/>
                  <a:gd name="connsiteX31" fmla="*/ 142970 w 3455480"/>
                  <a:gd name="connsiteY31" fmla="*/ 109251 h 468915"/>
                  <a:gd name="connsiteX32" fmla="*/ 166116 w 3455480"/>
                  <a:gd name="connsiteY32" fmla="*/ 109251 h 468915"/>
                  <a:gd name="connsiteX33" fmla="*/ 166116 w 3455480"/>
                  <a:gd name="connsiteY33" fmla="*/ 115347 h 468915"/>
                  <a:gd name="connsiteX34" fmla="*/ 170307 w 3455480"/>
                  <a:gd name="connsiteY34" fmla="*/ 115347 h 468915"/>
                  <a:gd name="connsiteX35" fmla="*/ 170307 w 3455480"/>
                  <a:gd name="connsiteY35" fmla="*/ 121348 h 468915"/>
                  <a:gd name="connsiteX36" fmla="*/ 176594 w 3455480"/>
                  <a:gd name="connsiteY36" fmla="*/ 121348 h 468915"/>
                  <a:gd name="connsiteX37" fmla="*/ 176594 w 3455480"/>
                  <a:gd name="connsiteY37" fmla="*/ 133540 h 468915"/>
                  <a:gd name="connsiteX38" fmla="*/ 195548 w 3455480"/>
                  <a:gd name="connsiteY38" fmla="*/ 133540 h 468915"/>
                  <a:gd name="connsiteX39" fmla="*/ 195548 w 3455480"/>
                  <a:gd name="connsiteY39" fmla="*/ 139541 h 468915"/>
                  <a:gd name="connsiteX40" fmla="*/ 203930 w 3455480"/>
                  <a:gd name="connsiteY40" fmla="*/ 139541 h 468915"/>
                  <a:gd name="connsiteX41" fmla="*/ 203930 w 3455480"/>
                  <a:gd name="connsiteY41" fmla="*/ 145637 h 468915"/>
                  <a:gd name="connsiteX42" fmla="*/ 216599 w 3455480"/>
                  <a:gd name="connsiteY42" fmla="*/ 145637 h 468915"/>
                  <a:gd name="connsiteX43" fmla="*/ 216599 w 3455480"/>
                  <a:gd name="connsiteY43" fmla="*/ 151733 h 468915"/>
                  <a:gd name="connsiteX44" fmla="*/ 233458 w 3455480"/>
                  <a:gd name="connsiteY44" fmla="*/ 151733 h 468915"/>
                  <a:gd name="connsiteX45" fmla="*/ 233458 w 3455480"/>
                  <a:gd name="connsiteY45" fmla="*/ 157734 h 468915"/>
                  <a:gd name="connsiteX46" fmla="*/ 260795 w 3455480"/>
                  <a:gd name="connsiteY46" fmla="*/ 157734 h 468915"/>
                  <a:gd name="connsiteX47" fmla="*/ 260795 w 3455480"/>
                  <a:gd name="connsiteY47" fmla="*/ 163830 h 468915"/>
                  <a:gd name="connsiteX48" fmla="*/ 262890 w 3455480"/>
                  <a:gd name="connsiteY48" fmla="*/ 163830 h 468915"/>
                  <a:gd name="connsiteX49" fmla="*/ 262890 w 3455480"/>
                  <a:gd name="connsiteY49" fmla="*/ 169926 h 468915"/>
                  <a:gd name="connsiteX50" fmla="*/ 273367 w 3455480"/>
                  <a:gd name="connsiteY50" fmla="*/ 169926 h 468915"/>
                  <a:gd name="connsiteX51" fmla="*/ 273367 w 3455480"/>
                  <a:gd name="connsiteY51" fmla="*/ 175926 h 468915"/>
                  <a:gd name="connsiteX52" fmla="*/ 279654 w 3455480"/>
                  <a:gd name="connsiteY52" fmla="*/ 175926 h 468915"/>
                  <a:gd name="connsiteX53" fmla="*/ 279654 w 3455480"/>
                  <a:gd name="connsiteY53" fmla="*/ 188118 h 468915"/>
                  <a:gd name="connsiteX54" fmla="*/ 288131 w 3455480"/>
                  <a:gd name="connsiteY54" fmla="*/ 188118 h 468915"/>
                  <a:gd name="connsiteX55" fmla="*/ 288131 w 3455480"/>
                  <a:gd name="connsiteY55" fmla="*/ 194119 h 468915"/>
                  <a:gd name="connsiteX56" fmla="*/ 294418 w 3455480"/>
                  <a:gd name="connsiteY56" fmla="*/ 194119 h 468915"/>
                  <a:gd name="connsiteX57" fmla="*/ 294418 w 3455480"/>
                  <a:gd name="connsiteY57" fmla="*/ 206311 h 468915"/>
                  <a:gd name="connsiteX58" fmla="*/ 296513 w 3455480"/>
                  <a:gd name="connsiteY58" fmla="*/ 206311 h 468915"/>
                  <a:gd name="connsiteX59" fmla="*/ 296513 w 3455480"/>
                  <a:gd name="connsiteY59" fmla="*/ 212407 h 468915"/>
                  <a:gd name="connsiteX60" fmla="*/ 309086 w 3455480"/>
                  <a:gd name="connsiteY60" fmla="*/ 212407 h 468915"/>
                  <a:gd name="connsiteX61" fmla="*/ 309086 w 3455480"/>
                  <a:gd name="connsiteY61" fmla="*/ 218408 h 468915"/>
                  <a:gd name="connsiteX62" fmla="*/ 332232 w 3455480"/>
                  <a:gd name="connsiteY62" fmla="*/ 218408 h 468915"/>
                  <a:gd name="connsiteX63" fmla="*/ 332232 w 3455480"/>
                  <a:gd name="connsiteY63" fmla="*/ 224504 h 468915"/>
                  <a:gd name="connsiteX64" fmla="*/ 338614 w 3455480"/>
                  <a:gd name="connsiteY64" fmla="*/ 224504 h 468915"/>
                  <a:gd name="connsiteX65" fmla="*/ 338614 w 3455480"/>
                  <a:gd name="connsiteY65" fmla="*/ 230600 h 468915"/>
                  <a:gd name="connsiteX66" fmla="*/ 346996 w 3455480"/>
                  <a:gd name="connsiteY66" fmla="*/ 230600 h 468915"/>
                  <a:gd name="connsiteX67" fmla="*/ 346996 w 3455480"/>
                  <a:gd name="connsiteY67" fmla="*/ 236601 h 468915"/>
                  <a:gd name="connsiteX68" fmla="*/ 355378 w 3455480"/>
                  <a:gd name="connsiteY68" fmla="*/ 236601 h 468915"/>
                  <a:gd name="connsiteX69" fmla="*/ 355378 w 3455480"/>
                  <a:gd name="connsiteY69" fmla="*/ 242697 h 468915"/>
                  <a:gd name="connsiteX70" fmla="*/ 359569 w 3455480"/>
                  <a:gd name="connsiteY70" fmla="*/ 242697 h 468915"/>
                  <a:gd name="connsiteX71" fmla="*/ 359569 w 3455480"/>
                  <a:gd name="connsiteY71" fmla="*/ 248793 h 468915"/>
                  <a:gd name="connsiteX72" fmla="*/ 433197 w 3455480"/>
                  <a:gd name="connsiteY72" fmla="*/ 248793 h 468915"/>
                  <a:gd name="connsiteX73" fmla="*/ 433197 w 3455480"/>
                  <a:gd name="connsiteY73" fmla="*/ 254793 h 468915"/>
                  <a:gd name="connsiteX74" fmla="*/ 454247 w 3455480"/>
                  <a:gd name="connsiteY74" fmla="*/ 254793 h 468915"/>
                  <a:gd name="connsiteX75" fmla="*/ 454247 w 3455480"/>
                  <a:gd name="connsiteY75" fmla="*/ 260889 h 468915"/>
                  <a:gd name="connsiteX76" fmla="*/ 460534 w 3455480"/>
                  <a:gd name="connsiteY76" fmla="*/ 260889 h 468915"/>
                  <a:gd name="connsiteX77" fmla="*/ 460534 w 3455480"/>
                  <a:gd name="connsiteY77" fmla="*/ 266985 h 468915"/>
                  <a:gd name="connsiteX78" fmla="*/ 502634 w 3455480"/>
                  <a:gd name="connsiteY78" fmla="*/ 266985 h 468915"/>
                  <a:gd name="connsiteX79" fmla="*/ 502634 w 3455480"/>
                  <a:gd name="connsiteY79" fmla="*/ 272986 h 468915"/>
                  <a:gd name="connsiteX80" fmla="*/ 517303 w 3455480"/>
                  <a:gd name="connsiteY80" fmla="*/ 272986 h 468915"/>
                  <a:gd name="connsiteX81" fmla="*/ 517303 w 3455480"/>
                  <a:gd name="connsiteY81" fmla="*/ 279082 h 468915"/>
                  <a:gd name="connsiteX82" fmla="*/ 546830 w 3455480"/>
                  <a:gd name="connsiteY82" fmla="*/ 279082 h 468915"/>
                  <a:gd name="connsiteX83" fmla="*/ 546830 w 3455480"/>
                  <a:gd name="connsiteY83" fmla="*/ 285178 h 468915"/>
                  <a:gd name="connsiteX84" fmla="*/ 548926 w 3455480"/>
                  <a:gd name="connsiteY84" fmla="*/ 285178 h 468915"/>
                  <a:gd name="connsiteX85" fmla="*/ 548926 w 3455480"/>
                  <a:gd name="connsiteY85" fmla="*/ 291179 h 468915"/>
                  <a:gd name="connsiteX86" fmla="*/ 571976 w 3455480"/>
                  <a:gd name="connsiteY86" fmla="*/ 291179 h 468915"/>
                  <a:gd name="connsiteX87" fmla="*/ 571976 w 3455480"/>
                  <a:gd name="connsiteY87" fmla="*/ 297275 h 468915"/>
                  <a:gd name="connsiteX88" fmla="*/ 584645 w 3455480"/>
                  <a:gd name="connsiteY88" fmla="*/ 297275 h 468915"/>
                  <a:gd name="connsiteX89" fmla="*/ 584645 w 3455480"/>
                  <a:gd name="connsiteY89" fmla="*/ 303371 h 468915"/>
                  <a:gd name="connsiteX90" fmla="*/ 620363 w 3455480"/>
                  <a:gd name="connsiteY90" fmla="*/ 303371 h 468915"/>
                  <a:gd name="connsiteX91" fmla="*/ 620363 w 3455480"/>
                  <a:gd name="connsiteY91" fmla="*/ 309467 h 468915"/>
                  <a:gd name="connsiteX92" fmla="*/ 736092 w 3455480"/>
                  <a:gd name="connsiteY92" fmla="*/ 309467 h 468915"/>
                  <a:gd name="connsiteX93" fmla="*/ 736092 w 3455480"/>
                  <a:gd name="connsiteY93" fmla="*/ 315468 h 468915"/>
                  <a:gd name="connsiteX94" fmla="*/ 773906 w 3455480"/>
                  <a:gd name="connsiteY94" fmla="*/ 315468 h 468915"/>
                  <a:gd name="connsiteX95" fmla="*/ 773906 w 3455480"/>
                  <a:gd name="connsiteY95" fmla="*/ 321659 h 468915"/>
                  <a:gd name="connsiteX96" fmla="*/ 826484 w 3455480"/>
                  <a:gd name="connsiteY96" fmla="*/ 321659 h 468915"/>
                  <a:gd name="connsiteX97" fmla="*/ 826484 w 3455480"/>
                  <a:gd name="connsiteY97" fmla="*/ 327755 h 468915"/>
                  <a:gd name="connsiteX98" fmla="*/ 845439 w 3455480"/>
                  <a:gd name="connsiteY98" fmla="*/ 327755 h 468915"/>
                  <a:gd name="connsiteX99" fmla="*/ 845439 w 3455480"/>
                  <a:gd name="connsiteY99" fmla="*/ 333851 h 468915"/>
                  <a:gd name="connsiteX100" fmla="*/ 855917 w 3455480"/>
                  <a:gd name="connsiteY100" fmla="*/ 333851 h 468915"/>
                  <a:gd name="connsiteX101" fmla="*/ 855917 w 3455480"/>
                  <a:gd name="connsiteY101" fmla="*/ 340042 h 468915"/>
                  <a:gd name="connsiteX102" fmla="*/ 889635 w 3455480"/>
                  <a:gd name="connsiteY102" fmla="*/ 340042 h 468915"/>
                  <a:gd name="connsiteX103" fmla="*/ 889635 w 3455480"/>
                  <a:gd name="connsiteY103" fmla="*/ 346138 h 468915"/>
                  <a:gd name="connsiteX104" fmla="*/ 895922 w 3455480"/>
                  <a:gd name="connsiteY104" fmla="*/ 346138 h 468915"/>
                  <a:gd name="connsiteX105" fmla="*/ 895922 w 3455480"/>
                  <a:gd name="connsiteY105" fmla="*/ 352234 h 468915"/>
                  <a:gd name="connsiteX106" fmla="*/ 910590 w 3455480"/>
                  <a:gd name="connsiteY106" fmla="*/ 352234 h 468915"/>
                  <a:gd name="connsiteX107" fmla="*/ 910590 w 3455480"/>
                  <a:gd name="connsiteY107" fmla="*/ 358330 h 468915"/>
                  <a:gd name="connsiteX108" fmla="*/ 923258 w 3455480"/>
                  <a:gd name="connsiteY108" fmla="*/ 358330 h 468915"/>
                  <a:gd name="connsiteX109" fmla="*/ 923258 w 3455480"/>
                  <a:gd name="connsiteY109" fmla="*/ 364521 h 468915"/>
                  <a:gd name="connsiteX110" fmla="*/ 948500 w 3455480"/>
                  <a:gd name="connsiteY110" fmla="*/ 364521 h 468915"/>
                  <a:gd name="connsiteX111" fmla="*/ 948500 w 3455480"/>
                  <a:gd name="connsiteY111" fmla="*/ 370617 h 468915"/>
                  <a:gd name="connsiteX112" fmla="*/ 1177766 w 3455480"/>
                  <a:gd name="connsiteY112" fmla="*/ 370617 h 468915"/>
                  <a:gd name="connsiteX113" fmla="*/ 1177766 w 3455480"/>
                  <a:gd name="connsiteY113" fmla="*/ 376809 h 468915"/>
                  <a:gd name="connsiteX114" fmla="*/ 1291304 w 3455480"/>
                  <a:gd name="connsiteY114" fmla="*/ 376809 h 468915"/>
                  <a:gd name="connsiteX115" fmla="*/ 1291304 w 3455480"/>
                  <a:gd name="connsiteY115" fmla="*/ 383000 h 468915"/>
                  <a:gd name="connsiteX116" fmla="*/ 1560481 w 3455480"/>
                  <a:gd name="connsiteY116" fmla="*/ 383000 h 468915"/>
                  <a:gd name="connsiteX117" fmla="*/ 1560481 w 3455480"/>
                  <a:gd name="connsiteY117" fmla="*/ 389286 h 468915"/>
                  <a:gd name="connsiteX118" fmla="*/ 1634109 w 3455480"/>
                  <a:gd name="connsiteY118" fmla="*/ 389286 h 468915"/>
                  <a:gd name="connsiteX119" fmla="*/ 1634109 w 3455480"/>
                  <a:gd name="connsiteY119" fmla="*/ 395573 h 468915"/>
                  <a:gd name="connsiteX120" fmla="*/ 1714024 w 3455480"/>
                  <a:gd name="connsiteY120" fmla="*/ 395573 h 468915"/>
                  <a:gd name="connsiteX121" fmla="*/ 1714024 w 3455480"/>
                  <a:gd name="connsiteY121" fmla="*/ 401859 h 468915"/>
                  <a:gd name="connsiteX122" fmla="*/ 1875949 w 3455480"/>
                  <a:gd name="connsiteY122" fmla="*/ 401859 h 468915"/>
                  <a:gd name="connsiteX123" fmla="*/ 1875949 w 3455480"/>
                  <a:gd name="connsiteY123" fmla="*/ 408336 h 468915"/>
                  <a:gd name="connsiteX124" fmla="*/ 1892808 w 3455480"/>
                  <a:gd name="connsiteY124" fmla="*/ 408336 h 468915"/>
                  <a:gd name="connsiteX125" fmla="*/ 1892808 w 3455480"/>
                  <a:gd name="connsiteY125" fmla="*/ 414718 h 468915"/>
                  <a:gd name="connsiteX126" fmla="*/ 2010632 w 3455480"/>
                  <a:gd name="connsiteY126" fmla="*/ 414718 h 468915"/>
                  <a:gd name="connsiteX127" fmla="*/ 2010632 w 3455480"/>
                  <a:gd name="connsiteY127" fmla="*/ 421195 h 468915"/>
                  <a:gd name="connsiteX128" fmla="*/ 2103120 w 3455480"/>
                  <a:gd name="connsiteY128" fmla="*/ 421195 h 468915"/>
                  <a:gd name="connsiteX129" fmla="*/ 2103120 w 3455480"/>
                  <a:gd name="connsiteY129" fmla="*/ 427577 h 468915"/>
                  <a:gd name="connsiteX130" fmla="*/ 2122075 w 3455480"/>
                  <a:gd name="connsiteY130" fmla="*/ 427577 h 468915"/>
                  <a:gd name="connsiteX131" fmla="*/ 2122075 w 3455480"/>
                  <a:gd name="connsiteY131" fmla="*/ 434054 h 468915"/>
                  <a:gd name="connsiteX132" fmla="*/ 2975896 w 3455480"/>
                  <a:gd name="connsiteY132" fmla="*/ 434054 h 468915"/>
                  <a:gd name="connsiteX133" fmla="*/ 2975896 w 3455480"/>
                  <a:gd name="connsiteY133" fmla="*/ 468915 h 468915"/>
                  <a:gd name="connsiteX134" fmla="*/ 3455480 w 3455480"/>
                  <a:gd name="connsiteY134" fmla="*/ 468915 h 468915"/>
                  <a:gd name="connsiteX0" fmla="*/ 0 w 3455480"/>
                  <a:gd name="connsiteY0" fmla="*/ 0 h 468915"/>
                  <a:gd name="connsiteX1" fmla="*/ 0 w 3455480"/>
                  <a:gd name="connsiteY1" fmla="*/ 6096 h 468915"/>
                  <a:gd name="connsiteX2" fmla="*/ 10477 w 3455480"/>
                  <a:gd name="connsiteY2" fmla="*/ 12192 h 468915"/>
                  <a:gd name="connsiteX3" fmla="*/ 18860 w 3455480"/>
                  <a:gd name="connsiteY3" fmla="*/ 12192 h 468915"/>
                  <a:gd name="connsiteX4" fmla="*/ 18860 w 3455480"/>
                  <a:gd name="connsiteY4" fmla="*/ 18288 h 468915"/>
                  <a:gd name="connsiteX5" fmla="*/ 33623 w 3455480"/>
                  <a:gd name="connsiteY5" fmla="*/ 18288 h 468915"/>
                  <a:gd name="connsiteX6" fmla="*/ 33623 w 3455480"/>
                  <a:gd name="connsiteY6" fmla="*/ 24288 h 468915"/>
                  <a:gd name="connsiteX7" fmla="*/ 37814 w 3455480"/>
                  <a:gd name="connsiteY7" fmla="*/ 24288 h 468915"/>
                  <a:gd name="connsiteX8" fmla="*/ 37814 w 3455480"/>
                  <a:gd name="connsiteY8" fmla="*/ 30384 h 468915"/>
                  <a:gd name="connsiteX9" fmla="*/ 42005 w 3455480"/>
                  <a:gd name="connsiteY9" fmla="*/ 30384 h 468915"/>
                  <a:gd name="connsiteX10" fmla="*/ 42005 w 3455480"/>
                  <a:gd name="connsiteY10" fmla="*/ 36480 h 468915"/>
                  <a:gd name="connsiteX11" fmla="*/ 54674 w 3455480"/>
                  <a:gd name="connsiteY11" fmla="*/ 36480 h 468915"/>
                  <a:gd name="connsiteX12" fmla="*/ 54674 w 3455480"/>
                  <a:gd name="connsiteY12" fmla="*/ 42481 h 468915"/>
                  <a:gd name="connsiteX13" fmla="*/ 84106 w 3455480"/>
                  <a:gd name="connsiteY13" fmla="*/ 42481 h 468915"/>
                  <a:gd name="connsiteX14" fmla="*/ 84106 w 3455480"/>
                  <a:gd name="connsiteY14" fmla="*/ 48577 h 468915"/>
                  <a:gd name="connsiteX15" fmla="*/ 92488 w 3455480"/>
                  <a:gd name="connsiteY15" fmla="*/ 48577 h 468915"/>
                  <a:gd name="connsiteX16" fmla="*/ 92488 w 3455480"/>
                  <a:gd name="connsiteY16" fmla="*/ 54673 h 468915"/>
                  <a:gd name="connsiteX17" fmla="*/ 94583 w 3455480"/>
                  <a:gd name="connsiteY17" fmla="*/ 54673 h 468915"/>
                  <a:gd name="connsiteX18" fmla="*/ 94583 w 3455480"/>
                  <a:gd name="connsiteY18" fmla="*/ 60674 h 468915"/>
                  <a:gd name="connsiteX19" fmla="*/ 109347 w 3455480"/>
                  <a:gd name="connsiteY19" fmla="*/ 60674 h 468915"/>
                  <a:gd name="connsiteX20" fmla="*/ 109347 w 3455480"/>
                  <a:gd name="connsiteY20" fmla="*/ 72866 h 468915"/>
                  <a:gd name="connsiteX21" fmla="*/ 111443 w 3455480"/>
                  <a:gd name="connsiteY21" fmla="*/ 72866 h 468915"/>
                  <a:gd name="connsiteX22" fmla="*/ 111443 w 3455480"/>
                  <a:gd name="connsiteY22" fmla="*/ 78867 h 468915"/>
                  <a:gd name="connsiteX23" fmla="*/ 117729 w 3455480"/>
                  <a:gd name="connsiteY23" fmla="*/ 78867 h 468915"/>
                  <a:gd name="connsiteX24" fmla="*/ 117729 w 3455480"/>
                  <a:gd name="connsiteY24" fmla="*/ 84963 h 468915"/>
                  <a:gd name="connsiteX25" fmla="*/ 121920 w 3455480"/>
                  <a:gd name="connsiteY25" fmla="*/ 84963 h 468915"/>
                  <a:gd name="connsiteX26" fmla="*/ 121920 w 3455480"/>
                  <a:gd name="connsiteY26" fmla="*/ 91059 h 468915"/>
                  <a:gd name="connsiteX27" fmla="*/ 138779 w 3455480"/>
                  <a:gd name="connsiteY27" fmla="*/ 91059 h 468915"/>
                  <a:gd name="connsiteX28" fmla="*/ 138779 w 3455480"/>
                  <a:gd name="connsiteY28" fmla="*/ 103155 h 468915"/>
                  <a:gd name="connsiteX29" fmla="*/ 142970 w 3455480"/>
                  <a:gd name="connsiteY29" fmla="*/ 103155 h 468915"/>
                  <a:gd name="connsiteX30" fmla="*/ 142970 w 3455480"/>
                  <a:gd name="connsiteY30" fmla="*/ 109251 h 468915"/>
                  <a:gd name="connsiteX31" fmla="*/ 166116 w 3455480"/>
                  <a:gd name="connsiteY31" fmla="*/ 109251 h 468915"/>
                  <a:gd name="connsiteX32" fmla="*/ 166116 w 3455480"/>
                  <a:gd name="connsiteY32" fmla="*/ 115347 h 468915"/>
                  <a:gd name="connsiteX33" fmla="*/ 170307 w 3455480"/>
                  <a:gd name="connsiteY33" fmla="*/ 115347 h 468915"/>
                  <a:gd name="connsiteX34" fmla="*/ 170307 w 3455480"/>
                  <a:gd name="connsiteY34" fmla="*/ 121348 h 468915"/>
                  <a:gd name="connsiteX35" fmla="*/ 176594 w 3455480"/>
                  <a:gd name="connsiteY35" fmla="*/ 121348 h 468915"/>
                  <a:gd name="connsiteX36" fmla="*/ 176594 w 3455480"/>
                  <a:gd name="connsiteY36" fmla="*/ 133540 h 468915"/>
                  <a:gd name="connsiteX37" fmla="*/ 195548 w 3455480"/>
                  <a:gd name="connsiteY37" fmla="*/ 133540 h 468915"/>
                  <a:gd name="connsiteX38" fmla="*/ 195548 w 3455480"/>
                  <a:gd name="connsiteY38" fmla="*/ 139541 h 468915"/>
                  <a:gd name="connsiteX39" fmla="*/ 203930 w 3455480"/>
                  <a:gd name="connsiteY39" fmla="*/ 139541 h 468915"/>
                  <a:gd name="connsiteX40" fmla="*/ 203930 w 3455480"/>
                  <a:gd name="connsiteY40" fmla="*/ 145637 h 468915"/>
                  <a:gd name="connsiteX41" fmla="*/ 216599 w 3455480"/>
                  <a:gd name="connsiteY41" fmla="*/ 145637 h 468915"/>
                  <a:gd name="connsiteX42" fmla="*/ 216599 w 3455480"/>
                  <a:gd name="connsiteY42" fmla="*/ 151733 h 468915"/>
                  <a:gd name="connsiteX43" fmla="*/ 233458 w 3455480"/>
                  <a:gd name="connsiteY43" fmla="*/ 151733 h 468915"/>
                  <a:gd name="connsiteX44" fmla="*/ 233458 w 3455480"/>
                  <a:gd name="connsiteY44" fmla="*/ 157734 h 468915"/>
                  <a:gd name="connsiteX45" fmla="*/ 260795 w 3455480"/>
                  <a:gd name="connsiteY45" fmla="*/ 157734 h 468915"/>
                  <a:gd name="connsiteX46" fmla="*/ 260795 w 3455480"/>
                  <a:gd name="connsiteY46" fmla="*/ 163830 h 468915"/>
                  <a:gd name="connsiteX47" fmla="*/ 262890 w 3455480"/>
                  <a:gd name="connsiteY47" fmla="*/ 163830 h 468915"/>
                  <a:gd name="connsiteX48" fmla="*/ 262890 w 3455480"/>
                  <a:gd name="connsiteY48" fmla="*/ 169926 h 468915"/>
                  <a:gd name="connsiteX49" fmla="*/ 273367 w 3455480"/>
                  <a:gd name="connsiteY49" fmla="*/ 169926 h 468915"/>
                  <a:gd name="connsiteX50" fmla="*/ 273367 w 3455480"/>
                  <a:gd name="connsiteY50" fmla="*/ 175926 h 468915"/>
                  <a:gd name="connsiteX51" fmla="*/ 279654 w 3455480"/>
                  <a:gd name="connsiteY51" fmla="*/ 175926 h 468915"/>
                  <a:gd name="connsiteX52" fmla="*/ 279654 w 3455480"/>
                  <a:gd name="connsiteY52" fmla="*/ 188118 h 468915"/>
                  <a:gd name="connsiteX53" fmla="*/ 288131 w 3455480"/>
                  <a:gd name="connsiteY53" fmla="*/ 188118 h 468915"/>
                  <a:gd name="connsiteX54" fmla="*/ 288131 w 3455480"/>
                  <a:gd name="connsiteY54" fmla="*/ 194119 h 468915"/>
                  <a:gd name="connsiteX55" fmla="*/ 294418 w 3455480"/>
                  <a:gd name="connsiteY55" fmla="*/ 194119 h 468915"/>
                  <a:gd name="connsiteX56" fmla="*/ 294418 w 3455480"/>
                  <a:gd name="connsiteY56" fmla="*/ 206311 h 468915"/>
                  <a:gd name="connsiteX57" fmla="*/ 296513 w 3455480"/>
                  <a:gd name="connsiteY57" fmla="*/ 206311 h 468915"/>
                  <a:gd name="connsiteX58" fmla="*/ 296513 w 3455480"/>
                  <a:gd name="connsiteY58" fmla="*/ 212407 h 468915"/>
                  <a:gd name="connsiteX59" fmla="*/ 309086 w 3455480"/>
                  <a:gd name="connsiteY59" fmla="*/ 212407 h 468915"/>
                  <a:gd name="connsiteX60" fmla="*/ 309086 w 3455480"/>
                  <a:gd name="connsiteY60" fmla="*/ 218408 h 468915"/>
                  <a:gd name="connsiteX61" fmla="*/ 332232 w 3455480"/>
                  <a:gd name="connsiteY61" fmla="*/ 218408 h 468915"/>
                  <a:gd name="connsiteX62" fmla="*/ 332232 w 3455480"/>
                  <a:gd name="connsiteY62" fmla="*/ 224504 h 468915"/>
                  <a:gd name="connsiteX63" fmla="*/ 338614 w 3455480"/>
                  <a:gd name="connsiteY63" fmla="*/ 224504 h 468915"/>
                  <a:gd name="connsiteX64" fmla="*/ 338614 w 3455480"/>
                  <a:gd name="connsiteY64" fmla="*/ 230600 h 468915"/>
                  <a:gd name="connsiteX65" fmla="*/ 346996 w 3455480"/>
                  <a:gd name="connsiteY65" fmla="*/ 230600 h 468915"/>
                  <a:gd name="connsiteX66" fmla="*/ 346996 w 3455480"/>
                  <a:gd name="connsiteY66" fmla="*/ 236601 h 468915"/>
                  <a:gd name="connsiteX67" fmla="*/ 355378 w 3455480"/>
                  <a:gd name="connsiteY67" fmla="*/ 236601 h 468915"/>
                  <a:gd name="connsiteX68" fmla="*/ 355378 w 3455480"/>
                  <a:gd name="connsiteY68" fmla="*/ 242697 h 468915"/>
                  <a:gd name="connsiteX69" fmla="*/ 359569 w 3455480"/>
                  <a:gd name="connsiteY69" fmla="*/ 242697 h 468915"/>
                  <a:gd name="connsiteX70" fmla="*/ 359569 w 3455480"/>
                  <a:gd name="connsiteY70" fmla="*/ 248793 h 468915"/>
                  <a:gd name="connsiteX71" fmla="*/ 433197 w 3455480"/>
                  <a:gd name="connsiteY71" fmla="*/ 248793 h 468915"/>
                  <a:gd name="connsiteX72" fmla="*/ 433197 w 3455480"/>
                  <a:gd name="connsiteY72" fmla="*/ 254793 h 468915"/>
                  <a:gd name="connsiteX73" fmla="*/ 454247 w 3455480"/>
                  <a:gd name="connsiteY73" fmla="*/ 254793 h 468915"/>
                  <a:gd name="connsiteX74" fmla="*/ 454247 w 3455480"/>
                  <a:gd name="connsiteY74" fmla="*/ 260889 h 468915"/>
                  <a:gd name="connsiteX75" fmla="*/ 460534 w 3455480"/>
                  <a:gd name="connsiteY75" fmla="*/ 260889 h 468915"/>
                  <a:gd name="connsiteX76" fmla="*/ 460534 w 3455480"/>
                  <a:gd name="connsiteY76" fmla="*/ 266985 h 468915"/>
                  <a:gd name="connsiteX77" fmla="*/ 502634 w 3455480"/>
                  <a:gd name="connsiteY77" fmla="*/ 266985 h 468915"/>
                  <a:gd name="connsiteX78" fmla="*/ 502634 w 3455480"/>
                  <a:gd name="connsiteY78" fmla="*/ 272986 h 468915"/>
                  <a:gd name="connsiteX79" fmla="*/ 517303 w 3455480"/>
                  <a:gd name="connsiteY79" fmla="*/ 272986 h 468915"/>
                  <a:gd name="connsiteX80" fmla="*/ 517303 w 3455480"/>
                  <a:gd name="connsiteY80" fmla="*/ 279082 h 468915"/>
                  <a:gd name="connsiteX81" fmla="*/ 546830 w 3455480"/>
                  <a:gd name="connsiteY81" fmla="*/ 279082 h 468915"/>
                  <a:gd name="connsiteX82" fmla="*/ 546830 w 3455480"/>
                  <a:gd name="connsiteY82" fmla="*/ 285178 h 468915"/>
                  <a:gd name="connsiteX83" fmla="*/ 548926 w 3455480"/>
                  <a:gd name="connsiteY83" fmla="*/ 285178 h 468915"/>
                  <a:gd name="connsiteX84" fmla="*/ 548926 w 3455480"/>
                  <a:gd name="connsiteY84" fmla="*/ 291179 h 468915"/>
                  <a:gd name="connsiteX85" fmla="*/ 571976 w 3455480"/>
                  <a:gd name="connsiteY85" fmla="*/ 291179 h 468915"/>
                  <a:gd name="connsiteX86" fmla="*/ 571976 w 3455480"/>
                  <a:gd name="connsiteY86" fmla="*/ 297275 h 468915"/>
                  <a:gd name="connsiteX87" fmla="*/ 584645 w 3455480"/>
                  <a:gd name="connsiteY87" fmla="*/ 297275 h 468915"/>
                  <a:gd name="connsiteX88" fmla="*/ 584645 w 3455480"/>
                  <a:gd name="connsiteY88" fmla="*/ 303371 h 468915"/>
                  <a:gd name="connsiteX89" fmla="*/ 620363 w 3455480"/>
                  <a:gd name="connsiteY89" fmla="*/ 303371 h 468915"/>
                  <a:gd name="connsiteX90" fmla="*/ 620363 w 3455480"/>
                  <a:gd name="connsiteY90" fmla="*/ 309467 h 468915"/>
                  <a:gd name="connsiteX91" fmla="*/ 736092 w 3455480"/>
                  <a:gd name="connsiteY91" fmla="*/ 309467 h 468915"/>
                  <a:gd name="connsiteX92" fmla="*/ 736092 w 3455480"/>
                  <a:gd name="connsiteY92" fmla="*/ 315468 h 468915"/>
                  <a:gd name="connsiteX93" fmla="*/ 773906 w 3455480"/>
                  <a:gd name="connsiteY93" fmla="*/ 315468 h 468915"/>
                  <a:gd name="connsiteX94" fmla="*/ 773906 w 3455480"/>
                  <a:gd name="connsiteY94" fmla="*/ 321659 h 468915"/>
                  <a:gd name="connsiteX95" fmla="*/ 826484 w 3455480"/>
                  <a:gd name="connsiteY95" fmla="*/ 321659 h 468915"/>
                  <a:gd name="connsiteX96" fmla="*/ 826484 w 3455480"/>
                  <a:gd name="connsiteY96" fmla="*/ 327755 h 468915"/>
                  <a:gd name="connsiteX97" fmla="*/ 845439 w 3455480"/>
                  <a:gd name="connsiteY97" fmla="*/ 327755 h 468915"/>
                  <a:gd name="connsiteX98" fmla="*/ 845439 w 3455480"/>
                  <a:gd name="connsiteY98" fmla="*/ 333851 h 468915"/>
                  <a:gd name="connsiteX99" fmla="*/ 855917 w 3455480"/>
                  <a:gd name="connsiteY99" fmla="*/ 333851 h 468915"/>
                  <a:gd name="connsiteX100" fmla="*/ 855917 w 3455480"/>
                  <a:gd name="connsiteY100" fmla="*/ 340042 h 468915"/>
                  <a:gd name="connsiteX101" fmla="*/ 889635 w 3455480"/>
                  <a:gd name="connsiteY101" fmla="*/ 340042 h 468915"/>
                  <a:gd name="connsiteX102" fmla="*/ 889635 w 3455480"/>
                  <a:gd name="connsiteY102" fmla="*/ 346138 h 468915"/>
                  <a:gd name="connsiteX103" fmla="*/ 895922 w 3455480"/>
                  <a:gd name="connsiteY103" fmla="*/ 346138 h 468915"/>
                  <a:gd name="connsiteX104" fmla="*/ 895922 w 3455480"/>
                  <a:gd name="connsiteY104" fmla="*/ 352234 h 468915"/>
                  <a:gd name="connsiteX105" fmla="*/ 910590 w 3455480"/>
                  <a:gd name="connsiteY105" fmla="*/ 352234 h 468915"/>
                  <a:gd name="connsiteX106" fmla="*/ 910590 w 3455480"/>
                  <a:gd name="connsiteY106" fmla="*/ 358330 h 468915"/>
                  <a:gd name="connsiteX107" fmla="*/ 923258 w 3455480"/>
                  <a:gd name="connsiteY107" fmla="*/ 358330 h 468915"/>
                  <a:gd name="connsiteX108" fmla="*/ 923258 w 3455480"/>
                  <a:gd name="connsiteY108" fmla="*/ 364521 h 468915"/>
                  <a:gd name="connsiteX109" fmla="*/ 948500 w 3455480"/>
                  <a:gd name="connsiteY109" fmla="*/ 364521 h 468915"/>
                  <a:gd name="connsiteX110" fmla="*/ 948500 w 3455480"/>
                  <a:gd name="connsiteY110" fmla="*/ 370617 h 468915"/>
                  <a:gd name="connsiteX111" fmla="*/ 1177766 w 3455480"/>
                  <a:gd name="connsiteY111" fmla="*/ 370617 h 468915"/>
                  <a:gd name="connsiteX112" fmla="*/ 1177766 w 3455480"/>
                  <a:gd name="connsiteY112" fmla="*/ 376809 h 468915"/>
                  <a:gd name="connsiteX113" fmla="*/ 1291304 w 3455480"/>
                  <a:gd name="connsiteY113" fmla="*/ 376809 h 468915"/>
                  <a:gd name="connsiteX114" fmla="*/ 1291304 w 3455480"/>
                  <a:gd name="connsiteY114" fmla="*/ 383000 h 468915"/>
                  <a:gd name="connsiteX115" fmla="*/ 1560481 w 3455480"/>
                  <a:gd name="connsiteY115" fmla="*/ 383000 h 468915"/>
                  <a:gd name="connsiteX116" fmla="*/ 1560481 w 3455480"/>
                  <a:gd name="connsiteY116" fmla="*/ 389286 h 468915"/>
                  <a:gd name="connsiteX117" fmla="*/ 1634109 w 3455480"/>
                  <a:gd name="connsiteY117" fmla="*/ 389286 h 468915"/>
                  <a:gd name="connsiteX118" fmla="*/ 1634109 w 3455480"/>
                  <a:gd name="connsiteY118" fmla="*/ 395573 h 468915"/>
                  <a:gd name="connsiteX119" fmla="*/ 1714024 w 3455480"/>
                  <a:gd name="connsiteY119" fmla="*/ 395573 h 468915"/>
                  <a:gd name="connsiteX120" fmla="*/ 1714024 w 3455480"/>
                  <a:gd name="connsiteY120" fmla="*/ 401859 h 468915"/>
                  <a:gd name="connsiteX121" fmla="*/ 1875949 w 3455480"/>
                  <a:gd name="connsiteY121" fmla="*/ 401859 h 468915"/>
                  <a:gd name="connsiteX122" fmla="*/ 1875949 w 3455480"/>
                  <a:gd name="connsiteY122" fmla="*/ 408336 h 468915"/>
                  <a:gd name="connsiteX123" fmla="*/ 1892808 w 3455480"/>
                  <a:gd name="connsiteY123" fmla="*/ 408336 h 468915"/>
                  <a:gd name="connsiteX124" fmla="*/ 1892808 w 3455480"/>
                  <a:gd name="connsiteY124" fmla="*/ 414718 h 468915"/>
                  <a:gd name="connsiteX125" fmla="*/ 2010632 w 3455480"/>
                  <a:gd name="connsiteY125" fmla="*/ 414718 h 468915"/>
                  <a:gd name="connsiteX126" fmla="*/ 2010632 w 3455480"/>
                  <a:gd name="connsiteY126" fmla="*/ 421195 h 468915"/>
                  <a:gd name="connsiteX127" fmla="*/ 2103120 w 3455480"/>
                  <a:gd name="connsiteY127" fmla="*/ 421195 h 468915"/>
                  <a:gd name="connsiteX128" fmla="*/ 2103120 w 3455480"/>
                  <a:gd name="connsiteY128" fmla="*/ 427577 h 468915"/>
                  <a:gd name="connsiteX129" fmla="*/ 2122075 w 3455480"/>
                  <a:gd name="connsiteY129" fmla="*/ 427577 h 468915"/>
                  <a:gd name="connsiteX130" fmla="*/ 2122075 w 3455480"/>
                  <a:gd name="connsiteY130" fmla="*/ 434054 h 468915"/>
                  <a:gd name="connsiteX131" fmla="*/ 2975896 w 3455480"/>
                  <a:gd name="connsiteY131" fmla="*/ 434054 h 468915"/>
                  <a:gd name="connsiteX132" fmla="*/ 2975896 w 3455480"/>
                  <a:gd name="connsiteY132" fmla="*/ 468915 h 468915"/>
                  <a:gd name="connsiteX133" fmla="*/ 3455480 w 3455480"/>
                  <a:gd name="connsiteY133" fmla="*/ 468915 h 468915"/>
                  <a:gd name="connsiteX0" fmla="*/ 0 w 3455480"/>
                  <a:gd name="connsiteY0" fmla="*/ 0 h 468915"/>
                  <a:gd name="connsiteX1" fmla="*/ 10477 w 3455480"/>
                  <a:gd name="connsiteY1" fmla="*/ 12192 h 468915"/>
                  <a:gd name="connsiteX2" fmla="*/ 18860 w 3455480"/>
                  <a:gd name="connsiteY2" fmla="*/ 12192 h 468915"/>
                  <a:gd name="connsiteX3" fmla="*/ 18860 w 3455480"/>
                  <a:gd name="connsiteY3" fmla="*/ 18288 h 468915"/>
                  <a:gd name="connsiteX4" fmla="*/ 33623 w 3455480"/>
                  <a:gd name="connsiteY4" fmla="*/ 18288 h 468915"/>
                  <a:gd name="connsiteX5" fmla="*/ 33623 w 3455480"/>
                  <a:gd name="connsiteY5" fmla="*/ 24288 h 468915"/>
                  <a:gd name="connsiteX6" fmla="*/ 37814 w 3455480"/>
                  <a:gd name="connsiteY6" fmla="*/ 24288 h 468915"/>
                  <a:gd name="connsiteX7" fmla="*/ 37814 w 3455480"/>
                  <a:gd name="connsiteY7" fmla="*/ 30384 h 468915"/>
                  <a:gd name="connsiteX8" fmla="*/ 42005 w 3455480"/>
                  <a:gd name="connsiteY8" fmla="*/ 30384 h 468915"/>
                  <a:gd name="connsiteX9" fmla="*/ 42005 w 3455480"/>
                  <a:gd name="connsiteY9" fmla="*/ 36480 h 468915"/>
                  <a:gd name="connsiteX10" fmla="*/ 54674 w 3455480"/>
                  <a:gd name="connsiteY10" fmla="*/ 36480 h 468915"/>
                  <a:gd name="connsiteX11" fmla="*/ 54674 w 3455480"/>
                  <a:gd name="connsiteY11" fmla="*/ 42481 h 468915"/>
                  <a:gd name="connsiteX12" fmla="*/ 84106 w 3455480"/>
                  <a:gd name="connsiteY12" fmla="*/ 42481 h 468915"/>
                  <a:gd name="connsiteX13" fmla="*/ 84106 w 3455480"/>
                  <a:gd name="connsiteY13" fmla="*/ 48577 h 468915"/>
                  <a:gd name="connsiteX14" fmla="*/ 92488 w 3455480"/>
                  <a:gd name="connsiteY14" fmla="*/ 48577 h 468915"/>
                  <a:gd name="connsiteX15" fmla="*/ 92488 w 3455480"/>
                  <a:gd name="connsiteY15" fmla="*/ 54673 h 468915"/>
                  <a:gd name="connsiteX16" fmla="*/ 94583 w 3455480"/>
                  <a:gd name="connsiteY16" fmla="*/ 54673 h 468915"/>
                  <a:gd name="connsiteX17" fmla="*/ 94583 w 3455480"/>
                  <a:gd name="connsiteY17" fmla="*/ 60674 h 468915"/>
                  <a:gd name="connsiteX18" fmla="*/ 109347 w 3455480"/>
                  <a:gd name="connsiteY18" fmla="*/ 60674 h 468915"/>
                  <a:gd name="connsiteX19" fmla="*/ 109347 w 3455480"/>
                  <a:gd name="connsiteY19" fmla="*/ 72866 h 468915"/>
                  <a:gd name="connsiteX20" fmla="*/ 111443 w 3455480"/>
                  <a:gd name="connsiteY20" fmla="*/ 72866 h 468915"/>
                  <a:gd name="connsiteX21" fmla="*/ 111443 w 3455480"/>
                  <a:gd name="connsiteY21" fmla="*/ 78867 h 468915"/>
                  <a:gd name="connsiteX22" fmla="*/ 117729 w 3455480"/>
                  <a:gd name="connsiteY22" fmla="*/ 78867 h 468915"/>
                  <a:gd name="connsiteX23" fmla="*/ 117729 w 3455480"/>
                  <a:gd name="connsiteY23" fmla="*/ 84963 h 468915"/>
                  <a:gd name="connsiteX24" fmla="*/ 121920 w 3455480"/>
                  <a:gd name="connsiteY24" fmla="*/ 84963 h 468915"/>
                  <a:gd name="connsiteX25" fmla="*/ 121920 w 3455480"/>
                  <a:gd name="connsiteY25" fmla="*/ 91059 h 468915"/>
                  <a:gd name="connsiteX26" fmla="*/ 138779 w 3455480"/>
                  <a:gd name="connsiteY26" fmla="*/ 91059 h 468915"/>
                  <a:gd name="connsiteX27" fmla="*/ 138779 w 3455480"/>
                  <a:gd name="connsiteY27" fmla="*/ 103155 h 468915"/>
                  <a:gd name="connsiteX28" fmla="*/ 142970 w 3455480"/>
                  <a:gd name="connsiteY28" fmla="*/ 103155 h 468915"/>
                  <a:gd name="connsiteX29" fmla="*/ 142970 w 3455480"/>
                  <a:gd name="connsiteY29" fmla="*/ 109251 h 468915"/>
                  <a:gd name="connsiteX30" fmla="*/ 166116 w 3455480"/>
                  <a:gd name="connsiteY30" fmla="*/ 109251 h 468915"/>
                  <a:gd name="connsiteX31" fmla="*/ 166116 w 3455480"/>
                  <a:gd name="connsiteY31" fmla="*/ 115347 h 468915"/>
                  <a:gd name="connsiteX32" fmla="*/ 170307 w 3455480"/>
                  <a:gd name="connsiteY32" fmla="*/ 115347 h 468915"/>
                  <a:gd name="connsiteX33" fmla="*/ 170307 w 3455480"/>
                  <a:gd name="connsiteY33" fmla="*/ 121348 h 468915"/>
                  <a:gd name="connsiteX34" fmla="*/ 176594 w 3455480"/>
                  <a:gd name="connsiteY34" fmla="*/ 121348 h 468915"/>
                  <a:gd name="connsiteX35" fmla="*/ 176594 w 3455480"/>
                  <a:gd name="connsiteY35" fmla="*/ 133540 h 468915"/>
                  <a:gd name="connsiteX36" fmla="*/ 195548 w 3455480"/>
                  <a:gd name="connsiteY36" fmla="*/ 133540 h 468915"/>
                  <a:gd name="connsiteX37" fmla="*/ 195548 w 3455480"/>
                  <a:gd name="connsiteY37" fmla="*/ 139541 h 468915"/>
                  <a:gd name="connsiteX38" fmla="*/ 203930 w 3455480"/>
                  <a:gd name="connsiteY38" fmla="*/ 139541 h 468915"/>
                  <a:gd name="connsiteX39" fmla="*/ 203930 w 3455480"/>
                  <a:gd name="connsiteY39" fmla="*/ 145637 h 468915"/>
                  <a:gd name="connsiteX40" fmla="*/ 216599 w 3455480"/>
                  <a:gd name="connsiteY40" fmla="*/ 145637 h 468915"/>
                  <a:gd name="connsiteX41" fmla="*/ 216599 w 3455480"/>
                  <a:gd name="connsiteY41" fmla="*/ 151733 h 468915"/>
                  <a:gd name="connsiteX42" fmla="*/ 233458 w 3455480"/>
                  <a:gd name="connsiteY42" fmla="*/ 151733 h 468915"/>
                  <a:gd name="connsiteX43" fmla="*/ 233458 w 3455480"/>
                  <a:gd name="connsiteY43" fmla="*/ 157734 h 468915"/>
                  <a:gd name="connsiteX44" fmla="*/ 260795 w 3455480"/>
                  <a:gd name="connsiteY44" fmla="*/ 157734 h 468915"/>
                  <a:gd name="connsiteX45" fmla="*/ 260795 w 3455480"/>
                  <a:gd name="connsiteY45" fmla="*/ 163830 h 468915"/>
                  <a:gd name="connsiteX46" fmla="*/ 262890 w 3455480"/>
                  <a:gd name="connsiteY46" fmla="*/ 163830 h 468915"/>
                  <a:gd name="connsiteX47" fmla="*/ 262890 w 3455480"/>
                  <a:gd name="connsiteY47" fmla="*/ 169926 h 468915"/>
                  <a:gd name="connsiteX48" fmla="*/ 273367 w 3455480"/>
                  <a:gd name="connsiteY48" fmla="*/ 169926 h 468915"/>
                  <a:gd name="connsiteX49" fmla="*/ 273367 w 3455480"/>
                  <a:gd name="connsiteY49" fmla="*/ 175926 h 468915"/>
                  <a:gd name="connsiteX50" fmla="*/ 279654 w 3455480"/>
                  <a:gd name="connsiteY50" fmla="*/ 175926 h 468915"/>
                  <a:gd name="connsiteX51" fmla="*/ 279654 w 3455480"/>
                  <a:gd name="connsiteY51" fmla="*/ 188118 h 468915"/>
                  <a:gd name="connsiteX52" fmla="*/ 288131 w 3455480"/>
                  <a:gd name="connsiteY52" fmla="*/ 188118 h 468915"/>
                  <a:gd name="connsiteX53" fmla="*/ 288131 w 3455480"/>
                  <a:gd name="connsiteY53" fmla="*/ 194119 h 468915"/>
                  <a:gd name="connsiteX54" fmla="*/ 294418 w 3455480"/>
                  <a:gd name="connsiteY54" fmla="*/ 194119 h 468915"/>
                  <a:gd name="connsiteX55" fmla="*/ 294418 w 3455480"/>
                  <a:gd name="connsiteY55" fmla="*/ 206311 h 468915"/>
                  <a:gd name="connsiteX56" fmla="*/ 296513 w 3455480"/>
                  <a:gd name="connsiteY56" fmla="*/ 206311 h 468915"/>
                  <a:gd name="connsiteX57" fmla="*/ 296513 w 3455480"/>
                  <a:gd name="connsiteY57" fmla="*/ 212407 h 468915"/>
                  <a:gd name="connsiteX58" fmla="*/ 309086 w 3455480"/>
                  <a:gd name="connsiteY58" fmla="*/ 212407 h 468915"/>
                  <a:gd name="connsiteX59" fmla="*/ 309086 w 3455480"/>
                  <a:gd name="connsiteY59" fmla="*/ 218408 h 468915"/>
                  <a:gd name="connsiteX60" fmla="*/ 332232 w 3455480"/>
                  <a:gd name="connsiteY60" fmla="*/ 218408 h 468915"/>
                  <a:gd name="connsiteX61" fmla="*/ 332232 w 3455480"/>
                  <a:gd name="connsiteY61" fmla="*/ 224504 h 468915"/>
                  <a:gd name="connsiteX62" fmla="*/ 338614 w 3455480"/>
                  <a:gd name="connsiteY62" fmla="*/ 224504 h 468915"/>
                  <a:gd name="connsiteX63" fmla="*/ 338614 w 3455480"/>
                  <a:gd name="connsiteY63" fmla="*/ 230600 h 468915"/>
                  <a:gd name="connsiteX64" fmla="*/ 346996 w 3455480"/>
                  <a:gd name="connsiteY64" fmla="*/ 230600 h 468915"/>
                  <a:gd name="connsiteX65" fmla="*/ 346996 w 3455480"/>
                  <a:gd name="connsiteY65" fmla="*/ 236601 h 468915"/>
                  <a:gd name="connsiteX66" fmla="*/ 355378 w 3455480"/>
                  <a:gd name="connsiteY66" fmla="*/ 236601 h 468915"/>
                  <a:gd name="connsiteX67" fmla="*/ 355378 w 3455480"/>
                  <a:gd name="connsiteY67" fmla="*/ 242697 h 468915"/>
                  <a:gd name="connsiteX68" fmla="*/ 359569 w 3455480"/>
                  <a:gd name="connsiteY68" fmla="*/ 242697 h 468915"/>
                  <a:gd name="connsiteX69" fmla="*/ 359569 w 3455480"/>
                  <a:gd name="connsiteY69" fmla="*/ 248793 h 468915"/>
                  <a:gd name="connsiteX70" fmla="*/ 433197 w 3455480"/>
                  <a:gd name="connsiteY70" fmla="*/ 248793 h 468915"/>
                  <a:gd name="connsiteX71" fmla="*/ 433197 w 3455480"/>
                  <a:gd name="connsiteY71" fmla="*/ 254793 h 468915"/>
                  <a:gd name="connsiteX72" fmla="*/ 454247 w 3455480"/>
                  <a:gd name="connsiteY72" fmla="*/ 254793 h 468915"/>
                  <a:gd name="connsiteX73" fmla="*/ 454247 w 3455480"/>
                  <a:gd name="connsiteY73" fmla="*/ 260889 h 468915"/>
                  <a:gd name="connsiteX74" fmla="*/ 460534 w 3455480"/>
                  <a:gd name="connsiteY74" fmla="*/ 260889 h 468915"/>
                  <a:gd name="connsiteX75" fmla="*/ 460534 w 3455480"/>
                  <a:gd name="connsiteY75" fmla="*/ 266985 h 468915"/>
                  <a:gd name="connsiteX76" fmla="*/ 502634 w 3455480"/>
                  <a:gd name="connsiteY76" fmla="*/ 266985 h 468915"/>
                  <a:gd name="connsiteX77" fmla="*/ 502634 w 3455480"/>
                  <a:gd name="connsiteY77" fmla="*/ 272986 h 468915"/>
                  <a:gd name="connsiteX78" fmla="*/ 517303 w 3455480"/>
                  <a:gd name="connsiteY78" fmla="*/ 272986 h 468915"/>
                  <a:gd name="connsiteX79" fmla="*/ 517303 w 3455480"/>
                  <a:gd name="connsiteY79" fmla="*/ 279082 h 468915"/>
                  <a:gd name="connsiteX80" fmla="*/ 546830 w 3455480"/>
                  <a:gd name="connsiteY80" fmla="*/ 279082 h 468915"/>
                  <a:gd name="connsiteX81" fmla="*/ 546830 w 3455480"/>
                  <a:gd name="connsiteY81" fmla="*/ 285178 h 468915"/>
                  <a:gd name="connsiteX82" fmla="*/ 548926 w 3455480"/>
                  <a:gd name="connsiteY82" fmla="*/ 285178 h 468915"/>
                  <a:gd name="connsiteX83" fmla="*/ 548926 w 3455480"/>
                  <a:gd name="connsiteY83" fmla="*/ 291179 h 468915"/>
                  <a:gd name="connsiteX84" fmla="*/ 571976 w 3455480"/>
                  <a:gd name="connsiteY84" fmla="*/ 291179 h 468915"/>
                  <a:gd name="connsiteX85" fmla="*/ 571976 w 3455480"/>
                  <a:gd name="connsiteY85" fmla="*/ 297275 h 468915"/>
                  <a:gd name="connsiteX86" fmla="*/ 584645 w 3455480"/>
                  <a:gd name="connsiteY86" fmla="*/ 297275 h 468915"/>
                  <a:gd name="connsiteX87" fmla="*/ 584645 w 3455480"/>
                  <a:gd name="connsiteY87" fmla="*/ 303371 h 468915"/>
                  <a:gd name="connsiteX88" fmla="*/ 620363 w 3455480"/>
                  <a:gd name="connsiteY88" fmla="*/ 303371 h 468915"/>
                  <a:gd name="connsiteX89" fmla="*/ 620363 w 3455480"/>
                  <a:gd name="connsiteY89" fmla="*/ 309467 h 468915"/>
                  <a:gd name="connsiteX90" fmla="*/ 736092 w 3455480"/>
                  <a:gd name="connsiteY90" fmla="*/ 309467 h 468915"/>
                  <a:gd name="connsiteX91" fmla="*/ 736092 w 3455480"/>
                  <a:gd name="connsiteY91" fmla="*/ 315468 h 468915"/>
                  <a:gd name="connsiteX92" fmla="*/ 773906 w 3455480"/>
                  <a:gd name="connsiteY92" fmla="*/ 315468 h 468915"/>
                  <a:gd name="connsiteX93" fmla="*/ 773906 w 3455480"/>
                  <a:gd name="connsiteY93" fmla="*/ 321659 h 468915"/>
                  <a:gd name="connsiteX94" fmla="*/ 826484 w 3455480"/>
                  <a:gd name="connsiteY94" fmla="*/ 321659 h 468915"/>
                  <a:gd name="connsiteX95" fmla="*/ 826484 w 3455480"/>
                  <a:gd name="connsiteY95" fmla="*/ 327755 h 468915"/>
                  <a:gd name="connsiteX96" fmla="*/ 845439 w 3455480"/>
                  <a:gd name="connsiteY96" fmla="*/ 327755 h 468915"/>
                  <a:gd name="connsiteX97" fmla="*/ 845439 w 3455480"/>
                  <a:gd name="connsiteY97" fmla="*/ 333851 h 468915"/>
                  <a:gd name="connsiteX98" fmla="*/ 855917 w 3455480"/>
                  <a:gd name="connsiteY98" fmla="*/ 333851 h 468915"/>
                  <a:gd name="connsiteX99" fmla="*/ 855917 w 3455480"/>
                  <a:gd name="connsiteY99" fmla="*/ 340042 h 468915"/>
                  <a:gd name="connsiteX100" fmla="*/ 889635 w 3455480"/>
                  <a:gd name="connsiteY100" fmla="*/ 340042 h 468915"/>
                  <a:gd name="connsiteX101" fmla="*/ 889635 w 3455480"/>
                  <a:gd name="connsiteY101" fmla="*/ 346138 h 468915"/>
                  <a:gd name="connsiteX102" fmla="*/ 895922 w 3455480"/>
                  <a:gd name="connsiteY102" fmla="*/ 346138 h 468915"/>
                  <a:gd name="connsiteX103" fmla="*/ 895922 w 3455480"/>
                  <a:gd name="connsiteY103" fmla="*/ 352234 h 468915"/>
                  <a:gd name="connsiteX104" fmla="*/ 910590 w 3455480"/>
                  <a:gd name="connsiteY104" fmla="*/ 352234 h 468915"/>
                  <a:gd name="connsiteX105" fmla="*/ 910590 w 3455480"/>
                  <a:gd name="connsiteY105" fmla="*/ 358330 h 468915"/>
                  <a:gd name="connsiteX106" fmla="*/ 923258 w 3455480"/>
                  <a:gd name="connsiteY106" fmla="*/ 358330 h 468915"/>
                  <a:gd name="connsiteX107" fmla="*/ 923258 w 3455480"/>
                  <a:gd name="connsiteY107" fmla="*/ 364521 h 468915"/>
                  <a:gd name="connsiteX108" fmla="*/ 948500 w 3455480"/>
                  <a:gd name="connsiteY108" fmla="*/ 364521 h 468915"/>
                  <a:gd name="connsiteX109" fmla="*/ 948500 w 3455480"/>
                  <a:gd name="connsiteY109" fmla="*/ 370617 h 468915"/>
                  <a:gd name="connsiteX110" fmla="*/ 1177766 w 3455480"/>
                  <a:gd name="connsiteY110" fmla="*/ 370617 h 468915"/>
                  <a:gd name="connsiteX111" fmla="*/ 1177766 w 3455480"/>
                  <a:gd name="connsiteY111" fmla="*/ 376809 h 468915"/>
                  <a:gd name="connsiteX112" fmla="*/ 1291304 w 3455480"/>
                  <a:gd name="connsiteY112" fmla="*/ 376809 h 468915"/>
                  <a:gd name="connsiteX113" fmla="*/ 1291304 w 3455480"/>
                  <a:gd name="connsiteY113" fmla="*/ 383000 h 468915"/>
                  <a:gd name="connsiteX114" fmla="*/ 1560481 w 3455480"/>
                  <a:gd name="connsiteY114" fmla="*/ 383000 h 468915"/>
                  <a:gd name="connsiteX115" fmla="*/ 1560481 w 3455480"/>
                  <a:gd name="connsiteY115" fmla="*/ 389286 h 468915"/>
                  <a:gd name="connsiteX116" fmla="*/ 1634109 w 3455480"/>
                  <a:gd name="connsiteY116" fmla="*/ 389286 h 468915"/>
                  <a:gd name="connsiteX117" fmla="*/ 1634109 w 3455480"/>
                  <a:gd name="connsiteY117" fmla="*/ 395573 h 468915"/>
                  <a:gd name="connsiteX118" fmla="*/ 1714024 w 3455480"/>
                  <a:gd name="connsiteY118" fmla="*/ 395573 h 468915"/>
                  <a:gd name="connsiteX119" fmla="*/ 1714024 w 3455480"/>
                  <a:gd name="connsiteY119" fmla="*/ 401859 h 468915"/>
                  <a:gd name="connsiteX120" fmla="*/ 1875949 w 3455480"/>
                  <a:gd name="connsiteY120" fmla="*/ 401859 h 468915"/>
                  <a:gd name="connsiteX121" fmla="*/ 1875949 w 3455480"/>
                  <a:gd name="connsiteY121" fmla="*/ 408336 h 468915"/>
                  <a:gd name="connsiteX122" fmla="*/ 1892808 w 3455480"/>
                  <a:gd name="connsiteY122" fmla="*/ 408336 h 468915"/>
                  <a:gd name="connsiteX123" fmla="*/ 1892808 w 3455480"/>
                  <a:gd name="connsiteY123" fmla="*/ 414718 h 468915"/>
                  <a:gd name="connsiteX124" fmla="*/ 2010632 w 3455480"/>
                  <a:gd name="connsiteY124" fmla="*/ 414718 h 468915"/>
                  <a:gd name="connsiteX125" fmla="*/ 2010632 w 3455480"/>
                  <a:gd name="connsiteY125" fmla="*/ 421195 h 468915"/>
                  <a:gd name="connsiteX126" fmla="*/ 2103120 w 3455480"/>
                  <a:gd name="connsiteY126" fmla="*/ 421195 h 468915"/>
                  <a:gd name="connsiteX127" fmla="*/ 2103120 w 3455480"/>
                  <a:gd name="connsiteY127" fmla="*/ 427577 h 468915"/>
                  <a:gd name="connsiteX128" fmla="*/ 2122075 w 3455480"/>
                  <a:gd name="connsiteY128" fmla="*/ 427577 h 468915"/>
                  <a:gd name="connsiteX129" fmla="*/ 2122075 w 3455480"/>
                  <a:gd name="connsiteY129" fmla="*/ 434054 h 468915"/>
                  <a:gd name="connsiteX130" fmla="*/ 2975896 w 3455480"/>
                  <a:gd name="connsiteY130" fmla="*/ 434054 h 468915"/>
                  <a:gd name="connsiteX131" fmla="*/ 2975896 w 3455480"/>
                  <a:gd name="connsiteY131" fmla="*/ 468915 h 468915"/>
                  <a:gd name="connsiteX132" fmla="*/ 3455480 w 3455480"/>
                  <a:gd name="connsiteY132" fmla="*/ 468915 h 468915"/>
                  <a:gd name="connsiteX0" fmla="*/ 0 w 3445003"/>
                  <a:gd name="connsiteY0" fmla="*/ 0 h 456723"/>
                  <a:gd name="connsiteX1" fmla="*/ 8383 w 3445003"/>
                  <a:gd name="connsiteY1" fmla="*/ 0 h 456723"/>
                  <a:gd name="connsiteX2" fmla="*/ 8383 w 3445003"/>
                  <a:gd name="connsiteY2" fmla="*/ 6096 h 456723"/>
                  <a:gd name="connsiteX3" fmla="*/ 23146 w 3445003"/>
                  <a:gd name="connsiteY3" fmla="*/ 6096 h 456723"/>
                  <a:gd name="connsiteX4" fmla="*/ 23146 w 3445003"/>
                  <a:gd name="connsiteY4" fmla="*/ 12096 h 456723"/>
                  <a:gd name="connsiteX5" fmla="*/ 27337 w 3445003"/>
                  <a:gd name="connsiteY5" fmla="*/ 12096 h 456723"/>
                  <a:gd name="connsiteX6" fmla="*/ 27337 w 3445003"/>
                  <a:gd name="connsiteY6" fmla="*/ 18192 h 456723"/>
                  <a:gd name="connsiteX7" fmla="*/ 31528 w 3445003"/>
                  <a:gd name="connsiteY7" fmla="*/ 18192 h 456723"/>
                  <a:gd name="connsiteX8" fmla="*/ 31528 w 3445003"/>
                  <a:gd name="connsiteY8" fmla="*/ 24288 h 456723"/>
                  <a:gd name="connsiteX9" fmla="*/ 44197 w 3445003"/>
                  <a:gd name="connsiteY9" fmla="*/ 24288 h 456723"/>
                  <a:gd name="connsiteX10" fmla="*/ 44197 w 3445003"/>
                  <a:gd name="connsiteY10" fmla="*/ 30289 h 456723"/>
                  <a:gd name="connsiteX11" fmla="*/ 73629 w 3445003"/>
                  <a:gd name="connsiteY11" fmla="*/ 30289 h 456723"/>
                  <a:gd name="connsiteX12" fmla="*/ 73629 w 3445003"/>
                  <a:gd name="connsiteY12" fmla="*/ 36385 h 456723"/>
                  <a:gd name="connsiteX13" fmla="*/ 82011 w 3445003"/>
                  <a:gd name="connsiteY13" fmla="*/ 36385 h 456723"/>
                  <a:gd name="connsiteX14" fmla="*/ 82011 w 3445003"/>
                  <a:gd name="connsiteY14" fmla="*/ 42481 h 456723"/>
                  <a:gd name="connsiteX15" fmla="*/ 84106 w 3445003"/>
                  <a:gd name="connsiteY15" fmla="*/ 42481 h 456723"/>
                  <a:gd name="connsiteX16" fmla="*/ 84106 w 3445003"/>
                  <a:gd name="connsiteY16" fmla="*/ 48482 h 456723"/>
                  <a:gd name="connsiteX17" fmla="*/ 98870 w 3445003"/>
                  <a:gd name="connsiteY17" fmla="*/ 48482 h 456723"/>
                  <a:gd name="connsiteX18" fmla="*/ 98870 w 3445003"/>
                  <a:gd name="connsiteY18" fmla="*/ 60674 h 456723"/>
                  <a:gd name="connsiteX19" fmla="*/ 100966 w 3445003"/>
                  <a:gd name="connsiteY19" fmla="*/ 60674 h 456723"/>
                  <a:gd name="connsiteX20" fmla="*/ 100966 w 3445003"/>
                  <a:gd name="connsiteY20" fmla="*/ 66675 h 456723"/>
                  <a:gd name="connsiteX21" fmla="*/ 107252 w 3445003"/>
                  <a:gd name="connsiteY21" fmla="*/ 66675 h 456723"/>
                  <a:gd name="connsiteX22" fmla="*/ 107252 w 3445003"/>
                  <a:gd name="connsiteY22" fmla="*/ 72771 h 456723"/>
                  <a:gd name="connsiteX23" fmla="*/ 111443 w 3445003"/>
                  <a:gd name="connsiteY23" fmla="*/ 72771 h 456723"/>
                  <a:gd name="connsiteX24" fmla="*/ 111443 w 3445003"/>
                  <a:gd name="connsiteY24" fmla="*/ 78867 h 456723"/>
                  <a:gd name="connsiteX25" fmla="*/ 128302 w 3445003"/>
                  <a:gd name="connsiteY25" fmla="*/ 78867 h 456723"/>
                  <a:gd name="connsiteX26" fmla="*/ 128302 w 3445003"/>
                  <a:gd name="connsiteY26" fmla="*/ 90963 h 456723"/>
                  <a:gd name="connsiteX27" fmla="*/ 132493 w 3445003"/>
                  <a:gd name="connsiteY27" fmla="*/ 90963 h 456723"/>
                  <a:gd name="connsiteX28" fmla="*/ 132493 w 3445003"/>
                  <a:gd name="connsiteY28" fmla="*/ 97059 h 456723"/>
                  <a:gd name="connsiteX29" fmla="*/ 155639 w 3445003"/>
                  <a:gd name="connsiteY29" fmla="*/ 97059 h 456723"/>
                  <a:gd name="connsiteX30" fmla="*/ 155639 w 3445003"/>
                  <a:gd name="connsiteY30" fmla="*/ 103155 h 456723"/>
                  <a:gd name="connsiteX31" fmla="*/ 159830 w 3445003"/>
                  <a:gd name="connsiteY31" fmla="*/ 103155 h 456723"/>
                  <a:gd name="connsiteX32" fmla="*/ 159830 w 3445003"/>
                  <a:gd name="connsiteY32" fmla="*/ 109156 h 456723"/>
                  <a:gd name="connsiteX33" fmla="*/ 166117 w 3445003"/>
                  <a:gd name="connsiteY33" fmla="*/ 109156 h 456723"/>
                  <a:gd name="connsiteX34" fmla="*/ 166117 w 3445003"/>
                  <a:gd name="connsiteY34" fmla="*/ 121348 h 456723"/>
                  <a:gd name="connsiteX35" fmla="*/ 185071 w 3445003"/>
                  <a:gd name="connsiteY35" fmla="*/ 121348 h 456723"/>
                  <a:gd name="connsiteX36" fmla="*/ 185071 w 3445003"/>
                  <a:gd name="connsiteY36" fmla="*/ 127349 h 456723"/>
                  <a:gd name="connsiteX37" fmla="*/ 193453 w 3445003"/>
                  <a:gd name="connsiteY37" fmla="*/ 127349 h 456723"/>
                  <a:gd name="connsiteX38" fmla="*/ 193453 w 3445003"/>
                  <a:gd name="connsiteY38" fmla="*/ 133445 h 456723"/>
                  <a:gd name="connsiteX39" fmla="*/ 206122 w 3445003"/>
                  <a:gd name="connsiteY39" fmla="*/ 133445 h 456723"/>
                  <a:gd name="connsiteX40" fmla="*/ 206122 w 3445003"/>
                  <a:gd name="connsiteY40" fmla="*/ 139541 h 456723"/>
                  <a:gd name="connsiteX41" fmla="*/ 222981 w 3445003"/>
                  <a:gd name="connsiteY41" fmla="*/ 139541 h 456723"/>
                  <a:gd name="connsiteX42" fmla="*/ 222981 w 3445003"/>
                  <a:gd name="connsiteY42" fmla="*/ 145542 h 456723"/>
                  <a:gd name="connsiteX43" fmla="*/ 250318 w 3445003"/>
                  <a:gd name="connsiteY43" fmla="*/ 145542 h 456723"/>
                  <a:gd name="connsiteX44" fmla="*/ 250318 w 3445003"/>
                  <a:gd name="connsiteY44" fmla="*/ 151638 h 456723"/>
                  <a:gd name="connsiteX45" fmla="*/ 252413 w 3445003"/>
                  <a:gd name="connsiteY45" fmla="*/ 151638 h 456723"/>
                  <a:gd name="connsiteX46" fmla="*/ 252413 w 3445003"/>
                  <a:gd name="connsiteY46" fmla="*/ 157734 h 456723"/>
                  <a:gd name="connsiteX47" fmla="*/ 262890 w 3445003"/>
                  <a:gd name="connsiteY47" fmla="*/ 157734 h 456723"/>
                  <a:gd name="connsiteX48" fmla="*/ 262890 w 3445003"/>
                  <a:gd name="connsiteY48" fmla="*/ 163734 h 456723"/>
                  <a:gd name="connsiteX49" fmla="*/ 269177 w 3445003"/>
                  <a:gd name="connsiteY49" fmla="*/ 163734 h 456723"/>
                  <a:gd name="connsiteX50" fmla="*/ 269177 w 3445003"/>
                  <a:gd name="connsiteY50" fmla="*/ 175926 h 456723"/>
                  <a:gd name="connsiteX51" fmla="*/ 277654 w 3445003"/>
                  <a:gd name="connsiteY51" fmla="*/ 175926 h 456723"/>
                  <a:gd name="connsiteX52" fmla="*/ 277654 w 3445003"/>
                  <a:gd name="connsiteY52" fmla="*/ 181927 h 456723"/>
                  <a:gd name="connsiteX53" fmla="*/ 283941 w 3445003"/>
                  <a:gd name="connsiteY53" fmla="*/ 181927 h 456723"/>
                  <a:gd name="connsiteX54" fmla="*/ 283941 w 3445003"/>
                  <a:gd name="connsiteY54" fmla="*/ 194119 h 456723"/>
                  <a:gd name="connsiteX55" fmla="*/ 286036 w 3445003"/>
                  <a:gd name="connsiteY55" fmla="*/ 194119 h 456723"/>
                  <a:gd name="connsiteX56" fmla="*/ 286036 w 3445003"/>
                  <a:gd name="connsiteY56" fmla="*/ 200215 h 456723"/>
                  <a:gd name="connsiteX57" fmla="*/ 298609 w 3445003"/>
                  <a:gd name="connsiteY57" fmla="*/ 200215 h 456723"/>
                  <a:gd name="connsiteX58" fmla="*/ 298609 w 3445003"/>
                  <a:gd name="connsiteY58" fmla="*/ 206216 h 456723"/>
                  <a:gd name="connsiteX59" fmla="*/ 321755 w 3445003"/>
                  <a:gd name="connsiteY59" fmla="*/ 206216 h 456723"/>
                  <a:gd name="connsiteX60" fmla="*/ 321755 w 3445003"/>
                  <a:gd name="connsiteY60" fmla="*/ 212312 h 456723"/>
                  <a:gd name="connsiteX61" fmla="*/ 328137 w 3445003"/>
                  <a:gd name="connsiteY61" fmla="*/ 212312 h 456723"/>
                  <a:gd name="connsiteX62" fmla="*/ 328137 w 3445003"/>
                  <a:gd name="connsiteY62" fmla="*/ 218408 h 456723"/>
                  <a:gd name="connsiteX63" fmla="*/ 336519 w 3445003"/>
                  <a:gd name="connsiteY63" fmla="*/ 218408 h 456723"/>
                  <a:gd name="connsiteX64" fmla="*/ 336519 w 3445003"/>
                  <a:gd name="connsiteY64" fmla="*/ 224409 h 456723"/>
                  <a:gd name="connsiteX65" fmla="*/ 344901 w 3445003"/>
                  <a:gd name="connsiteY65" fmla="*/ 224409 h 456723"/>
                  <a:gd name="connsiteX66" fmla="*/ 344901 w 3445003"/>
                  <a:gd name="connsiteY66" fmla="*/ 230505 h 456723"/>
                  <a:gd name="connsiteX67" fmla="*/ 349092 w 3445003"/>
                  <a:gd name="connsiteY67" fmla="*/ 230505 h 456723"/>
                  <a:gd name="connsiteX68" fmla="*/ 349092 w 3445003"/>
                  <a:gd name="connsiteY68" fmla="*/ 236601 h 456723"/>
                  <a:gd name="connsiteX69" fmla="*/ 422720 w 3445003"/>
                  <a:gd name="connsiteY69" fmla="*/ 236601 h 456723"/>
                  <a:gd name="connsiteX70" fmla="*/ 422720 w 3445003"/>
                  <a:gd name="connsiteY70" fmla="*/ 242601 h 456723"/>
                  <a:gd name="connsiteX71" fmla="*/ 443770 w 3445003"/>
                  <a:gd name="connsiteY71" fmla="*/ 242601 h 456723"/>
                  <a:gd name="connsiteX72" fmla="*/ 443770 w 3445003"/>
                  <a:gd name="connsiteY72" fmla="*/ 248697 h 456723"/>
                  <a:gd name="connsiteX73" fmla="*/ 450057 w 3445003"/>
                  <a:gd name="connsiteY73" fmla="*/ 248697 h 456723"/>
                  <a:gd name="connsiteX74" fmla="*/ 450057 w 3445003"/>
                  <a:gd name="connsiteY74" fmla="*/ 254793 h 456723"/>
                  <a:gd name="connsiteX75" fmla="*/ 492157 w 3445003"/>
                  <a:gd name="connsiteY75" fmla="*/ 254793 h 456723"/>
                  <a:gd name="connsiteX76" fmla="*/ 492157 w 3445003"/>
                  <a:gd name="connsiteY76" fmla="*/ 260794 h 456723"/>
                  <a:gd name="connsiteX77" fmla="*/ 506826 w 3445003"/>
                  <a:gd name="connsiteY77" fmla="*/ 260794 h 456723"/>
                  <a:gd name="connsiteX78" fmla="*/ 506826 w 3445003"/>
                  <a:gd name="connsiteY78" fmla="*/ 266890 h 456723"/>
                  <a:gd name="connsiteX79" fmla="*/ 536353 w 3445003"/>
                  <a:gd name="connsiteY79" fmla="*/ 266890 h 456723"/>
                  <a:gd name="connsiteX80" fmla="*/ 536353 w 3445003"/>
                  <a:gd name="connsiteY80" fmla="*/ 272986 h 456723"/>
                  <a:gd name="connsiteX81" fmla="*/ 538449 w 3445003"/>
                  <a:gd name="connsiteY81" fmla="*/ 272986 h 456723"/>
                  <a:gd name="connsiteX82" fmla="*/ 538449 w 3445003"/>
                  <a:gd name="connsiteY82" fmla="*/ 278987 h 456723"/>
                  <a:gd name="connsiteX83" fmla="*/ 561499 w 3445003"/>
                  <a:gd name="connsiteY83" fmla="*/ 278987 h 456723"/>
                  <a:gd name="connsiteX84" fmla="*/ 561499 w 3445003"/>
                  <a:gd name="connsiteY84" fmla="*/ 285083 h 456723"/>
                  <a:gd name="connsiteX85" fmla="*/ 574168 w 3445003"/>
                  <a:gd name="connsiteY85" fmla="*/ 285083 h 456723"/>
                  <a:gd name="connsiteX86" fmla="*/ 574168 w 3445003"/>
                  <a:gd name="connsiteY86" fmla="*/ 291179 h 456723"/>
                  <a:gd name="connsiteX87" fmla="*/ 609886 w 3445003"/>
                  <a:gd name="connsiteY87" fmla="*/ 291179 h 456723"/>
                  <a:gd name="connsiteX88" fmla="*/ 609886 w 3445003"/>
                  <a:gd name="connsiteY88" fmla="*/ 297275 h 456723"/>
                  <a:gd name="connsiteX89" fmla="*/ 725615 w 3445003"/>
                  <a:gd name="connsiteY89" fmla="*/ 297275 h 456723"/>
                  <a:gd name="connsiteX90" fmla="*/ 725615 w 3445003"/>
                  <a:gd name="connsiteY90" fmla="*/ 303276 h 456723"/>
                  <a:gd name="connsiteX91" fmla="*/ 763429 w 3445003"/>
                  <a:gd name="connsiteY91" fmla="*/ 303276 h 456723"/>
                  <a:gd name="connsiteX92" fmla="*/ 763429 w 3445003"/>
                  <a:gd name="connsiteY92" fmla="*/ 309467 h 456723"/>
                  <a:gd name="connsiteX93" fmla="*/ 816007 w 3445003"/>
                  <a:gd name="connsiteY93" fmla="*/ 309467 h 456723"/>
                  <a:gd name="connsiteX94" fmla="*/ 816007 w 3445003"/>
                  <a:gd name="connsiteY94" fmla="*/ 315563 h 456723"/>
                  <a:gd name="connsiteX95" fmla="*/ 834962 w 3445003"/>
                  <a:gd name="connsiteY95" fmla="*/ 315563 h 456723"/>
                  <a:gd name="connsiteX96" fmla="*/ 834962 w 3445003"/>
                  <a:gd name="connsiteY96" fmla="*/ 321659 h 456723"/>
                  <a:gd name="connsiteX97" fmla="*/ 845440 w 3445003"/>
                  <a:gd name="connsiteY97" fmla="*/ 321659 h 456723"/>
                  <a:gd name="connsiteX98" fmla="*/ 845440 w 3445003"/>
                  <a:gd name="connsiteY98" fmla="*/ 327850 h 456723"/>
                  <a:gd name="connsiteX99" fmla="*/ 879158 w 3445003"/>
                  <a:gd name="connsiteY99" fmla="*/ 327850 h 456723"/>
                  <a:gd name="connsiteX100" fmla="*/ 879158 w 3445003"/>
                  <a:gd name="connsiteY100" fmla="*/ 333946 h 456723"/>
                  <a:gd name="connsiteX101" fmla="*/ 885445 w 3445003"/>
                  <a:gd name="connsiteY101" fmla="*/ 333946 h 456723"/>
                  <a:gd name="connsiteX102" fmla="*/ 885445 w 3445003"/>
                  <a:gd name="connsiteY102" fmla="*/ 340042 h 456723"/>
                  <a:gd name="connsiteX103" fmla="*/ 900113 w 3445003"/>
                  <a:gd name="connsiteY103" fmla="*/ 340042 h 456723"/>
                  <a:gd name="connsiteX104" fmla="*/ 900113 w 3445003"/>
                  <a:gd name="connsiteY104" fmla="*/ 346138 h 456723"/>
                  <a:gd name="connsiteX105" fmla="*/ 912781 w 3445003"/>
                  <a:gd name="connsiteY105" fmla="*/ 346138 h 456723"/>
                  <a:gd name="connsiteX106" fmla="*/ 912781 w 3445003"/>
                  <a:gd name="connsiteY106" fmla="*/ 352329 h 456723"/>
                  <a:gd name="connsiteX107" fmla="*/ 938023 w 3445003"/>
                  <a:gd name="connsiteY107" fmla="*/ 352329 h 456723"/>
                  <a:gd name="connsiteX108" fmla="*/ 938023 w 3445003"/>
                  <a:gd name="connsiteY108" fmla="*/ 358425 h 456723"/>
                  <a:gd name="connsiteX109" fmla="*/ 1167289 w 3445003"/>
                  <a:gd name="connsiteY109" fmla="*/ 358425 h 456723"/>
                  <a:gd name="connsiteX110" fmla="*/ 1167289 w 3445003"/>
                  <a:gd name="connsiteY110" fmla="*/ 364617 h 456723"/>
                  <a:gd name="connsiteX111" fmla="*/ 1280827 w 3445003"/>
                  <a:gd name="connsiteY111" fmla="*/ 364617 h 456723"/>
                  <a:gd name="connsiteX112" fmla="*/ 1280827 w 3445003"/>
                  <a:gd name="connsiteY112" fmla="*/ 370808 h 456723"/>
                  <a:gd name="connsiteX113" fmla="*/ 1550004 w 3445003"/>
                  <a:gd name="connsiteY113" fmla="*/ 370808 h 456723"/>
                  <a:gd name="connsiteX114" fmla="*/ 1550004 w 3445003"/>
                  <a:gd name="connsiteY114" fmla="*/ 377094 h 456723"/>
                  <a:gd name="connsiteX115" fmla="*/ 1623632 w 3445003"/>
                  <a:gd name="connsiteY115" fmla="*/ 377094 h 456723"/>
                  <a:gd name="connsiteX116" fmla="*/ 1623632 w 3445003"/>
                  <a:gd name="connsiteY116" fmla="*/ 383381 h 456723"/>
                  <a:gd name="connsiteX117" fmla="*/ 1703547 w 3445003"/>
                  <a:gd name="connsiteY117" fmla="*/ 383381 h 456723"/>
                  <a:gd name="connsiteX118" fmla="*/ 1703547 w 3445003"/>
                  <a:gd name="connsiteY118" fmla="*/ 389667 h 456723"/>
                  <a:gd name="connsiteX119" fmla="*/ 1865472 w 3445003"/>
                  <a:gd name="connsiteY119" fmla="*/ 389667 h 456723"/>
                  <a:gd name="connsiteX120" fmla="*/ 1865472 w 3445003"/>
                  <a:gd name="connsiteY120" fmla="*/ 396144 h 456723"/>
                  <a:gd name="connsiteX121" fmla="*/ 1882331 w 3445003"/>
                  <a:gd name="connsiteY121" fmla="*/ 396144 h 456723"/>
                  <a:gd name="connsiteX122" fmla="*/ 1882331 w 3445003"/>
                  <a:gd name="connsiteY122" fmla="*/ 402526 h 456723"/>
                  <a:gd name="connsiteX123" fmla="*/ 2000155 w 3445003"/>
                  <a:gd name="connsiteY123" fmla="*/ 402526 h 456723"/>
                  <a:gd name="connsiteX124" fmla="*/ 2000155 w 3445003"/>
                  <a:gd name="connsiteY124" fmla="*/ 409003 h 456723"/>
                  <a:gd name="connsiteX125" fmla="*/ 2092643 w 3445003"/>
                  <a:gd name="connsiteY125" fmla="*/ 409003 h 456723"/>
                  <a:gd name="connsiteX126" fmla="*/ 2092643 w 3445003"/>
                  <a:gd name="connsiteY126" fmla="*/ 415385 h 456723"/>
                  <a:gd name="connsiteX127" fmla="*/ 2111598 w 3445003"/>
                  <a:gd name="connsiteY127" fmla="*/ 415385 h 456723"/>
                  <a:gd name="connsiteX128" fmla="*/ 2111598 w 3445003"/>
                  <a:gd name="connsiteY128" fmla="*/ 421862 h 456723"/>
                  <a:gd name="connsiteX129" fmla="*/ 2965419 w 3445003"/>
                  <a:gd name="connsiteY129" fmla="*/ 421862 h 456723"/>
                  <a:gd name="connsiteX130" fmla="*/ 2965419 w 3445003"/>
                  <a:gd name="connsiteY130" fmla="*/ 456723 h 456723"/>
                  <a:gd name="connsiteX131" fmla="*/ 3445003 w 3445003"/>
                  <a:gd name="connsiteY131" fmla="*/ 456723 h 456723"/>
                  <a:gd name="connsiteX0" fmla="*/ 0 w 3445003"/>
                  <a:gd name="connsiteY0" fmla="*/ 0 h 456723"/>
                  <a:gd name="connsiteX1" fmla="*/ 8383 w 3445003"/>
                  <a:gd name="connsiteY1" fmla="*/ 6096 h 456723"/>
                  <a:gd name="connsiteX2" fmla="*/ 23146 w 3445003"/>
                  <a:gd name="connsiteY2" fmla="*/ 6096 h 456723"/>
                  <a:gd name="connsiteX3" fmla="*/ 23146 w 3445003"/>
                  <a:gd name="connsiteY3" fmla="*/ 12096 h 456723"/>
                  <a:gd name="connsiteX4" fmla="*/ 27337 w 3445003"/>
                  <a:gd name="connsiteY4" fmla="*/ 12096 h 456723"/>
                  <a:gd name="connsiteX5" fmla="*/ 27337 w 3445003"/>
                  <a:gd name="connsiteY5" fmla="*/ 18192 h 456723"/>
                  <a:gd name="connsiteX6" fmla="*/ 31528 w 3445003"/>
                  <a:gd name="connsiteY6" fmla="*/ 18192 h 456723"/>
                  <a:gd name="connsiteX7" fmla="*/ 31528 w 3445003"/>
                  <a:gd name="connsiteY7" fmla="*/ 24288 h 456723"/>
                  <a:gd name="connsiteX8" fmla="*/ 44197 w 3445003"/>
                  <a:gd name="connsiteY8" fmla="*/ 24288 h 456723"/>
                  <a:gd name="connsiteX9" fmla="*/ 44197 w 3445003"/>
                  <a:gd name="connsiteY9" fmla="*/ 30289 h 456723"/>
                  <a:gd name="connsiteX10" fmla="*/ 73629 w 3445003"/>
                  <a:gd name="connsiteY10" fmla="*/ 30289 h 456723"/>
                  <a:gd name="connsiteX11" fmla="*/ 73629 w 3445003"/>
                  <a:gd name="connsiteY11" fmla="*/ 36385 h 456723"/>
                  <a:gd name="connsiteX12" fmla="*/ 82011 w 3445003"/>
                  <a:gd name="connsiteY12" fmla="*/ 36385 h 456723"/>
                  <a:gd name="connsiteX13" fmla="*/ 82011 w 3445003"/>
                  <a:gd name="connsiteY13" fmla="*/ 42481 h 456723"/>
                  <a:gd name="connsiteX14" fmla="*/ 84106 w 3445003"/>
                  <a:gd name="connsiteY14" fmla="*/ 42481 h 456723"/>
                  <a:gd name="connsiteX15" fmla="*/ 84106 w 3445003"/>
                  <a:gd name="connsiteY15" fmla="*/ 48482 h 456723"/>
                  <a:gd name="connsiteX16" fmla="*/ 98870 w 3445003"/>
                  <a:gd name="connsiteY16" fmla="*/ 48482 h 456723"/>
                  <a:gd name="connsiteX17" fmla="*/ 98870 w 3445003"/>
                  <a:gd name="connsiteY17" fmla="*/ 60674 h 456723"/>
                  <a:gd name="connsiteX18" fmla="*/ 100966 w 3445003"/>
                  <a:gd name="connsiteY18" fmla="*/ 60674 h 456723"/>
                  <a:gd name="connsiteX19" fmla="*/ 100966 w 3445003"/>
                  <a:gd name="connsiteY19" fmla="*/ 66675 h 456723"/>
                  <a:gd name="connsiteX20" fmla="*/ 107252 w 3445003"/>
                  <a:gd name="connsiteY20" fmla="*/ 66675 h 456723"/>
                  <a:gd name="connsiteX21" fmla="*/ 107252 w 3445003"/>
                  <a:gd name="connsiteY21" fmla="*/ 72771 h 456723"/>
                  <a:gd name="connsiteX22" fmla="*/ 111443 w 3445003"/>
                  <a:gd name="connsiteY22" fmla="*/ 72771 h 456723"/>
                  <a:gd name="connsiteX23" fmla="*/ 111443 w 3445003"/>
                  <a:gd name="connsiteY23" fmla="*/ 78867 h 456723"/>
                  <a:gd name="connsiteX24" fmla="*/ 128302 w 3445003"/>
                  <a:gd name="connsiteY24" fmla="*/ 78867 h 456723"/>
                  <a:gd name="connsiteX25" fmla="*/ 128302 w 3445003"/>
                  <a:gd name="connsiteY25" fmla="*/ 90963 h 456723"/>
                  <a:gd name="connsiteX26" fmla="*/ 132493 w 3445003"/>
                  <a:gd name="connsiteY26" fmla="*/ 90963 h 456723"/>
                  <a:gd name="connsiteX27" fmla="*/ 132493 w 3445003"/>
                  <a:gd name="connsiteY27" fmla="*/ 97059 h 456723"/>
                  <a:gd name="connsiteX28" fmla="*/ 155639 w 3445003"/>
                  <a:gd name="connsiteY28" fmla="*/ 97059 h 456723"/>
                  <a:gd name="connsiteX29" fmla="*/ 155639 w 3445003"/>
                  <a:gd name="connsiteY29" fmla="*/ 103155 h 456723"/>
                  <a:gd name="connsiteX30" fmla="*/ 159830 w 3445003"/>
                  <a:gd name="connsiteY30" fmla="*/ 103155 h 456723"/>
                  <a:gd name="connsiteX31" fmla="*/ 159830 w 3445003"/>
                  <a:gd name="connsiteY31" fmla="*/ 109156 h 456723"/>
                  <a:gd name="connsiteX32" fmla="*/ 166117 w 3445003"/>
                  <a:gd name="connsiteY32" fmla="*/ 109156 h 456723"/>
                  <a:gd name="connsiteX33" fmla="*/ 166117 w 3445003"/>
                  <a:gd name="connsiteY33" fmla="*/ 121348 h 456723"/>
                  <a:gd name="connsiteX34" fmla="*/ 185071 w 3445003"/>
                  <a:gd name="connsiteY34" fmla="*/ 121348 h 456723"/>
                  <a:gd name="connsiteX35" fmla="*/ 185071 w 3445003"/>
                  <a:gd name="connsiteY35" fmla="*/ 127349 h 456723"/>
                  <a:gd name="connsiteX36" fmla="*/ 193453 w 3445003"/>
                  <a:gd name="connsiteY36" fmla="*/ 127349 h 456723"/>
                  <a:gd name="connsiteX37" fmla="*/ 193453 w 3445003"/>
                  <a:gd name="connsiteY37" fmla="*/ 133445 h 456723"/>
                  <a:gd name="connsiteX38" fmla="*/ 206122 w 3445003"/>
                  <a:gd name="connsiteY38" fmla="*/ 133445 h 456723"/>
                  <a:gd name="connsiteX39" fmla="*/ 206122 w 3445003"/>
                  <a:gd name="connsiteY39" fmla="*/ 139541 h 456723"/>
                  <a:gd name="connsiteX40" fmla="*/ 222981 w 3445003"/>
                  <a:gd name="connsiteY40" fmla="*/ 139541 h 456723"/>
                  <a:gd name="connsiteX41" fmla="*/ 222981 w 3445003"/>
                  <a:gd name="connsiteY41" fmla="*/ 145542 h 456723"/>
                  <a:gd name="connsiteX42" fmla="*/ 250318 w 3445003"/>
                  <a:gd name="connsiteY42" fmla="*/ 145542 h 456723"/>
                  <a:gd name="connsiteX43" fmla="*/ 250318 w 3445003"/>
                  <a:gd name="connsiteY43" fmla="*/ 151638 h 456723"/>
                  <a:gd name="connsiteX44" fmla="*/ 252413 w 3445003"/>
                  <a:gd name="connsiteY44" fmla="*/ 151638 h 456723"/>
                  <a:gd name="connsiteX45" fmla="*/ 252413 w 3445003"/>
                  <a:gd name="connsiteY45" fmla="*/ 157734 h 456723"/>
                  <a:gd name="connsiteX46" fmla="*/ 262890 w 3445003"/>
                  <a:gd name="connsiteY46" fmla="*/ 157734 h 456723"/>
                  <a:gd name="connsiteX47" fmla="*/ 262890 w 3445003"/>
                  <a:gd name="connsiteY47" fmla="*/ 163734 h 456723"/>
                  <a:gd name="connsiteX48" fmla="*/ 269177 w 3445003"/>
                  <a:gd name="connsiteY48" fmla="*/ 163734 h 456723"/>
                  <a:gd name="connsiteX49" fmla="*/ 269177 w 3445003"/>
                  <a:gd name="connsiteY49" fmla="*/ 175926 h 456723"/>
                  <a:gd name="connsiteX50" fmla="*/ 277654 w 3445003"/>
                  <a:gd name="connsiteY50" fmla="*/ 175926 h 456723"/>
                  <a:gd name="connsiteX51" fmla="*/ 277654 w 3445003"/>
                  <a:gd name="connsiteY51" fmla="*/ 181927 h 456723"/>
                  <a:gd name="connsiteX52" fmla="*/ 283941 w 3445003"/>
                  <a:gd name="connsiteY52" fmla="*/ 181927 h 456723"/>
                  <a:gd name="connsiteX53" fmla="*/ 283941 w 3445003"/>
                  <a:gd name="connsiteY53" fmla="*/ 194119 h 456723"/>
                  <a:gd name="connsiteX54" fmla="*/ 286036 w 3445003"/>
                  <a:gd name="connsiteY54" fmla="*/ 194119 h 456723"/>
                  <a:gd name="connsiteX55" fmla="*/ 286036 w 3445003"/>
                  <a:gd name="connsiteY55" fmla="*/ 200215 h 456723"/>
                  <a:gd name="connsiteX56" fmla="*/ 298609 w 3445003"/>
                  <a:gd name="connsiteY56" fmla="*/ 200215 h 456723"/>
                  <a:gd name="connsiteX57" fmla="*/ 298609 w 3445003"/>
                  <a:gd name="connsiteY57" fmla="*/ 206216 h 456723"/>
                  <a:gd name="connsiteX58" fmla="*/ 321755 w 3445003"/>
                  <a:gd name="connsiteY58" fmla="*/ 206216 h 456723"/>
                  <a:gd name="connsiteX59" fmla="*/ 321755 w 3445003"/>
                  <a:gd name="connsiteY59" fmla="*/ 212312 h 456723"/>
                  <a:gd name="connsiteX60" fmla="*/ 328137 w 3445003"/>
                  <a:gd name="connsiteY60" fmla="*/ 212312 h 456723"/>
                  <a:gd name="connsiteX61" fmla="*/ 328137 w 3445003"/>
                  <a:gd name="connsiteY61" fmla="*/ 218408 h 456723"/>
                  <a:gd name="connsiteX62" fmla="*/ 336519 w 3445003"/>
                  <a:gd name="connsiteY62" fmla="*/ 218408 h 456723"/>
                  <a:gd name="connsiteX63" fmla="*/ 336519 w 3445003"/>
                  <a:gd name="connsiteY63" fmla="*/ 224409 h 456723"/>
                  <a:gd name="connsiteX64" fmla="*/ 344901 w 3445003"/>
                  <a:gd name="connsiteY64" fmla="*/ 224409 h 456723"/>
                  <a:gd name="connsiteX65" fmla="*/ 344901 w 3445003"/>
                  <a:gd name="connsiteY65" fmla="*/ 230505 h 456723"/>
                  <a:gd name="connsiteX66" fmla="*/ 349092 w 3445003"/>
                  <a:gd name="connsiteY66" fmla="*/ 230505 h 456723"/>
                  <a:gd name="connsiteX67" fmla="*/ 349092 w 3445003"/>
                  <a:gd name="connsiteY67" fmla="*/ 236601 h 456723"/>
                  <a:gd name="connsiteX68" fmla="*/ 422720 w 3445003"/>
                  <a:gd name="connsiteY68" fmla="*/ 236601 h 456723"/>
                  <a:gd name="connsiteX69" fmla="*/ 422720 w 3445003"/>
                  <a:gd name="connsiteY69" fmla="*/ 242601 h 456723"/>
                  <a:gd name="connsiteX70" fmla="*/ 443770 w 3445003"/>
                  <a:gd name="connsiteY70" fmla="*/ 242601 h 456723"/>
                  <a:gd name="connsiteX71" fmla="*/ 443770 w 3445003"/>
                  <a:gd name="connsiteY71" fmla="*/ 248697 h 456723"/>
                  <a:gd name="connsiteX72" fmla="*/ 450057 w 3445003"/>
                  <a:gd name="connsiteY72" fmla="*/ 248697 h 456723"/>
                  <a:gd name="connsiteX73" fmla="*/ 450057 w 3445003"/>
                  <a:gd name="connsiteY73" fmla="*/ 254793 h 456723"/>
                  <a:gd name="connsiteX74" fmla="*/ 492157 w 3445003"/>
                  <a:gd name="connsiteY74" fmla="*/ 254793 h 456723"/>
                  <a:gd name="connsiteX75" fmla="*/ 492157 w 3445003"/>
                  <a:gd name="connsiteY75" fmla="*/ 260794 h 456723"/>
                  <a:gd name="connsiteX76" fmla="*/ 506826 w 3445003"/>
                  <a:gd name="connsiteY76" fmla="*/ 260794 h 456723"/>
                  <a:gd name="connsiteX77" fmla="*/ 506826 w 3445003"/>
                  <a:gd name="connsiteY77" fmla="*/ 266890 h 456723"/>
                  <a:gd name="connsiteX78" fmla="*/ 536353 w 3445003"/>
                  <a:gd name="connsiteY78" fmla="*/ 266890 h 456723"/>
                  <a:gd name="connsiteX79" fmla="*/ 536353 w 3445003"/>
                  <a:gd name="connsiteY79" fmla="*/ 272986 h 456723"/>
                  <a:gd name="connsiteX80" fmla="*/ 538449 w 3445003"/>
                  <a:gd name="connsiteY80" fmla="*/ 272986 h 456723"/>
                  <a:gd name="connsiteX81" fmla="*/ 538449 w 3445003"/>
                  <a:gd name="connsiteY81" fmla="*/ 278987 h 456723"/>
                  <a:gd name="connsiteX82" fmla="*/ 561499 w 3445003"/>
                  <a:gd name="connsiteY82" fmla="*/ 278987 h 456723"/>
                  <a:gd name="connsiteX83" fmla="*/ 561499 w 3445003"/>
                  <a:gd name="connsiteY83" fmla="*/ 285083 h 456723"/>
                  <a:gd name="connsiteX84" fmla="*/ 574168 w 3445003"/>
                  <a:gd name="connsiteY84" fmla="*/ 285083 h 456723"/>
                  <a:gd name="connsiteX85" fmla="*/ 574168 w 3445003"/>
                  <a:gd name="connsiteY85" fmla="*/ 291179 h 456723"/>
                  <a:gd name="connsiteX86" fmla="*/ 609886 w 3445003"/>
                  <a:gd name="connsiteY86" fmla="*/ 291179 h 456723"/>
                  <a:gd name="connsiteX87" fmla="*/ 609886 w 3445003"/>
                  <a:gd name="connsiteY87" fmla="*/ 297275 h 456723"/>
                  <a:gd name="connsiteX88" fmla="*/ 725615 w 3445003"/>
                  <a:gd name="connsiteY88" fmla="*/ 297275 h 456723"/>
                  <a:gd name="connsiteX89" fmla="*/ 725615 w 3445003"/>
                  <a:gd name="connsiteY89" fmla="*/ 303276 h 456723"/>
                  <a:gd name="connsiteX90" fmla="*/ 763429 w 3445003"/>
                  <a:gd name="connsiteY90" fmla="*/ 303276 h 456723"/>
                  <a:gd name="connsiteX91" fmla="*/ 763429 w 3445003"/>
                  <a:gd name="connsiteY91" fmla="*/ 309467 h 456723"/>
                  <a:gd name="connsiteX92" fmla="*/ 816007 w 3445003"/>
                  <a:gd name="connsiteY92" fmla="*/ 309467 h 456723"/>
                  <a:gd name="connsiteX93" fmla="*/ 816007 w 3445003"/>
                  <a:gd name="connsiteY93" fmla="*/ 315563 h 456723"/>
                  <a:gd name="connsiteX94" fmla="*/ 834962 w 3445003"/>
                  <a:gd name="connsiteY94" fmla="*/ 315563 h 456723"/>
                  <a:gd name="connsiteX95" fmla="*/ 834962 w 3445003"/>
                  <a:gd name="connsiteY95" fmla="*/ 321659 h 456723"/>
                  <a:gd name="connsiteX96" fmla="*/ 845440 w 3445003"/>
                  <a:gd name="connsiteY96" fmla="*/ 321659 h 456723"/>
                  <a:gd name="connsiteX97" fmla="*/ 845440 w 3445003"/>
                  <a:gd name="connsiteY97" fmla="*/ 327850 h 456723"/>
                  <a:gd name="connsiteX98" fmla="*/ 879158 w 3445003"/>
                  <a:gd name="connsiteY98" fmla="*/ 327850 h 456723"/>
                  <a:gd name="connsiteX99" fmla="*/ 879158 w 3445003"/>
                  <a:gd name="connsiteY99" fmla="*/ 333946 h 456723"/>
                  <a:gd name="connsiteX100" fmla="*/ 885445 w 3445003"/>
                  <a:gd name="connsiteY100" fmla="*/ 333946 h 456723"/>
                  <a:gd name="connsiteX101" fmla="*/ 885445 w 3445003"/>
                  <a:gd name="connsiteY101" fmla="*/ 340042 h 456723"/>
                  <a:gd name="connsiteX102" fmla="*/ 900113 w 3445003"/>
                  <a:gd name="connsiteY102" fmla="*/ 340042 h 456723"/>
                  <a:gd name="connsiteX103" fmla="*/ 900113 w 3445003"/>
                  <a:gd name="connsiteY103" fmla="*/ 346138 h 456723"/>
                  <a:gd name="connsiteX104" fmla="*/ 912781 w 3445003"/>
                  <a:gd name="connsiteY104" fmla="*/ 346138 h 456723"/>
                  <a:gd name="connsiteX105" fmla="*/ 912781 w 3445003"/>
                  <a:gd name="connsiteY105" fmla="*/ 352329 h 456723"/>
                  <a:gd name="connsiteX106" fmla="*/ 938023 w 3445003"/>
                  <a:gd name="connsiteY106" fmla="*/ 352329 h 456723"/>
                  <a:gd name="connsiteX107" fmla="*/ 938023 w 3445003"/>
                  <a:gd name="connsiteY107" fmla="*/ 358425 h 456723"/>
                  <a:gd name="connsiteX108" fmla="*/ 1167289 w 3445003"/>
                  <a:gd name="connsiteY108" fmla="*/ 358425 h 456723"/>
                  <a:gd name="connsiteX109" fmla="*/ 1167289 w 3445003"/>
                  <a:gd name="connsiteY109" fmla="*/ 364617 h 456723"/>
                  <a:gd name="connsiteX110" fmla="*/ 1280827 w 3445003"/>
                  <a:gd name="connsiteY110" fmla="*/ 364617 h 456723"/>
                  <a:gd name="connsiteX111" fmla="*/ 1280827 w 3445003"/>
                  <a:gd name="connsiteY111" fmla="*/ 370808 h 456723"/>
                  <a:gd name="connsiteX112" fmla="*/ 1550004 w 3445003"/>
                  <a:gd name="connsiteY112" fmla="*/ 370808 h 456723"/>
                  <a:gd name="connsiteX113" fmla="*/ 1550004 w 3445003"/>
                  <a:gd name="connsiteY113" fmla="*/ 377094 h 456723"/>
                  <a:gd name="connsiteX114" fmla="*/ 1623632 w 3445003"/>
                  <a:gd name="connsiteY114" fmla="*/ 377094 h 456723"/>
                  <a:gd name="connsiteX115" fmla="*/ 1623632 w 3445003"/>
                  <a:gd name="connsiteY115" fmla="*/ 383381 h 456723"/>
                  <a:gd name="connsiteX116" fmla="*/ 1703547 w 3445003"/>
                  <a:gd name="connsiteY116" fmla="*/ 383381 h 456723"/>
                  <a:gd name="connsiteX117" fmla="*/ 1703547 w 3445003"/>
                  <a:gd name="connsiteY117" fmla="*/ 389667 h 456723"/>
                  <a:gd name="connsiteX118" fmla="*/ 1865472 w 3445003"/>
                  <a:gd name="connsiteY118" fmla="*/ 389667 h 456723"/>
                  <a:gd name="connsiteX119" fmla="*/ 1865472 w 3445003"/>
                  <a:gd name="connsiteY119" fmla="*/ 396144 h 456723"/>
                  <a:gd name="connsiteX120" fmla="*/ 1882331 w 3445003"/>
                  <a:gd name="connsiteY120" fmla="*/ 396144 h 456723"/>
                  <a:gd name="connsiteX121" fmla="*/ 1882331 w 3445003"/>
                  <a:gd name="connsiteY121" fmla="*/ 402526 h 456723"/>
                  <a:gd name="connsiteX122" fmla="*/ 2000155 w 3445003"/>
                  <a:gd name="connsiteY122" fmla="*/ 402526 h 456723"/>
                  <a:gd name="connsiteX123" fmla="*/ 2000155 w 3445003"/>
                  <a:gd name="connsiteY123" fmla="*/ 409003 h 456723"/>
                  <a:gd name="connsiteX124" fmla="*/ 2092643 w 3445003"/>
                  <a:gd name="connsiteY124" fmla="*/ 409003 h 456723"/>
                  <a:gd name="connsiteX125" fmla="*/ 2092643 w 3445003"/>
                  <a:gd name="connsiteY125" fmla="*/ 415385 h 456723"/>
                  <a:gd name="connsiteX126" fmla="*/ 2111598 w 3445003"/>
                  <a:gd name="connsiteY126" fmla="*/ 415385 h 456723"/>
                  <a:gd name="connsiteX127" fmla="*/ 2111598 w 3445003"/>
                  <a:gd name="connsiteY127" fmla="*/ 421862 h 456723"/>
                  <a:gd name="connsiteX128" fmla="*/ 2965419 w 3445003"/>
                  <a:gd name="connsiteY128" fmla="*/ 421862 h 456723"/>
                  <a:gd name="connsiteX129" fmla="*/ 2965419 w 3445003"/>
                  <a:gd name="connsiteY129" fmla="*/ 456723 h 456723"/>
                  <a:gd name="connsiteX130" fmla="*/ 3445003 w 3445003"/>
                  <a:gd name="connsiteY130" fmla="*/ 456723 h 456723"/>
                  <a:gd name="connsiteX0" fmla="*/ 0 w 3436620"/>
                  <a:gd name="connsiteY0" fmla="*/ 0 h 450627"/>
                  <a:gd name="connsiteX1" fmla="*/ 14763 w 3436620"/>
                  <a:gd name="connsiteY1" fmla="*/ 0 h 450627"/>
                  <a:gd name="connsiteX2" fmla="*/ 14763 w 3436620"/>
                  <a:gd name="connsiteY2" fmla="*/ 6000 h 450627"/>
                  <a:gd name="connsiteX3" fmla="*/ 18954 w 3436620"/>
                  <a:gd name="connsiteY3" fmla="*/ 6000 h 450627"/>
                  <a:gd name="connsiteX4" fmla="*/ 18954 w 3436620"/>
                  <a:gd name="connsiteY4" fmla="*/ 12096 h 450627"/>
                  <a:gd name="connsiteX5" fmla="*/ 23145 w 3436620"/>
                  <a:gd name="connsiteY5" fmla="*/ 12096 h 450627"/>
                  <a:gd name="connsiteX6" fmla="*/ 23145 w 3436620"/>
                  <a:gd name="connsiteY6" fmla="*/ 18192 h 450627"/>
                  <a:gd name="connsiteX7" fmla="*/ 35814 w 3436620"/>
                  <a:gd name="connsiteY7" fmla="*/ 18192 h 450627"/>
                  <a:gd name="connsiteX8" fmla="*/ 35814 w 3436620"/>
                  <a:gd name="connsiteY8" fmla="*/ 24193 h 450627"/>
                  <a:gd name="connsiteX9" fmla="*/ 65246 w 3436620"/>
                  <a:gd name="connsiteY9" fmla="*/ 24193 h 450627"/>
                  <a:gd name="connsiteX10" fmla="*/ 65246 w 3436620"/>
                  <a:gd name="connsiteY10" fmla="*/ 30289 h 450627"/>
                  <a:gd name="connsiteX11" fmla="*/ 73628 w 3436620"/>
                  <a:gd name="connsiteY11" fmla="*/ 30289 h 450627"/>
                  <a:gd name="connsiteX12" fmla="*/ 73628 w 3436620"/>
                  <a:gd name="connsiteY12" fmla="*/ 36385 h 450627"/>
                  <a:gd name="connsiteX13" fmla="*/ 75723 w 3436620"/>
                  <a:gd name="connsiteY13" fmla="*/ 36385 h 450627"/>
                  <a:gd name="connsiteX14" fmla="*/ 75723 w 3436620"/>
                  <a:gd name="connsiteY14" fmla="*/ 42386 h 450627"/>
                  <a:gd name="connsiteX15" fmla="*/ 90487 w 3436620"/>
                  <a:gd name="connsiteY15" fmla="*/ 42386 h 450627"/>
                  <a:gd name="connsiteX16" fmla="*/ 90487 w 3436620"/>
                  <a:gd name="connsiteY16" fmla="*/ 54578 h 450627"/>
                  <a:gd name="connsiteX17" fmla="*/ 92583 w 3436620"/>
                  <a:gd name="connsiteY17" fmla="*/ 54578 h 450627"/>
                  <a:gd name="connsiteX18" fmla="*/ 92583 w 3436620"/>
                  <a:gd name="connsiteY18" fmla="*/ 60579 h 450627"/>
                  <a:gd name="connsiteX19" fmla="*/ 98869 w 3436620"/>
                  <a:gd name="connsiteY19" fmla="*/ 60579 h 450627"/>
                  <a:gd name="connsiteX20" fmla="*/ 98869 w 3436620"/>
                  <a:gd name="connsiteY20" fmla="*/ 66675 h 450627"/>
                  <a:gd name="connsiteX21" fmla="*/ 103060 w 3436620"/>
                  <a:gd name="connsiteY21" fmla="*/ 66675 h 450627"/>
                  <a:gd name="connsiteX22" fmla="*/ 103060 w 3436620"/>
                  <a:gd name="connsiteY22" fmla="*/ 72771 h 450627"/>
                  <a:gd name="connsiteX23" fmla="*/ 119919 w 3436620"/>
                  <a:gd name="connsiteY23" fmla="*/ 72771 h 450627"/>
                  <a:gd name="connsiteX24" fmla="*/ 119919 w 3436620"/>
                  <a:gd name="connsiteY24" fmla="*/ 84867 h 450627"/>
                  <a:gd name="connsiteX25" fmla="*/ 124110 w 3436620"/>
                  <a:gd name="connsiteY25" fmla="*/ 84867 h 450627"/>
                  <a:gd name="connsiteX26" fmla="*/ 124110 w 3436620"/>
                  <a:gd name="connsiteY26" fmla="*/ 90963 h 450627"/>
                  <a:gd name="connsiteX27" fmla="*/ 147256 w 3436620"/>
                  <a:gd name="connsiteY27" fmla="*/ 90963 h 450627"/>
                  <a:gd name="connsiteX28" fmla="*/ 147256 w 3436620"/>
                  <a:gd name="connsiteY28" fmla="*/ 97059 h 450627"/>
                  <a:gd name="connsiteX29" fmla="*/ 151447 w 3436620"/>
                  <a:gd name="connsiteY29" fmla="*/ 97059 h 450627"/>
                  <a:gd name="connsiteX30" fmla="*/ 151447 w 3436620"/>
                  <a:gd name="connsiteY30" fmla="*/ 103060 h 450627"/>
                  <a:gd name="connsiteX31" fmla="*/ 157734 w 3436620"/>
                  <a:gd name="connsiteY31" fmla="*/ 103060 h 450627"/>
                  <a:gd name="connsiteX32" fmla="*/ 157734 w 3436620"/>
                  <a:gd name="connsiteY32" fmla="*/ 115252 h 450627"/>
                  <a:gd name="connsiteX33" fmla="*/ 176688 w 3436620"/>
                  <a:gd name="connsiteY33" fmla="*/ 115252 h 450627"/>
                  <a:gd name="connsiteX34" fmla="*/ 176688 w 3436620"/>
                  <a:gd name="connsiteY34" fmla="*/ 121253 h 450627"/>
                  <a:gd name="connsiteX35" fmla="*/ 185070 w 3436620"/>
                  <a:gd name="connsiteY35" fmla="*/ 121253 h 450627"/>
                  <a:gd name="connsiteX36" fmla="*/ 185070 w 3436620"/>
                  <a:gd name="connsiteY36" fmla="*/ 127349 h 450627"/>
                  <a:gd name="connsiteX37" fmla="*/ 197739 w 3436620"/>
                  <a:gd name="connsiteY37" fmla="*/ 127349 h 450627"/>
                  <a:gd name="connsiteX38" fmla="*/ 197739 w 3436620"/>
                  <a:gd name="connsiteY38" fmla="*/ 133445 h 450627"/>
                  <a:gd name="connsiteX39" fmla="*/ 214598 w 3436620"/>
                  <a:gd name="connsiteY39" fmla="*/ 133445 h 450627"/>
                  <a:gd name="connsiteX40" fmla="*/ 214598 w 3436620"/>
                  <a:gd name="connsiteY40" fmla="*/ 139446 h 450627"/>
                  <a:gd name="connsiteX41" fmla="*/ 241935 w 3436620"/>
                  <a:gd name="connsiteY41" fmla="*/ 139446 h 450627"/>
                  <a:gd name="connsiteX42" fmla="*/ 241935 w 3436620"/>
                  <a:gd name="connsiteY42" fmla="*/ 145542 h 450627"/>
                  <a:gd name="connsiteX43" fmla="*/ 244030 w 3436620"/>
                  <a:gd name="connsiteY43" fmla="*/ 145542 h 450627"/>
                  <a:gd name="connsiteX44" fmla="*/ 244030 w 3436620"/>
                  <a:gd name="connsiteY44" fmla="*/ 151638 h 450627"/>
                  <a:gd name="connsiteX45" fmla="*/ 254507 w 3436620"/>
                  <a:gd name="connsiteY45" fmla="*/ 151638 h 450627"/>
                  <a:gd name="connsiteX46" fmla="*/ 254507 w 3436620"/>
                  <a:gd name="connsiteY46" fmla="*/ 157638 h 450627"/>
                  <a:gd name="connsiteX47" fmla="*/ 260794 w 3436620"/>
                  <a:gd name="connsiteY47" fmla="*/ 157638 h 450627"/>
                  <a:gd name="connsiteX48" fmla="*/ 260794 w 3436620"/>
                  <a:gd name="connsiteY48" fmla="*/ 169830 h 450627"/>
                  <a:gd name="connsiteX49" fmla="*/ 269271 w 3436620"/>
                  <a:gd name="connsiteY49" fmla="*/ 169830 h 450627"/>
                  <a:gd name="connsiteX50" fmla="*/ 269271 w 3436620"/>
                  <a:gd name="connsiteY50" fmla="*/ 175831 h 450627"/>
                  <a:gd name="connsiteX51" fmla="*/ 275558 w 3436620"/>
                  <a:gd name="connsiteY51" fmla="*/ 175831 h 450627"/>
                  <a:gd name="connsiteX52" fmla="*/ 275558 w 3436620"/>
                  <a:gd name="connsiteY52" fmla="*/ 188023 h 450627"/>
                  <a:gd name="connsiteX53" fmla="*/ 277653 w 3436620"/>
                  <a:gd name="connsiteY53" fmla="*/ 188023 h 450627"/>
                  <a:gd name="connsiteX54" fmla="*/ 277653 w 3436620"/>
                  <a:gd name="connsiteY54" fmla="*/ 194119 h 450627"/>
                  <a:gd name="connsiteX55" fmla="*/ 290226 w 3436620"/>
                  <a:gd name="connsiteY55" fmla="*/ 194119 h 450627"/>
                  <a:gd name="connsiteX56" fmla="*/ 290226 w 3436620"/>
                  <a:gd name="connsiteY56" fmla="*/ 200120 h 450627"/>
                  <a:gd name="connsiteX57" fmla="*/ 313372 w 3436620"/>
                  <a:gd name="connsiteY57" fmla="*/ 200120 h 450627"/>
                  <a:gd name="connsiteX58" fmla="*/ 313372 w 3436620"/>
                  <a:gd name="connsiteY58" fmla="*/ 206216 h 450627"/>
                  <a:gd name="connsiteX59" fmla="*/ 319754 w 3436620"/>
                  <a:gd name="connsiteY59" fmla="*/ 206216 h 450627"/>
                  <a:gd name="connsiteX60" fmla="*/ 319754 w 3436620"/>
                  <a:gd name="connsiteY60" fmla="*/ 212312 h 450627"/>
                  <a:gd name="connsiteX61" fmla="*/ 328136 w 3436620"/>
                  <a:gd name="connsiteY61" fmla="*/ 212312 h 450627"/>
                  <a:gd name="connsiteX62" fmla="*/ 328136 w 3436620"/>
                  <a:gd name="connsiteY62" fmla="*/ 218313 h 450627"/>
                  <a:gd name="connsiteX63" fmla="*/ 336518 w 3436620"/>
                  <a:gd name="connsiteY63" fmla="*/ 218313 h 450627"/>
                  <a:gd name="connsiteX64" fmla="*/ 336518 w 3436620"/>
                  <a:gd name="connsiteY64" fmla="*/ 224409 h 450627"/>
                  <a:gd name="connsiteX65" fmla="*/ 340709 w 3436620"/>
                  <a:gd name="connsiteY65" fmla="*/ 224409 h 450627"/>
                  <a:gd name="connsiteX66" fmla="*/ 340709 w 3436620"/>
                  <a:gd name="connsiteY66" fmla="*/ 230505 h 450627"/>
                  <a:gd name="connsiteX67" fmla="*/ 414337 w 3436620"/>
                  <a:gd name="connsiteY67" fmla="*/ 230505 h 450627"/>
                  <a:gd name="connsiteX68" fmla="*/ 414337 w 3436620"/>
                  <a:gd name="connsiteY68" fmla="*/ 236505 h 450627"/>
                  <a:gd name="connsiteX69" fmla="*/ 435387 w 3436620"/>
                  <a:gd name="connsiteY69" fmla="*/ 236505 h 450627"/>
                  <a:gd name="connsiteX70" fmla="*/ 435387 w 3436620"/>
                  <a:gd name="connsiteY70" fmla="*/ 242601 h 450627"/>
                  <a:gd name="connsiteX71" fmla="*/ 441674 w 3436620"/>
                  <a:gd name="connsiteY71" fmla="*/ 242601 h 450627"/>
                  <a:gd name="connsiteX72" fmla="*/ 441674 w 3436620"/>
                  <a:gd name="connsiteY72" fmla="*/ 248697 h 450627"/>
                  <a:gd name="connsiteX73" fmla="*/ 483774 w 3436620"/>
                  <a:gd name="connsiteY73" fmla="*/ 248697 h 450627"/>
                  <a:gd name="connsiteX74" fmla="*/ 483774 w 3436620"/>
                  <a:gd name="connsiteY74" fmla="*/ 254698 h 450627"/>
                  <a:gd name="connsiteX75" fmla="*/ 498443 w 3436620"/>
                  <a:gd name="connsiteY75" fmla="*/ 254698 h 450627"/>
                  <a:gd name="connsiteX76" fmla="*/ 498443 w 3436620"/>
                  <a:gd name="connsiteY76" fmla="*/ 260794 h 450627"/>
                  <a:gd name="connsiteX77" fmla="*/ 527970 w 3436620"/>
                  <a:gd name="connsiteY77" fmla="*/ 260794 h 450627"/>
                  <a:gd name="connsiteX78" fmla="*/ 527970 w 3436620"/>
                  <a:gd name="connsiteY78" fmla="*/ 266890 h 450627"/>
                  <a:gd name="connsiteX79" fmla="*/ 530066 w 3436620"/>
                  <a:gd name="connsiteY79" fmla="*/ 266890 h 450627"/>
                  <a:gd name="connsiteX80" fmla="*/ 530066 w 3436620"/>
                  <a:gd name="connsiteY80" fmla="*/ 272891 h 450627"/>
                  <a:gd name="connsiteX81" fmla="*/ 553116 w 3436620"/>
                  <a:gd name="connsiteY81" fmla="*/ 272891 h 450627"/>
                  <a:gd name="connsiteX82" fmla="*/ 553116 w 3436620"/>
                  <a:gd name="connsiteY82" fmla="*/ 278987 h 450627"/>
                  <a:gd name="connsiteX83" fmla="*/ 565785 w 3436620"/>
                  <a:gd name="connsiteY83" fmla="*/ 278987 h 450627"/>
                  <a:gd name="connsiteX84" fmla="*/ 565785 w 3436620"/>
                  <a:gd name="connsiteY84" fmla="*/ 285083 h 450627"/>
                  <a:gd name="connsiteX85" fmla="*/ 601503 w 3436620"/>
                  <a:gd name="connsiteY85" fmla="*/ 285083 h 450627"/>
                  <a:gd name="connsiteX86" fmla="*/ 601503 w 3436620"/>
                  <a:gd name="connsiteY86" fmla="*/ 291179 h 450627"/>
                  <a:gd name="connsiteX87" fmla="*/ 717232 w 3436620"/>
                  <a:gd name="connsiteY87" fmla="*/ 291179 h 450627"/>
                  <a:gd name="connsiteX88" fmla="*/ 717232 w 3436620"/>
                  <a:gd name="connsiteY88" fmla="*/ 297180 h 450627"/>
                  <a:gd name="connsiteX89" fmla="*/ 755046 w 3436620"/>
                  <a:gd name="connsiteY89" fmla="*/ 297180 h 450627"/>
                  <a:gd name="connsiteX90" fmla="*/ 755046 w 3436620"/>
                  <a:gd name="connsiteY90" fmla="*/ 303371 h 450627"/>
                  <a:gd name="connsiteX91" fmla="*/ 807624 w 3436620"/>
                  <a:gd name="connsiteY91" fmla="*/ 303371 h 450627"/>
                  <a:gd name="connsiteX92" fmla="*/ 807624 w 3436620"/>
                  <a:gd name="connsiteY92" fmla="*/ 309467 h 450627"/>
                  <a:gd name="connsiteX93" fmla="*/ 826579 w 3436620"/>
                  <a:gd name="connsiteY93" fmla="*/ 309467 h 450627"/>
                  <a:gd name="connsiteX94" fmla="*/ 826579 w 3436620"/>
                  <a:gd name="connsiteY94" fmla="*/ 315563 h 450627"/>
                  <a:gd name="connsiteX95" fmla="*/ 837057 w 3436620"/>
                  <a:gd name="connsiteY95" fmla="*/ 315563 h 450627"/>
                  <a:gd name="connsiteX96" fmla="*/ 837057 w 3436620"/>
                  <a:gd name="connsiteY96" fmla="*/ 321754 h 450627"/>
                  <a:gd name="connsiteX97" fmla="*/ 870775 w 3436620"/>
                  <a:gd name="connsiteY97" fmla="*/ 321754 h 450627"/>
                  <a:gd name="connsiteX98" fmla="*/ 870775 w 3436620"/>
                  <a:gd name="connsiteY98" fmla="*/ 327850 h 450627"/>
                  <a:gd name="connsiteX99" fmla="*/ 877062 w 3436620"/>
                  <a:gd name="connsiteY99" fmla="*/ 327850 h 450627"/>
                  <a:gd name="connsiteX100" fmla="*/ 877062 w 3436620"/>
                  <a:gd name="connsiteY100" fmla="*/ 333946 h 450627"/>
                  <a:gd name="connsiteX101" fmla="*/ 891730 w 3436620"/>
                  <a:gd name="connsiteY101" fmla="*/ 333946 h 450627"/>
                  <a:gd name="connsiteX102" fmla="*/ 891730 w 3436620"/>
                  <a:gd name="connsiteY102" fmla="*/ 340042 h 450627"/>
                  <a:gd name="connsiteX103" fmla="*/ 904398 w 3436620"/>
                  <a:gd name="connsiteY103" fmla="*/ 340042 h 450627"/>
                  <a:gd name="connsiteX104" fmla="*/ 904398 w 3436620"/>
                  <a:gd name="connsiteY104" fmla="*/ 346233 h 450627"/>
                  <a:gd name="connsiteX105" fmla="*/ 929640 w 3436620"/>
                  <a:gd name="connsiteY105" fmla="*/ 346233 h 450627"/>
                  <a:gd name="connsiteX106" fmla="*/ 929640 w 3436620"/>
                  <a:gd name="connsiteY106" fmla="*/ 352329 h 450627"/>
                  <a:gd name="connsiteX107" fmla="*/ 1158906 w 3436620"/>
                  <a:gd name="connsiteY107" fmla="*/ 352329 h 450627"/>
                  <a:gd name="connsiteX108" fmla="*/ 1158906 w 3436620"/>
                  <a:gd name="connsiteY108" fmla="*/ 358521 h 450627"/>
                  <a:gd name="connsiteX109" fmla="*/ 1272444 w 3436620"/>
                  <a:gd name="connsiteY109" fmla="*/ 358521 h 450627"/>
                  <a:gd name="connsiteX110" fmla="*/ 1272444 w 3436620"/>
                  <a:gd name="connsiteY110" fmla="*/ 364712 h 450627"/>
                  <a:gd name="connsiteX111" fmla="*/ 1541621 w 3436620"/>
                  <a:gd name="connsiteY111" fmla="*/ 364712 h 450627"/>
                  <a:gd name="connsiteX112" fmla="*/ 1541621 w 3436620"/>
                  <a:gd name="connsiteY112" fmla="*/ 370998 h 450627"/>
                  <a:gd name="connsiteX113" fmla="*/ 1615249 w 3436620"/>
                  <a:gd name="connsiteY113" fmla="*/ 370998 h 450627"/>
                  <a:gd name="connsiteX114" fmla="*/ 1615249 w 3436620"/>
                  <a:gd name="connsiteY114" fmla="*/ 377285 h 450627"/>
                  <a:gd name="connsiteX115" fmla="*/ 1695164 w 3436620"/>
                  <a:gd name="connsiteY115" fmla="*/ 377285 h 450627"/>
                  <a:gd name="connsiteX116" fmla="*/ 1695164 w 3436620"/>
                  <a:gd name="connsiteY116" fmla="*/ 383571 h 450627"/>
                  <a:gd name="connsiteX117" fmla="*/ 1857089 w 3436620"/>
                  <a:gd name="connsiteY117" fmla="*/ 383571 h 450627"/>
                  <a:gd name="connsiteX118" fmla="*/ 1857089 w 3436620"/>
                  <a:gd name="connsiteY118" fmla="*/ 390048 h 450627"/>
                  <a:gd name="connsiteX119" fmla="*/ 1873948 w 3436620"/>
                  <a:gd name="connsiteY119" fmla="*/ 390048 h 450627"/>
                  <a:gd name="connsiteX120" fmla="*/ 1873948 w 3436620"/>
                  <a:gd name="connsiteY120" fmla="*/ 396430 h 450627"/>
                  <a:gd name="connsiteX121" fmla="*/ 1991772 w 3436620"/>
                  <a:gd name="connsiteY121" fmla="*/ 396430 h 450627"/>
                  <a:gd name="connsiteX122" fmla="*/ 1991772 w 3436620"/>
                  <a:gd name="connsiteY122" fmla="*/ 402907 h 450627"/>
                  <a:gd name="connsiteX123" fmla="*/ 2084260 w 3436620"/>
                  <a:gd name="connsiteY123" fmla="*/ 402907 h 450627"/>
                  <a:gd name="connsiteX124" fmla="*/ 2084260 w 3436620"/>
                  <a:gd name="connsiteY124" fmla="*/ 409289 h 450627"/>
                  <a:gd name="connsiteX125" fmla="*/ 2103215 w 3436620"/>
                  <a:gd name="connsiteY125" fmla="*/ 409289 h 450627"/>
                  <a:gd name="connsiteX126" fmla="*/ 2103215 w 3436620"/>
                  <a:gd name="connsiteY126" fmla="*/ 415766 h 450627"/>
                  <a:gd name="connsiteX127" fmla="*/ 2957036 w 3436620"/>
                  <a:gd name="connsiteY127" fmla="*/ 415766 h 450627"/>
                  <a:gd name="connsiteX128" fmla="*/ 2957036 w 3436620"/>
                  <a:gd name="connsiteY128" fmla="*/ 450627 h 450627"/>
                  <a:gd name="connsiteX129" fmla="*/ 3436620 w 3436620"/>
                  <a:gd name="connsiteY129" fmla="*/ 450627 h 450627"/>
                  <a:gd name="connsiteX0" fmla="*/ 0 w 3421857"/>
                  <a:gd name="connsiteY0" fmla="*/ 0 h 450627"/>
                  <a:gd name="connsiteX1" fmla="*/ 0 w 3421857"/>
                  <a:gd name="connsiteY1" fmla="*/ 6000 h 450627"/>
                  <a:gd name="connsiteX2" fmla="*/ 4191 w 3421857"/>
                  <a:gd name="connsiteY2" fmla="*/ 6000 h 450627"/>
                  <a:gd name="connsiteX3" fmla="*/ 4191 w 3421857"/>
                  <a:gd name="connsiteY3" fmla="*/ 12096 h 450627"/>
                  <a:gd name="connsiteX4" fmla="*/ 8382 w 3421857"/>
                  <a:gd name="connsiteY4" fmla="*/ 12096 h 450627"/>
                  <a:gd name="connsiteX5" fmla="*/ 8382 w 3421857"/>
                  <a:gd name="connsiteY5" fmla="*/ 18192 h 450627"/>
                  <a:gd name="connsiteX6" fmla="*/ 21051 w 3421857"/>
                  <a:gd name="connsiteY6" fmla="*/ 18192 h 450627"/>
                  <a:gd name="connsiteX7" fmla="*/ 21051 w 3421857"/>
                  <a:gd name="connsiteY7" fmla="*/ 24193 h 450627"/>
                  <a:gd name="connsiteX8" fmla="*/ 50483 w 3421857"/>
                  <a:gd name="connsiteY8" fmla="*/ 24193 h 450627"/>
                  <a:gd name="connsiteX9" fmla="*/ 50483 w 3421857"/>
                  <a:gd name="connsiteY9" fmla="*/ 30289 h 450627"/>
                  <a:gd name="connsiteX10" fmla="*/ 58865 w 3421857"/>
                  <a:gd name="connsiteY10" fmla="*/ 30289 h 450627"/>
                  <a:gd name="connsiteX11" fmla="*/ 58865 w 3421857"/>
                  <a:gd name="connsiteY11" fmla="*/ 36385 h 450627"/>
                  <a:gd name="connsiteX12" fmla="*/ 60960 w 3421857"/>
                  <a:gd name="connsiteY12" fmla="*/ 36385 h 450627"/>
                  <a:gd name="connsiteX13" fmla="*/ 60960 w 3421857"/>
                  <a:gd name="connsiteY13" fmla="*/ 42386 h 450627"/>
                  <a:gd name="connsiteX14" fmla="*/ 75724 w 3421857"/>
                  <a:gd name="connsiteY14" fmla="*/ 42386 h 450627"/>
                  <a:gd name="connsiteX15" fmla="*/ 75724 w 3421857"/>
                  <a:gd name="connsiteY15" fmla="*/ 54578 h 450627"/>
                  <a:gd name="connsiteX16" fmla="*/ 77820 w 3421857"/>
                  <a:gd name="connsiteY16" fmla="*/ 54578 h 450627"/>
                  <a:gd name="connsiteX17" fmla="*/ 77820 w 3421857"/>
                  <a:gd name="connsiteY17" fmla="*/ 60579 h 450627"/>
                  <a:gd name="connsiteX18" fmla="*/ 84106 w 3421857"/>
                  <a:gd name="connsiteY18" fmla="*/ 60579 h 450627"/>
                  <a:gd name="connsiteX19" fmla="*/ 84106 w 3421857"/>
                  <a:gd name="connsiteY19" fmla="*/ 66675 h 450627"/>
                  <a:gd name="connsiteX20" fmla="*/ 88297 w 3421857"/>
                  <a:gd name="connsiteY20" fmla="*/ 66675 h 450627"/>
                  <a:gd name="connsiteX21" fmla="*/ 88297 w 3421857"/>
                  <a:gd name="connsiteY21" fmla="*/ 72771 h 450627"/>
                  <a:gd name="connsiteX22" fmla="*/ 105156 w 3421857"/>
                  <a:gd name="connsiteY22" fmla="*/ 72771 h 450627"/>
                  <a:gd name="connsiteX23" fmla="*/ 105156 w 3421857"/>
                  <a:gd name="connsiteY23" fmla="*/ 84867 h 450627"/>
                  <a:gd name="connsiteX24" fmla="*/ 109347 w 3421857"/>
                  <a:gd name="connsiteY24" fmla="*/ 84867 h 450627"/>
                  <a:gd name="connsiteX25" fmla="*/ 109347 w 3421857"/>
                  <a:gd name="connsiteY25" fmla="*/ 90963 h 450627"/>
                  <a:gd name="connsiteX26" fmla="*/ 132493 w 3421857"/>
                  <a:gd name="connsiteY26" fmla="*/ 90963 h 450627"/>
                  <a:gd name="connsiteX27" fmla="*/ 132493 w 3421857"/>
                  <a:gd name="connsiteY27" fmla="*/ 97059 h 450627"/>
                  <a:gd name="connsiteX28" fmla="*/ 136684 w 3421857"/>
                  <a:gd name="connsiteY28" fmla="*/ 97059 h 450627"/>
                  <a:gd name="connsiteX29" fmla="*/ 136684 w 3421857"/>
                  <a:gd name="connsiteY29" fmla="*/ 103060 h 450627"/>
                  <a:gd name="connsiteX30" fmla="*/ 142971 w 3421857"/>
                  <a:gd name="connsiteY30" fmla="*/ 103060 h 450627"/>
                  <a:gd name="connsiteX31" fmla="*/ 142971 w 3421857"/>
                  <a:gd name="connsiteY31" fmla="*/ 115252 h 450627"/>
                  <a:gd name="connsiteX32" fmla="*/ 161925 w 3421857"/>
                  <a:gd name="connsiteY32" fmla="*/ 115252 h 450627"/>
                  <a:gd name="connsiteX33" fmla="*/ 161925 w 3421857"/>
                  <a:gd name="connsiteY33" fmla="*/ 121253 h 450627"/>
                  <a:gd name="connsiteX34" fmla="*/ 170307 w 3421857"/>
                  <a:gd name="connsiteY34" fmla="*/ 121253 h 450627"/>
                  <a:gd name="connsiteX35" fmla="*/ 170307 w 3421857"/>
                  <a:gd name="connsiteY35" fmla="*/ 127349 h 450627"/>
                  <a:gd name="connsiteX36" fmla="*/ 182976 w 3421857"/>
                  <a:gd name="connsiteY36" fmla="*/ 127349 h 450627"/>
                  <a:gd name="connsiteX37" fmla="*/ 182976 w 3421857"/>
                  <a:gd name="connsiteY37" fmla="*/ 133445 h 450627"/>
                  <a:gd name="connsiteX38" fmla="*/ 199835 w 3421857"/>
                  <a:gd name="connsiteY38" fmla="*/ 133445 h 450627"/>
                  <a:gd name="connsiteX39" fmla="*/ 199835 w 3421857"/>
                  <a:gd name="connsiteY39" fmla="*/ 139446 h 450627"/>
                  <a:gd name="connsiteX40" fmla="*/ 227172 w 3421857"/>
                  <a:gd name="connsiteY40" fmla="*/ 139446 h 450627"/>
                  <a:gd name="connsiteX41" fmla="*/ 227172 w 3421857"/>
                  <a:gd name="connsiteY41" fmla="*/ 145542 h 450627"/>
                  <a:gd name="connsiteX42" fmla="*/ 229267 w 3421857"/>
                  <a:gd name="connsiteY42" fmla="*/ 145542 h 450627"/>
                  <a:gd name="connsiteX43" fmla="*/ 229267 w 3421857"/>
                  <a:gd name="connsiteY43" fmla="*/ 151638 h 450627"/>
                  <a:gd name="connsiteX44" fmla="*/ 239744 w 3421857"/>
                  <a:gd name="connsiteY44" fmla="*/ 151638 h 450627"/>
                  <a:gd name="connsiteX45" fmla="*/ 239744 w 3421857"/>
                  <a:gd name="connsiteY45" fmla="*/ 157638 h 450627"/>
                  <a:gd name="connsiteX46" fmla="*/ 246031 w 3421857"/>
                  <a:gd name="connsiteY46" fmla="*/ 157638 h 450627"/>
                  <a:gd name="connsiteX47" fmla="*/ 246031 w 3421857"/>
                  <a:gd name="connsiteY47" fmla="*/ 169830 h 450627"/>
                  <a:gd name="connsiteX48" fmla="*/ 254508 w 3421857"/>
                  <a:gd name="connsiteY48" fmla="*/ 169830 h 450627"/>
                  <a:gd name="connsiteX49" fmla="*/ 254508 w 3421857"/>
                  <a:gd name="connsiteY49" fmla="*/ 175831 h 450627"/>
                  <a:gd name="connsiteX50" fmla="*/ 260795 w 3421857"/>
                  <a:gd name="connsiteY50" fmla="*/ 175831 h 450627"/>
                  <a:gd name="connsiteX51" fmla="*/ 260795 w 3421857"/>
                  <a:gd name="connsiteY51" fmla="*/ 188023 h 450627"/>
                  <a:gd name="connsiteX52" fmla="*/ 262890 w 3421857"/>
                  <a:gd name="connsiteY52" fmla="*/ 188023 h 450627"/>
                  <a:gd name="connsiteX53" fmla="*/ 262890 w 3421857"/>
                  <a:gd name="connsiteY53" fmla="*/ 194119 h 450627"/>
                  <a:gd name="connsiteX54" fmla="*/ 275463 w 3421857"/>
                  <a:gd name="connsiteY54" fmla="*/ 194119 h 450627"/>
                  <a:gd name="connsiteX55" fmla="*/ 275463 w 3421857"/>
                  <a:gd name="connsiteY55" fmla="*/ 200120 h 450627"/>
                  <a:gd name="connsiteX56" fmla="*/ 298609 w 3421857"/>
                  <a:gd name="connsiteY56" fmla="*/ 200120 h 450627"/>
                  <a:gd name="connsiteX57" fmla="*/ 298609 w 3421857"/>
                  <a:gd name="connsiteY57" fmla="*/ 206216 h 450627"/>
                  <a:gd name="connsiteX58" fmla="*/ 304991 w 3421857"/>
                  <a:gd name="connsiteY58" fmla="*/ 206216 h 450627"/>
                  <a:gd name="connsiteX59" fmla="*/ 304991 w 3421857"/>
                  <a:gd name="connsiteY59" fmla="*/ 212312 h 450627"/>
                  <a:gd name="connsiteX60" fmla="*/ 313373 w 3421857"/>
                  <a:gd name="connsiteY60" fmla="*/ 212312 h 450627"/>
                  <a:gd name="connsiteX61" fmla="*/ 313373 w 3421857"/>
                  <a:gd name="connsiteY61" fmla="*/ 218313 h 450627"/>
                  <a:gd name="connsiteX62" fmla="*/ 321755 w 3421857"/>
                  <a:gd name="connsiteY62" fmla="*/ 218313 h 450627"/>
                  <a:gd name="connsiteX63" fmla="*/ 321755 w 3421857"/>
                  <a:gd name="connsiteY63" fmla="*/ 224409 h 450627"/>
                  <a:gd name="connsiteX64" fmla="*/ 325946 w 3421857"/>
                  <a:gd name="connsiteY64" fmla="*/ 224409 h 450627"/>
                  <a:gd name="connsiteX65" fmla="*/ 325946 w 3421857"/>
                  <a:gd name="connsiteY65" fmla="*/ 230505 h 450627"/>
                  <a:gd name="connsiteX66" fmla="*/ 399574 w 3421857"/>
                  <a:gd name="connsiteY66" fmla="*/ 230505 h 450627"/>
                  <a:gd name="connsiteX67" fmla="*/ 399574 w 3421857"/>
                  <a:gd name="connsiteY67" fmla="*/ 236505 h 450627"/>
                  <a:gd name="connsiteX68" fmla="*/ 420624 w 3421857"/>
                  <a:gd name="connsiteY68" fmla="*/ 236505 h 450627"/>
                  <a:gd name="connsiteX69" fmla="*/ 420624 w 3421857"/>
                  <a:gd name="connsiteY69" fmla="*/ 242601 h 450627"/>
                  <a:gd name="connsiteX70" fmla="*/ 426911 w 3421857"/>
                  <a:gd name="connsiteY70" fmla="*/ 242601 h 450627"/>
                  <a:gd name="connsiteX71" fmla="*/ 426911 w 3421857"/>
                  <a:gd name="connsiteY71" fmla="*/ 248697 h 450627"/>
                  <a:gd name="connsiteX72" fmla="*/ 469011 w 3421857"/>
                  <a:gd name="connsiteY72" fmla="*/ 248697 h 450627"/>
                  <a:gd name="connsiteX73" fmla="*/ 469011 w 3421857"/>
                  <a:gd name="connsiteY73" fmla="*/ 254698 h 450627"/>
                  <a:gd name="connsiteX74" fmla="*/ 483680 w 3421857"/>
                  <a:gd name="connsiteY74" fmla="*/ 254698 h 450627"/>
                  <a:gd name="connsiteX75" fmla="*/ 483680 w 3421857"/>
                  <a:gd name="connsiteY75" fmla="*/ 260794 h 450627"/>
                  <a:gd name="connsiteX76" fmla="*/ 513207 w 3421857"/>
                  <a:gd name="connsiteY76" fmla="*/ 260794 h 450627"/>
                  <a:gd name="connsiteX77" fmla="*/ 513207 w 3421857"/>
                  <a:gd name="connsiteY77" fmla="*/ 266890 h 450627"/>
                  <a:gd name="connsiteX78" fmla="*/ 515303 w 3421857"/>
                  <a:gd name="connsiteY78" fmla="*/ 266890 h 450627"/>
                  <a:gd name="connsiteX79" fmla="*/ 515303 w 3421857"/>
                  <a:gd name="connsiteY79" fmla="*/ 272891 h 450627"/>
                  <a:gd name="connsiteX80" fmla="*/ 538353 w 3421857"/>
                  <a:gd name="connsiteY80" fmla="*/ 272891 h 450627"/>
                  <a:gd name="connsiteX81" fmla="*/ 538353 w 3421857"/>
                  <a:gd name="connsiteY81" fmla="*/ 278987 h 450627"/>
                  <a:gd name="connsiteX82" fmla="*/ 551022 w 3421857"/>
                  <a:gd name="connsiteY82" fmla="*/ 278987 h 450627"/>
                  <a:gd name="connsiteX83" fmla="*/ 551022 w 3421857"/>
                  <a:gd name="connsiteY83" fmla="*/ 285083 h 450627"/>
                  <a:gd name="connsiteX84" fmla="*/ 586740 w 3421857"/>
                  <a:gd name="connsiteY84" fmla="*/ 285083 h 450627"/>
                  <a:gd name="connsiteX85" fmla="*/ 586740 w 3421857"/>
                  <a:gd name="connsiteY85" fmla="*/ 291179 h 450627"/>
                  <a:gd name="connsiteX86" fmla="*/ 702469 w 3421857"/>
                  <a:gd name="connsiteY86" fmla="*/ 291179 h 450627"/>
                  <a:gd name="connsiteX87" fmla="*/ 702469 w 3421857"/>
                  <a:gd name="connsiteY87" fmla="*/ 297180 h 450627"/>
                  <a:gd name="connsiteX88" fmla="*/ 740283 w 3421857"/>
                  <a:gd name="connsiteY88" fmla="*/ 297180 h 450627"/>
                  <a:gd name="connsiteX89" fmla="*/ 740283 w 3421857"/>
                  <a:gd name="connsiteY89" fmla="*/ 303371 h 450627"/>
                  <a:gd name="connsiteX90" fmla="*/ 792861 w 3421857"/>
                  <a:gd name="connsiteY90" fmla="*/ 303371 h 450627"/>
                  <a:gd name="connsiteX91" fmla="*/ 792861 w 3421857"/>
                  <a:gd name="connsiteY91" fmla="*/ 309467 h 450627"/>
                  <a:gd name="connsiteX92" fmla="*/ 811816 w 3421857"/>
                  <a:gd name="connsiteY92" fmla="*/ 309467 h 450627"/>
                  <a:gd name="connsiteX93" fmla="*/ 811816 w 3421857"/>
                  <a:gd name="connsiteY93" fmla="*/ 315563 h 450627"/>
                  <a:gd name="connsiteX94" fmla="*/ 822294 w 3421857"/>
                  <a:gd name="connsiteY94" fmla="*/ 315563 h 450627"/>
                  <a:gd name="connsiteX95" fmla="*/ 822294 w 3421857"/>
                  <a:gd name="connsiteY95" fmla="*/ 321754 h 450627"/>
                  <a:gd name="connsiteX96" fmla="*/ 856012 w 3421857"/>
                  <a:gd name="connsiteY96" fmla="*/ 321754 h 450627"/>
                  <a:gd name="connsiteX97" fmla="*/ 856012 w 3421857"/>
                  <a:gd name="connsiteY97" fmla="*/ 327850 h 450627"/>
                  <a:gd name="connsiteX98" fmla="*/ 862299 w 3421857"/>
                  <a:gd name="connsiteY98" fmla="*/ 327850 h 450627"/>
                  <a:gd name="connsiteX99" fmla="*/ 862299 w 3421857"/>
                  <a:gd name="connsiteY99" fmla="*/ 333946 h 450627"/>
                  <a:gd name="connsiteX100" fmla="*/ 876967 w 3421857"/>
                  <a:gd name="connsiteY100" fmla="*/ 333946 h 450627"/>
                  <a:gd name="connsiteX101" fmla="*/ 876967 w 3421857"/>
                  <a:gd name="connsiteY101" fmla="*/ 340042 h 450627"/>
                  <a:gd name="connsiteX102" fmla="*/ 889635 w 3421857"/>
                  <a:gd name="connsiteY102" fmla="*/ 340042 h 450627"/>
                  <a:gd name="connsiteX103" fmla="*/ 889635 w 3421857"/>
                  <a:gd name="connsiteY103" fmla="*/ 346233 h 450627"/>
                  <a:gd name="connsiteX104" fmla="*/ 914877 w 3421857"/>
                  <a:gd name="connsiteY104" fmla="*/ 346233 h 450627"/>
                  <a:gd name="connsiteX105" fmla="*/ 914877 w 3421857"/>
                  <a:gd name="connsiteY105" fmla="*/ 352329 h 450627"/>
                  <a:gd name="connsiteX106" fmla="*/ 1144143 w 3421857"/>
                  <a:gd name="connsiteY106" fmla="*/ 352329 h 450627"/>
                  <a:gd name="connsiteX107" fmla="*/ 1144143 w 3421857"/>
                  <a:gd name="connsiteY107" fmla="*/ 358521 h 450627"/>
                  <a:gd name="connsiteX108" fmla="*/ 1257681 w 3421857"/>
                  <a:gd name="connsiteY108" fmla="*/ 358521 h 450627"/>
                  <a:gd name="connsiteX109" fmla="*/ 1257681 w 3421857"/>
                  <a:gd name="connsiteY109" fmla="*/ 364712 h 450627"/>
                  <a:gd name="connsiteX110" fmla="*/ 1526858 w 3421857"/>
                  <a:gd name="connsiteY110" fmla="*/ 364712 h 450627"/>
                  <a:gd name="connsiteX111" fmla="*/ 1526858 w 3421857"/>
                  <a:gd name="connsiteY111" fmla="*/ 370998 h 450627"/>
                  <a:gd name="connsiteX112" fmla="*/ 1600486 w 3421857"/>
                  <a:gd name="connsiteY112" fmla="*/ 370998 h 450627"/>
                  <a:gd name="connsiteX113" fmla="*/ 1600486 w 3421857"/>
                  <a:gd name="connsiteY113" fmla="*/ 377285 h 450627"/>
                  <a:gd name="connsiteX114" fmla="*/ 1680401 w 3421857"/>
                  <a:gd name="connsiteY114" fmla="*/ 377285 h 450627"/>
                  <a:gd name="connsiteX115" fmla="*/ 1680401 w 3421857"/>
                  <a:gd name="connsiteY115" fmla="*/ 383571 h 450627"/>
                  <a:gd name="connsiteX116" fmla="*/ 1842326 w 3421857"/>
                  <a:gd name="connsiteY116" fmla="*/ 383571 h 450627"/>
                  <a:gd name="connsiteX117" fmla="*/ 1842326 w 3421857"/>
                  <a:gd name="connsiteY117" fmla="*/ 390048 h 450627"/>
                  <a:gd name="connsiteX118" fmla="*/ 1859185 w 3421857"/>
                  <a:gd name="connsiteY118" fmla="*/ 390048 h 450627"/>
                  <a:gd name="connsiteX119" fmla="*/ 1859185 w 3421857"/>
                  <a:gd name="connsiteY119" fmla="*/ 396430 h 450627"/>
                  <a:gd name="connsiteX120" fmla="*/ 1977009 w 3421857"/>
                  <a:gd name="connsiteY120" fmla="*/ 396430 h 450627"/>
                  <a:gd name="connsiteX121" fmla="*/ 1977009 w 3421857"/>
                  <a:gd name="connsiteY121" fmla="*/ 402907 h 450627"/>
                  <a:gd name="connsiteX122" fmla="*/ 2069497 w 3421857"/>
                  <a:gd name="connsiteY122" fmla="*/ 402907 h 450627"/>
                  <a:gd name="connsiteX123" fmla="*/ 2069497 w 3421857"/>
                  <a:gd name="connsiteY123" fmla="*/ 409289 h 450627"/>
                  <a:gd name="connsiteX124" fmla="*/ 2088452 w 3421857"/>
                  <a:gd name="connsiteY124" fmla="*/ 409289 h 450627"/>
                  <a:gd name="connsiteX125" fmla="*/ 2088452 w 3421857"/>
                  <a:gd name="connsiteY125" fmla="*/ 415766 h 450627"/>
                  <a:gd name="connsiteX126" fmla="*/ 2942273 w 3421857"/>
                  <a:gd name="connsiteY126" fmla="*/ 415766 h 450627"/>
                  <a:gd name="connsiteX127" fmla="*/ 2942273 w 3421857"/>
                  <a:gd name="connsiteY127" fmla="*/ 450627 h 450627"/>
                  <a:gd name="connsiteX128" fmla="*/ 3421857 w 3421857"/>
                  <a:gd name="connsiteY128" fmla="*/ 450627 h 450627"/>
                  <a:gd name="connsiteX0" fmla="*/ 0 w 3421857"/>
                  <a:gd name="connsiteY0" fmla="*/ 0 h 450627"/>
                  <a:gd name="connsiteX1" fmla="*/ 0 w 3421857"/>
                  <a:gd name="connsiteY1" fmla="*/ 6000 h 450627"/>
                  <a:gd name="connsiteX2" fmla="*/ 4191 w 3421857"/>
                  <a:gd name="connsiteY2" fmla="*/ 12096 h 450627"/>
                  <a:gd name="connsiteX3" fmla="*/ 8382 w 3421857"/>
                  <a:gd name="connsiteY3" fmla="*/ 12096 h 450627"/>
                  <a:gd name="connsiteX4" fmla="*/ 8382 w 3421857"/>
                  <a:gd name="connsiteY4" fmla="*/ 18192 h 450627"/>
                  <a:gd name="connsiteX5" fmla="*/ 21051 w 3421857"/>
                  <a:gd name="connsiteY5" fmla="*/ 18192 h 450627"/>
                  <a:gd name="connsiteX6" fmla="*/ 21051 w 3421857"/>
                  <a:gd name="connsiteY6" fmla="*/ 24193 h 450627"/>
                  <a:gd name="connsiteX7" fmla="*/ 50483 w 3421857"/>
                  <a:gd name="connsiteY7" fmla="*/ 24193 h 450627"/>
                  <a:gd name="connsiteX8" fmla="*/ 50483 w 3421857"/>
                  <a:gd name="connsiteY8" fmla="*/ 30289 h 450627"/>
                  <a:gd name="connsiteX9" fmla="*/ 58865 w 3421857"/>
                  <a:gd name="connsiteY9" fmla="*/ 30289 h 450627"/>
                  <a:gd name="connsiteX10" fmla="*/ 58865 w 3421857"/>
                  <a:gd name="connsiteY10" fmla="*/ 36385 h 450627"/>
                  <a:gd name="connsiteX11" fmla="*/ 60960 w 3421857"/>
                  <a:gd name="connsiteY11" fmla="*/ 36385 h 450627"/>
                  <a:gd name="connsiteX12" fmla="*/ 60960 w 3421857"/>
                  <a:gd name="connsiteY12" fmla="*/ 42386 h 450627"/>
                  <a:gd name="connsiteX13" fmla="*/ 75724 w 3421857"/>
                  <a:gd name="connsiteY13" fmla="*/ 42386 h 450627"/>
                  <a:gd name="connsiteX14" fmla="*/ 75724 w 3421857"/>
                  <a:gd name="connsiteY14" fmla="*/ 54578 h 450627"/>
                  <a:gd name="connsiteX15" fmla="*/ 77820 w 3421857"/>
                  <a:gd name="connsiteY15" fmla="*/ 54578 h 450627"/>
                  <a:gd name="connsiteX16" fmla="*/ 77820 w 3421857"/>
                  <a:gd name="connsiteY16" fmla="*/ 60579 h 450627"/>
                  <a:gd name="connsiteX17" fmla="*/ 84106 w 3421857"/>
                  <a:gd name="connsiteY17" fmla="*/ 60579 h 450627"/>
                  <a:gd name="connsiteX18" fmla="*/ 84106 w 3421857"/>
                  <a:gd name="connsiteY18" fmla="*/ 66675 h 450627"/>
                  <a:gd name="connsiteX19" fmla="*/ 88297 w 3421857"/>
                  <a:gd name="connsiteY19" fmla="*/ 66675 h 450627"/>
                  <a:gd name="connsiteX20" fmla="*/ 88297 w 3421857"/>
                  <a:gd name="connsiteY20" fmla="*/ 72771 h 450627"/>
                  <a:gd name="connsiteX21" fmla="*/ 105156 w 3421857"/>
                  <a:gd name="connsiteY21" fmla="*/ 72771 h 450627"/>
                  <a:gd name="connsiteX22" fmla="*/ 105156 w 3421857"/>
                  <a:gd name="connsiteY22" fmla="*/ 84867 h 450627"/>
                  <a:gd name="connsiteX23" fmla="*/ 109347 w 3421857"/>
                  <a:gd name="connsiteY23" fmla="*/ 84867 h 450627"/>
                  <a:gd name="connsiteX24" fmla="*/ 109347 w 3421857"/>
                  <a:gd name="connsiteY24" fmla="*/ 90963 h 450627"/>
                  <a:gd name="connsiteX25" fmla="*/ 132493 w 3421857"/>
                  <a:gd name="connsiteY25" fmla="*/ 90963 h 450627"/>
                  <a:gd name="connsiteX26" fmla="*/ 132493 w 3421857"/>
                  <a:gd name="connsiteY26" fmla="*/ 97059 h 450627"/>
                  <a:gd name="connsiteX27" fmla="*/ 136684 w 3421857"/>
                  <a:gd name="connsiteY27" fmla="*/ 97059 h 450627"/>
                  <a:gd name="connsiteX28" fmla="*/ 136684 w 3421857"/>
                  <a:gd name="connsiteY28" fmla="*/ 103060 h 450627"/>
                  <a:gd name="connsiteX29" fmla="*/ 142971 w 3421857"/>
                  <a:gd name="connsiteY29" fmla="*/ 103060 h 450627"/>
                  <a:gd name="connsiteX30" fmla="*/ 142971 w 3421857"/>
                  <a:gd name="connsiteY30" fmla="*/ 115252 h 450627"/>
                  <a:gd name="connsiteX31" fmla="*/ 161925 w 3421857"/>
                  <a:gd name="connsiteY31" fmla="*/ 115252 h 450627"/>
                  <a:gd name="connsiteX32" fmla="*/ 161925 w 3421857"/>
                  <a:gd name="connsiteY32" fmla="*/ 121253 h 450627"/>
                  <a:gd name="connsiteX33" fmla="*/ 170307 w 3421857"/>
                  <a:gd name="connsiteY33" fmla="*/ 121253 h 450627"/>
                  <a:gd name="connsiteX34" fmla="*/ 170307 w 3421857"/>
                  <a:gd name="connsiteY34" fmla="*/ 127349 h 450627"/>
                  <a:gd name="connsiteX35" fmla="*/ 182976 w 3421857"/>
                  <a:gd name="connsiteY35" fmla="*/ 127349 h 450627"/>
                  <a:gd name="connsiteX36" fmla="*/ 182976 w 3421857"/>
                  <a:gd name="connsiteY36" fmla="*/ 133445 h 450627"/>
                  <a:gd name="connsiteX37" fmla="*/ 199835 w 3421857"/>
                  <a:gd name="connsiteY37" fmla="*/ 133445 h 450627"/>
                  <a:gd name="connsiteX38" fmla="*/ 199835 w 3421857"/>
                  <a:gd name="connsiteY38" fmla="*/ 139446 h 450627"/>
                  <a:gd name="connsiteX39" fmla="*/ 227172 w 3421857"/>
                  <a:gd name="connsiteY39" fmla="*/ 139446 h 450627"/>
                  <a:gd name="connsiteX40" fmla="*/ 227172 w 3421857"/>
                  <a:gd name="connsiteY40" fmla="*/ 145542 h 450627"/>
                  <a:gd name="connsiteX41" fmla="*/ 229267 w 3421857"/>
                  <a:gd name="connsiteY41" fmla="*/ 145542 h 450627"/>
                  <a:gd name="connsiteX42" fmla="*/ 229267 w 3421857"/>
                  <a:gd name="connsiteY42" fmla="*/ 151638 h 450627"/>
                  <a:gd name="connsiteX43" fmla="*/ 239744 w 3421857"/>
                  <a:gd name="connsiteY43" fmla="*/ 151638 h 450627"/>
                  <a:gd name="connsiteX44" fmla="*/ 239744 w 3421857"/>
                  <a:gd name="connsiteY44" fmla="*/ 157638 h 450627"/>
                  <a:gd name="connsiteX45" fmla="*/ 246031 w 3421857"/>
                  <a:gd name="connsiteY45" fmla="*/ 157638 h 450627"/>
                  <a:gd name="connsiteX46" fmla="*/ 246031 w 3421857"/>
                  <a:gd name="connsiteY46" fmla="*/ 169830 h 450627"/>
                  <a:gd name="connsiteX47" fmla="*/ 254508 w 3421857"/>
                  <a:gd name="connsiteY47" fmla="*/ 169830 h 450627"/>
                  <a:gd name="connsiteX48" fmla="*/ 254508 w 3421857"/>
                  <a:gd name="connsiteY48" fmla="*/ 175831 h 450627"/>
                  <a:gd name="connsiteX49" fmla="*/ 260795 w 3421857"/>
                  <a:gd name="connsiteY49" fmla="*/ 175831 h 450627"/>
                  <a:gd name="connsiteX50" fmla="*/ 260795 w 3421857"/>
                  <a:gd name="connsiteY50" fmla="*/ 188023 h 450627"/>
                  <a:gd name="connsiteX51" fmla="*/ 262890 w 3421857"/>
                  <a:gd name="connsiteY51" fmla="*/ 188023 h 450627"/>
                  <a:gd name="connsiteX52" fmla="*/ 262890 w 3421857"/>
                  <a:gd name="connsiteY52" fmla="*/ 194119 h 450627"/>
                  <a:gd name="connsiteX53" fmla="*/ 275463 w 3421857"/>
                  <a:gd name="connsiteY53" fmla="*/ 194119 h 450627"/>
                  <a:gd name="connsiteX54" fmla="*/ 275463 w 3421857"/>
                  <a:gd name="connsiteY54" fmla="*/ 200120 h 450627"/>
                  <a:gd name="connsiteX55" fmla="*/ 298609 w 3421857"/>
                  <a:gd name="connsiteY55" fmla="*/ 200120 h 450627"/>
                  <a:gd name="connsiteX56" fmla="*/ 298609 w 3421857"/>
                  <a:gd name="connsiteY56" fmla="*/ 206216 h 450627"/>
                  <a:gd name="connsiteX57" fmla="*/ 304991 w 3421857"/>
                  <a:gd name="connsiteY57" fmla="*/ 206216 h 450627"/>
                  <a:gd name="connsiteX58" fmla="*/ 304991 w 3421857"/>
                  <a:gd name="connsiteY58" fmla="*/ 212312 h 450627"/>
                  <a:gd name="connsiteX59" fmla="*/ 313373 w 3421857"/>
                  <a:gd name="connsiteY59" fmla="*/ 212312 h 450627"/>
                  <a:gd name="connsiteX60" fmla="*/ 313373 w 3421857"/>
                  <a:gd name="connsiteY60" fmla="*/ 218313 h 450627"/>
                  <a:gd name="connsiteX61" fmla="*/ 321755 w 3421857"/>
                  <a:gd name="connsiteY61" fmla="*/ 218313 h 450627"/>
                  <a:gd name="connsiteX62" fmla="*/ 321755 w 3421857"/>
                  <a:gd name="connsiteY62" fmla="*/ 224409 h 450627"/>
                  <a:gd name="connsiteX63" fmla="*/ 325946 w 3421857"/>
                  <a:gd name="connsiteY63" fmla="*/ 224409 h 450627"/>
                  <a:gd name="connsiteX64" fmla="*/ 325946 w 3421857"/>
                  <a:gd name="connsiteY64" fmla="*/ 230505 h 450627"/>
                  <a:gd name="connsiteX65" fmla="*/ 399574 w 3421857"/>
                  <a:gd name="connsiteY65" fmla="*/ 230505 h 450627"/>
                  <a:gd name="connsiteX66" fmla="*/ 399574 w 3421857"/>
                  <a:gd name="connsiteY66" fmla="*/ 236505 h 450627"/>
                  <a:gd name="connsiteX67" fmla="*/ 420624 w 3421857"/>
                  <a:gd name="connsiteY67" fmla="*/ 236505 h 450627"/>
                  <a:gd name="connsiteX68" fmla="*/ 420624 w 3421857"/>
                  <a:gd name="connsiteY68" fmla="*/ 242601 h 450627"/>
                  <a:gd name="connsiteX69" fmla="*/ 426911 w 3421857"/>
                  <a:gd name="connsiteY69" fmla="*/ 242601 h 450627"/>
                  <a:gd name="connsiteX70" fmla="*/ 426911 w 3421857"/>
                  <a:gd name="connsiteY70" fmla="*/ 248697 h 450627"/>
                  <a:gd name="connsiteX71" fmla="*/ 469011 w 3421857"/>
                  <a:gd name="connsiteY71" fmla="*/ 248697 h 450627"/>
                  <a:gd name="connsiteX72" fmla="*/ 469011 w 3421857"/>
                  <a:gd name="connsiteY72" fmla="*/ 254698 h 450627"/>
                  <a:gd name="connsiteX73" fmla="*/ 483680 w 3421857"/>
                  <a:gd name="connsiteY73" fmla="*/ 254698 h 450627"/>
                  <a:gd name="connsiteX74" fmla="*/ 483680 w 3421857"/>
                  <a:gd name="connsiteY74" fmla="*/ 260794 h 450627"/>
                  <a:gd name="connsiteX75" fmla="*/ 513207 w 3421857"/>
                  <a:gd name="connsiteY75" fmla="*/ 260794 h 450627"/>
                  <a:gd name="connsiteX76" fmla="*/ 513207 w 3421857"/>
                  <a:gd name="connsiteY76" fmla="*/ 266890 h 450627"/>
                  <a:gd name="connsiteX77" fmla="*/ 515303 w 3421857"/>
                  <a:gd name="connsiteY77" fmla="*/ 266890 h 450627"/>
                  <a:gd name="connsiteX78" fmla="*/ 515303 w 3421857"/>
                  <a:gd name="connsiteY78" fmla="*/ 272891 h 450627"/>
                  <a:gd name="connsiteX79" fmla="*/ 538353 w 3421857"/>
                  <a:gd name="connsiteY79" fmla="*/ 272891 h 450627"/>
                  <a:gd name="connsiteX80" fmla="*/ 538353 w 3421857"/>
                  <a:gd name="connsiteY80" fmla="*/ 278987 h 450627"/>
                  <a:gd name="connsiteX81" fmla="*/ 551022 w 3421857"/>
                  <a:gd name="connsiteY81" fmla="*/ 278987 h 450627"/>
                  <a:gd name="connsiteX82" fmla="*/ 551022 w 3421857"/>
                  <a:gd name="connsiteY82" fmla="*/ 285083 h 450627"/>
                  <a:gd name="connsiteX83" fmla="*/ 586740 w 3421857"/>
                  <a:gd name="connsiteY83" fmla="*/ 285083 h 450627"/>
                  <a:gd name="connsiteX84" fmla="*/ 586740 w 3421857"/>
                  <a:gd name="connsiteY84" fmla="*/ 291179 h 450627"/>
                  <a:gd name="connsiteX85" fmla="*/ 702469 w 3421857"/>
                  <a:gd name="connsiteY85" fmla="*/ 291179 h 450627"/>
                  <a:gd name="connsiteX86" fmla="*/ 702469 w 3421857"/>
                  <a:gd name="connsiteY86" fmla="*/ 297180 h 450627"/>
                  <a:gd name="connsiteX87" fmla="*/ 740283 w 3421857"/>
                  <a:gd name="connsiteY87" fmla="*/ 297180 h 450627"/>
                  <a:gd name="connsiteX88" fmla="*/ 740283 w 3421857"/>
                  <a:gd name="connsiteY88" fmla="*/ 303371 h 450627"/>
                  <a:gd name="connsiteX89" fmla="*/ 792861 w 3421857"/>
                  <a:gd name="connsiteY89" fmla="*/ 303371 h 450627"/>
                  <a:gd name="connsiteX90" fmla="*/ 792861 w 3421857"/>
                  <a:gd name="connsiteY90" fmla="*/ 309467 h 450627"/>
                  <a:gd name="connsiteX91" fmla="*/ 811816 w 3421857"/>
                  <a:gd name="connsiteY91" fmla="*/ 309467 h 450627"/>
                  <a:gd name="connsiteX92" fmla="*/ 811816 w 3421857"/>
                  <a:gd name="connsiteY92" fmla="*/ 315563 h 450627"/>
                  <a:gd name="connsiteX93" fmla="*/ 822294 w 3421857"/>
                  <a:gd name="connsiteY93" fmla="*/ 315563 h 450627"/>
                  <a:gd name="connsiteX94" fmla="*/ 822294 w 3421857"/>
                  <a:gd name="connsiteY94" fmla="*/ 321754 h 450627"/>
                  <a:gd name="connsiteX95" fmla="*/ 856012 w 3421857"/>
                  <a:gd name="connsiteY95" fmla="*/ 321754 h 450627"/>
                  <a:gd name="connsiteX96" fmla="*/ 856012 w 3421857"/>
                  <a:gd name="connsiteY96" fmla="*/ 327850 h 450627"/>
                  <a:gd name="connsiteX97" fmla="*/ 862299 w 3421857"/>
                  <a:gd name="connsiteY97" fmla="*/ 327850 h 450627"/>
                  <a:gd name="connsiteX98" fmla="*/ 862299 w 3421857"/>
                  <a:gd name="connsiteY98" fmla="*/ 333946 h 450627"/>
                  <a:gd name="connsiteX99" fmla="*/ 876967 w 3421857"/>
                  <a:gd name="connsiteY99" fmla="*/ 333946 h 450627"/>
                  <a:gd name="connsiteX100" fmla="*/ 876967 w 3421857"/>
                  <a:gd name="connsiteY100" fmla="*/ 340042 h 450627"/>
                  <a:gd name="connsiteX101" fmla="*/ 889635 w 3421857"/>
                  <a:gd name="connsiteY101" fmla="*/ 340042 h 450627"/>
                  <a:gd name="connsiteX102" fmla="*/ 889635 w 3421857"/>
                  <a:gd name="connsiteY102" fmla="*/ 346233 h 450627"/>
                  <a:gd name="connsiteX103" fmla="*/ 914877 w 3421857"/>
                  <a:gd name="connsiteY103" fmla="*/ 346233 h 450627"/>
                  <a:gd name="connsiteX104" fmla="*/ 914877 w 3421857"/>
                  <a:gd name="connsiteY104" fmla="*/ 352329 h 450627"/>
                  <a:gd name="connsiteX105" fmla="*/ 1144143 w 3421857"/>
                  <a:gd name="connsiteY105" fmla="*/ 352329 h 450627"/>
                  <a:gd name="connsiteX106" fmla="*/ 1144143 w 3421857"/>
                  <a:gd name="connsiteY106" fmla="*/ 358521 h 450627"/>
                  <a:gd name="connsiteX107" fmla="*/ 1257681 w 3421857"/>
                  <a:gd name="connsiteY107" fmla="*/ 358521 h 450627"/>
                  <a:gd name="connsiteX108" fmla="*/ 1257681 w 3421857"/>
                  <a:gd name="connsiteY108" fmla="*/ 364712 h 450627"/>
                  <a:gd name="connsiteX109" fmla="*/ 1526858 w 3421857"/>
                  <a:gd name="connsiteY109" fmla="*/ 364712 h 450627"/>
                  <a:gd name="connsiteX110" fmla="*/ 1526858 w 3421857"/>
                  <a:gd name="connsiteY110" fmla="*/ 370998 h 450627"/>
                  <a:gd name="connsiteX111" fmla="*/ 1600486 w 3421857"/>
                  <a:gd name="connsiteY111" fmla="*/ 370998 h 450627"/>
                  <a:gd name="connsiteX112" fmla="*/ 1600486 w 3421857"/>
                  <a:gd name="connsiteY112" fmla="*/ 377285 h 450627"/>
                  <a:gd name="connsiteX113" fmla="*/ 1680401 w 3421857"/>
                  <a:gd name="connsiteY113" fmla="*/ 377285 h 450627"/>
                  <a:gd name="connsiteX114" fmla="*/ 1680401 w 3421857"/>
                  <a:gd name="connsiteY114" fmla="*/ 383571 h 450627"/>
                  <a:gd name="connsiteX115" fmla="*/ 1842326 w 3421857"/>
                  <a:gd name="connsiteY115" fmla="*/ 383571 h 450627"/>
                  <a:gd name="connsiteX116" fmla="*/ 1842326 w 3421857"/>
                  <a:gd name="connsiteY116" fmla="*/ 390048 h 450627"/>
                  <a:gd name="connsiteX117" fmla="*/ 1859185 w 3421857"/>
                  <a:gd name="connsiteY117" fmla="*/ 390048 h 450627"/>
                  <a:gd name="connsiteX118" fmla="*/ 1859185 w 3421857"/>
                  <a:gd name="connsiteY118" fmla="*/ 396430 h 450627"/>
                  <a:gd name="connsiteX119" fmla="*/ 1977009 w 3421857"/>
                  <a:gd name="connsiteY119" fmla="*/ 396430 h 450627"/>
                  <a:gd name="connsiteX120" fmla="*/ 1977009 w 3421857"/>
                  <a:gd name="connsiteY120" fmla="*/ 402907 h 450627"/>
                  <a:gd name="connsiteX121" fmla="*/ 2069497 w 3421857"/>
                  <a:gd name="connsiteY121" fmla="*/ 402907 h 450627"/>
                  <a:gd name="connsiteX122" fmla="*/ 2069497 w 3421857"/>
                  <a:gd name="connsiteY122" fmla="*/ 409289 h 450627"/>
                  <a:gd name="connsiteX123" fmla="*/ 2088452 w 3421857"/>
                  <a:gd name="connsiteY123" fmla="*/ 409289 h 450627"/>
                  <a:gd name="connsiteX124" fmla="*/ 2088452 w 3421857"/>
                  <a:gd name="connsiteY124" fmla="*/ 415766 h 450627"/>
                  <a:gd name="connsiteX125" fmla="*/ 2942273 w 3421857"/>
                  <a:gd name="connsiteY125" fmla="*/ 415766 h 450627"/>
                  <a:gd name="connsiteX126" fmla="*/ 2942273 w 3421857"/>
                  <a:gd name="connsiteY126" fmla="*/ 450627 h 450627"/>
                  <a:gd name="connsiteX127" fmla="*/ 3421857 w 3421857"/>
                  <a:gd name="connsiteY127" fmla="*/ 450627 h 450627"/>
                  <a:gd name="connsiteX0" fmla="*/ 0 w 3421857"/>
                  <a:gd name="connsiteY0" fmla="*/ 0 h 450627"/>
                  <a:gd name="connsiteX1" fmla="*/ 4191 w 3421857"/>
                  <a:gd name="connsiteY1" fmla="*/ 12096 h 450627"/>
                  <a:gd name="connsiteX2" fmla="*/ 8382 w 3421857"/>
                  <a:gd name="connsiteY2" fmla="*/ 12096 h 450627"/>
                  <a:gd name="connsiteX3" fmla="*/ 8382 w 3421857"/>
                  <a:gd name="connsiteY3" fmla="*/ 18192 h 450627"/>
                  <a:gd name="connsiteX4" fmla="*/ 21051 w 3421857"/>
                  <a:gd name="connsiteY4" fmla="*/ 18192 h 450627"/>
                  <a:gd name="connsiteX5" fmla="*/ 21051 w 3421857"/>
                  <a:gd name="connsiteY5" fmla="*/ 24193 h 450627"/>
                  <a:gd name="connsiteX6" fmla="*/ 50483 w 3421857"/>
                  <a:gd name="connsiteY6" fmla="*/ 24193 h 450627"/>
                  <a:gd name="connsiteX7" fmla="*/ 50483 w 3421857"/>
                  <a:gd name="connsiteY7" fmla="*/ 30289 h 450627"/>
                  <a:gd name="connsiteX8" fmla="*/ 58865 w 3421857"/>
                  <a:gd name="connsiteY8" fmla="*/ 30289 h 450627"/>
                  <a:gd name="connsiteX9" fmla="*/ 58865 w 3421857"/>
                  <a:gd name="connsiteY9" fmla="*/ 36385 h 450627"/>
                  <a:gd name="connsiteX10" fmla="*/ 60960 w 3421857"/>
                  <a:gd name="connsiteY10" fmla="*/ 36385 h 450627"/>
                  <a:gd name="connsiteX11" fmla="*/ 60960 w 3421857"/>
                  <a:gd name="connsiteY11" fmla="*/ 42386 h 450627"/>
                  <a:gd name="connsiteX12" fmla="*/ 75724 w 3421857"/>
                  <a:gd name="connsiteY12" fmla="*/ 42386 h 450627"/>
                  <a:gd name="connsiteX13" fmla="*/ 75724 w 3421857"/>
                  <a:gd name="connsiteY13" fmla="*/ 54578 h 450627"/>
                  <a:gd name="connsiteX14" fmla="*/ 77820 w 3421857"/>
                  <a:gd name="connsiteY14" fmla="*/ 54578 h 450627"/>
                  <a:gd name="connsiteX15" fmla="*/ 77820 w 3421857"/>
                  <a:gd name="connsiteY15" fmla="*/ 60579 h 450627"/>
                  <a:gd name="connsiteX16" fmla="*/ 84106 w 3421857"/>
                  <a:gd name="connsiteY16" fmla="*/ 60579 h 450627"/>
                  <a:gd name="connsiteX17" fmla="*/ 84106 w 3421857"/>
                  <a:gd name="connsiteY17" fmla="*/ 66675 h 450627"/>
                  <a:gd name="connsiteX18" fmla="*/ 88297 w 3421857"/>
                  <a:gd name="connsiteY18" fmla="*/ 66675 h 450627"/>
                  <a:gd name="connsiteX19" fmla="*/ 88297 w 3421857"/>
                  <a:gd name="connsiteY19" fmla="*/ 72771 h 450627"/>
                  <a:gd name="connsiteX20" fmla="*/ 105156 w 3421857"/>
                  <a:gd name="connsiteY20" fmla="*/ 72771 h 450627"/>
                  <a:gd name="connsiteX21" fmla="*/ 105156 w 3421857"/>
                  <a:gd name="connsiteY21" fmla="*/ 84867 h 450627"/>
                  <a:gd name="connsiteX22" fmla="*/ 109347 w 3421857"/>
                  <a:gd name="connsiteY22" fmla="*/ 84867 h 450627"/>
                  <a:gd name="connsiteX23" fmla="*/ 109347 w 3421857"/>
                  <a:gd name="connsiteY23" fmla="*/ 90963 h 450627"/>
                  <a:gd name="connsiteX24" fmla="*/ 132493 w 3421857"/>
                  <a:gd name="connsiteY24" fmla="*/ 90963 h 450627"/>
                  <a:gd name="connsiteX25" fmla="*/ 132493 w 3421857"/>
                  <a:gd name="connsiteY25" fmla="*/ 97059 h 450627"/>
                  <a:gd name="connsiteX26" fmla="*/ 136684 w 3421857"/>
                  <a:gd name="connsiteY26" fmla="*/ 97059 h 450627"/>
                  <a:gd name="connsiteX27" fmla="*/ 136684 w 3421857"/>
                  <a:gd name="connsiteY27" fmla="*/ 103060 h 450627"/>
                  <a:gd name="connsiteX28" fmla="*/ 142971 w 3421857"/>
                  <a:gd name="connsiteY28" fmla="*/ 103060 h 450627"/>
                  <a:gd name="connsiteX29" fmla="*/ 142971 w 3421857"/>
                  <a:gd name="connsiteY29" fmla="*/ 115252 h 450627"/>
                  <a:gd name="connsiteX30" fmla="*/ 161925 w 3421857"/>
                  <a:gd name="connsiteY30" fmla="*/ 115252 h 450627"/>
                  <a:gd name="connsiteX31" fmla="*/ 161925 w 3421857"/>
                  <a:gd name="connsiteY31" fmla="*/ 121253 h 450627"/>
                  <a:gd name="connsiteX32" fmla="*/ 170307 w 3421857"/>
                  <a:gd name="connsiteY32" fmla="*/ 121253 h 450627"/>
                  <a:gd name="connsiteX33" fmla="*/ 170307 w 3421857"/>
                  <a:gd name="connsiteY33" fmla="*/ 127349 h 450627"/>
                  <a:gd name="connsiteX34" fmla="*/ 182976 w 3421857"/>
                  <a:gd name="connsiteY34" fmla="*/ 127349 h 450627"/>
                  <a:gd name="connsiteX35" fmla="*/ 182976 w 3421857"/>
                  <a:gd name="connsiteY35" fmla="*/ 133445 h 450627"/>
                  <a:gd name="connsiteX36" fmla="*/ 199835 w 3421857"/>
                  <a:gd name="connsiteY36" fmla="*/ 133445 h 450627"/>
                  <a:gd name="connsiteX37" fmla="*/ 199835 w 3421857"/>
                  <a:gd name="connsiteY37" fmla="*/ 139446 h 450627"/>
                  <a:gd name="connsiteX38" fmla="*/ 227172 w 3421857"/>
                  <a:gd name="connsiteY38" fmla="*/ 139446 h 450627"/>
                  <a:gd name="connsiteX39" fmla="*/ 227172 w 3421857"/>
                  <a:gd name="connsiteY39" fmla="*/ 145542 h 450627"/>
                  <a:gd name="connsiteX40" fmla="*/ 229267 w 3421857"/>
                  <a:gd name="connsiteY40" fmla="*/ 145542 h 450627"/>
                  <a:gd name="connsiteX41" fmla="*/ 229267 w 3421857"/>
                  <a:gd name="connsiteY41" fmla="*/ 151638 h 450627"/>
                  <a:gd name="connsiteX42" fmla="*/ 239744 w 3421857"/>
                  <a:gd name="connsiteY42" fmla="*/ 151638 h 450627"/>
                  <a:gd name="connsiteX43" fmla="*/ 239744 w 3421857"/>
                  <a:gd name="connsiteY43" fmla="*/ 157638 h 450627"/>
                  <a:gd name="connsiteX44" fmla="*/ 246031 w 3421857"/>
                  <a:gd name="connsiteY44" fmla="*/ 157638 h 450627"/>
                  <a:gd name="connsiteX45" fmla="*/ 246031 w 3421857"/>
                  <a:gd name="connsiteY45" fmla="*/ 169830 h 450627"/>
                  <a:gd name="connsiteX46" fmla="*/ 254508 w 3421857"/>
                  <a:gd name="connsiteY46" fmla="*/ 169830 h 450627"/>
                  <a:gd name="connsiteX47" fmla="*/ 254508 w 3421857"/>
                  <a:gd name="connsiteY47" fmla="*/ 175831 h 450627"/>
                  <a:gd name="connsiteX48" fmla="*/ 260795 w 3421857"/>
                  <a:gd name="connsiteY48" fmla="*/ 175831 h 450627"/>
                  <a:gd name="connsiteX49" fmla="*/ 260795 w 3421857"/>
                  <a:gd name="connsiteY49" fmla="*/ 188023 h 450627"/>
                  <a:gd name="connsiteX50" fmla="*/ 262890 w 3421857"/>
                  <a:gd name="connsiteY50" fmla="*/ 188023 h 450627"/>
                  <a:gd name="connsiteX51" fmla="*/ 262890 w 3421857"/>
                  <a:gd name="connsiteY51" fmla="*/ 194119 h 450627"/>
                  <a:gd name="connsiteX52" fmla="*/ 275463 w 3421857"/>
                  <a:gd name="connsiteY52" fmla="*/ 194119 h 450627"/>
                  <a:gd name="connsiteX53" fmla="*/ 275463 w 3421857"/>
                  <a:gd name="connsiteY53" fmla="*/ 200120 h 450627"/>
                  <a:gd name="connsiteX54" fmla="*/ 298609 w 3421857"/>
                  <a:gd name="connsiteY54" fmla="*/ 200120 h 450627"/>
                  <a:gd name="connsiteX55" fmla="*/ 298609 w 3421857"/>
                  <a:gd name="connsiteY55" fmla="*/ 206216 h 450627"/>
                  <a:gd name="connsiteX56" fmla="*/ 304991 w 3421857"/>
                  <a:gd name="connsiteY56" fmla="*/ 206216 h 450627"/>
                  <a:gd name="connsiteX57" fmla="*/ 304991 w 3421857"/>
                  <a:gd name="connsiteY57" fmla="*/ 212312 h 450627"/>
                  <a:gd name="connsiteX58" fmla="*/ 313373 w 3421857"/>
                  <a:gd name="connsiteY58" fmla="*/ 212312 h 450627"/>
                  <a:gd name="connsiteX59" fmla="*/ 313373 w 3421857"/>
                  <a:gd name="connsiteY59" fmla="*/ 218313 h 450627"/>
                  <a:gd name="connsiteX60" fmla="*/ 321755 w 3421857"/>
                  <a:gd name="connsiteY60" fmla="*/ 218313 h 450627"/>
                  <a:gd name="connsiteX61" fmla="*/ 321755 w 3421857"/>
                  <a:gd name="connsiteY61" fmla="*/ 224409 h 450627"/>
                  <a:gd name="connsiteX62" fmla="*/ 325946 w 3421857"/>
                  <a:gd name="connsiteY62" fmla="*/ 224409 h 450627"/>
                  <a:gd name="connsiteX63" fmla="*/ 325946 w 3421857"/>
                  <a:gd name="connsiteY63" fmla="*/ 230505 h 450627"/>
                  <a:gd name="connsiteX64" fmla="*/ 399574 w 3421857"/>
                  <a:gd name="connsiteY64" fmla="*/ 230505 h 450627"/>
                  <a:gd name="connsiteX65" fmla="*/ 399574 w 3421857"/>
                  <a:gd name="connsiteY65" fmla="*/ 236505 h 450627"/>
                  <a:gd name="connsiteX66" fmla="*/ 420624 w 3421857"/>
                  <a:gd name="connsiteY66" fmla="*/ 236505 h 450627"/>
                  <a:gd name="connsiteX67" fmla="*/ 420624 w 3421857"/>
                  <a:gd name="connsiteY67" fmla="*/ 242601 h 450627"/>
                  <a:gd name="connsiteX68" fmla="*/ 426911 w 3421857"/>
                  <a:gd name="connsiteY68" fmla="*/ 242601 h 450627"/>
                  <a:gd name="connsiteX69" fmla="*/ 426911 w 3421857"/>
                  <a:gd name="connsiteY69" fmla="*/ 248697 h 450627"/>
                  <a:gd name="connsiteX70" fmla="*/ 469011 w 3421857"/>
                  <a:gd name="connsiteY70" fmla="*/ 248697 h 450627"/>
                  <a:gd name="connsiteX71" fmla="*/ 469011 w 3421857"/>
                  <a:gd name="connsiteY71" fmla="*/ 254698 h 450627"/>
                  <a:gd name="connsiteX72" fmla="*/ 483680 w 3421857"/>
                  <a:gd name="connsiteY72" fmla="*/ 254698 h 450627"/>
                  <a:gd name="connsiteX73" fmla="*/ 483680 w 3421857"/>
                  <a:gd name="connsiteY73" fmla="*/ 260794 h 450627"/>
                  <a:gd name="connsiteX74" fmla="*/ 513207 w 3421857"/>
                  <a:gd name="connsiteY74" fmla="*/ 260794 h 450627"/>
                  <a:gd name="connsiteX75" fmla="*/ 513207 w 3421857"/>
                  <a:gd name="connsiteY75" fmla="*/ 266890 h 450627"/>
                  <a:gd name="connsiteX76" fmla="*/ 515303 w 3421857"/>
                  <a:gd name="connsiteY76" fmla="*/ 266890 h 450627"/>
                  <a:gd name="connsiteX77" fmla="*/ 515303 w 3421857"/>
                  <a:gd name="connsiteY77" fmla="*/ 272891 h 450627"/>
                  <a:gd name="connsiteX78" fmla="*/ 538353 w 3421857"/>
                  <a:gd name="connsiteY78" fmla="*/ 272891 h 450627"/>
                  <a:gd name="connsiteX79" fmla="*/ 538353 w 3421857"/>
                  <a:gd name="connsiteY79" fmla="*/ 278987 h 450627"/>
                  <a:gd name="connsiteX80" fmla="*/ 551022 w 3421857"/>
                  <a:gd name="connsiteY80" fmla="*/ 278987 h 450627"/>
                  <a:gd name="connsiteX81" fmla="*/ 551022 w 3421857"/>
                  <a:gd name="connsiteY81" fmla="*/ 285083 h 450627"/>
                  <a:gd name="connsiteX82" fmla="*/ 586740 w 3421857"/>
                  <a:gd name="connsiteY82" fmla="*/ 285083 h 450627"/>
                  <a:gd name="connsiteX83" fmla="*/ 586740 w 3421857"/>
                  <a:gd name="connsiteY83" fmla="*/ 291179 h 450627"/>
                  <a:gd name="connsiteX84" fmla="*/ 702469 w 3421857"/>
                  <a:gd name="connsiteY84" fmla="*/ 291179 h 450627"/>
                  <a:gd name="connsiteX85" fmla="*/ 702469 w 3421857"/>
                  <a:gd name="connsiteY85" fmla="*/ 297180 h 450627"/>
                  <a:gd name="connsiteX86" fmla="*/ 740283 w 3421857"/>
                  <a:gd name="connsiteY86" fmla="*/ 297180 h 450627"/>
                  <a:gd name="connsiteX87" fmla="*/ 740283 w 3421857"/>
                  <a:gd name="connsiteY87" fmla="*/ 303371 h 450627"/>
                  <a:gd name="connsiteX88" fmla="*/ 792861 w 3421857"/>
                  <a:gd name="connsiteY88" fmla="*/ 303371 h 450627"/>
                  <a:gd name="connsiteX89" fmla="*/ 792861 w 3421857"/>
                  <a:gd name="connsiteY89" fmla="*/ 309467 h 450627"/>
                  <a:gd name="connsiteX90" fmla="*/ 811816 w 3421857"/>
                  <a:gd name="connsiteY90" fmla="*/ 309467 h 450627"/>
                  <a:gd name="connsiteX91" fmla="*/ 811816 w 3421857"/>
                  <a:gd name="connsiteY91" fmla="*/ 315563 h 450627"/>
                  <a:gd name="connsiteX92" fmla="*/ 822294 w 3421857"/>
                  <a:gd name="connsiteY92" fmla="*/ 315563 h 450627"/>
                  <a:gd name="connsiteX93" fmla="*/ 822294 w 3421857"/>
                  <a:gd name="connsiteY93" fmla="*/ 321754 h 450627"/>
                  <a:gd name="connsiteX94" fmla="*/ 856012 w 3421857"/>
                  <a:gd name="connsiteY94" fmla="*/ 321754 h 450627"/>
                  <a:gd name="connsiteX95" fmla="*/ 856012 w 3421857"/>
                  <a:gd name="connsiteY95" fmla="*/ 327850 h 450627"/>
                  <a:gd name="connsiteX96" fmla="*/ 862299 w 3421857"/>
                  <a:gd name="connsiteY96" fmla="*/ 327850 h 450627"/>
                  <a:gd name="connsiteX97" fmla="*/ 862299 w 3421857"/>
                  <a:gd name="connsiteY97" fmla="*/ 333946 h 450627"/>
                  <a:gd name="connsiteX98" fmla="*/ 876967 w 3421857"/>
                  <a:gd name="connsiteY98" fmla="*/ 333946 h 450627"/>
                  <a:gd name="connsiteX99" fmla="*/ 876967 w 3421857"/>
                  <a:gd name="connsiteY99" fmla="*/ 340042 h 450627"/>
                  <a:gd name="connsiteX100" fmla="*/ 889635 w 3421857"/>
                  <a:gd name="connsiteY100" fmla="*/ 340042 h 450627"/>
                  <a:gd name="connsiteX101" fmla="*/ 889635 w 3421857"/>
                  <a:gd name="connsiteY101" fmla="*/ 346233 h 450627"/>
                  <a:gd name="connsiteX102" fmla="*/ 914877 w 3421857"/>
                  <a:gd name="connsiteY102" fmla="*/ 346233 h 450627"/>
                  <a:gd name="connsiteX103" fmla="*/ 914877 w 3421857"/>
                  <a:gd name="connsiteY103" fmla="*/ 352329 h 450627"/>
                  <a:gd name="connsiteX104" fmla="*/ 1144143 w 3421857"/>
                  <a:gd name="connsiteY104" fmla="*/ 352329 h 450627"/>
                  <a:gd name="connsiteX105" fmla="*/ 1144143 w 3421857"/>
                  <a:gd name="connsiteY105" fmla="*/ 358521 h 450627"/>
                  <a:gd name="connsiteX106" fmla="*/ 1257681 w 3421857"/>
                  <a:gd name="connsiteY106" fmla="*/ 358521 h 450627"/>
                  <a:gd name="connsiteX107" fmla="*/ 1257681 w 3421857"/>
                  <a:gd name="connsiteY107" fmla="*/ 364712 h 450627"/>
                  <a:gd name="connsiteX108" fmla="*/ 1526858 w 3421857"/>
                  <a:gd name="connsiteY108" fmla="*/ 364712 h 450627"/>
                  <a:gd name="connsiteX109" fmla="*/ 1526858 w 3421857"/>
                  <a:gd name="connsiteY109" fmla="*/ 370998 h 450627"/>
                  <a:gd name="connsiteX110" fmla="*/ 1600486 w 3421857"/>
                  <a:gd name="connsiteY110" fmla="*/ 370998 h 450627"/>
                  <a:gd name="connsiteX111" fmla="*/ 1600486 w 3421857"/>
                  <a:gd name="connsiteY111" fmla="*/ 377285 h 450627"/>
                  <a:gd name="connsiteX112" fmla="*/ 1680401 w 3421857"/>
                  <a:gd name="connsiteY112" fmla="*/ 377285 h 450627"/>
                  <a:gd name="connsiteX113" fmla="*/ 1680401 w 3421857"/>
                  <a:gd name="connsiteY113" fmla="*/ 383571 h 450627"/>
                  <a:gd name="connsiteX114" fmla="*/ 1842326 w 3421857"/>
                  <a:gd name="connsiteY114" fmla="*/ 383571 h 450627"/>
                  <a:gd name="connsiteX115" fmla="*/ 1842326 w 3421857"/>
                  <a:gd name="connsiteY115" fmla="*/ 390048 h 450627"/>
                  <a:gd name="connsiteX116" fmla="*/ 1859185 w 3421857"/>
                  <a:gd name="connsiteY116" fmla="*/ 390048 h 450627"/>
                  <a:gd name="connsiteX117" fmla="*/ 1859185 w 3421857"/>
                  <a:gd name="connsiteY117" fmla="*/ 396430 h 450627"/>
                  <a:gd name="connsiteX118" fmla="*/ 1977009 w 3421857"/>
                  <a:gd name="connsiteY118" fmla="*/ 396430 h 450627"/>
                  <a:gd name="connsiteX119" fmla="*/ 1977009 w 3421857"/>
                  <a:gd name="connsiteY119" fmla="*/ 402907 h 450627"/>
                  <a:gd name="connsiteX120" fmla="*/ 2069497 w 3421857"/>
                  <a:gd name="connsiteY120" fmla="*/ 402907 h 450627"/>
                  <a:gd name="connsiteX121" fmla="*/ 2069497 w 3421857"/>
                  <a:gd name="connsiteY121" fmla="*/ 409289 h 450627"/>
                  <a:gd name="connsiteX122" fmla="*/ 2088452 w 3421857"/>
                  <a:gd name="connsiteY122" fmla="*/ 409289 h 450627"/>
                  <a:gd name="connsiteX123" fmla="*/ 2088452 w 3421857"/>
                  <a:gd name="connsiteY123" fmla="*/ 415766 h 450627"/>
                  <a:gd name="connsiteX124" fmla="*/ 2942273 w 3421857"/>
                  <a:gd name="connsiteY124" fmla="*/ 415766 h 450627"/>
                  <a:gd name="connsiteX125" fmla="*/ 2942273 w 3421857"/>
                  <a:gd name="connsiteY125" fmla="*/ 450627 h 450627"/>
                  <a:gd name="connsiteX126" fmla="*/ 3421857 w 3421857"/>
                  <a:gd name="connsiteY126" fmla="*/ 450627 h 450627"/>
                  <a:gd name="connsiteX0" fmla="*/ 0 w 3417666"/>
                  <a:gd name="connsiteY0" fmla="*/ 0 h 438531"/>
                  <a:gd name="connsiteX1" fmla="*/ 4191 w 3417666"/>
                  <a:gd name="connsiteY1" fmla="*/ 0 h 438531"/>
                  <a:gd name="connsiteX2" fmla="*/ 4191 w 3417666"/>
                  <a:gd name="connsiteY2" fmla="*/ 6096 h 438531"/>
                  <a:gd name="connsiteX3" fmla="*/ 16860 w 3417666"/>
                  <a:gd name="connsiteY3" fmla="*/ 6096 h 438531"/>
                  <a:gd name="connsiteX4" fmla="*/ 16860 w 3417666"/>
                  <a:gd name="connsiteY4" fmla="*/ 12097 h 438531"/>
                  <a:gd name="connsiteX5" fmla="*/ 46292 w 3417666"/>
                  <a:gd name="connsiteY5" fmla="*/ 12097 h 438531"/>
                  <a:gd name="connsiteX6" fmla="*/ 46292 w 3417666"/>
                  <a:gd name="connsiteY6" fmla="*/ 18193 h 438531"/>
                  <a:gd name="connsiteX7" fmla="*/ 54674 w 3417666"/>
                  <a:gd name="connsiteY7" fmla="*/ 18193 h 438531"/>
                  <a:gd name="connsiteX8" fmla="*/ 54674 w 3417666"/>
                  <a:gd name="connsiteY8" fmla="*/ 24289 h 438531"/>
                  <a:gd name="connsiteX9" fmla="*/ 56769 w 3417666"/>
                  <a:gd name="connsiteY9" fmla="*/ 24289 h 438531"/>
                  <a:gd name="connsiteX10" fmla="*/ 56769 w 3417666"/>
                  <a:gd name="connsiteY10" fmla="*/ 30290 h 438531"/>
                  <a:gd name="connsiteX11" fmla="*/ 71533 w 3417666"/>
                  <a:gd name="connsiteY11" fmla="*/ 30290 h 438531"/>
                  <a:gd name="connsiteX12" fmla="*/ 71533 w 3417666"/>
                  <a:gd name="connsiteY12" fmla="*/ 42482 h 438531"/>
                  <a:gd name="connsiteX13" fmla="*/ 73629 w 3417666"/>
                  <a:gd name="connsiteY13" fmla="*/ 42482 h 438531"/>
                  <a:gd name="connsiteX14" fmla="*/ 73629 w 3417666"/>
                  <a:gd name="connsiteY14" fmla="*/ 48483 h 438531"/>
                  <a:gd name="connsiteX15" fmla="*/ 79915 w 3417666"/>
                  <a:gd name="connsiteY15" fmla="*/ 48483 h 438531"/>
                  <a:gd name="connsiteX16" fmla="*/ 79915 w 3417666"/>
                  <a:gd name="connsiteY16" fmla="*/ 54579 h 438531"/>
                  <a:gd name="connsiteX17" fmla="*/ 84106 w 3417666"/>
                  <a:gd name="connsiteY17" fmla="*/ 54579 h 438531"/>
                  <a:gd name="connsiteX18" fmla="*/ 84106 w 3417666"/>
                  <a:gd name="connsiteY18" fmla="*/ 60675 h 438531"/>
                  <a:gd name="connsiteX19" fmla="*/ 100965 w 3417666"/>
                  <a:gd name="connsiteY19" fmla="*/ 60675 h 438531"/>
                  <a:gd name="connsiteX20" fmla="*/ 100965 w 3417666"/>
                  <a:gd name="connsiteY20" fmla="*/ 72771 h 438531"/>
                  <a:gd name="connsiteX21" fmla="*/ 105156 w 3417666"/>
                  <a:gd name="connsiteY21" fmla="*/ 72771 h 438531"/>
                  <a:gd name="connsiteX22" fmla="*/ 105156 w 3417666"/>
                  <a:gd name="connsiteY22" fmla="*/ 78867 h 438531"/>
                  <a:gd name="connsiteX23" fmla="*/ 128302 w 3417666"/>
                  <a:gd name="connsiteY23" fmla="*/ 78867 h 438531"/>
                  <a:gd name="connsiteX24" fmla="*/ 128302 w 3417666"/>
                  <a:gd name="connsiteY24" fmla="*/ 84963 h 438531"/>
                  <a:gd name="connsiteX25" fmla="*/ 132493 w 3417666"/>
                  <a:gd name="connsiteY25" fmla="*/ 84963 h 438531"/>
                  <a:gd name="connsiteX26" fmla="*/ 132493 w 3417666"/>
                  <a:gd name="connsiteY26" fmla="*/ 90964 h 438531"/>
                  <a:gd name="connsiteX27" fmla="*/ 138780 w 3417666"/>
                  <a:gd name="connsiteY27" fmla="*/ 90964 h 438531"/>
                  <a:gd name="connsiteX28" fmla="*/ 138780 w 3417666"/>
                  <a:gd name="connsiteY28" fmla="*/ 103156 h 438531"/>
                  <a:gd name="connsiteX29" fmla="*/ 157734 w 3417666"/>
                  <a:gd name="connsiteY29" fmla="*/ 103156 h 438531"/>
                  <a:gd name="connsiteX30" fmla="*/ 157734 w 3417666"/>
                  <a:gd name="connsiteY30" fmla="*/ 109157 h 438531"/>
                  <a:gd name="connsiteX31" fmla="*/ 166116 w 3417666"/>
                  <a:gd name="connsiteY31" fmla="*/ 109157 h 438531"/>
                  <a:gd name="connsiteX32" fmla="*/ 166116 w 3417666"/>
                  <a:gd name="connsiteY32" fmla="*/ 115253 h 438531"/>
                  <a:gd name="connsiteX33" fmla="*/ 178785 w 3417666"/>
                  <a:gd name="connsiteY33" fmla="*/ 115253 h 438531"/>
                  <a:gd name="connsiteX34" fmla="*/ 178785 w 3417666"/>
                  <a:gd name="connsiteY34" fmla="*/ 121349 h 438531"/>
                  <a:gd name="connsiteX35" fmla="*/ 195644 w 3417666"/>
                  <a:gd name="connsiteY35" fmla="*/ 121349 h 438531"/>
                  <a:gd name="connsiteX36" fmla="*/ 195644 w 3417666"/>
                  <a:gd name="connsiteY36" fmla="*/ 127350 h 438531"/>
                  <a:gd name="connsiteX37" fmla="*/ 222981 w 3417666"/>
                  <a:gd name="connsiteY37" fmla="*/ 127350 h 438531"/>
                  <a:gd name="connsiteX38" fmla="*/ 222981 w 3417666"/>
                  <a:gd name="connsiteY38" fmla="*/ 133446 h 438531"/>
                  <a:gd name="connsiteX39" fmla="*/ 225076 w 3417666"/>
                  <a:gd name="connsiteY39" fmla="*/ 133446 h 438531"/>
                  <a:gd name="connsiteX40" fmla="*/ 225076 w 3417666"/>
                  <a:gd name="connsiteY40" fmla="*/ 139542 h 438531"/>
                  <a:gd name="connsiteX41" fmla="*/ 235553 w 3417666"/>
                  <a:gd name="connsiteY41" fmla="*/ 139542 h 438531"/>
                  <a:gd name="connsiteX42" fmla="*/ 235553 w 3417666"/>
                  <a:gd name="connsiteY42" fmla="*/ 145542 h 438531"/>
                  <a:gd name="connsiteX43" fmla="*/ 241840 w 3417666"/>
                  <a:gd name="connsiteY43" fmla="*/ 145542 h 438531"/>
                  <a:gd name="connsiteX44" fmla="*/ 241840 w 3417666"/>
                  <a:gd name="connsiteY44" fmla="*/ 157734 h 438531"/>
                  <a:gd name="connsiteX45" fmla="*/ 250317 w 3417666"/>
                  <a:gd name="connsiteY45" fmla="*/ 157734 h 438531"/>
                  <a:gd name="connsiteX46" fmla="*/ 250317 w 3417666"/>
                  <a:gd name="connsiteY46" fmla="*/ 163735 h 438531"/>
                  <a:gd name="connsiteX47" fmla="*/ 256604 w 3417666"/>
                  <a:gd name="connsiteY47" fmla="*/ 163735 h 438531"/>
                  <a:gd name="connsiteX48" fmla="*/ 256604 w 3417666"/>
                  <a:gd name="connsiteY48" fmla="*/ 175927 h 438531"/>
                  <a:gd name="connsiteX49" fmla="*/ 258699 w 3417666"/>
                  <a:gd name="connsiteY49" fmla="*/ 175927 h 438531"/>
                  <a:gd name="connsiteX50" fmla="*/ 258699 w 3417666"/>
                  <a:gd name="connsiteY50" fmla="*/ 182023 h 438531"/>
                  <a:gd name="connsiteX51" fmla="*/ 271272 w 3417666"/>
                  <a:gd name="connsiteY51" fmla="*/ 182023 h 438531"/>
                  <a:gd name="connsiteX52" fmla="*/ 271272 w 3417666"/>
                  <a:gd name="connsiteY52" fmla="*/ 188024 h 438531"/>
                  <a:gd name="connsiteX53" fmla="*/ 294418 w 3417666"/>
                  <a:gd name="connsiteY53" fmla="*/ 188024 h 438531"/>
                  <a:gd name="connsiteX54" fmla="*/ 294418 w 3417666"/>
                  <a:gd name="connsiteY54" fmla="*/ 194120 h 438531"/>
                  <a:gd name="connsiteX55" fmla="*/ 300800 w 3417666"/>
                  <a:gd name="connsiteY55" fmla="*/ 194120 h 438531"/>
                  <a:gd name="connsiteX56" fmla="*/ 300800 w 3417666"/>
                  <a:gd name="connsiteY56" fmla="*/ 200216 h 438531"/>
                  <a:gd name="connsiteX57" fmla="*/ 309182 w 3417666"/>
                  <a:gd name="connsiteY57" fmla="*/ 200216 h 438531"/>
                  <a:gd name="connsiteX58" fmla="*/ 309182 w 3417666"/>
                  <a:gd name="connsiteY58" fmla="*/ 206217 h 438531"/>
                  <a:gd name="connsiteX59" fmla="*/ 317564 w 3417666"/>
                  <a:gd name="connsiteY59" fmla="*/ 206217 h 438531"/>
                  <a:gd name="connsiteX60" fmla="*/ 317564 w 3417666"/>
                  <a:gd name="connsiteY60" fmla="*/ 212313 h 438531"/>
                  <a:gd name="connsiteX61" fmla="*/ 321755 w 3417666"/>
                  <a:gd name="connsiteY61" fmla="*/ 212313 h 438531"/>
                  <a:gd name="connsiteX62" fmla="*/ 321755 w 3417666"/>
                  <a:gd name="connsiteY62" fmla="*/ 218409 h 438531"/>
                  <a:gd name="connsiteX63" fmla="*/ 395383 w 3417666"/>
                  <a:gd name="connsiteY63" fmla="*/ 218409 h 438531"/>
                  <a:gd name="connsiteX64" fmla="*/ 395383 w 3417666"/>
                  <a:gd name="connsiteY64" fmla="*/ 224409 h 438531"/>
                  <a:gd name="connsiteX65" fmla="*/ 416433 w 3417666"/>
                  <a:gd name="connsiteY65" fmla="*/ 224409 h 438531"/>
                  <a:gd name="connsiteX66" fmla="*/ 416433 w 3417666"/>
                  <a:gd name="connsiteY66" fmla="*/ 230505 h 438531"/>
                  <a:gd name="connsiteX67" fmla="*/ 422720 w 3417666"/>
                  <a:gd name="connsiteY67" fmla="*/ 230505 h 438531"/>
                  <a:gd name="connsiteX68" fmla="*/ 422720 w 3417666"/>
                  <a:gd name="connsiteY68" fmla="*/ 236601 h 438531"/>
                  <a:gd name="connsiteX69" fmla="*/ 464820 w 3417666"/>
                  <a:gd name="connsiteY69" fmla="*/ 236601 h 438531"/>
                  <a:gd name="connsiteX70" fmla="*/ 464820 w 3417666"/>
                  <a:gd name="connsiteY70" fmla="*/ 242602 h 438531"/>
                  <a:gd name="connsiteX71" fmla="*/ 479489 w 3417666"/>
                  <a:gd name="connsiteY71" fmla="*/ 242602 h 438531"/>
                  <a:gd name="connsiteX72" fmla="*/ 479489 w 3417666"/>
                  <a:gd name="connsiteY72" fmla="*/ 248698 h 438531"/>
                  <a:gd name="connsiteX73" fmla="*/ 509016 w 3417666"/>
                  <a:gd name="connsiteY73" fmla="*/ 248698 h 438531"/>
                  <a:gd name="connsiteX74" fmla="*/ 509016 w 3417666"/>
                  <a:gd name="connsiteY74" fmla="*/ 254794 h 438531"/>
                  <a:gd name="connsiteX75" fmla="*/ 511112 w 3417666"/>
                  <a:gd name="connsiteY75" fmla="*/ 254794 h 438531"/>
                  <a:gd name="connsiteX76" fmla="*/ 511112 w 3417666"/>
                  <a:gd name="connsiteY76" fmla="*/ 260795 h 438531"/>
                  <a:gd name="connsiteX77" fmla="*/ 534162 w 3417666"/>
                  <a:gd name="connsiteY77" fmla="*/ 260795 h 438531"/>
                  <a:gd name="connsiteX78" fmla="*/ 534162 w 3417666"/>
                  <a:gd name="connsiteY78" fmla="*/ 266891 h 438531"/>
                  <a:gd name="connsiteX79" fmla="*/ 546831 w 3417666"/>
                  <a:gd name="connsiteY79" fmla="*/ 266891 h 438531"/>
                  <a:gd name="connsiteX80" fmla="*/ 546831 w 3417666"/>
                  <a:gd name="connsiteY80" fmla="*/ 272987 h 438531"/>
                  <a:gd name="connsiteX81" fmla="*/ 582549 w 3417666"/>
                  <a:gd name="connsiteY81" fmla="*/ 272987 h 438531"/>
                  <a:gd name="connsiteX82" fmla="*/ 582549 w 3417666"/>
                  <a:gd name="connsiteY82" fmla="*/ 279083 h 438531"/>
                  <a:gd name="connsiteX83" fmla="*/ 698278 w 3417666"/>
                  <a:gd name="connsiteY83" fmla="*/ 279083 h 438531"/>
                  <a:gd name="connsiteX84" fmla="*/ 698278 w 3417666"/>
                  <a:gd name="connsiteY84" fmla="*/ 285084 h 438531"/>
                  <a:gd name="connsiteX85" fmla="*/ 736092 w 3417666"/>
                  <a:gd name="connsiteY85" fmla="*/ 285084 h 438531"/>
                  <a:gd name="connsiteX86" fmla="*/ 736092 w 3417666"/>
                  <a:gd name="connsiteY86" fmla="*/ 291275 h 438531"/>
                  <a:gd name="connsiteX87" fmla="*/ 788670 w 3417666"/>
                  <a:gd name="connsiteY87" fmla="*/ 291275 h 438531"/>
                  <a:gd name="connsiteX88" fmla="*/ 788670 w 3417666"/>
                  <a:gd name="connsiteY88" fmla="*/ 297371 h 438531"/>
                  <a:gd name="connsiteX89" fmla="*/ 807625 w 3417666"/>
                  <a:gd name="connsiteY89" fmla="*/ 297371 h 438531"/>
                  <a:gd name="connsiteX90" fmla="*/ 807625 w 3417666"/>
                  <a:gd name="connsiteY90" fmla="*/ 303467 h 438531"/>
                  <a:gd name="connsiteX91" fmla="*/ 818103 w 3417666"/>
                  <a:gd name="connsiteY91" fmla="*/ 303467 h 438531"/>
                  <a:gd name="connsiteX92" fmla="*/ 818103 w 3417666"/>
                  <a:gd name="connsiteY92" fmla="*/ 309658 h 438531"/>
                  <a:gd name="connsiteX93" fmla="*/ 851821 w 3417666"/>
                  <a:gd name="connsiteY93" fmla="*/ 309658 h 438531"/>
                  <a:gd name="connsiteX94" fmla="*/ 851821 w 3417666"/>
                  <a:gd name="connsiteY94" fmla="*/ 315754 h 438531"/>
                  <a:gd name="connsiteX95" fmla="*/ 858108 w 3417666"/>
                  <a:gd name="connsiteY95" fmla="*/ 315754 h 438531"/>
                  <a:gd name="connsiteX96" fmla="*/ 858108 w 3417666"/>
                  <a:gd name="connsiteY96" fmla="*/ 321850 h 438531"/>
                  <a:gd name="connsiteX97" fmla="*/ 872776 w 3417666"/>
                  <a:gd name="connsiteY97" fmla="*/ 321850 h 438531"/>
                  <a:gd name="connsiteX98" fmla="*/ 872776 w 3417666"/>
                  <a:gd name="connsiteY98" fmla="*/ 327946 h 438531"/>
                  <a:gd name="connsiteX99" fmla="*/ 885444 w 3417666"/>
                  <a:gd name="connsiteY99" fmla="*/ 327946 h 438531"/>
                  <a:gd name="connsiteX100" fmla="*/ 885444 w 3417666"/>
                  <a:gd name="connsiteY100" fmla="*/ 334137 h 438531"/>
                  <a:gd name="connsiteX101" fmla="*/ 910686 w 3417666"/>
                  <a:gd name="connsiteY101" fmla="*/ 334137 h 438531"/>
                  <a:gd name="connsiteX102" fmla="*/ 910686 w 3417666"/>
                  <a:gd name="connsiteY102" fmla="*/ 340233 h 438531"/>
                  <a:gd name="connsiteX103" fmla="*/ 1139952 w 3417666"/>
                  <a:gd name="connsiteY103" fmla="*/ 340233 h 438531"/>
                  <a:gd name="connsiteX104" fmla="*/ 1139952 w 3417666"/>
                  <a:gd name="connsiteY104" fmla="*/ 346425 h 438531"/>
                  <a:gd name="connsiteX105" fmla="*/ 1253490 w 3417666"/>
                  <a:gd name="connsiteY105" fmla="*/ 346425 h 438531"/>
                  <a:gd name="connsiteX106" fmla="*/ 1253490 w 3417666"/>
                  <a:gd name="connsiteY106" fmla="*/ 352616 h 438531"/>
                  <a:gd name="connsiteX107" fmla="*/ 1522667 w 3417666"/>
                  <a:gd name="connsiteY107" fmla="*/ 352616 h 438531"/>
                  <a:gd name="connsiteX108" fmla="*/ 1522667 w 3417666"/>
                  <a:gd name="connsiteY108" fmla="*/ 358902 h 438531"/>
                  <a:gd name="connsiteX109" fmla="*/ 1596295 w 3417666"/>
                  <a:gd name="connsiteY109" fmla="*/ 358902 h 438531"/>
                  <a:gd name="connsiteX110" fmla="*/ 1596295 w 3417666"/>
                  <a:gd name="connsiteY110" fmla="*/ 365189 h 438531"/>
                  <a:gd name="connsiteX111" fmla="*/ 1676210 w 3417666"/>
                  <a:gd name="connsiteY111" fmla="*/ 365189 h 438531"/>
                  <a:gd name="connsiteX112" fmla="*/ 1676210 w 3417666"/>
                  <a:gd name="connsiteY112" fmla="*/ 371475 h 438531"/>
                  <a:gd name="connsiteX113" fmla="*/ 1838135 w 3417666"/>
                  <a:gd name="connsiteY113" fmla="*/ 371475 h 438531"/>
                  <a:gd name="connsiteX114" fmla="*/ 1838135 w 3417666"/>
                  <a:gd name="connsiteY114" fmla="*/ 377952 h 438531"/>
                  <a:gd name="connsiteX115" fmla="*/ 1854994 w 3417666"/>
                  <a:gd name="connsiteY115" fmla="*/ 377952 h 438531"/>
                  <a:gd name="connsiteX116" fmla="*/ 1854994 w 3417666"/>
                  <a:gd name="connsiteY116" fmla="*/ 384334 h 438531"/>
                  <a:gd name="connsiteX117" fmla="*/ 1972818 w 3417666"/>
                  <a:gd name="connsiteY117" fmla="*/ 384334 h 438531"/>
                  <a:gd name="connsiteX118" fmla="*/ 1972818 w 3417666"/>
                  <a:gd name="connsiteY118" fmla="*/ 390811 h 438531"/>
                  <a:gd name="connsiteX119" fmla="*/ 2065306 w 3417666"/>
                  <a:gd name="connsiteY119" fmla="*/ 390811 h 438531"/>
                  <a:gd name="connsiteX120" fmla="*/ 2065306 w 3417666"/>
                  <a:gd name="connsiteY120" fmla="*/ 397193 h 438531"/>
                  <a:gd name="connsiteX121" fmla="*/ 2084261 w 3417666"/>
                  <a:gd name="connsiteY121" fmla="*/ 397193 h 438531"/>
                  <a:gd name="connsiteX122" fmla="*/ 2084261 w 3417666"/>
                  <a:gd name="connsiteY122" fmla="*/ 403670 h 438531"/>
                  <a:gd name="connsiteX123" fmla="*/ 2938082 w 3417666"/>
                  <a:gd name="connsiteY123" fmla="*/ 403670 h 438531"/>
                  <a:gd name="connsiteX124" fmla="*/ 2938082 w 3417666"/>
                  <a:gd name="connsiteY124" fmla="*/ 438531 h 438531"/>
                  <a:gd name="connsiteX125" fmla="*/ 3417666 w 3417666"/>
                  <a:gd name="connsiteY125" fmla="*/ 438531 h 438531"/>
                  <a:gd name="connsiteX0" fmla="*/ 0 w 3417666"/>
                  <a:gd name="connsiteY0" fmla="*/ 0 h 438531"/>
                  <a:gd name="connsiteX1" fmla="*/ 4191 w 3417666"/>
                  <a:gd name="connsiteY1" fmla="*/ 0 h 438531"/>
                  <a:gd name="connsiteX2" fmla="*/ 16860 w 3417666"/>
                  <a:gd name="connsiteY2" fmla="*/ 6096 h 438531"/>
                  <a:gd name="connsiteX3" fmla="*/ 16860 w 3417666"/>
                  <a:gd name="connsiteY3" fmla="*/ 12097 h 438531"/>
                  <a:gd name="connsiteX4" fmla="*/ 46292 w 3417666"/>
                  <a:gd name="connsiteY4" fmla="*/ 12097 h 438531"/>
                  <a:gd name="connsiteX5" fmla="*/ 46292 w 3417666"/>
                  <a:gd name="connsiteY5" fmla="*/ 18193 h 438531"/>
                  <a:gd name="connsiteX6" fmla="*/ 54674 w 3417666"/>
                  <a:gd name="connsiteY6" fmla="*/ 18193 h 438531"/>
                  <a:gd name="connsiteX7" fmla="*/ 54674 w 3417666"/>
                  <a:gd name="connsiteY7" fmla="*/ 24289 h 438531"/>
                  <a:gd name="connsiteX8" fmla="*/ 56769 w 3417666"/>
                  <a:gd name="connsiteY8" fmla="*/ 24289 h 438531"/>
                  <a:gd name="connsiteX9" fmla="*/ 56769 w 3417666"/>
                  <a:gd name="connsiteY9" fmla="*/ 30290 h 438531"/>
                  <a:gd name="connsiteX10" fmla="*/ 71533 w 3417666"/>
                  <a:gd name="connsiteY10" fmla="*/ 30290 h 438531"/>
                  <a:gd name="connsiteX11" fmla="*/ 71533 w 3417666"/>
                  <a:gd name="connsiteY11" fmla="*/ 42482 h 438531"/>
                  <a:gd name="connsiteX12" fmla="*/ 73629 w 3417666"/>
                  <a:gd name="connsiteY12" fmla="*/ 42482 h 438531"/>
                  <a:gd name="connsiteX13" fmla="*/ 73629 w 3417666"/>
                  <a:gd name="connsiteY13" fmla="*/ 48483 h 438531"/>
                  <a:gd name="connsiteX14" fmla="*/ 79915 w 3417666"/>
                  <a:gd name="connsiteY14" fmla="*/ 48483 h 438531"/>
                  <a:gd name="connsiteX15" fmla="*/ 79915 w 3417666"/>
                  <a:gd name="connsiteY15" fmla="*/ 54579 h 438531"/>
                  <a:gd name="connsiteX16" fmla="*/ 84106 w 3417666"/>
                  <a:gd name="connsiteY16" fmla="*/ 54579 h 438531"/>
                  <a:gd name="connsiteX17" fmla="*/ 84106 w 3417666"/>
                  <a:gd name="connsiteY17" fmla="*/ 60675 h 438531"/>
                  <a:gd name="connsiteX18" fmla="*/ 100965 w 3417666"/>
                  <a:gd name="connsiteY18" fmla="*/ 60675 h 438531"/>
                  <a:gd name="connsiteX19" fmla="*/ 100965 w 3417666"/>
                  <a:gd name="connsiteY19" fmla="*/ 72771 h 438531"/>
                  <a:gd name="connsiteX20" fmla="*/ 105156 w 3417666"/>
                  <a:gd name="connsiteY20" fmla="*/ 72771 h 438531"/>
                  <a:gd name="connsiteX21" fmla="*/ 105156 w 3417666"/>
                  <a:gd name="connsiteY21" fmla="*/ 78867 h 438531"/>
                  <a:gd name="connsiteX22" fmla="*/ 128302 w 3417666"/>
                  <a:gd name="connsiteY22" fmla="*/ 78867 h 438531"/>
                  <a:gd name="connsiteX23" fmla="*/ 128302 w 3417666"/>
                  <a:gd name="connsiteY23" fmla="*/ 84963 h 438531"/>
                  <a:gd name="connsiteX24" fmla="*/ 132493 w 3417666"/>
                  <a:gd name="connsiteY24" fmla="*/ 84963 h 438531"/>
                  <a:gd name="connsiteX25" fmla="*/ 132493 w 3417666"/>
                  <a:gd name="connsiteY25" fmla="*/ 90964 h 438531"/>
                  <a:gd name="connsiteX26" fmla="*/ 138780 w 3417666"/>
                  <a:gd name="connsiteY26" fmla="*/ 90964 h 438531"/>
                  <a:gd name="connsiteX27" fmla="*/ 138780 w 3417666"/>
                  <a:gd name="connsiteY27" fmla="*/ 103156 h 438531"/>
                  <a:gd name="connsiteX28" fmla="*/ 157734 w 3417666"/>
                  <a:gd name="connsiteY28" fmla="*/ 103156 h 438531"/>
                  <a:gd name="connsiteX29" fmla="*/ 157734 w 3417666"/>
                  <a:gd name="connsiteY29" fmla="*/ 109157 h 438531"/>
                  <a:gd name="connsiteX30" fmla="*/ 166116 w 3417666"/>
                  <a:gd name="connsiteY30" fmla="*/ 109157 h 438531"/>
                  <a:gd name="connsiteX31" fmla="*/ 166116 w 3417666"/>
                  <a:gd name="connsiteY31" fmla="*/ 115253 h 438531"/>
                  <a:gd name="connsiteX32" fmla="*/ 178785 w 3417666"/>
                  <a:gd name="connsiteY32" fmla="*/ 115253 h 438531"/>
                  <a:gd name="connsiteX33" fmla="*/ 178785 w 3417666"/>
                  <a:gd name="connsiteY33" fmla="*/ 121349 h 438531"/>
                  <a:gd name="connsiteX34" fmla="*/ 195644 w 3417666"/>
                  <a:gd name="connsiteY34" fmla="*/ 121349 h 438531"/>
                  <a:gd name="connsiteX35" fmla="*/ 195644 w 3417666"/>
                  <a:gd name="connsiteY35" fmla="*/ 127350 h 438531"/>
                  <a:gd name="connsiteX36" fmla="*/ 222981 w 3417666"/>
                  <a:gd name="connsiteY36" fmla="*/ 127350 h 438531"/>
                  <a:gd name="connsiteX37" fmla="*/ 222981 w 3417666"/>
                  <a:gd name="connsiteY37" fmla="*/ 133446 h 438531"/>
                  <a:gd name="connsiteX38" fmla="*/ 225076 w 3417666"/>
                  <a:gd name="connsiteY38" fmla="*/ 133446 h 438531"/>
                  <a:gd name="connsiteX39" fmla="*/ 225076 w 3417666"/>
                  <a:gd name="connsiteY39" fmla="*/ 139542 h 438531"/>
                  <a:gd name="connsiteX40" fmla="*/ 235553 w 3417666"/>
                  <a:gd name="connsiteY40" fmla="*/ 139542 h 438531"/>
                  <a:gd name="connsiteX41" fmla="*/ 235553 w 3417666"/>
                  <a:gd name="connsiteY41" fmla="*/ 145542 h 438531"/>
                  <a:gd name="connsiteX42" fmla="*/ 241840 w 3417666"/>
                  <a:gd name="connsiteY42" fmla="*/ 145542 h 438531"/>
                  <a:gd name="connsiteX43" fmla="*/ 241840 w 3417666"/>
                  <a:gd name="connsiteY43" fmla="*/ 157734 h 438531"/>
                  <a:gd name="connsiteX44" fmla="*/ 250317 w 3417666"/>
                  <a:gd name="connsiteY44" fmla="*/ 157734 h 438531"/>
                  <a:gd name="connsiteX45" fmla="*/ 250317 w 3417666"/>
                  <a:gd name="connsiteY45" fmla="*/ 163735 h 438531"/>
                  <a:gd name="connsiteX46" fmla="*/ 256604 w 3417666"/>
                  <a:gd name="connsiteY46" fmla="*/ 163735 h 438531"/>
                  <a:gd name="connsiteX47" fmla="*/ 256604 w 3417666"/>
                  <a:gd name="connsiteY47" fmla="*/ 175927 h 438531"/>
                  <a:gd name="connsiteX48" fmla="*/ 258699 w 3417666"/>
                  <a:gd name="connsiteY48" fmla="*/ 175927 h 438531"/>
                  <a:gd name="connsiteX49" fmla="*/ 258699 w 3417666"/>
                  <a:gd name="connsiteY49" fmla="*/ 182023 h 438531"/>
                  <a:gd name="connsiteX50" fmla="*/ 271272 w 3417666"/>
                  <a:gd name="connsiteY50" fmla="*/ 182023 h 438531"/>
                  <a:gd name="connsiteX51" fmla="*/ 271272 w 3417666"/>
                  <a:gd name="connsiteY51" fmla="*/ 188024 h 438531"/>
                  <a:gd name="connsiteX52" fmla="*/ 294418 w 3417666"/>
                  <a:gd name="connsiteY52" fmla="*/ 188024 h 438531"/>
                  <a:gd name="connsiteX53" fmla="*/ 294418 w 3417666"/>
                  <a:gd name="connsiteY53" fmla="*/ 194120 h 438531"/>
                  <a:gd name="connsiteX54" fmla="*/ 300800 w 3417666"/>
                  <a:gd name="connsiteY54" fmla="*/ 194120 h 438531"/>
                  <a:gd name="connsiteX55" fmla="*/ 300800 w 3417666"/>
                  <a:gd name="connsiteY55" fmla="*/ 200216 h 438531"/>
                  <a:gd name="connsiteX56" fmla="*/ 309182 w 3417666"/>
                  <a:gd name="connsiteY56" fmla="*/ 200216 h 438531"/>
                  <a:gd name="connsiteX57" fmla="*/ 309182 w 3417666"/>
                  <a:gd name="connsiteY57" fmla="*/ 206217 h 438531"/>
                  <a:gd name="connsiteX58" fmla="*/ 317564 w 3417666"/>
                  <a:gd name="connsiteY58" fmla="*/ 206217 h 438531"/>
                  <a:gd name="connsiteX59" fmla="*/ 317564 w 3417666"/>
                  <a:gd name="connsiteY59" fmla="*/ 212313 h 438531"/>
                  <a:gd name="connsiteX60" fmla="*/ 321755 w 3417666"/>
                  <a:gd name="connsiteY60" fmla="*/ 212313 h 438531"/>
                  <a:gd name="connsiteX61" fmla="*/ 321755 w 3417666"/>
                  <a:gd name="connsiteY61" fmla="*/ 218409 h 438531"/>
                  <a:gd name="connsiteX62" fmla="*/ 395383 w 3417666"/>
                  <a:gd name="connsiteY62" fmla="*/ 218409 h 438531"/>
                  <a:gd name="connsiteX63" fmla="*/ 395383 w 3417666"/>
                  <a:gd name="connsiteY63" fmla="*/ 224409 h 438531"/>
                  <a:gd name="connsiteX64" fmla="*/ 416433 w 3417666"/>
                  <a:gd name="connsiteY64" fmla="*/ 224409 h 438531"/>
                  <a:gd name="connsiteX65" fmla="*/ 416433 w 3417666"/>
                  <a:gd name="connsiteY65" fmla="*/ 230505 h 438531"/>
                  <a:gd name="connsiteX66" fmla="*/ 422720 w 3417666"/>
                  <a:gd name="connsiteY66" fmla="*/ 230505 h 438531"/>
                  <a:gd name="connsiteX67" fmla="*/ 422720 w 3417666"/>
                  <a:gd name="connsiteY67" fmla="*/ 236601 h 438531"/>
                  <a:gd name="connsiteX68" fmla="*/ 464820 w 3417666"/>
                  <a:gd name="connsiteY68" fmla="*/ 236601 h 438531"/>
                  <a:gd name="connsiteX69" fmla="*/ 464820 w 3417666"/>
                  <a:gd name="connsiteY69" fmla="*/ 242602 h 438531"/>
                  <a:gd name="connsiteX70" fmla="*/ 479489 w 3417666"/>
                  <a:gd name="connsiteY70" fmla="*/ 242602 h 438531"/>
                  <a:gd name="connsiteX71" fmla="*/ 479489 w 3417666"/>
                  <a:gd name="connsiteY71" fmla="*/ 248698 h 438531"/>
                  <a:gd name="connsiteX72" fmla="*/ 509016 w 3417666"/>
                  <a:gd name="connsiteY72" fmla="*/ 248698 h 438531"/>
                  <a:gd name="connsiteX73" fmla="*/ 509016 w 3417666"/>
                  <a:gd name="connsiteY73" fmla="*/ 254794 h 438531"/>
                  <a:gd name="connsiteX74" fmla="*/ 511112 w 3417666"/>
                  <a:gd name="connsiteY74" fmla="*/ 254794 h 438531"/>
                  <a:gd name="connsiteX75" fmla="*/ 511112 w 3417666"/>
                  <a:gd name="connsiteY75" fmla="*/ 260795 h 438531"/>
                  <a:gd name="connsiteX76" fmla="*/ 534162 w 3417666"/>
                  <a:gd name="connsiteY76" fmla="*/ 260795 h 438531"/>
                  <a:gd name="connsiteX77" fmla="*/ 534162 w 3417666"/>
                  <a:gd name="connsiteY77" fmla="*/ 266891 h 438531"/>
                  <a:gd name="connsiteX78" fmla="*/ 546831 w 3417666"/>
                  <a:gd name="connsiteY78" fmla="*/ 266891 h 438531"/>
                  <a:gd name="connsiteX79" fmla="*/ 546831 w 3417666"/>
                  <a:gd name="connsiteY79" fmla="*/ 272987 h 438531"/>
                  <a:gd name="connsiteX80" fmla="*/ 582549 w 3417666"/>
                  <a:gd name="connsiteY80" fmla="*/ 272987 h 438531"/>
                  <a:gd name="connsiteX81" fmla="*/ 582549 w 3417666"/>
                  <a:gd name="connsiteY81" fmla="*/ 279083 h 438531"/>
                  <a:gd name="connsiteX82" fmla="*/ 698278 w 3417666"/>
                  <a:gd name="connsiteY82" fmla="*/ 279083 h 438531"/>
                  <a:gd name="connsiteX83" fmla="*/ 698278 w 3417666"/>
                  <a:gd name="connsiteY83" fmla="*/ 285084 h 438531"/>
                  <a:gd name="connsiteX84" fmla="*/ 736092 w 3417666"/>
                  <a:gd name="connsiteY84" fmla="*/ 285084 h 438531"/>
                  <a:gd name="connsiteX85" fmla="*/ 736092 w 3417666"/>
                  <a:gd name="connsiteY85" fmla="*/ 291275 h 438531"/>
                  <a:gd name="connsiteX86" fmla="*/ 788670 w 3417666"/>
                  <a:gd name="connsiteY86" fmla="*/ 291275 h 438531"/>
                  <a:gd name="connsiteX87" fmla="*/ 788670 w 3417666"/>
                  <a:gd name="connsiteY87" fmla="*/ 297371 h 438531"/>
                  <a:gd name="connsiteX88" fmla="*/ 807625 w 3417666"/>
                  <a:gd name="connsiteY88" fmla="*/ 297371 h 438531"/>
                  <a:gd name="connsiteX89" fmla="*/ 807625 w 3417666"/>
                  <a:gd name="connsiteY89" fmla="*/ 303467 h 438531"/>
                  <a:gd name="connsiteX90" fmla="*/ 818103 w 3417666"/>
                  <a:gd name="connsiteY90" fmla="*/ 303467 h 438531"/>
                  <a:gd name="connsiteX91" fmla="*/ 818103 w 3417666"/>
                  <a:gd name="connsiteY91" fmla="*/ 309658 h 438531"/>
                  <a:gd name="connsiteX92" fmla="*/ 851821 w 3417666"/>
                  <a:gd name="connsiteY92" fmla="*/ 309658 h 438531"/>
                  <a:gd name="connsiteX93" fmla="*/ 851821 w 3417666"/>
                  <a:gd name="connsiteY93" fmla="*/ 315754 h 438531"/>
                  <a:gd name="connsiteX94" fmla="*/ 858108 w 3417666"/>
                  <a:gd name="connsiteY94" fmla="*/ 315754 h 438531"/>
                  <a:gd name="connsiteX95" fmla="*/ 858108 w 3417666"/>
                  <a:gd name="connsiteY95" fmla="*/ 321850 h 438531"/>
                  <a:gd name="connsiteX96" fmla="*/ 872776 w 3417666"/>
                  <a:gd name="connsiteY96" fmla="*/ 321850 h 438531"/>
                  <a:gd name="connsiteX97" fmla="*/ 872776 w 3417666"/>
                  <a:gd name="connsiteY97" fmla="*/ 327946 h 438531"/>
                  <a:gd name="connsiteX98" fmla="*/ 885444 w 3417666"/>
                  <a:gd name="connsiteY98" fmla="*/ 327946 h 438531"/>
                  <a:gd name="connsiteX99" fmla="*/ 885444 w 3417666"/>
                  <a:gd name="connsiteY99" fmla="*/ 334137 h 438531"/>
                  <a:gd name="connsiteX100" fmla="*/ 910686 w 3417666"/>
                  <a:gd name="connsiteY100" fmla="*/ 334137 h 438531"/>
                  <a:gd name="connsiteX101" fmla="*/ 910686 w 3417666"/>
                  <a:gd name="connsiteY101" fmla="*/ 340233 h 438531"/>
                  <a:gd name="connsiteX102" fmla="*/ 1139952 w 3417666"/>
                  <a:gd name="connsiteY102" fmla="*/ 340233 h 438531"/>
                  <a:gd name="connsiteX103" fmla="*/ 1139952 w 3417666"/>
                  <a:gd name="connsiteY103" fmla="*/ 346425 h 438531"/>
                  <a:gd name="connsiteX104" fmla="*/ 1253490 w 3417666"/>
                  <a:gd name="connsiteY104" fmla="*/ 346425 h 438531"/>
                  <a:gd name="connsiteX105" fmla="*/ 1253490 w 3417666"/>
                  <a:gd name="connsiteY105" fmla="*/ 352616 h 438531"/>
                  <a:gd name="connsiteX106" fmla="*/ 1522667 w 3417666"/>
                  <a:gd name="connsiteY106" fmla="*/ 352616 h 438531"/>
                  <a:gd name="connsiteX107" fmla="*/ 1522667 w 3417666"/>
                  <a:gd name="connsiteY107" fmla="*/ 358902 h 438531"/>
                  <a:gd name="connsiteX108" fmla="*/ 1596295 w 3417666"/>
                  <a:gd name="connsiteY108" fmla="*/ 358902 h 438531"/>
                  <a:gd name="connsiteX109" fmla="*/ 1596295 w 3417666"/>
                  <a:gd name="connsiteY109" fmla="*/ 365189 h 438531"/>
                  <a:gd name="connsiteX110" fmla="*/ 1676210 w 3417666"/>
                  <a:gd name="connsiteY110" fmla="*/ 365189 h 438531"/>
                  <a:gd name="connsiteX111" fmla="*/ 1676210 w 3417666"/>
                  <a:gd name="connsiteY111" fmla="*/ 371475 h 438531"/>
                  <a:gd name="connsiteX112" fmla="*/ 1838135 w 3417666"/>
                  <a:gd name="connsiteY112" fmla="*/ 371475 h 438531"/>
                  <a:gd name="connsiteX113" fmla="*/ 1838135 w 3417666"/>
                  <a:gd name="connsiteY113" fmla="*/ 377952 h 438531"/>
                  <a:gd name="connsiteX114" fmla="*/ 1854994 w 3417666"/>
                  <a:gd name="connsiteY114" fmla="*/ 377952 h 438531"/>
                  <a:gd name="connsiteX115" fmla="*/ 1854994 w 3417666"/>
                  <a:gd name="connsiteY115" fmla="*/ 384334 h 438531"/>
                  <a:gd name="connsiteX116" fmla="*/ 1972818 w 3417666"/>
                  <a:gd name="connsiteY116" fmla="*/ 384334 h 438531"/>
                  <a:gd name="connsiteX117" fmla="*/ 1972818 w 3417666"/>
                  <a:gd name="connsiteY117" fmla="*/ 390811 h 438531"/>
                  <a:gd name="connsiteX118" fmla="*/ 2065306 w 3417666"/>
                  <a:gd name="connsiteY118" fmla="*/ 390811 h 438531"/>
                  <a:gd name="connsiteX119" fmla="*/ 2065306 w 3417666"/>
                  <a:gd name="connsiteY119" fmla="*/ 397193 h 438531"/>
                  <a:gd name="connsiteX120" fmla="*/ 2084261 w 3417666"/>
                  <a:gd name="connsiteY120" fmla="*/ 397193 h 438531"/>
                  <a:gd name="connsiteX121" fmla="*/ 2084261 w 3417666"/>
                  <a:gd name="connsiteY121" fmla="*/ 403670 h 438531"/>
                  <a:gd name="connsiteX122" fmla="*/ 2938082 w 3417666"/>
                  <a:gd name="connsiteY122" fmla="*/ 403670 h 438531"/>
                  <a:gd name="connsiteX123" fmla="*/ 2938082 w 3417666"/>
                  <a:gd name="connsiteY123" fmla="*/ 438531 h 438531"/>
                  <a:gd name="connsiteX124" fmla="*/ 3417666 w 3417666"/>
                  <a:gd name="connsiteY124" fmla="*/ 438531 h 438531"/>
                  <a:gd name="connsiteX0" fmla="*/ 0 w 3417666"/>
                  <a:gd name="connsiteY0" fmla="*/ 0 h 438531"/>
                  <a:gd name="connsiteX1" fmla="*/ 16860 w 3417666"/>
                  <a:gd name="connsiteY1" fmla="*/ 6096 h 438531"/>
                  <a:gd name="connsiteX2" fmla="*/ 16860 w 3417666"/>
                  <a:gd name="connsiteY2" fmla="*/ 12097 h 438531"/>
                  <a:gd name="connsiteX3" fmla="*/ 46292 w 3417666"/>
                  <a:gd name="connsiteY3" fmla="*/ 12097 h 438531"/>
                  <a:gd name="connsiteX4" fmla="*/ 46292 w 3417666"/>
                  <a:gd name="connsiteY4" fmla="*/ 18193 h 438531"/>
                  <a:gd name="connsiteX5" fmla="*/ 54674 w 3417666"/>
                  <a:gd name="connsiteY5" fmla="*/ 18193 h 438531"/>
                  <a:gd name="connsiteX6" fmla="*/ 54674 w 3417666"/>
                  <a:gd name="connsiteY6" fmla="*/ 24289 h 438531"/>
                  <a:gd name="connsiteX7" fmla="*/ 56769 w 3417666"/>
                  <a:gd name="connsiteY7" fmla="*/ 24289 h 438531"/>
                  <a:gd name="connsiteX8" fmla="*/ 56769 w 3417666"/>
                  <a:gd name="connsiteY8" fmla="*/ 30290 h 438531"/>
                  <a:gd name="connsiteX9" fmla="*/ 71533 w 3417666"/>
                  <a:gd name="connsiteY9" fmla="*/ 30290 h 438531"/>
                  <a:gd name="connsiteX10" fmla="*/ 71533 w 3417666"/>
                  <a:gd name="connsiteY10" fmla="*/ 42482 h 438531"/>
                  <a:gd name="connsiteX11" fmla="*/ 73629 w 3417666"/>
                  <a:gd name="connsiteY11" fmla="*/ 42482 h 438531"/>
                  <a:gd name="connsiteX12" fmla="*/ 73629 w 3417666"/>
                  <a:gd name="connsiteY12" fmla="*/ 48483 h 438531"/>
                  <a:gd name="connsiteX13" fmla="*/ 79915 w 3417666"/>
                  <a:gd name="connsiteY13" fmla="*/ 48483 h 438531"/>
                  <a:gd name="connsiteX14" fmla="*/ 79915 w 3417666"/>
                  <a:gd name="connsiteY14" fmla="*/ 54579 h 438531"/>
                  <a:gd name="connsiteX15" fmla="*/ 84106 w 3417666"/>
                  <a:gd name="connsiteY15" fmla="*/ 54579 h 438531"/>
                  <a:gd name="connsiteX16" fmla="*/ 84106 w 3417666"/>
                  <a:gd name="connsiteY16" fmla="*/ 60675 h 438531"/>
                  <a:gd name="connsiteX17" fmla="*/ 100965 w 3417666"/>
                  <a:gd name="connsiteY17" fmla="*/ 60675 h 438531"/>
                  <a:gd name="connsiteX18" fmla="*/ 100965 w 3417666"/>
                  <a:gd name="connsiteY18" fmla="*/ 72771 h 438531"/>
                  <a:gd name="connsiteX19" fmla="*/ 105156 w 3417666"/>
                  <a:gd name="connsiteY19" fmla="*/ 72771 h 438531"/>
                  <a:gd name="connsiteX20" fmla="*/ 105156 w 3417666"/>
                  <a:gd name="connsiteY20" fmla="*/ 78867 h 438531"/>
                  <a:gd name="connsiteX21" fmla="*/ 128302 w 3417666"/>
                  <a:gd name="connsiteY21" fmla="*/ 78867 h 438531"/>
                  <a:gd name="connsiteX22" fmla="*/ 128302 w 3417666"/>
                  <a:gd name="connsiteY22" fmla="*/ 84963 h 438531"/>
                  <a:gd name="connsiteX23" fmla="*/ 132493 w 3417666"/>
                  <a:gd name="connsiteY23" fmla="*/ 84963 h 438531"/>
                  <a:gd name="connsiteX24" fmla="*/ 132493 w 3417666"/>
                  <a:gd name="connsiteY24" fmla="*/ 90964 h 438531"/>
                  <a:gd name="connsiteX25" fmla="*/ 138780 w 3417666"/>
                  <a:gd name="connsiteY25" fmla="*/ 90964 h 438531"/>
                  <a:gd name="connsiteX26" fmla="*/ 138780 w 3417666"/>
                  <a:gd name="connsiteY26" fmla="*/ 103156 h 438531"/>
                  <a:gd name="connsiteX27" fmla="*/ 157734 w 3417666"/>
                  <a:gd name="connsiteY27" fmla="*/ 103156 h 438531"/>
                  <a:gd name="connsiteX28" fmla="*/ 157734 w 3417666"/>
                  <a:gd name="connsiteY28" fmla="*/ 109157 h 438531"/>
                  <a:gd name="connsiteX29" fmla="*/ 166116 w 3417666"/>
                  <a:gd name="connsiteY29" fmla="*/ 109157 h 438531"/>
                  <a:gd name="connsiteX30" fmla="*/ 166116 w 3417666"/>
                  <a:gd name="connsiteY30" fmla="*/ 115253 h 438531"/>
                  <a:gd name="connsiteX31" fmla="*/ 178785 w 3417666"/>
                  <a:gd name="connsiteY31" fmla="*/ 115253 h 438531"/>
                  <a:gd name="connsiteX32" fmla="*/ 178785 w 3417666"/>
                  <a:gd name="connsiteY32" fmla="*/ 121349 h 438531"/>
                  <a:gd name="connsiteX33" fmla="*/ 195644 w 3417666"/>
                  <a:gd name="connsiteY33" fmla="*/ 121349 h 438531"/>
                  <a:gd name="connsiteX34" fmla="*/ 195644 w 3417666"/>
                  <a:gd name="connsiteY34" fmla="*/ 127350 h 438531"/>
                  <a:gd name="connsiteX35" fmla="*/ 222981 w 3417666"/>
                  <a:gd name="connsiteY35" fmla="*/ 127350 h 438531"/>
                  <a:gd name="connsiteX36" fmla="*/ 222981 w 3417666"/>
                  <a:gd name="connsiteY36" fmla="*/ 133446 h 438531"/>
                  <a:gd name="connsiteX37" fmla="*/ 225076 w 3417666"/>
                  <a:gd name="connsiteY37" fmla="*/ 133446 h 438531"/>
                  <a:gd name="connsiteX38" fmla="*/ 225076 w 3417666"/>
                  <a:gd name="connsiteY38" fmla="*/ 139542 h 438531"/>
                  <a:gd name="connsiteX39" fmla="*/ 235553 w 3417666"/>
                  <a:gd name="connsiteY39" fmla="*/ 139542 h 438531"/>
                  <a:gd name="connsiteX40" fmla="*/ 235553 w 3417666"/>
                  <a:gd name="connsiteY40" fmla="*/ 145542 h 438531"/>
                  <a:gd name="connsiteX41" fmla="*/ 241840 w 3417666"/>
                  <a:gd name="connsiteY41" fmla="*/ 145542 h 438531"/>
                  <a:gd name="connsiteX42" fmla="*/ 241840 w 3417666"/>
                  <a:gd name="connsiteY42" fmla="*/ 157734 h 438531"/>
                  <a:gd name="connsiteX43" fmla="*/ 250317 w 3417666"/>
                  <a:gd name="connsiteY43" fmla="*/ 157734 h 438531"/>
                  <a:gd name="connsiteX44" fmla="*/ 250317 w 3417666"/>
                  <a:gd name="connsiteY44" fmla="*/ 163735 h 438531"/>
                  <a:gd name="connsiteX45" fmla="*/ 256604 w 3417666"/>
                  <a:gd name="connsiteY45" fmla="*/ 163735 h 438531"/>
                  <a:gd name="connsiteX46" fmla="*/ 256604 w 3417666"/>
                  <a:gd name="connsiteY46" fmla="*/ 175927 h 438531"/>
                  <a:gd name="connsiteX47" fmla="*/ 258699 w 3417666"/>
                  <a:gd name="connsiteY47" fmla="*/ 175927 h 438531"/>
                  <a:gd name="connsiteX48" fmla="*/ 258699 w 3417666"/>
                  <a:gd name="connsiteY48" fmla="*/ 182023 h 438531"/>
                  <a:gd name="connsiteX49" fmla="*/ 271272 w 3417666"/>
                  <a:gd name="connsiteY49" fmla="*/ 182023 h 438531"/>
                  <a:gd name="connsiteX50" fmla="*/ 271272 w 3417666"/>
                  <a:gd name="connsiteY50" fmla="*/ 188024 h 438531"/>
                  <a:gd name="connsiteX51" fmla="*/ 294418 w 3417666"/>
                  <a:gd name="connsiteY51" fmla="*/ 188024 h 438531"/>
                  <a:gd name="connsiteX52" fmla="*/ 294418 w 3417666"/>
                  <a:gd name="connsiteY52" fmla="*/ 194120 h 438531"/>
                  <a:gd name="connsiteX53" fmla="*/ 300800 w 3417666"/>
                  <a:gd name="connsiteY53" fmla="*/ 194120 h 438531"/>
                  <a:gd name="connsiteX54" fmla="*/ 300800 w 3417666"/>
                  <a:gd name="connsiteY54" fmla="*/ 200216 h 438531"/>
                  <a:gd name="connsiteX55" fmla="*/ 309182 w 3417666"/>
                  <a:gd name="connsiteY55" fmla="*/ 200216 h 438531"/>
                  <a:gd name="connsiteX56" fmla="*/ 309182 w 3417666"/>
                  <a:gd name="connsiteY56" fmla="*/ 206217 h 438531"/>
                  <a:gd name="connsiteX57" fmla="*/ 317564 w 3417666"/>
                  <a:gd name="connsiteY57" fmla="*/ 206217 h 438531"/>
                  <a:gd name="connsiteX58" fmla="*/ 317564 w 3417666"/>
                  <a:gd name="connsiteY58" fmla="*/ 212313 h 438531"/>
                  <a:gd name="connsiteX59" fmla="*/ 321755 w 3417666"/>
                  <a:gd name="connsiteY59" fmla="*/ 212313 h 438531"/>
                  <a:gd name="connsiteX60" fmla="*/ 321755 w 3417666"/>
                  <a:gd name="connsiteY60" fmla="*/ 218409 h 438531"/>
                  <a:gd name="connsiteX61" fmla="*/ 395383 w 3417666"/>
                  <a:gd name="connsiteY61" fmla="*/ 218409 h 438531"/>
                  <a:gd name="connsiteX62" fmla="*/ 395383 w 3417666"/>
                  <a:gd name="connsiteY62" fmla="*/ 224409 h 438531"/>
                  <a:gd name="connsiteX63" fmla="*/ 416433 w 3417666"/>
                  <a:gd name="connsiteY63" fmla="*/ 224409 h 438531"/>
                  <a:gd name="connsiteX64" fmla="*/ 416433 w 3417666"/>
                  <a:gd name="connsiteY64" fmla="*/ 230505 h 438531"/>
                  <a:gd name="connsiteX65" fmla="*/ 422720 w 3417666"/>
                  <a:gd name="connsiteY65" fmla="*/ 230505 h 438531"/>
                  <a:gd name="connsiteX66" fmla="*/ 422720 w 3417666"/>
                  <a:gd name="connsiteY66" fmla="*/ 236601 h 438531"/>
                  <a:gd name="connsiteX67" fmla="*/ 464820 w 3417666"/>
                  <a:gd name="connsiteY67" fmla="*/ 236601 h 438531"/>
                  <a:gd name="connsiteX68" fmla="*/ 464820 w 3417666"/>
                  <a:gd name="connsiteY68" fmla="*/ 242602 h 438531"/>
                  <a:gd name="connsiteX69" fmla="*/ 479489 w 3417666"/>
                  <a:gd name="connsiteY69" fmla="*/ 242602 h 438531"/>
                  <a:gd name="connsiteX70" fmla="*/ 479489 w 3417666"/>
                  <a:gd name="connsiteY70" fmla="*/ 248698 h 438531"/>
                  <a:gd name="connsiteX71" fmla="*/ 509016 w 3417666"/>
                  <a:gd name="connsiteY71" fmla="*/ 248698 h 438531"/>
                  <a:gd name="connsiteX72" fmla="*/ 509016 w 3417666"/>
                  <a:gd name="connsiteY72" fmla="*/ 254794 h 438531"/>
                  <a:gd name="connsiteX73" fmla="*/ 511112 w 3417666"/>
                  <a:gd name="connsiteY73" fmla="*/ 254794 h 438531"/>
                  <a:gd name="connsiteX74" fmla="*/ 511112 w 3417666"/>
                  <a:gd name="connsiteY74" fmla="*/ 260795 h 438531"/>
                  <a:gd name="connsiteX75" fmla="*/ 534162 w 3417666"/>
                  <a:gd name="connsiteY75" fmla="*/ 260795 h 438531"/>
                  <a:gd name="connsiteX76" fmla="*/ 534162 w 3417666"/>
                  <a:gd name="connsiteY76" fmla="*/ 266891 h 438531"/>
                  <a:gd name="connsiteX77" fmla="*/ 546831 w 3417666"/>
                  <a:gd name="connsiteY77" fmla="*/ 266891 h 438531"/>
                  <a:gd name="connsiteX78" fmla="*/ 546831 w 3417666"/>
                  <a:gd name="connsiteY78" fmla="*/ 272987 h 438531"/>
                  <a:gd name="connsiteX79" fmla="*/ 582549 w 3417666"/>
                  <a:gd name="connsiteY79" fmla="*/ 272987 h 438531"/>
                  <a:gd name="connsiteX80" fmla="*/ 582549 w 3417666"/>
                  <a:gd name="connsiteY80" fmla="*/ 279083 h 438531"/>
                  <a:gd name="connsiteX81" fmla="*/ 698278 w 3417666"/>
                  <a:gd name="connsiteY81" fmla="*/ 279083 h 438531"/>
                  <a:gd name="connsiteX82" fmla="*/ 698278 w 3417666"/>
                  <a:gd name="connsiteY82" fmla="*/ 285084 h 438531"/>
                  <a:gd name="connsiteX83" fmla="*/ 736092 w 3417666"/>
                  <a:gd name="connsiteY83" fmla="*/ 285084 h 438531"/>
                  <a:gd name="connsiteX84" fmla="*/ 736092 w 3417666"/>
                  <a:gd name="connsiteY84" fmla="*/ 291275 h 438531"/>
                  <a:gd name="connsiteX85" fmla="*/ 788670 w 3417666"/>
                  <a:gd name="connsiteY85" fmla="*/ 291275 h 438531"/>
                  <a:gd name="connsiteX86" fmla="*/ 788670 w 3417666"/>
                  <a:gd name="connsiteY86" fmla="*/ 297371 h 438531"/>
                  <a:gd name="connsiteX87" fmla="*/ 807625 w 3417666"/>
                  <a:gd name="connsiteY87" fmla="*/ 297371 h 438531"/>
                  <a:gd name="connsiteX88" fmla="*/ 807625 w 3417666"/>
                  <a:gd name="connsiteY88" fmla="*/ 303467 h 438531"/>
                  <a:gd name="connsiteX89" fmla="*/ 818103 w 3417666"/>
                  <a:gd name="connsiteY89" fmla="*/ 303467 h 438531"/>
                  <a:gd name="connsiteX90" fmla="*/ 818103 w 3417666"/>
                  <a:gd name="connsiteY90" fmla="*/ 309658 h 438531"/>
                  <a:gd name="connsiteX91" fmla="*/ 851821 w 3417666"/>
                  <a:gd name="connsiteY91" fmla="*/ 309658 h 438531"/>
                  <a:gd name="connsiteX92" fmla="*/ 851821 w 3417666"/>
                  <a:gd name="connsiteY92" fmla="*/ 315754 h 438531"/>
                  <a:gd name="connsiteX93" fmla="*/ 858108 w 3417666"/>
                  <a:gd name="connsiteY93" fmla="*/ 315754 h 438531"/>
                  <a:gd name="connsiteX94" fmla="*/ 858108 w 3417666"/>
                  <a:gd name="connsiteY94" fmla="*/ 321850 h 438531"/>
                  <a:gd name="connsiteX95" fmla="*/ 872776 w 3417666"/>
                  <a:gd name="connsiteY95" fmla="*/ 321850 h 438531"/>
                  <a:gd name="connsiteX96" fmla="*/ 872776 w 3417666"/>
                  <a:gd name="connsiteY96" fmla="*/ 327946 h 438531"/>
                  <a:gd name="connsiteX97" fmla="*/ 885444 w 3417666"/>
                  <a:gd name="connsiteY97" fmla="*/ 327946 h 438531"/>
                  <a:gd name="connsiteX98" fmla="*/ 885444 w 3417666"/>
                  <a:gd name="connsiteY98" fmla="*/ 334137 h 438531"/>
                  <a:gd name="connsiteX99" fmla="*/ 910686 w 3417666"/>
                  <a:gd name="connsiteY99" fmla="*/ 334137 h 438531"/>
                  <a:gd name="connsiteX100" fmla="*/ 910686 w 3417666"/>
                  <a:gd name="connsiteY100" fmla="*/ 340233 h 438531"/>
                  <a:gd name="connsiteX101" fmla="*/ 1139952 w 3417666"/>
                  <a:gd name="connsiteY101" fmla="*/ 340233 h 438531"/>
                  <a:gd name="connsiteX102" fmla="*/ 1139952 w 3417666"/>
                  <a:gd name="connsiteY102" fmla="*/ 346425 h 438531"/>
                  <a:gd name="connsiteX103" fmla="*/ 1253490 w 3417666"/>
                  <a:gd name="connsiteY103" fmla="*/ 346425 h 438531"/>
                  <a:gd name="connsiteX104" fmla="*/ 1253490 w 3417666"/>
                  <a:gd name="connsiteY104" fmla="*/ 352616 h 438531"/>
                  <a:gd name="connsiteX105" fmla="*/ 1522667 w 3417666"/>
                  <a:gd name="connsiteY105" fmla="*/ 352616 h 438531"/>
                  <a:gd name="connsiteX106" fmla="*/ 1522667 w 3417666"/>
                  <a:gd name="connsiteY106" fmla="*/ 358902 h 438531"/>
                  <a:gd name="connsiteX107" fmla="*/ 1596295 w 3417666"/>
                  <a:gd name="connsiteY107" fmla="*/ 358902 h 438531"/>
                  <a:gd name="connsiteX108" fmla="*/ 1596295 w 3417666"/>
                  <a:gd name="connsiteY108" fmla="*/ 365189 h 438531"/>
                  <a:gd name="connsiteX109" fmla="*/ 1676210 w 3417666"/>
                  <a:gd name="connsiteY109" fmla="*/ 365189 h 438531"/>
                  <a:gd name="connsiteX110" fmla="*/ 1676210 w 3417666"/>
                  <a:gd name="connsiteY110" fmla="*/ 371475 h 438531"/>
                  <a:gd name="connsiteX111" fmla="*/ 1838135 w 3417666"/>
                  <a:gd name="connsiteY111" fmla="*/ 371475 h 438531"/>
                  <a:gd name="connsiteX112" fmla="*/ 1838135 w 3417666"/>
                  <a:gd name="connsiteY112" fmla="*/ 377952 h 438531"/>
                  <a:gd name="connsiteX113" fmla="*/ 1854994 w 3417666"/>
                  <a:gd name="connsiteY113" fmla="*/ 377952 h 438531"/>
                  <a:gd name="connsiteX114" fmla="*/ 1854994 w 3417666"/>
                  <a:gd name="connsiteY114" fmla="*/ 384334 h 438531"/>
                  <a:gd name="connsiteX115" fmla="*/ 1972818 w 3417666"/>
                  <a:gd name="connsiteY115" fmla="*/ 384334 h 438531"/>
                  <a:gd name="connsiteX116" fmla="*/ 1972818 w 3417666"/>
                  <a:gd name="connsiteY116" fmla="*/ 390811 h 438531"/>
                  <a:gd name="connsiteX117" fmla="*/ 2065306 w 3417666"/>
                  <a:gd name="connsiteY117" fmla="*/ 390811 h 438531"/>
                  <a:gd name="connsiteX118" fmla="*/ 2065306 w 3417666"/>
                  <a:gd name="connsiteY118" fmla="*/ 397193 h 438531"/>
                  <a:gd name="connsiteX119" fmla="*/ 2084261 w 3417666"/>
                  <a:gd name="connsiteY119" fmla="*/ 397193 h 438531"/>
                  <a:gd name="connsiteX120" fmla="*/ 2084261 w 3417666"/>
                  <a:gd name="connsiteY120" fmla="*/ 403670 h 438531"/>
                  <a:gd name="connsiteX121" fmla="*/ 2938082 w 3417666"/>
                  <a:gd name="connsiteY121" fmla="*/ 403670 h 438531"/>
                  <a:gd name="connsiteX122" fmla="*/ 2938082 w 3417666"/>
                  <a:gd name="connsiteY122" fmla="*/ 438531 h 438531"/>
                  <a:gd name="connsiteX123" fmla="*/ 3417666 w 3417666"/>
                  <a:gd name="connsiteY123" fmla="*/ 438531 h 438531"/>
                  <a:gd name="connsiteX0" fmla="*/ 0 w 3400806"/>
                  <a:gd name="connsiteY0" fmla="*/ 0 h 432435"/>
                  <a:gd name="connsiteX1" fmla="*/ 0 w 3400806"/>
                  <a:gd name="connsiteY1" fmla="*/ 6001 h 432435"/>
                  <a:gd name="connsiteX2" fmla="*/ 29432 w 3400806"/>
                  <a:gd name="connsiteY2" fmla="*/ 6001 h 432435"/>
                  <a:gd name="connsiteX3" fmla="*/ 29432 w 3400806"/>
                  <a:gd name="connsiteY3" fmla="*/ 12097 h 432435"/>
                  <a:gd name="connsiteX4" fmla="*/ 37814 w 3400806"/>
                  <a:gd name="connsiteY4" fmla="*/ 12097 h 432435"/>
                  <a:gd name="connsiteX5" fmla="*/ 37814 w 3400806"/>
                  <a:gd name="connsiteY5" fmla="*/ 18193 h 432435"/>
                  <a:gd name="connsiteX6" fmla="*/ 39909 w 3400806"/>
                  <a:gd name="connsiteY6" fmla="*/ 18193 h 432435"/>
                  <a:gd name="connsiteX7" fmla="*/ 39909 w 3400806"/>
                  <a:gd name="connsiteY7" fmla="*/ 24194 h 432435"/>
                  <a:gd name="connsiteX8" fmla="*/ 54673 w 3400806"/>
                  <a:gd name="connsiteY8" fmla="*/ 24194 h 432435"/>
                  <a:gd name="connsiteX9" fmla="*/ 54673 w 3400806"/>
                  <a:gd name="connsiteY9" fmla="*/ 36386 h 432435"/>
                  <a:gd name="connsiteX10" fmla="*/ 56769 w 3400806"/>
                  <a:gd name="connsiteY10" fmla="*/ 36386 h 432435"/>
                  <a:gd name="connsiteX11" fmla="*/ 56769 w 3400806"/>
                  <a:gd name="connsiteY11" fmla="*/ 42387 h 432435"/>
                  <a:gd name="connsiteX12" fmla="*/ 63055 w 3400806"/>
                  <a:gd name="connsiteY12" fmla="*/ 42387 h 432435"/>
                  <a:gd name="connsiteX13" fmla="*/ 63055 w 3400806"/>
                  <a:gd name="connsiteY13" fmla="*/ 48483 h 432435"/>
                  <a:gd name="connsiteX14" fmla="*/ 67246 w 3400806"/>
                  <a:gd name="connsiteY14" fmla="*/ 48483 h 432435"/>
                  <a:gd name="connsiteX15" fmla="*/ 67246 w 3400806"/>
                  <a:gd name="connsiteY15" fmla="*/ 54579 h 432435"/>
                  <a:gd name="connsiteX16" fmla="*/ 84105 w 3400806"/>
                  <a:gd name="connsiteY16" fmla="*/ 54579 h 432435"/>
                  <a:gd name="connsiteX17" fmla="*/ 84105 w 3400806"/>
                  <a:gd name="connsiteY17" fmla="*/ 66675 h 432435"/>
                  <a:gd name="connsiteX18" fmla="*/ 88296 w 3400806"/>
                  <a:gd name="connsiteY18" fmla="*/ 66675 h 432435"/>
                  <a:gd name="connsiteX19" fmla="*/ 88296 w 3400806"/>
                  <a:gd name="connsiteY19" fmla="*/ 72771 h 432435"/>
                  <a:gd name="connsiteX20" fmla="*/ 111442 w 3400806"/>
                  <a:gd name="connsiteY20" fmla="*/ 72771 h 432435"/>
                  <a:gd name="connsiteX21" fmla="*/ 111442 w 3400806"/>
                  <a:gd name="connsiteY21" fmla="*/ 78867 h 432435"/>
                  <a:gd name="connsiteX22" fmla="*/ 115633 w 3400806"/>
                  <a:gd name="connsiteY22" fmla="*/ 78867 h 432435"/>
                  <a:gd name="connsiteX23" fmla="*/ 115633 w 3400806"/>
                  <a:gd name="connsiteY23" fmla="*/ 84868 h 432435"/>
                  <a:gd name="connsiteX24" fmla="*/ 121920 w 3400806"/>
                  <a:gd name="connsiteY24" fmla="*/ 84868 h 432435"/>
                  <a:gd name="connsiteX25" fmla="*/ 121920 w 3400806"/>
                  <a:gd name="connsiteY25" fmla="*/ 97060 h 432435"/>
                  <a:gd name="connsiteX26" fmla="*/ 140874 w 3400806"/>
                  <a:gd name="connsiteY26" fmla="*/ 97060 h 432435"/>
                  <a:gd name="connsiteX27" fmla="*/ 140874 w 3400806"/>
                  <a:gd name="connsiteY27" fmla="*/ 103061 h 432435"/>
                  <a:gd name="connsiteX28" fmla="*/ 149256 w 3400806"/>
                  <a:gd name="connsiteY28" fmla="*/ 103061 h 432435"/>
                  <a:gd name="connsiteX29" fmla="*/ 149256 w 3400806"/>
                  <a:gd name="connsiteY29" fmla="*/ 109157 h 432435"/>
                  <a:gd name="connsiteX30" fmla="*/ 161925 w 3400806"/>
                  <a:gd name="connsiteY30" fmla="*/ 109157 h 432435"/>
                  <a:gd name="connsiteX31" fmla="*/ 161925 w 3400806"/>
                  <a:gd name="connsiteY31" fmla="*/ 115253 h 432435"/>
                  <a:gd name="connsiteX32" fmla="*/ 178784 w 3400806"/>
                  <a:gd name="connsiteY32" fmla="*/ 115253 h 432435"/>
                  <a:gd name="connsiteX33" fmla="*/ 178784 w 3400806"/>
                  <a:gd name="connsiteY33" fmla="*/ 121254 h 432435"/>
                  <a:gd name="connsiteX34" fmla="*/ 206121 w 3400806"/>
                  <a:gd name="connsiteY34" fmla="*/ 121254 h 432435"/>
                  <a:gd name="connsiteX35" fmla="*/ 206121 w 3400806"/>
                  <a:gd name="connsiteY35" fmla="*/ 127350 h 432435"/>
                  <a:gd name="connsiteX36" fmla="*/ 208216 w 3400806"/>
                  <a:gd name="connsiteY36" fmla="*/ 127350 h 432435"/>
                  <a:gd name="connsiteX37" fmla="*/ 208216 w 3400806"/>
                  <a:gd name="connsiteY37" fmla="*/ 133446 h 432435"/>
                  <a:gd name="connsiteX38" fmla="*/ 218693 w 3400806"/>
                  <a:gd name="connsiteY38" fmla="*/ 133446 h 432435"/>
                  <a:gd name="connsiteX39" fmla="*/ 218693 w 3400806"/>
                  <a:gd name="connsiteY39" fmla="*/ 139446 h 432435"/>
                  <a:gd name="connsiteX40" fmla="*/ 224980 w 3400806"/>
                  <a:gd name="connsiteY40" fmla="*/ 139446 h 432435"/>
                  <a:gd name="connsiteX41" fmla="*/ 224980 w 3400806"/>
                  <a:gd name="connsiteY41" fmla="*/ 151638 h 432435"/>
                  <a:gd name="connsiteX42" fmla="*/ 233457 w 3400806"/>
                  <a:gd name="connsiteY42" fmla="*/ 151638 h 432435"/>
                  <a:gd name="connsiteX43" fmla="*/ 233457 w 3400806"/>
                  <a:gd name="connsiteY43" fmla="*/ 157639 h 432435"/>
                  <a:gd name="connsiteX44" fmla="*/ 239744 w 3400806"/>
                  <a:gd name="connsiteY44" fmla="*/ 157639 h 432435"/>
                  <a:gd name="connsiteX45" fmla="*/ 239744 w 3400806"/>
                  <a:gd name="connsiteY45" fmla="*/ 169831 h 432435"/>
                  <a:gd name="connsiteX46" fmla="*/ 241839 w 3400806"/>
                  <a:gd name="connsiteY46" fmla="*/ 169831 h 432435"/>
                  <a:gd name="connsiteX47" fmla="*/ 241839 w 3400806"/>
                  <a:gd name="connsiteY47" fmla="*/ 175927 h 432435"/>
                  <a:gd name="connsiteX48" fmla="*/ 254412 w 3400806"/>
                  <a:gd name="connsiteY48" fmla="*/ 175927 h 432435"/>
                  <a:gd name="connsiteX49" fmla="*/ 254412 w 3400806"/>
                  <a:gd name="connsiteY49" fmla="*/ 181928 h 432435"/>
                  <a:gd name="connsiteX50" fmla="*/ 277558 w 3400806"/>
                  <a:gd name="connsiteY50" fmla="*/ 181928 h 432435"/>
                  <a:gd name="connsiteX51" fmla="*/ 277558 w 3400806"/>
                  <a:gd name="connsiteY51" fmla="*/ 188024 h 432435"/>
                  <a:gd name="connsiteX52" fmla="*/ 283940 w 3400806"/>
                  <a:gd name="connsiteY52" fmla="*/ 188024 h 432435"/>
                  <a:gd name="connsiteX53" fmla="*/ 283940 w 3400806"/>
                  <a:gd name="connsiteY53" fmla="*/ 194120 h 432435"/>
                  <a:gd name="connsiteX54" fmla="*/ 292322 w 3400806"/>
                  <a:gd name="connsiteY54" fmla="*/ 194120 h 432435"/>
                  <a:gd name="connsiteX55" fmla="*/ 292322 w 3400806"/>
                  <a:gd name="connsiteY55" fmla="*/ 200121 h 432435"/>
                  <a:gd name="connsiteX56" fmla="*/ 300704 w 3400806"/>
                  <a:gd name="connsiteY56" fmla="*/ 200121 h 432435"/>
                  <a:gd name="connsiteX57" fmla="*/ 300704 w 3400806"/>
                  <a:gd name="connsiteY57" fmla="*/ 206217 h 432435"/>
                  <a:gd name="connsiteX58" fmla="*/ 304895 w 3400806"/>
                  <a:gd name="connsiteY58" fmla="*/ 206217 h 432435"/>
                  <a:gd name="connsiteX59" fmla="*/ 304895 w 3400806"/>
                  <a:gd name="connsiteY59" fmla="*/ 212313 h 432435"/>
                  <a:gd name="connsiteX60" fmla="*/ 378523 w 3400806"/>
                  <a:gd name="connsiteY60" fmla="*/ 212313 h 432435"/>
                  <a:gd name="connsiteX61" fmla="*/ 378523 w 3400806"/>
                  <a:gd name="connsiteY61" fmla="*/ 218313 h 432435"/>
                  <a:gd name="connsiteX62" fmla="*/ 399573 w 3400806"/>
                  <a:gd name="connsiteY62" fmla="*/ 218313 h 432435"/>
                  <a:gd name="connsiteX63" fmla="*/ 399573 w 3400806"/>
                  <a:gd name="connsiteY63" fmla="*/ 224409 h 432435"/>
                  <a:gd name="connsiteX64" fmla="*/ 405860 w 3400806"/>
                  <a:gd name="connsiteY64" fmla="*/ 224409 h 432435"/>
                  <a:gd name="connsiteX65" fmla="*/ 405860 w 3400806"/>
                  <a:gd name="connsiteY65" fmla="*/ 230505 h 432435"/>
                  <a:gd name="connsiteX66" fmla="*/ 447960 w 3400806"/>
                  <a:gd name="connsiteY66" fmla="*/ 230505 h 432435"/>
                  <a:gd name="connsiteX67" fmla="*/ 447960 w 3400806"/>
                  <a:gd name="connsiteY67" fmla="*/ 236506 h 432435"/>
                  <a:gd name="connsiteX68" fmla="*/ 462629 w 3400806"/>
                  <a:gd name="connsiteY68" fmla="*/ 236506 h 432435"/>
                  <a:gd name="connsiteX69" fmla="*/ 462629 w 3400806"/>
                  <a:gd name="connsiteY69" fmla="*/ 242602 h 432435"/>
                  <a:gd name="connsiteX70" fmla="*/ 492156 w 3400806"/>
                  <a:gd name="connsiteY70" fmla="*/ 242602 h 432435"/>
                  <a:gd name="connsiteX71" fmla="*/ 492156 w 3400806"/>
                  <a:gd name="connsiteY71" fmla="*/ 248698 h 432435"/>
                  <a:gd name="connsiteX72" fmla="*/ 494252 w 3400806"/>
                  <a:gd name="connsiteY72" fmla="*/ 248698 h 432435"/>
                  <a:gd name="connsiteX73" fmla="*/ 494252 w 3400806"/>
                  <a:gd name="connsiteY73" fmla="*/ 254699 h 432435"/>
                  <a:gd name="connsiteX74" fmla="*/ 517302 w 3400806"/>
                  <a:gd name="connsiteY74" fmla="*/ 254699 h 432435"/>
                  <a:gd name="connsiteX75" fmla="*/ 517302 w 3400806"/>
                  <a:gd name="connsiteY75" fmla="*/ 260795 h 432435"/>
                  <a:gd name="connsiteX76" fmla="*/ 529971 w 3400806"/>
                  <a:gd name="connsiteY76" fmla="*/ 260795 h 432435"/>
                  <a:gd name="connsiteX77" fmla="*/ 529971 w 3400806"/>
                  <a:gd name="connsiteY77" fmla="*/ 266891 h 432435"/>
                  <a:gd name="connsiteX78" fmla="*/ 565689 w 3400806"/>
                  <a:gd name="connsiteY78" fmla="*/ 266891 h 432435"/>
                  <a:gd name="connsiteX79" fmla="*/ 565689 w 3400806"/>
                  <a:gd name="connsiteY79" fmla="*/ 272987 h 432435"/>
                  <a:gd name="connsiteX80" fmla="*/ 681418 w 3400806"/>
                  <a:gd name="connsiteY80" fmla="*/ 272987 h 432435"/>
                  <a:gd name="connsiteX81" fmla="*/ 681418 w 3400806"/>
                  <a:gd name="connsiteY81" fmla="*/ 278988 h 432435"/>
                  <a:gd name="connsiteX82" fmla="*/ 719232 w 3400806"/>
                  <a:gd name="connsiteY82" fmla="*/ 278988 h 432435"/>
                  <a:gd name="connsiteX83" fmla="*/ 719232 w 3400806"/>
                  <a:gd name="connsiteY83" fmla="*/ 285179 h 432435"/>
                  <a:gd name="connsiteX84" fmla="*/ 771810 w 3400806"/>
                  <a:gd name="connsiteY84" fmla="*/ 285179 h 432435"/>
                  <a:gd name="connsiteX85" fmla="*/ 771810 w 3400806"/>
                  <a:gd name="connsiteY85" fmla="*/ 291275 h 432435"/>
                  <a:gd name="connsiteX86" fmla="*/ 790765 w 3400806"/>
                  <a:gd name="connsiteY86" fmla="*/ 291275 h 432435"/>
                  <a:gd name="connsiteX87" fmla="*/ 790765 w 3400806"/>
                  <a:gd name="connsiteY87" fmla="*/ 297371 h 432435"/>
                  <a:gd name="connsiteX88" fmla="*/ 801243 w 3400806"/>
                  <a:gd name="connsiteY88" fmla="*/ 297371 h 432435"/>
                  <a:gd name="connsiteX89" fmla="*/ 801243 w 3400806"/>
                  <a:gd name="connsiteY89" fmla="*/ 303562 h 432435"/>
                  <a:gd name="connsiteX90" fmla="*/ 834961 w 3400806"/>
                  <a:gd name="connsiteY90" fmla="*/ 303562 h 432435"/>
                  <a:gd name="connsiteX91" fmla="*/ 834961 w 3400806"/>
                  <a:gd name="connsiteY91" fmla="*/ 309658 h 432435"/>
                  <a:gd name="connsiteX92" fmla="*/ 841248 w 3400806"/>
                  <a:gd name="connsiteY92" fmla="*/ 309658 h 432435"/>
                  <a:gd name="connsiteX93" fmla="*/ 841248 w 3400806"/>
                  <a:gd name="connsiteY93" fmla="*/ 315754 h 432435"/>
                  <a:gd name="connsiteX94" fmla="*/ 855916 w 3400806"/>
                  <a:gd name="connsiteY94" fmla="*/ 315754 h 432435"/>
                  <a:gd name="connsiteX95" fmla="*/ 855916 w 3400806"/>
                  <a:gd name="connsiteY95" fmla="*/ 321850 h 432435"/>
                  <a:gd name="connsiteX96" fmla="*/ 868584 w 3400806"/>
                  <a:gd name="connsiteY96" fmla="*/ 321850 h 432435"/>
                  <a:gd name="connsiteX97" fmla="*/ 868584 w 3400806"/>
                  <a:gd name="connsiteY97" fmla="*/ 328041 h 432435"/>
                  <a:gd name="connsiteX98" fmla="*/ 893826 w 3400806"/>
                  <a:gd name="connsiteY98" fmla="*/ 328041 h 432435"/>
                  <a:gd name="connsiteX99" fmla="*/ 893826 w 3400806"/>
                  <a:gd name="connsiteY99" fmla="*/ 334137 h 432435"/>
                  <a:gd name="connsiteX100" fmla="*/ 1123092 w 3400806"/>
                  <a:gd name="connsiteY100" fmla="*/ 334137 h 432435"/>
                  <a:gd name="connsiteX101" fmla="*/ 1123092 w 3400806"/>
                  <a:gd name="connsiteY101" fmla="*/ 340329 h 432435"/>
                  <a:gd name="connsiteX102" fmla="*/ 1236630 w 3400806"/>
                  <a:gd name="connsiteY102" fmla="*/ 340329 h 432435"/>
                  <a:gd name="connsiteX103" fmla="*/ 1236630 w 3400806"/>
                  <a:gd name="connsiteY103" fmla="*/ 346520 h 432435"/>
                  <a:gd name="connsiteX104" fmla="*/ 1505807 w 3400806"/>
                  <a:gd name="connsiteY104" fmla="*/ 346520 h 432435"/>
                  <a:gd name="connsiteX105" fmla="*/ 1505807 w 3400806"/>
                  <a:gd name="connsiteY105" fmla="*/ 352806 h 432435"/>
                  <a:gd name="connsiteX106" fmla="*/ 1579435 w 3400806"/>
                  <a:gd name="connsiteY106" fmla="*/ 352806 h 432435"/>
                  <a:gd name="connsiteX107" fmla="*/ 1579435 w 3400806"/>
                  <a:gd name="connsiteY107" fmla="*/ 359093 h 432435"/>
                  <a:gd name="connsiteX108" fmla="*/ 1659350 w 3400806"/>
                  <a:gd name="connsiteY108" fmla="*/ 359093 h 432435"/>
                  <a:gd name="connsiteX109" fmla="*/ 1659350 w 3400806"/>
                  <a:gd name="connsiteY109" fmla="*/ 365379 h 432435"/>
                  <a:gd name="connsiteX110" fmla="*/ 1821275 w 3400806"/>
                  <a:gd name="connsiteY110" fmla="*/ 365379 h 432435"/>
                  <a:gd name="connsiteX111" fmla="*/ 1821275 w 3400806"/>
                  <a:gd name="connsiteY111" fmla="*/ 371856 h 432435"/>
                  <a:gd name="connsiteX112" fmla="*/ 1838134 w 3400806"/>
                  <a:gd name="connsiteY112" fmla="*/ 371856 h 432435"/>
                  <a:gd name="connsiteX113" fmla="*/ 1838134 w 3400806"/>
                  <a:gd name="connsiteY113" fmla="*/ 378238 h 432435"/>
                  <a:gd name="connsiteX114" fmla="*/ 1955958 w 3400806"/>
                  <a:gd name="connsiteY114" fmla="*/ 378238 h 432435"/>
                  <a:gd name="connsiteX115" fmla="*/ 1955958 w 3400806"/>
                  <a:gd name="connsiteY115" fmla="*/ 384715 h 432435"/>
                  <a:gd name="connsiteX116" fmla="*/ 2048446 w 3400806"/>
                  <a:gd name="connsiteY116" fmla="*/ 384715 h 432435"/>
                  <a:gd name="connsiteX117" fmla="*/ 2048446 w 3400806"/>
                  <a:gd name="connsiteY117" fmla="*/ 391097 h 432435"/>
                  <a:gd name="connsiteX118" fmla="*/ 2067401 w 3400806"/>
                  <a:gd name="connsiteY118" fmla="*/ 391097 h 432435"/>
                  <a:gd name="connsiteX119" fmla="*/ 2067401 w 3400806"/>
                  <a:gd name="connsiteY119" fmla="*/ 397574 h 432435"/>
                  <a:gd name="connsiteX120" fmla="*/ 2921222 w 3400806"/>
                  <a:gd name="connsiteY120" fmla="*/ 397574 h 432435"/>
                  <a:gd name="connsiteX121" fmla="*/ 2921222 w 3400806"/>
                  <a:gd name="connsiteY121" fmla="*/ 432435 h 432435"/>
                  <a:gd name="connsiteX122" fmla="*/ 3400806 w 3400806"/>
                  <a:gd name="connsiteY122" fmla="*/ 432435 h 432435"/>
                  <a:gd name="connsiteX0" fmla="*/ 0 w 3400806"/>
                  <a:gd name="connsiteY0" fmla="*/ 0 h 432435"/>
                  <a:gd name="connsiteX1" fmla="*/ 29432 w 3400806"/>
                  <a:gd name="connsiteY1" fmla="*/ 6001 h 432435"/>
                  <a:gd name="connsiteX2" fmla="*/ 29432 w 3400806"/>
                  <a:gd name="connsiteY2" fmla="*/ 12097 h 432435"/>
                  <a:gd name="connsiteX3" fmla="*/ 37814 w 3400806"/>
                  <a:gd name="connsiteY3" fmla="*/ 12097 h 432435"/>
                  <a:gd name="connsiteX4" fmla="*/ 37814 w 3400806"/>
                  <a:gd name="connsiteY4" fmla="*/ 18193 h 432435"/>
                  <a:gd name="connsiteX5" fmla="*/ 39909 w 3400806"/>
                  <a:gd name="connsiteY5" fmla="*/ 18193 h 432435"/>
                  <a:gd name="connsiteX6" fmla="*/ 39909 w 3400806"/>
                  <a:gd name="connsiteY6" fmla="*/ 24194 h 432435"/>
                  <a:gd name="connsiteX7" fmla="*/ 54673 w 3400806"/>
                  <a:gd name="connsiteY7" fmla="*/ 24194 h 432435"/>
                  <a:gd name="connsiteX8" fmla="*/ 54673 w 3400806"/>
                  <a:gd name="connsiteY8" fmla="*/ 36386 h 432435"/>
                  <a:gd name="connsiteX9" fmla="*/ 56769 w 3400806"/>
                  <a:gd name="connsiteY9" fmla="*/ 36386 h 432435"/>
                  <a:gd name="connsiteX10" fmla="*/ 56769 w 3400806"/>
                  <a:gd name="connsiteY10" fmla="*/ 42387 h 432435"/>
                  <a:gd name="connsiteX11" fmla="*/ 63055 w 3400806"/>
                  <a:gd name="connsiteY11" fmla="*/ 42387 h 432435"/>
                  <a:gd name="connsiteX12" fmla="*/ 63055 w 3400806"/>
                  <a:gd name="connsiteY12" fmla="*/ 48483 h 432435"/>
                  <a:gd name="connsiteX13" fmla="*/ 67246 w 3400806"/>
                  <a:gd name="connsiteY13" fmla="*/ 48483 h 432435"/>
                  <a:gd name="connsiteX14" fmla="*/ 67246 w 3400806"/>
                  <a:gd name="connsiteY14" fmla="*/ 54579 h 432435"/>
                  <a:gd name="connsiteX15" fmla="*/ 84105 w 3400806"/>
                  <a:gd name="connsiteY15" fmla="*/ 54579 h 432435"/>
                  <a:gd name="connsiteX16" fmla="*/ 84105 w 3400806"/>
                  <a:gd name="connsiteY16" fmla="*/ 66675 h 432435"/>
                  <a:gd name="connsiteX17" fmla="*/ 88296 w 3400806"/>
                  <a:gd name="connsiteY17" fmla="*/ 66675 h 432435"/>
                  <a:gd name="connsiteX18" fmla="*/ 88296 w 3400806"/>
                  <a:gd name="connsiteY18" fmla="*/ 72771 h 432435"/>
                  <a:gd name="connsiteX19" fmla="*/ 111442 w 3400806"/>
                  <a:gd name="connsiteY19" fmla="*/ 72771 h 432435"/>
                  <a:gd name="connsiteX20" fmla="*/ 111442 w 3400806"/>
                  <a:gd name="connsiteY20" fmla="*/ 78867 h 432435"/>
                  <a:gd name="connsiteX21" fmla="*/ 115633 w 3400806"/>
                  <a:gd name="connsiteY21" fmla="*/ 78867 h 432435"/>
                  <a:gd name="connsiteX22" fmla="*/ 115633 w 3400806"/>
                  <a:gd name="connsiteY22" fmla="*/ 84868 h 432435"/>
                  <a:gd name="connsiteX23" fmla="*/ 121920 w 3400806"/>
                  <a:gd name="connsiteY23" fmla="*/ 84868 h 432435"/>
                  <a:gd name="connsiteX24" fmla="*/ 121920 w 3400806"/>
                  <a:gd name="connsiteY24" fmla="*/ 97060 h 432435"/>
                  <a:gd name="connsiteX25" fmla="*/ 140874 w 3400806"/>
                  <a:gd name="connsiteY25" fmla="*/ 97060 h 432435"/>
                  <a:gd name="connsiteX26" fmla="*/ 140874 w 3400806"/>
                  <a:gd name="connsiteY26" fmla="*/ 103061 h 432435"/>
                  <a:gd name="connsiteX27" fmla="*/ 149256 w 3400806"/>
                  <a:gd name="connsiteY27" fmla="*/ 103061 h 432435"/>
                  <a:gd name="connsiteX28" fmla="*/ 149256 w 3400806"/>
                  <a:gd name="connsiteY28" fmla="*/ 109157 h 432435"/>
                  <a:gd name="connsiteX29" fmla="*/ 161925 w 3400806"/>
                  <a:gd name="connsiteY29" fmla="*/ 109157 h 432435"/>
                  <a:gd name="connsiteX30" fmla="*/ 161925 w 3400806"/>
                  <a:gd name="connsiteY30" fmla="*/ 115253 h 432435"/>
                  <a:gd name="connsiteX31" fmla="*/ 178784 w 3400806"/>
                  <a:gd name="connsiteY31" fmla="*/ 115253 h 432435"/>
                  <a:gd name="connsiteX32" fmla="*/ 178784 w 3400806"/>
                  <a:gd name="connsiteY32" fmla="*/ 121254 h 432435"/>
                  <a:gd name="connsiteX33" fmla="*/ 206121 w 3400806"/>
                  <a:gd name="connsiteY33" fmla="*/ 121254 h 432435"/>
                  <a:gd name="connsiteX34" fmla="*/ 206121 w 3400806"/>
                  <a:gd name="connsiteY34" fmla="*/ 127350 h 432435"/>
                  <a:gd name="connsiteX35" fmla="*/ 208216 w 3400806"/>
                  <a:gd name="connsiteY35" fmla="*/ 127350 h 432435"/>
                  <a:gd name="connsiteX36" fmla="*/ 208216 w 3400806"/>
                  <a:gd name="connsiteY36" fmla="*/ 133446 h 432435"/>
                  <a:gd name="connsiteX37" fmla="*/ 218693 w 3400806"/>
                  <a:gd name="connsiteY37" fmla="*/ 133446 h 432435"/>
                  <a:gd name="connsiteX38" fmla="*/ 218693 w 3400806"/>
                  <a:gd name="connsiteY38" fmla="*/ 139446 h 432435"/>
                  <a:gd name="connsiteX39" fmla="*/ 224980 w 3400806"/>
                  <a:gd name="connsiteY39" fmla="*/ 139446 h 432435"/>
                  <a:gd name="connsiteX40" fmla="*/ 224980 w 3400806"/>
                  <a:gd name="connsiteY40" fmla="*/ 151638 h 432435"/>
                  <a:gd name="connsiteX41" fmla="*/ 233457 w 3400806"/>
                  <a:gd name="connsiteY41" fmla="*/ 151638 h 432435"/>
                  <a:gd name="connsiteX42" fmla="*/ 233457 w 3400806"/>
                  <a:gd name="connsiteY42" fmla="*/ 157639 h 432435"/>
                  <a:gd name="connsiteX43" fmla="*/ 239744 w 3400806"/>
                  <a:gd name="connsiteY43" fmla="*/ 157639 h 432435"/>
                  <a:gd name="connsiteX44" fmla="*/ 239744 w 3400806"/>
                  <a:gd name="connsiteY44" fmla="*/ 169831 h 432435"/>
                  <a:gd name="connsiteX45" fmla="*/ 241839 w 3400806"/>
                  <a:gd name="connsiteY45" fmla="*/ 169831 h 432435"/>
                  <a:gd name="connsiteX46" fmla="*/ 241839 w 3400806"/>
                  <a:gd name="connsiteY46" fmla="*/ 175927 h 432435"/>
                  <a:gd name="connsiteX47" fmla="*/ 254412 w 3400806"/>
                  <a:gd name="connsiteY47" fmla="*/ 175927 h 432435"/>
                  <a:gd name="connsiteX48" fmla="*/ 254412 w 3400806"/>
                  <a:gd name="connsiteY48" fmla="*/ 181928 h 432435"/>
                  <a:gd name="connsiteX49" fmla="*/ 277558 w 3400806"/>
                  <a:gd name="connsiteY49" fmla="*/ 181928 h 432435"/>
                  <a:gd name="connsiteX50" fmla="*/ 277558 w 3400806"/>
                  <a:gd name="connsiteY50" fmla="*/ 188024 h 432435"/>
                  <a:gd name="connsiteX51" fmla="*/ 283940 w 3400806"/>
                  <a:gd name="connsiteY51" fmla="*/ 188024 h 432435"/>
                  <a:gd name="connsiteX52" fmla="*/ 283940 w 3400806"/>
                  <a:gd name="connsiteY52" fmla="*/ 194120 h 432435"/>
                  <a:gd name="connsiteX53" fmla="*/ 292322 w 3400806"/>
                  <a:gd name="connsiteY53" fmla="*/ 194120 h 432435"/>
                  <a:gd name="connsiteX54" fmla="*/ 292322 w 3400806"/>
                  <a:gd name="connsiteY54" fmla="*/ 200121 h 432435"/>
                  <a:gd name="connsiteX55" fmla="*/ 300704 w 3400806"/>
                  <a:gd name="connsiteY55" fmla="*/ 200121 h 432435"/>
                  <a:gd name="connsiteX56" fmla="*/ 300704 w 3400806"/>
                  <a:gd name="connsiteY56" fmla="*/ 206217 h 432435"/>
                  <a:gd name="connsiteX57" fmla="*/ 304895 w 3400806"/>
                  <a:gd name="connsiteY57" fmla="*/ 206217 h 432435"/>
                  <a:gd name="connsiteX58" fmla="*/ 304895 w 3400806"/>
                  <a:gd name="connsiteY58" fmla="*/ 212313 h 432435"/>
                  <a:gd name="connsiteX59" fmla="*/ 378523 w 3400806"/>
                  <a:gd name="connsiteY59" fmla="*/ 212313 h 432435"/>
                  <a:gd name="connsiteX60" fmla="*/ 378523 w 3400806"/>
                  <a:gd name="connsiteY60" fmla="*/ 218313 h 432435"/>
                  <a:gd name="connsiteX61" fmla="*/ 399573 w 3400806"/>
                  <a:gd name="connsiteY61" fmla="*/ 218313 h 432435"/>
                  <a:gd name="connsiteX62" fmla="*/ 399573 w 3400806"/>
                  <a:gd name="connsiteY62" fmla="*/ 224409 h 432435"/>
                  <a:gd name="connsiteX63" fmla="*/ 405860 w 3400806"/>
                  <a:gd name="connsiteY63" fmla="*/ 224409 h 432435"/>
                  <a:gd name="connsiteX64" fmla="*/ 405860 w 3400806"/>
                  <a:gd name="connsiteY64" fmla="*/ 230505 h 432435"/>
                  <a:gd name="connsiteX65" fmla="*/ 447960 w 3400806"/>
                  <a:gd name="connsiteY65" fmla="*/ 230505 h 432435"/>
                  <a:gd name="connsiteX66" fmla="*/ 447960 w 3400806"/>
                  <a:gd name="connsiteY66" fmla="*/ 236506 h 432435"/>
                  <a:gd name="connsiteX67" fmla="*/ 462629 w 3400806"/>
                  <a:gd name="connsiteY67" fmla="*/ 236506 h 432435"/>
                  <a:gd name="connsiteX68" fmla="*/ 462629 w 3400806"/>
                  <a:gd name="connsiteY68" fmla="*/ 242602 h 432435"/>
                  <a:gd name="connsiteX69" fmla="*/ 492156 w 3400806"/>
                  <a:gd name="connsiteY69" fmla="*/ 242602 h 432435"/>
                  <a:gd name="connsiteX70" fmla="*/ 492156 w 3400806"/>
                  <a:gd name="connsiteY70" fmla="*/ 248698 h 432435"/>
                  <a:gd name="connsiteX71" fmla="*/ 494252 w 3400806"/>
                  <a:gd name="connsiteY71" fmla="*/ 248698 h 432435"/>
                  <a:gd name="connsiteX72" fmla="*/ 494252 w 3400806"/>
                  <a:gd name="connsiteY72" fmla="*/ 254699 h 432435"/>
                  <a:gd name="connsiteX73" fmla="*/ 517302 w 3400806"/>
                  <a:gd name="connsiteY73" fmla="*/ 254699 h 432435"/>
                  <a:gd name="connsiteX74" fmla="*/ 517302 w 3400806"/>
                  <a:gd name="connsiteY74" fmla="*/ 260795 h 432435"/>
                  <a:gd name="connsiteX75" fmla="*/ 529971 w 3400806"/>
                  <a:gd name="connsiteY75" fmla="*/ 260795 h 432435"/>
                  <a:gd name="connsiteX76" fmla="*/ 529971 w 3400806"/>
                  <a:gd name="connsiteY76" fmla="*/ 266891 h 432435"/>
                  <a:gd name="connsiteX77" fmla="*/ 565689 w 3400806"/>
                  <a:gd name="connsiteY77" fmla="*/ 266891 h 432435"/>
                  <a:gd name="connsiteX78" fmla="*/ 565689 w 3400806"/>
                  <a:gd name="connsiteY78" fmla="*/ 272987 h 432435"/>
                  <a:gd name="connsiteX79" fmla="*/ 681418 w 3400806"/>
                  <a:gd name="connsiteY79" fmla="*/ 272987 h 432435"/>
                  <a:gd name="connsiteX80" fmla="*/ 681418 w 3400806"/>
                  <a:gd name="connsiteY80" fmla="*/ 278988 h 432435"/>
                  <a:gd name="connsiteX81" fmla="*/ 719232 w 3400806"/>
                  <a:gd name="connsiteY81" fmla="*/ 278988 h 432435"/>
                  <a:gd name="connsiteX82" fmla="*/ 719232 w 3400806"/>
                  <a:gd name="connsiteY82" fmla="*/ 285179 h 432435"/>
                  <a:gd name="connsiteX83" fmla="*/ 771810 w 3400806"/>
                  <a:gd name="connsiteY83" fmla="*/ 285179 h 432435"/>
                  <a:gd name="connsiteX84" fmla="*/ 771810 w 3400806"/>
                  <a:gd name="connsiteY84" fmla="*/ 291275 h 432435"/>
                  <a:gd name="connsiteX85" fmla="*/ 790765 w 3400806"/>
                  <a:gd name="connsiteY85" fmla="*/ 291275 h 432435"/>
                  <a:gd name="connsiteX86" fmla="*/ 790765 w 3400806"/>
                  <a:gd name="connsiteY86" fmla="*/ 297371 h 432435"/>
                  <a:gd name="connsiteX87" fmla="*/ 801243 w 3400806"/>
                  <a:gd name="connsiteY87" fmla="*/ 297371 h 432435"/>
                  <a:gd name="connsiteX88" fmla="*/ 801243 w 3400806"/>
                  <a:gd name="connsiteY88" fmla="*/ 303562 h 432435"/>
                  <a:gd name="connsiteX89" fmla="*/ 834961 w 3400806"/>
                  <a:gd name="connsiteY89" fmla="*/ 303562 h 432435"/>
                  <a:gd name="connsiteX90" fmla="*/ 834961 w 3400806"/>
                  <a:gd name="connsiteY90" fmla="*/ 309658 h 432435"/>
                  <a:gd name="connsiteX91" fmla="*/ 841248 w 3400806"/>
                  <a:gd name="connsiteY91" fmla="*/ 309658 h 432435"/>
                  <a:gd name="connsiteX92" fmla="*/ 841248 w 3400806"/>
                  <a:gd name="connsiteY92" fmla="*/ 315754 h 432435"/>
                  <a:gd name="connsiteX93" fmla="*/ 855916 w 3400806"/>
                  <a:gd name="connsiteY93" fmla="*/ 315754 h 432435"/>
                  <a:gd name="connsiteX94" fmla="*/ 855916 w 3400806"/>
                  <a:gd name="connsiteY94" fmla="*/ 321850 h 432435"/>
                  <a:gd name="connsiteX95" fmla="*/ 868584 w 3400806"/>
                  <a:gd name="connsiteY95" fmla="*/ 321850 h 432435"/>
                  <a:gd name="connsiteX96" fmla="*/ 868584 w 3400806"/>
                  <a:gd name="connsiteY96" fmla="*/ 328041 h 432435"/>
                  <a:gd name="connsiteX97" fmla="*/ 893826 w 3400806"/>
                  <a:gd name="connsiteY97" fmla="*/ 328041 h 432435"/>
                  <a:gd name="connsiteX98" fmla="*/ 893826 w 3400806"/>
                  <a:gd name="connsiteY98" fmla="*/ 334137 h 432435"/>
                  <a:gd name="connsiteX99" fmla="*/ 1123092 w 3400806"/>
                  <a:gd name="connsiteY99" fmla="*/ 334137 h 432435"/>
                  <a:gd name="connsiteX100" fmla="*/ 1123092 w 3400806"/>
                  <a:gd name="connsiteY100" fmla="*/ 340329 h 432435"/>
                  <a:gd name="connsiteX101" fmla="*/ 1236630 w 3400806"/>
                  <a:gd name="connsiteY101" fmla="*/ 340329 h 432435"/>
                  <a:gd name="connsiteX102" fmla="*/ 1236630 w 3400806"/>
                  <a:gd name="connsiteY102" fmla="*/ 346520 h 432435"/>
                  <a:gd name="connsiteX103" fmla="*/ 1505807 w 3400806"/>
                  <a:gd name="connsiteY103" fmla="*/ 346520 h 432435"/>
                  <a:gd name="connsiteX104" fmla="*/ 1505807 w 3400806"/>
                  <a:gd name="connsiteY104" fmla="*/ 352806 h 432435"/>
                  <a:gd name="connsiteX105" fmla="*/ 1579435 w 3400806"/>
                  <a:gd name="connsiteY105" fmla="*/ 352806 h 432435"/>
                  <a:gd name="connsiteX106" fmla="*/ 1579435 w 3400806"/>
                  <a:gd name="connsiteY106" fmla="*/ 359093 h 432435"/>
                  <a:gd name="connsiteX107" fmla="*/ 1659350 w 3400806"/>
                  <a:gd name="connsiteY107" fmla="*/ 359093 h 432435"/>
                  <a:gd name="connsiteX108" fmla="*/ 1659350 w 3400806"/>
                  <a:gd name="connsiteY108" fmla="*/ 365379 h 432435"/>
                  <a:gd name="connsiteX109" fmla="*/ 1821275 w 3400806"/>
                  <a:gd name="connsiteY109" fmla="*/ 365379 h 432435"/>
                  <a:gd name="connsiteX110" fmla="*/ 1821275 w 3400806"/>
                  <a:gd name="connsiteY110" fmla="*/ 371856 h 432435"/>
                  <a:gd name="connsiteX111" fmla="*/ 1838134 w 3400806"/>
                  <a:gd name="connsiteY111" fmla="*/ 371856 h 432435"/>
                  <a:gd name="connsiteX112" fmla="*/ 1838134 w 3400806"/>
                  <a:gd name="connsiteY112" fmla="*/ 378238 h 432435"/>
                  <a:gd name="connsiteX113" fmla="*/ 1955958 w 3400806"/>
                  <a:gd name="connsiteY113" fmla="*/ 378238 h 432435"/>
                  <a:gd name="connsiteX114" fmla="*/ 1955958 w 3400806"/>
                  <a:gd name="connsiteY114" fmla="*/ 384715 h 432435"/>
                  <a:gd name="connsiteX115" fmla="*/ 2048446 w 3400806"/>
                  <a:gd name="connsiteY115" fmla="*/ 384715 h 432435"/>
                  <a:gd name="connsiteX116" fmla="*/ 2048446 w 3400806"/>
                  <a:gd name="connsiteY116" fmla="*/ 391097 h 432435"/>
                  <a:gd name="connsiteX117" fmla="*/ 2067401 w 3400806"/>
                  <a:gd name="connsiteY117" fmla="*/ 391097 h 432435"/>
                  <a:gd name="connsiteX118" fmla="*/ 2067401 w 3400806"/>
                  <a:gd name="connsiteY118" fmla="*/ 397574 h 432435"/>
                  <a:gd name="connsiteX119" fmla="*/ 2921222 w 3400806"/>
                  <a:gd name="connsiteY119" fmla="*/ 397574 h 432435"/>
                  <a:gd name="connsiteX120" fmla="*/ 2921222 w 3400806"/>
                  <a:gd name="connsiteY120" fmla="*/ 432435 h 432435"/>
                  <a:gd name="connsiteX121" fmla="*/ 3400806 w 3400806"/>
                  <a:gd name="connsiteY121" fmla="*/ 432435 h 432435"/>
                  <a:gd name="connsiteX0" fmla="*/ 0 w 3371374"/>
                  <a:gd name="connsiteY0" fmla="*/ 0 h 426434"/>
                  <a:gd name="connsiteX1" fmla="*/ 0 w 3371374"/>
                  <a:gd name="connsiteY1" fmla="*/ 6096 h 426434"/>
                  <a:gd name="connsiteX2" fmla="*/ 8382 w 3371374"/>
                  <a:gd name="connsiteY2" fmla="*/ 6096 h 426434"/>
                  <a:gd name="connsiteX3" fmla="*/ 8382 w 3371374"/>
                  <a:gd name="connsiteY3" fmla="*/ 12192 h 426434"/>
                  <a:gd name="connsiteX4" fmla="*/ 10477 w 3371374"/>
                  <a:gd name="connsiteY4" fmla="*/ 12192 h 426434"/>
                  <a:gd name="connsiteX5" fmla="*/ 10477 w 3371374"/>
                  <a:gd name="connsiteY5" fmla="*/ 18193 h 426434"/>
                  <a:gd name="connsiteX6" fmla="*/ 25241 w 3371374"/>
                  <a:gd name="connsiteY6" fmla="*/ 18193 h 426434"/>
                  <a:gd name="connsiteX7" fmla="*/ 25241 w 3371374"/>
                  <a:gd name="connsiteY7" fmla="*/ 30385 h 426434"/>
                  <a:gd name="connsiteX8" fmla="*/ 27337 w 3371374"/>
                  <a:gd name="connsiteY8" fmla="*/ 30385 h 426434"/>
                  <a:gd name="connsiteX9" fmla="*/ 27337 w 3371374"/>
                  <a:gd name="connsiteY9" fmla="*/ 36386 h 426434"/>
                  <a:gd name="connsiteX10" fmla="*/ 33623 w 3371374"/>
                  <a:gd name="connsiteY10" fmla="*/ 36386 h 426434"/>
                  <a:gd name="connsiteX11" fmla="*/ 33623 w 3371374"/>
                  <a:gd name="connsiteY11" fmla="*/ 42482 h 426434"/>
                  <a:gd name="connsiteX12" fmla="*/ 37814 w 3371374"/>
                  <a:gd name="connsiteY12" fmla="*/ 42482 h 426434"/>
                  <a:gd name="connsiteX13" fmla="*/ 37814 w 3371374"/>
                  <a:gd name="connsiteY13" fmla="*/ 48578 h 426434"/>
                  <a:gd name="connsiteX14" fmla="*/ 54673 w 3371374"/>
                  <a:gd name="connsiteY14" fmla="*/ 48578 h 426434"/>
                  <a:gd name="connsiteX15" fmla="*/ 54673 w 3371374"/>
                  <a:gd name="connsiteY15" fmla="*/ 60674 h 426434"/>
                  <a:gd name="connsiteX16" fmla="*/ 58864 w 3371374"/>
                  <a:gd name="connsiteY16" fmla="*/ 60674 h 426434"/>
                  <a:gd name="connsiteX17" fmla="*/ 58864 w 3371374"/>
                  <a:gd name="connsiteY17" fmla="*/ 66770 h 426434"/>
                  <a:gd name="connsiteX18" fmla="*/ 82010 w 3371374"/>
                  <a:gd name="connsiteY18" fmla="*/ 66770 h 426434"/>
                  <a:gd name="connsiteX19" fmla="*/ 82010 w 3371374"/>
                  <a:gd name="connsiteY19" fmla="*/ 72866 h 426434"/>
                  <a:gd name="connsiteX20" fmla="*/ 86201 w 3371374"/>
                  <a:gd name="connsiteY20" fmla="*/ 72866 h 426434"/>
                  <a:gd name="connsiteX21" fmla="*/ 86201 w 3371374"/>
                  <a:gd name="connsiteY21" fmla="*/ 78867 h 426434"/>
                  <a:gd name="connsiteX22" fmla="*/ 92488 w 3371374"/>
                  <a:gd name="connsiteY22" fmla="*/ 78867 h 426434"/>
                  <a:gd name="connsiteX23" fmla="*/ 92488 w 3371374"/>
                  <a:gd name="connsiteY23" fmla="*/ 91059 h 426434"/>
                  <a:gd name="connsiteX24" fmla="*/ 111442 w 3371374"/>
                  <a:gd name="connsiteY24" fmla="*/ 91059 h 426434"/>
                  <a:gd name="connsiteX25" fmla="*/ 111442 w 3371374"/>
                  <a:gd name="connsiteY25" fmla="*/ 97060 h 426434"/>
                  <a:gd name="connsiteX26" fmla="*/ 119824 w 3371374"/>
                  <a:gd name="connsiteY26" fmla="*/ 97060 h 426434"/>
                  <a:gd name="connsiteX27" fmla="*/ 119824 w 3371374"/>
                  <a:gd name="connsiteY27" fmla="*/ 103156 h 426434"/>
                  <a:gd name="connsiteX28" fmla="*/ 132493 w 3371374"/>
                  <a:gd name="connsiteY28" fmla="*/ 103156 h 426434"/>
                  <a:gd name="connsiteX29" fmla="*/ 132493 w 3371374"/>
                  <a:gd name="connsiteY29" fmla="*/ 109252 h 426434"/>
                  <a:gd name="connsiteX30" fmla="*/ 149352 w 3371374"/>
                  <a:gd name="connsiteY30" fmla="*/ 109252 h 426434"/>
                  <a:gd name="connsiteX31" fmla="*/ 149352 w 3371374"/>
                  <a:gd name="connsiteY31" fmla="*/ 115253 h 426434"/>
                  <a:gd name="connsiteX32" fmla="*/ 176689 w 3371374"/>
                  <a:gd name="connsiteY32" fmla="*/ 115253 h 426434"/>
                  <a:gd name="connsiteX33" fmla="*/ 176689 w 3371374"/>
                  <a:gd name="connsiteY33" fmla="*/ 121349 h 426434"/>
                  <a:gd name="connsiteX34" fmla="*/ 178784 w 3371374"/>
                  <a:gd name="connsiteY34" fmla="*/ 121349 h 426434"/>
                  <a:gd name="connsiteX35" fmla="*/ 178784 w 3371374"/>
                  <a:gd name="connsiteY35" fmla="*/ 127445 h 426434"/>
                  <a:gd name="connsiteX36" fmla="*/ 189261 w 3371374"/>
                  <a:gd name="connsiteY36" fmla="*/ 127445 h 426434"/>
                  <a:gd name="connsiteX37" fmla="*/ 189261 w 3371374"/>
                  <a:gd name="connsiteY37" fmla="*/ 133445 h 426434"/>
                  <a:gd name="connsiteX38" fmla="*/ 195548 w 3371374"/>
                  <a:gd name="connsiteY38" fmla="*/ 133445 h 426434"/>
                  <a:gd name="connsiteX39" fmla="*/ 195548 w 3371374"/>
                  <a:gd name="connsiteY39" fmla="*/ 145637 h 426434"/>
                  <a:gd name="connsiteX40" fmla="*/ 204025 w 3371374"/>
                  <a:gd name="connsiteY40" fmla="*/ 145637 h 426434"/>
                  <a:gd name="connsiteX41" fmla="*/ 204025 w 3371374"/>
                  <a:gd name="connsiteY41" fmla="*/ 151638 h 426434"/>
                  <a:gd name="connsiteX42" fmla="*/ 210312 w 3371374"/>
                  <a:gd name="connsiteY42" fmla="*/ 151638 h 426434"/>
                  <a:gd name="connsiteX43" fmla="*/ 210312 w 3371374"/>
                  <a:gd name="connsiteY43" fmla="*/ 163830 h 426434"/>
                  <a:gd name="connsiteX44" fmla="*/ 212407 w 3371374"/>
                  <a:gd name="connsiteY44" fmla="*/ 163830 h 426434"/>
                  <a:gd name="connsiteX45" fmla="*/ 212407 w 3371374"/>
                  <a:gd name="connsiteY45" fmla="*/ 169926 h 426434"/>
                  <a:gd name="connsiteX46" fmla="*/ 224980 w 3371374"/>
                  <a:gd name="connsiteY46" fmla="*/ 169926 h 426434"/>
                  <a:gd name="connsiteX47" fmla="*/ 224980 w 3371374"/>
                  <a:gd name="connsiteY47" fmla="*/ 175927 h 426434"/>
                  <a:gd name="connsiteX48" fmla="*/ 248126 w 3371374"/>
                  <a:gd name="connsiteY48" fmla="*/ 175927 h 426434"/>
                  <a:gd name="connsiteX49" fmla="*/ 248126 w 3371374"/>
                  <a:gd name="connsiteY49" fmla="*/ 182023 h 426434"/>
                  <a:gd name="connsiteX50" fmla="*/ 254508 w 3371374"/>
                  <a:gd name="connsiteY50" fmla="*/ 182023 h 426434"/>
                  <a:gd name="connsiteX51" fmla="*/ 254508 w 3371374"/>
                  <a:gd name="connsiteY51" fmla="*/ 188119 h 426434"/>
                  <a:gd name="connsiteX52" fmla="*/ 262890 w 3371374"/>
                  <a:gd name="connsiteY52" fmla="*/ 188119 h 426434"/>
                  <a:gd name="connsiteX53" fmla="*/ 262890 w 3371374"/>
                  <a:gd name="connsiteY53" fmla="*/ 194120 h 426434"/>
                  <a:gd name="connsiteX54" fmla="*/ 271272 w 3371374"/>
                  <a:gd name="connsiteY54" fmla="*/ 194120 h 426434"/>
                  <a:gd name="connsiteX55" fmla="*/ 271272 w 3371374"/>
                  <a:gd name="connsiteY55" fmla="*/ 200216 h 426434"/>
                  <a:gd name="connsiteX56" fmla="*/ 275463 w 3371374"/>
                  <a:gd name="connsiteY56" fmla="*/ 200216 h 426434"/>
                  <a:gd name="connsiteX57" fmla="*/ 275463 w 3371374"/>
                  <a:gd name="connsiteY57" fmla="*/ 206312 h 426434"/>
                  <a:gd name="connsiteX58" fmla="*/ 349091 w 3371374"/>
                  <a:gd name="connsiteY58" fmla="*/ 206312 h 426434"/>
                  <a:gd name="connsiteX59" fmla="*/ 349091 w 3371374"/>
                  <a:gd name="connsiteY59" fmla="*/ 212312 h 426434"/>
                  <a:gd name="connsiteX60" fmla="*/ 370141 w 3371374"/>
                  <a:gd name="connsiteY60" fmla="*/ 212312 h 426434"/>
                  <a:gd name="connsiteX61" fmla="*/ 370141 w 3371374"/>
                  <a:gd name="connsiteY61" fmla="*/ 218408 h 426434"/>
                  <a:gd name="connsiteX62" fmla="*/ 376428 w 3371374"/>
                  <a:gd name="connsiteY62" fmla="*/ 218408 h 426434"/>
                  <a:gd name="connsiteX63" fmla="*/ 376428 w 3371374"/>
                  <a:gd name="connsiteY63" fmla="*/ 224504 h 426434"/>
                  <a:gd name="connsiteX64" fmla="*/ 418528 w 3371374"/>
                  <a:gd name="connsiteY64" fmla="*/ 224504 h 426434"/>
                  <a:gd name="connsiteX65" fmla="*/ 418528 w 3371374"/>
                  <a:gd name="connsiteY65" fmla="*/ 230505 h 426434"/>
                  <a:gd name="connsiteX66" fmla="*/ 433197 w 3371374"/>
                  <a:gd name="connsiteY66" fmla="*/ 230505 h 426434"/>
                  <a:gd name="connsiteX67" fmla="*/ 433197 w 3371374"/>
                  <a:gd name="connsiteY67" fmla="*/ 236601 h 426434"/>
                  <a:gd name="connsiteX68" fmla="*/ 462724 w 3371374"/>
                  <a:gd name="connsiteY68" fmla="*/ 236601 h 426434"/>
                  <a:gd name="connsiteX69" fmla="*/ 462724 w 3371374"/>
                  <a:gd name="connsiteY69" fmla="*/ 242697 h 426434"/>
                  <a:gd name="connsiteX70" fmla="*/ 464820 w 3371374"/>
                  <a:gd name="connsiteY70" fmla="*/ 242697 h 426434"/>
                  <a:gd name="connsiteX71" fmla="*/ 464820 w 3371374"/>
                  <a:gd name="connsiteY71" fmla="*/ 248698 h 426434"/>
                  <a:gd name="connsiteX72" fmla="*/ 487870 w 3371374"/>
                  <a:gd name="connsiteY72" fmla="*/ 248698 h 426434"/>
                  <a:gd name="connsiteX73" fmla="*/ 487870 w 3371374"/>
                  <a:gd name="connsiteY73" fmla="*/ 254794 h 426434"/>
                  <a:gd name="connsiteX74" fmla="*/ 500539 w 3371374"/>
                  <a:gd name="connsiteY74" fmla="*/ 254794 h 426434"/>
                  <a:gd name="connsiteX75" fmla="*/ 500539 w 3371374"/>
                  <a:gd name="connsiteY75" fmla="*/ 260890 h 426434"/>
                  <a:gd name="connsiteX76" fmla="*/ 536257 w 3371374"/>
                  <a:gd name="connsiteY76" fmla="*/ 260890 h 426434"/>
                  <a:gd name="connsiteX77" fmla="*/ 536257 w 3371374"/>
                  <a:gd name="connsiteY77" fmla="*/ 266986 h 426434"/>
                  <a:gd name="connsiteX78" fmla="*/ 651986 w 3371374"/>
                  <a:gd name="connsiteY78" fmla="*/ 266986 h 426434"/>
                  <a:gd name="connsiteX79" fmla="*/ 651986 w 3371374"/>
                  <a:gd name="connsiteY79" fmla="*/ 272987 h 426434"/>
                  <a:gd name="connsiteX80" fmla="*/ 689800 w 3371374"/>
                  <a:gd name="connsiteY80" fmla="*/ 272987 h 426434"/>
                  <a:gd name="connsiteX81" fmla="*/ 689800 w 3371374"/>
                  <a:gd name="connsiteY81" fmla="*/ 279178 h 426434"/>
                  <a:gd name="connsiteX82" fmla="*/ 742378 w 3371374"/>
                  <a:gd name="connsiteY82" fmla="*/ 279178 h 426434"/>
                  <a:gd name="connsiteX83" fmla="*/ 742378 w 3371374"/>
                  <a:gd name="connsiteY83" fmla="*/ 285274 h 426434"/>
                  <a:gd name="connsiteX84" fmla="*/ 761333 w 3371374"/>
                  <a:gd name="connsiteY84" fmla="*/ 285274 h 426434"/>
                  <a:gd name="connsiteX85" fmla="*/ 761333 w 3371374"/>
                  <a:gd name="connsiteY85" fmla="*/ 291370 h 426434"/>
                  <a:gd name="connsiteX86" fmla="*/ 771811 w 3371374"/>
                  <a:gd name="connsiteY86" fmla="*/ 291370 h 426434"/>
                  <a:gd name="connsiteX87" fmla="*/ 771811 w 3371374"/>
                  <a:gd name="connsiteY87" fmla="*/ 297561 h 426434"/>
                  <a:gd name="connsiteX88" fmla="*/ 805529 w 3371374"/>
                  <a:gd name="connsiteY88" fmla="*/ 297561 h 426434"/>
                  <a:gd name="connsiteX89" fmla="*/ 805529 w 3371374"/>
                  <a:gd name="connsiteY89" fmla="*/ 303657 h 426434"/>
                  <a:gd name="connsiteX90" fmla="*/ 811816 w 3371374"/>
                  <a:gd name="connsiteY90" fmla="*/ 303657 h 426434"/>
                  <a:gd name="connsiteX91" fmla="*/ 811816 w 3371374"/>
                  <a:gd name="connsiteY91" fmla="*/ 309753 h 426434"/>
                  <a:gd name="connsiteX92" fmla="*/ 826484 w 3371374"/>
                  <a:gd name="connsiteY92" fmla="*/ 309753 h 426434"/>
                  <a:gd name="connsiteX93" fmla="*/ 826484 w 3371374"/>
                  <a:gd name="connsiteY93" fmla="*/ 315849 h 426434"/>
                  <a:gd name="connsiteX94" fmla="*/ 839152 w 3371374"/>
                  <a:gd name="connsiteY94" fmla="*/ 315849 h 426434"/>
                  <a:gd name="connsiteX95" fmla="*/ 839152 w 3371374"/>
                  <a:gd name="connsiteY95" fmla="*/ 322040 h 426434"/>
                  <a:gd name="connsiteX96" fmla="*/ 864394 w 3371374"/>
                  <a:gd name="connsiteY96" fmla="*/ 322040 h 426434"/>
                  <a:gd name="connsiteX97" fmla="*/ 864394 w 3371374"/>
                  <a:gd name="connsiteY97" fmla="*/ 328136 h 426434"/>
                  <a:gd name="connsiteX98" fmla="*/ 1093660 w 3371374"/>
                  <a:gd name="connsiteY98" fmla="*/ 328136 h 426434"/>
                  <a:gd name="connsiteX99" fmla="*/ 1093660 w 3371374"/>
                  <a:gd name="connsiteY99" fmla="*/ 334328 h 426434"/>
                  <a:gd name="connsiteX100" fmla="*/ 1207198 w 3371374"/>
                  <a:gd name="connsiteY100" fmla="*/ 334328 h 426434"/>
                  <a:gd name="connsiteX101" fmla="*/ 1207198 w 3371374"/>
                  <a:gd name="connsiteY101" fmla="*/ 340519 h 426434"/>
                  <a:gd name="connsiteX102" fmla="*/ 1476375 w 3371374"/>
                  <a:gd name="connsiteY102" fmla="*/ 340519 h 426434"/>
                  <a:gd name="connsiteX103" fmla="*/ 1476375 w 3371374"/>
                  <a:gd name="connsiteY103" fmla="*/ 346805 h 426434"/>
                  <a:gd name="connsiteX104" fmla="*/ 1550003 w 3371374"/>
                  <a:gd name="connsiteY104" fmla="*/ 346805 h 426434"/>
                  <a:gd name="connsiteX105" fmla="*/ 1550003 w 3371374"/>
                  <a:gd name="connsiteY105" fmla="*/ 353092 h 426434"/>
                  <a:gd name="connsiteX106" fmla="*/ 1629918 w 3371374"/>
                  <a:gd name="connsiteY106" fmla="*/ 353092 h 426434"/>
                  <a:gd name="connsiteX107" fmla="*/ 1629918 w 3371374"/>
                  <a:gd name="connsiteY107" fmla="*/ 359378 h 426434"/>
                  <a:gd name="connsiteX108" fmla="*/ 1791843 w 3371374"/>
                  <a:gd name="connsiteY108" fmla="*/ 359378 h 426434"/>
                  <a:gd name="connsiteX109" fmla="*/ 1791843 w 3371374"/>
                  <a:gd name="connsiteY109" fmla="*/ 365855 h 426434"/>
                  <a:gd name="connsiteX110" fmla="*/ 1808702 w 3371374"/>
                  <a:gd name="connsiteY110" fmla="*/ 365855 h 426434"/>
                  <a:gd name="connsiteX111" fmla="*/ 1808702 w 3371374"/>
                  <a:gd name="connsiteY111" fmla="*/ 372237 h 426434"/>
                  <a:gd name="connsiteX112" fmla="*/ 1926526 w 3371374"/>
                  <a:gd name="connsiteY112" fmla="*/ 372237 h 426434"/>
                  <a:gd name="connsiteX113" fmla="*/ 1926526 w 3371374"/>
                  <a:gd name="connsiteY113" fmla="*/ 378714 h 426434"/>
                  <a:gd name="connsiteX114" fmla="*/ 2019014 w 3371374"/>
                  <a:gd name="connsiteY114" fmla="*/ 378714 h 426434"/>
                  <a:gd name="connsiteX115" fmla="*/ 2019014 w 3371374"/>
                  <a:gd name="connsiteY115" fmla="*/ 385096 h 426434"/>
                  <a:gd name="connsiteX116" fmla="*/ 2037969 w 3371374"/>
                  <a:gd name="connsiteY116" fmla="*/ 385096 h 426434"/>
                  <a:gd name="connsiteX117" fmla="*/ 2037969 w 3371374"/>
                  <a:gd name="connsiteY117" fmla="*/ 391573 h 426434"/>
                  <a:gd name="connsiteX118" fmla="*/ 2891790 w 3371374"/>
                  <a:gd name="connsiteY118" fmla="*/ 391573 h 426434"/>
                  <a:gd name="connsiteX119" fmla="*/ 2891790 w 3371374"/>
                  <a:gd name="connsiteY119" fmla="*/ 426434 h 426434"/>
                  <a:gd name="connsiteX120" fmla="*/ 3371374 w 3371374"/>
                  <a:gd name="connsiteY120" fmla="*/ 426434 h 426434"/>
                  <a:gd name="connsiteX0" fmla="*/ 0 w 3371374"/>
                  <a:gd name="connsiteY0" fmla="*/ 0 h 426434"/>
                  <a:gd name="connsiteX1" fmla="*/ 0 w 3371374"/>
                  <a:gd name="connsiteY1" fmla="*/ 6096 h 426434"/>
                  <a:gd name="connsiteX2" fmla="*/ 8382 w 3371374"/>
                  <a:gd name="connsiteY2" fmla="*/ 12192 h 426434"/>
                  <a:gd name="connsiteX3" fmla="*/ 10477 w 3371374"/>
                  <a:gd name="connsiteY3" fmla="*/ 12192 h 426434"/>
                  <a:gd name="connsiteX4" fmla="*/ 10477 w 3371374"/>
                  <a:gd name="connsiteY4" fmla="*/ 18193 h 426434"/>
                  <a:gd name="connsiteX5" fmla="*/ 25241 w 3371374"/>
                  <a:gd name="connsiteY5" fmla="*/ 18193 h 426434"/>
                  <a:gd name="connsiteX6" fmla="*/ 25241 w 3371374"/>
                  <a:gd name="connsiteY6" fmla="*/ 30385 h 426434"/>
                  <a:gd name="connsiteX7" fmla="*/ 27337 w 3371374"/>
                  <a:gd name="connsiteY7" fmla="*/ 30385 h 426434"/>
                  <a:gd name="connsiteX8" fmla="*/ 27337 w 3371374"/>
                  <a:gd name="connsiteY8" fmla="*/ 36386 h 426434"/>
                  <a:gd name="connsiteX9" fmla="*/ 33623 w 3371374"/>
                  <a:gd name="connsiteY9" fmla="*/ 36386 h 426434"/>
                  <a:gd name="connsiteX10" fmla="*/ 33623 w 3371374"/>
                  <a:gd name="connsiteY10" fmla="*/ 42482 h 426434"/>
                  <a:gd name="connsiteX11" fmla="*/ 37814 w 3371374"/>
                  <a:gd name="connsiteY11" fmla="*/ 42482 h 426434"/>
                  <a:gd name="connsiteX12" fmla="*/ 37814 w 3371374"/>
                  <a:gd name="connsiteY12" fmla="*/ 48578 h 426434"/>
                  <a:gd name="connsiteX13" fmla="*/ 54673 w 3371374"/>
                  <a:gd name="connsiteY13" fmla="*/ 48578 h 426434"/>
                  <a:gd name="connsiteX14" fmla="*/ 54673 w 3371374"/>
                  <a:gd name="connsiteY14" fmla="*/ 60674 h 426434"/>
                  <a:gd name="connsiteX15" fmla="*/ 58864 w 3371374"/>
                  <a:gd name="connsiteY15" fmla="*/ 60674 h 426434"/>
                  <a:gd name="connsiteX16" fmla="*/ 58864 w 3371374"/>
                  <a:gd name="connsiteY16" fmla="*/ 66770 h 426434"/>
                  <a:gd name="connsiteX17" fmla="*/ 82010 w 3371374"/>
                  <a:gd name="connsiteY17" fmla="*/ 66770 h 426434"/>
                  <a:gd name="connsiteX18" fmla="*/ 82010 w 3371374"/>
                  <a:gd name="connsiteY18" fmla="*/ 72866 h 426434"/>
                  <a:gd name="connsiteX19" fmla="*/ 86201 w 3371374"/>
                  <a:gd name="connsiteY19" fmla="*/ 72866 h 426434"/>
                  <a:gd name="connsiteX20" fmla="*/ 86201 w 3371374"/>
                  <a:gd name="connsiteY20" fmla="*/ 78867 h 426434"/>
                  <a:gd name="connsiteX21" fmla="*/ 92488 w 3371374"/>
                  <a:gd name="connsiteY21" fmla="*/ 78867 h 426434"/>
                  <a:gd name="connsiteX22" fmla="*/ 92488 w 3371374"/>
                  <a:gd name="connsiteY22" fmla="*/ 91059 h 426434"/>
                  <a:gd name="connsiteX23" fmla="*/ 111442 w 3371374"/>
                  <a:gd name="connsiteY23" fmla="*/ 91059 h 426434"/>
                  <a:gd name="connsiteX24" fmla="*/ 111442 w 3371374"/>
                  <a:gd name="connsiteY24" fmla="*/ 97060 h 426434"/>
                  <a:gd name="connsiteX25" fmla="*/ 119824 w 3371374"/>
                  <a:gd name="connsiteY25" fmla="*/ 97060 h 426434"/>
                  <a:gd name="connsiteX26" fmla="*/ 119824 w 3371374"/>
                  <a:gd name="connsiteY26" fmla="*/ 103156 h 426434"/>
                  <a:gd name="connsiteX27" fmla="*/ 132493 w 3371374"/>
                  <a:gd name="connsiteY27" fmla="*/ 103156 h 426434"/>
                  <a:gd name="connsiteX28" fmla="*/ 132493 w 3371374"/>
                  <a:gd name="connsiteY28" fmla="*/ 109252 h 426434"/>
                  <a:gd name="connsiteX29" fmla="*/ 149352 w 3371374"/>
                  <a:gd name="connsiteY29" fmla="*/ 109252 h 426434"/>
                  <a:gd name="connsiteX30" fmla="*/ 149352 w 3371374"/>
                  <a:gd name="connsiteY30" fmla="*/ 115253 h 426434"/>
                  <a:gd name="connsiteX31" fmla="*/ 176689 w 3371374"/>
                  <a:gd name="connsiteY31" fmla="*/ 115253 h 426434"/>
                  <a:gd name="connsiteX32" fmla="*/ 176689 w 3371374"/>
                  <a:gd name="connsiteY32" fmla="*/ 121349 h 426434"/>
                  <a:gd name="connsiteX33" fmla="*/ 178784 w 3371374"/>
                  <a:gd name="connsiteY33" fmla="*/ 121349 h 426434"/>
                  <a:gd name="connsiteX34" fmla="*/ 178784 w 3371374"/>
                  <a:gd name="connsiteY34" fmla="*/ 127445 h 426434"/>
                  <a:gd name="connsiteX35" fmla="*/ 189261 w 3371374"/>
                  <a:gd name="connsiteY35" fmla="*/ 127445 h 426434"/>
                  <a:gd name="connsiteX36" fmla="*/ 189261 w 3371374"/>
                  <a:gd name="connsiteY36" fmla="*/ 133445 h 426434"/>
                  <a:gd name="connsiteX37" fmla="*/ 195548 w 3371374"/>
                  <a:gd name="connsiteY37" fmla="*/ 133445 h 426434"/>
                  <a:gd name="connsiteX38" fmla="*/ 195548 w 3371374"/>
                  <a:gd name="connsiteY38" fmla="*/ 145637 h 426434"/>
                  <a:gd name="connsiteX39" fmla="*/ 204025 w 3371374"/>
                  <a:gd name="connsiteY39" fmla="*/ 145637 h 426434"/>
                  <a:gd name="connsiteX40" fmla="*/ 204025 w 3371374"/>
                  <a:gd name="connsiteY40" fmla="*/ 151638 h 426434"/>
                  <a:gd name="connsiteX41" fmla="*/ 210312 w 3371374"/>
                  <a:gd name="connsiteY41" fmla="*/ 151638 h 426434"/>
                  <a:gd name="connsiteX42" fmla="*/ 210312 w 3371374"/>
                  <a:gd name="connsiteY42" fmla="*/ 163830 h 426434"/>
                  <a:gd name="connsiteX43" fmla="*/ 212407 w 3371374"/>
                  <a:gd name="connsiteY43" fmla="*/ 163830 h 426434"/>
                  <a:gd name="connsiteX44" fmla="*/ 212407 w 3371374"/>
                  <a:gd name="connsiteY44" fmla="*/ 169926 h 426434"/>
                  <a:gd name="connsiteX45" fmla="*/ 224980 w 3371374"/>
                  <a:gd name="connsiteY45" fmla="*/ 169926 h 426434"/>
                  <a:gd name="connsiteX46" fmla="*/ 224980 w 3371374"/>
                  <a:gd name="connsiteY46" fmla="*/ 175927 h 426434"/>
                  <a:gd name="connsiteX47" fmla="*/ 248126 w 3371374"/>
                  <a:gd name="connsiteY47" fmla="*/ 175927 h 426434"/>
                  <a:gd name="connsiteX48" fmla="*/ 248126 w 3371374"/>
                  <a:gd name="connsiteY48" fmla="*/ 182023 h 426434"/>
                  <a:gd name="connsiteX49" fmla="*/ 254508 w 3371374"/>
                  <a:gd name="connsiteY49" fmla="*/ 182023 h 426434"/>
                  <a:gd name="connsiteX50" fmla="*/ 254508 w 3371374"/>
                  <a:gd name="connsiteY50" fmla="*/ 188119 h 426434"/>
                  <a:gd name="connsiteX51" fmla="*/ 262890 w 3371374"/>
                  <a:gd name="connsiteY51" fmla="*/ 188119 h 426434"/>
                  <a:gd name="connsiteX52" fmla="*/ 262890 w 3371374"/>
                  <a:gd name="connsiteY52" fmla="*/ 194120 h 426434"/>
                  <a:gd name="connsiteX53" fmla="*/ 271272 w 3371374"/>
                  <a:gd name="connsiteY53" fmla="*/ 194120 h 426434"/>
                  <a:gd name="connsiteX54" fmla="*/ 271272 w 3371374"/>
                  <a:gd name="connsiteY54" fmla="*/ 200216 h 426434"/>
                  <a:gd name="connsiteX55" fmla="*/ 275463 w 3371374"/>
                  <a:gd name="connsiteY55" fmla="*/ 200216 h 426434"/>
                  <a:gd name="connsiteX56" fmla="*/ 275463 w 3371374"/>
                  <a:gd name="connsiteY56" fmla="*/ 206312 h 426434"/>
                  <a:gd name="connsiteX57" fmla="*/ 349091 w 3371374"/>
                  <a:gd name="connsiteY57" fmla="*/ 206312 h 426434"/>
                  <a:gd name="connsiteX58" fmla="*/ 349091 w 3371374"/>
                  <a:gd name="connsiteY58" fmla="*/ 212312 h 426434"/>
                  <a:gd name="connsiteX59" fmla="*/ 370141 w 3371374"/>
                  <a:gd name="connsiteY59" fmla="*/ 212312 h 426434"/>
                  <a:gd name="connsiteX60" fmla="*/ 370141 w 3371374"/>
                  <a:gd name="connsiteY60" fmla="*/ 218408 h 426434"/>
                  <a:gd name="connsiteX61" fmla="*/ 376428 w 3371374"/>
                  <a:gd name="connsiteY61" fmla="*/ 218408 h 426434"/>
                  <a:gd name="connsiteX62" fmla="*/ 376428 w 3371374"/>
                  <a:gd name="connsiteY62" fmla="*/ 224504 h 426434"/>
                  <a:gd name="connsiteX63" fmla="*/ 418528 w 3371374"/>
                  <a:gd name="connsiteY63" fmla="*/ 224504 h 426434"/>
                  <a:gd name="connsiteX64" fmla="*/ 418528 w 3371374"/>
                  <a:gd name="connsiteY64" fmla="*/ 230505 h 426434"/>
                  <a:gd name="connsiteX65" fmla="*/ 433197 w 3371374"/>
                  <a:gd name="connsiteY65" fmla="*/ 230505 h 426434"/>
                  <a:gd name="connsiteX66" fmla="*/ 433197 w 3371374"/>
                  <a:gd name="connsiteY66" fmla="*/ 236601 h 426434"/>
                  <a:gd name="connsiteX67" fmla="*/ 462724 w 3371374"/>
                  <a:gd name="connsiteY67" fmla="*/ 236601 h 426434"/>
                  <a:gd name="connsiteX68" fmla="*/ 462724 w 3371374"/>
                  <a:gd name="connsiteY68" fmla="*/ 242697 h 426434"/>
                  <a:gd name="connsiteX69" fmla="*/ 464820 w 3371374"/>
                  <a:gd name="connsiteY69" fmla="*/ 242697 h 426434"/>
                  <a:gd name="connsiteX70" fmla="*/ 464820 w 3371374"/>
                  <a:gd name="connsiteY70" fmla="*/ 248698 h 426434"/>
                  <a:gd name="connsiteX71" fmla="*/ 487870 w 3371374"/>
                  <a:gd name="connsiteY71" fmla="*/ 248698 h 426434"/>
                  <a:gd name="connsiteX72" fmla="*/ 487870 w 3371374"/>
                  <a:gd name="connsiteY72" fmla="*/ 254794 h 426434"/>
                  <a:gd name="connsiteX73" fmla="*/ 500539 w 3371374"/>
                  <a:gd name="connsiteY73" fmla="*/ 254794 h 426434"/>
                  <a:gd name="connsiteX74" fmla="*/ 500539 w 3371374"/>
                  <a:gd name="connsiteY74" fmla="*/ 260890 h 426434"/>
                  <a:gd name="connsiteX75" fmla="*/ 536257 w 3371374"/>
                  <a:gd name="connsiteY75" fmla="*/ 260890 h 426434"/>
                  <a:gd name="connsiteX76" fmla="*/ 536257 w 3371374"/>
                  <a:gd name="connsiteY76" fmla="*/ 266986 h 426434"/>
                  <a:gd name="connsiteX77" fmla="*/ 651986 w 3371374"/>
                  <a:gd name="connsiteY77" fmla="*/ 266986 h 426434"/>
                  <a:gd name="connsiteX78" fmla="*/ 651986 w 3371374"/>
                  <a:gd name="connsiteY78" fmla="*/ 272987 h 426434"/>
                  <a:gd name="connsiteX79" fmla="*/ 689800 w 3371374"/>
                  <a:gd name="connsiteY79" fmla="*/ 272987 h 426434"/>
                  <a:gd name="connsiteX80" fmla="*/ 689800 w 3371374"/>
                  <a:gd name="connsiteY80" fmla="*/ 279178 h 426434"/>
                  <a:gd name="connsiteX81" fmla="*/ 742378 w 3371374"/>
                  <a:gd name="connsiteY81" fmla="*/ 279178 h 426434"/>
                  <a:gd name="connsiteX82" fmla="*/ 742378 w 3371374"/>
                  <a:gd name="connsiteY82" fmla="*/ 285274 h 426434"/>
                  <a:gd name="connsiteX83" fmla="*/ 761333 w 3371374"/>
                  <a:gd name="connsiteY83" fmla="*/ 285274 h 426434"/>
                  <a:gd name="connsiteX84" fmla="*/ 761333 w 3371374"/>
                  <a:gd name="connsiteY84" fmla="*/ 291370 h 426434"/>
                  <a:gd name="connsiteX85" fmla="*/ 771811 w 3371374"/>
                  <a:gd name="connsiteY85" fmla="*/ 291370 h 426434"/>
                  <a:gd name="connsiteX86" fmla="*/ 771811 w 3371374"/>
                  <a:gd name="connsiteY86" fmla="*/ 297561 h 426434"/>
                  <a:gd name="connsiteX87" fmla="*/ 805529 w 3371374"/>
                  <a:gd name="connsiteY87" fmla="*/ 297561 h 426434"/>
                  <a:gd name="connsiteX88" fmla="*/ 805529 w 3371374"/>
                  <a:gd name="connsiteY88" fmla="*/ 303657 h 426434"/>
                  <a:gd name="connsiteX89" fmla="*/ 811816 w 3371374"/>
                  <a:gd name="connsiteY89" fmla="*/ 303657 h 426434"/>
                  <a:gd name="connsiteX90" fmla="*/ 811816 w 3371374"/>
                  <a:gd name="connsiteY90" fmla="*/ 309753 h 426434"/>
                  <a:gd name="connsiteX91" fmla="*/ 826484 w 3371374"/>
                  <a:gd name="connsiteY91" fmla="*/ 309753 h 426434"/>
                  <a:gd name="connsiteX92" fmla="*/ 826484 w 3371374"/>
                  <a:gd name="connsiteY92" fmla="*/ 315849 h 426434"/>
                  <a:gd name="connsiteX93" fmla="*/ 839152 w 3371374"/>
                  <a:gd name="connsiteY93" fmla="*/ 315849 h 426434"/>
                  <a:gd name="connsiteX94" fmla="*/ 839152 w 3371374"/>
                  <a:gd name="connsiteY94" fmla="*/ 322040 h 426434"/>
                  <a:gd name="connsiteX95" fmla="*/ 864394 w 3371374"/>
                  <a:gd name="connsiteY95" fmla="*/ 322040 h 426434"/>
                  <a:gd name="connsiteX96" fmla="*/ 864394 w 3371374"/>
                  <a:gd name="connsiteY96" fmla="*/ 328136 h 426434"/>
                  <a:gd name="connsiteX97" fmla="*/ 1093660 w 3371374"/>
                  <a:gd name="connsiteY97" fmla="*/ 328136 h 426434"/>
                  <a:gd name="connsiteX98" fmla="*/ 1093660 w 3371374"/>
                  <a:gd name="connsiteY98" fmla="*/ 334328 h 426434"/>
                  <a:gd name="connsiteX99" fmla="*/ 1207198 w 3371374"/>
                  <a:gd name="connsiteY99" fmla="*/ 334328 h 426434"/>
                  <a:gd name="connsiteX100" fmla="*/ 1207198 w 3371374"/>
                  <a:gd name="connsiteY100" fmla="*/ 340519 h 426434"/>
                  <a:gd name="connsiteX101" fmla="*/ 1476375 w 3371374"/>
                  <a:gd name="connsiteY101" fmla="*/ 340519 h 426434"/>
                  <a:gd name="connsiteX102" fmla="*/ 1476375 w 3371374"/>
                  <a:gd name="connsiteY102" fmla="*/ 346805 h 426434"/>
                  <a:gd name="connsiteX103" fmla="*/ 1550003 w 3371374"/>
                  <a:gd name="connsiteY103" fmla="*/ 346805 h 426434"/>
                  <a:gd name="connsiteX104" fmla="*/ 1550003 w 3371374"/>
                  <a:gd name="connsiteY104" fmla="*/ 353092 h 426434"/>
                  <a:gd name="connsiteX105" fmla="*/ 1629918 w 3371374"/>
                  <a:gd name="connsiteY105" fmla="*/ 353092 h 426434"/>
                  <a:gd name="connsiteX106" fmla="*/ 1629918 w 3371374"/>
                  <a:gd name="connsiteY106" fmla="*/ 359378 h 426434"/>
                  <a:gd name="connsiteX107" fmla="*/ 1791843 w 3371374"/>
                  <a:gd name="connsiteY107" fmla="*/ 359378 h 426434"/>
                  <a:gd name="connsiteX108" fmla="*/ 1791843 w 3371374"/>
                  <a:gd name="connsiteY108" fmla="*/ 365855 h 426434"/>
                  <a:gd name="connsiteX109" fmla="*/ 1808702 w 3371374"/>
                  <a:gd name="connsiteY109" fmla="*/ 365855 h 426434"/>
                  <a:gd name="connsiteX110" fmla="*/ 1808702 w 3371374"/>
                  <a:gd name="connsiteY110" fmla="*/ 372237 h 426434"/>
                  <a:gd name="connsiteX111" fmla="*/ 1926526 w 3371374"/>
                  <a:gd name="connsiteY111" fmla="*/ 372237 h 426434"/>
                  <a:gd name="connsiteX112" fmla="*/ 1926526 w 3371374"/>
                  <a:gd name="connsiteY112" fmla="*/ 378714 h 426434"/>
                  <a:gd name="connsiteX113" fmla="*/ 2019014 w 3371374"/>
                  <a:gd name="connsiteY113" fmla="*/ 378714 h 426434"/>
                  <a:gd name="connsiteX114" fmla="*/ 2019014 w 3371374"/>
                  <a:gd name="connsiteY114" fmla="*/ 385096 h 426434"/>
                  <a:gd name="connsiteX115" fmla="*/ 2037969 w 3371374"/>
                  <a:gd name="connsiteY115" fmla="*/ 385096 h 426434"/>
                  <a:gd name="connsiteX116" fmla="*/ 2037969 w 3371374"/>
                  <a:gd name="connsiteY116" fmla="*/ 391573 h 426434"/>
                  <a:gd name="connsiteX117" fmla="*/ 2891790 w 3371374"/>
                  <a:gd name="connsiteY117" fmla="*/ 391573 h 426434"/>
                  <a:gd name="connsiteX118" fmla="*/ 2891790 w 3371374"/>
                  <a:gd name="connsiteY118" fmla="*/ 426434 h 426434"/>
                  <a:gd name="connsiteX119" fmla="*/ 3371374 w 3371374"/>
                  <a:gd name="connsiteY119" fmla="*/ 426434 h 426434"/>
                  <a:gd name="connsiteX0" fmla="*/ 0 w 3371374"/>
                  <a:gd name="connsiteY0" fmla="*/ 0 h 420338"/>
                  <a:gd name="connsiteX1" fmla="*/ 8382 w 3371374"/>
                  <a:gd name="connsiteY1" fmla="*/ 6096 h 420338"/>
                  <a:gd name="connsiteX2" fmla="*/ 10477 w 3371374"/>
                  <a:gd name="connsiteY2" fmla="*/ 6096 h 420338"/>
                  <a:gd name="connsiteX3" fmla="*/ 10477 w 3371374"/>
                  <a:gd name="connsiteY3" fmla="*/ 12097 h 420338"/>
                  <a:gd name="connsiteX4" fmla="*/ 25241 w 3371374"/>
                  <a:gd name="connsiteY4" fmla="*/ 12097 h 420338"/>
                  <a:gd name="connsiteX5" fmla="*/ 25241 w 3371374"/>
                  <a:gd name="connsiteY5" fmla="*/ 24289 h 420338"/>
                  <a:gd name="connsiteX6" fmla="*/ 27337 w 3371374"/>
                  <a:gd name="connsiteY6" fmla="*/ 24289 h 420338"/>
                  <a:gd name="connsiteX7" fmla="*/ 27337 w 3371374"/>
                  <a:gd name="connsiteY7" fmla="*/ 30290 h 420338"/>
                  <a:gd name="connsiteX8" fmla="*/ 33623 w 3371374"/>
                  <a:gd name="connsiteY8" fmla="*/ 30290 h 420338"/>
                  <a:gd name="connsiteX9" fmla="*/ 33623 w 3371374"/>
                  <a:gd name="connsiteY9" fmla="*/ 36386 h 420338"/>
                  <a:gd name="connsiteX10" fmla="*/ 37814 w 3371374"/>
                  <a:gd name="connsiteY10" fmla="*/ 36386 h 420338"/>
                  <a:gd name="connsiteX11" fmla="*/ 37814 w 3371374"/>
                  <a:gd name="connsiteY11" fmla="*/ 42482 h 420338"/>
                  <a:gd name="connsiteX12" fmla="*/ 54673 w 3371374"/>
                  <a:gd name="connsiteY12" fmla="*/ 42482 h 420338"/>
                  <a:gd name="connsiteX13" fmla="*/ 54673 w 3371374"/>
                  <a:gd name="connsiteY13" fmla="*/ 54578 h 420338"/>
                  <a:gd name="connsiteX14" fmla="*/ 58864 w 3371374"/>
                  <a:gd name="connsiteY14" fmla="*/ 54578 h 420338"/>
                  <a:gd name="connsiteX15" fmla="*/ 58864 w 3371374"/>
                  <a:gd name="connsiteY15" fmla="*/ 60674 h 420338"/>
                  <a:gd name="connsiteX16" fmla="*/ 82010 w 3371374"/>
                  <a:gd name="connsiteY16" fmla="*/ 60674 h 420338"/>
                  <a:gd name="connsiteX17" fmla="*/ 82010 w 3371374"/>
                  <a:gd name="connsiteY17" fmla="*/ 66770 h 420338"/>
                  <a:gd name="connsiteX18" fmla="*/ 86201 w 3371374"/>
                  <a:gd name="connsiteY18" fmla="*/ 66770 h 420338"/>
                  <a:gd name="connsiteX19" fmla="*/ 86201 w 3371374"/>
                  <a:gd name="connsiteY19" fmla="*/ 72771 h 420338"/>
                  <a:gd name="connsiteX20" fmla="*/ 92488 w 3371374"/>
                  <a:gd name="connsiteY20" fmla="*/ 72771 h 420338"/>
                  <a:gd name="connsiteX21" fmla="*/ 92488 w 3371374"/>
                  <a:gd name="connsiteY21" fmla="*/ 84963 h 420338"/>
                  <a:gd name="connsiteX22" fmla="*/ 111442 w 3371374"/>
                  <a:gd name="connsiteY22" fmla="*/ 84963 h 420338"/>
                  <a:gd name="connsiteX23" fmla="*/ 111442 w 3371374"/>
                  <a:gd name="connsiteY23" fmla="*/ 90964 h 420338"/>
                  <a:gd name="connsiteX24" fmla="*/ 119824 w 3371374"/>
                  <a:gd name="connsiteY24" fmla="*/ 90964 h 420338"/>
                  <a:gd name="connsiteX25" fmla="*/ 119824 w 3371374"/>
                  <a:gd name="connsiteY25" fmla="*/ 97060 h 420338"/>
                  <a:gd name="connsiteX26" fmla="*/ 132493 w 3371374"/>
                  <a:gd name="connsiteY26" fmla="*/ 97060 h 420338"/>
                  <a:gd name="connsiteX27" fmla="*/ 132493 w 3371374"/>
                  <a:gd name="connsiteY27" fmla="*/ 103156 h 420338"/>
                  <a:gd name="connsiteX28" fmla="*/ 149352 w 3371374"/>
                  <a:gd name="connsiteY28" fmla="*/ 103156 h 420338"/>
                  <a:gd name="connsiteX29" fmla="*/ 149352 w 3371374"/>
                  <a:gd name="connsiteY29" fmla="*/ 109157 h 420338"/>
                  <a:gd name="connsiteX30" fmla="*/ 176689 w 3371374"/>
                  <a:gd name="connsiteY30" fmla="*/ 109157 h 420338"/>
                  <a:gd name="connsiteX31" fmla="*/ 176689 w 3371374"/>
                  <a:gd name="connsiteY31" fmla="*/ 115253 h 420338"/>
                  <a:gd name="connsiteX32" fmla="*/ 178784 w 3371374"/>
                  <a:gd name="connsiteY32" fmla="*/ 115253 h 420338"/>
                  <a:gd name="connsiteX33" fmla="*/ 178784 w 3371374"/>
                  <a:gd name="connsiteY33" fmla="*/ 121349 h 420338"/>
                  <a:gd name="connsiteX34" fmla="*/ 189261 w 3371374"/>
                  <a:gd name="connsiteY34" fmla="*/ 121349 h 420338"/>
                  <a:gd name="connsiteX35" fmla="*/ 189261 w 3371374"/>
                  <a:gd name="connsiteY35" fmla="*/ 127349 h 420338"/>
                  <a:gd name="connsiteX36" fmla="*/ 195548 w 3371374"/>
                  <a:gd name="connsiteY36" fmla="*/ 127349 h 420338"/>
                  <a:gd name="connsiteX37" fmla="*/ 195548 w 3371374"/>
                  <a:gd name="connsiteY37" fmla="*/ 139541 h 420338"/>
                  <a:gd name="connsiteX38" fmla="*/ 204025 w 3371374"/>
                  <a:gd name="connsiteY38" fmla="*/ 139541 h 420338"/>
                  <a:gd name="connsiteX39" fmla="*/ 204025 w 3371374"/>
                  <a:gd name="connsiteY39" fmla="*/ 145542 h 420338"/>
                  <a:gd name="connsiteX40" fmla="*/ 210312 w 3371374"/>
                  <a:gd name="connsiteY40" fmla="*/ 145542 h 420338"/>
                  <a:gd name="connsiteX41" fmla="*/ 210312 w 3371374"/>
                  <a:gd name="connsiteY41" fmla="*/ 157734 h 420338"/>
                  <a:gd name="connsiteX42" fmla="*/ 212407 w 3371374"/>
                  <a:gd name="connsiteY42" fmla="*/ 157734 h 420338"/>
                  <a:gd name="connsiteX43" fmla="*/ 212407 w 3371374"/>
                  <a:gd name="connsiteY43" fmla="*/ 163830 h 420338"/>
                  <a:gd name="connsiteX44" fmla="*/ 224980 w 3371374"/>
                  <a:gd name="connsiteY44" fmla="*/ 163830 h 420338"/>
                  <a:gd name="connsiteX45" fmla="*/ 224980 w 3371374"/>
                  <a:gd name="connsiteY45" fmla="*/ 169831 h 420338"/>
                  <a:gd name="connsiteX46" fmla="*/ 248126 w 3371374"/>
                  <a:gd name="connsiteY46" fmla="*/ 169831 h 420338"/>
                  <a:gd name="connsiteX47" fmla="*/ 248126 w 3371374"/>
                  <a:gd name="connsiteY47" fmla="*/ 175927 h 420338"/>
                  <a:gd name="connsiteX48" fmla="*/ 254508 w 3371374"/>
                  <a:gd name="connsiteY48" fmla="*/ 175927 h 420338"/>
                  <a:gd name="connsiteX49" fmla="*/ 254508 w 3371374"/>
                  <a:gd name="connsiteY49" fmla="*/ 182023 h 420338"/>
                  <a:gd name="connsiteX50" fmla="*/ 262890 w 3371374"/>
                  <a:gd name="connsiteY50" fmla="*/ 182023 h 420338"/>
                  <a:gd name="connsiteX51" fmla="*/ 262890 w 3371374"/>
                  <a:gd name="connsiteY51" fmla="*/ 188024 h 420338"/>
                  <a:gd name="connsiteX52" fmla="*/ 271272 w 3371374"/>
                  <a:gd name="connsiteY52" fmla="*/ 188024 h 420338"/>
                  <a:gd name="connsiteX53" fmla="*/ 271272 w 3371374"/>
                  <a:gd name="connsiteY53" fmla="*/ 194120 h 420338"/>
                  <a:gd name="connsiteX54" fmla="*/ 275463 w 3371374"/>
                  <a:gd name="connsiteY54" fmla="*/ 194120 h 420338"/>
                  <a:gd name="connsiteX55" fmla="*/ 275463 w 3371374"/>
                  <a:gd name="connsiteY55" fmla="*/ 200216 h 420338"/>
                  <a:gd name="connsiteX56" fmla="*/ 349091 w 3371374"/>
                  <a:gd name="connsiteY56" fmla="*/ 200216 h 420338"/>
                  <a:gd name="connsiteX57" fmla="*/ 349091 w 3371374"/>
                  <a:gd name="connsiteY57" fmla="*/ 206216 h 420338"/>
                  <a:gd name="connsiteX58" fmla="*/ 370141 w 3371374"/>
                  <a:gd name="connsiteY58" fmla="*/ 206216 h 420338"/>
                  <a:gd name="connsiteX59" fmla="*/ 370141 w 3371374"/>
                  <a:gd name="connsiteY59" fmla="*/ 212312 h 420338"/>
                  <a:gd name="connsiteX60" fmla="*/ 376428 w 3371374"/>
                  <a:gd name="connsiteY60" fmla="*/ 212312 h 420338"/>
                  <a:gd name="connsiteX61" fmla="*/ 376428 w 3371374"/>
                  <a:gd name="connsiteY61" fmla="*/ 218408 h 420338"/>
                  <a:gd name="connsiteX62" fmla="*/ 418528 w 3371374"/>
                  <a:gd name="connsiteY62" fmla="*/ 218408 h 420338"/>
                  <a:gd name="connsiteX63" fmla="*/ 418528 w 3371374"/>
                  <a:gd name="connsiteY63" fmla="*/ 224409 h 420338"/>
                  <a:gd name="connsiteX64" fmla="*/ 433197 w 3371374"/>
                  <a:gd name="connsiteY64" fmla="*/ 224409 h 420338"/>
                  <a:gd name="connsiteX65" fmla="*/ 433197 w 3371374"/>
                  <a:gd name="connsiteY65" fmla="*/ 230505 h 420338"/>
                  <a:gd name="connsiteX66" fmla="*/ 462724 w 3371374"/>
                  <a:gd name="connsiteY66" fmla="*/ 230505 h 420338"/>
                  <a:gd name="connsiteX67" fmla="*/ 462724 w 3371374"/>
                  <a:gd name="connsiteY67" fmla="*/ 236601 h 420338"/>
                  <a:gd name="connsiteX68" fmla="*/ 464820 w 3371374"/>
                  <a:gd name="connsiteY68" fmla="*/ 236601 h 420338"/>
                  <a:gd name="connsiteX69" fmla="*/ 464820 w 3371374"/>
                  <a:gd name="connsiteY69" fmla="*/ 242602 h 420338"/>
                  <a:gd name="connsiteX70" fmla="*/ 487870 w 3371374"/>
                  <a:gd name="connsiteY70" fmla="*/ 242602 h 420338"/>
                  <a:gd name="connsiteX71" fmla="*/ 487870 w 3371374"/>
                  <a:gd name="connsiteY71" fmla="*/ 248698 h 420338"/>
                  <a:gd name="connsiteX72" fmla="*/ 500539 w 3371374"/>
                  <a:gd name="connsiteY72" fmla="*/ 248698 h 420338"/>
                  <a:gd name="connsiteX73" fmla="*/ 500539 w 3371374"/>
                  <a:gd name="connsiteY73" fmla="*/ 254794 h 420338"/>
                  <a:gd name="connsiteX74" fmla="*/ 536257 w 3371374"/>
                  <a:gd name="connsiteY74" fmla="*/ 254794 h 420338"/>
                  <a:gd name="connsiteX75" fmla="*/ 536257 w 3371374"/>
                  <a:gd name="connsiteY75" fmla="*/ 260890 h 420338"/>
                  <a:gd name="connsiteX76" fmla="*/ 651986 w 3371374"/>
                  <a:gd name="connsiteY76" fmla="*/ 260890 h 420338"/>
                  <a:gd name="connsiteX77" fmla="*/ 651986 w 3371374"/>
                  <a:gd name="connsiteY77" fmla="*/ 266891 h 420338"/>
                  <a:gd name="connsiteX78" fmla="*/ 689800 w 3371374"/>
                  <a:gd name="connsiteY78" fmla="*/ 266891 h 420338"/>
                  <a:gd name="connsiteX79" fmla="*/ 689800 w 3371374"/>
                  <a:gd name="connsiteY79" fmla="*/ 273082 h 420338"/>
                  <a:gd name="connsiteX80" fmla="*/ 742378 w 3371374"/>
                  <a:gd name="connsiteY80" fmla="*/ 273082 h 420338"/>
                  <a:gd name="connsiteX81" fmla="*/ 742378 w 3371374"/>
                  <a:gd name="connsiteY81" fmla="*/ 279178 h 420338"/>
                  <a:gd name="connsiteX82" fmla="*/ 761333 w 3371374"/>
                  <a:gd name="connsiteY82" fmla="*/ 279178 h 420338"/>
                  <a:gd name="connsiteX83" fmla="*/ 761333 w 3371374"/>
                  <a:gd name="connsiteY83" fmla="*/ 285274 h 420338"/>
                  <a:gd name="connsiteX84" fmla="*/ 771811 w 3371374"/>
                  <a:gd name="connsiteY84" fmla="*/ 285274 h 420338"/>
                  <a:gd name="connsiteX85" fmla="*/ 771811 w 3371374"/>
                  <a:gd name="connsiteY85" fmla="*/ 291465 h 420338"/>
                  <a:gd name="connsiteX86" fmla="*/ 805529 w 3371374"/>
                  <a:gd name="connsiteY86" fmla="*/ 291465 h 420338"/>
                  <a:gd name="connsiteX87" fmla="*/ 805529 w 3371374"/>
                  <a:gd name="connsiteY87" fmla="*/ 297561 h 420338"/>
                  <a:gd name="connsiteX88" fmla="*/ 811816 w 3371374"/>
                  <a:gd name="connsiteY88" fmla="*/ 297561 h 420338"/>
                  <a:gd name="connsiteX89" fmla="*/ 811816 w 3371374"/>
                  <a:gd name="connsiteY89" fmla="*/ 303657 h 420338"/>
                  <a:gd name="connsiteX90" fmla="*/ 826484 w 3371374"/>
                  <a:gd name="connsiteY90" fmla="*/ 303657 h 420338"/>
                  <a:gd name="connsiteX91" fmla="*/ 826484 w 3371374"/>
                  <a:gd name="connsiteY91" fmla="*/ 309753 h 420338"/>
                  <a:gd name="connsiteX92" fmla="*/ 839152 w 3371374"/>
                  <a:gd name="connsiteY92" fmla="*/ 309753 h 420338"/>
                  <a:gd name="connsiteX93" fmla="*/ 839152 w 3371374"/>
                  <a:gd name="connsiteY93" fmla="*/ 315944 h 420338"/>
                  <a:gd name="connsiteX94" fmla="*/ 864394 w 3371374"/>
                  <a:gd name="connsiteY94" fmla="*/ 315944 h 420338"/>
                  <a:gd name="connsiteX95" fmla="*/ 864394 w 3371374"/>
                  <a:gd name="connsiteY95" fmla="*/ 322040 h 420338"/>
                  <a:gd name="connsiteX96" fmla="*/ 1093660 w 3371374"/>
                  <a:gd name="connsiteY96" fmla="*/ 322040 h 420338"/>
                  <a:gd name="connsiteX97" fmla="*/ 1093660 w 3371374"/>
                  <a:gd name="connsiteY97" fmla="*/ 328232 h 420338"/>
                  <a:gd name="connsiteX98" fmla="*/ 1207198 w 3371374"/>
                  <a:gd name="connsiteY98" fmla="*/ 328232 h 420338"/>
                  <a:gd name="connsiteX99" fmla="*/ 1207198 w 3371374"/>
                  <a:gd name="connsiteY99" fmla="*/ 334423 h 420338"/>
                  <a:gd name="connsiteX100" fmla="*/ 1476375 w 3371374"/>
                  <a:gd name="connsiteY100" fmla="*/ 334423 h 420338"/>
                  <a:gd name="connsiteX101" fmla="*/ 1476375 w 3371374"/>
                  <a:gd name="connsiteY101" fmla="*/ 340709 h 420338"/>
                  <a:gd name="connsiteX102" fmla="*/ 1550003 w 3371374"/>
                  <a:gd name="connsiteY102" fmla="*/ 340709 h 420338"/>
                  <a:gd name="connsiteX103" fmla="*/ 1550003 w 3371374"/>
                  <a:gd name="connsiteY103" fmla="*/ 346996 h 420338"/>
                  <a:gd name="connsiteX104" fmla="*/ 1629918 w 3371374"/>
                  <a:gd name="connsiteY104" fmla="*/ 346996 h 420338"/>
                  <a:gd name="connsiteX105" fmla="*/ 1629918 w 3371374"/>
                  <a:gd name="connsiteY105" fmla="*/ 353282 h 420338"/>
                  <a:gd name="connsiteX106" fmla="*/ 1791843 w 3371374"/>
                  <a:gd name="connsiteY106" fmla="*/ 353282 h 420338"/>
                  <a:gd name="connsiteX107" fmla="*/ 1791843 w 3371374"/>
                  <a:gd name="connsiteY107" fmla="*/ 359759 h 420338"/>
                  <a:gd name="connsiteX108" fmla="*/ 1808702 w 3371374"/>
                  <a:gd name="connsiteY108" fmla="*/ 359759 h 420338"/>
                  <a:gd name="connsiteX109" fmla="*/ 1808702 w 3371374"/>
                  <a:gd name="connsiteY109" fmla="*/ 366141 h 420338"/>
                  <a:gd name="connsiteX110" fmla="*/ 1926526 w 3371374"/>
                  <a:gd name="connsiteY110" fmla="*/ 366141 h 420338"/>
                  <a:gd name="connsiteX111" fmla="*/ 1926526 w 3371374"/>
                  <a:gd name="connsiteY111" fmla="*/ 372618 h 420338"/>
                  <a:gd name="connsiteX112" fmla="*/ 2019014 w 3371374"/>
                  <a:gd name="connsiteY112" fmla="*/ 372618 h 420338"/>
                  <a:gd name="connsiteX113" fmla="*/ 2019014 w 3371374"/>
                  <a:gd name="connsiteY113" fmla="*/ 379000 h 420338"/>
                  <a:gd name="connsiteX114" fmla="*/ 2037969 w 3371374"/>
                  <a:gd name="connsiteY114" fmla="*/ 379000 h 420338"/>
                  <a:gd name="connsiteX115" fmla="*/ 2037969 w 3371374"/>
                  <a:gd name="connsiteY115" fmla="*/ 385477 h 420338"/>
                  <a:gd name="connsiteX116" fmla="*/ 2891790 w 3371374"/>
                  <a:gd name="connsiteY116" fmla="*/ 385477 h 420338"/>
                  <a:gd name="connsiteX117" fmla="*/ 2891790 w 3371374"/>
                  <a:gd name="connsiteY117" fmla="*/ 420338 h 420338"/>
                  <a:gd name="connsiteX118" fmla="*/ 3371374 w 3371374"/>
                  <a:gd name="connsiteY118" fmla="*/ 420338 h 420338"/>
                  <a:gd name="connsiteX0" fmla="*/ 0 w 3362992"/>
                  <a:gd name="connsiteY0" fmla="*/ 0 h 414242"/>
                  <a:gd name="connsiteX1" fmla="*/ 2095 w 3362992"/>
                  <a:gd name="connsiteY1" fmla="*/ 0 h 414242"/>
                  <a:gd name="connsiteX2" fmla="*/ 2095 w 3362992"/>
                  <a:gd name="connsiteY2" fmla="*/ 6001 h 414242"/>
                  <a:gd name="connsiteX3" fmla="*/ 16859 w 3362992"/>
                  <a:gd name="connsiteY3" fmla="*/ 6001 h 414242"/>
                  <a:gd name="connsiteX4" fmla="*/ 16859 w 3362992"/>
                  <a:gd name="connsiteY4" fmla="*/ 18193 h 414242"/>
                  <a:gd name="connsiteX5" fmla="*/ 18955 w 3362992"/>
                  <a:gd name="connsiteY5" fmla="*/ 18193 h 414242"/>
                  <a:gd name="connsiteX6" fmla="*/ 18955 w 3362992"/>
                  <a:gd name="connsiteY6" fmla="*/ 24194 h 414242"/>
                  <a:gd name="connsiteX7" fmla="*/ 25241 w 3362992"/>
                  <a:gd name="connsiteY7" fmla="*/ 24194 h 414242"/>
                  <a:gd name="connsiteX8" fmla="*/ 25241 w 3362992"/>
                  <a:gd name="connsiteY8" fmla="*/ 30290 h 414242"/>
                  <a:gd name="connsiteX9" fmla="*/ 29432 w 3362992"/>
                  <a:gd name="connsiteY9" fmla="*/ 30290 h 414242"/>
                  <a:gd name="connsiteX10" fmla="*/ 29432 w 3362992"/>
                  <a:gd name="connsiteY10" fmla="*/ 36386 h 414242"/>
                  <a:gd name="connsiteX11" fmla="*/ 46291 w 3362992"/>
                  <a:gd name="connsiteY11" fmla="*/ 36386 h 414242"/>
                  <a:gd name="connsiteX12" fmla="*/ 46291 w 3362992"/>
                  <a:gd name="connsiteY12" fmla="*/ 48482 h 414242"/>
                  <a:gd name="connsiteX13" fmla="*/ 50482 w 3362992"/>
                  <a:gd name="connsiteY13" fmla="*/ 48482 h 414242"/>
                  <a:gd name="connsiteX14" fmla="*/ 50482 w 3362992"/>
                  <a:gd name="connsiteY14" fmla="*/ 54578 h 414242"/>
                  <a:gd name="connsiteX15" fmla="*/ 73628 w 3362992"/>
                  <a:gd name="connsiteY15" fmla="*/ 54578 h 414242"/>
                  <a:gd name="connsiteX16" fmla="*/ 73628 w 3362992"/>
                  <a:gd name="connsiteY16" fmla="*/ 60674 h 414242"/>
                  <a:gd name="connsiteX17" fmla="*/ 77819 w 3362992"/>
                  <a:gd name="connsiteY17" fmla="*/ 60674 h 414242"/>
                  <a:gd name="connsiteX18" fmla="*/ 77819 w 3362992"/>
                  <a:gd name="connsiteY18" fmla="*/ 66675 h 414242"/>
                  <a:gd name="connsiteX19" fmla="*/ 84106 w 3362992"/>
                  <a:gd name="connsiteY19" fmla="*/ 66675 h 414242"/>
                  <a:gd name="connsiteX20" fmla="*/ 84106 w 3362992"/>
                  <a:gd name="connsiteY20" fmla="*/ 78867 h 414242"/>
                  <a:gd name="connsiteX21" fmla="*/ 103060 w 3362992"/>
                  <a:gd name="connsiteY21" fmla="*/ 78867 h 414242"/>
                  <a:gd name="connsiteX22" fmla="*/ 103060 w 3362992"/>
                  <a:gd name="connsiteY22" fmla="*/ 84868 h 414242"/>
                  <a:gd name="connsiteX23" fmla="*/ 111442 w 3362992"/>
                  <a:gd name="connsiteY23" fmla="*/ 84868 h 414242"/>
                  <a:gd name="connsiteX24" fmla="*/ 111442 w 3362992"/>
                  <a:gd name="connsiteY24" fmla="*/ 90964 h 414242"/>
                  <a:gd name="connsiteX25" fmla="*/ 124111 w 3362992"/>
                  <a:gd name="connsiteY25" fmla="*/ 90964 h 414242"/>
                  <a:gd name="connsiteX26" fmla="*/ 124111 w 3362992"/>
                  <a:gd name="connsiteY26" fmla="*/ 97060 h 414242"/>
                  <a:gd name="connsiteX27" fmla="*/ 140970 w 3362992"/>
                  <a:gd name="connsiteY27" fmla="*/ 97060 h 414242"/>
                  <a:gd name="connsiteX28" fmla="*/ 140970 w 3362992"/>
                  <a:gd name="connsiteY28" fmla="*/ 103061 h 414242"/>
                  <a:gd name="connsiteX29" fmla="*/ 168307 w 3362992"/>
                  <a:gd name="connsiteY29" fmla="*/ 103061 h 414242"/>
                  <a:gd name="connsiteX30" fmla="*/ 168307 w 3362992"/>
                  <a:gd name="connsiteY30" fmla="*/ 109157 h 414242"/>
                  <a:gd name="connsiteX31" fmla="*/ 170402 w 3362992"/>
                  <a:gd name="connsiteY31" fmla="*/ 109157 h 414242"/>
                  <a:gd name="connsiteX32" fmla="*/ 170402 w 3362992"/>
                  <a:gd name="connsiteY32" fmla="*/ 115253 h 414242"/>
                  <a:gd name="connsiteX33" fmla="*/ 180879 w 3362992"/>
                  <a:gd name="connsiteY33" fmla="*/ 115253 h 414242"/>
                  <a:gd name="connsiteX34" fmla="*/ 180879 w 3362992"/>
                  <a:gd name="connsiteY34" fmla="*/ 121253 h 414242"/>
                  <a:gd name="connsiteX35" fmla="*/ 187166 w 3362992"/>
                  <a:gd name="connsiteY35" fmla="*/ 121253 h 414242"/>
                  <a:gd name="connsiteX36" fmla="*/ 187166 w 3362992"/>
                  <a:gd name="connsiteY36" fmla="*/ 133445 h 414242"/>
                  <a:gd name="connsiteX37" fmla="*/ 195643 w 3362992"/>
                  <a:gd name="connsiteY37" fmla="*/ 133445 h 414242"/>
                  <a:gd name="connsiteX38" fmla="*/ 195643 w 3362992"/>
                  <a:gd name="connsiteY38" fmla="*/ 139446 h 414242"/>
                  <a:gd name="connsiteX39" fmla="*/ 201930 w 3362992"/>
                  <a:gd name="connsiteY39" fmla="*/ 139446 h 414242"/>
                  <a:gd name="connsiteX40" fmla="*/ 201930 w 3362992"/>
                  <a:gd name="connsiteY40" fmla="*/ 151638 h 414242"/>
                  <a:gd name="connsiteX41" fmla="*/ 204025 w 3362992"/>
                  <a:gd name="connsiteY41" fmla="*/ 151638 h 414242"/>
                  <a:gd name="connsiteX42" fmla="*/ 204025 w 3362992"/>
                  <a:gd name="connsiteY42" fmla="*/ 157734 h 414242"/>
                  <a:gd name="connsiteX43" fmla="*/ 216598 w 3362992"/>
                  <a:gd name="connsiteY43" fmla="*/ 157734 h 414242"/>
                  <a:gd name="connsiteX44" fmla="*/ 216598 w 3362992"/>
                  <a:gd name="connsiteY44" fmla="*/ 163735 h 414242"/>
                  <a:gd name="connsiteX45" fmla="*/ 239744 w 3362992"/>
                  <a:gd name="connsiteY45" fmla="*/ 163735 h 414242"/>
                  <a:gd name="connsiteX46" fmla="*/ 239744 w 3362992"/>
                  <a:gd name="connsiteY46" fmla="*/ 169831 h 414242"/>
                  <a:gd name="connsiteX47" fmla="*/ 246126 w 3362992"/>
                  <a:gd name="connsiteY47" fmla="*/ 169831 h 414242"/>
                  <a:gd name="connsiteX48" fmla="*/ 246126 w 3362992"/>
                  <a:gd name="connsiteY48" fmla="*/ 175927 h 414242"/>
                  <a:gd name="connsiteX49" fmla="*/ 254508 w 3362992"/>
                  <a:gd name="connsiteY49" fmla="*/ 175927 h 414242"/>
                  <a:gd name="connsiteX50" fmla="*/ 254508 w 3362992"/>
                  <a:gd name="connsiteY50" fmla="*/ 181928 h 414242"/>
                  <a:gd name="connsiteX51" fmla="*/ 262890 w 3362992"/>
                  <a:gd name="connsiteY51" fmla="*/ 181928 h 414242"/>
                  <a:gd name="connsiteX52" fmla="*/ 262890 w 3362992"/>
                  <a:gd name="connsiteY52" fmla="*/ 188024 h 414242"/>
                  <a:gd name="connsiteX53" fmla="*/ 267081 w 3362992"/>
                  <a:gd name="connsiteY53" fmla="*/ 188024 h 414242"/>
                  <a:gd name="connsiteX54" fmla="*/ 267081 w 3362992"/>
                  <a:gd name="connsiteY54" fmla="*/ 194120 h 414242"/>
                  <a:gd name="connsiteX55" fmla="*/ 340709 w 3362992"/>
                  <a:gd name="connsiteY55" fmla="*/ 194120 h 414242"/>
                  <a:gd name="connsiteX56" fmla="*/ 340709 w 3362992"/>
                  <a:gd name="connsiteY56" fmla="*/ 200120 h 414242"/>
                  <a:gd name="connsiteX57" fmla="*/ 361759 w 3362992"/>
                  <a:gd name="connsiteY57" fmla="*/ 200120 h 414242"/>
                  <a:gd name="connsiteX58" fmla="*/ 361759 w 3362992"/>
                  <a:gd name="connsiteY58" fmla="*/ 206216 h 414242"/>
                  <a:gd name="connsiteX59" fmla="*/ 368046 w 3362992"/>
                  <a:gd name="connsiteY59" fmla="*/ 206216 h 414242"/>
                  <a:gd name="connsiteX60" fmla="*/ 368046 w 3362992"/>
                  <a:gd name="connsiteY60" fmla="*/ 212312 h 414242"/>
                  <a:gd name="connsiteX61" fmla="*/ 410146 w 3362992"/>
                  <a:gd name="connsiteY61" fmla="*/ 212312 h 414242"/>
                  <a:gd name="connsiteX62" fmla="*/ 410146 w 3362992"/>
                  <a:gd name="connsiteY62" fmla="*/ 218313 h 414242"/>
                  <a:gd name="connsiteX63" fmla="*/ 424815 w 3362992"/>
                  <a:gd name="connsiteY63" fmla="*/ 218313 h 414242"/>
                  <a:gd name="connsiteX64" fmla="*/ 424815 w 3362992"/>
                  <a:gd name="connsiteY64" fmla="*/ 224409 h 414242"/>
                  <a:gd name="connsiteX65" fmla="*/ 454342 w 3362992"/>
                  <a:gd name="connsiteY65" fmla="*/ 224409 h 414242"/>
                  <a:gd name="connsiteX66" fmla="*/ 454342 w 3362992"/>
                  <a:gd name="connsiteY66" fmla="*/ 230505 h 414242"/>
                  <a:gd name="connsiteX67" fmla="*/ 456438 w 3362992"/>
                  <a:gd name="connsiteY67" fmla="*/ 230505 h 414242"/>
                  <a:gd name="connsiteX68" fmla="*/ 456438 w 3362992"/>
                  <a:gd name="connsiteY68" fmla="*/ 236506 h 414242"/>
                  <a:gd name="connsiteX69" fmla="*/ 479488 w 3362992"/>
                  <a:gd name="connsiteY69" fmla="*/ 236506 h 414242"/>
                  <a:gd name="connsiteX70" fmla="*/ 479488 w 3362992"/>
                  <a:gd name="connsiteY70" fmla="*/ 242602 h 414242"/>
                  <a:gd name="connsiteX71" fmla="*/ 492157 w 3362992"/>
                  <a:gd name="connsiteY71" fmla="*/ 242602 h 414242"/>
                  <a:gd name="connsiteX72" fmla="*/ 492157 w 3362992"/>
                  <a:gd name="connsiteY72" fmla="*/ 248698 h 414242"/>
                  <a:gd name="connsiteX73" fmla="*/ 527875 w 3362992"/>
                  <a:gd name="connsiteY73" fmla="*/ 248698 h 414242"/>
                  <a:gd name="connsiteX74" fmla="*/ 527875 w 3362992"/>
                  <a:gd name="connsiteY74" fmla="*/ 254794 h 414242"/>
                  <a:gd name="connsiteX75" fmla="*/ 643604 w 3362992"/>
                  <a:gd name="connsiteY75" fmla="*/ 254794 h 414242"/>
                  <a:gd name="connsiteX76" fmla="*/ 643604 w 3362992"/>
                  <a:gd name="connsiteY76" fmla="*/ 260795 h 414242"/>
                  <a:gd name="connsiteX77" fmla="*/ 681418 w 3362992"/>
                  <a:gd name="connsiteY77" fmla="*/ 260795 h 414242"/>
                  <a:gd name="connsiteX78" fmla="*/ 681418 w 3362992"/>
                  <a:gd name="connsiteY78" fmla="*/ 266986 h 414242"/>
                  <a:gd name="connsiteX79" fmla="*/ 733996 w 3362992"/>
                  <a:gd name="connsiteY79" fmla="*/ 266986 h 414242"/>
                  <a:gd name="connsiteX80" fmla="*/ 733996 w 3362992"/>
                  <a:gd name="connsiteY80" fmla="*/ 273082 h 414242"/>
                  <a:gd name="connsiteX81" fmla="*/ 752951 w 3362992"/>
                  <a:gd name="connsiteY81" fmla="*/ 273082 h 414242"/>
                  <a:gd name="connsiteX82" fmla="*/ 752951 w 3362992"/>
                  <a:gd name="connsiteY82" fmla="*/ 279178 h 414242"/>
                  <a:gd name="connsiteX83" fmla="*/ 763429 w 3362992"/>
                  <a:gd name="connsiteY83" fmla="*/ 279178 h 414242"/>
                  <a:gd name="connsiteX84" fmla="*/ 763429 w 3362992"/>
                  <a:gd name="connsiteY84" fmla="*/ 285369 h 414242"/>
                  <a:gd name="connsiteX85" fmla="*/ 797147 w 3362992"/>
                  <a:gd name="connsiteY85" fmla="*/ 285369 h 414242"/>
                  <a:gd name="connsiteX86" fmla="*/ 797147 w 3362992"/>
                  <a:gd name="connsiteY86" fmla="*/ 291465 h 414242"/>
                  <a:gd name="connsiteX87" fmla="*/ 803434 w 3362992"/>
                  <a:gd name="connsiteY87" fmla="*/ 291465 h 414242"/>
                  <a:gd name="connsiteX88" fmla="*/ 803434 w 3362992"/>
                  <a:gd name="connsiteY88" fmla="*/ 297561 h 414242"/>
                  <a:gd name="connsiteX89" fmla="*/ 818102 w 3362992"/>
                  <a:gd name="connsiteY89" fmla="*/ 297561 h 414242"/>
                  <a:gd name="connsiteX90" fmla="*/ 818102 w 3362992"/>
                  <a:gd name="connsiteY90" fmla="*/ 303657 h 414242"/>
                  <a:gd name="connsiteX91" fmla="*/ 830770 w 3362992"/>
                  <a:gd name="connsiteY91" fmla="*/ 303657 h 414242"/>
                  <a:gd name="connsiteX92" fmla="*/ 830770 w 3362992"/>
                  <a:gd name="connsiteY92" fmla="*/ 309848 h 414242"/>
                  <a:gd name="connsiteX93" fmla="*/ 856012 w 3362992"/>
                  <a:gd name="connsiteY93" fmla="*/ 309848 h 414242"/>
                  <a:gd name="connsiteX94" fmla="*/ 856012 w 3362992"/>
                  <a:gd name="connsiteY94" fmla="*/ 315944 h 414242"/>
                  <a:gd name="connsiteX95" fmla="*/ 1085278 w 3362992"/>
                  <a:gd name="connsiteY95" fmla="*/ 315944 h 414242"/>
                  <a:gd name="connsiteX96" fmla="*/ 1085278 w 3362992"/>
                  <a:gd name="connsiteY96" fmla="*/ 322136 h 414242"/>
                  <a:gd name="connsiteX97" fmla="*/ 1198816 w 3362992"/>
                  <a:gd name="connsiteY97" fmla="*/ 322136 h 414242"/>
                  <a:gd name="connsiteX98" fmla="*/ 1198816 w 3362992"/>
                  <a:gd name="connsiteY98" fmla="*/ 328327 h 414242"/>
                  <a:gd name="connsiteX99" fmla="*/ 1467993 w 3362992"/>
                  <a:gd name="connsiteY99" fmla="*/ 328327 h 414242"/>
                  <a:gd name="connsiteX100" fmla="*/ 1467993 w 3362992"/>
                  <a:gd name="connsiteY100" fmla="*/ 334613 h 414242"/>
                  <a:gd name="connsiteX101" fmla="*/ 1541621 w 3362992"/>
                  <a:gd name="connsiteY101" fmla="*/ 334613 h 414242"/>
                  <a:gd name="connsiteX102" fmla="*/ 1541621 w 3362992"/>
                  <a:gd name="connsiteY102" fmla="*/ 340900 h 414242"/>
                  <a:gd name="connsiteX103" fmla="*/ 1621536 w 3362992"/>
                  <a:gd name="connsiteY103" fmla="*/ 340900 h 414242"/>
                  <a:gd name="connsiteX104" fmla="*/ 1621536 w 3362992"/>
                  <a:gd name="connsiteY104" fmla="*/ 347186 h 414242"/>
                  <a:gd name="connsiteX105" fmla="*/ 1783461 w 3362992"/>
                  <a:gd name="connsiteY105" fmla="*/ 347186 h 414242"/>
                  <a:gd name="connsiteX106" fmla="*/ 1783461 w 3362992"/>
                  <a:gd name="connsiteY106" fmla="*/ 353663 h 414242"/>
                  <a:gd name="connsiteX107" fmla="*/ 1800320 w 3362992"/>
                  <a:gd name="connsiteY107" fmla="*/ 353663 h 414242"/>
                  <a:gd name="connsiteX108" fmla="*/ 1800320 w 3362992"/>
                  <a:gd name="connsiteY108" fmla="*/ 360045 h 414242"/>
                  <a:gd name="connsiteX109" fmla="*/ 1918144 w 3362992"/>
                  <a:gd name="connsiteY109" fmla="*/ 360045 h 414242"/>
                  <a:gd name="connsiteX110" fmla="*/ 1918144 w 3362992"/>
                  <a:gd name="connsiteY110" fmla="*/ 366522 h 414242"/>
                  <a:gd name="connsiteX111" fmla="*/ 2010632 w 3362992"/>
                  <a:gd name="connsiteY111" fmla="*/ 366522 h 414242"/>
                  <a:gd name="connsiteX112" fmla="*/ 2010632 w 3362992"/>
                  <a:gd name="connsiteY112" fmla="*/ 372904 h 414242"/>
                  <a:gd name="connsiteX113" fmla="*/ 2029587 w 3362992"/>
                  <a:gd name="connsiteY113" fmla="*/ 372904 h 414242"/>
                  <a:gd name="connsiteX114" fmla="*/ 2029587 w 3362992"/>
                  <a:gd name="connsiteY114" fmla="*/ 379381 h 414242"/>
                  <a:gd name="connsiteX115" fmla="*/ 2883408 w 3362992"/>
                  <a:gd name="connsiteY115" fmla="*/ 379381 h 414242"/>
                  <a:gd name="connsiteX116" fmla="*/ 2883408 w 3362992"/>
                  <a:gd name="connsiteY116" fmla="*/ 414242 h 414242"/>
                  <a:gd name="connsiteX117" fmla="*/ 3362992 w 3362992"/>
                  <a:gd name="connsiteY117" fmla="*/ 414242 h 414242"/>
                  <a:gd name="connsiteX0" fmla="*/ 0 w 3362992"/>
                  <a:gd name="connsiteY0" fmla="*/ 0 h 414242"/>
                  <a:gd name="connsiteX1" fmla="*/ 2095 w 3362992"/>
                  <a:gd name="connsiteY1" fmla="*/ 6001 h 414242"/>
                  <a:gd name="connsiteX2" fmla="*/ 16859 w 3362992"/>
                  <a:gd name="connsiteY2" fmla="*/ 6001 h 414242"/>
                  <a:gd name="connsiteX3" fmla="*/ 16859 w 3362992"/>
                  <a:gd name="connsiteY3" fmla="*/ 18193 h 414242"/>
                  <a:gd name="connsiteX4" fmla="*/ 18955 w 3362992"/>
                  <a:gd name="connsiteY4" fmla="*/ 18193 h 414242"/>
                  <a:gd name="connsiteX5" fmla="*/ 18955 w 3362992"/>
                  <a:gd name="connsiteY5" fmla="*/ 24194 h 414242"/>
                  <a:gd name="connsiteX6" fmla="*/ 25241 w 3362992"/>
                  <a:gd name="connsiteY6" fmla="*/ 24194 h 414242"/>
                  <a:gd name="connsiteX7" fmla="*/ 25241 w 3362992"/>
                  <a:gd name="connsiteY7" fmla="*/ 30290 h 414242"/>
                  <a:gd name="connsiteX8" fmla="*/ 29432 w 3362992"/>
                  <a:gd name="connsiteY8" fmla="*/ 30290 h 414242"/>
                  <a:gd name="connsiteX9" fmla="*/ 29432 w 3362992"/>
                  <a:gd name="connsiteY9" fmla="*/ 36386 h 414242"/>
                  <a:gd name="connsiteX10" fmla="*/ 46291 w 3362992"/>
                  <a:gd name="connsiteY10" fmla="*/ 36386 h 414242"/>
                  <a:gd name="connsiteX11" fmla="*/ 46291 w 3362992"/>
                  <a:gd name="connsiteY11" fmla="*/ 48482 h 414242"/>
                  <a:gd name="connsiteX12" fmla="*/ 50482 w 3362992"/>
                  <a:gd name="connsiteY12" fmla="*/ 48482 h 414242"/>
                  <a:gd name="connsiteX13" fmla="*/ 50482 w 3362992"/>
                  <a:gd name="connsiteY13" fmla="*/ 54578 h 414242"/>
                  <a:gd name="connsiteX14" fmla="*/ 73628 w 3362992"/>
                  <a:gd name="connsiteY14" fmla="*/ 54578 h 414242"/>
                  <a:gd name="connsiteX15" fmla="*/ 73628 w 3362992"/>
                  <a:gd name="connsiteY15" fmla="*/ 60674 h 414242"/>
                  <a:gd name="connsiteX16" fmla="*/ 77819 w 3362992"/>
                  <a:gd name="connsiteY16" fmla="*/ 60674 h 414242"/>
                  <a:gd name="connsiteX17" fmla="*/ 77819 w 3362992"/>
                  <a:gd name="connsiteY17" fmla="*/ 66675 h 414242"/>
                  <a:gd name="connsiteX18" fmla="*/ 84106 w 3362992"/>
                  <a:gd name="connsiteY18" fmla="*/ 66675 h 414242"/>
                  <a:gd name="connsiteX19" fmla="*/ 84106 w 3362992"/>
                  <a:gd name="connsiteY19" fmla="*/ 78867 h 414242"/>
                  <a:gd name="connsiteX20" fmla="*/ 103060 w 3362992"/>
                  <a:gd name="connsiteY20" fmla="*/ 78867 h 414242"/>
                  <a:gd name="connsiteX21" fmla="*/ 103060 w 3362992"/>
                  <a:gd name="connsiteY21" fmla="*/ 84868 h 414242"/>
                  <a:gd name="connsiteX22" fmla="*/ 111442 w 3362992"/>
                  <a:gd name="connsiteY22" fmla="*/ 84868 h 414242"/>
                  <a:gd name="connsiteX23" fmla="*/ 111442 w 3362992"/>
                  <a:gd name="connsiteY23" fmla="*/ 90964 h 414242"/>
                  <a:gd name="connsiteX24" fmla="*/ 124111 w 3362992"/>
                  <a:gd name="connsiteY24" fmla="*/ 90964 h 414242"/>
                  <a:gd name="connsiteX25" fmla="*/ 124111 w 3362992"/>
                  <a:gd name="connsiteY25" fmla="*/ 97060 h 414242"/>
                  <a:gd name="connsiteX26" fmla="*/ 140970 w 3362992"/>
                  <a:gd name="connsiteY26" fmla="*/ 97060 h 414242"/>
                  <a:gd name="connsiteX27" fmla="*/ 140970 w 3362992"/>
                  <a:gd name="connsiteY27" fmla="*/ 103061 h 414242"/>
                  <a:gd name="connsiteX28" fmla="*/ 168307 w 3362992"/>
                  <a:gd name="connsiteY28" fmla="*/ 103061 h 414242"/>
                  <a:gd name="connsiteX29" fmla="*/ 168307 w 3362992"/>
                  <a:gd name="connsiteY29" fmla="*/ 109157 h 414242"/>
                  <a:gd name="connsiteX30" fmla="*/ 170402 w 3362992"/>
                  <a:gd name="connsiteY30" fmla="*/ 109157 h 414242"/>
                  <a:gd name="connsiteX31" fmla="*/ 170402 w 3362992"/>
                  <a:gd name="connsiteY31" fmla="*/ 115253 h 414242"/>
                  <a:gd name="connsiteX32" fmla="*/ 180879 w 3362992"/>
                  <a:gd name="connsiteY32" fmla="*/ 115253 h 414242"/>
                  <a:gd name="connsiteX33" fmla="*/ 180879 w 3362992"/>
                  <a:gd name="connsiteY33" fmla="*/ 121253 h 414242"/>
                  <a:gd name="connsiteX34" fmla="*/ 187166 w 3362992"/>
                  <a:gd name="connsiteY34" fmla="*/ 121253 h 414242"/>
                  <a:gd name="connsiteX35" fmla="*/ 187166 w 3362992"/>
                  <a:gd name="connsiteY35" fmla="*/ 133445 h 414242"/>
                  <a:gd name="connsiteX36" fmla="*/ 195643 w 3362992"/>
                  <a:gd name="connsiteY36" fmla="*/ 133445 h 414242"/>
                  <a:gd name="connsiteX37" fmla="*/ 195643 w 3362992"/>
                  <a:gd name="connsiteY37" fmla="*/ 139446 h 414242"/>
                  <a:gd name="connsiteX38" fmla="*/ 201930 w 3362992"/>
                  <a:gd name="connsiteY38" fmla="*/ 139446 h 414242"/>
                  <a:gd name="connsiteX39" fmla="*/ 201930 w 3362992"/>
                  <a:gd name="connsiteY39" fmla="*/ 151638 h 414242"/>
                  <a:gd name="connsiteX40" fmla="*/ 204025 w 3362992"/>
                  <a:gd name="connsiteY40" fmla="*/ 151638 h 414242"/>
                  <a:gd name="connsiteX41" fmla="*/ 204025 w 3362992"/>
                  <a:gd name="connsiteY41" fmla="*/ 157734 h 414242"/>
                  <a:gd name="connsiteX42" fmla="*/ 216598 w 3362992"/>
                  <a:gd name="connsiteY42" fmla="*/ 157734 h 414242"/>
                  <a:gd name="connsiteX43" fmla="*/ 216598 w 3362992"/>
                  <a:gd name="connsiteY43" fmla="*/ 163735 h 414242"/>
                  <a:gd name="connsiteX44" fmla="*/ 239744 w 3362992"/>
                  <a:gd name="connsiteY44" fmla="*/ 163735 h 414242"/>
                  <a:gd name="connsiteX45" fmla="*/ 239744 w 3362992"/>
                  <a:gd name="connsiteY45" fmla="*/ 169831 h 414242"/>
                  <a:gd name="connsiteX46" fmla="*/ 246126 w 3362992"/>
                  <a:gd name="connsiteY46" fmla="*/ 169831 h 414242"/>
                  <a:gd name="connsiteX47" fmla="*/ 246126 w 3362992"/>
                  <a:gd name="connsiteY47" fmla="*/ 175927 h 414242"/>
                  <a:gd name="connsiteX48" fmla="*/ 254508 w 3362992"/>
                  <a:gd name="connsiteY48" fmla="*/ 175927 h 414242"/>
                  <a:gd name="connsiteX49" fmla="*/ 254508 w 3362992"/>
                  <a:gd name="connsiteY49" fmla="*/ 181928 h 414242"/>
                  <a:gd name="connsiteX50" fmla="*/ 262890 w 3362992"/>
                  <a:gd name="connsiteY50" fmla="*/ 181928 h 414242"/>
                  <a:gd name="connsiteX51" fmla="*/ 262890 w 3362992"/>
                  <a:gd name="connsiteY51" fmla="*/ 188024 h 414242"/>
                  <a:gd name="connsiteX52" fmla="*/ 267081 w 3362992"/>
                  <a:gd name="connsiteY52" fmla="*/ 188024 h 414242"/>
                  <a:gd name="connsiteX53" fmla="*/ 267081 w 3362992"/>
                  <a:gd name="connsiteY53" fmla="*/ 194120 h 414242"/>
                  <a:gd name="connsiteX54" fmla="*/ 340709 w 3362992"/>
                  <a:gd name="connsiteY54" fmla="*/ 194120 h 414242"/>
                  <a:gd name="connsiteX55" fmla="*/ 340709 w 3362992"/>
                  <a:gd name="connsiteY55" fmla="*/ 200120 h 414242"/>
                  <a:gd name="connsiteX56" fmla="*/ 361759 w 3362992"/>
                  <a:gd name="connsiteY56" fmla="*/ 200120 h 414242"/>
                  <a:gd name="connsiteX57" fmla="*/ 361759 w 3362992"/>
                  <a:gd name="connsiteY57" fmla="*/ 206216 h 414242"/>
                  <a:gd name="connsiteX58" fmla="*/ 368046 w 3362992"/>
                  <a:gd name="connsiteY58" fmla="*/ 206216 h 414242"/>
                  <a:gd name="connsiteX59" fmla="*/ 368046 w 3362992"/>
                  <a:gd name="connsiteY59" fmla="*/ 212312 h 414242"/>
                  <a:gd name="connsiteX60" fmla="*/ 410146 w 3362992"/>
                  <a:gd name="connsiteY60" fmla="*/ 212312 h 414242"/>
                  <a:gd name="connsiteX61" fmla="*/ 410146 w 3362992"/>
                  <a:gd name="connsiteY61" fmla="*/ 218313 h 414242"/>
                  <a:gd name="connsiteX62" fmla="*/ 424815 w 3362992"/>
                  <a:gd name="connsiteY62" fmla="*/ 218313 h 414242"/>
                  <a:gd name="connsiteX63" fmla="*/ 424815 w 3362992"/>
                  <a:gd name="connsiteY63" fmla="*/ 224409 h 414242"/>
                  <a:gd name="connsiteX64" fmla="*/ 454342 w 3362992"/>
                  <a:gd name="connsiteY64" fmla="*/ 224409 h 414242"/>
                  <a:gd name="connsiteX65" fmla="*/ 454342 w 3362992"/>
                  <a:gd name="connsiteY65" fmla="*/ 230505 h 414242"/>
                  <a:gd name="connsiteX66" fmla="*/ 456438 w 3362992"/>
                  <a:gd name="connsiteY66" fmla="*/ 230505 h 414242"/>
                  <a:gd name="connsiteX67" fmla="*/ 456438 w 3362992"/>
                  <a:gd name="connsiteY67" fmla="*/ 236506 h 414242"/>
                  <a:gd name="connsiteX68" fmla="*/ 479488 w 3362992"/>
                  <a:gd name="connsiteY68" fmla="*/ 236506 h 414242"/>
                  <a:gd name="connsiteX69" fmla="*/ 479488 w 3362992"/>
                  <a:gd name="connsiteY69" fmla="*/ 242602 h 414242"/>
                  <a:gd name="connsiteX70" fmla="*/ 492157 w 3362992"/>
                  <a:gd name="connsiteY70" fmla="*/ 242602 h 414242"/>
                  <a:gd name="connsiteX71" fmla="*/ 492157 w 3362992"/>
                  <a:gd name="connsiteY71" fmla="*/ 248698 h 414242"/>
                  <a:gd name="connsiteX72" fmla="*/ 527875 w 3362992"/>
                  <a:gd name="connsiteY72" fmla="*/ 248698 h 414242"/>
                  <a:gd name="connsiteX73" fmla="*/ 527875 w 3362992"/>
                  <a:gd name="connsiteY73" fmla="*/ 254794 h 414242"/>
                  <a:gd name="connsiteX74" fmla="*/ 643604 w 3362992"/>
                  <a:gd name="connsiteY74" fmla="*/ 254794 h 414242"/>
                  <a:gd name="connsiteX75" fmla="*/ 643604 w 3362992"/>
                  <a:gd name="connsiteY75" fmla="*/ 260795 h 414242"/>
                  <a:gd name="connsiteX76" fmla="*/ 681418 w 3362992"/>
                  <a:gd name="connsiteY76" fmla="*/ 260795 h 414242"/>
                  <a:gd name="connsiteX77" fmla="*/ 681418 w 3362992"/>
                  <a:gd name="connsiteY77" fmla="*/ 266986 h 414242"/>
                  <a:gd name="connsiteX78" fmla="*/ 733996 w 3362992"/>
                  <a:gd name="connsiteY78" fmla="*/ 266986 h 414242"/>
                  <a:gd name="connsiteX79" fmla="*/ 733996 w 3362992"/>
                  <a:gd name="connsiteY79" fmla="*/ 273082 h 414242"/>
                  <a:gd name="connsiteX80" fmla="*/ 752951 w 3362992"/>
                  <a:gd name="connsiteY80" fmla="*/ 273082 h 414242"/>
                  <a:gd name="connsiteX81" fmla="*/ 752951 w 3362992"/>
                  <a:gd name="connsiteY81" fmla="*/ 279178 h 414242"/>
                  <a:gd name="connsiteX82" fmla="*/ 763429 w 3362992"/>
                  <a:gd name="connsiteY82" fmla="*/ 279178 h 414242"/>
                  <a:gd name="connsiteX83" fmla="*/ 763429 w 3362992"/>
                  <a:gd name="connsiteY83" fmla="*/ 285369 h 414242"/>
                  <a:gd name="connsiteX84" fmla="*/ 797147 w 3362992"/>
                  <a:gd name="connsiteY84" fmla="*/ 285369 h 414242"/>
                  <a:gd name="connsiteX85" fmla="*/ 797147 w 3362992"/>
                  <a:gd name="connsiteY85" fmla="*/ 291465 h 414242"/>
                  <a:gd name="connsiteX86" fmla="*/ 803434 w 3362992"/>
                  <a:gd name="connsiteY86" fmla="*/ 291465 h 414242"/>
                  <a:gd name="connsiteX87" fmla="*/ 803434 w 3362992"/>
                  <a:gd name="connsiteY87" fmla="*/ 297561 h 414242"/>
                  <a:gd name="connsiteX88" fmla="*/ 818102 w 3362992"/>
                  <a:gd name="connsiteY88" fmla="*/ 297561 h 414242"/>
                  <a:gd name="connsiteX89" fmla="*/ 818102 w 3362992"/>
                  <a:gd name="connsiteY89" fmla="*/ 303657 h 414242"/>
                  <a:gd name="connsiteX90" fmla="*/ 830770 w 3362992"/>
                  <a:gd name="connsiteY90" fmla="*/ 303657 h 414242"/>
                  <a:gd name="connsiteX91" fmla="*/ 830770 w 3362992"/>
                  <a:gd name="connsiteY91" fmla="*/ 309848 h 414242"/>
                  <a:gd name="connsiteX92" fmla="*/ 856012 w 3362992"/>
                  <a:gd name="connsiteY92" fmla="*/ 309848 h 414242"/>
                  <a:gd name="connsiteX93" fmla="*/ 856012 w 3362992"/>
                  <a:gd name="connsiteY93" fmla="*/ 315944 h 414242"/>
                  <a:gd name="connsiteX94" fmla="*/ 1085278 w 3362992"/>
                  <a:gd name="connsiteY94" fmla="*/ 315944 h 414242"/>
                  <a:gd name="connsiteX95" fmla="*/ 1085278 w 3362992"/>
                  <a:gd name="connsiteY95" fmla="*/ 322136 h 414242"/>
                  <a:gd name="connsiteX96" fmla="*/ 1198816 w 3362992"/>
                  <a:gd name="connsiteY96" fmla="*/ 322136 h 414242"/>
                  <a:gd name="connsiteX97" fmla="*/ 1198816 w 3362992"/>
                  <a:gd name="connsiteY97" fmla="*/ 328327 h 414242"/>
                  <a:gd name="connsiteX98" fmla="*/ 1467993 w 3362992"/>
                  <a:gd name="connsiteY98" fmla="*/ 328327 h 414242"/>
                  <a:gd name="connsiteX99" fmla="*/ 1467993 w 3362992"/>
                  <a:gd name="connsiteY99" fmla="*/ 334613 h 414242"/>
                  <a:gd name="connsiteX100" fmla="*/ 1541621 w 3362992"/>
                  <a:gd name="connsiteY100" fmla="*/ 334613 h 414242"/>
                  <a:gd name="connsiteX101" fmla="*/ 1541621 w 3362992"/>
                  <a:gd name="connsiteY101" fmla="*/ 340900 h 414242"/>
                  <a:gd name="connsiteX102" fmla="*/ 1621536 w 3362992"/>
                  <a:gd name="connsiteY102" fmla="*/ 340900 h 414242"/>
                  <a:gd name="connsiteX103" fmla="*/ 1621536 w 3362992"/>
                  <a:gd name="connsiteY103" fmla="*/ 347186 h 414242"/>
                  <a:gd name="connsiteX104" fmla="*/ 1783461 w 3362992"/>
                  <a:gd name="connsiteY104" fmla="*/ 347186 h 414242"/>
                  <a:gd name="connsiteX105" fmla="*/ 1783461 w 3362992"/>
                  <a:gd name="connsiteY105" fmla="*/ 353663 h 414242"/>
                  <a:gd name="connsiteX106" fmla="*/ 1800320 w 3362992"/>
                  <a:gd name="connsiteY106" fmla="*/ 353663 h 414242"/>
                  <a:gd name="connsiteX107" fmla="*/ 1800320 w 3362992"/>
                  <a:gd name="connsiteY107" fmla="*/ 360045 h 414242"/>
                  <a:gd name="connsiteX108" fmla="*/ 1918144 w 3362992"/>
                  <a:gd name="connsiteY108" fmla="*/ 360045 h 414242"/>
                  <a:gd name="connsiteX109" fmla="*/ 1918144 w 3362992"/>
                  <a:gd name="connsiteY109" fmla="*/ 366522 h 414242"/>
                  <a:gd name="connsiteX110" fmla="*/ 2010632 w 3362992"/>
                  <a:gd name="connsiteY110" fmla="*/ 366522 h 414242"/>
                  <a:gd name="connsiteX111" fmla="*/ 2010632 w 3362992"/>
                  <a:gd name="connsiteY111" fmla="*/ 372904 h 414242"/>
                  <a:gd name="connsiteX112" fmla="*/ 2029587 w 3362992"/>
                  <a:gd name="connsiteY112" fmla="*/ 372904 h 414242"/>
                  <a:gd name="connsiteX113" fmla="*/ 2029587 w 3362992"/>
                  <a:gd name="connsiteY113" fmla="*/ 379381 h 414242"/>
                  <a:gd name="connsiteX114" fmla="*/ 2883408 w 3362992"/>
                  <a:gd name="connsiteY114" fmla="*/ 379381 h 414242"/>
                  <a:gd name="connsiteX115" fmla="*/ 2883408 w 3362992"/>
                  <a:gd name="connsiteY115" fmla="*/ 414242 h 414242"/>
                  <a:gd name="connsiteX116" fmla="*/ 3362992 w 3362992"/>
                  <a:gd name="connsiteY116" fmla="*/ 414242 h 414242"/>
                  <a:gd name="connsiteX0" fmla="*/ 0 w 3362992"/>
                  <a:gd name="connsiteY0" fmla="*/ 0 h 414242"/>
                  <a:gd name="connsiteX1" fmla="*/ 16859 w 3362992"/>
                  <a:gd name="connsiteY1" fmla="*/ 6001 h 414242"/>
                  <a:gd name="connsiteX2" fmla="*/ 16859 w 3362992"/>
                  <a:gd name="connsiteY2" fmla="*/ 18193 h 414242"/>
                  <a:gd name="connsiteX3" fmla="*/ 18955 w 3362992"/>
                  <a:gd name="connsiteY3" fmla="*/ 18193 h 414242"/>
                  <a:gd name="connsiteX4" fmla="*/ 18955 w 3362992"/>
                  <a:gd name="connsiteY4" fmla="*/ 24194 h 414242"/>
                  <a:gd name="connsiteX5" fmla="*/ 25241 w 3362992"/>
                  <a:gd name="connsiteY5" fmla="*/ 24194 h 414242"/>
                  <a:gd name="connsiteX6" fmla="*/ 25241 w 3362992"/>
                  <a:gd name="connsiteY6" fmla="*/ 30290 h 414242"/>
                  <a:gd name="connsiteX7" fmla="*/ 29432 w 3362992"/>
                  <a:gd name="connsiteY7" fmla="*/ 30290 h 414242"/>
                  <a:gd name="connsiteX8" fmla="*/ 29432 w 3362992"/>
                  <a:gd name="connsiteY8" fmla="*/ 36386 h 414242"/>
                  <a:gd name="connsiteX9" fmla="*/ 46291 w 3362992"/>
                  <a:gd name="connsiteY9" fmla="*/ 36386 h 414242"/>
                  <a:gd name="connsiteX10" fmla="*/ 46291 w 3362992"/>
                  <a:gd name="connsiteY10" fmla="*/ 48482 h 414242"/>
                  <a:gd name="connsiteX11" fmla="*/ 50482 w 3362992"/>
                  <a:gd name="connsiteY11" fmla="*/ 48482 h 414242"/>
                  <a:gd name="connsiteX12" fmla="*/ 50482 w 3362992"/>
                  <a:gd name="connsiteY12" fmla="*/ 54578 h 414242"/>
                  <a:gd name="connsiteX13" fmla="*/ 73628 w 3362992"/>
                  <a:gd name="connsiteY13" fmla="*/ 54578 h 414242"/>
                  <a:gd name="connsiteX14" fmla="*/ 73628 w 3362992"/>
                  <a:gd name="connsiteY14" fmla="*/ 60674 h 414242"/>
                  <a:gd name="connsiteX15" fmla="*/ 77819 w 3362992"/>
                  <a:gd name="connsiteY15" fmla="*/ 60674 h 414242"/>
                  <a:gd name="connsiteX16" fmla="*/ 77819 w 3362992"/>
                  <a:gd name="connsiteY16" fmla="*/ 66675 h 414242"/>
                  <a:gd name="connsiteX17" fmla="*/ 84106 w 3362992"/>
                  <a:gd name="connsiteY17" fmla="*/ 66675 h 414242"/>
                  <a:gd name="connsiteX18" fmla="*/ 84106 w 3362992"/>
                  <a:gd name="connsiteY18" fmla="*/ 78867 h 414242"/>
                  <a:gd name="connsiteX19" fmla="*/ 103060 w 3362992"/>
                  <a:gd name="connsiteY19" fmla="*/ 78867 h 414242"/>
                  <a:gd name="connsiteX20" fmla="*/ 103060 w 3362992"/>
                  <a:gd name="connsiteY20" fmla="*/ 84868 h 414242"/>
                  <a:gd name="connsiteX21" fmla="*/ 111442 w 3362992"/>
                  <a:gd name="connsiteY21" fmla="*/ 84868 h 414242"/>
                  <a:gd name="connsiteX22" fmla="*/ 111442 w 3362992"/>
                  <a:gd name="connsiteY22" fmla="*/ 90964 h 414242"/>
                  <a:gd name="connsiteX23" fmla="*/ 124111 w 3362992"/>
                  <a:gd name="connsiteY23" fmla="*/ 90964 h 414242"/>
                  <a:gd name="connsiteX24" fmla="*/ 124111 w 3362992"/>
                  <a:gd name="connsiteY24" fmla="*/ 97060 h 414242"/>
                  <a:gd name="connsiteX25" fmla="*/ 140970 w 3362992"/>
                  <a:gd name="connsiteY25" fmla="*/ 97060 h 414242"/>
                  <a:gd name="connsiteX26" fmla="*/ 140970 w 3362992"/>
                  <a:gd name="connsiteY26" fmla="*/ 103061 h 414242"/>
                  <a:gd name="connsiteX27" fmla="*/ 168307 w 3362992"/>
                  <a:gd name="connsiteY27" fmla="*/ 103061 h 414242"/>
                  <a:gd name="connsiteX28" fmla="*/ 168307 w 3362992"/>
                  <a:gd name="connsiteY28" fmla="*/ 109157 h 414242"/>
                  <a:gd name="connsiteX29" fmla="*/ 170402 w 3362992"/>
                  <a:gd name="connsiteY29" fmla="*/ 109157 h 414242"/>
                  <a:gd name="connsiteX30" fmla="*/ 170402 w 3362992"/>
                  <a:gd name="connsiteY30" fmla="*/ 115253 h 414242"/>
                  <a:gd name="connsiteX31" fmla="*/ 180879 w 3362992"/>
                  <a:gd name="connsiteY31" fmla="*/ 115253 h 414242"/>
                  <a:gd name="connsiteX32" fmla="*/ 180879 w 3362992"/>
                  <a:gd name="connsiteY32" fmla="*/ 121253 h 414242"/>
                  <a:gd name="connsiteX33" fmla="*/ 187166 w 3362992"/>
                  <a:gd name="connsiteY33" fmla="*/ 121253 h 414242"/>
                  <a:gd name="connsiteX34" fmla="*/ 187166 w 3362992"/>
                  <a:gd name="connsiteY34" fmla="*/ 133445 h 414242"/>
                  <a:gd name="connsiteX35" fmla="*/ 195643 w 3362992"/>
                  <a:gd name="connsiteY35" fmla="*/ 133445 h 414242"/>
                  <a:gd name="connsiteX36" fmla="*/ 195643 w 3362992"/>
                  <a:gd name="connsiteY36" fmla="*/ 139446 h 414242"/>
                  <a:gd name="connsiteX37" fmla="*/ 201930 w 3362992"/>
                  <a:gd name="connsiteY37" fmla="*/ 139446 h 414242"/>
                  <a:gd name="connsiteX38" fmla="*/ 201930 w 3362992"/>
                  <a:gd name="connsiteY38" fmla="*/ 151638 h 414242"/>
                  <a:gd name="connsiteX39" fmla="*/ 204025 w 3362992"/>
                  <a:gd name="connsiteY39" fmla="*/ 151638 h 414242"/>
                  <a:gd name="connsiteX40" fmla="*/ 204025 w 3362992"/>
                  <a:gd name="connsiteY40" fmla="*/ 157734 h 414242"/>
                  <a:gd name="connsiteX41" fmla="*/ 216598 w 3362992"/>
                  <a:gd name="connsiteY41" fmla="*/ 157734 h 414242"/>
                  <a:gd name="connsiteX42" fmla="*/ 216598 w 3362992"/>
                  <a:gd name="connsiteY42" fmla="*/ 163735 h 414242"/>
                  <a:gd name="connsiteX43" fmla="*/ 239744 w 3362992"/>
                  <a:gd name="connsiteY43" fmla="*/ 163735 h 414242"/>
                  <a:gd name="connsiteX44" fmla="*/ 239744 w 3362992"/>
                  <a:gd name="connsiteY44" fmla="*/ 169831 h 414242"/>
                  <a:gd name="connsiteX45" fmla="*/ 246126 w 3362992"/>
                  <a:gd name="connsiteY45" fmla="*/ 169831 h 414242"/>
                  <a:gd name="connsiteX46" fmla="*/ 246126 w 3362992"/>
                  <a:gd name="connsiteY46" fmla="*/ 175927 h 414242"/>
                  <a:gd name="connsiteX47" fmla="*/ 254508 w 3362992"/>
                  <a:gd name="connsiteY47" fmla="*/ 175927 h 414242"/>
                  <a:gd name="connsiteX48" fmla="*/ 254508 w 3362992"/>
                  <a:gd name="connsiteY48" fmla="*/ 181928 h 414242"/>
                  <a:gd name="connsiteX49" fmla="*/ 262890 w 3362992"/>
                  <a:gd name="connsiteY49" fmla="*/ 181928 h 414242"/>
                  <a:gd name="connsiteX50" fmla="*/ 262890 w 3362992"/>
                  <a:gd name="connsiteY50" fmla="*/ 188024 h 414242"/>
                  <a:gd name="connsiteX51" fmla="*/ 267081 w 3362992"/>
                  <a:gd name="connsiteY51" fmla="*/ 188024 h 414242"/>
                  <a:gd name="connsiteX52" fmla="*/ 267081 w 3362992"/>
                  <a:gd name="connsiteY52" fmla="*/ 194120 h 414242"/>
                  <a:gd name="connsiteX53" fmla="*/ 340709 w 3362992"/>
                  <a:gd name="connsiteY53" fmla="*/ 194120 h 414242"/>
                  <a:gd name="connsiteX54" fmla="*/ 340709 w 3362992"/>
                  <a:gd name="connsiteY54" fmla="*/ 200120 h 414242"/>
                  <a:gd name="connsiteX55" fmla="*/ 361759 w 3362992"/>
                  <a:gd name="connsiteY55" fmla="*/ 200120 h 414242"/>
                  <a:gd name="connsiteX56" fmla="*/ 361759 w 3362992"/>
                  <a:gd name="connsiteY56" fmla="*/ 206216 h 414242"/>
                  <a:gd name="connsiteX57" fmla="*/ 368046 w 3362992"/>
                  <a:gd name="connsiteY57" fmla="*/ 206216 h 414242"/>
                  <a:gd name="connsiteX58" fmla="*/ 368046 w 3362992"/>
                  <a:gd name="connsiteY58" fmla="*/ 212312 h 414242"/>
                  <a:gd name="connsiteX59" fmla="*/ 410146 w 3362992"/>
                  <a:gd name="connsiteY59" fmla="*/ 212312 h 414242"/>
                  <a:gd name="connsiteX60" fmla="*/ 410146 w 3362992"/>
                  <a:gd name="connsiteY60" fmla="*/ 218313 h 414242"/>
                  <a:gd name="connsiteX61" fmla="*/ 424815 w 3362992"/>
                  <a:gd name="connsiteY61" fmla="*/ 218313 h 414242"/>
                  <a:gd name="connsiteX62" fmla="*/ 424815 w 3362992"/>
                  <a:gd name="connsiteY62" fmla="*/ 224409 h 414242"/>
                  <a:gd name="connsiteX63" fmla="*/ 454342 w 3362992"/>
                  <a:gd name="connsiteY63" fmla="*/ 224409 h 414242"/>
                  <a:gd name="connsiteX64" fmla="*/ 454342 w 3362992"/>
                  <a:gd name="connsiteY64" fmla="*/ 230505 h 414242"/>
                  <a:gd name="connsiteX65" fmla="*/ 456438 w 3362992"/>
                  <a:gd name="connsiteY65" fmla="*/ 230505 h 414242"/>
                  <a:gd name="connsiteX66" fmla="*/ 456438 w 3362992"/>
                  <a:gd name="connsiteY66" fmla="*/ 236506 h 414242"/>
                  <a:gd name="connsiteX67" fmla="*/ 479488 w 3362992"/>
                  <a:gd name="connsiteY67" fmla="*/ 236506 h 414242"/>
                  <a:gd name="connsiteX68" fmla="*/ 479488 w 3362992"/>
                  <a:gd name="connsiteY68" fmla="*/ 242602 h 414242"/>
                  <a:gd name="connsiteX69" fmla="*/ 492157 w 3362992"/>
                  <a:gd name="connsiteY69" fmla="*/ 242602 h 414242"/>
                  <a:gd name="connsiteX70" fmla="*/ 492157 w 3362992"/>
                  <a:gd name="connsiteY70" fmla="*/ 248698 h 414242"/>
                  <a:gd name="connsiteX71" fmla="*/ 527875 w 3362992"/>
                  <a:gd name="connsiteY71" fmla="*/ 248698 h 414242"/>
                  <a:gd name="connsiteX72" fmla="*/ 527875 w 3362992"/>
                  <a:gd name="connsiteY72" fmla="*/ 254794 h 414242"/>
                  <a:gd name="connsiteX73" fmla="*/ 643604 w 3362992"/>
                  <a:gd name="connsiteY73" fmla="*/ 254794 h 414242"/>
                  <a:gd name="connsiteX74" fmla="*/ 643604 w 3362992"/>
                  <a:gd name="connsiteY74" fmla="*/ 260795 h 414242"/>
                  <a:gd name="connsiteX75" fmla="*/ 681418 w 3362992"/>
                  <a:gd name="connsiteY75" fmla="*/ 260795 h 414242"/>
                  <a:gd name="connsiteX76" fmla="*/ 681418 w 3362992"/>
                  <a:gd name="connsiteY76" fmla="*/ 266986 h 414242"/>
                  <a:gd name="connsiteX77" fmla="*/ 733996 w 3362992"/>
                  <a:gd name="connsiteY77" fmla="*/ 266986 h 414242"/>
                  <a:gd name="connsiteX78" fmla="*/ 733996 w 3362992"/>
                  <a:gd name="connsiteY78" fmla="*/ 273082 h 414242"/>
                  <a:gd name="connsiteX79" fmla="*/ 752951 w 3362992"/>
                  <a:gd name="connsiteY79" fmla="*/ 273082 h 414242"/>
                  <a:gd name="connsiteX80" fmla="*/ 752951 w 3362992"/>
                  <a:gd name="connsiteY80" fmla="*/ 279178 h 414242"/>
                  <a:gd name="connsiteX81" fmla="*/ 763429 w 3362992"/>
                  <a:gd name="connsiteY81" fmla="*/ 279178 h 414242"/>
                  <a:gd name="connsiteX82" fmla="*/ 763429 w 3362992"/>
                  <a:gd name="connsiteY82" fmla="*/ 285369 h 414242"/>
                  <a:gd name="connsiteX83" fmla="*/ 797147 w 3362992"/>
                  <a:gd name="connsiteY83" fmla="*/ 285369 h 414242"/>
                  <a:gd name="connsiteX84" fmla="*/ 797147 w 3362992"/>
                  <a:gd name="connsiteY84" fmla="*/ 291465 h 414242"/>
                  <a:gd name="connsiteX85" fmla="*/ 803434 w 3362992"/>
                  <a:gd name="connsiteY85" fmla="*/ 291465 h 414242"/>
                  <a:gd name="connsiteX86" fmla="*/ 803434 w 3362992"/>
                  <a:gd name="connsiteY86" fmla="*/ 297561 h 414242"/>
                  <a:gd name="connsiteX87" fmla="*/ 818102 w 3362992"/>
                  <a:gd name="connsiteY87" fmla="*/ 297561 h 414242"/>
                  <a:gd name="connsiteX88" fmla="*/ 818102 w 3362992"/>
                  <a:gd name="connsiteY88" fmla="*/ 303657 h 414242"/>
                  <a:gd name="connsiteX89" fmla="*/ 830770 w 3362992"/>
                  <a:gd name="connsiteY89" fmla="*/ 303657 h 414242"/>
                  <a:gd name="connsiteX90" fmla="*/ 830770 w 3362992"/>
                  <a:gd name="connsiteY90" fmla="*/ 309848 h 414242"/>
                  <a:gd name="connsiteX91" fmla="*/ 856012 w 3362992"/>
                  <a:gd name="connsiteY91" fmla="*/ 309848 h 414242"/>
                  <a:gd name="connsiteX92" fmla="*/ 856012 w 3362992"/>
                  <a:gd name="connsiteY92" fmla="*/ 315944 h 414242"/>
                  <a:gd name="connsiteX93" fmla="*/ 1085278 w 3362992"/>
                  <a:gd name="connsiteY93" fmla="*/ 315944 h 414242"/>
                  <a:gd name="connsiteX94" fmla="*/ 1085278 w 3362992"/>
                  <a:gd name="connsiteY94" fmla="*/ 322136 h 414242"/>
                  <a:gd name="connsiteX95" fmla="*/ 1198816 w 3362992"/>
                  <a:gd name="connsiteY95" fmla="*/ 322136 h 414242"/>
                  <a:gd name="connsiteX96" fmla="*/ 1198816 w 3362992"/>
                  <a:gd name="connsiteY96" fmla="*/ 328327 h 414242"/>
                  <a:gd name="connsiteX97" fmla="*/ 1467993 w 3362992"/>
                  <a:gd name="connsiteY97" fmla="*/ 328327 h 414242"/>
                  <a:gd name="connsiteX98" fmla="*/ 1467993 w 3362992"/>
                  <a:gd name="connsiteY98" fmla="*/ 334613 h 414242"/>
                  <a:gd name="connsiteX99" fmla="*/ 1541621 w 3362992"/>
                  <a:gd name="connsiteY99" fmla="*/ 334613 h 414242"/>
                  <a:gd name="connsiteX100" fmla="*/ 1541621 w 3362992"/>
                  <a:gd name="connsiteY100" fmla="*/ 340900 h 414242"/>
                  <a:gd name="connsiteX101" fmla="*/ 1621536 w 3362992"/>
                  <a:gd name="connsiteY101" fmla="*/ 340900 h 414242"/>
                  <a:gd name="connsiteX102" fmla="*/ 1621536 w 3362992"/>
                  <a:gd name="connsiteY102" fmla="*/ 347186 h 414242"/>
                  <a:gd name="connsiteX103" fmla="*/ 1783461 w 3362992"/>
                  <a:gd name="connsiteY103" fmla="*/ 347186 h 414242"/>
                  <a:gd name="connsiteX104" fmla="*/ 1783461 w 3362992"/>
                  <a:gd name="connsiteY104" fmla="*/ 353663 h 414242"/>
                  <a:gd name="connsiteX105" fmla="*/ 1800320 w 3362992"/>
                  <a:gd name="connsiteY105" fmla="*/ 353663 h 414242"/>
                  <a:gd name="connsiteX106" fmla="*/ 1800320 w 3362992"/>
                  <a:gd name="connsiteY106" fmla="*/ 360045 h 414242"/>
                  <a:gd name="connsiteX107" fmla="*/ 1918144 w 3362992"/>
                  <a:gd name="connsiteY107" fmla="*/ 360045 h 414242"/>
                  <a:gd name="connsiteX108" fmla="*/ 1918144 w 3362992"/>
                  <a:gd name="connsiteY108" fmla="*/ 366522 h 414242"/>
                  <a:gd name="connsiteX109" fmla="*/ 2010632 w 3362992"/>
                  <a:gd name="connsiteY109" fmla="*/ 366522 h 414242"/>
                  <a:gd name="connsiteX110" fmla="*/ 2010632 w 3362992"/>
                  <a:gd name="connsiteY110" fmla="*/ 372904 h 414242"/>
                  <a:gd name="connsiteX111" fmla="*/ 2029587 w 3362992"/>
                  <a:gd name="connsiteY111" fmla="*/ 372904 h 414242"/>
                  <a:gd name="connsiteX112" fmla="*/ 2029587 w 3362992"/>
                  <a:gd name="connsiteY112" fmla="*/ 379381 h 414242"/>
                  <a:gd name="connsiteX113" fmla="*/ 2883408 w 3362992"/>
                  <a:gd name="connsiteY113" fmla="*/ 379381 h 414242"/>
                  <a:gd name="connsiteX114" fmla="*/ 2883408 w 3362992"/>
                  <a:gd name="connsiteY114" fmla="*/ 414242 h 414242"/>
                  <a:gd name="connsiteX115" fmla="*/ 3362992 w 3362992"/>
                  <a:gd name="connsiteY115" fmla="*/ 414242 h 414242"/>
                  <a:gd name="connsiteX0" fmla="*/ 0 w 3346133"/>
                  <a:gd name="connsiteY0" fmla="*/ 0 h 408241"/>
                  <a:gd name="connsiteX1" fmla="*/ 0 w 3346133"/>
                  <a:gd name="connsiteY1" fmla="*/ 12192 h 408241"/>
                  <a:gd name="connsiteX2" fmla="*/ 2096 w 3346133"/>
                  <a:gd name="connsiteY2" fmla="*/ 12192 h 408241"/>
                  <a:gd name="connsiteX3" fmla="*/ 2096 w 3346133"/>
                  <a:gd name="connsiteY3" fmla="*/ 18193 h 408241"/>
                  <a:gd name="connsiteX4" fmla="*/ 8382 w 3346133"/>
                  <a:gd name="connsiteY4" fmla="*/ 18193 h 408241"/>
                  <a:gd name="connsiteX5" fmla="*/ 8382 w 3346133"/>
                  <a:gd name="connsiteY5" fmla="*/ 24289 h 408241"/>
                  <a:gd name="connsiteX6" fmla="*/ 12573 w 3346133"/>
                  <a:gd name="connsiteY6" fmla="*/ 24289 h 408241"/>
                  <a:gd name="connsiteX7" fmla="*/ 12573 w 3346133"/>
                  <a:gd name="connsiteY7" fmla="*/ 30385 h 408241"/>
                  <a:gd name="connsiteX8" fmla="*/ 29432 w 3346133"/>
                  <a:gd name="connsiteY8" fmla="*/ 30385 h 408241"/>
                  <a:gd name="connsiteX9" fmla="*/ 29432 w 3346133"/>
                  <a:gd name="connsiteY9" fmla="*/ 42481 h 408241"/>
                  <a:gd name="connsiteX10" fmla="*/ 33623 w 3346133"/>
                  <a:gd name="connsiteY10" fmla="*/ 42481 h 408241"/>
                  <a:gd name="connsiteX11" fmla="*/ 33623 w 3346133"/>
                  <a:gd name="connsiteY11" fmla="*/ 48577 h 408241"/>
                  <a:gd name="connsiteX12" fmla="*/ 56769 w 3346133"/>
                  <a:gd name="connsiteY12" fmla="*/ 48577 h 408241"/>
                  <a:gd name="connsiteX13" fmla="*/ 56769 w 3346133"/>
                  <a:gd name="connsiteY13" fmla="*/ 54673 h 408241"/>
                  <a:gd name="connsiteX14" fmla="*/ 60960 w 3346133"/>
                  <a:gd name="connsiteY14" fmla="*/ 54673 h 408241"/>
                  <a:gd name="connsiteX15" fmla="*/ 60960 w 3346133"/>
                  <a:gd name="connsiteY15" fmla="*/ 60674 h 408241"/>
                  <a:gd name="connsiteX16" fmla="*/ 67247 w 3346133"/>
                  <a:gd name="connsiteY16" fmla="*/ 60674 h 408241"/>
                  <a:gd name="connsiteX17" fmla="*/ 67247 w 3346133"/>
                  <a:gd name="connsiteY17" fmla="*/ 72866 h 408241"/>
                  <a:gd name="connsiteX18" fmla="*/ 86201 w 3346133"/>
                  <a:gd name="connsiteY18" fmla="*/ 72866 h 408241"/>
                  <a:gd name="connsiteX19" fmla="*/ 86201 w 3346133"/>
                  <a:gd name="connsiteY19" fmla="*/ 78867 h 408241"/>
                  <a:gd name="connsiteX20" fmla="*/ 94583 w 3346133"/>
                  <a:gd name="connsiteY20" fmla="*/ 78867 h 408241"/>
                  <a:gd name="connsiteX21" fmla="*/ 94583 w 3346133"/>
                  <a:gd name="connsiteY21" fmla="*/ 84963 h 408241"/>
                  <a:gd name="connsiteX22" fmla="*/ 107252 w 3346133"/>
                  <a:gd name="connsiteY22" fmla="*/ 84963 h 408241"/>
                  <a:gd name="connsiteX23" fmla="*/ 107252 w 3346133"/>
                  <a:gd name="connsiteY23" fmla="*/ 91059 h 408241"/>
                  <a:gd name="connsiteX24" fmla="*/ 124111 w 3346133"/>
                  <a:gd name="connsiteY24" fmla="*/ 91059 h 408241"/>
                  <a:gd name="connsiteX25" fmla="*/ 124111 w 3346133"/>
                  <a:gd name="connsiteY25" fmla="*/ 97060 h 408241"/>
                  <a:gd name="connsiteX26" fmla="*/ 151448 w 3346133"/>
                  <a:gd name="connsiteY26" fmla="*/ 97060 h 408241"/>
                  <a:gd name="connsiteX27" fmla="*/ 151448 w 3346133"/>
                  <a:gd name="connsiteY27" fmla="*/ 103156 h 408241"/>
                  <a:gd name="connsiteX28" fmla="*/ 153543 w 3346133"/>
                  <a:gd name="connsiteY28" fmla="*/ 103156 h 408241"/>
                  <a:gd name="connsiteX29" fmla="*/ 153543 w 3346133"/>
                  <a:gd name="connsiteY29" fmla="*/ 109252 h 408241"/>
                  <a:gd name="connsiteX30" fmla="*/ 164020 w 3346133"/>
                  <a:gd name="connsiteY30" fmla="*/ 109252 h 408241"/>
                  <a:gd name="connsiteX31" fmla="*/ 164020 w 3346133"/>
                  <a:gd name="connsiteY31" fmla="*/ 115252 h 408241"/>
                  <a:gd name="connsiteX32" fmla="*/ 170307 w 3346133"/>
                  <a:gd name="connsiteY32" fmla="*/ 115252 h 408241"/>
                  <a:gd name="connsiteX33" fmla="*/ 170307 w 3346133"/>
                  <a:gd name="connsiteY33" fmla="*/ 127444 h 408241"/>
                  <a:gd name="connsiteX34" fmla="*/ 178784 w 3346133"/>
                  <a:gd name="connsiteY34" fmla="*/ 127444 h 408241"/>
                  <a:gd name="connsiteX35" fmla="*/ 178784 w 3346133"/>
                  <a:gd name="connsiteY35" fmla="*/ 133445 h 408241"/>
                  <a:gd name="connsiteX36" fmla="*/ 185071 w 3346133"/>
                  <a:gd name="connsiteY36" fmla="*/ 133445 h 408241"/>
                  <a:gd name="connsiteX37" fmla="*/ 185071 w 3346133"/>
                  <a:gd name="connsiteY37" fmla="*/ 145637 h 408241"/>
                  <a:gd name="connsiteX38" fmla="*/ 187166 w 3346133"/>
                  <a:gd name="connsiteY38" fmla="*/ 145637 h 408241"/>
                  <a:gd name="connsiteX39" fmla="*/ 187166 w 3346133"/>
                  <a:gd name="connsiteY39" fmla="*/ 151733 h 408241"/>
                  <a:gd name="connsiteX40" fmla="*/ 199739 w 3346133"/>
                  <a:gd name="connsiteY40" fmla="*/ 151733 h 408241"/>
                  <a:gd name="connsiteX41" fmla="*/ 199739 w 3346133"/>
                  <a:gd name="connsiteY41" fmla="*/ 157734 h 408241"/>
                  <a:gd name="connsiteX42" fmla="*/ 222885 w 3346133"/>
                  <a:gd name="connsiteY42" fmla="*/ 157734 h 408241"/>
                  <a:gd name="connsiteX43" fmla="*/ 222885 w 3346133"/>
                  <a:gd name="connsiteY43" fmla="*/ 163830 h 408241"/>
                  <a:gd name="connsiteX44" fmla="*/ 229267 w 3346133"/>
                  <a:gd name="connsiteY44" fmla="*/ 163830 h 408241"/>
                  <a:gd name="connsiteX45" fmla="*/ 229267 w 3346133"/>
                  <a:gd name="connsiteY45" fmla="*/ 169926 h 408241"/>
                  <a:gd name="connsiteX46" fmla="*/ 237649 w 3346133"/>
                  <a:gd name="connsiteY46" fmla="*/ 169926 h 408241"/>
                  <a:gd name="connsiteX47" fmla="*/ 237649 w 3346133"/>
                  <a:gd name="connsiteY47" fmla="*/ 175927 h 408241"/>
                  <a:gd name="connsiteX48" fmla="*/ 246031 w 3346133"/>
                  <a:gd name="connsiteY48" fmla="*/ 175927 h 408241"/>
                  <a:gd name="connsiteX49" fmla="*/ 246031 w 3346133"/>
                  <a:gd name="connsiteY49" fmla="*/ 182023 h 408241"/>
                  <a:gd name="connsiteX50" fmla="*/ 250222 w 3346133"/>
                  <a:gd name="connsiteY50" fmla="*/ 182023 h 408241"/>
                  <a:gd name="connsiteX51" fmla="*/ 250222 w 3346133"/>
                  <a:gd name="connsiteY51" fmla="*/ 188119 h 408241"/>
                  <a:gd name="connsiteX52" fmla="*/ 323850 w 3346133"/>
                  <a:gd name="connsiteY52" fmla="*/ 188119 h 408241"/>
                  <a:gd name="connsiteX53" fmla="*/ 323850 w 3346133"/>
                  <a:gd name="connsiteY53" fmla="*/ 194119 h 408241"/>
                  <a:gd name="connsiteX54" fmla="*/ 344900 w 3346133"/>
                  <a:gd name="connsiteY54" fmla="*/ 194119 h 408241"/>
                  <a:gd name="connsiteX55" fmla="*/ 344900 w 3346133"/>
                  <a:gd name="connsiteY55" fmla="*/ 200215 h 408241"/>
                  <a:gd name="connsiteX56" fmla="*/ 351187 w 3346133"/>
                  <a:gd name="connsiteY56" fmla="*/ 200215 h 408241"/>
                  <a:gd name="connsiteX57" fmla="*/ 351187 w 3346133"/>
                  <a:gd name="connsiteY57" fmla="*/ 206311 h 408241"/>
                  <a:gd name="connsiteX58" fmla="*/ 393287 w 3346133"/>
                  <a:gd name="connsiteY58" fmla="*/ 206311 h 408241"/>
                  <a:gd name="connsiteX59" fmla="*/ 393287 w 3346133"/>
                  <a:gd name="connsiteY59" fmla="*/ 212312 h 408241"/>
                  <a:gd name="connsiteX60" fmla="*/ 407956 w 3346133"/>
                  <a:gd name="connsiteY60" fmla="*/ 212312 h 408241"/>
                  <a:gd name="connsiteX61" fmla="*/ 407956 w 3346133"/>
                  <a:gd name="connsiteY61" fmla="*/ 218408 h 408241"/>
                  <a:gd name="connsiteX62" fmla="*/ 437483 w 3346133"/>
                  <a:gd name="connsiteY62" fmla="*/ 218408 h 408241"/>
                  <a:gd name="connsiteX63" fmla="*/ 437483 w 3346133"/>
                  <a:gd name="connsiteY63" fmla="*/ 224504 h 408241"/>
                  <a:gd name="connsiteX64" fmla="*/ 439579 w 3346133"/>
                  <a:gd name="connsiteY64" fmla="*/ 224504 h 408241"/>
                  <a:gd name="connsiteX65" fmla="*/ 439579 w 3346133"/>
                  <a:gd name="connsiteY65" fmla="*/ 230505 h 408241"/>
                  <a:gd name="connsiteX66" fmla="*/ 462629 w 3346133"/>
                  <a:gd name="connsiteY66" fmla="*/ 230505 h 408241"/>
                  <a:gd name="connsiteX67" fmla="*/ 462629 w 3346133"/>
                  <a:gd name="connsiteY67" fmla="*/ 236601 h 408241"/>
                  <a:gd name="connsiteX68" fmla="*/ 475298 w 3346133"/>
                  <a:gd name="connsiteY68" fmla="*/ 236601 h 408241"/>
                  <a:gd name="connsiteX69" fmla="*/ 475298 w 3346133"/>
                  <a:gd name="connsiteY69" fmla="*/ 242697 h 408241"/>
                  <a:gd name="connsiteX70" fmla="*/ 511016 w 3346133"/>
                  <a:gd name="connsiteY70" fmla="*/ 242697 h 408241"/>
                  <a:gd name="connsiteX71" fmla="*/ 511016 w 3346133"/>
                  <a:gd name="connsiteY71" fmla="*/ 248793 h 408241"/>
                  <a:gd name="connsiteX72" fmla="*/ 626745 w 3346133"/>
                  <a:gd name="connsiteY72" fmla="*/ 248793 h 408241"/>
                  <a:gd name="connsiteX73" fmla="*/ 626745 w 3346133"/>
                  <a:gd name="connsiteY73" fmla="*/ 254794 h 408241"/>
                  <a:gd name="connsiteX74" fmla="*/ 664559 w 3346133"/>
                  <a:gd name="connsiteY74" fmla="*/ 254794 h 408241"/>
                  <a:gd name="connsiteX75" fmla="*/ 664559 w 3346133"/>
                  <a:gd name="connsiteY75" fmla="*/ 260985 h 408241"/>
                  <a:gd name="connsiteX76" fmla="*/ 717137 w 3346133"/>
                  <a:gd name="connsiteY76" fmla="*/ 260985 h 408241"/>
                  <a:gd name="connsiteX77" fmla="*/ 717137 w 3346133"/>
                  <a:gd name="connsiteY77" fmla="*/ 267081 h 408241"/>
                  <a:gd name="connsiteX78" fmla="*/ 736092 w 3346133"/>
                  <a:gd name="connsiteY78" fmla="*/ 267081 h 408241"/>
                  <a:gd name="connsiteX79" fmla="*/ 736092 w 3346133"/>
                  <a:gd name="connsiteY79" fmla="*/ 273177 h 408241"/>
                  <a:gd name="connsiteX80" fmla="*/ 746570 w 3346133"/>
                  <a:gd name="connsiteY80" fmla="*/ 273177 h 408241"/>
                  <a:gd name="connsiteX81" fmla="*/ 746570 w 3346133"/>
                  <a:gd name="connsiteY81" fmla="*/ 279368 h 408241"/>
                  <a:gd name="connsiteX82" fmla="*/ 780288 w 3346133"/>
                  <a:gd name="connsiteY82" fmla="*/ 279368 h 408241"/>
                  <a:gd name="connsiteX83" fmla="*/ 780288 w 3346133"/>
                  <a:gd name="connsiteY83" fmla="*/ 285464 h 408241"/>
                  <a:gd name="connsiteX84" fmla="*/ 786575 w 3346133"/>
                  <a:gd name="connsiteY84" fmla="*/ 285464 h 408241"/>
                  <a:gd name="connsiteX85" fmla="*/ 786575 w 3346133"/>
                  <a:gd name="connsiteY85" fmla="*/ 291560 h 408241"/>
                  <a:gd name="connsiteX86" fmla="*/ 801243 w 3346133"/>
                  <a:gd name="connsiteY86" fmla="*/ 291560 h 408241"/>
                  <a:gd name="connsiteX87" fmla="*/ 801243 w 3346133"/>
                  <a:gd name="connsiteY87" fmla="*/ 297656 h 408241"/>
                  <a:gd name="connsiteX88" fmla="*/ 813911 w 3346133"/>
                  <a:gd name="connsiteY88" fmla="*/ 297656 h 408241"/>
                  <a:gd name="connsiteX89" fmla="*/ 813911 w 3346133"/>
                  <a:gd name="connsiteY89" fmla="*/ 303847 h 408241"/>
                  <a:gd name="connsiteX90" fmla="*/ 839153 w 3346133"/>
                  <a:gd name="connsiteY90" fmla="*/ 303847 h 408241"/>
                  <a:gd name="connsiteX91" fmla="*/ 839153 w 3346133"/>
                  <a:gd name="connsiteY91" fmla="*/ 309943 h 408241"/>
                  <a:gd name="connsiteX92" fmla="*/ 1068419 w 3346133"/>
                  <a:gd name="connsiteY92" fmla="*/ 309943 h 408241"/>
                  <a:gd name="connsiteX93" fmla="*/ 1068419 w 3346133"/>
                  <a:gd name="connsiteY93" fmla="*/ 316135 h 408241"/>
                  <a:gd name="connsiteX94" fmla="*/ 1181957 w 3346133"/>
                  <a:gd name="connsiteY94" fmla="*/ 316135 h 408241"/>
                  <a:gd name="connsiteX95" fmla="*/ 1181957 w 3346133"/>
                  <a:gd name="connsiteY95" fmla="*/ 322326 h 408241"/>
                  <a:gd name="connsiteX96" fmla="*/ 1451134 w 3346133"/>
                  <a:gd name="connsiteY96" fmla="*/ 322326 h 408241"/>
                  <a:gd name="connsiteX97" fmla="*/ 1451134 w 3346133"/>
                  <a:gd name="connsiteY97" fmla="*/ 328612 h 408241"/>
                  <a:gd name="connsiteX98" fmla="*/ 1524762 w 3346133"/>
                  <a:gd name="connsiteY98" fmla="*/ 328612 h 408241"/>
                  <a:gd name="connsiteX99" fmla="*/ 1524762 w 3346133"/>
                  <a:gd name="connsiteY99" fmla="*/ 334899 h 408241"/>
                  <a:gd name="connsiteX100" fmla="*/ 1604677 w 3346133"/>
                  <a:gd name="connsiteY100" fmla="*/ 334899 h 408241"/>
                  <a:gd name="connsiteX101" fmla="*/ 1604677 w 3346133"/>
                  <a:gd name="connsiteY101" fmla="*/ 341185 h 408241"/>
                  <a:gd name="connsiteX102" fmla="*/ 1766602 w 3346133"/>
                  <a:gd name="connsiteY102" fmla="*/ 341185 h 408241"/>
                  <a:gd name="connsiteX103" fmla="*/ 1766602 w 3346133"/>
                  <a:gd name="connsiteY103" fmla="*/ 347662 h 408241"/>
                  <a:gd name="connsiteX104" fmla="*/ 1783461 w 3346133"/>
                  <a:gd name="connsiteY104" fmla="*/ 347662 h 408241"/>
                  <a:gd name="connsiteX105" fmla="*/ 1783461 w 3346133"/>
                  <a:gd name="connsiteY105" fmla="*/ 354044 h 408241"/>
                  <a:gd name="connsiteX106" fmla="*/ 1901285 w 3346133"/>
                  <a:gd name="connsiteY106" fmla="*/ 354044 h 408241"/>
                  <a:gd name="connsiteX107" fmla="*/ 1901285 w 3346133"/>
                  <a:gd name="connsiteY107" fmla="*/ 360521 h 408241"/>
                  <a:gd name="connsiteX108" fmla="*/ 1993773 w 3346133"/>
                  <a:gd name="connsiteY108" fmla="*/ 360521 h 408241"/>
                  <a:gd name="connsiteX109" fmla="*/ 1993773 w 3346133"/>
                  <a:gd name="connsiteY109" fmla="*/ 366903 h 408241"/>
                  <a:gd name="connsiteX110" fmla="*/ 2012728 w 3346133"/>
                  <a:gd name="connsiteY110" fmla="*/ 366903 h 408241"/>
                  <a:gd name="connsiteX111" fmla="*/ 2012728 w 3346133"/>
                  <a:gd name="connsiteY111" fmla="*/ 373380 h 408241"/>
                  <a:gd name="connsiteX112" fmla="*/ 2866549 w 3346133"/>
                  <a:gd name="connsiteY112" fmla="*/ 373380 h 408241"/>
                  <a:gd name="connsiteX113" fmla="*/ 2866549 w 3346133"/>
                  <a:gd name="connsiteY113" fmla="*/ 408241 h 408241"/>
                  <a:gd name="connsiteX114" fmla="*/ 3346133 w 3346133"/>
                  <a:gd name="connsiteY114" fmla="*/ 408241 h 408241"/>
                  <a:gd name="connsiteX0" fmla="*/ 0 w 3346133"/>
                  <a:gd name="connsiteY0" fmla="*/ 0 h 396049"/>
                  <a:gd name="connsiteX1" fmla="*/ 2096 w 3346133"/>
                  <a:gd name="connsiteY1" fmla="*/ 0 h 396049"/>
                  <a:gd name="connsiteX2" fmla="*/ 2096 w 3346133"/>
                  <a:gd name="connsiteY2" fmla="*/ 6001 h 396049"/>
                  <a:gd name="connsiteX3" fmla="*/ 8382 w 3346133"/>
                  <a:gd name="connsiteY3" fmla="*/ 6001 h 396049"/>
                  <a:gd name="connsiteX4" fmla="*/ 8382 w 3346133"/>
                  <a:gd name="connsiteY4" fmla="*/ 12097 h 396049"/>
                  <a:gd name="connsiteX5" fmla="*/ 12573 w 3346133"/>
                  <a:gd name="connsiteY5" fmla="*/ 12097 h 396049"/>
                  <a:gd name="connsiteX6" fmla="*/ 12573 w 3346133"/>
                  <a:gd name="connsiteY6" fmla="*/ 18193 h 396049"/>
                  <a:gd name="connsiteX7" fmla="*/ 29432 w 3346133"/>
                  <a:gd name="connsiteY7" fmla="*/ 18193 h 396049"/>
                  <a:gd name="connsiteX8" fmla="*/ 29432 w 3346133"/>
                  <a:gd name="connsiteY8" fmla="*/ 30289 h 396049"/>
                  <a:gd name="connsiteX9" fmla="*/ 33623 w 3346133"/>
                  <a:gd name="connsiteY9" fmla="*/ 30289 h 396049"/>
                  <a:gd name="connsiteX10" fmla="*/ 33623 w 3346133"/>
                  <a:gd name="connsiteY10" fmla="*/ 36385 h 396049"/>
                  <a:gd name="connsiteX11" fmla="*/ 56769 w 3346133"/>
                  <a:gd name="connsiteY11" fmla="*/ 36385 h 396049"/>
                  <a:gd name="connsiteX12" fmla="*/ 56769 w 3346133"/>
                  <a:gd name="connsiteY12" fmla="*/ 42481 h 396049"/>
                  <a:gd name="connsiteX13" fmla="*/ 60960 w 3346133"/>
                  <a:gd name="connsiteY13" fmla="*/ 42481 h 396049"/>
                  <a:gd name="connsiteX14" fmla="*/ 60960 w 3346133"/>
                  <a:gd name="connsiteY14" fmla="*/ 48482 h 396049"/>
                  <a:gd name="connsiteX15" fmla="*/ 67247 w 3346133"/>
                  <a:gd name="connsiteY15" fmla="*/ 48482 h 396049"/>
                  <a:gd name="connsiteX16" fmla="*/ 67247 w 3346133"/>
                  <a:gd name="connsiteY16" fmla="*/ 60674 h 396049"/>
                  <a:gd name="connsiteX17" fmla="*/ 86201 w 3346133"/>
                  <a:gd name="connsiteY17" fmla="*/ 60674 h 396049"/>
                  <a:gd name="connsiteX18" fmla="*/ 86201 w 3346133"/>
                  <a:gd name="connsiteY18" fmla="*/ 66675 h 396049"/>
                  <a:gd name="connsiteX19" fmla="*/ 94583 w 3346133"/>
                  <a:gd name="connsiteY19" fmla="*/ 66675 h 396049"/>
                  <a:gd name="connsiteX20" fmla="*/ 94583 w 3346133"/>
                  <a:gd name="connsiteY20" fmla="*/ 72771 h 396049"/>
                  <a:gd name="connsiteX21" fmla="*/ 107252 w 3346133"/>
                  <a:gd name="connsiteY21" fmla="*/ 72771 h 396049"/>
                  <a:gd name="connsiteX22" fmla="*/ 107252 w 3346133"/>
                  <a:gd name="connsiteY22" fmla="*/ 78867 h 396049"/>
                  <a:gd name="connsiteX23" fmla="*/ 124111 w 3346133"/>
                  <a:gd name="connsiteY23" fmla="*/ 78867 h 396049"/>
                  <a:gd name="connsiteX24" fmla="*/ 124111 w 3346133"/>
                  <a:gd name="connsiteY24" fmla="*/ 84868 h 396049"/>
                  <a:gd name="connsiteX25" fmla="*/ 151448 w 3346133"/>
                  <a:gd name="connsiteY25" fmla="*/ 84868 h 396049"/>
                  <a:gd name="connsiteX26" fmla="*/ 151448 w 3346133"/>
                  <a:gd name="connsiteY26" fmla="*/ 90964 h 396049"/>
                  <a:gd name="connsiteX27" fmla="*/ 153543 w 3346133"/>
                  <a:gd name="connsiteY27" fmla="*/ 90964 h 396049"/>
                  <a:gd name="connsiteX28" fmla="*/ 153543 w 3346133"/>
                  <a:gd name="connsiteY28" fmla="*/ 97060 h 396049"/>
                  <a:gd name="connsiteX29" fmla="*/ 164020 w 3346133"/>
                  <a:gd name="connsiteY29" fmla="*/ 97060 h 396049"/>
                  <a:gd name="connsiteX30" fmla="*/ 164020 w 3346133"/>
                  <a:gd name="connsiteY30" fmla="*/ 103060 h 396049"/>
                  <a:gd name="connsiteX31" fmla="*/ 170307 w 3346133"/>
                  <a:gd name="connsiteY31" fmla="*/ 103060 h 396049"/>
                  <a:gd name="connsiteX32" fmla="*/ 170307 w 3346133"/>
                  <a:gd name="connsiteY32" fmla="*/ 115252 h 396049"/>
                  <a:gd name="connsiteX33" fmla="*/ 178784 w 3346133"/>
                  <a:gd name="connsiteY33" fmla="*/ 115252 h 396049"/>
                  <a:gd name="connsiteX34" fmla="*/ 178784 w 3346133"/>
                  <a:gd name="connsiteY34" fmla="*/ 121253 h 396049"/>
                  <a:gd name="connsiteX35" fmla="*/ 185071 w 3346133"/>
                  <a:gd name="connsiteY35" fmla="*/ 121253 h 396049"/>
                  <a:gd name="connsiteX36" fmla="*/ 185071 w 3346133"/>
                  <a:gd name="connsiteY36" fmla="*/ 133445 h 396049"/>
                  <a:gd name="connsiteX37" fmla="*/ 187166 w 3346133"/>
                  <a:gd name="connsiteY37" fmla="*/ 133445 h 396049"/>
                  <a:gd name="connsiteX38" fmla="*/ 187166 w 3346133"/>
                  <a:gd name="connsiteY38" fmla="*/ 139541 h 396049"/>
                  <a:gd name="connsiteX39" fmla="*/ 199739 w 3346133"/>
                  <a:gd name="connsiteY39" fmla="*/ 139541 h 396049"/>
                  <a:gd name="connsiteX40" fmla="*/ 199739 w 3346133"/>
                  <a:gd name="connsiteY40" fmla="*/ 145542 h 396049"/>
                  <a:gd name="connsiteX41" fmla="*/ 222885 w 3346133"/>
                  <a:gd name="connsiteY41" fmla="*/ 145542 h 396049"/>
                  <a:gd name="connsiteX42" fmla="*/ 222885 w 3346133"/>
                  <a:gd name="connsiteY42" fmla="*/ 151638 h 396049"/>
                  <a:gd name="connsiteX43" fmla="*/ 229267 w 3346133"/>
                  <a:gd name="connsiteY43" fmla="*/ 151638 h 396049"/>
                  <a:gd name="connsiteX44" fmla="*/ 229267 w 3346133"/>
                  <a:gd name="connsiteY44" fmla="*/ 157734 h 396049"/>
                  <a:gd name="connsiteX45" fmla="*/ 237649 w 3346133"/>
                  <a:gd name="connsiteY45" fmla="*/ 157734 h 396049"/>
                  <a:gd name="connsiteX46" fmla="*/ 237649 w 3346133"/>
                  <a:gd name="connsiteY46" fmla="*/ 163735 h 396049"/>
                  <a:gd name="connsiteX47" fmla="*/ 246031 w 3346133"/>
                  <a:gd name="connsiteY47" fmla="*/ 163735 h 396049"/>
                  <a:gd name="connsiteX48" fmla="*/ 246031 w 3346133"/>
                  <a:gd name="connsiteY48" fmla="*/ 169831 h 396049"/>
                  <a:gd name="connsiteX49" fmla="*/ 250222 w 3346133"/>
                  <a:gd name="connsiteY49" fmla="*/ 169831 h 396049"/>
                  <a:gd name="connsiteX50" fmla="*/ 250222 w 3346133"/>
                  <a:gd name="connsiteY50" fmla="*/ 175927 h 396049"/>
                  <a:gd name="connsiteX51" fmla="*/ 323850 w 3346133"/>
                  <a:gd name="connsiteY51" fmla="*/ 175927 h 396049"/>
                  <a:gd name="connsiteX52" fmla="*/ 323850 w 3346133"/>
                  <a:gd name="connsiteY52" fmla="*/ 181927 h 396049"/>
                  <a:gd name="connsiteX53" fmla="*/ 344900 w 3346133"/>
                  <a:gd name="connsiteY53" fmla="*/ 181927 h 396049"/>
                  <a:gd name="connsiteX54" fmla="*/ 344900 w 3346133"/>
                  <a:gd name="connsiteY54" fmla="*/ 188023 h 396049"/>
                  <a:gd name="connsiteX55" fmla="*/ 351187 w 3346133"/>
                  <a:gd name="connsiteY55" fmla="*/ 188023 h 396049"/>
                  <a:gd name="connsiteX56" fmla="*/ 351187 w 3346133"/>
                  <a:gd name="connsiteY56" fmla="*/ 194119 h 396049"/>
                  <a:gd name="connsiteX57" fmla="*/ 393287 w 3346133"/>
                  <a:gd name="connsiteY57" fmla="*/ 194119 h 396049"/>
                  <a:gd name="connsiteX58" fmla="*/ 393287 w 3346133"/>
                  <a:gd name="connsiteY58" fmla="*/ 200120 h 396049"/>
                  <a:gd name="connsiteX59" fmla="*/ 407956 w 3346133"/>
                  <a:gd name="connsiteY59" fmla="*/ 200120 h 396049"/>
                  <a:gd name="connsiteX60" fmla="*/ 407956 w 3346133"/>
                  <a:gd name="connsiteY60" fmla="*/ 206216 h 396049"/>
                  <a:gd name="connsiteX61" fmla="*/ 437483 w 3346133"/>
                  <a:gd name="connsiteY61" fmla="*/ 206216 h 396049"/>
                  <a:gd name="connsiteX62" fmla="*/ 437483 w 3346133"/>
                  <a:gd name="connsiteY62" fmla="*/ 212312 h 396049"/>
                  <a:gd name="connsiteX63" fmla="*/ 439579 w 3346133"/>
                  <a:gd name="connsiteY63" fmla="*/ 212312 h 396049"/>
                  <a:gd name="connsiteX64" fmla="*/ 439579 w 3346133"/>
                  <a:gd name="connsiteY64" fmla="*/ 218313 h 396049"/>
                  <a:gd name="connsiteX65" fmla="*/ 462629 w 3346133"/>
                  <a:gd name="connsiteY65" fmla="*/ 218313 h 396049"/>
                  <a:gd name="connsiteX66" fmla="*/ 462629 w 3346133"/>
                  <a:gd name="connsiteY66" fmla="*/ 224409 h 396049"/>
                  <a:gd name="connsiteX67" fmla="*/ 475298 w 3346133"/>
                  <a:gd name="connsiteY67" fmla="*/ 224409 h 396049"/>
                  <a:gd name="connsiteX68" fmla="*/ 475298 w 3346133"/>
                  <a:gd name="connsiteY68" fmla="*/ 230505 h 396049"/>
                  <a:gd name="connsiteX69" fmla="*/ 511016 w 3346133"/>
                  <a:gd name="connsiteY69" fmla="*/ 230505 h 396049"/>
                  <a:gd name="connsiteX70" fmla="*/ 511016 w 3346133"/>
                  <a:gd name="connsiteY70" fmla="*/ 236601 h 396049"/>
                  <a:gd name="connsiteX71" fmla="*/ 626745 w 3346133"/>
                  <a:gd name="connsiteY71" fmla="*/ 236601 h 396049"/>
                  <a:gd name="connsiteX72" fmla="*/ 626745 w 3346133"/>
                  <a:gd name="connsiteY72" fmla="*/ 242602 h 396049"/>
                  <a:gd name="connsiteX73" fmla="*/ 664559 w 3346133"/>
                  <a:gd name="connsiteY73" fmla="*/ 242602 h 396049"/>
                  <a:gd name="connsiteX74" fmla="*/ 664559 w 3346133"/>
                  <a:gd name="connsiteY74" fmla="*/ 248793 h 396049"/>
                  <a:gd name="connsiteX75" fmla="*/ 717137 w 3346133"/>
                  <a:gd name="connsiteY75" fmla="*/ 248793 h 396049"/>
                  <a:gd name="connsiteX76" fmla="*/ 717137 w 3346133"/>
                  <a:gd name="connsiteY76" fmla="*/ 254889 h 396049"/>
                  <a:gd name="connsiteX77" fmla="*/ 736092 w 3346133"/>
                  <a:gd name="connsiteY77" fmla="*/ 254889 h 396049"/>
                  <a:gd name="connsiteX78" fmla="*/ 736092 w 3346133"/>
                  <a:gd name="connsiteY78" fmla="*/ 260985 h 396049"/>
                  <a:gd name="connsiteX79" fmla="*/ 746570 w 3346133"/>
                  <a:gd name="connsiteY79" fmla="*/ 260985 h 396049"/>
                  <a:gd name="connsiteX80" fmla="*/ 746570 w 3346133"/>
                  <a:gd name="connsiteY80" fmla="*/ 267176 h 396049"/>
                  <a:gd name="connsiteX81" fmla="*/ 780288 w 3346133"/>
                  <a:gd name="connsiteY81" fmla="*/ 267176 h 396049"/>
                  <a:gd name="connsiteX82" fmla="*/ 780288 w 3346133"/>
                  <a:gd name="connsiteY82" fmla="*/ 273272 h 396049"/>
                  <a:gd name="connsiteX83" fmla="*/ 786575 w 3346133"/>
                  <a:gd name="connsiteY83" fmla="*/ 273272 h 396049"/>
                  <a:gd name="connsiteX84" fmla="*/ 786575 w 3346133"/>
                  <a:gd name="connsiteY84" fmla="*/ 279368 h 396049"/>
                  <a:gd name="connsiteX85" fmla="*/ 801243 w 3346133"/>
                  <a:gd name="connsiteY85" fmla="*/ 279368 h 396049"/>
                  <a:gd name="connsiteX86" fmla="*/ 801243 w 3346133"/>
                  <a:gd name="connsiteY86" fmla="*/ 285464 h 396049"/>
                  <a:gd name="connsiteX87" fmla="*/ 813911 w 3346133"/>
                  <a:gd name="connsiteY87" fmla="*/ 285464 h 396049"/>
                  <a:gd name="connsiteX88" fmla="*/ 813911 w 3346133"/>
                  <a:gd name="connsiteY88" fmla="*/ 291655 h 396049"/>
                  <a:gd name="connsiteX89" fmla="*/ 839153 w 3346133"/>
                  <a:gd name="connsiteY89" fmla="*/ 291655 h 396049"/>
                  <a:gd name="connsiteX90" fmla="*/ 839153 w 3346133"/>
                  <a:gd name="connsiteY90" fmla="*/ 297751 h 396049"/>
                  <a:gd name="connsiteX91" fmla="*/ 1068419 w 3346133"/>
                  <a:gd name="connsiteY91" fmla="*/ 297751 h 396049"/>
                  <a:gd name="connsiteX92" fmla="*/ 1068419 w 3346133"/>
                  <a:gd name="connsiteY92" fmla="*/ 303943 h 396049"/>
                  <a:gd name="connsiteX93" fmla="*/ 1181957 w 3346133"/>
                  <a:gd name="connsiteY93" fmla="*/ 303943 h 396049"/>
                  <a:gd name="connsiteX94" fmla="*/ 1181957 w 3346133"/>
                  <a:gd name="connsiteY94" fmla="*/ 310134 h 396049"/>
                  <a:gd name="connsiteX95" fmla="*/ 1451134 w 3346133"/>
                  <a:gd name="connsiteY95" fmla="*/ 310134 h 396049"/>
                  <a:gd name="connsiteX96" fmla="*/ 1451134 w 3346133"/>
                  <a:gd name="connsiteY96" fmla="*/ 316420 h 396049"/>
                  <a:gd name="connsiteX97" fmla="*/ 1524762 w 3346133"/>
                  <a:gd name="connsiteY97" fmla="*/ 316420 h 396049"/>
                  <a:gd name="connsiteX98" fmla="*/ 1524762 w 3346133"/>
                  <a:gd name="connsiteY98" fmla="*/ 322707 h 396049"/>
                  <a:gd name="connsiteX99" fmla="*/ 1604677 w 3346133"/>
                  <a:gd name="connsiteY99" fmla="*/ 322707 h 396049"/>
                  <a:gd name="connsiteX100" fmla="*/ 1604677 w 3346133"/>
                  <a:gd name="connsiteY100" fmla="*/ 328993 h 396049"/>
                  <a:gd name="connsiteX101" fmla="*/ 1766602 w 3346133"/>
                  <a:gd name="connsiteY101" fmla="*/ 328993 h 396049"/>
                  <a:gd name="connsiteX102" fmla="*/ 1766602 w 3346133"/>
                  <a:gd name="connsiteY102" fmla="*/ 335470 h 396049"/>
                  <a:gd name="connsiteX103" fmla="*/ 1783461 w 3346133"/>
                  <a:gd name="connsiteY103" fmla="*/ 335470 h 396049"/>
                  <a:gd name="connsiteX104" fmla="*/ 1783461 w 3346133"/>
                  <a:gd name="connsiteY104" fmla="*/ 341852 h 396049"/>
                  <a:gd name="connsiteX105" fmla="*/ 1901285 w 3346133"/>
                  <a:gd name="connsiteY105" fmla="*/ 341852 h 396049"/>
                  <a:gd name="connsiteX106" fmla="*/ 1901285 w 3346133"/>
                  <a:gd name="connsiteY106" fmla="*/ 348329 h 396049"/>
                  <a:gd name="connsiteX107" fmla="*/ 1993773 w 3346133"/>
                  <a:gd name="connsiteY107" fmla="*/ 348329 h 396049"/>
                  <a:gd name="connsiteX108" fmla="*/ 1993773 w 3346133"/>
                  <a:gd name="connsiteY108" fmla="*/ 354711 h 396049"/>
                  <a:gd name="connsiteX109" fmla="*/ 2012728 w 3346133"/>
                  <a:gd name="connsiteY109" fmla="*/ 354711 h 396049"/>
                  <a:gd name="connsiteX110" fmla="*/ 2012728 w 3346133"/>
                  <a:gd name="connsiteY110" fmla="*/ 361188 h 396049"/>
                  <a:gd name="connsiteX111" fmla="*/ 2866549 w 3346133"/>
                  <a:gd name="connsiteY111" fmla="*/ 361188 h 396049"/>
                  <a:gd name="connsiteX112" fmla="*/ 2866549 w 3346133"/>
                  <a:gd name="connsiteY112" fmla="*/ 396049 h 396049"/>
                  <a:gd name="connsiteX113" fmla="*/ 3346133 w 3346133"/>
                  <a:gd name="connsiteY113" fmla="*/ 396049 h 396049"/>
                  <a:gd name="connsiteX0" fmla="*/ 0 w 3346133"/>
                  <a:gd name="connsiteY0" fmla="*/ 0 h 396049"/>
                  <a:gd name="connsiteX1" fmla="*/ 2096 w 3346133"/>
                  <a:gd name="connsiteY1" fmla="*/ 0 h 396049"/>
                  <a:gd name="connsiteX2" fmla="*/ 2096 w 3346133"/>
                  <a:gd name="connsiteY2" fmla="*/ 6001 h 396049"/>
                  <a:gd name="connsiteX3" fmla="*/ 8382 w 3346133"/>
                  <a:gd name="connsiteY3" fmla="*/ 12097 h 396049"/>
                  <a:gd name="connsiteX4" fmla="*/ 12573 w 3346133"/>
                  <a:gd name="connsiteY4" fmla="*/ 12097 h 396049"/>
                  <a:gd name="connsiteX5" fmla="*/ 12573 w 3346133"/>
                  <a:gd name="connsiteY5" fmla="*/ 18193 h 396049"/>
                  <a:gd name="connsiteX6" fmla="*/ 29432 w 3346133"/>
                  <a:gd name="connsiteY6" fmla="*/ 18193 h 396049"/>
                  <a:gd name="connsiteX7" fmla="*/ 29432 w 3346133"/>
                  <a:gd name="connsiteY7" fmla="*/ 30289 h 396049"/>
                  <a:gd name="connsiteX8" fmla="*/ 33623 w 3346133"/>
                  <a:gd name="connsiteY8" fmla="*/ 30289 h 396049"/>
                  <a:gd name="connsiteX9" fmla="*/ 33623 w 3346133"/>
                  <a:gd name="connsiteY9" fmla="*/ 36385 h 396049"/>
                  <a:gd name="connsiteX10" fmla="*/ 56769 w 3346133"/>
                  <a:gd name="connsiteY10" fmla="*/ 36385 h 396049"/>
                  <a:gd name="connsiteX11" fmla="*/ 56769 w 3346133"/>
                  <a:gd name="connsiteY11" fmla="*/ 42481 h 396049"/>
                  <a:gd name="connsiteX12" fmla="*/ 60960 w 3346133"/>
                  <a:gd name="connsiteY12" fmla="*/ 42481 h 396049"/>
                  <a:gd name="connsiteX13" fmla="*/ 60960 w 3346133"/>
                  <a:gd name="connsiteY13" fmla="*/ 48482 h 396049"/>
                  <a:gd name="connsiteX14" fmla="*/ 67247 w 3346133"/>
                  <a:gd name="connsiteY14" fmla="*/ 48482 h 396049"/>
                  <a:gd name="connsiteX15" fmla="*/ 67247 w 3346133"/>
                  <a:gd name="connsiteY15" fmla="*/ 60674 h 396049"/>
                  <a:gd name="connsiteX16" fmla="*/ 86201 w 3346133"/>
                  <a:gd name="connsiteY16" fmla="*/ 60674 h 396049"/>
                  <a:gd name="connsiteX17" fmla="*/ 86201 w 3346133"/>
                  <a:gd name="connsiteY17" fmla="*/ 66675 h 396049"/>
                  <a:gd name="connsiteX18" fmla="*/ 94583 w 3346133"/>
                  <a:gd name="connsiteY18" fmla="*/ 66675 h 396049"/>
                  <a:gd name="connsiteX19" fmla="*/ 94583 w 3346133"/>
                  <a:gd name="connsiteY19" fmla="*/ 72771 h 396049"/>
                  <a:gd name="connsiteX20" fmla="*/ 107252 w 3346133"/>
                  <a:gd name="connsiteY20" fmla="*/ 72771 h 396049"/>
                  <a:gd name="connsiteX21" fmla="*/ 107252 w 3346133"/>
                  <a:gd name="connsiteY21" fmla="*/ 78867 h 396049"/>
                  <a:gd name="connsiteX22" fmla="*/ 124111 w 3346133"/>
                  <a:gd name="connsiteY22" fmla="*/ 78867 h 396049"/>
                  <a:gd name="connsiteX23" fmla="*/ 124111 w 3346133"/>
                  <a:gd name="connsiteY23" fmla="*/ 84868 h 396049"/>
                  <a:gd name="connsiteX24" fmla="*/ 151448 w 3346133"/>
                  <a:gd name="connsiteY24" fmla="*/ 84868 h 396049"/>
                  <a:gd name="connsiteX25" fmla="*/ 151448 w 3346133"/>
                  <a:gd name="connsiteY25" fmla="*/ 90964 h 396049"/>
                  <a:gd name="connsiteX26" fmla="*/ 153543 w 3346133"/>
                  <a:gd name="connsiteY26" fmla="*/ 90964 h 396049"/>
                  <a:gd name="connsiteX27" fmla="*/ 153543 w 3346133"/>
                  <a:gd name="connsiteY27" fmla="*/ 97060 h 396049"/>
                  <a:gd name="connsiteX28" fmla="*/ 164020 w 3346133"/>
                  <a:gd name="connsiteY28" fmla="*/ 97060 h 396049"/>
                  <a:gd name="connsiteX29" fmla="*/ 164020 w 3346133"/>
                  <a:gd name="connsiteY29" fmla="*/ 103060 h 396049"/>
                  <a:gd name="connsiteX30" fmla="*/ 170307 w 3346133"/>
                  <a:gd name="connsiteY30" fmla="*/ 103060 h 396049"/>
                  <a:gd name="connsiteX31" fmla="*/ 170307 w 3346133"/>
                  <a:gd name="connsiteY31" fmla="*/ 115252 h 396049"/>
                  <a:gd name="connsiteX32" fmla="*/ 178784 w 3346133"/>
                  <a:gd name="connsiteY32" fmla="*/ 115252 h 396049"/>
                  <a:gd name="connsiteX33" fmla="*/ 178784 w 3346133"/>
                  <a:gd name="connsiteY33" fmla="*/ 121253 h 396049"/>
                  <a:gd name="connsiteX34" fmla="*/ 185071 w 3346133"/>
                  <a:gd name="connsiteY34" fmla="*/ 121253 h 396049"/>
                  <a:gd name="connsiteX35" fmla="*/ 185071 w 3346133"/>
                  <a:gd name="connsiteY35" fmla="*/ 133445 h 396049"/>
                  <a:gd name="connsiteX36" fmla="*/ 187166 w 3346133"/>
                  <a:gd name="connsiteY36" fmla="*/ 133445 h 396049"/>
                  <a:gd name="connsiteX37" fmla="*/ 187166 w 3346133"/>
                  <a:gd name="connsiteY37" fmla="*/ 139541 h 396049"/>
                  <a:gd name="connsiteX38" fmla="*/ 199739 w 3346133"/>
                  <a:gd name="connsiteY38" fmla="*/ 139541 h 396049"/>
                  <a:gd name="connsiteX39" fmla="*/ 199739 w 3346133"/>
                  <a:gd name="connsiteY39" fmla="*/ 145542 h 396049"/>
                  <a:gd name="connsiteX40" fmla="*/ 222885 w 3346133"/>
                  <a:gd name="connsiteY40" fmla="*/ 145542 h 396049"/>
                  <a:gd name="connsiteX41" fmla="*/ 222885 w 3346133"/>
                  <a:gd name="connsiteY41" fmla="*/ 151638 h 396049"/>
                  <a:gd name="connsiteX42" fmla="*/ 229267 w 3346133"/>
                  <a:gd name="connsiteY42" fmla="*/ 151638 h 396049"/>
                  <a:gd name="connsiteX43" fmla="*/ 229267 w 3346133"/>
                  <a:gd name="connsiteY43" fmla="*/ 157734 h 396049"/>
                  <a:gd name="connsiteX44" fmla="*/ 237649 w 3346133"/>
                  <a:gd name="connsiteY44" fmla="*/ 157734 h 396049"/>
                  <a:gd name="connsiteX45" fmla="*/ 237649 w 3346133"/>
                  <a:gd name="connsiteY45" fmla="*/ 163735 h 396049"/>
                  <a:gd name="connsiteX46" fmla="*/ 246031 w 3346133"/>
                  <a:gd name="connsiteY46" fmla="*/ 163735 h 396049"/>
                  <a:gd name="connsiteX47" fmla="*/ 246031 w 3346133"/>
                  <a:gd name="connsiteY47" fmla="*/ 169831 h 396049"/>
                  <a:gd name="connsiteX48" fmla="*/ 250222 w 3346133"/>
                  <a:gd name="connsiteY48" fmla="*/ 169831 h 396049"/>
                  <a:gd name="connsiteX49" fmla="*/ 250222 w 3346133"/>
                  <a:gd name="connsiteY49" fmla="*/ 175927 h 396049"/>
                  <a:gd name="connsiteX50" fmla="*/ 323850 w 3346133"/>
                  <a:gd name="connsiteY50" fmla="*/ 175927 h 396049"/>
                  <a:gd name="connsiteX51" fmla="*/ 323850 w 3346133"/>
                  <a:gd name="connsiteY51" fmla="*/ 181927 h 396049"/>
                  <a:gd name="connsiteX52" fmla="*/ 344900 w 3346133"/>
                  <a:gd name="connsiteY52" fmla="*/ 181927 h 396049"/>
                  <a:gd name="connsiteX53" fmla="*/ 344900 w 3346133"/>
                  <a:gd name="connsiteY53" fmla="*/ 188023 h 396049"/>
                  <a:gd name="connsiteX54" fmla="*/ 351187 w 3346133"/>
                  <a:gd name="connsiteY54" fmla="*/ 188023 h 396049"/>
                  <a:gd name="connsiteX55" fmla="*/ 351187 w 3346133"/>
                  <a:gd name="connsiteY55" fmla="*/ 194119 h 396049"/>
                  <a:gd name="connsiteX56" fmla="*/ 393287 w 3346133"/>
                  <a:gd name="connsiteY56" fmla="*/ 194119 h 396049"/>
                  <a:gd name="connsiteX57" fmla="*/ 393287 w 3346133"/>
                  <a:gd name="connsiteY57" fmla="*/ 200120 h 396049"/>
                  <a:gd name="connsiteX58" fmla="*/ 407956 w 3346133"/>
                  <a:gd name="connsiteY58" fmla="*/ 200120 h 396049"/>
                  <a:gd name="connsiteX59" fmla="*/ 407956 w 3346133"/>
                  <a:gd name="connsiteY59" fmla="*/ 206216 h 396049"/>
                  <a:gd name="connsiteX60" fmla="*/ 437483 w 3346133"/>
                  <a:gd name="connsiteY60" fmla="*/ 206216 h 396049"/>
                  <a:gd name="connsiteX61" fmla="*/ 437483 w 3346133"/>
                  <a:gd name="connsiteY61" fmla="*/ 212312 h 396049"/>
                  <a:gd name="connsiteX62" fmla="*/ 439579 w 3346133"/>
                  <a:gd name="connsiteY62" fmla="*/ 212312 h 396049"/>
                  <a:gd name="connsiteX63" fmla="*/ 439579 w 3346133"/>
                  <a:gd name="connsiteY63" fmla="*/ 218313 h 396049"/>
                  <a:gd name="connsiteX64" fmla="*/ 462629 w 3346133"/>
                  <a:gd name="connsiteY64" fmla="*/ 218313 h 396049"/>
                  <a:gd name="connsiteX65" fmla="*/ 462629 w 3346133"/>
                  <a:gd name="connsiteY65" fmla="*/ 224409 h 396049"/>
                  <a:gd name="connsiteX66" fmla="*/ 475298 w 3346133"/>
                  <a:gd name="connsiteY66" fmla="*/ 224409 h 396049"/>
                  <a:gd name="connsiteX67" fmla="*/ 475298 w 3346133"/>
                  <a:gd name="connsiteY67" fmla="*/ 230505 h 396049"/>
                  <a:gd name="connsiteX68" fmla="*/ 511016 w 3346133"/>
                  <a:gd name="connsiteY68" fmla="*/ 230505 h 396049"/>
                  <a:gd name="connsiteX69" fmla="*/ 511016 w 3346133"/>
                  <a:gd name="connsiteY69" fmla="*/ 236601 h 396049"/>
                  <a:gd name="connsiteX70" fmla="*/ 626745 w 3346133"/>
                  <a:gd name="connsiteY70" fmla="*/ 236601 h 396049"/>
                  <a:gd name="connsiteX71" fmla="*/ 626745 w 3346133"/>
                  <a:gd name="connsiteY71" fmla="*/ 242602 h 396049"/>
                  <a:gd name="connsiteX72" fmla="*/ 664559 w 3346133"/>
                  <a:gd name="connsiteY72" fmla="*/ 242602 h 396049"/>
                  <a:gd name="connsiteX73" fmla="*/ 664559 w 3346133"/>
                  <a:gd name="connsiteY73" fmla="*/ 248793 h 396049"/>
                  <a:gd name="connsiteX74" fmla="*/ 717137 w 3346133"/>
                  <a:gd name="connsiteY74" fmla="*/ 248793 h 396049"/>
                  <a:gd name="connsiteX75" fmla="*/ 717137 w 3346133"/>
                  <a:gd name="connsiteY75" fmla="*/ 254889 h 396049"/>
                  <a:gd name="connsiteX76" fmla="*/ 736092 w 3346133"/>
                  <a:gd name="connsiteY76" fmla="*/ 254889 h 396049"/>
                  <a:gd name="connsiteX77" fmla="*/ 736092 w 3346133"/>
                  <a:gd name="connsiteY77" fmla="*/ 260985 h 396049"/>
                  <a:gd name="connsiteX78" fmla="*/ 746570 w 3346133"/>
                  <a:gd name="connsiteY78" fmla="*/ 260985 h 396049"/>
                  <a:gd name="connsiteX79" fmla="*/ 746570 w 3346133"/>
                  <a:gd name="connsiteY79" fmla="*/ 267176 h 396049"/>
                  <a:gd name="connsiteX80" fmla="*/ 780288 w 3346133"/>
                  <a:gd name="connsiteY80" fmla="*/ 267176 h 396049"/>
                  <a:gd name="connsiteX81" fmla="*/ 780288 w 3346133"/>
                  <a:gd name="connsiteY81" fmla="*/ 273272 h 396049"/>
                  <a:gd name="connsiteX82" fmla="*/ 786575 w 3346133"/>
                  <a:gd name="connsiteY82" fmla="*/ 273272 h 396049"/>
                  <a:gd name="connsiteX83" fmla="*/ 786575 w 3346133"/>
                  <a:gd name="connsiteY83" fmla="*/ 279368 h 396049"/>
                  <a:gd name="connsiteX84" fmla="*/ 801243 w 3346133"/>
                  <a:gd name="connsiteY84" fmla="*/ 279368 h 396049"/>
                  <a:gd name="connsiteX85" fmla="*/ 801243 w 3346133"/>
                  <a:gd name="connsiteY85" fmla="*/ 285464 h 396049"/>
                  <a:gd name="connsiteX86" fmla="*/ 813911 w 3346133"/>
                  <a:gd name="connsiteY86" fmla="*/ 285464 h 396049"/>
                  <a:gd name="connsiteX87" fmla="*/ 813911 w 3346133"/>
                  <a:gd name="connsiteY87" fmla="*/ 291655 h 396049"/>
                  <a:gd name="connsiteX88" fmla="*/ 839153 w 3346133"/>
                  <a:gd name="connsiteY88" fmla="*/ 291655 h 396049"/>
                  <a:gd name="connsiteX89" fmla="*/ 839153 w 3346133"/>
                  <a:gd name="connsiteY89" fmla="*/ 297751 h 396049"/>
                  <a:gd name="connsiteX90" fmla="*/ 1068419 w 3346133"/>
                  <a:gd name="connsiteY90" fmla="*/ 297751 h 396049"/>
                  <a:gd name="connsiteX91" fmla="*/ 1068419 w 3346133"/>
                  <a:gd name="connsiteY91" fmla="*/ 303943 h 396049"/>
                  <a:gd name="connsiteX92" fmla="*/ 1181957 w 3346133"/>
                  <a:gd name="connsiteY92" fmla="*/ 303943 h 396049"/>
                  <a:gd name="connsiteX93" fmla="*/ 1181957 w 3346133"/>
                  <a:gd name="connsiteY93" fmla="*/ 310134 h 396049"/>
                  <a:gd name="connsiteX94" fmla="*/ 1451134 w 3346133"/>
                  <a:gd name="connsiteY94" fmla="*/ 310134 h 396049"/>
                  <a:gd name="connsiteX95" fmla="*/ 1451134 w 3346133"/>
                  <a:gd name="connsiteY95" fmla="*/ 316420 h 396049"/>
                  <a:gd name="connsiteX96" fmla="*/ 1524762 w 3346133"/>
                  <a:gd name="connsiteY96" fmla="*/ 316420 h 396049"/>
                  <a:gd name="connsiteX97" fmla="*/ 1524762 w 3346133"/>
                  <a:gd name="connsiteY97" fmla="*/ 322707 h 396049"/>
                  <a:gd name="connsiteX98" fmla="*/ 1604677 w 3346133"/>
                  <a:gd name="connsiteY98" fmla="*/ 322707 h 396049"/>
                  <a:gd name="connsiteX99" fmla="*/ 1604677 w 3346133"/>
                  <a:gd name="connsiteY99" fmla="*/ 328993 h 396049"/>
                  <a:gd name="connsiteX100" fmla="*/ 1766602 w 3346133"/>
                  <a:gd name="connsiteY100" fmla="*/ 328993 h 396049"/>
                  <a:gd name="connsiteX101" fmla="*/ 1766602 w 3346133"/>
                  <a:gd name="connsiteY101" fmla="*/ 335470 h 396049"/>
                  <a:gd name="connsiteX102" fmla="*/ 1783461 w 3346133"/>
                  <a:gd name="connsiteY102" fmla="*/ 335470 h 396049"/>
                  <a:gd name="connsiteX103" fmla="*/ 1783461 w 3346133"/>
                  <a:gd name="connsiteY103" fmla="*/ 341852 h 396049"/>
                  <a:gd name="connsiteX104" fmla="*/ 1901285 w 3346133"/>
                  <a:gd name="connsiteY104" fmla="*/ 341852 h 396049"/>
                  <a:gd name="connsiteX105" fmla="*/ 1901285 w 3346133"/>
                  <a:gd name="connsiteY105" fmla="*/ 348329 h 396049"/>
                  <a:gd name="connsiteX106" fmla="*/ 1993773 w 3346133"/>
                  <a:gd name="connsiteY106" fmla="*/ 348329 h 396049"/>
                  <a:gd name="connsiteX107" fmla="*/ 1993773 w 3346133"/>
                  <a:gd name="connsiteY107" fmla="*/ 354711 h 396049"/>
                  <a:gd name="connsiteX108" fmla="*/ 2012728 w 3346133"/>
                  <a:gd name="connsiteY108" fmla="*/ 354711 h 396049"/>
                  <a:gd name="connsiteX109" fmla="*/ 2012728 w 3346133"/>
                  <a:gd name="connsiteY109" fmla="*/ 361188 h 396049"/>
                  <a:gd name="connsiteX110" fmla="*/ 2866549 w 3346133"/>
                  <a:gd name="connsiteY110" fmla="*/ 361188 h 396049"/>
                  <a:gd name="connsiteX111" fmla="*/ 2866549 w 3346133"/>
                  <a:gd name="connsiteY111" fmla="*/ 396049 h 396049"/>
                  <a:gd name="connsiteX112" fmla="*/ 3346133 w 3346133"/>
                  <a:gd name="connsiteY112" fmla="*/ 396049 h 396049"/>
                  <a:gd name="connsiteX0" fmla="*/ 0 w 3346133"/>
                  <a:gd name="connsiteY0" fmla="*/ 0 h 396049"/>
                  <a:gd name="connsiteX1" fmla="*/ 2096 w 3346133"/>
                  <a:gd name="connsiteY1" fmla="*/ 0 h 396049"/>
                  <a:gd name="connsiteX2" fmla="*/ 8382 w 3346133"/>
                  <a:gd name="connsiteY2" fmla="*/ 12097 h 396049"/>
                  <a:gd name="connsiteX3" fmla="*/ 12573 w 3346133"/>
                  <a:gd name="connsiteY3" fmla="*/ 12097 h 396049"/>
                  <a:gd name="connsiteX4" fmla="*/ 12573 w 3346133"/>
                  <a:gd name="connsiteY4" fmla="*/ 18193 h 396049"/>
                  <a:gd name="connsiteX5" fmla="*/ 29432 w 3346133"/>
                  <a:gd name="connsiteY5" fmla="*/ 18193 h 396049"/>
                  <a:gd name="connsiteX6" fmla="*/ 29432 w 3346133"/>
                  <a:gd name="connsiteY6" fmla="*/ 30289 h 396049"/>
                  <a:gd name="connsiteX7" fmla="*/ 33623 w 3346133"/>
                  <a:gd name="connsiteY7" fmla="*/ 30289 h 396049"/>
                  <a:gd name="connsiteX8" fmla="*/ 33623 w 3346133"/>
                  <a:gd name="connsiteY8" fmla="*/ 36385 h 396049"/>
                  <a:gd name="connsiteX9" fmla="*/ 56769 w 3346133"/>
                  <a:gd name="connsiteY9" fmla="*/ 36385 h 396049"/>
                  <a:gd name="connsiteX10" fmla="*/ 56769 w 3346133"/>
                  <a:gd name="connsiteY10" fmla="*/ 42481 h 396049"/>
                  <a:gd name="connsiteX11" fmla="*/ 60960 w 3346133"/>
                  <a:gd name="connsiteY11" fmla="*/ 42481 h 396049"/>
                  <a:gd name="connsiteX12" fmla="*/ 60960 w 3346133"/>
                  <a:gd name="connsiteY12" fmla="*/ 48482 h 396049"/>
                  <a:gd name="connsiteX13" fmla="*/ 67247 w 3346133"/>
                  <a:gd name="connsiteY13" fmla="*/ 48482 h 396049"/>
                  <a:gd name="connsiteX14" fmla="*/ 67247 w 3346133"/>
                  <a:gd name="connsiteY14" fmla="*/ 60674 h 396049"/>
                  <a:gd name="connsiteX15" fmla="*/ 86201 w 3346133"/>
                  <a:gd name="connsiteY15" fmla="*/ 60674 h 396049"/>
                  <a:gd name="connsiteX16" fmla="*/ 86201 w 3346133"/>
                  <a:gd name="connsiteY16" fmla="*/ 66675 h 396049"/>
                  <a:gd name="connsiteX17" fmla="*/ 94583 w 3346133"/>
                  <a:gd name="connsiteY17" fmla="*/ 66675 h 396049"/>
                  <a:gd name="connsiteX18" fmla="*/ 94583 w 3346133"/>
                  <a:gd name="connsiteY18" fmla="*/ 72771 h 396049"/>
                  <a:gd name="connsiteX19" fmla="*/ 107252 w 3346133"/>
                  <a:gd name="connsiteY19" fmla="*/ 72771 h 396049"/>
                  <a:gd name="connsiteX20" fmla="*/ 107252 w 3346133"/>
                  <a:gd name="connsiteY20" fmla="*/ 78867 h 396049"/>
                  <a:gd name="connsiteX21" fmla="*/ 124111 w 3346133"/>
                  <a:gd name="connsiteY21" fmla="*/ 78867 h 396049"/>
                  <a:gd name="connsiteX22" fmla="*/ 124111 w 3346133"/>
                  <a:gd name="connsiteY22" fmla="*/ 84868 h 396049"/>
                  <a:gd name="connsiteX23" fmla="*/ 151448 w 3346133"/>
                  <a:gd name="connsiteY23" fmla="*/ 84868 h 396049"/>
                  <a:gd name="connsiteX24" fmla="*/ 151448 w 3346133"/>
                  <a:gd name="connsiteY24" fmla="*/ 90964 h 396049"/>
                  <a:gd name="connsiteX25" fmla="*/ 153543 w 3346133"/>
                  <a:gd name="connsiteY25" fmla="*/ 90964 h 396049"/>
                  <a:gd name="connsiteX26" fmla="*/ 153543 w 3346133"/>
                  <a:gd name="connsiteY26" fmla="*/ 97060 h 396049"/>
                  <a:gd name="connsiteX27" fmla="*/ 164020 w 3346133"/>
                  <a:gd name="connsiteY27" fmla="*/ 97060 h 396049"/>
                  <a:gd name="connsiteX28" fmla="*/ 164020 w 3346133"/>
                  <a:gd name="connsiteY28" fmla="*/ 103060 h 396049"/>
                  <a:gd name="connsiteX29" fmla="*/ 170307 w 3346133"/>
                  <a:gd name="connsiteY29" fmla="*/ 103060 h 396049"/>
                  <a:gd name="connsiteX30" fmla="*/ 170307 w 3346133"/>
                  <a:gd name="connsiteY30" fmla="*/ 115252 h 396049"/>
                  <a:gd name="connsiteX31" fmla="*/ 178784 w 3346133"/>
                  <a:gd name="connsiteY31" fmla="*/ 115252 h 396049"/>
                  <a:gd name="connsiteX32" fmla="*/ 178784 w 3346133"/>
                  <a:gd name="connsiteY32" fmla="*/ 121253 h 396049"/>
                  <a:gd name="connsiteX33" fmla="*/ 185071 w 3346133"/>
                  <a:gd name="connsiteY33" fmla="*/ 121253 h 396049"/>
                  <a:gd name="connsiteX34" fmla="*/ 185071 w 3346133"/>
                  <a:gd name="connsiteY34" fmla="*/ 133445 h 396049"/>
                  <a:gd name="connsiteX35" fmla="*/ 187166 w 3346133"/>
                  <a:gd name="connsiteY35" fmla="*/ 133445 h 396049"/>
                  <a:gd name="connsiteX36" fmla="*/ 187166 w 3346133"/>
                  <a:gd name="connsiteY36" fmla="*/ 139541 h 396049"/>
                  <a:gd name="connsiteX37" fmla="*/ 199739 w 3346133"/>
                  <a:gd name="connsiteY37" fmla="*/ 139541 h 396049"/>
                  <a:gd name="connsiteX38" fmla="*/ 199739 w 3346133"/>
                  <a:gd name="connsiteY38" fmla="*/ 145542 h 396049"/>
                  <a:gd name="connsiteX39" fmla="*/ 222885 w 3346133"/>
                  <a:gd name="connsiteY39" fmla="*/ 145542 h 396049"/>
                  <a:gd name="connsiteX40" fmla="*/ 222885 w 3346133"/>
                  <a:gd name="connsiteY40" fmla="*/ 151638 h 396049"/>
                  <a:gd name="connsiteX41" fmla="*/ 229267 w 3346133"/>
                  <a:gd name="connsiteY41" fmla="*/ 151638 h 396049"/>
                  <a:gd name="connsiteX42" fmla="*/ 229267 w 3346133"/>
                  <a:gd name="connsiteY42" fmla="*/ 157734 h 396049"/>
                  <a:gd name="connsiteX43" fmla="*/ 237649 w 3346133"/>
                  <a:gd name="connsiteY43" fmla="*/ 157734 h 396049"/>
                  <a:gd name="connsiteX44" fmla="*/ 237649 w 3346133"/>
                  <a:gd name="connsiteY44" fmla="*/ 163735 h 396049"/>
                  <a:gd name="connsiteX45" fmla="*/ 246031 w 3346133"/>
                  <a:gd name="connsiteY45" fmla="*/ 163735 h 396049"/>
                  <a:gd name="connsiteX46" fmla="*/ 246031 w 3346133"/>
                  <a:gd name="connsiteY46" fmla="*/ 169831 h 396049"/>
                  <a:gd name="connsiteX47" fmla="*/ 250222 w 3346133"/>
                  <a:gd name="connsiteY47" fmla="*/ 169831 h 396049"/>
                  <a:gd name="connsiteX48" fmla="*/ 250222 w 3346133"/>
                  <a:gd name="connsiteY48" fmla="*/ 175927 h 396049"/>
                  <a:gd name="connsiteX49" fmla="*/ 323850 w 3346133"/>
                  <a:gd name="connsiteY49" fmla="*/ 175927 h 396049"/>
                  <a:gd name="connsiteX50" fmla="*/ 323850 w 3346133"/>
                  <a:gd name="connsiteY50" fmla="*/ 181927 h 396049"/>
                  <a:gd name="connsiteX51" fmla="*/ 344900 w 3346133"/>
                  <a:gd name="connsiteY51" fmla="*/ 181927 h 396049"/>
                  <a:gd name="connsiteX52" fmla="*/ 344900 w 3346133"/>
                  <a:gd name="connsiteY52" fmla="*/ 188023 h 396049"/>
                  <a:gd name="connsiteX53" fmla="*/ 351187 w 3346133"/>
                  <a:gd name="connsiteY53" fmla="*/ 188023 h 396049"/>
                  <a:gd name="connsiteX54" fmla="*/ 351187 w 3346133"/>
                  <a:gd name="connsiteY54" fmla="*/ 194119 h 396049"/>
                  <a:gd name="connsiteX55" fmla="*/ 393287 w 3346133"/>
                  <a:gd name="connsiteY55" fmla="*/ 194119 h 396049"/>
                  <a:gd name="connsiteX56" fmla="*/ 393287 w 3346133"/>
                  <a:gd name="connsiteY56" fmla="*/ 200120 h 396049"/>
                  <a:gd name="connsiteX57" fmla="*/ 407956 w 3346133"/>
                  <a:gd name="connsiteY57" fmla="*/ 200120 h 396049"/>
                  <a:gd name="connsiteX58" fmla="*/ 407956 w 3346133"/>
                  <a:gd name="connsiteY58" fmla="*/ 206216 h 396049"/>
                  <a:gd name="connsiteX59" fmla="*/ 437483 w 3346133"/>
                  <a:gd name="connsiteY59" fmla="*/ 206216 h 396049"/>
                  <a:gd name="connsiteX60" fmla="*/ 437483 w 3346133"/>
                  <a:gd name="connsiteY60" fmla="*/ 212312 h 396049"/>
                  <a:gd name="connsiteX61" fmla="*/ 439579 w 3346133"/>
                  <a:gd name="connsiteY61" fmla="*/ 212312 h 396049"/>
                  <a:gd name="connsiteX62" fmla="*/ 439579 w 3346133"/>
                  <a:gd name="connsiteY62" fmla="*/ 218313 h 396049"/>
                  <a:gd name="connsiteX63" fmla="*/ 462629 w 3346133"/>
                  <a:gd name="connsiteY63" fmla="*/ 218313 h 396049"/>
                  <a:gd name="connsiteX64" fmla="*/ 462629 w 3346133"/>
                  <a:gd name="connsiteY64" fmla="*/ 224409 h 396049"/>
                  <a:gd name="connsiteX65" fmla="*/ 475298 w 3346133"/>
                  <a:gd name="connsiteY65" fmla="*/ 224409 h 396049"/>
                  <a:gd name="connsiteX66" fmla="*/ 475298 w 3346133"/>
                  <a:gd name="connsiteY66" fmla="*/ 230505 h 396049"/>
                  <a:gd name="connsiteX67" fmla="*/ 511016 w 3346133"/>
                  <a:gd name="connsiteY67" fmla="*/ 230505 h 396049"/>
                  <a:gd name="connsiteX68" fmla="*/ 511016 w 3346133"/>
                  <a:gd name="connsiteY68" fmla="*/ 236601 h 396049"/>
                  <a:gd name="connsiteX69" fmla="*/ 626745 w 3346133"/>
                  <a:gd name="connsiteY69" fmla="*/ 236601 h 396049"/>
                  <a:gd name="connsiteX70" fmla="*/ 626745 w 3346133"/>
                  <a:gd name="connsiteY70" fmla="*/ 242602 h 396049"/>
                  <a:gd name="connsiteX71" fmla="*/ 664559 w 3346133"/>
                  <a:gd name="connsiteY71" fmla="*/ 242602 h 396049"/>
                  <a:gd name="connsiteX72" fmla="*/ 664559 w 3346133"/>
                  <a:gd name="connsiteY72" fmla="*/ 248793 h 396049"/>
                  <a:gd name="connsiteX73" fmla="*/ 717137 w 3346133"/>
                  <a:gd name="connsiteY73" fmla="*/ 248793 h 396049"/>
                  <a:gd name="connsiteX74" fmla="*/ 717137 w 3346133"/>
                  <a:gd name="connsiteY74" fmla="*/ 254889 h 396049"/>
                  <a:gd name="connsiteX75" fmla="*/ 736092 w 3346133"/>
                  <a:gd name="connsiteY75" fmla="*/ 254889 h 396049"/>
                  <a:gd name="connsiteX76" fmla="*/ 736092 w 3346133"/>
                  <a:gd name="connsiteY76" fmla="*/ 260985 h 396049"/>
                  <a:gd name="connsiteX77" fmla="*/ 746570 w 3346133"/>
                  <a:gd name="connsiteY77" fmla="*/ 260985 h 396049"/>
                  <a:gd name="connsiteX78" fmla="*/ 746570 w 3346133"/>
                  <a:gd name="connsiteY78" fmla="*/ 267176 h 396049"/>
                  <a:gd name="connsiteX79" fmla="*/ 780288 w 3346133"/>
                  <a:gd name="connsiteY79" fmla="*/ 267176 h 396049"/>
                  <a:gd name="connsiteX80" fmla="*/ 780288 w 3346133"/>
                  <a:gd name="connsiteY80" fmla="*/ 273272 h 396049"/>
                  <a:gd name="connsiteX81" fmla="*/ 786575 w 3346133"/>
                  <a:gd name="connsiteY81" fmla="*/ 273272 h 396049"/>
                  <a:gd name="connsiteX82" fmla="*/ 786575 w 3346133"/>
                  <a:gd name="connsiteY82" fmla="*/ 279368 h 396049"/>
                  <a:gd name="connsiteX83" fmla="*/ 801243 w 3346133"/>
                  <a:gd name="connsiteY83" fmla="*/ 279368 h 396049"/>
                  <a:gd name="connsiteX84" fmla="*/ 801243 w 3346133"/>
                  <a:gd name="connsiteY84" fmla="*/ 285464 h 396049"/>
                  <a:gd name="connsiteX85" fmla="*/ 813911 w 3346133"/>
                  <a:gd name="connsiteY85" fmla="*/ 285464 h 396049"/>
                  <a:gd name="connsiteX86" fmla="*/ 813911 w 3346133"/>
                  <a:gd name="connsiteY86" fmla="*/ 291655 h 396049"/>
                  <a:gd name="connsiteX87" fmla="*/ 839153 w 3346133"/>
                  <a:gd name="connsiteY87" fmla="*/ 291655 h 396049"/>
                  <a:gd name="connsiteX88" fmla="*/ 839153 w 3346133"/>
                  <a:gd name="connsiteY88" fmla="*/ 297751 h 396049"/>
                  <a:gd name="connsiteX89" fmla="*/ 1068419 w 3346133"/>
                  <a:gd name="connsiteY89" fmla="*/ 297751 h 396049"/>
                  <a:gd name="connsiteX90" fmla="*/ 1068419 w 3346133"/>
                  <a:gd name="connsiteY90" fmla="*/ 303943 h 396049"/>
                  <a:gd name="connsiteX91" fmla="*/ 1181957 w 3346133"/>
                  <a:gd name="connsiteY91" fmla="*/ 303943 h 396049"/>
                  <a:gd name="connsiteX92" fmla="*/ 1181957 w 3346133"/>
                  <a:gd name="connsiteY92" fmla="*/ 310134 h 396049"/>
                  <a:gd name="connsiteX93" fmla="*/ 1451134 w 3346133"/>
                  <a:gd name="connsiteY93" fmla="*/ 310134 h 396049"/>
                  <a:gd name="connsiteX94" fmla="*/ 1451134 w 3346133"/>
                  <a:gd name="connsiteY94" fmla="*/ 316420 h 396049"/>
                  <a:gd name="connsiteX95" fmla="*/ 1524762 w 3346133"/>
                  <a:gd name="connsiteY95" fmla="*/ 316420 h 396049"/>
                  <a:gd name="connsiteX96" fmla="*/ 1524762 w 3346133"/>
                  <a:gd name="connsiteY96" fmla="*/ 322707 h 396049"/>
                  <a:gd name="connsiteX97" fmla="*/ 1604677 w 3346133"/>
                  <a:gd name="connsiteY97" fmla="*/ 322707 h 396049"/>
                  <a:gd name="connsiteX98" fmla="*/ 1604677 w 3346133"/>
                  <a:gd name="connsiteY98" fmla="*/ 328993 h 396049"/>
                  <a:gd name="connsiteX99" fmla="*/ 1766602 w 3346133"/>
                  <a:gd name="connsiteY99" fmla="*/ 328993 h 396049"/>
                  <a:gd name="connsiteX100" fmla="*/ 1766602 w 3346133"/>
                  <a:gd name="connsiteY100" fmla="*/ 335470 h 396049"/>
                  <a:gd name="connsiteX101" fmla="*/ 1783461 w 3346133"/>
                  <a:gd name="connsiteY101" fmla="*/ 335470 h 396049"/>
                  <a:gd name="connsiteX102" fmla="*/ 1783461 w 3346133"/>
                  <a:gd name="connsiteY102" fmla="*/ 341852 h 396049"/>
                  <a:gd name="connsiteX103" fmla="*/ 1901285 w 3346133"/>
                  <a:gd name="connsiteY103" fmla="*/ 341852 h 396049"/>
                  <a:gd name="connsiteX104" fmla="*/ 1901285 w 3346133"/>
                  <a:gd name="connsiteY104" fmla="*/ 348329 h 396049"/>
                  <a:gd name="connsiteX105" fmla="*/ 1993773 w 3346133"/>
                  <a:gd name="connsiteY105" fmla="*/ 348329 h 396049"/>
                  <a:gd name="connsiteX106" fmla="*/ 1993773 w 3346133"/>
                  <a:gd name="connsiteY106" fmla="*/ 354711 h 396049"/>
                  <a:gd name="connsiteX107" fmla="*/ 2012728 w 3346133"/>
                  <a:gd name="connsiteY107" fmla="*/ 354711 h 396049"/>
                  <a:gd name="connsiteX108" fmla="*/ 2012728 w 3346133"/>
                  <a:gd name="connsiteY108" fmla="*/ 361188 h 396049"/>
                  <a:gd name="connsiteX109" fmla="*/ 2866549 w 3346133"/>
                  <a:gd name="connsiteY109" fmla="*/ 361188 h 396049"/>
                  <a:gd name="connsiteX110" fmla="*/ 2866549 w 3346133"/>
                  <a:gd name="connsiteY110" fmla="*/ 396049 h 396049"/>
                  <a:gd name="connsiteX111" fmla="*/ 3346133 w 3346133"/>
                  <a:gd name="connsiteY111" fmla="*/ 396049 h 396049"/>
                  <a:gd name="connsiteX0" fmla="*/ 0 w 3346133"/>
                  <a:gd name="connsiteY0" fmla="*/ 0 h 396049"/>
                  <a:gd name="connsiteX1" fmla="*/ 8382 w 3346133"/>
                  <a:gd name="connsiteY1" fmla="*/ 12097 h 396049"/>
                  <a:gd name="connsiteX2" fmla="*/ 12573 w 3346133"/>
                  <a:gd name="connsiteY2" fmla="*/ 12097 h 396049"/>
                  <a:gd name="connsiteX3" fmla="*/ 12573 w 3346133"/>
                  <a:gd name="connsiteY3" fmla="*/ 18193 h 396049"/>
                  <a:gd name="connsiteX4" fmla="*/ 29432 w 3346133"/>
                  <a:gd name="connsiteY4" fmla="*/ 18193 h 396049"/>
                  <a:gd name="connsiteX5" fmla="*/ 29432 w 3346133"/>
                  <a:gd name="connsiteY5" fmla="*/ 30289 h 396049"/>
                  <a:gd name="connsiteX6" fmla="*/ 33623 w 3346133"/>
                  <a:gd name="connsiteY6" fmla="*/ 30289 h 396049"/>
                  <a:gd name="connsiteX7" fmla="*/ 33623 w 3346133"/>
                  <a:gd name="connsiteY7" fmla="*/ 36385 h 396049"/>
                  <a:gd name="connsiteX8" fmla="*/ 56769 w 3346133"/>
                  <a:gd name="connsiteY8" fmla="*/ 36385 h 396049"/>
                  <a:gd name="connsiteX9" fmla="*/ 56769 w 3346133"/>
                  <a:gd name="connsiteY9" fmla="*/ 42481 h 396049"/>
                  <a:gd name="connsiteX10" fmla="*/ 60960 w 3346133"/>
                  <a:gd name="connsiteY10" fmla="*/ 42481 h 396049"/>
                  <a:gd name="connsiteX11" fmla="*/ 60960 w 3346133"/>
                  <a:gd name="connsiteY11" fmla="*/ 48482 h 396049"/>
                  <a:gd name="connsiteX12" fmla="*/ 67247 w 3346133"/>
                  <a:gd name="connsiteY12" fmla="*/ 48482 h 396049"/>
                  <a:gd name="connsiteX13" fmla="*/ 67247 w 3346133"/>
                  <a:gd name="connsiteY13" fmla="*/ 60674 h 396049"/>
                  <a:gd name="connsiteX14" fmla="*/ 86201 w 3346133"/>
                  <a:gd name="connsiteY14" fmla="*/ 60674 h 396049"/>
                  <a:gd name="connsiteX15" fmla="*/ 86201 w 3346133"/>
                  <a:gd name="connsiteY15" fmla="*/ 66675 h 396049"/>
                  <a:gd name="connsiteX16" fmla="*/ 94583 w 3346133"/>
                  <a:gd name="connsiteY16" fmla="*/ 66675 h 396049"/>
                  <a:gd name="connsiteX17" fmla="*/ 94583 w 3346133"/>
                  <a:gd name="connsiteY17" fmla="*/ 72771 h 396049"/>
                  <a:gd name="connsiteX18" fmla="*/ 107252 w 3346133"/>
                  <a:gd name="connsiteY18" fmla="*/ 72771 h 396049"/>
                  <a:gd name="connsiteX19" fmla="*/ 107252 w 3346133"/>
                  <a:gd name="connsiteY19" fmla="*/ 78867 h 396049"/>
                  <a:gd name="connsiteX20" fmla="*/ 124111 w 3346133"/>
                  <a:gd name="connsiteY20" fmla="*/ 78867 h 396049"/>
                  <a:gd name="connsiteX21" fmla="*/ 124111 w 3346133"/>
                  <a:gd name="connsiteY21" fmla="*/ 84868 h 396049"/>
                  <a:gd name="connsiteX22" fmla="*/ 151448 w 3346133"/>
                  <a:gd name="connsiteY22" fmla="*/ 84868 h 396049"/>
                  <a:gd name="connsiteX23" fmla="*/ 151448 w 3346133"/>
                  <a:gd name="connsiteY23" fmla="*/ 90964 h 396049"/>
                  <a:gd name="connsiteX24" fmla="*/ 153543 w 3346133"/>
                  <a:gd name="connsiteY24" fmla="*/ 90964 h 396049"/>
                  <a:gd name="connsiteX25" fmla="*/ 153543 w 3346133"/>
                  <a:gd name="connsiteY25" fmla="*/ 97060 h 396049"/>
                  <a:gd name="connsiteX26" fmla="*/ 164020 w 3346133"/>
                  <a:gd name="connsiteY26" fmla="*/ 97060 h 396049"/>
                  <a:gd name="connsiteX27" fmla="*/ 164020 w 3346133"/>
                  <a:gd name="connsiteY27" fmla="*/ 103060 h 396049"/>
                  <a:gd name="connsiteX28" fmla="*/ 170307 w 3346133"/>
                  <a:gd name="connsiteY28" fmla="*/ 103060 h 396049"/>
                  <a:gd name="connsiteX29" fmla="*/ 170307 w 3346133"/>
                  <a:gd name="connsiteY29" fmla="*/ 115252 h 396049"/>
                  <a:gd name="connsiteX30" fmla="*/ 178784 w 3346133"/>
                  <a:gd name="connsiteY30" fmla="*/ 115252 h 396049"/>
                  <a:gd name="connsiteX31" fmla="*/ 178784 w 3346133"/>
                  <a:gd name="connsiteY31" fmla="*/ 121253 h 396049"/>
                  <a:gd name="connsiteX32" fmla="*/ 185071 w 3346133"/>
                  <a:gd name="connsiteY32" fmla="*/ 121253 h 396049"/>
                  <a:gd name="connsiteX33" fmla="*/ 185071 w 3346133"/>
                  <a:gd name="connsiteY33" fmla="*/ 133445 h 396049"/>
                  <a:gd name="connsiteX34" fmla="*/ 187166 w 3346133"/>
                  <a:gd name="connsiteY34" fmla="*/ 133445 h 396049"/>
                  <a:gd name="connsiteX35" fmla="*/ 187166 w 3346133"/>
                  <a:gd name="connsiteY35" fmla="*/ 139541 h 396049"/>
                  <a:gd name="connsiteX36" fmla="*/ 199739 w 3346133"/>
                  <a:gd name="connsiteY36" fmla="*/ 139541 h 396049"/>
                  <a:gd name="connsiteX37" fmla="*/ 199739 w 3346133"/>
                  <a:gd name="connsiteY37" fmla="*/ 145542 h 396049"/>
                  <a:gd name="connsiteX38" fmla="*/ 222885 w 3346133"/>
                  <a:gd name="connsiteY38" fmla="*/ 145542 h 396049"/>
                  <a:gd name="connsiteX39" fmla="*/ 222885 w 3346133"/>
                  <a:gd name="connsiteY39" fmla="*/ 151638 h 396049"/>
                  <a:gd name="connsiteX40" fmla="*/ 229267 w 3346133"/>
                  <a:gd name="connsiteY40" fmla="*/ 151638 h 396049"/>
                  <a:gd name="connsiteX41" fmla="*/ 229267 w 3346133"/>
                  <a:gd name="connsiteY41" fmla="*/ 157734 h 396049"/>
                  <a:gd name="connsiteX42" fmla="*/ 237649 w 3346133"/>
                  <a:gd name="connsiteY42" fmla="*/ 157734 h 396049"/>
                  <a:gd name="connsiteX43" fmla="*/ 237649 w 3346133"/>
                  <a:gd name="connsiteY43" fmla="*/ 163735 h 396049"/>
                  <a:gd name="connsiteX44" fmla="*/ 246031 w 3346133"/>
                  <a:gd name="connsiteY44" fmla="*/ 163735 h 396049"/>
                  <a:gd name="connsiteX45" fmla="*/ 246031 w 3346133"/>
                  <a:gd name="connsiteY45" fmla="*/ 169831 h 396049"/>
                  <a:gd name="connsiteX46" fmla="*/ 250222 w 3346133"/>
                  <a:gd name="connsiteY46" fmla="*/ 169831 h 396049"/>
                  <a:gd name="connsiteX47" fmla="*/ 250222 w 3346133"/>
                  <a:gd name="connsiteY47" fmla="*/ 175927 h 396049"/>
                  <a:gd name="connsiteX48" fmla="*/ 323850 w 3346133"/>
                  <a:gd name="connsiteY48" fmla="*/ 175927 h 396049"/>
                  <a:gd name="connsiteX49" fmla="*/ 323850 w 3346133"/>
                  <a:gd name="connsiteY49" fmla="*/ 181927 h 396049"/>
                  <a:gd name="connsiteX50" fmla="*/ 344900 w 3346133"/>
                  <a:gd name="connsiteY50" fmla="*/ 181927 h 396049"/>
                  <a:gd name="connsiteX51" fmla="*/ 344900 w 3346133"/>
                  <a:gd name="connsiteY51" fmla="*/ 188023 h 396049"/>
                  <a:gd name="connsiteX52" fmla="*/ 351187 w 3346133"/>
                  <a:gd name="connsiteY52" fmla="*/ 188023 h 396049"/>
                  <a:gd name="connsiteX53" fmla="*/ 351187 w 3346133"/>
                  <a:gd name="connsiteY53" fmla="*/ 194119 h 396049"/>
                  <a:gd name="connsiteX54" fmla="*/ 393287 w 3346133"/>
                  <a:gd name="connsiteY54" fmla="*/ 194119 h 396049"/>
                  <a:gd name="connsiteX55" fmla="*/ 393287 w 3346133"/>
                  <a:gd name="connsiteY55" fmla="*/ 200120 h 396049"/>
                  <a:gd name="connsiteX56" fmla="*/ 407956 w 3346133"/>
                  <a:gd name="connsiteY56" fmla="*/ 200120 h 396049"/>
                  <a:gd name="connsiteX57" fmla="*/ 407956 w 3346133"/>
                  <a:gd name="connsiteY57" fmla="*/ 206216 h 396049"/>
                  <a:gd name="connsiteX58" fmla="*/ 437483 w 3346133"/>
                  <a:gd name="connsiteY58" fmla="*/ 206216 h 396049"/>
                  <a:gd name="connsiteX59" fmla="*/ 437483 w 3346133"/>
                  <a:gd name="connsiteY59" fmla="*/ 212312 h 396049"/>
                  <a:gd name="connsiteX60" fmla="*/ 439579 w 3346133"/>
                  <a:gd name="connsiteY60" fmla="*/ 212312 h 396049"/>
                  <a:gd name="connsiteX61" fmla="*/ 439579 w 3346133"/>
                  <a:gd name="connsiteY61" fmla="*/ 218313 h 396049"/>
                  <a:gd name="connsiteX62" fmla="*/ 462629 w 3346133"/>
                  <a:gd name="connsiteY62" fmla="*/ 218313 h 396049"/>
                  <a:gd name="connsiteX63" fmla="*/ 462629 w 3346133"/>
                  <a:gd name="connsiteY63" fmla="*/ 224409 h 396049"/>
                  <a:gd name="connsiteX64" fmla="*/ 475298 w 3346133"/>
                  <a:gd name="connsiteY64" fmla="*/ 224409 h 396049"/>
                  <a:gd name="connsiteX65" fmla="*/ 475298 w 3346133"/>
                  <a:gd name="connsiteY65" fmla="*/ 230505 h 396049"/>
                  <a:gd name="connsiteX66" fmla="*/ 511016 w 3346133"/>
                  <a:gd name="connsiteY66" fmla="*/ 230505 h 396049"/>
                  <a:gd name="connsiteX67" fmla="*/ 511016 w 3346133"/>
                  <a:gd name="connsiteY67" fmla="*/ 236601 h 396049"/>
                  <a:gd name="connsiteX68" fmla="*/ 626745 w 3346133"/>
                  <a:gd name="connsiteY68" fmla="*/ 236601 h 396049"/>
                  <a:gd name="connsiteX69" fmla="*/ 626745 w 3346133"/>
                  <a:gd name="connsiteY69" fmla="*/ 242602 h 396049"/>
                  <a:gd name="connsiteX70" fmla="*/ 664559 w 3346133"/>
                  <a:gd name="connsiteY70" fmla="*/ 242602 h 396049"/>
                  <a:gd name="connsiteX71" fmla="*/ 664559 w 3346133"/>
                  <a:gd name="connsiteY71" fmla="*/ 248793 h 396049"/>
                  <a:gd name="connsiteX72" fmla="*/ 717137 w 3346133"/>
                  <a:gd name="connsiteY72" fmla="*/ 248793 h 396049"/>
                  <a:gd name="connsiteX73" fmla="*/ 717137 w 3346133"/>
                  <a:gd name="connsiteY73" fmla="*/ 254889 h 396049"/>
                  <a:gd name="connsiteX74" fmla="*/ 736092 w 3346133"/>
                  <a:gd name="connsiteY74" fmla="*/ 254889 h 396049"/>
                  <a:gd name="connsiteX75" fmla="*/ 736092 w 3346133"/>
                  <a:gd name="connsiteY75" fmla="*/ 260985 h 396049"/>
                  <a:gd name="connsiteX76" fmla="*/ 746570 w 3346133"/>
                  <a:gd name="connsiteY76" fmla="*/ 260985 h 396049"/>
                  <a:gd name="connsiteX77" fmla="*/ 746570 w 3346133"/>
                  <a:gd name="connsiteY77" fmla="*/ 267176 h 396049"/>
                  <a:gd name="connsiteX78" fmla="*/ 780288 w 3346133"/>
                  <a:gd name="connsiteY78" fmla="*/ 267176 h 396049"/>
                  <a:gd name="connsiteX79" fmla="*/ 780288 w 3346133"/>
                  <a:gd name="connsiteY79" fmla="*/ 273272 h 396049"/>
                  <a:gd name="connsiteX80" fmla="*/ 786575 w 3346133"/>
                  <a:gd name="connsiteY80" fmla="*/ 273272 h 396049"/>
                  <a:gd name="connsiteX81" fmla="*/ 786575 w 3346133"/>
                  <a:gd name="connsiteY81" fmla="*/ 279368 h 396049"/>
                  <a:gd name="connsiteX82" fmla="*/ 801243 w 3346133"/>
                  <a:gd name="connsiteY82" fmla="*/ 279368 h 396049"/>
                  <a:gd name="connsiteX83" fmla="*/ 801243 w 3346133"/>
                  <a:gd name="connsiteY83" fmla="*/ 285464 h 396049"/>
                  <a:gd name="connsiteX84" fmla="*/ 813911 w 3346133"/>
                  <a:gd name="connsiteY84" fmla="*/ 285464 h 396049"/>
                  <a:gd name="connsiteX85" fmla="*/ 813911 w 3346133"/>
                  <a:gd name="connsiteY85" fmla="*/ 291655 h 396049"/>
                  <a:gd name="connsiteX86" fmla="*/ 839153 w 3346133"/>
                  <a:gd name="connsiteY86" fmla="*/ 291655 h 396049"/>
                  <a:gd name="connsiteX87" fmla="*/ 839153 w 3346133"/>
                  <a:gd name="connsiteY87" fmla="*/ 297751 h 396049"/>
                  <a:gd name="connsiteX88" fmla="*/ 1068419 w 3346133"/>
                  <a:gd name="connsiteY88" fmla="*/ 297751 h 396049"/>
                  <a:gd name="connsiteX89" fmla="*/ 1068419 w 3346133"/>
                  <a:gd name="connsiteY89" fmla="*/ 303943 h 396049"/>
                  <a:gd name="connsiteX90" fmla="*/ 1181957 w 3346133"/>
                  <a:gd name="connsiteY90" fmla="*/ 303943 h 396049"/>
                  <a:gd name="connsiteX91" fmla="*/ 1181957 w 3346133"/>
                  <a:gd name="connsiteY91" fmla="*/ 310134 h 396049"/>
                  <a:gd name="connsiteX92" fmla="*/ 1451134 w 3346133"/>
                  <a:gd name="connsiteY92" fmla="*/ 310134 h 396049"/>
                  <a:gd name="connsiteX93" fmla="*/ 1451134 w 3346133"/>
                  <a:gd name="connsiteY93" fmla="*/ 316420 h 396049"/>
                  <a:gd name="connsiteX94" fmla="*/ 1524762 w 3346133"/>
                  <a:gd name="connsiteY94" fmla="*/ 316420 h 396049"/>
                  <a:gd name="connsiteX95" fmla="*/ 1524762 w 3346133"/>
                  <a:gd name="connsiteY95" fmla="*/ 322707 h 396049"/>
                  <a:gd name="connsiteX96" fmla="*/ 1604677 w 3346133"/>
                  <a:gd name="connsiteY96" fmla="*/ 322707 h 396049"/>
                  <a:gd name="connsiteX97" fmla="*/ 1604677 w 3346133"/>
                  <a:gd name="connsiteY97" fmla="*/ 328993 h 396049"/>
                  <a:gd name="connsiteX98" fmla="*/ 1766602 w 3346133"/>
                  <a:gd name="connsiteY98" fmla="*/ 328993 h 396049"/>
                  <a:gd name="connsiteX99" fmla="*/ 1766602 w 3346133"/>
                  <a:gd name="connsiteY99" fmla="*/ 335470 h 396049"/>
                  <a:gd name="connsiteX100" fmla="*/ 1783461 w 3346133"/>
                  <a:gd name="connsiteY100" fmla="*/ 335470 h 396049"/>
                  <a:gd name="connsiteX101" fmla="*/ 1783461 w 3346133"/>
                  <a:gd name="connsiteY101" fmla="*/ 341852 h 396049"/>
                  <a:gd name="connsiteX102" fmla="*/ 1901285 w 3346133"/>
                  <a:gd name="connsiteY102" fmla="*/ 341852 h 396049"/>
                  <a:gd name="connsiteX103" fmla="*/ 1901285 w 3346133"/>
                  <a:gd name="connsiteY103" fmla="*/ 348329 h 396049"/>
                  <a:gd name="connsiteX104" fmla="*/ 1993773 w 3346133"/>
                  <a:gd name="connsiteY104" fmla="*/ 348329 h 396049"/>
                  <a:gd name="connsiteX105" fmla="*/ 1993773 w 3346133"/>
                  <a:gd name="connsiteY105" fmla="*/ 354711 h 396049"/>
                  <a:gd name="connsiteX106" fmla="*/ 2012728 w 3346133"/>
                  <a:gd name="connsiteY106" fmla="*/ 354711 h 396049"/>
                  <a:gd name="connsiteX107" fmla="*/ 2012728 w 3346133"/>
                  <a:gd name="connsiteY107" fmla="*/ 361188 h 396049"/>
                  <a:gd name="connsiteX108" fmla="*/ 2866549 w 3346133"/>
                  <a:gd name="connsiteY108" fmla="*/ 361188 h 396049"/>
                  <a:gd name="connsiteX109" fmla="*/ 2866549 w 3346133"/>
                  <a:gd name="connsiteY109" fmla="*/ 396049 h 396049"/>
                  <a:gd name="connsiteX110" fmla="*/ 3346133 w 3346133"/>
                  <a:gd name="connsiteY110" fmla="*/ 396049 h 396049"/>
                  <a:gd name="connsiteX0" fmla="*/ 0 w 3337751"/>
                  <a:gd name="connsiteY0" fmla="*/ 0 h 383952"/>
                  <a:gd name="connsiteX1" fmla="*/ 4191 w 3337751"/>
                  <a:gd name="connsiteY1" fmla="*/ 0 h 383952"/>
                  <a:gd name="connsiteX2" fmla="*/ 4191 w 3337751"/>
                  <a:gd name="connsiteY2" fmla="*/ 6096 h 383952"/>
                  <a:gd name="connsiteX3" fmla="*/ 21050 w 3337751"/>
                  <a:gd name="connsiteY3" fmla="*/ 6096 h 383952"/>
                  <a:gd name="connsiteX4" fmla="*/ 21050 w 3337751"/>
                  <a:gd name="connsiteY4" fmla="*/ 18192 h 383952"/>
                  <a:gd name="connsiteX5" fmla="*/ 25241 w 3337751"/>
                  <a:gd name="connsiteY5" fmla="*/ 18192 h 383952"/>
                  <a:gd name="connsiteX6" fmla="*/ 25241 w 3337751"/>
                  <a:gd name="connsiteY6" fmla="*/ 24288 h 383952"/>
                  <a:gd name="connsiteX7" fmla="*/ 48387 w 3337751"/>
                  <a:gd name="connsiteY7" fmla="*/ 24288 h 383952"/>
                  <a:gd name="connsiteX8" fmla="*/ 48387 w 3337751"/>
                  <a:gd name="connsiteY8" fmla="*/ 30384 h 383952"/>
                  <a:gd name="connsiteX9" fmla="*/ 52578 w 3337751"/>
                  <a:gd name="connsiteY9" fmla="*/ 30384 h 383952"/>
                  <a:gd name="connsiteX10" fmla="*/ 52578 w 3337751"/>
                  <a:gd name="connsiteY10" fmla="*/ 36385 h 383952"/>
                  <a:gd name="connsiteX11" fmla="*/ 58865 w 3337751"/>
                  <a:gd name="connsiteY11" fmla="*/ 36385 h 383952"/>
                  <a:gd name="connsiteX12" fmla="*/ 58865 w 3337751"/>
                  <a:gd name="connsiteY12" fmla="*/ 48577 h 383952"/>
                  <a:gd name="connsiteX13" fmla="*/ 77819 w 3337751"/>
                  <a:gd name="connsiteY13" fmla="*/ 48577 h 383952"/>
                  <a:gd name="connsiteX14" fmla="*/ 77819 w 3337751"/>
                  <a:gd name="connsiteY14" fmla="*/ 54578 h 383952"/>
                  <a:gd name="connsiteX15" fmla="*/ 86201 w 3337751"/>
                  <a:gd name="connsiteY15" fmla="*/ 54578 h 383952"/>
                  <a:gd name="connsiteX16" fmla="*/ 86201 w 3337751"/>
                  <a:gd name="connsiteY16" fmla="*/ 60674 h 383952"/>
                  <a:gd name="connsiteX17" fmla="*/ 98870 w 3337751"/>
                  <a:gd name="connsiteY17" fmla="*/ 60674 h 383952"/>
                  <a:gd name="connsiteX18" fmla="*/ 98870 w 3337751"/>
                  <a:gd name="connsiteY18" fmla="*/ 66770 h 383952"/>
                  <a:gd name="connsiteX19" fmla="*/ 115729 w 3337751"/>
                  <a:gd name="connsiteY19" fmla="*/ 66770 h 383952"/>
                  <a:gd name="connsiteX20" fmla="*/ 115729 w 3337751"/>
                  <a:gd name="connsiteY20" fmla="*/ 72771 h 383952"/>
                  <a:gd name="connsiteX21" fmla="*/ 143066 w 3337751"/>
                  <a:gd name="connsiteY21" fmla="*/ 72771 h 383952"/>
                  <a:gd name="connsiteX22" fmla="*/ 143066 w 3337751"/>
                  <a:gd name="connsiteY22" fmla="*/ 78867 h 383952"/>
                  <a:gd name="connsiteX23" fmla="*/ 145161 w 3337751"/>
                  <a:gd name="connsiteY23" fmla="*/ 78867 h 383952"/>
                  <a:gd name="connsiteX24" fmla="*/ 145161 w 3337751"/>
                  <a:gd name="connsiteY24" fmla="*/ 84963 h 383952"/>
                  <a:gd name="connsiteX25" fmla="*/ 155638 w 3337751"/>
                  <a:gd name="connsiteY25" fmla="*/ 84963 h 383952"/>
                  <a:gd name="connsiteX26" fmla="*/ 155638 w 3337751"/>
                  <a:gd name="connsiteY26" fmla="*/ 90963 h 383952"/>
                  <a:gd name="connsiteX27" fmla="*/ 161925 w 3337751"/>
                  <a:gd name="connsiteY27" fmla="*/ 90963 h 383952"/>
                  <a:gd name="connsiteX28" fmla="*/ 161925 w 3337751"/>
                  <a:gd name="connsiteY28" fmla="*/ 103155 h 383952"/>
                  <a:gd name="connsiteX29" fmla="*/ 170402 w 3337751"/>
                  <a:gd name="connsiteY29" fmla="*/ 103155 h 383952"/>
                  <a:gd name="connsiteX30" fmla="*/ 170402 w 3337751"/>
                  <a:gd name="connsiteY30" fmla="*/ 109156 h 383952"/>
                  <a:gd name="connsiteX31" fmla="*/ 176689 w 3337751"/>
                  <a:gd name="connsiteY31" fmla="*/ 109156 h 383952"/>
                  <a:gd name="connsiteX32" fmla="*/ 176689 w 3337751"/>
                  <a:gd name="connsiteY32" fmla="*/ 121348 h 383952"/>
                  <a:gd name="connsiteX33" fmla="*/ 178784 w 3337751"/>
                  <a:gd name="connsiteY33" fmla="*/ 121348 h 383952"/>
                  <a:gd name="connsiteX34" fmla="*/ 178784 w 3337751"/>
                  <a:gd name="connsiteY34" fmla="*/ 127444 h 383952"/>
                  <a:gd name="connsiteX35" fmla="*/ 191357 w 3337751"/>
                  <a:gd name="connsiteY35" fmla="*/ 127444 h 383952"/>
                  <a:gd name="connsiteX36" fmla="*/ 191357 w 3337751"/>
                  <a:gd name="connsiteY36" fmla="*/ 133445 h 383952"/>
                  <a:gd name="connsiteX37" fmla="*/ 214503 w 3337751"/>
                  <a:gd name="connsiteY37" fmla="*/ 133445 h 383952"/>
                  <a:gd name="connsiteX38" fmla="*/ 214503 w 3337751"/>
                  <a:gd name="connsiteY38" fmla="*/ 139541 h 383952"/>
                  <a:gd name="connsiteX39" fmla="*/ 220885 w 3337751"/>
                  <a:gd name="connsiteY39" fmla="*/ 139541 h 383952"/>
                  <a:gd name="connsiteX40" fmla="*/ 220885 w 3337751"/>
                  <a:gd name="connsiteY40" fmla="*/ 145637 h 383952"/>
                  <a:gd name="connsiteX41" fmla="*/ 229267 w 3337751"/>
                  <a:gd name="connsiteY41" fmla="*/ 145637 h 383952"/>
                  <a:gd name="connsiteX42" fmla="*/ 229267 w 3337751"/>
                  <a:gd name="connsiteY42" fmla="*/ 151638 h 383952"/>
                  <a:gd name="connsiteX43" fmla="*/ 237649 w 3337751"/>
                  <a:gd name="connsiteY43" fmla="*/ 151638 h 383952"/>
                  <a:gd name="connsiteX44" fmla="*/ 237649 w 3337751"/>
                  <a:gd name="connsiteY44" fmla="*/ 157734 h 383952"/>
                  <a:gd name="connsiteX45" fmla="*/ 241840 w 3337751"/>
                  <a:gd name="connsiteY45" fmla="*/ 157734 h 383952"/>
                  <a:gd name="connsiteX46" fmla="*/ 241840 w 3337751"/>
                  <a:gd name="connsiteY46" fmla="*/ 163830 h 383952"/>
                  <a:gd name="connsiteX47" fmla="*/ 315468 w 3337751"/>
                  <a:gd name="connsiteY47" fmla="*/ 163830 h 383952"/>
                  <a:gd name="connsiteX48" fmla="*/ 315468 w 3337751"/>
                  <a:gd name="connsiteY48" fmla="*/ 169830 h 383952"/>
                  <a:gd name="connsiteX49" fmla="*/ 336518 w 3337751"/>
                  <a:gd name="connsiteY49" fmla="*/ 169830 h 383952"/>
                  <a:gd name="connsiteX50" fmla="*/ 336518 w 3337751"/>
                  <a:gd name="connsiteY50" fmla="*/ 175926 h 383952"/>
                  <a:gd name="connsiteX51" fmla="*/ 342805 w 3337751"/>
                  <a:gd name="connsiteY51" fmla="*/ 175926 h 383952"/>
                  <a:gd name="connsiteX52" fmla="*/ 342805 w 3337751"/>
                  <a:gd name="connsiteY52" fmla="*/ 182022 h 383952"/>
                  <a:gd name="connsiteX53" fmla="*/ 384905 w 3337751"/>
                  <a:gd name="connsiteY53" fmla="*/ 182022 h 383952"/>
                  <a:gd name="connsiteX54" fmla="*/ 384905 w 3337751"/>
                  <a:gd name="connsiteY54" fmla="*/ 188023 h 383952"/>
                  <a:gd name="connsiteX55" fmla="*/ 399574 w 3337751"/>
                  <a:gd name="connsiteY55" fmla="*/ 188023 h 383952"/>
                  <a:gd name="connsiteX56" fmla="*/ 399574 w 3337751"/>
                  <a:gd name="connsiteY56" fmla="*/ 194119 h 383952"/>
                  <a:gd name="connsiteX57" fmla="*/ 429101 w 3337751"/>
                  <a:gd name="connsiteY57" fmla="*/ 194119 h 383952"/>
                  <a:gd name="connsiteX58" fmla="*/ 429101 w 3337751"/>
                  <a:gd name="connsiteY58" fmla="*/ 200215 h 383952"/>
                  <a:gd name="connsiteX59" fmla="*/ 431197 w 3337751"/>
                  <a:gd name="connsiteY59" fmla="*/ 200215 h 383952"/>
                  <a:gd name="connsiteX60" fmla="*/ 431197 w 3337751"/>
                  <a:gd name="connsiteY60" fmla="*/ 206216 h 383952"/>
                  <a:gd name="connsiteX61" fmla="*/ 454247 w 3337751"/>
                  <a:gd name="connsiteY61" fmla="*/ 206216 h 383952"/>
                  <a:gd name="connsiteX62" fmla="*/ 454247 w 3337751"/>
                  <a:gd name="connsiteY62" fmla="*/ 212312 h 383952"/>
                  <a:gd name="connsiteX63" fmla="*/ 466916 w 3337751"/>
                  <a:gd name="connsiteY63" fmla="*/ 212312 h 383952"/>
                  <a:gd name="connsiteX64" fmla="*/ 466916 w 3337751"/>
                  <a:gd name="connsiteY64" fmla="*/ 218408 h 383952"/>
                  <a:gd name="connsiteX65" fmla="*/ 502634 w 3337751"/>
                  <a:gd name="connsiteY65" fmla="*/ 218408 h 383952"/>
                  <a:gd name="connsiteX66" fmla="*/ 502634 w 3337751"/>
                  <a:gd name="connsiteY66" fmla="*/ 224504 h 383952"/>
                  <a:gd name="connsiteX67" fmla="*/ 618363 w 3337751"/>
                  <a:gd name="connsiteY67" fmla="*/ 224504 h 383952"/>
                  <a:gd name="connsiteX68" fmla="*/ 618363 w 3337751"/>
                  <a:gd name="connsiteY68" fmla="*/ 230505 h 383952"/>
                  <a:gd name="connsiteX69" fmla="*/ 656177 w 3337751"/>
                  <a:gd name="connsiteY69" fmla="*/ 230505 h 383952"/>
                  <a:gd name="connsiteX70" fmla="*/ 656177 w 3337751"/>
                  <a:gd name="connsiteY70" fmla="*/ 236696 h 383952"/>
                  <a:gd name="connsiteX71" fmla="*/ 708755 w 3337751"/>
                  <a:gd name="connsiteY71" fmla="*/ 236696 h 383952"/>
                  <a:gd name="connsiteX72" fmla="*/ 708755 w 3337751"/>
                  <a:gd name="connsiteY72" fmla="*/ 242792 h 383952"/>
                  <a:gd name="connsiteX73" fmla="*/ 727710 w 3337751"/>
                  <a:gd name="connsiteY73" fmla="*/ 242792 h 383952"/>
                  <a:gd name="connsiteX74" fmla="*/ 727710 w 3337751"/>
                  <a:gd name="connsiteY74" fmla="*/ 248888 h 383952"/>
                  <a:gd name="connsiteX75" fmla="*/ 738188 w 3337751"/>
                  <a:gd name="connsiteY75" fmla="*/ 248888 h 383952"/>
                  <a:gd name="connsiteX76" fmla="*/ 738188 w 3337751"/>
                  <a:gd name="connsiteY76" fmla="*/ 255079 h 383952"/>
                  <a:gd name="connsiteX77" fmla="*/ 771906 w 3337751"/>
                  <a:gd name="connsiteY77" fmla="*/ 255079 h 383952"/>
                  <a:gd name="connsiteX78" fmla="*/ 771906 w 3337751"/>
                  <a:gd name="connsiteY78" fmla="*/ 261175 h 383952"/>
                  <a:gd name="connsiteX79" fmla="*/ 778193 w 3337751"/>
                  <a:gd name="connsiteY79" fmla="*/ 261175 h 383952"/>
                  <a:gd name="connsiteX80" fmla="*/ 778193 w 3337751"/>
                  <a:gd name="connsiteY80" fmla="*/ 267271 h 383952"/>
                  <a:gd name="connsiteX81" fmla="*/ 792861 w 3337751"/>
                  <a:gd name="connsiteY81" fmla="*/ 267271 h 383952"/>
                  <a:gd name="connsiteX82" fmla="*/ 792861 w 3337751"/>
                  <a:gd name="connsiteY82" fmla="*/ 273367 h 383952"/>
                  <a:gd name="connsiteX83" fmla="*/ 805529 w 3337751"/>
                  <a:gd name="connsiteY83" fmla="*/ 273367 h 383952"/>
                  <a:gd name="connsiteX84" fmla="*/ 805529 w 3337751"/>
                  <a:gd name="connsiteY84" fmla="*/ 279558 h 383952"/>
                  <a:gd name="connsiteX85" fmla="*/ 830771 w 3337751"/>
                  <a:gd name="connsiteY85" fmla="*/ 279558 h 383952"/>
                  <a:gd name="connsiteX86" fmla="*/ 830771 w 3337751"/>
                  <a:gd name="connsiteY86" fmla="*/ 285654 h 383952"/>
                  <a:gd name="connsiteX87" fmla="*/ 1060037 w 3337751"/>
                  <a:gd name="connsiteY87" fmla="*/ 285654 h 383952"/>
                  <a:gd name="connsiteX88" fmla="*/ 1060037 w 3337751"/>
                  <a:gd name="connsiteY88" fmla="*/ 291846 h 383952"/>
                  <a:gd name="connsiteX89" fmla="*/ 1173575 w 3337751"/>
                  <a:gd name="connsiteY89" fmla="*/ 291846 h 383952"/>
                  <a:gd name="connsiteX90" fmla="*/ 1173575 w 3337751"/>
                  <a:gd name="connsiteY90" fmla="*/ 298037 h 383952"/>
                  <a:gd name="connsiteX91" fmla="*/ 1442752 w 3337751"/>
                  <a:gd name="connsiteY91" fmla="*/ 298037 h 383952"/>
                  <a:gd name="connsiteX92" fmla="*/ 1442752 w 3337751"/>
                  <a:gd name="connsiteY92" fmla="*/ 304323 h 383952"/>
                  <a:gd name="connsiteX93" fmla="*/ 1516380 w 3337751"/>
                  <a:gd name="connsiteY93" fmla="*/ 304323 h 383952"/>
                  <a:gd name="connsiteX94" fmla="*/ 1516380 w 3337751"/>
                  <a:gd name="connsiteY94" fmla="*/ 310610 h 383952"/>
                  <a:gd name="connsiteX95" fmla="*/ 1596295 w 3337751"/>
                  <a:gd name="connsiteY95" fmla="*/ 310610 h 383952"/>
                  <a:gd name="connsiteX96" fmla="*/ 1596295 w 3337751"/>
                  <a:gd name="connsiteY96" fmla="*/ 316896 h 383952"/>
                  <a:gd name="connsiteX97" fmla="*/ 1758220 w 3337751"/>
                  <a:gd name="connsiteY97" fmla="*/ 316896 h 383952"/>
                  <a:gd name="connsiteX98" fmla="*/ 1758220 w 3337751"/>
                  <a:gd name="connsiteY98" fmla="*/ 323373 h 383952"/>
                  <a:gd name="connsiteX99" fmla="*/ 1775079 w 3337751"/>
                  <a:gd name="connsiteY99" fmla="*/ 323373 h 383952"/>
                  <a:gd name="connsiteX100" fmla="*/ 1775079 w 3337751"/>
                  <a:gd name="connsiteY100" fmla="*/ 329755 h 383952"/>
                  <a:gd name="connsiteX101" fmla="*/ 1892903 w 3337751"/>
                  <a:gd name="connsiteY101" fmla="*/ 329755 h 383952"/>
                  <a:gd name="connsiteX102" fmla="*/ 1892903 w 3337751"/>
                  <a:gd name="connsiteY102" fmla="*/ 336232 h 383952"/>
                  <a:gd name="connsiteX103" fmla="*/ 1985391 w 3337751"/>
                  <a:gd name="connsiteY103" fmla="*/ 336232 h 383952"/>
                  <a:gd name="connsiteX104" fmla="*/ 1985391 w 3337751"/>
                  <a:gd name="connsiteY104" fmla="*/ 342614 h 383952"/>
                  <a:gd name="connsiteX105" fmla="*/ 2004346 w 3337751"/>
                  <a:gd name="connsiteY105" fmla="*/ 342614 h 383952"/>
                  <a:gd name="connsiteX106" fmla="*/ 2004346 w 3337751"/>
                  <a:gd name="connsiteY106" fmla="*/ 349091 h 383952"/>
                  <a:gd name="connsiteX107" fmla="*/ 2858167 w 3337751"/>
                  <a:gd name="connsiteY107" fmla="*/ 349091 h 383952"/>
                  <a:gd name="connsiteX108" fmla="*/ 2858167 w 3337751"/>
                  <a:gd name="connsiteY108" fmla="*/ 383952 h 383952"/>
                  <a:gd name="connsiteX109" fmla="*/ 3337751 w 3337751"/>
                  <a:gd name="connsiteY109" fmla="*/ 383952 h 383952"/>
                  <a:gd name="connsiteX0" fmla="*/ 0 w 3337751"/>
                  <a:gd name="connsiteY0" fmla="*/ 0 h 383952"/>
                  <a:gd name="connsiteX1" fmla="*/ 4191 w 3337751"/>
                  <a:gd name="connsiteY1" fmla="*/ 0 h 383952"/>
                  <a:gd name="connsiteX2" fmla="*/ 21050 w 3337751"/>
                  <a:gd name="connsiteY2" fmla="*/ 6096 h 383952"/>
                  <a:gd name="connsiteX3" fmla="*/ 21050 w 3337751"/>
                  <a:gd name="connsiteY3" fmla="*/ 18192 h 383952"/>
                  <a:gd name="connsiteX4" fmla="*/ 25241 w 3337751"/>
                  <a:gd name="connsiteY4" fmla="*/ 18192 h 383952"/>
                  <a:gd name="connsiteX5" fmla="*/ 25241 w 3337751"/>
                  <a:gd name="connsiteY5" fmla="*/ 24288 h 383952"/>
                  <a:gd name="connsiteX6" fmla="*/ 48387 w 3337751"/>
                  <a:gd name="connsiteY6" fmla="*/ 24288 h 383952"/>
                  <a:gd name="connsiteX7" fmla="*/ 48387 w 3337751"/>
                  <a:gd name="connsiteY7" fmla="*/ 30384 h 383952"/>
                  <a:gd name="connsiteX8" fmla="*/ 52578 w 3337751"/>
                  <a:gd name="connsiteY8" fmla="*/ 30384 h 383952"/>
                  <a:gd name="connsiteX9" fmla="*/ 52578 w 3337751"/>
                  <a:gd name="connsiteY9" fmla="*/ 36385 h 383952"/>
                  <a:gd name="connsiteX10" fmla="*/ 58865 w 3337751"/>
                  <a:gd name="connsiteY10" fmla="*/ 36385 h 383952"/>
                  <a:gd name="connsiteX11" fmla="*/ 58865 w 3337751"/>
                  <a:gd name="connsiteY11" fmla="*/ 48577 h 383952"/>
                  <a:gd name="connsiteX12" fmla="*/ 77819 w 3337751"/>
                  <a:gd name="connsiteY12" fmla="*/ 48577 h 383952"/>
                  <a:gd name="connsiteX13" fmla="*/ 77819 w 3337751"/>
                  <a:gd name="connsiteY13" fmla="*/ 54578 h 383952"/>
                  <a:gd name="connsiteX14" fmla="*/ 86201 w 3337751"/>
                  <a:gd name="connsiteY14" fmla="*/ 54578 h 383952"/>
                  <a:gd name="connsiteX15" fmla="*/ 86201 w 3337751"/>
                  <a:gd name="connsiteY15" fmla="*/ 60674 h 383952"/>
                  <a:gd name="connsiteX16" fmla="*/ 98870 w 3337751"/>
                  <a:gd name="connsiteY16" fmla="*/ 60674 h 383952"/>
                  <a:gd name="connsiteX17" fmla="*/ 98870 w 3337751"/>
                  <a:gd name="connsiteY17" fmla="*/ 66770 h 383952"/>
                  <a:gd name="connsiteX18" fmla="*/ 115729 w 3337751"/>
                  <a:gd name="connsiteY18" fmla="*/ 66770 h 383952"/>
                  <a:gd name="connsiteX19" fmla="*/ 115729 w 3337751"/>
                  <a:gd name="connsiteY19" fmla="*/ 72771 h 383952"/>
                  <a:gd name="connsiteX20" fmla="*/ 143066 w 3337751"/>
                  <a:gd name="connsiteY20" fmla="*/ 72771 h 383952"/>
                  <a:gd name="connsiteX21" fmla="*/ 143066 w 3337751"/>
                  <a:gd name="connsiteY21" fmla="*/ 78867 h 383952"/>
                  <a:gd name="connsiteX22" fmla="*/ 145161 w 3337751"/>
                  <a:gd name="connsiteY22" fmla="*/ 78867 h 383952"/>
                  <a:gd name="connsiteX23" fmla="*/ 145161 w 3337751"/>
                  <a:gd name="connsiteY23" fmla="*/ 84963 h 383952"/>
                  <a:gd name="connsiteX24" fmla="*/ 155638 w 3337751"/>
                  <a:gd name="connsiteY24" fmla="*/ 84963 h 383952"/>
                  <a:gd name="connsiteX25" fmla="*/ 155638 w 3337751"/>
                  <a:gd name="connsiteY25" fmla="*/ 90963 h 383952"/>
                  <a:gd name="connsiteX26" fmla="*/ 161925 w 3337751"/>
                  <a:gd name="connsiteY26" fmla="*/ 90963 h 383952"/>
                  <a:gd name="connsiteX27" fmla="*/ 161925 w 3337751"/>
                  <a:gd name="connsiteY27" fmla="*/ 103155 h 383952"/>
                  <a:gd name="connsiteX28" fmla="*/ 170402 w 3337751"/>
                  <a:gd name="connsiteY28" fmla="*/ 103155 h 383952"/>
                  <a:gd name="connsiteX29" fmla="*/ 170402 w 3337751"/>
                  <a:gd name="connsiteY29" fmla="*/ 109156 h 383952"/>
                  <a:gd name="connsiteX30" fmla="*/ 176689 w 3337751"/>
                  <a:gd name="connsiteY30" fmla="*/ 109156 h 383952"/>
                  <a:gd name="connsiteX31" fmla="*/ 176689 w 3337751"/>
                  <a:gd name="connsiteY31" fmla="*/ 121348 h 383952"/>
                  <a:gd name="connsiteX32" fmla="*/ 178784 w 3337751"/>
                  <a:gd name="connsiteY32" fmla="*/ 121348 h 383952"/>
                  <a:gd name="connsiteX33" fmla="*/ 178784 w 3337751"/>
                  <a:gd name="connsiteY33" fmla="*/ 127444 h 383952"/>
                  <a:gd name="connsiteX34" fmla="*/ 191357 w 3337751"/>
                  <a:gd name="connsiteY34" fmla="*/ 127444 h 383952"/>
                  <a:gd name="connsiteX35" fmla="*/ 191357 w 3337751"/>
                  <a:gd name="connsiteY35" fmla="*/ 133445 h 383952"/>
                  <a:gd name="connsiteX36" fmla="*/ 214503 w 3337751"/>
                  <a:gd name="connsiteY36" fmla="*/ 133445 h 383952"/>
                  <a:gd name="connsiteX37" fmla="*/ 214503 w 3337751"/>
                  <a:gd name="connsiteY37" fmla="*/ 139541 h 383952"/>
                  <a:gd name="connsiteX38" fmla="*/ 220885 w 3337751"/>
                  <a:gd name="connsiteY38" fmla="*/ 139541 h 383952"/>
                  <a:gd name="connsiteX39" fmla="*/ 220885 w 3337751"/>
                  <a:gd name="connsiteY39" fmla="*/ 145637 h 383952"/>
                  <a:gd name="connsiteX40" fmla="*/ 229267 w 3337751"/>
                  <a:gd name="connsiteY40" fmla="*/ 145637 h 383952"/>
                  <a:gd name="connsiteX41" fmla="*/ 229267 w 3337751"/>
                  <a:gd name="connsiteY41" fmla="*/ 151638 h 383952"/>
                  <a:gd name="connsiteX42" fmla="*/ 237649 w 3337751"/>
                  <a:gd name="connsiteY42" fmla="*/ 151638 h 383952"/>
                  <a:gd name="connsiteX43" fmla="*/ 237649 w 3337751"/>
                  <a:gd name="connsiteY43" fmla="*/ 157734 h 383952"/>
                  <a:gd name="connsiteX44" fmla="*/ 241840 w 3337751"/>
                  <a:gd name="connsiteY44" fmla="*/ 157734 h 383952"/>
                  <a:gd name="connsiteX45" fmla="*/ 241840 w 3337751"/>
                  <a:gd name="connsiteY45" fmla="*/ 163830 h 383952"/>
                  <a:gd name="connsiteX46" fmla="*/ 315468 w 3337751"/>
                  <a:gd name="connsiteY46" fmla="*/ 163830 h 383952"/>
                  <a:gd name="connsiteX47" fmla="*/ 315468 w 3337751"/>
                  <a:gd name="connsiteY47" fmla="*/ 169830 h 383952"/>
                  <a:gd name="connsiteX48" fmla="*/ 336518 w 3337751"/>
                  <a:gd name="connsiteY48" fmla="*/ 169830 h 383952"/>
                  <a:gd name="connsiteX49" fmla="*/ 336518 w 3337751"/>
                  <a:gd name="connsiteY49" fmla="*/ 175926 h 383952"/>
                  <a:gd name="connsiteX50" fmla="*/ 342805 w 3337751"/>
                  <a:gd name="connsiteY50" fmla="*/ 175926 h 383952"/>
                  <a:gd name="connsiteX51" fmla="*/ 342805 w 3337751"/>
                  <a:gd name="connsiteY51" fmla="*/ 182022 h 383952"/>
                  <a:gd name="connsiteX52" fmla="*/ 384905 w 3337751"/>
                  <a:gd name="connsiteY52" fmla="*/ 182022 h 383952"/>
                  <a:gd name="connsiteX53" fmla="*/ 384905 w 3337751"/>
                  <a:gd name="connsiteY53" fmla="*/ 188023 h 383952"/>
                  <a:gd name="connsiteX54" fmla="*/ 399574 w 3337751"/>
                  <a:gd name="connsiteY54" fmla="*/ 188023 h 383952"/>
                  <a:gd name="connsiteX55" fmla="*/ 399574 w 3337751"/>
                  <a:gd name="connsiteY55" fmla="*/ 194119 h 383952"/>
                  <a:gd name="connsiteX56" fmla="*/ 429101 w 3337751"/>
                  <a:gd name="connsiteY56" fmla="*/ 194119 h 383952"/>
                  <a:gd name="connsiteX57" fmla="*/ 429101 w 3337751"/>
                  <a:gd name="connsiteY57" fmla="*/ 200215 h 383952"/>
                  <a:gd name="connsiteX58" fmla="*/ 431197 w 3337751"/>
                  <a:gd name="connsiteY58" fmla="*/ 200215 h 383952"/>
                  <a:gd name="connsiteX59" fmla="*/ 431197 w 3337751"/>
                  <a:gd name="connsiteY59" fmla="*/ 206216 h 383952"/>
                  <a:gd name="connsiteX60" fmla="*/ 454247 w 3337751"/>
                  <a:gd name="connsiteY60" fmla="*/ 206216 h 383952"/>
                  <a:gd name="connsiteX61" fmla="*/ 454247 w 3337751"/>
                  <a:gd name="connsiteY61" fmla="*/ 212312 h 383952"/>
                  <a:gd name="connsiteX62" fmla="*/ 466916 w 3337751"/>
                  <a:gd name="connsiteY62" fmla="*/ 212312 h 383952"/>
                  <a:gd name="connsiteX63" fmla="*/ 466916 w 3337751"/>
                  <a:gd name="connsiteY63" fmla="*/ 218408 h 383952"/>
                  <a:gd name="connsiteX64" fmla="*/ 502634 w 3337751"/>
                  <a:gd name="connsiteY64" fmla="*/ 218408 h 383952"/>
                  <a:gd name="connsiteX65" fmla="*/ 502634 w 3337751"/>
                  <a:gd name="connsiteY65" fmla="*/ 224504 h 383952"/>
                  <a:gd name="connsiteX66" fmla="*/ 618363 w 3337751"/>
                  <a:gd name="connsiteY66" fmla="*/ 224504 h 383952"/>
                  <a:gd name="connsiteX67" fmla="*/ 618363 w 3337751"/>
                  <a:gd name="connsiteY67" fmla="*/ 230505 h 383952"/>
                  <a:gd name="connsiteX68" fmla="*/ 656177 w 3337751"/>
                  <a:gd name="connsiteY68" fmla="*/ 230505 h 383952"/>
                  <a:gd name="connsiteX69" fmla="*/ 656177 w 3337751"/>
                  <a:gd name="connsiteY69" fmla="*/ 236696 h 383952"/>
                  <a:gd name="connsiteX70" fmla="*/ 708755 w 3337751"/>
                  <a:gd name="connsiteY70" fmla="*/ 236696 h 383952"/>
                  <a:gd name="connsiteX71" fmla="*/ 708755 w 3337751"/>
                  <a:gd name="connsiteY71" fmla="*/ 242792 h 383952"/>
                  <a:gd name="connsiteX72" fmla="*/ 727710 w 3337751"/>
                  <a:gd name="connsiteY72" fmla="*/ 242792 h 383952"/>
                  <a:gd name="connsiteX73" fmla="*/ 727710 w 3337751"/>
                  <a:gd name="connsiteY73" fmla="*/ 248888 h 383952"/>
                  <a:gd name="connsiteX74" fmla="*/ 738188 w 3337751"/>
                  <a:gd name="connsiteY74" fmla="*/ 248888 h 383952"/>
                  <a:gd name="connsiteX75" fmla="*/ 738188 w 3337751"/>
                  <a:gd name="connsiteY75" fmla="*/ 255079 h 383952"/>
                  <a:gd name="connsiteX76" fmla="*/ 771906 w 3337751"/>
                  <a:gd name="connsiteY76" fmla="*/ 255079 h 383952"/>
                  <a:gd name="connsiteX77" fmla="*/ 771906 w 3337751"/>
                  <a:gd name="connsiteY77" fmla="*/ 261175 h 383952"/>
                  <a:gd name="connsiteX78" fmla="*/ 778193 w 3337751"/>
                  <a:gd name="connsiteY78" fmla="*/ 261175 h 383952"/>
                  <a:gd name="connsiteX79" fmla="*/ 778193 w 3337751"/>
                  <a:gd name="connsiteY79" fmla="*/ 267271 h 383952"/>
                  <a:gd name="connsiteX80" fmla="*/ 792861 w 3337751"/>
                  <a:gd name="connsiteY80" fmla="*/ 267271 h 383952"/>
                  <a:gd name="connsiteX81" fmla="*/ 792861 w 3337751"/>
                  <a:gd name="connsiteY81" fmla="*/ 273367 h 383952"/>
                  <a:gd name="connsiteX82" fmla="*/ 805529 w 3337751"/>
                  <a:gd name="connsiteY82" fmla="*/ 273367 h 383952"/>
                  <a:gd name="connsiteX83" fmla="*/ 805529 w 3337751"/>
                  <a:gd name="connsiteY83" fmla="*/ 279558 h 383952"/>
                  <a:gd name="connsiteX84" fmla="*/ 830771 w 3337751"/>
                  <a:gd name="connsiteY84" fmla="*/ 279558 h 383952"/>
                  <a:gd name="connsiteX85" fmla="*/ 830771 w 3337751"/>
                  <a:gd name="connsiteY85" fmla="*/ 285654 h 383952"/>
                  <a:gd name="connsiteX86" fmla="*/ 1060037 w 3337751"/>
                  <a:gd name="connsiteY86" fmla="*/ 285654 h 383952"/>
                  <a:gd name="connsiteX87" fmla="*/ 1060037 w 3337751"/>
                  <a:gd name="connsiteY87" fmla="*/ 291846 h 383952"/>
                  <a:gd name="connsiteX88" fmla="*/ 1173575 w 3337751"/>
                  <a:gd name="connsiteY88" fmla="*/ 291846 h 383952"/>
                  <a:gd name="connsiteX89" fmla="*/ 1173575 w 3337751"/>
                  <a:gd name="connsiteY89" fmla="*/ 298037 h 383952"/>
                  <a:gd name="connsiteX90" fmla="*/ 1442752 w 3337751"/>
                  <a:gd name="connsiteY90" fmla="*/ 298037 h 383952"/>
                  <a:gd name="connsiteX91" fmla="*/ 1442752 w 3337751"/>
                  <a:gd name="connsiteY91" fmla="*/ 304323 h 383952"/>
                  <a:gd name="connsiteX92" fmla="*/ 1516380 w 3337751"/>
                  <a:gd name="connsiteY92" fmla="*/ 304323 h 383952"/>
                  <a:gd name="connsiteX93" fmla="*/ 1516380 w 3337751"/>
                  <a:gd name="connsiteY93" fmla="*/ 310610 h 383952"/>
                  <a:gd name="connsiteX94" fmla="*/ 1596295 w 3337751"/>
                  <a:gd name="connsiteY94" fmla="*/ 310610 h 383952"/>
                  <a:gd name="connsiteX95" fmla="*/ 1596295 w 3337751"/>
                  <a:gd name="connsiteY95" fmla="*/ 316896 h 383952"/>
                  <a:gd name="connsiteX96" fmla="*/ 1758220 w 3337751"/>
                  <a:gd name="connsiteY96" fmla="*/ 316896 h 383952"/>
                  <a:gd name="connsiteX97" fmla="*/ 1758220 w 3337751"/>
                  <a:gd name="connsiteY97" fmla="*/ 323373 h 383952"/>
                  <a:gd name="connsiteX98" fmla="*/ 1775079 w 3337751"/>
                  <a:gd name="connsiteY98" fmla="*/ 323373 h 383952"/>
                  <a:gd name="connsiteX99" fmla="*/ 1775079 w 3337751"/>
                  <a:gd name="connsiteY99" fmla="*/ 329755 h 383952"/>
                  <a:gd name="connsiteX100" fmla="*/ 1892903 w 3337751"/>
                  <a:gd name="connsiteY100" fmla="*/ 329755 h 383952"/>
                  <a:gd name="connsiteX101" fmla="*/ 1892903 w 3337751"/>
                  <a:gd name="connsiteY101" fmla="*/ 336232 h 383952"/>
                  <a:gd name="connsiteX102" fmla="*/ 1985391 w 3337751"/>
                  <a:gd name="connsiteY102" fmla="*/ 336232 h 383952"/>
                  <a:gd name="connsiteX103" fmla="*/ 1985391 w 3337751"/>
                  <a:gd name="connsiteY103" fmla="*/ 342614 h 383952"/>
                  <a:gd name="connsiteX104" fmla="*/ 2004346 w 3337751"/>
                  <a:gd name="connsiteY104" fmla="*/ 342614 h 383952"/>
                  <a:gd name="connsiteX105" fmla="*/ 2004346 w 3337751"/>
                  <a:gd name="connsiteY105" fmla="*/ 349091 h 383952"/>
                  <a:gd name="connsiteX106" fmla="*/ 2858167 w 3337751"/>
                  <a:gd name="connsiteY106" fmla="*/ 349091 h 383952"/>
                  <a:gd name="connsiteX107" fmla="*/ 2858167 w 3337751"/>
                  <a:gd name="connsiteY107" fmla="*/ 383952 h 383952"/>
                  <a:gd name="connsiteX108" fmla="*/ 3337751 w 3337751"/>
                  <a:gd name="connsiteY108" fmla="*/ 383952 h 383952"/>
                  <a:gd name="connsiteX0" fmla="*/ 0 w 3337751"/>
                  <a:gd name="connsiteY0" fmla="*/ 0 h 383952"/>
                  <a:gd name="connsiteX1" fmla="*/ 21050 w 3337751"/>
                  <a:gd name="connsiteY1" fmla="*/ 6096 h 383952"/>
                  <a:gd name="connsiteX2" fmla="*/ 21050 w 3337751"/>
                  <a:gd name="connsiteY2" fmla="*/ 18192 h 383952"/>
                  <a:gd name="connsiteX3" fmla="*/ 25241 w 3337751"/>
                  <a:gd name="connsiteY3" fmla="*/ 18192 h 383952"/>
                  <a:gd name="connsiteX4" fmla="*/ 25241 w 3337751"/>
                  <a:gd name="connsiteY4" fmla="*/ 24288 h 383952"/>
                  <a:gd name="connsiteX5" fmla="*/ 48387 w 3337751"/>
                  <a:gd name="connsiteY5" fmla="*/ 24288 h 383952"/>
                  <a:gd name="connsiteX6" fmla="*/ 48387 w 3337751"/>
                  <a:gd name="connsiteY6" fmla="*/ 30384 h 383952"/>
                  <a:gd name="connsiteX7" fmla="*/ 52578 w 3337751"/>
                  <a:gd name="connsiteY7" fmla="*/ 30384 h 383952"/>
                  <a:gd name="connsiteX8" fmla="*/ 52578 w 3337751"/>
                  <a:gd name="connsiteY8" fmla="*/ 36385 h 383952"/>
                  <a:gd name="connsiteX9" fmla="*/ 58865 w 3337751"/>
                  <a:gd name="connsiteY9" fmla="*/ 36385 h 383952"/>
                  <a:gd name="connsiteX10" fmla="*/ 58865 w 3337751"/>
                  <a:gd name="connsiteY10" fmla="*/ 48577 h 383952"/>
                  <a:gd name="connsiteX11" fmla="*/ 77819 w 3337751"/>
                  <a:gd name="connsiteY11" fmla="*/ 48577 h 383952"/>
                  <a:gd name="connsiteX12" fmla="*/ 77819 w 3337751"/>
                  <a:gd name="connsiteY12" fmla="*/ 54578 h 383952"/>
                  <a:gd name="connsiteX13" fmla="*/ 86201 w 3337751"/>
                  <a:gd name="connsiteY13" fmla="*/ 54578 h 383952"/>
                  <a:gd name="connsiteX14" fmla="*/ 86201 w 3337751"/>
                  <a:gd name="connsiteY14" fmla="*/ 60674 h 383952"/>
                  <a:gd name="connsiteX15" fmla="*/ 98870 w 3337751"/>
                  <a:gd name="connsiteY15" fmla="*/ 60674 h 383952"/>
                  <a:gd name="connsiteX16" fmla="*/ 98870 w 3337751"/>
                  <a:gd name="connsiteY16" fmla="*/ 66770 h 383952"/>
                  <a:gd name="connsiteX17" fmla="*/ 115729 w 3337751"/>
                  <a:gd name="connsiteY17" fmla="*/ 66770 h 383952"/>
                  <a:gd name="connsiteX18" fmla="*/ 115729 w 3337751"/>
                  <a:gd name="connsiteY18" fmla="*/ 72771 h 383952"/>
                  <a:gd name="connsiteX19" fmla="*/ 143066 w 3337751"/>
                  <a:gd name="connsiteY19" fmla="*/ 72771 h 383952"/>
                  <a:gd name="connsiteX20" fmla="*/ 143066 w 3337751"/>
                  <a:gd name="connsiteY20" fmla="*/ 78867 h 383952"/>
                  <a:gd name="connsiteX21" fmla="*/ 145161 w 3337751"/>
                  <a:gd name="connsiteY21" fmla="*/ 78867 h 383952"/>
                  <a:gd name="connsiteX22" fmla="*/ 145161 w 3337751"/>
                  <a:gd name="connsiteY22" fmla="*/ 84963 h 383952"/>
                  <a:gd name="connsiteX23" fmla="*/ 155638 w 3337751"/>
                  <a:gd name="connsiteY23" fmla="*/ 84963 h 383952"/>
                  <a:gd name="connsiteX24" fmla="*/ 155638 w 3337751"/>
                  <a:gd name="connsiteY24" fmla="*/ 90963 h 383952"/>
                  <a:gd name="connsiteX25" fmla="*/ 161925 w 3337751"/>
                  <a:gd name="connsiteY25" fmla="*/ 90963 h 383952"/>
                  <a:gd name="connsiteX26" fmla="*/ 161925 w 3337751"/>
                  <a:gd name="connsiteY26" fmla="*/ 103155 h 383952"/>
                  <a:gd name="connsiteX27" fmla="*/ 170402 w 3337751"/>
                  <a:gd name="connsiteY27" fmla="*/ 103155 h 383952"/>
                  <a:gd name="connsiteX28" fmla="*/ 170402 w 3337751"/>
                  <a:gd name="connsiteY28" fmla="*/ 109156 h 383952"/>
                  <a:gd name="connsiteX29" fmla="*/ 176689 w 3337751"/>
                  <a:gd name="connsiteY29" fmla="*/ 109156 h 383952"/>
                  <a:gd name="connsiteX30" fmla="*/ 176689 w 3337751"/>
                  <a:gd name="connsiteY30" fmla="*/ 121348 h 383952"/>
                  <a:gd name="connsiteX31" fmla="*/ 178784 w 3337751"/>
                  <a:gd name="connsiteY31" fmla="*/ 121348 h 383952"/>
                  <a:gd name="connsiteX32" fmla="*/ 178784 w 3337751"/>
                  <a:gd name="connsiteY32" fmla="*/ 127444 h 383952"/>
                  <a:gd name="connsiteX33" fmla="*/ 191357 w 3337751"/>
                  <a:gd name="connsiteY33" fmla="*/ 127444 h 383952"/>
                  <a:gd name="connsiteX34" fmla="*/ 191357 w 3337751"/>
                  <a:gd name="connsiteY34" fmla="*/ 133445 h 383952"/>
                  <a:gd name="connsiteX35" fmla="*/ 214503 w 3337751"/>
                  <a:gd name="connsiteY35" fmla="*/ 133445 h 383952"/>
                  <a:gd name="connsiteX36" fmla="*/ 214503 w 3337751"/>
                  <a:gd name="connsiteY36" fmla="*/ 139541 h 383952"/>
                  <a:gd name="connsiteX37" fmla="*/ 220885 w 3337751"/>
                  <a:gd name="connsiteY37" fmla="*/ 139541 h 383952"/>
                  <a:gd name="connsiteX38" fmla="*/ 220885 w 3337751"/>
                  <a:gd name="connsiteY38" fmla="*/ 145637 h 383952"/>
                  <a:gd name="connsiteX39" fmla="*/ 229267 w 3337751"/>
                  <a:gd name="connsiteY39" fmla="*/ 145637 h 383952"/>
                  <a:gd name="connsiteX40" fmla="*/ 229267 w 3337751"/>
                  <a:gd name="connsiteY40" fmla="*/ 151638 h 383952"/>
                  <a:gd name="connsiteX41" fmla="*/ 237649 w 3337751"/>
                  <a:gd name="connsiteY41" fmla="*/ 151638 h 383952"/>
                  <a:gd name="connsiteX42" fmla="*/ 237649 w 3337751"/>
                  <a:gd name="connsiteY42" fmla="*/ 157734 h 383952"/>
                  <a:gd name="connsiteX43" fmla="*/ 241840 w 3337751"/>
                  <a:gd name="connsiteY43" fmla="*/ 157734 h 383952"/>
                  <a:gd name="connsiteX44" fmla="*/ 241840 w 3337751"/>
                  <a:gd name="connsiteY44" fmla="*/ 163830 h 383952"/>
                  <a:gd name="connsiteX45" fmla="*/ 315468 w 3337751"/>
                  <a:gd name="connsiteY45" fmla="*/ 163830 h 383952"/>
                  <a:gd name="connsiteX46" fmla="*/ 315468 w 3337751"/>
                  <a:gd name="connsiteY46" fmla="*/ 169830 h 383952"/>
                  <a:gd name="connsiteX47" fmla="*/ 336518 w 3337751"/>
                  <a:gd name="connsiteY47" fmla="*/ 169830 h 383952"/>
                  <a:gd name="connsiteX48" fmla="*/ 336518 w 3337751"/>
                  <a:gd name="connsiteY48" fmla="*/ 175926 h 383952"/>
                  <a:gd name="connsiteX49" fmla="*/ 342805 w 3337751"/>
                  <a:gd name="connsiteY49" fmla="*/ 175926 h 383952"/>
                  <a:gd name="connsiteX50" fmla="*/ 342805 w 3337751"/>
                  <a:gd name="connsiteY50" fmla="*/ 182022 h 383952"/>
                  <a:gd name="connsiteX51" fmla="*/ 384905 w 3337751"/>
                  <a:gd name="connsiteY51" fmla="*/ 182022 h 383952"/>
                  <a:gd name="connsiteX52" fmla="*/ 384905 w 3337751"/>
                  <a:gd name="connsiteY52" fmla="*/ 188023 h 383952"/>
                  <a:gd name="connsiteX53" fmla="*/ 399574 w 3337751"/>
                  <a:gd name="connsiteY53" fmla="*/ 188023 h 383952"/>
                  <a:gd name="connsiteX54" fmla="*/ 399574 w 3337751"/>
                  <a:gd name="connsiteY54" fmla="*/ 194119 h 383952"/>
                  <a:gd name="connsiteX55" fmla="*/ 429101 w 3337751"/>
                  <a:gd name="connsiteY55" fmla="*/ 194119 h 383952"/>
                  <a:gd name="connsiteX56" fmla="*/ 429101 w 3337751"/>
                  <a:gd name="connsiteY56" fmla="*/ 200215 h 383952"/>
                  <a:gd name="connsiteX57" fmla="*/ 431197 w 3337751"/>
                  <a:gd name="connsiteY57" fmla="*/ 200215 h 383952"/>
                  <a:gd name="connsiteX58" fmla="*/ 431197 w 3337751"/>
                  <a:gd name="connsiteY58" fmla="*/ 206216 h 383952"/>
                  <a:gd name="connsiteX59" fmla="*/ 454247 w 3337751"/>
                  <a:gd name="connsiteY59" fmla="*/ 206216 h 383952"/>
                  <a:gd name="connsiteX60" fmla="*/ 454247 w 3337751"/>
                  <a:gd name="connsiteY60" fmla="*/ 212312 h 383952"/>
                  <a:gd name="connsiteX61" fmla="*/ 466916 w 3337751"/>
                  <a:gd name="connsiteY61" fmla="*/ 212312 h 383952"/>
                  <a:gd name="connsiteX62" fmla="*/ 466916 w 3337751"/>
                  <a:gd name="connsiteY62" fmla="*/ 218408 h 383952"/>
                  <a:gd name="connsiteX63" fmla="*/ 502634 w 3337751"/>
                  <a:gd name="connsiteY63" fmla="*/ 218408 h 383952"/>
                  <a:gd name="connsiteX64" fmla="*/ 502634 w 3337751"/>
                  <a:gd name="connsiteY64" fmla="*/ 224504 h 383952"/>
                  <a:gd name="connsiteX65" fmla="*/ 618363 w 3337751"/>
                  <a:gd name="connsiteY65" fmla="*/ 224504 h 383952"/>
                  <a:gd name="connsiteX66" fmla="*/ 618363 w 3337751"/>
                  <a:gd name="connsiteY66" fmla="*/ 230505 h 383952"/>
                  <a:gd name="connsiteX67" fmla="*/ 656177 w 3337751"/>
                  <a:gd name="connsiteY67" fmla="*/ 230505 h 383952"/>
                  <a:gd name="connsiteX68" fmla="*/ 656177 w 3337751"/>
                  <a:gd name="connsiteY68" fmla="*/ 236696 h 383952"/>
                  <a:gd name="connsiteX69" fmla="*/ 708755 w 3337751"/>
                  <a:gd name="connsiteY69" fmla="*/ 236696 h 383952"/>
                  <a:gd name="connsiteX70" fmla="*/ 708755 w 3337751"/>
                  <a:gd name="connsiteY70" fmla="*/ 242792 h 383952"/>
                  <a:gd name="connsiteX71" fmla="*/ 727710 w 3337751"/>
                  <a:gd name="connsiteY71" fmla="*/ 242792 h 383952"/>
                  <a:gd name="connsiteX72" fmla="*/ 727710 w 3337751"/>
                  <a:gd name="connsiteY72" fmla="*/ 248888 h 383952"/>
                  <a:gd name="connsiteX73" fmla="*/ 738188 w 3337751"/>
                  <a:gd name="connsiteY73" fmla="*/ 248888 h 383952"/>
                  <a:gd name="connsiteX74" fmla="*/ 738188 w 3337751"/>
                  <a:gd name="connsiteY74" fmla="*/ 255079 h 383952"/>
                  <a:gd name="connsiteX75" fmla="*/ 771906 w 3337751"/>
                  <a:gd name="connsiteY75" fmla="*/ 255079 h 383952"/>
                  <a:gd name="connsiteX76" fmla="*/ 771906 w 3337751"/>
                  <a:gd name="connsiteY76" fmla="*/ 261175 h 383952"/>
                  <a:gd name="connsiteX77" fmla="*/ 778193 w 3337751"/>
                  <a:gd name="connsiteY77" fmla="*/ 261175 h 383952"/>
                  <a:gd name="connsiteX78" fmla="*/ 778193 w 3337751"/>
                  <a:gd name="connsiteY78" fmla="*/ 267271 h 383952"/>
                  <a:gd name="connsiteX79" fmla="*/ 792861 w 3337751"/>
                  <a:gd name="connsiteY79" fmla="*/ 267271 h 383952"/>
                  <a:gd name="connsiteX80" fmla="*/ 792861 w 3337751"/>
                  <a:gd name="connsiteY80" fmla="*/ 273367 h 383952"/>
                  <a:gd name="connsiteX81" fmla="*/ 805529 w 3337751"/>
                  <a:gd name="connsiteY81" fmla="*/ 273367 h 383952"/>
                  <a:gd name="connsiteX82" fmla="*/ 805529 w 3337751"/>
                  <a:gd name="connsiteY82" fmla="*/ 279558 h 383952"/>
                  <a:gd name="connsiteX83" fmla="*/ 830771 w 3337751"/>
                  <a:gd name="connsiteY83" fmla="*/ 279558 h 383952"/>
                  <a:gd name="connsiteX84" fmla="*/ 830771 w 3337751"/>
                  <a:gd name="connsiteY84" fmla="*/ 285654 h 383952"/>
                  <a:gd name="connsiteX85" fmla="*/ 1060037 w 3337751"/>
                  <a:gd name="connsiteY85" fmla="*/ 285654 h 383952"/>
                  <a:gd name="connsiteX86" fmla="*/ 1060037 w 3337751"/>
                  <a:gd name="connsiteY86" fmla="*/ 291846 h 383952"/>
                  <a:gd name="connsiteX87" fmla="*/ 1173575 w 3337751"/>
                  <a:gd name="connsiteY87" fmla="*/ 291846 h 383952"/>
                  <a:gd name="connsiteX88" fmla="*/ 1173575 w 3337751"/>
                  <a:gd name="connsiteY88" fmla="*/ 298037 h 383952"/>
                  <a:gd name="connsiteX89" fmla="*/ 1442752 w 3337751"/>
                  <a:gd name="connsiteY89" fmla="*/ 298037 h 383952"/>
                  <a:gd name="connsiteX90" fmla="*/ 1442752 w 3337751"/>
                  <a:gd name="connsiteY90" fmla="*/ 304323 h 383952"/>
                  <a:gd name="connsiteX91" fmla="*/ 1516380 w 3337751"/>
                  <a:gd name="connsiteY91" fmla="*/ 304323 h 383952"/>
                  <a:gd name="connsiteX92" fmla="*/ 1516380 w 3337751"/>
                  <a:gd name="connsiteY92" fmla="*/ 310610 h 383952"/>
                  <a:gd name="connsiteX93" fmla="*/ 1596295 w 3337751"/>
                  <a:gd name="connsiteY93" fmla="*/ 310610 h 383952"/>
                  <a:gd name="connsiteX94" fmla="*/ 1596295 w 3337751"/>
                  <a:gd name="connsiteY94" fmla="*/ 316896 h 383952"/>
                  <a:gd name="connsiteX95" fmla="*/ 1758220 w 3337751"/>
                  <a:gd name="connsiteY95" fmla="*/ 316896 h 383952"/>
                  <a:gd name="connsiteX96" fmla="*/ 1758220 w 3337751"/>
                  <a:gd name="connsiteY96" fmla="*/ 323373 h 383952"/>
                  <a:gd name="connsiteX97" fmla="*/ 1775079 w 3337751"/>
                  <a:gd name="connsiteY97" fmla="*/ 323373 h 383952"/>
                  <a:gd name="connsiteX98" fmla="*/ 1775079 w 3337751"/>
                  <a:gd name="connsiteY98" fmla="*/ 329755 h 383952"/>
                  <a:gd name="connsiteX99" fmla="*/ 1892903 w 3337751"/>
                  <a:gd name="connsiteY99" fmla="*/ 329755 h 383952"/>
                  <a:gd name="connsiteX100" fmla="*/ 1892903 w 3337751"/>
                  <a:gd name="connsiteY100" fmla="*/ 336232 h 383952"/>
                  <a:gd name="connsiteX101" fmla="*/ 1985391 w 3337751"/>
                  <a:gd name="connsiteY101" fmla="*/ 336232 h 383952"/>
                  <a:gd name="connsiteX102" fmla="*/ 1985391 w 3337751"/>
                  <a:gd name="connsiteY102" fmla="*/ 342614 h 383952"/>
                  <a:gd name="connsiteX103" fmla="*/ 2004346 w 3337751"/>
                  <a:gd name="connsiteY103" fmla="*/ 342614 h 383952"/>
                  <a:gd name="connsiteX104" fmla="*/ 2004346 w 3337751"/>
                  <a:gd name="connsiteY104" fmla="*/ 349091 h 383952"/>
                  <a:gd name="connsiteX105" fmla="*/ 2858167 w 3337751"/>
                  <a:gd name="connsiteY105" fmla="*/ 349091 h 383952"/>
                  <a:gd name="connsiteX106" fmla="*/ 2858167 w 3337751"/>
                  <a:gd name="connsiteY106" fmla="*/ 383952 h 383952"/>
                  <a:gd name="connsiteX107" fmla="*/ 3337751 w 3337751"/>
                  <a:gd name="connsiteY107" fmla="*/ 383952 h 383952"/>
                  <a:gd name="connsiteX0" fmla="*/ 0 w 3316701"/>
                  <a:gd name="connsiteY0" fmla="*/ 0 h 377856"/>
                  <a:gd name="connsiteX1" fmla="*/ 0 w 3316701"/>
                  <a:gd name="connsiteY1" fmla="*/ 12096 h 377856"/>
                  <a:gd name="connsiteX2" fmla="*/ 4191 w 3316701"/>
                  <a:gd name="connsiteY2" fmla="*/ 12096 h 377856"/>
                  <a:gd name="connsiteX3" fmla="*/ 4191 w 3316701"/>
                  <a:gd name="connsiteY3" fmla="*/ 18192 h 377856"/>
                  <a:gd name="connsiteX4" fmla="*/ 27337 w 3316701"/>
                  <a:gd name="connsiteY4" fmla="*/ 18192 h 377856"/>
                  <a:gd name="connsiteX5" fmla="*/ 27337 w 3316701"/>
                  <a:gd name="connsiteY5" fmla="*/ 24288 h 377856"/>
                  <a:gd name="connsiteX6" fmla="*/ 31528 w 3316701"/>
                  <a:gd name="connsiteY6" fmla="*/ 24288 h 377856"/>
                  <a:gd name="connsiteX7" fmla="*/ 31528 w 3316701"/>
                  <a:gd name="connsiteY7" fmla="*/ 30289 h 377856"/>
                  <a:gd name="connsiteX8" fmla="*/ 37815 w 3316701"/>
                  <a:gd name="connsiteY8" fmla="*/ 30289 h 377856"/>
                  <a:gd name="connsiteX9" fmla="*/ 37815 w 3316701"/>
                  <a:gd name="connsiteY9" fmla="*/ 42481 h 377856"/>
                  <a:gd name="connsiteX10" fmla="*/ 56769 w 3316701"/>
                  <a:gd name="connsiteY10" fmla="*/ 42481 h 377856"/>
                  <a:gd name="connsiteX11" fmla="*/ 56769 w 3316701"/>
                  <a:gd name="connsiteY11" fmla="*/ 48482 h 377856"/>
                  <a:gd name="connsiteX12" fmla="*/ 65151 w 3316701"/>
                  <a:gd name="connsiteY12" fmla="*/ 48482 h 377856"/>
                  <a:gd name="connsiteX13" fmla="*/ 65151 w 3316701"/>
                  <a:gd name="connsiteY13" fmla="*/ 54578 h 377856"/>
                  <a:gd name="connsiteX14" fmla="*/ 77820 w 3316701"/>
                  <a:gd name="connsiteY14" fmla="*/ 54578 h 377856"/>
                  <a:gd name="connsiteX15" fmla="*/ 77820 w 3316701"/>
                  <a:gd name="connsiteY15" fmla="*/ 60674 h 377856"/>
                  <a:gd name="connsiteX16" fmla="*/ 94679 w 3316701"/>
                  <a:gd name="connsiteY16" fmla="*/ 60674 h 377856"/>
                  <a:gd name="connsiteX17" fmla="*/ 94679 w 3316701"/>
                  <a:gd name="connsiteY17" fmla="*/ 66675 h 377856"/>
                  <a:gd name="connsiteX18" fmla="*/ 122016 w 3316701"/>
                  <a:gd name="connsiteY18" fmla="*/ 66675 h 377856"/>
                  <a:gd name="connsiteX19" fmla="*/ 122016 w 3316701"/>
                  <a:gd name="connsiteY19" fmla="*/ 72771 h 377856"/>
                  <a:gd name="connsiteX20" fmla="*/ 124111 w 3316701"/>
                  <a:gd name="connsiteY20" fmla="*/ 72771 h 377856"/>
                  <a:gd name="connsiteX21" fmla="*/ 124111 w 3316701"/>
                  <a:gd name="connsiteY21" fmla="*/ 78867 h 377856"/>
                  <a:gd name="connsiteX22" fmla="*/ 134588 w 3316701"/>
                  <a:gd name="connsiteY22" fmla="*/ 78867 h 377856"/>
                  <a:gd name="connsiteX23" fmla="*/ 134588 w 3316701"/>
                  <a:gd name="connsiteY23" fmla="*/ 84867 h 377856"/>
                  <a:gd name="connsiteX24" fmla="*/ 140875 w 3316701"/>
                  <a:gd name="connsiteY24" fmla="*/ 84867 h 377856"/>
                  <a:gd name="connsiteX25" fmla="*/ 140875 w 3316701"/>
                  <a:gd name="connsiteY25" fmla="*/ 97059 h 377856"/>
                  <a:gd name="connsiteX26" fmla="*/ 149352 w 3316701"/>
                  <a:gd name="connsiteY26" fmla="*/ 97059 h 377856"/>
                  <a:gd name="connsiteX27" fmla="*/ 149352 w 3316701"/>
                  <a:gd name="connsiteY27" fmla="*/ 103060 h 377856"/>
                  <a:gd name="connsiteX28" fmla="*/ 155639 w 3316701"/>
                  <a:gd name="connsiteY28" fmla="*/ 103060 h 377856"/>
                  <a:gd name="connsiteX29" fmla="*/ 155639 w 3316701"/>
                  <a:gd name="connsiteY29" fmla="*/ 115252 h 377856"/>
                  <a:gd name="connsiteX30" fmla="*/ 157734 w 3316701"/>
                  <a:gd name="connsiteY30" fmla="*/ 115252 h 377856"/>
                  <a:gd name="connsiteX31" fmla="*/ 157734 w 3316701"/>
                  <a:gd name="connsiteY31" fmla="*/ 121348 h 377856"/>
                  <a:gd name="connsiteX32" fmla="*/ 170307 w 3316701"/>
                  <a:gd name="connsiteY32" fmla="*/ 121348 h 377856"/>
                  <a:gd name="connsiteX33" fmla="*/ 170307 w 3316701"/>
                  <a:gd name="connsiteY33" fmla="*/ 127349 h 377856"/>
                  <a:gd name="connsiteX34" fmla="*/ 193453 w 3316701"/>
                  <a:gd name="connsiteY34" fmla="*/ 127349 h 377856"/>
                  <a:gd name="connsiteX35" fmla="*/ 193453 w 3316701"/>
                  <a:gd name="connsiteY35" fmla="*/ 133445 h 377856"/>
                  <a:gd name="connsiteX36" fmla="*/ 199835 w 3316701"/>
                  <a:gd name="connsiteY36" fmla="*/ 133445 h 377856"/>
                  <a:gd name="connsiteX37" fmla="*/ 199835 w 3316701"/>
                  <a:gd name="connsiteY37" fmla="*/ 139541 h 377856"/>
                  <a:gd name="connsiteX38" fmla="*/ 208217 w 3316701"/>
                  <a:gd name="connsiteY38" fmla="*/ 139541 h 377856"/>
                  <a:gd name="connsiteX39" fmla="*/ 208217 w 3316701"/>
                  <a:gd name="connsiteY39" fmla="*/ 145542 h 377856"/>
                  <a:gd name="connsiteX40" fmla="*/ 216599 w 3316701"/>
                  <a:gd name="connsiteY40" fmla="*/ 145542 h 377856"/>
                  <a:gd name="connsiteX41" fmla="*/ 216599 w 3316701"/>
                  <a:gd name="connsiteY41" fmla="*/ 151638 h 377856"/>
                  <a:gd name="connsiteX42" fmla="*/ 220790 w 3316701"/>
                  <a:gd name="connsiteY42" fmla="*/ 151638 h 377856"/>
                  <a:gd name="connsiteX43" fmla="*/ 220790 w 3316701"/>
                  <a:gd name="connsiteY43" fmla="*/ 157734 h 377856"/>
                  <a:gd name="connsiteX44" fmla="*/ 294418 w 3316701"/>
                  <a:gd name="connsiteY44" fmla="*/ 157734 h 377856"/>
                  <a:gd name="connsiteX45" fmla="*/ 294418 w 3316701"/>
                  <a:gd name="connsiteY45" fmla="*/ 163734 h 377856"/>
                  <a:gd name="connsiteX46" fmla="*/ 315468 w 3316701"/>
                  <a:gd name="connsiteY46" fmla="*/ 163734 h 377856"/>
                  <a:gd name="connsiteX47" fmla="*/ 315468 w 3316701"/>
                  <a:gd name="connsiteY47" fmla="*/ 169830 h 377856"/>
                  <a:gd name="connsiteX48" fmla="*/ 321755 w 3316701"/>
                  <a:gd name="connsiteY48" fmla="*/ 169830 h 377856"/>
                  <a:gd name="connsiteX49" fmla="*/ 321755 w 3316701"/>
                  <a:gd name="connsiteY49" fmla="*/ 175926 h 377856"/>
                  <a:gd name="connsiteX50" fmla="*/ 363855 w 3316701"/>
                  <a:gd name="connsiteY50" fmla="*/ 175926 h 377856"/>
                  <a:gd name="connsiteX51" fmla="*/ 363855 w 3316701"/>
                  <a:gd name="connsiteY51" fmla="*/ 181927 h 377856"/>
                  <a:gd name="connsiteX52" fmla="*/ 378524 w 3316701"/>
                  <a:gd name="connsiteY52" fmla="*/ 181927 h 377856"/>
                  <a:gd name="connsiteX53" fmla="*/ 378524 w 3316701"/>
                  <a:gd name="connsiteY53" fmla="*/ 188023 h 377856"/>
                  <a:gd name="connsiteX54" fmla="*/ 408051 w 3316701"/>
                  <a:gd name="connsiteY54" fmla="*/ 188023 h 377856"/>
                  <a:gd name="connsiteX55" fmla="*/ 408051 w 3316701"/>
                  <a:gd name="connsiteY55" fmla="*/ 194119 h 377856"/>
                  <a:gd name="connsiteX56" fmla="*/ 410147 w 3316701"/>
                  <a:gd name="connsiteY56" fmla="*/ 194119 h 377856"/>
                  <a:gd name="connsiteX57" fmla="*/ 410147 w 3316701"/>
                  <a:gd name="connsiteY57" fmla="*/ 200120 h 377856"/>
                  <a:gd name="connsiteX58" fmla="*/ 433197 w 3316701"/>
                  <a:gd name="connsiteY58" fmla="*/ 200120 h 377856"/>
                  <a:gd name="connsiteX59" fmla="*/ 433197 w 3316701"/>
                  <a:gd name="connsiteY59" fmla="*/ 206216 h 377856"/>
                  <a:gd name="connsiteX60" fmla="*/ 445866 w 3316701"/>
                  <a:gd name="connsiteY60" fmla="*/ 206216 h 377856"/>
                  <a:gd name="connsiteX61" fmla="*/ 445866 w 3316701"/>
                  <a:gd name="connsiteY61" fmla="*/ 212312 h 377856"/>
                  <a:gd name="connsiteX62" fmla="*/ 481584 w 3316701"/>
                  <a:gd name="connsiteY62" fmla="*/ 212312 h 377856"/>
                  <a:gd name="connsiteX63" fmla="*/ 481584 w 3316701"/>
                  <a:gd name="connsiteY63" fmla="*/ 218408 h 377856"/>
                  <a:gd name="connsiteX64" fmla="*/ 597313 w 3316701"/>
                  <a:gd name="connsiteY64" fmla="*/ 218408 h 377856"/>
                  <a:gd name="connsiteX65" fmla="*/ 597313 w 3316701"/>
                  <a:gd name="connsiteY65" fmla="*/ 224409 h 377856"/>
                  <a:gd name="connsiteX66" fmla="*/ 635127 w 3316701"/>
                  <a:gd name="connsiteY66" fmla="*/ 224409 h 377856"/>
                  <a:gd name="connsiteX67" fmla="*/ 635127 w 3316701"/>
                  <a:gd name="connsiteY67" fmla="*/ 230600 h 377856"/>
                  <a:gd name="connsiteX68" fmla="*/ 687705 w 3316701"/>
                  <a:gd name="connsiteY68" fmla="*/ 230600 h 377856"/>
                  <a:gd name="connsiteX69" fmla="*/ 687705 w 3316701"/>
                  <a:gd name="connsiteY69" fmla="*/ 236696 h 377856"/>
                  <a:gd name="connsiteX70" fmla="*/ 706660 w 3316701"/>
                  <a:gd name="connsiteY70" fmla="*/ 236696 h 377856"/>
                  <a:gd name="connsiteX71" fmla="*/ 706660 w 3316701"/>
                  <a:gd name="connsiteY71" fmla="*/ 242792 h 377856"/>
                  <a:gd name="connsiteX72" fmla="*/ 717138 w 3316701"/>
                  <a:gd name="connsiteY72" fmla="*/ 242792 h 377856"/>
                  <a:gd name="connsiteX73" fmla="*/ 717138 w 3316701"/>
                  <a:gd name="connsiteY73" fmla="*/ 248983 h 377856"/>
                  <a:gd name="connsiteX74" fmla="*/ 750856 w 3316701"/>
                  <a:gd name="connsiteY74" fmla="*/ 248983 h 377856"/>
                  <a:gd name="connsiteX75" fmla="*/ 750856 w 3316701"/>
                  <a:gd name="connsiteY75" fmla="*/ 255079 h 377856"/>
                  <a:gd name="connsiteX76" fmla="*/ 757143 w 3316701"/>
                  <a:gd name="connsiteY76" fmla="*/ 255079 h 377856"/>
                  <a:gd name="connsiteX77" fmla="*/ 757143 w 3316701"/>
                  <a:gd name="connsiteY77" fmla="*/ 261175 h 377856"/>
                  <a:gd name="connsiteX78" fmla="*/ 771811 w 3316701"/>
                  <a:gd name="connsiteY78" fmla="*/ 261175 h 377856"/>
                  <a:gd name="connsiteX79" fmla="*/ 771811 w 3316701"/>
                  <a:gd name="connsiteY79" fmla="*/ 267271 h 377856"/>
                  <a:gd name="connsiteX80" fmla="*/ 784479 w 3316701"/>
                  <a:gd name="connsiteY80" fmla="*/ 267271 h 377856"/>
                  <a:gd name="connsiteX81" fmla="*/ 784479 w 3316701"/>
                  <a:gd name="connsiteY81" fmla="*/ 273462 h 377856"/>
                  <a:gd name="connsiteX82" fmla="*/ 809721 w 3316701"/>
                  <a:gd name="connsiteY82" fmla="*/ 273462 h 377856"/>
                  <a:gd name="connsiteX83" fmla="*/ 809721 w 3316701"/>
                  <a:gd name="connsiteY83" fmla="*/ 279558 h 377856"/>
                  <a:gd name="connsiteX84" fmla="*/ 1038987 w 3316701"/>
                  <a:gd name="connsiteY84" fmla="*/ 279558 h 377856"/>
                  <a:gd name="connsiteX85" fmla="*/ 1038987 w 3316701"/>
                  <a:gd name="connsiteY85" fmla="*/ 285750 h 377856"/>
                  <a:gd name="connsiteX86" fmla="*/ 1152525 w 3316701"/>
                  <a:gd name="connsiteY86" fmla="*/ 285750 h 377856"/>
                  <a:gd name="connsiteX87" fmla="*/ 1152525 w 3316701"/>
                  <a:gd name="connsiteY87" fmla="*/ 291941 h 377856"/>
                  <a:gd name="connsiteX88" fmla="*/ 1421702 w 3316701"/>
                  <a:gd name="connsiteY88" fmla="*/ 291941 h 377856"/>
                  <a:gd name="connsiteX89" fmla="*/ 1421702 w 3316701"/>
                  <a:gd name="connsiteY89" fmla="*/ 298227 h 377856"/>
                  <a:gd name="connsiteX90" fmla="*/ 1495330 w 3316701"/>
                  <a:gd name="connsiteY90" fmla="*/ 298227 h 377856"/>
                  <a:gd name="connsiteX91" fmla="*/ 1495330 w 3316701"/>
                  <a:gd name="connsiteY91" fmla="*/ 304514 h 377856"/>
                  <a:gd name="connsiteX92" fmla="*/ 1575245 w 3316701"/>
                  <a:gd name="connsiteY92" fmla="*/ 304514 h 377856"/>
                  <a:gd name="connsiteX93" fmla="*/ 1575245 w 3316701"/>
                  <a:gd name="connsiteY93" fmla="*/ 310800 h 377856"/>
                  <a:gd name="connsiteX94" fmla="*/ 1737170 w 3316701"/>
                  <a:gd name="connsiteY94" fmla="*/ 310800 h 377856"/>
                  <a:gd name="connsiteX95" fmla="*/ 1737170 w 3316701"/>
                  <a:gd name="connsiteY95" fmla="*/ 317277 h 377856"/>
                  <a:gd name="connsiteX96" fmla="*/ 1754029 w 3316701"/>
                  <a:gd name="connsiteY96" fmla="*/ 317277 h 377856"/>
                  <a:gd name="connsiteX97" fmla="*/ 1754029 w 3316701"/>
                  <a:gd name="connsiteY97" fmla="*/ 323659 h 377856"/>
                  <a:gd name="connsiteX98" fmla="*/ 1871853 w 3316701"/>
                  <a:gd name="connsiteY98" fmla="*/ 323659 h 377856"/>
                  <a:gd name="connsiteX99" fmla="*/ 1871853 w 3316701"/>
                  <a:gd name="connsiteY99" fmla="*/ 330136 h 377856"/>
                  <a:gd name="connsiteX100" fmla="*/ 1964341 w 3316701"/>
                  <a:gd name="connsiteY100" fmla="*/ 330136 h 377856"/>
                  <a:gd name="connsiteX101" fmla="*/ 1964341 w 3316701"/>
                  <a:gd name="connsiteY101" fmla="*/ 336518 h 377856"/>
                  <a:gd name="connsiteX102" fmla="*/ 1983296 w 3316701"/>
                  <a:gd name="connsiteY102" fmla="*/ 336518 h 377856"/>
                  <a:gd name="connsiteX103" fmla="*/ 1983296 w 3316701"/>
                  <a:gd name="connsiteY103" fmla="*/ 342995 h 377856"/>
                  <a:gd name="connsiteX104" fmla="*/ 2837117 w 3316701"/>
                  <a:gd name="connsiteY104" fmla="*/ 342995 h 377856"/>
                  <a:gd name="connsiteX105" fmla="*/ 2837117 w 3316701"/>
                  <a:gd name="connsiteY105" fmla="*/ 377856 h 377856"/>
                  <a:gd name="connsiteX106" fmla="*/ 3316701 w 3316701"/>
                  <a:gd name="connsiteY106" fmla="*/ 377856 h 377856"/>
                  <a:gd name="connsiteX0" fmla="*/ 0 w 3316701"/>
                  <a:gd name="connsiteY0" fmla="*/ 0 h 365760"/>
                  <a:gd name="connsiteX1" fmla="*/ 4191 w 3316701"/>
                  <a:gd name="connsiteY1" fmla="*/ 0 h 365760"/>
                  <a:gd name="connsiteX2" fmla="*/ 4191 w 3316701"/>
                  <a:gd name="connsiteY2" fmla="*/ 6096 h 365760"/>
                  <a:gd name="connsiteX3" fmla="*/ 27337 w 3316701"/>
                  <a:gd name="connsiteY3" fmla="*/ 6096 h 365760"/>
                  <a:gd name="connsiteX4" fmla="*/ 27337 w 3316701"/>
                  <a:gd name="connsiteY4" fmla="*/ 12192 h 365760"/>
                  <a:gd name="connsiteX5" fmla="*/ 31528 w 3316701"/>
                  <a:gd name="connsiteY5" fmla="*/ 12192 h 365760"/>
                  <a:gd name="connsiteX6" fmla="*/ 31528 w 3316701"/>
                  <a:gd name="connsiteY6" fmla="*/ 18193 h 365760"/>
                  <a:gd name="connsiteX7" fmla="*/ 37815 w 3316701"/>
                  <a:gd name="connsiteY7" fmla="*/ 18193 h 365760"/>
                  <a:gd name="connsiteX8" fmla="*/ 37815 w 3316701"/>
                  <a:gd name="connsiteY8" fmla="*/ 30385 h 365760"/>
                  <a:gd name="connsiteX9" fmla="*/ 56769 w 3316701"/>
                  <a:gd name="connsiteY9" fmla="*/ 30385 h 365760"/>
                  <a:gd name="connsiteX10" fmla="*/ 56769 w 3316701"/>
                  <a:gd name="connsiteY10" fmla="*/ 36386 h 365760"/>
                  <a:gd name="connsiteX11" fmla="*/ 65151 w 3316701"/>
                  <a:gd name="connsiteY11" fmla="*/ 36386 h 365760"/>
                  <a:gd name="connsiteX12" fmla="*/ 65151 w 3316701"/>
                  <a:gd name="connsiteY12" fmla="*/ 42482 h 365760"/>
                  <a:gd name="connsiteX13" fmla="*/ 77820 w 3316701"/>
                  <a:gd name="connsiteY13" fmla="*/ 42482 h 365760"/>
                  <a:gd name="connsiteX14" fmla="*/ 77820 w 3316701"/>
                  <a:gd name="connsiteY14" fmla="*/ 48578 h 365760"/>
                  <a:gd name="connsiteX15" fmla="*/ 94679 w 3316701"/>
                  <a:gd name="connsiteY15" fmla="*/ 48578 h 365760"/>
                  <a:gd name="connsiteX16" fmla="*/ 94679 w 3316701"/>
                  <a:gd name="connsiteY16" fmla="*/ 54579 h 365760"/>
                  <a:gd name="connsiteX17" fmla="*/ 122016 w 3316701"/>
                  <a:gd name="connsiteY17" fmla="*/ 54579 h 365760"/>
                  <a:gd name="connsiteX18" fmla="*/ 122016 w 3316701"/>
                  <a:gd name="connsiteY18" fmla="*/ 60675 h 365760"/>
                  <a:gd name="connsiteX19" fmla="*/ 124111 w 3316701"/>
                  <a:gd name="connsiteY19" fmla="*/ 60675 h 365760"/>
                  <a:gd name="connsiteX20" fmla="*/ 124111 w 3316701"/>
                  <a:gd name="connsiteY20" fmla="*/ 66771 h 365760"/>
                  <a:gd name="connsiteX21" fmla="*/ 134588 w 3316701"/>
                  <a:gd name="connsiteY21" fmla="*/ 66771 h 365760"/>
                  <a:gd name="connsiteX22" fmla="*/ 134588 w 3316701"/>
                  <a:gd name="connsiteY22" fmla="*/ 72771 h 365760"/>
                  <a:gd name="connsiteX23" fmla="*/ 140875 w 3316701"/>
                  <a:gd name="connsiteY23" fmla="*/ 72771 h 365760"/>
                  <a:gd name="connsiteX24" fmla="*/ 140875 w 3316701"/>
                  <a:gd name="connsiteY24" fmla="*/ 84963 h 365760"/>
                  <a:gd name="connsiteX25" fmla="*/ 149352 w 3316701"/>
                  <a:gd name="connsiteY25" fmla="*/ 84963 h 365760"/>
                  <a:gd name="connsiteX26" fmla="*/ 149352 w 3316701"/>
                  <a:gd name="connsiteY26" fmla="*/ 90964 h 365760"/>
                  <a:gd name="connsiteX27" fmla="*/ 155639 w 3316701"/>
                  <a:gd name="connsiteY27" fmla="*/ 90964 h 365760"/>
                  <a:gd name="connsiteX28" fmla="*/ 155639 w 3316701"/>
                  <a:gd name="connsiteY28" fmla="*/ 103156 h 365760"/>
                  <a:gd name="connsiteX29" fmla="*/ 157734 w 3316701"/>
                  <a:gd name="connsiteY29" fmla="*/ 103156 h 365760"/>
                  <a:gd name="connsiteX30" fmla="*/ 157734 w 3316701"/>
                  <a:gd name="connsiteY30" fmla="*/ 109252 h 365760"/>
                  <a:gd name="connsiteX31" fmla="*/ 170307 w 3316701"/>
                  <a:gd name="connsiteY31" fmla="*/ 109252 h 365760"/>
                  <a:gd name="connsiteX32" fmla="*/ 170307 w 3316701"/>
                  <a:gd name="connsiteY32" fmla="*/ 115253 h 365760"/>
                  <a:gd name="connsiteX33" fmla="*/ 193453 w 3316701"/>
                  <a:gd name="connsiteY33" fmla="*/ 115253 h 365760"/>
                  <a:gd name="connsiteX34" fmla="*/ 193453 w 3316701"/>
                  <a:gd name="connsiteY34" fmla="*/ 121349 h 365760"/>
                  <a:gd name="connsiteX35" fmla="*/ 199835 w 3316701"/>
                  <a:gd name="connsiteY35" fmla="*/ 121349 h 365760"/>
                  <a:gd name="connsiteX36" fmla="*/ 199835 w 3316701"/>
                  <a:gd name="connsiteY36" fmla="*/ 127445 h 365760"/>
                  <a:gd name="connsiteX37" fmla="*/ 208217 w 3316701"/>
                  <a:gd name="connsiteY37" fmla="*/ 127445 h 365760"/>
                  <a:gd name="connsiteX38" fmla="*/ 208217 w 3316701"/>
                  <a:gd name="connsiteY38" fmla="*/ 133446 h 365760"/>
                  <a:gd name="connsiteX39" fmla="*/ 216599 w 3316701"/>
                  <a:gd name="connsiteY39" fmla="*/ 133446 h 365760"/>
                  <a:gd name="connsiteX40" fmla="*/ 216599 w 3316701"/>
                  <a:gd name="connsiteY40" fmla="*/ 139542 h 365760"/>
                  <a:gd name="connsiteX41" fmla="*/ 220790 w 3316701"/>
                  <a:gd name="connsiteY41" fmla="*/ 139542 h 365760"/>
                  <a:gd name="connsiteX42" fmla="*/ 220790 w 3316701"/>
                  <a:gd name="connsiteY42" fmla="*/ 145638 h 365760"/>
                  <a:gd name="connsiteX43" fmla="*/ 294418 w 3316701"/>
                  <a:gd name="connsiteY43" fmla="*/ 145638 h 365760"/>
                  <a:gd name="connsiteX44" fmla="*/ 294418 w 3316701"/>
                  <a:gd name="connsiteY44" fmla="*/ 151638 h 365760"/>
                  <a:gd name="connsiteX45" fmla="*/ 315468 w 3316701"/>
                  <a:gd name="connsiteY45" fmla="*/ 151638 h 365760"/>
                  <a:gd name="connsiteX46" fmla="*/ 315468 w 3316701"/>
                  <a:gd name="connsiteY46" fmla="*/ 157734 h 365760"/>
                  <a:gd name="connsiteX47" fmla="*/ 321755 w 3316701"/>
                  <a:gd name="connsiteY47" fmla="*/ 157734 h 365760"/>
                  <a:gd name="connsiteX48" fmla="*/ 321755 w 3316701"/>
                  <a:gd name="connsiteY48" fmla="*/ 163830 h 365760"/>
                  <a:gd name="connsiteX49" fmla="*/ 363855 w 3316701"/>
                  <a:gd name="connsiteY49" fmla="*/ 163830 h 365760"/>
                  <a:gd name="connsiteX50" fmla="*/ 363855 w 3316701"/>
                  <a:gd name="connsiteY50" fmla="*/ 169831 h 365760"/>
                  <a:gd name="connsiteX51" fmla="*/ 378524 w 3316701"/>
                  <a:gd name="connsiteY51" fmla="*/ 169831 h 365760"/>
                  <a:gd name="connsiteX52" fmla="*/ 378524 w 3316701"/>
                  <a:gd name="connsiteY52" fmla="*/ 175927 h 365760"/>
                  <a:gd name="connsiteX53" fmla="*/ 408051 w 3316701"/>
                  <a:gd name="connsiteY53" fmla="*/ 175927 h 365760"/>
                  <a:gd name="connsiteX54" fmla="*/ 408051 w 3316701"/>
                  <a:gd name="connsiteY54" fmla="*/ 182023 h 365760"/>
                  <a:gd name="connsiteX55" fmla="*/ 410147 w 3316701"/>
                  <a:gd name="connsiteY55" fmla="*/ 182023 h 365760"/>
                  <a:gd name="connsiteX56" fmla="*/ 410147 w 3316701"/>
                  <a:gd name="connsiteY56" fmla="*/ 188024 h 365760"/>
                  <a:gd name="connsiteX57" fmla="*/ 433197 w 3316701"/>
                  <a:gd name="connsiteY57" fmla="*/ 188024 h 365760"/>
                  <a:gd name="connsiteX58" fmla="*/ 433197 w 3316701"/>
                  <a:gd name="connsiteY58" fmla="*/ 194120 h 365760"/>
                  <a:gd name="connsiteX59" fmla="*/ 445866 w 3316701"/>
                  <a:gd name="connsiteY59" fmla="*/ 194120 h 365760"/>
                  <a:gd name="connsiteX60" fmla="*/ 445866 w 3316701"/>
                  <a:gd name="connsiteY60" fmla="*/ 200216 h 365760"/>
                  <a:gd name="connsiteX61" fmla="*/ 481584 w 3316701"/>
                  <a:gd name="connsiteY61" fmla="*/ 200216 h 365760"/>
                  <a:gd name="connsiteX62" fmla="*/ 481584 w 3316701"/>
                  <a:gd name="connsiteY62" fmla="*/ 206312 h 365760"/>
                  <a:gd name="connsiteX63" fmla="*/ 597313 w 3316701"/>
                  <a:gd name="connsiteY63" fmla="*/ 206312 h 365760"/>
                  <a:gd name="connsiteX64" fmla="*/ 597313 w 3316701"/>
                  <a:gd name="connsiteY64" fmla="*/ 212313 h 365760"/>
                  <a:gd name="connsiteX65" fmla="*/ 635127 w 3316701"/>
                  <a:gd name="connsiteY65" fmla="*/ 212313 h 365760"/>
                  <a:gd name="connsiteX66" fmla="*/ 635127 w 3316701"/>
                  <a:gd name="connsiteY66" fmla="*/ 218504 h 365760"/>
                  <a:gd name="connsiteX67" fmla="*/ 687705 w 3316701"/>
                  <a:gd name="connsiteY67" fmla="*/ 218504 h 365760"/>
                  <a:gd name="connsiteX68" fmla="*/ 687705 w 3316701"/>
                  <a:gd name="connsiteY68" fmla="*/ 224600 h 365760"/>
                  <a:gd name="connsiteX69" fmla="*/ 706660 w 3316701"/>
                  <a:gd name="connsiteY69" fmla="*/ 224600 h 365760"/>
                  <a:gd name="connsiteX70" fmla="*/ 706660 w 3316701"/>
                  <a:gd name="connsiteY70" fmla="*/ 230696 h 365760"/>
                  <a:gd name="connsiteX71" fmla="*/ 717138 w 3316701"/>
                  <a:gd name="connsiteY71" fmla="*/ 230696 h 365760"/>
                  <a:gd name="connsiteX72" fmla="*/ 717138 w 3316701"/>
                  <a:gd name="connsiteY72" fmla="*/ 236887 h 365760"/>
                  <a:gd name="connsiteX73" fmla="*/ 750856 w 3316701"/>
                  <a:gd name="connsiteY73" fmla="*/ 236887 h 365760"/>
                  <a:gd name="connsiteX74" fmla="*/ 750856 w 3316701"/>
                  <a:gd name="connsiteY74" fmla="*/ 242983 h 365760"/>
                  <a:gd name="connsiteX75" fmla="*/ 757143 w 3316701"/>
                  <a:gd name="connsiteY75" fmla="*/ 242983 h 365760"/>
                  <a:gd name="connsiteX76" fmla="*/ 757143 w 3316701"/>
                  <a:gd name="connsiteY76" fmla="*/ 249079 h 365760"/>
                  <a:gd name="connsiteX77" fmla="*/ 771811 w 3316701"/>
                  <a:gd name="connsiteY77" fmla="*/ 249079 h 365760"/>
                  <a:gd name="connsiteX78" fmla="*/ 771811 w 3316701"/>
                  <a:gd name="connsiteY78" fmla="*/ 255175 h 365760"/>
                  <a:gd name="connsiteX79" fmla="*/ 784479 w 3316701"/>
                  <a:gd name="connsiteY79" fmla="*/ 255175 h 365760"/>
                  <a:gd name="connsiteX80" fmla="*/ 784479 w 3316701"/>
                  <a:gd name="connsiteY80" fmla="*/ 261366 h 365760"/>
                  <a:gd name="connsiteX81" fmla="*/ 809721 w 3316701"/>
                  <a:gd name="connsiteY81" fmla="*/ 261366 h 365760"/>
                  <a:gd name="connsiteX82" fmla="*/ 809721 w 3316701"/>
                  <a:gd name="connsiteY82" fmla="*/ 267462 h 365760"/>
                  <a:gd name="connsiteX83" fmla="*/ 1038987 w 3316701"/>
                  <a:gd name="connsiteY83" fmla="*/ 267462 h 365760"/>
                  <a:gd name="connsiteX84" fmla="*/ 1038987 w 3316701"/>
                  <a:gd name="connsiteY84" fmla="*/ 273654 h 365760"/>
                  <a:gd name="connsiteX85" fmla="*/ 1152525 w 3316701"/>
                  <a:gd name="connsiteY85" fmla="*/ 273654 h 365760"/>
                  <a:gd name="connsiteX86" fmla="*/ 1152525 w 3316701"/>
                  <a:gd name="connsiteY86" fmla="*/ 279845 h 365760"/>
                  <a:gd name="connsiteX87" fmla="*/ 1421702 w 3316701"/>
                  <a:gd name="connsiteY87" fmla="*/ 279845 h 365760"/>
                  <a:gd name="connsiteX88" fmla="*/ 1421702 w 3316701"/>
                  <a:gd name="connsiteY88" fmla="*/ 286131 h 365760"/>
                  <a:gd name="connsiteX89" fmla="*/ 1495330 w 3316701"/>
                  <a:gd name="connsiteY89" fmla="*/ 286131 h 365760"/>
                  <a:gd name="connsiteX90" fmla="*/ 1495330 w 3316701"/>
                  <a:gd name="connsiteY90" fmla="*/ 292418 h 365760"/>
                  <a:gd name="connsiteX91" fmla="*/ 1575245 w 3316701"/>
                  <a:gd name="connsiteY91" fmla="*/ 292418 h 365760"/>
                  <a:gd name="connsiteX92" fmla="*/ 1575245 w 3316701"/>
                  <a:gd name="connsiteY92" fmla="*/ 298704 h 365760"/>
                  <a:gd name="connsiteX93" fmla="*/ 1737170 w 3316701"/>
                  <a:gd name="connsiteY93" fmla="*/ 298704 h 365760"/>
                  <a:gd name="connsiteX94" fmla="*/ 1737170 w 3316701"/>
                  <a:gd name="connsiteY94" fmla="*/ 305181 h 365760"/>
                  <a:gd name="connsiteX95" fmla="*/ 1754029 w 3316701"/>
                  <a:gd name="connsiteY95" fmla="*/ 305181 h 365760"/>
                  <a:gd name="connsiteX96" fmla="*/ 1754029 w 3316701"/>
                  <a:gd name="connsiteY96" fmla="*/ 311563 h 365760"/>
                  <a:gd name="connsiteX97" fmla="*/ 1871853 w 3316701"/>
                  <a:gd name="connsiteY97" fmla="*/ 311563 h 365760"/>
                  <a:gd name="connsiteX98" fmla="*/ 1871853 w 3316701"/>
                  <a:gd name="connsiteY98" fmla="*/ 318040 h 365760"/>
                  <a:gd name="connsiteX99" fmla="*/ 1964341 w 3316701"/>
                  <a:gd name="connsiteY99" fmla="*/ 318040 h 365760"/>
                  <a:gd name="connsiteX100" fmla="*/ 1964341 w 3316701"/>
                  <a:gd name="connsiteY100" fmla="*/ 324422 h 365760"/>
                  <a:gd name="connsiteX101" fmla="*/ 1983296 w 3316701"/>
                  <a:gd name="connsiteY101" fmla="*/ 324422 h 365760"/>
                  <a:gd name="connsiteX102" fmla="*/ 1983296 w 3316701"/>
                  <a:gd name="connsiteY102" fmla="*/ 330899 h 365760"/>
                  <a:gd name="connsiteX103" fmla="*/ 2837117 w 3316701"/>
                  <a:gd name="connsiteY103" fmla="*/ 330899 h 365760"/>
                  <a:gd name="connsiteX104" fmla="*/ 2837117 w 3316701"/>
                  <a:gd name="connsiteY104" fmla="*/ 365760 h 365760"/>
                  <a:gd name="connsiteX105" fmla="*/ 3316701 w 3316701"/>
                  <a:gd name="connsiteY105" fmla="*/ 365760 h 365760"/>
                  <a:gd name="connsiteX0" fmla="*/ 0 w 3316701"/>
                  <a:gd name="connsiteY0" fmla="*/ 0 h 365760"/>
                  <a:gd name="connsiteX1" fmla="*/ 4191 w 3316701"/>
                  <a:gd name="connsiteY1" fmla="*/ 6096 h 365760"/>
                  <a:gd name="connsiteX2" fmla="*/ 27337 w 3316701"/>
                  <a:gd name="connsiteY2" fmla="*/ 6096 h 365760"/>
                  <a:gd name="connsiteX3" fmla="*/ 27337 w 3316701"/>
                  <a:gd name="connsiteY3" fmla="*/ 12192 h 365760"/>
                  <a:gd name="connsiteX4" fmla="*/ 31528 w 3316701"/>
                  <a:gd name="connsiteY4" fmla="*/ 12192 h 365760"/>
                  <a:gd name="connsiteX5" fmla="*/ 31528 w 3316701"/>
                  <a:gd name="connsiteY5" fmla="*/ 18193 h 365760"/>
                  <a:gd name="connsiteX6" fmla="*/ 37815 w 3316701"/>
                  <a:gd name="connsiteY6" fmla="*/ 18193 h 365760"/>
                  <a:gd name="connsiteX7" fmla="*/ 37815 w 3316701"/>
                  <a:gd name="connsiteY7" fmla="*/ 30385 h 365760"/>
                  <a:gd name="connsiteX8" fmla="*/ 56769 w 3316701"/>
                  <a:gd name="connsiteY8" fmla="*/ 30385 h 365760"/>
                  <a:gd name="connsiteX9" fmla="*/ 56769 w 3316701"/>
                  <a:gd name="connsiteY9" fmla="*/ 36386 h 365760"/>
                  <a:gd name="connsiteX10" fmla="*/ 65151 w 3316701"/>
                  <a:gd name="connsiteY10" fmla="*/ 36386 h 365760"/>
                  <a:gd name="connsiteX11" fmla="*/ 65151 w 3316701"/>
                  <a:gd name="connsiteY11" fmla="*/ 42482 h 365760"/>
                  <a:gd name="connsiteX12" fmla="*/ 77820 w 3316701"/>
                  <a:gd name="connsiteY12" fmla="*/ 42482 h 365760"/>
                  <a:gd name="connsiteX13" fmla="*/ 77820 w 3316701"/>
                  <a:gd name="connsiteY13" fmla="*/ 48578 h 365760"/>
                  <a:gd name="connsiteX14" fmla="*/ 94679 w 3316701"/>
                  <a:gd name="connsiteY14" fmla="*/ 48578 h 365760"/>
                  <a:gd name="connsiteX15" fmla="*/ 94679 w 3316701"/>
                  <a:gd name="connsiteY15" fmla="*/ 54579 h 365760"/>
                  <a:gd name="connsiteX16" fmla="*/ 122016 w 3316701"/>
                  <a:gd name="connsiteY16" fmla="*/ 54579 h 365760"/>
                  <a:gd name="connsiteX17" fmla="*/ 122016 w 3316701"/>
                  <a:gd name="connsiteY17" fmla="*/ 60675 h 365760"/>
                  <a:gd name="connsiteX18" fmla="*/ 124111 w 3316701"/>
                  <a:gd name="connsiteY18" fmla="*/ 60675 h 365760"/>
                  <a:gd name="connsiteX19" fmla="*/ 124111 w 3316701"/>
                  <a:gd name="connsiteY19" fmla="*/ 66771 h 365760"/>
                  <a:gd name="connsiteX20" fmla="*/ 134588 w 3316701"/>
                  <a:gd name="connsiteY20" fmla="*/ 66771 h 365760"/>
                  <a:gd name="connsiteX21" fmla="*/ 134588 w 3316701"/>
                  <a:gd name="connsiteY21" fmla="*/ 72771 h 365760"/>
                  <a:gd name="connsiteX22" fmla="*/ 140875 w 3316701"/>
                  <a:gd name="connsiteY22" fmla="*/ 72771 h 365760"/>
                  <a:gd name="connsiteX23" fmla="*/ 140875 w 3316701"/>
                  <a:gd name="connsiteY23" fmla="*/ 84963 h 365760"/>
                  <a:gd name="connsiteX24" fmla="*/ 149352 w 3316701"/>
                  <a:gd name="connsiteY24" fmla="*/ 84963 h 365760"/>
                  <a:gd name="connsiteX25" fmla="*/ 149352 w 3316701"/>
                  <a:gd name="connsiteY25" fmla="*/ 90964 h 365760"/>
                  <a:gd name="connsiteX26" fmla="*/ 155639 w 3316701"/>
                  <a:gd name="connsiteY26" fmla="*/ 90964 h 365760"/>
                  <a:gd name="connsiteX27" fmla="*/ 155639 w 3316701"/>
                  <a:gd name="connsiteY27" fmla="*/ 103156 h 365760"/>
                  <a:gd name="connsiteX28" fmla="*/ 157734 w 3316701"/>
                  <a:gd name="connsiteY28" fmla="*/ 103156 h 365760"/>
                  <a:gd name="connsiteX29" fmla="*/ 157734 w 3316701"/>
                  <a:gd name="connsiteY29" fmla="*/ 109252 h 365760"/>
                  <a:gd name="connsiteX30" fmla="*/ 170307 w 3316701"/>
                  <a:gd name="connsiteY30" fmla="*/ 109252 h 365760"/>
                  <a:gd name="connsiteX31" fmla="*/ 170307 w 3316701"/>
                  <a:gd name="connsiteY31" fmla="*/ 115253 h 365760"/>
                  <a:gd name="connsiteX32" fmla="*/ 193453 w 3316701"/>
                  <a:gd name="connsiteY32" fmla="*/ 115253 h 365760"/>
                  <a:gd name="connsiteX33" fmla="*/ 193453 w 3316701"/>
                  <a:gd name="connsiteY33" fmla="*/ 121349 h 365760"/>
                  <a:gd name="connsiteX34" fmla="*/ 199835 w 3316701"/>
                  <a:gd name="connsiteY34" fmla="*/ 121349 h 365760"/>
                  <a:gd name="connsiteX35" fmla="*/ 199835 w 3316701"/>
                  <a:gd name="connsiteY35" fmla="*/ 127445 h 365760"/>
                  <a:gd name="connsiteX36" fmla="*/ 208217 w 3316701"/>
                  <a:gd name="connsiteY36" fmla="*/ 127445 h 365760"/>
                  <a:gd name="connsiteX37" fmla="*/ 208217 w 3316701"/>
                  <a:gd name="connsiteY37" fmla="*/ 133446 h 365760"/>
                  <a:gd name="connsiteX38" fmla="*/ 216599 w 3316701"/>
                  <a:gd name="connsiteY38" fmla="*/ 133446 h 365760"/>
                  <a:gd name="connsiteX39" fmla="*/ 216599 w 3316701"/>
                  <a:gd name="connsiteY39" fmla="*/ 139542 h 365760"/>
                  <a:gd name="connsiteX40" fmla="*/ 220790 w 3316701"/>
                  <a:gd name="connsiteY40" fmla="*/ 139542 h 365760"/>
                  <a:gd name="connsiteX41" fmla="*/ 220790 w 3316701"/>
                  <a:gd name="connsiteY41" fmla="*/ 145638 h 365760"/>
                  <a:gd name="connsiteX42" fmla="*/ 294418 w 3316701"/>
                  <a:gd name="connsiteY42" fmla="*/ 145638 h 365760"/>
                  <a:gd name="connsiteX43" fmla="*/ 294418 w 3316701"/>
                  <a:gd name="connsiteY43" fmla="*/ 151638 h 365760"/>
                  <a:gd name="connsiteX44" fmla="*/ 315468 w 3316701"/>
                  <a:gd name="connsiteY44" fmla="*/ 151638 h 365760"/>
                  <a:gd name="connsiteX45" fmla="*/ 315468 w 3316701"/>
                  <a:gd name="connsiteY45" fmla="*/ 157734 h 365760"/>
                  <a:gd name="connsiteX46" fmla="*/ 321755 w 3316701"/>
                  <a:gd name="connsiteY46" fmla="*/ 157734 h 365760"/>
                  <a:gd name="connsiteX47" fmla="*/ 321755 w 3316701"/>
                  <a:gd name="connsiteY47" fmla="*/ 163830 h 365760"/>
                  <a:gd name="connsiteX48" fmla="*/ 363855 w 3316701"/>
                  <a:gd name="connsiteY48" fmla="*/ 163830 h 365760"/>
                  <a:gd name="connsiteX49" fmla="*/ 363855 w 3316701"/>
                  <a:gd name="connsiteY49" fmla="*/ 169831 h 365760"/>
                  <a:gd name="connsiteX50" fmla="*/ 378524 w 3316701"/>
                  <a:gd name="connsiteY50" fmla="*/ 169831 h 365760"/>
                  <a:gd name="connsiteX51" fmla="*/ 378524 w 3316701"/>
                  <a:gd name="connsiteY51" fmla="*/ 175927 h 365760"/>
                  <a:gd name="connsiteX52" fmla="*/ 408051 w 3316701"/>
                  <a:gd name="connsiteY52" fmla="*/ 175927 h 365760"/>
                  <a:gd name="connsiteX53" fmla="*/ 408051 w 3316701"/>
                  <a:gd name="connsiteY53" fmla="*/ 182023 h 365760"/>
                  <a:gd name="connsiteX54" fmla="*/ 410147 w 3316701"/>
                  <a:gd name="connsiteY54" fmla="*/ 182023 h 365760"/>
                  <a:gd name="connsiteX55" fmla="*/ 410147 w 3316701"/>
                  <a:gd name="connsiteY55" fmla="*/ 188024 h 365760"/>
                  <a:gd name="connsiteX56" fmla="*/ 433197 w 3316701"/>
                  <a:gd name="connsiteY56" fmla="*/ 188024 h 365760"/>
                  <a:gd name="connsiteX57" fmla="*/ 433197 w 3316701"/>
                  <a:gd name="connsiteY57" fmla="*/ 194120 h 365760"/>
                  <a:gd name="connsiteX58" fmla="*/ 445866 w 3316701"/>
                  <a:gd name="connsiteY58" fmla="*/ 194120 h 365760"/>
                  <a:gd name="connsiteX59" fmla="*/ 445866 w 3316701"/>
                  <a:gd name="connsiteY59" fmla="*/ 200216 h 365760"/>
                  <a:gd name="connsiteX60" fmla="*/ 481584 w 3316701"/>
                  <a:gd name="connsiteY60" fmla="*/ 200216 h 365760"/>
                  <a:gd name="connsiteX61" fmla="*/ 481584 w 3316701"/>
                  <a:gd name="connsiteY61" fmla="*/ 206312 h 365760"/>
                  <a:gd name="connsiteX62" fmla="*/ 597313 w 3316701"/>
                  <a:gd name="connsiteY62" fmla="*/ 206312 h 365760"/>
                  <a:gd name="connsiteX63" fmla="*/ 597313 w 3316701"/>
                  <a:gd name="connsiteY63" fmla="*/ 212313 h 365760"/>
                  <a:gd name="connsiteX64" fmla="*/ 635127 w 3316701"/>
                  <a:gd name="connsiteY64" fmla="*/ 212313 h 365760"/>
                  <a:gd name="connsiteX65" fmla="*/ 635127 w 3316701"/>
                  <a:gd name="connsiteY65" fmla="*/ 218504 h 365760"/>
                  <a:gd name="connsiteX66" fmla="*/ 687705 w 3316701"/>
                  <a:gd name="connsiteY66" fmla="*/ 218504 h 365760"/>
                  <a:gd name="connsiteX67" fmla="*/ 687705 w 3316701"/>
                  <a:gd name="connsiteY67" fmla="*/ 224600 h 365760"/>
                  <a:gd name="connsiteX68" fmla="*/ 706660 w 3316701"/>
                  <a:gd name="connsiteY68" fmla="*/ 224600 h 365760"/>
                  <a:gd name="connsiteX69" fmla="*/ 706660 w 3316701"/>
                  <a:gd name="connsiteY69" fmla="*/ 230696 h 365760"/>
                  <a:gd name="connsiteX70" fmla="*/ 717138 w 3316701"/>
                  <a:gd name="connsiteY70" fmla="*/ 230696 h 365760"/>
                  <a:gd name="connsiteX71" fmla="*/ 717138 w 3316701"/>
                  <a:gd name="connsiteY71" fmla="*/ 236887 h 365760"/>
                  <a:gd name="connsiteX72" fmla="*/ 750856 w 3316701"/>
                  <a:gd name="connsiteY72" fmla="*/ 236887 h 365760"/>
                  <a:gd name="connsiteX73" fmla="*/ 750856 w 3316701"/>
                  <a:gd name="connsiteY73" fmla="*/ 242983 h 365760"/>
                  <a:gd name="connsiteX74" fmla="*/ 757143 w 3316701"/>
                  <a:gd name="connsiteY74" fmla="*/ 242983 h 365760"/>
                  <a:gd name="connsiteX75" fmla="*/ 757143 w 3316701"/>
                  <a:gd name="connsiteY75" fmla="*/ 249079 h 365760"/>
                  <a:gd name="connsiteX76" fmla="*/ 771811 w 3316701"/>
                  <a:gd name="connsiteY76" fmla="*/ 249079 h 365760"/>
                  <a:gd name="connsiteX77" fmla="*/ 771811 w 3316701"/>
                  <a:gd name="connsiteY77" fmla="*/ 255175 h 365760"/>
                  <a:gd name="connsiteX78" fmla="*/ 784479 w 3316701"/>
                  <a:gd name="connsiteY78" fmla="*/ 255175 h 365760"/>
                  <a:gd name="connsiteX79" fmla="*/ 784479 w 3316701"/>
                  <a:gd name="connsiteY79" fmla="*/ 261366 h 365760"/>
                  <a:gd name="connsiteX80" fmla="*/ 809721 w 3316701"/>
                  <a:gd name="connsiteY80" fmla="*/ 261366 h 365760"/>
                  <a:gd name="connsiteX81" fmla="*/ 809721 w 3316701"/>
                  <a:gd name="connsiteY81" fmla="*/ 267462 h 365760"/>
                  <a:gd name="connsiteX82" fmla="*/ 1038987 w 3316701"/>
                  <a:gd name="connsiteY82" fmla="*/ 267462 h 365760"/>
                  <a:gd name="connsiteX83" fmla="*/ 1038987 w 3316701"/>
                  <a:gd name="connsiteY83" fmla="*/ 273654 h 365760"/>
                  <a:gd name="connsiteX84" fmla="*/ 1152525 w 3316701"/>
                  <a:gd name="connsiteY84" fmla="*/ 273654 h 365760"/>
                  <a:gd name="connsiteX85" fmla="*/ 1152525 w 3316701"/>
                  <a:gd name="connsiteY85" fmla="*/ 279845 h 365760"/>
                  <a:gd name="connsiteX86" fmla="*/ 1421702 w 3316701"/>
                  <a:gd name="connsiteY86" fmla="*/ 279845 h 365760"/>
                  <a:gd name="connsiteX87" fmla="*/ 1421702 w 3316701"/>
                  <a:gd name="connsiteY87" fmla="*/ 286131 h 365760"/>
                  <a:gd name="connsiteX88" fmla="*/ 1495330 w 3316701"/>
                  <a:gd name="connsiteY88" fmla="*/ 286131 h 365760"/>
                  <a:gd name="connsiteX89" fmla="*/ 1495330 w 3316701"/>
                  <a:gd name="connsiteY89" fmla="*/ 292418 h 365760"/>
                  <a:gd name="connsiteX90" fmla="*/ 1575245 w 3316701"/>
                  <a:gd name="connsiteY90" fmla="*/ 292418 h 365760"/>
                  <a:gd name="connsiteX91" fmla="*/ 1575245 w 3316701"/>
                  <a:gd name="connsiteY91" fmla="*/ 298704 h 365760"/>
                  <a:gd name="connsiteX92" fmla="*/ 1737170 w 3316701"/>
                  <a:gd name="connsiteY92" fmla="*/ 298704 h 365760"/>
                  <a:gd name="connsiteX93" fmla="*/ 1737170 w 3316701"/>
                  <a:gd name="connsiteY93" fmla="*/ 305181 h 365760"/>
                  <a:gd name="connsiteX94" fmla="*/ 1754029 w 3316701"/>
                  <a:gd name="connsiteY94" fmla="*/ 305181 h 365760"/>
                  <a:gd name="connsiteX95" fmla="*/ 1754029 w 3316701"/>
                  <a:gd name="connsiteY95" fmla="*/ 311563 h 365760"/>
                  <a:gd name="connsiteX96" fmla="*/ 1871853 w 3316701"/>
                  <a:gd name="connsiteY96" fmla="*/ 311563 h 365760"/>
                  <a:gd name="connsiteX97" fmla="*/ 1871853 w 3316701"/>
                  <a:gd name="connsiteY97" fmla="*/ 318040 h 365760"/>
                  <a:gd name="connsiteX98" fmla="*/ 1964341 w 3316701"/>
                  <a:gd name="connsiteY98" fmla="*/ 318040 h 365760"/>
                  <a:gd name="connsiteX99" fmla="*/ 1964341 w 3316701"/>
                  <a:gd name="connsiteY99" fmla="*/ 324422 h 365760"/>
                  <a:gd name="connsiteX100" fmla="*/ 1983296 w 3316701"/>
                  <a:gd name="connsiteY100" fmla="*/ 324422 h 365760"/>
                  <a:gd name="connsiteX101" fmla="*/ 1983296 w 3316701"/>
                  <a:gd name="connsiteY101" fmla="*/ 330899 h 365760"/>
                  <a:gd name="connsiteX102" fmla="*/ 2837117 w 3316701"/>
                  <a:gd name="connsiteY102" fmla="*/ 330899 h 365760"/>
                  <a:gd name="connsiteX103" fmla="*/ 2837117 w 3316701"/>
                  <a:gd name="connsiteY103" fmla="*/ 365760 h 365760"/>
                  <a:gd name="connsiteX104" fmla="*/ 3316701 w 3316701"/>
                  <a:gd name="connsiteY104" fmla="*/ 365760 h 365760"/>
                  <a:gd name="connsiteX0" fmla="*/ 0 w 3316701"/>
                  <a:gd name="connsiteY0" fmla="*/ 0 h 365760"/>
                  <a:gd name="connsiteX1" fmla="*/ 27337 w 3316701"/>
                  <a:gd name="connsiteY1" fmla="*/ 6096 h 365760"/>
                  <a:gd name="connsiteX2" fmla="*/ 27337 w 3316701"/>
                  <a:gd name="connsiteY2" fmla="*/ 12192 h 365760"/>
                  <a:gd name="connsiteX3" fmla="*/ 31528 w 3316701"/>
                  <a:gd name="connsiteY3" fmla="*/ 12192 h 365760"/>
                  <a:gd name="connsiteX4" fmla="*/ 31528 w 3316701"/>
                  <a:gd name="connsiteY4" fmla="*/ 18193 h 365760"/>
                  <a:gd name="connsiteX5" fmla="*/ 37815 w 3316701"/>
                  <a:gd name="connsiteY5" fmla="*/ 18193 h 365760"/>
                  <a:gd name="connsiteX6" fmla="*/ 37815 w 3316701"/>
                  <a:gd name="connsiteY6" fmla="*/ 30385 h 365760"/>
                  <a:gd name="connsiteX7" fmla="*/ 56769 w 3316701"/>
                  <a:gd name="connsiteY7" fmla="*/ 30385 h 365760"/>
                  <a:gd name="connsiteX8" fmla="*/ 56769 w 3316701"/>
                  <a:gd name="connsiteY8" fmla="*/ 36386 h 365760"/>
                  <a:gd name="connsiteX9" fmla="*/ 65151 w 3316701"/>
                  <a:gd name="connsiteY9" fmla="*/ 36386 h 365760"/>
                  <a:gd name="connsiteX10" fmla="*/ 65151 w 3316701"/>
                  <a:gd name="connsiteY10" fmla="*/ 42482 h 365760"/>
                  <a:gd name="connsiteX11" fmla="*/ 77820 w 3316701"/>
                  <a:gd name="connsiteY11" fmla="*/ 42482 h 365760"/>
                  <a:gd name="connsiteX12" fmla="*/ 77820 w 3316701"/>
                  <a:gd name="connsiteY12" fmla="*/ 48578 h 365760"/>
                  <a:gd name="connsiteX13" fmla="*/ 94679 w 3316701"/>
                  <a:gd name="connsiteY13" fmla="*/ 48578 h 365760"/>
                  <a:gd name="connsiteX14" fmla="*/ 94679 w 3316701"/>
                  <a:gd name="connsiteY14" fmla="*/ 54579 h 365760"/>
                  <a:gd name="connsiteX15" fmla="*/ 122016 w 3316701"/>
                  <a:gd name="connsiteY15" fmla="*/ 54579 h 365760"/>
                  <a:gd name="connsiteX16" fmla="*/ 122016 w 3316701"/>
                  <a:gd name="connsiteY16" fmla="*/ 60675 h 365760"/>
                  <a:gd name="connsiteX17" fmla="*/ 124111 w 3316701"/>
                  <a:gd name="connsiteY17" fmla="*/ 60675 h 365760"/>
                  <a:gd name="connsiteX18" fmla="*/ 124111 w 3316701"/>
                  <a:gd name="connsiteY18" fmla="*/ 66771 h 365760"/>
                  <a:gd name="connsiteX19" fmla="*/ 134588 w 3316701"/>
                  <a:gd name="connsiteY19" fmla="*/ 66771 h 365760"/>
                  <a:gd name="connsiteX20" fmla="*/ 134588 w 3316701"/>
                  <a:gd name="connsiteY20" fmla="*/ 72771 h 365760"/>
                  <a:gd name="connsiteX21" fmla="*/ 140875 w 3316701"/>
                  <a:gd name="connsiteY21" fmla="*/ 72771 h 365760"/>
                  <a:gd name="connsiteX22" fmla="*/ 140875 w 3316701"/>
                  <a:gd name="connsiteY22" fmla="*/ 84963 h 365760"/>
                  <a:gd name="connsiteX23" fmla="*/ 149352 w 3316701"/>
                  <a:gd name="connsiteY23" fmla="*/ 84963 h 365760"/>
                  <a:gd name="connsiteX24" fmla="*/ 149352 w 3316701"/>
                  <a:gd name="connsiteY24" fmla="*/ 90964 h 365760"/>
                  <a:gd name="connsiteX25" fmla="*/ 155639 w 3316701"/>
                  <a:gd name="connsiteY25" fmla="*/ 90964 h 365760"/>
                  <a:gd name="connsiteX26" fmla="*/ 155639 w 3316701"/>
                  <a:gd name="connsiteY26" fmla="*/ 103156 h 365760"/>
                  <a:gd name="connsiteX27" fmla="*/ 157734 w 3316701"/>
                  <a:gd name="connsiteY27" fmla="*/ 103156 h 365760"/>
                  <a:gd name="connsiteX28" fmla="*/ 157734 w 3316701"/>
                  <a:gd name="connsiteY28" fmla="*/ 109252 h 365760"/>
                  <a:gd name="connsiteX29" fmla="*/ 170307 w 3316701"/>
                  <a:gd name="connsiteY29" fmla="*/ 109252 h 365760"/>
                  <a:gd name="connsiteX30" fmla="*/ 170307 w 3316701"/>
                  <a:gd name="connsiteY30" fmla="*/ 115253 h 365760"/>
                  <a:gd name="connsiteX31" fmla="*/ 193453 w 3316701"/>
                  <a:gd name="connsiteY31" fmla="*/ 115253 h 365760"/>
                  <a:gd name="connsiteX32" fmla="*/ 193453 w 3316701"/>
                  <a:gd name="connsiteY32" fmla="*/ 121349 h 365760"/>
                  <a:gd name="connsiteX33" fmla="*/ 199835 w 3316701"/>
                  <a:gd name="connsiteY33" fmla="*/ 121349 h 365760"/>
                  <a:gd name="connsiteX34" fmla="*/ 199835 w 3316701"/>
                  <a:gd name="connsiteY34" fmla="*/ 127445 h 365760"/>
                  <a:gd name="connsiteX35" fmla="*/ 208217 w 3316701"/>
                  <a:gd name="connsiteY35" fmla="*/ 127445 h 365760"/>
                  <a:gd name="connsiteX36" fmla="*/ 208217 w 3316701"/>
                  <a:gd name="connsiteY36" fmla="*/ 133446 h 365760"/>
                  <a:gd name="connsiteX37" fmla="*/ 216599 w 3316701"/>
                  <a:gd name="connsiteY37" fmla="*/ 133446 h 365760"/>
                  <a:gd name="connsiteX38" fmla="*/ 216599 w 3316701"/>
                  <a:gd name="connsiteY38" fmla="*/ 139542 h 365760"/>
                  <a:gd name="connsiteX39" fmla="*/ 220790 w 3316701"/>
                  <a:gd name="connsiteY39" fmla="*/ 139542 h 365760"/>
                  <a:gd name="connsiteX40" fmla="*/ 220790 w 3316701"/>
                  <a:gd name="connsiteY40" fmla="*/ 145638 h 365760"/>
                  <a:gd name="connsiteX41" fmla="*/ 294418 w 3316701"/>
                  <a:gd name="connsiteY41" fmla="*/ 145638 h 365760"/>
                  <a:gd name="connsiteX42" fmla="*/ 294418 w 3316701"/>
                  <a:gd name="connsiteY42" fmla="*/ 151638 h 365760"/>
                  <a:gd name="connsiteX43" fmla="*/ 315468 w 3316701"/>
                  <a:gd name="connsiteY43" fmla="*/ 151638 h 365760"/>
                  <a:gd name="connsiteX44" fmla="*/ 315468 w 3316701"/>
                  <a:gd name="connsiteY44" fmla="*/ 157734 h 365760"/>
                  <a:gd name="connsiteX45" fmla="*/ 321755 w 3316701"/>
                  <a:gd name="connsiteY45" fmla="*/ 157734 h 365760"/>
                  <a:gd name="connsiteX46" fmla="*/ 321755 w 3316701"/>
                  <a:gd name="connsiteY46" fmla="*/ 163830 h 365760"/>
                  <a:gd name="connsiteX47" fmla="*/ 363855 w 3316701"/>
                  <a:gd name="connsiteY47" fmla="*/ 163830 h 365760"/>
                  <a:gd name="connsiteX48" fmla="*/ 363855 w 3316701"/>
                  <a:gd name="connsiteY48" fmla="*/ 169831 h 365760"/>
                  <a:gd name="connsiteX49" fmla="*/ 378524 w 3316701"/>
                  <a:gd name="connsiteY49" fmla="*/ 169831 h 365760"/>
                  <a:gd name="connsiteX50" fmla="*/ 378524 w 3316701"/>
                  <a:gd name="connsiteY50" fmla="*/ 175927 h 365760"/>
                  <a:gd name="connsiteX51" fmla="*/ 408051 w 3316701"/>
                  <a:gd name="connsiteY51" fmla="*/ 175927 h 365760"/>
                  <a:gd name="connsiteX52" fmla="*/ 408051 w 3316701"/>
                  <a:gd name="connsiteY52" fmla="*/ 182023 h 365760"/>
                  <a:gd name="connsiteX53" fmla="*/ 410147 w 3316701"/>
                  <a:gd name="connsiteY53" fmla="*/ 182023 h 365760"/>
                  <a:gd name="connsiteX54" fmla="*/ 410147 w 3316701"/>
                  <a:gd name="connsiteY54" fmla="*/ 188024 h 365760"/>
                  <a:gd name="connsiteX55" fmla="*/ 433197 w 3316701"/>
                  <a:gd name="connsiteY55" fmla="*/ 188024 h 365760"/>
                  <a:gd name="connsiteX56" fmla="*/ 433197 w 3316701"/>
                  <a:gd name="connsiteY56" fmla="*/ 194120 h 365760"/>
                  <a:gd name="connsiteX57" fmla="*/ 445866 w 3316701"/>
                  <a:gd name="connsiteY57" fmla="*/ 194120 h 365760"/>
                  <a:gd name="connsiteX58" fmla="*/ 445866 w 3316701"/>
                  <a:gd name="connsiteY58" fmla="*/ 200216 h 365760"/>
                  <a:gd name="connsiteX59" fmla="*/ 481584 w 3316701"/>
                  <a:gd name="connsiteY59" fmla="*/ 200216 h 365760"/>
                  <a:gd name="connsiteX60" fmla="*/ 481584 w 3316701"/>
                  <a:gd name="connsiteY60" fmla="*/ 206312 h 365760"/>
                  <a:gd name="connsiteX61" fmla="*/ 597313 w 3316701"/>
                  <a:gd name="connsiteY61" fmla="*/ 206312 h 365760"/>
                  <a:gd name="connsiteX62" fmla="*/ 597313 w 3316701"/>
                  <a:gd name="connsiteY62" fmla="*/ 212313 h 365760"/>
                  <a:gd name="connsiteX63" fmla="*/ 635127 w 3316701"/>
                  <a:gd name="connsiteY63" fmla="*/ 212313 h 365760"/>
                  <a:gd name="connsiteX64" fmla="*/ 635127 w 3316701"/>
                  <a:gd name="connsiteY64" fmla="*/ 218504 h 365760"/>
                  <a:gd name="connsiteX65" fmla="*/ 687705 w 3316701"/>
                  <a:gd name="connsiteY65" fmla="*/ 218504 h 365760"/>
                  <a:gd name="connsiteX66" fmla="*/ 687705 w 3316701"/>
                  <a:gd name="connsiteY66" fmla="*/ 224600 h 365760"/>
                  <a:gd name="connsiteX67" fmla="*/ 706660 w 3316701"/>
                  <a:gd name="connsiteY67" fmla="*/ 224600 h 365760"/>
                  <a:gd name="connsiteX68" fmla="*/ 706660 w 3316701"/>
                  <a:gd name="connsiteY68" fmla="*/ 230696 h 365760"/>
                  <a:gd name="connsiteX69" fmla="*/ 717138 w 3316701"/>
                  <a:gd name="connsiteY69" fmla="*/ 230696 h 365760"/>
                  <a:gd name="connsiteX70" fmla="*/ 717138 w 3316701"/>
                  <a:gd name="connsiteY70" fmla="*/ 236887 h 365760"/>
                  <a:gd name="connsiteX71" fmla="*/ 750856 w 3316701"/>
                  <a:gd name="connsiteY71" fmla="*/ 236887 h 365760"/>
                  <a:gd name="connsiteX72" fmla="*/ 750856 w 3316701"/>
                  <a:gd name="connsiteY72" fmla="*/ 242983 h 365760"/>
                  <a:gd name="connsiteX73" fmla="*/ 757143 w 3316701"/>
                  <a:gd name="connsiteY73" fmla="*/ 242983 h 365760"/>
                  <a:gd name="connsiteX74" fmla="*/ 757143 w 3316701"/>
                  <a:gd name="connsiteY74" fmla="*/ 249079 h 365760"/>
                  <a:gd name="connsiteX75" fmla="*/ 771811 w 3316701"/>
                  <a:gd name="connsiteY75" fmla="*/ 249079 h 365760"/>
                  <a:gd name="connsiteX76" fmla="*/ 771811 w 3316701"/>
                  <a:gd name="connsiteY76" fmla="*/ 255175 h 365760"/>
                  <a:gd name="connsiteX77" fmla="*/ 784479 w 3316701"/>
                  <a:gd name="connsiteY77" fmla="*/ 255175 h 365760"/>
                  <a:gd name="connsiteX78" fmla="*/ 784479 w 3316701"/>
                  <a:gd name="connsiteY78" fmla="*/ 261366 h 365760"/>
                  <a:gd name="connsiteX79" fmla="*/ 809721 w 3316701"/>
                  <a:gd name="connsiteY79" fmla="*/ 261366 h 365760"/>
                  <a:gd name="connsiteX80" fmla="*/ 809721 w 3316701"/>
                  <a:gd name="connsiteY80" fmla="*/ 267462 h 365760"/>
                  <a:gd name="connsiteX81" fmla="*/ 1038987 w 3316701"/>
                  <a:gd name="connsiteY81" fmla="*/ 267462 h 365760"/>
                  <a:gd name="connsiteX82" fmla="*/ 1038987 w 3316701"/>
                  <a:gd name="connsiteY82" fmla="*/ 273654 h 365760"/>
                  <a:gd name="connsiteX83" fmla="*/ 1152525 w 3316701"/>
                  <a:gd name="connsiteY83" fmla="*/ 273654 h 365760"/>
                  <a:gd name="connsiteX84" fmla="*/ 1152525 w 3316701"/>
                  <a:gd name="connsiteY84" fmla="*/ 279845 h 365760"/>
                  <a:gd name="connsiteX85" fmla="*/ 1421702 w 3316701"/>
                  <a:gd name="connsiteY85" fmla="*/ 279845 h 365760"/>
                  <a:gd name="connsiteX86" fmla="*/ 1421702 w 3316701"/>
                  <a:gd name="connsiteY86" fmla="*/ 286131 h 365760"/>
                  <a:gd name="connsiteX87" fmla="*/ 1495330 w 3316701"/>
                  <a:gd name="connsiteY87" fmla="*/ 286131 h 365760"/>
                  <a:gd name="connsiteX88" fmla="*/ 1495330 w 3316701"/>
                  <a:gd name="connsiteY88" fmla="*/ 292418 h 365760"/>
                  <a:gd name="connsiteX89" fmla="*/ 1575245 w 3316701"/>
                  <a:gd name="connsiteY89" fmla="*/ 292418 h 365760"/>
                  <a:gd name="connsiteX90" fmla="*/ 1575245 w 3316701"/>
                  <a:gd name="connsiteY90" fmla="*/ 298704 h 365760"/>
                  <a:gd name="connsiteX91" fmla="*/ 1737170 w 3316701"/>
                  <a:gd name="connsiteY91" fmla="*/ 298704 h 365760"/>
                  <a:gd name="connsiteX92" fmla="*/ 1737170 w 3316701"/>
                  <a:gd name="connsiteY92" fmla="*/ 305181 h 365760"/>
                  <a:gd name="connsiteX93" fmla="*/ 1754029 w 3316701"/>
                  <a:gd name="connsiteY93" fmla="*/ 305181 h 365760"/>
                  <a:gd name="connsiteX94" fmla="*/ 1754029 w 3316701"/>
                  <a:gd name="connsiteY94" fmla="*/ 311563 h 365760"/>
                  <a:gd name="connsiteX95" fmla="*/ 1871853 w 3316701"/>
                  <a:gd name="connsiteY95" fmla="*/ 311563 h 365760"/>
                  <a:gd name="connsiteX96" fmla="*/ 1871853 w 3316701"/>
                  <a:gd name="connsiteY96" fmla="*/ 318040 h 365760"/>
                  <a:gd name="connsiteX97" fmla="*/ 1964341 w 3316701"/>
                  <a:gd name="connsiteY97" fmla="*/ 318040 h 365760"/>
                  <a:gd name="connsiteX98" fmla="*/ 1964341 w 3316701"/>
                  <a:gd name="connsiteY98" fmla="*/ 324422 h 365760"/>
                  <a:gd name="connsiteX99" fmla="*/ 1983296 w 3316701"/>
                  <a:gd name="connsiteY99" fmla="*/ 324422 h 365760"/>
                  <a:gd name="connsiteX100" fmla="*/ 1983296 w 3316701"/>
                  <a:gd name="connsiteY100" fmla="*/ 330899 h 365760"/>
                  <a:gd name="connsiteX101" fmla="*/ 2837117 w 3316701"/>
                  <a:gd name="connsiteY101" fmla="*/ 330899 h 365760"/>
                  <a:gd name="connsiteX102" fmla="*/ 2837117 w 3316701"/>
                  <a:gd name="connsiteY102" fmla="*/ 365760 h 365760"/>
                  <a:gd name="connsiteX103" fmla="*/ 3316701 w 3316701"/>
                  <a:gd name="connsiteY103" fmla="*/ 365760 h 365760"/>
                  <a:gd name="connsiteX0" fmla="*/ 0 w 3289364"/>
                  <a:gd name="connsiteY0" fmla="*/ 0 h 359664"/>
                  <a:gd name="connsiteX1" fmla="*/ 0 w 3289364"/>
                  <a:gd name="connsiteY1" fmla="*/ 6096 h 359664"/>
                  <a:gd name="connsiteX2" fmla="*/ 4191 w 3289364"/>
                  <a:gd name="connsiteY2" fmla="*/ 6096 h 359664"/>
                  <a:gd name="connsiteX3" fmla="*/ 4191 w 3289364"/>
                  <a:gd name="connsiteY3" fmla="*/ 12097 h 359664"/>
                  <a:gd name="connsiteX4" fmla="*/ 10478 w 3289364"/>
                  <a:gd name="connsiteY4" fmla="*/ 12097 h 359664"/>
                  <a:gd name="connsiteX5" fmla="*/ 10478 w 3289364"/>
                  <a:gd name="connsiteY5" fmla="*/ 24289 h 359664"/>
                  <a:gd name="connsiteX6" fmla="*/ 29432 w 3289364"/>
                  <a:gd name="connsiteY6" fmla="*/ 24289 h 359664"/>
                  <a:gd name="connsiteX7" fmla="*/ 29432 w 3289364"/>
                  <a:gd name="connsiteY7" fmla="*/ 30290 h 359664"/>
                  <a:gd name="connsiteX8" fmla="*/ 37814 w 3289364"/>
                  <a:gd name="connsiteY8" fmla="*/ 30290 h 359664"/>
                  <a:gd name="connsiteX9" fmla="*/ 37814 w 3289364"/>
                  <a:gd name="connsiteY9" fmla="*/ 36386 h 359664"/>
                  <a:gd name="connsiteX10" fmla="*/ 50483 w 3289364"/>
                  <a:gd name="connsiteY10" fmla="*/ 36386 h 359664"/>
                  <a:gd name="connsiteX11" fmla="*/ 50483 w 3289364"/>
                  <a:gd name="connsiteY11" fmla="*/ 42482 h 359664"/>
                  <a:gd name="connsiteX12" fmla="*/ 67342 w 3289364"/>
                  <a:gd name="connsiteY12" fmla="*/ 42482 h 359664"/>
                  <a:gd name="connsiteX13" fmla="*/ 67342 w 3289364"/>
                  <a:gd name="connsiteY13" fmla="*/ 48483 h 359664"/>
                  <a:gd name="connsiteX14" fmla="*/ 94679 w 3289364"/>
                  <a:gd name="connsiteY14" fmla="*/ 48483 h 359664"/>
                  <a:gd name="connsiteX15" fmla="*/ 94679 w 3289364"/>
                  <a:gd name="connsiteY15" fmla="*/ 54579 h 359664"/>
                  <a:gd name="connsiteX16" fmla="*/ 96774 w 3289364"/>
                  <a:gd name="connsiteY16" fmla="*/ 54579 h 359664"/>
                  <a:gd name="connsiteX17" fmla="*/ 96774 w 3289364"/>
                  <a:gd name="connsiteY17" fmla="*/ 60675 h 359664"/>
                  <a:gd name="connsiteX18" fmla="*/ 107251 w 3289364"/>
                  <a:gd name="connsiteY18" fmla="*/ 60675 h 359664"/>
                  <a:gd name="connsiteX19" fmla="*/ 107251 w 3289364"/>
                  <a:gd name="connsiteY19" fmla="*/ 66675 h 359664"/>
                  <a:gd name="connsiteX20" fmla="*/ 113538 w 3289364"/>
                  <a:gd name="connsiteY20" fmla="*/ 66675 h 359664"/>
                  <a:gd name="connsiteX21" fmla="*/ 113538 w 3289364"/>
                  <a:gd name="connsiteY21" fmla="*/ 78867 h 359664"/>
                  <a:gd name="connsiteX22" fmla="*/ 122015 w 3289364"/>
                  <a:gd name="connsiteY22" fmla="*/ 78867 h 359664"/>
                  <a:gd name="connsiteX23" fmla="*/ 122015 w 3289364"/>
                  <a:gd name="connsiteY23" fmla="*/ 84868 h 359664"/>
                  <a:gd name="connsiteX24" fmla="*/ 128302 w 3289364"/>
                  <a:gd name="connsiteY24" fmla="*/ 84868 h 359664"/>
                  <a:gd name="connsiteX25" fmla="*/ 128302 w 3289364"/>
                  <a:gd name="connsiteY25" fmla="*/ 97060 h 359664"/>
                  <a:gd name="connsiteX26" fmla="*/ 130397 w 3289364"/>
                  <a:gd name="connsiteY26" fmla="*/ 97060 h 359664"/>
                  <a:gd name="connsiteX27" fmla="*/ 130397 w 3289364"/>
                  <a:gd name="connsiteY27" fmla="*/ 103156 h 359664"/>
                  <a:gd name="connsiteX28" fmla="*/ 142970 w 3289364"/>
                  <a:gd name="connsiteY28" fmla="*/ 103156 h 359664"/>
                  <a:gd name="connsiteX29" fmla="*/ 142970 w 3289364"/>
                  <a:gd name="connsiteY29" fmla="*/ 109157 h 359664"/>
                  <a:gd name="connsiteX30" fmla="*/ 166116 w 3289364"/>
                  <a:gd name="connsiteY30" fmla="*/ 109157 h 359664"/>
                  <a:gd name="connsiteX31" fmla="*/ 166116 w 3289364"/>
                  <a:gd name="connsiteY31" fmla="*/ 115253 h 359664"/>
                  <a:gd name="connsiteX32" fmla="*/ 172498 w 3289364"/>
                  <a:gd name="connsiteY32" fmla="*/ 115253 h 359664"/>
                  <a:gd name="connsiteX33" fmla="*/ 172498 w 3289364"/>
                  <a:gd name="connsiteY33" fmla="*/ 121349 h 359664"/>
                  <a:gd name="connsiteX34" fmla="*/ 180880 w 3289364"/>
                  <a:gd name="connsiteY34" fmla="*/ 121349 h 359664"/>
                  <a:gd name="connsiteX35" fmla="*/ 180880 w 3289364"/>
                  <a:gd name="connsiteY35" fmla="*/ 127350 h 359664"/>
                  <a:gd name="connsiteX36" fmla="*/ 189262 w 3289364"/>
                  <a:gd name="connsiteY36" fmla="*/ 127350 h 359664"/>
                  <a:gd name="connsiteX37" fmla="*/ 189262 w 3289364"/>
                  <a:gd name="connsiteY37" fmla="*/ 133446 h 359664"/>
                  <a:gd name="connsiteX38" fmla="*/ 193453 w 3289364"/>
                  <a:gd name="connsiteY38" fmla="*/ 133446 h 359664"/>
                  <a:gd name="connsiteX39" fmla="*/ 193453 w 3289364"/>
                  <a:gd name="connsiteY39" fmla="*/ 139542 h 359664"/>
                  <a:gd name="connsiteX40" fmla="*/ 267081 w 3289364"/>
                  <a:gd name="connsiteY40" fmla="*/ 139542 h 359664"/>
                  <a:gd name="connsiteX41" fmla="*/ 267081 w 3289364"/>
                  <a:gd name="connsiteY41" fmla="*/ 145542 h 359664"/>
                  <a:gd name="connsiteX42" fmla="*/ 288131 w 3289364"/>
                  <a:gd name="connsiteY42" fmla="*/ 145542 h 359664"/>
                  <a:gd name="connsiteX43" fmla="*/ 288131 w 3289364"/>
                  <a:gd name="connsiteY43" fmla="*/ 151638 h 359664"/>
                  <a:gd name="connsiteX44" fmla="*/ 294418 w 3289364"/>
                  <a:gd name="connsiteY44" fmla="*/ 151638 h 359664"/>
                  <a:gd name="connsiteX45" fmla="*/ 294418 w 3289364"/>
                  <a:gd name="connsiteY45" fmla="*/ 157734 h 359664"/>
                  <a:gd name="connsiteX46" fmla="*/ 336518 w 3289364"/>
                  <a:gd name="connsiteY46" fmla="*/ 157734 h 359664"/>
                  <a:gd name="connsiteX47" fmla="*/ 336518 w 3289364"/>
                  <a:gd name="connsiteY47" fmla="*/ 163735 h 359664"/>
                  <a:gd name="connsiteX48" fmla="*/ 351187 w 3289364"/>
                  <a:gd name="connsiteY48" fmla="*/ 163735 h 359664"/>
                  <a:gd name="connsiteX49" fmla="*/ 351187 w 3289364"/>
                  <a:gd name="connsiteY49" fmla="*/ 169831 h 359664"/>
                  <a:gd name="connsiteX50" fmla="*/ 380714 w 3289364"/>
                  <a:gd name="connsiteY50" fmla="*/ 169831 h 359664"/>
                  <a:gd name="connsiteX51" fmla="*/ 380714 w 3289364"/>
                  <a:gd name="connsiteY51" fmla="*/ 175927 h 359664"/>
                  <a:gd name="connsiteX52" fmla="*/ 382810 w 3289364"/>
                  <a:gd name="connsiteY52" fmla="*/ 175927 h 359664"/>
                  <a:gd name="connsiteX53" fmla="*/ 382810 w 3289364"/>
                  <a:gd name="connsiteY53" fmla="*/ 181928 h 359664"/>
                  <a:gd name="connsiteX54" fmla="*/ 405860 w 3289364"/>
                  <a:gd name="connsiteY54" fmla="*/ 181928 h 359664"/>
                  <a:gd name="connsiteX55" fmla="*/ 405860 w 3289364"/>
                  <a:gd name="connsiteY55" fmla="*/ 188024 h 359664"/>
                  <a:gd name="connsiteX56" fmla="*/ 418529 w 3289364"/>
                  <a:gd name="connsiteY56" fmla="*/ 188024 h 359664"/>
                  <a:gd name="connsiteX57" fmla="*/ 418529 w 3289364"/>
                  <a:gd name="connsiteY57" fmla="*/ 194120 h 359664"/>
                  <a:gd name="connsiteX58" fmla="*/ 454247 w 3289364"/>
                  <a:gd name="connsiteY58" fmla="*/ 194120 h 359664"/>
                  <a:gd name="connsiteX59" fmla="*/ 454247 w 3289364"/>
                  <a:gd name="connsiteY59" fmla="*/ 200216 h 359664"/>
                  <a:gd name="connsiteX60" fmla="*/ 569976 w 3289364"/>
                  <a:gd name="connsiteY60" fmla="*/ 200216 h 359664"/>
                  <a:gd name="connsiteX61" fmla="*/ 569976 w 3289364"/>
                  <a:gd name="connsiteY61" fmla="*/ 206217 h 359664"/>
                  <a:gd name="connsiteX62" fmla="*/ 607790 w 3289364"/>
                  <a:gd name="connsiteY62" fmla="*/ 206217 h 359664"/>
                  <a:gd name="connsiteX63" fmla="*/ 607790 w 3289364"/>
                  <a:gd name="connsiteY63" fmla="*/ 212408 h 359664"/>
                  <a:gd name="connsiteX64" fmla="*/ 660368 w 3289364"/>
                  <a:gd name="connsiteY64" fmla="*/ 212408 h 359664"/>
                  <a:gd name="connsiteX65" fmla="*/ 660368 w 3289364"/>
                  <a:gd name="connsiteY65" fmla="*/ 218504 h 359664"/>
                  <a:gd name="connsiteX66" fmla="*/ 679323 w 3289364"/>
                  <a:gd name="connsiteY66" fmla="*/ 218504 h 359664"/>
                  <a:gd name="connsiteX67" fmla="*/ 679323 w 3289364"/>
                  <a:gd name="connsiteY67" fmla="*/ 224600 h 359664"/>
                  <a:gd name="connsiteX68" fmla="*/ 689801 w 3289364"/>
                  <a:gd name="connsiteY68" fmla="*/ 224600 h 359664"/>
                  <a:gd name="connsiteX69" fmla="*/ 689801 w 3289364"/>
                  <a:gd name="connsiteY69" fmla="*/ 230791 h 359664"/>
                  <a:gd name="connsiteX70" fmla="*/ 723519 w 3289364"/>
                  <a:gd name="connsiteY70" fmla="*/ 230791 h 359664"/>
                  <a:gd name="connsiteX71" fmla="*/ 723519 w 3289364"/>
                  <a:gd name="connsiteY71" fmla="*/ 236887 h 359664"/>
                  <a:gd name="connsiteX72" fmla="*/ 729806 w 3289364"/>
                  <a:gd name="connsiteY72" fmla="*/ 236887 h 359664"/>
                  <a:gd name="connsiteX73" fmla="*/ 729806 w 3289364"/>
                  <a:gd name="connsiteY73" fmla="*/ 242983 h 359664"/>
                  <a:gd name="connsiteX74" fmla="*/ 744474 w 3289364"/>
                  <a:gd name="connsiteY74" fmla="*/ 242983 h 359664"/>
                  <a:gd name="connsiteX75" fmla="*/ 744474 w 3289364"/>
                  <a:gd name="connsiteY75" fmla="*/ 249079 h 359664"/>
                  <a:gd name="connsiteX76" fmla="*/ 757142 w 3289364"/>
                  <a:gd name="connsiteY76" fmla="*/ 249079 h 359664"/>
                  <a:gd name="connsiteX77" fmla="*/ 757142 w 3289364"/>
                  <a:gd name="connsiteY77" fmla="*/ 255270 h 359664"/>
                  <a:gd name="connsiteX78" fmla="*/ 782384 w 3289364"/>
                  <a:gd name="connsiteY78" fmla="*/ 255270 h 359664"/>
                  <a:gd name="connsiteX79" fmla="*/ 782384 w 3289364"/>
                  <a:gd name="connsiteY79" fmla="*/ 261366 h 359664"/>
                  <a:gd name="connsiteX80" fmla="*/ 1011650 w 3289364"/>
                  <a:gd name="connsiteY80" fmla="*/ 261366 h 359664"/>
                  <a:gd name="connsiteX81" fmla="*/ 1011650 w 3289364"/>
                  <a:gd name="connsiteY81" fmla="*/ 267558 h 359664"/>
                  <a:gd name="connsiteX82" fmla="*/ 1125188 w 3289364"/>
                  <a:gd name="connsiteY82" fmla="*/ 267558 h 359664"/>
                  <a:gd name="connsiteX83" fmla="*/ 1125188 w 3289364"/>
                  <a:gd name="connsiteY83" fmla="*/ 273749 h 359664"/>
                  <a:gd name="connsiteX84" fmla="*/ 1394365 w 3289364"/>
                  <a:gd name="connsiteY84" fmla="*/ 273749 h 359664"/>
                  <a:gd name="connsiteX85" fmla="*/ 1394365 w 3289364"/>
                  <a:gd name="connsiteY85" fmla="*/ 280035 h 359664"/>
                  <a:gd name="connsiteX86" fmla="*/ 1467993 w 3289364"/>
                  <a:gd name="connsiteY86" fmla="*/ 280035 h 359664"/>
                  <a:gd name="connsiteX87" fmla="*/ 1467993 w 3289364"/>
                  <a:gd name="connsiteY87" fmla="*/ 286322 h 359664"/>
                  <a:gd name="connsiteX88" fmla="*/ 1547908 w 3289364"/>
                  <a:gd name="connsiteY88" fmla="*/ 286322 h 359664"/>
                  <a:gd name="connsiteX89" fmla="*/ 1547908 w 3289364"/>
                  <a:gd name="connsiteY89" fmla="*/ 292608 h 359664"/>
                  <a:gd name="connsiteX90" fmla="*/ 1709833 w 3289364"/>
                  <a:gd name="connsiteY90" fmla="*/ 292608 h 359664"/>
                  <a:gd name="connsiteX91" fmla="*/ 1709833 w 3289364"/>
                  <a:gd name="connsiteY91" fmla="*/ 299085 h 359664"/>
                  <a:gd name="connsiteX92" fmla="*/ 1726692 w 3289364"/>
                  <a:gd name="connsiteY92" fmla="*/ 299085 h 359664"/>
                  <a:gd name="connsiteX93" fmla="*/ 1726692 w 3289364"/>
                  <a:gd name="connsiteY93" fmla="*/ 305467 h 359664"/>
                  <a:gd name="connsiteX94" fmla="*/ 1844516 w 3289364"/>
                  <a:gd name="connsiteY94" fmla="*/ 305467 h 359664"/>
                  <a:gd name="connsiteX95" fmla="*/ 1844516 w 3289364"/>
                  <a:gd name="connsiteY95" fmla="*/ 311944 h 359664"/>
                  <a:gd name="connsiteX96" fmla="*/ 1937004 w 3289364"/>
                  <a:gd name="connsiteY96" fmla="*/ 311944 h 359664"/>
                  <a:gd name="connsiteX97" fmla="*/ 1937004 w 3289364"/>
                  <a:gd name="connsiteY97" fmla="*/ 318326 h 359664"/>
                  <a:gd name="connsiteX98" fmla="*/ 1955959 w 3289364"/>
                  <a:gd name="connsiteY98" fmla="*/ 318326 h 359664"/>
                  <a:gd name="connsiteX99" fmla="*/ 1955959 w 3289364"/>
                  <a:gd name="connsiteY99" fmla="*/ 324803 h 359664"/>
                  <a:gd name="connsiteX100" fmla="*/ 2809780 w 3289364"/>
                  <a:gd name="connsiteY100" fmla="*/ 324803 h 359664"/>
                  <a:gd name="connsiteX101" fmla="*/ 2809780 w 3289364"/>
                  <a:gd name="connsiteY101" fmla="*/ 359664 h 359664"/>
                  <a:gd name="connsiteX102" fmla="*/ 3289364 w 3289364"/>
                  <a:gd name="connsiteY102" fmla="*/ 359664 h 359664"/>
                  <a:gd name="connsiteX0" fmla="*/ 0 w 3289364"/>
                  <a:gd name="connsiteY0" fmla="*/ 0 h 359664"/>
                  <a:gd name="connsiteX1" fmla="*/ 0 w 3289364"/>
                  <a:gd name="connsiteY1" fmla="*/ 6096 h 359664"/>
                  <a:gd name="connsiteX2" fmla="*/ 4191 w 3289364"/>
                  <a:gd name="connsiteY2" fmla="*/ 12097 h 359664"/>
                  <a:gd name="connsiteX3" fmla="*/ 10478 w 3289364"/>
                  <a:gd name="connsiteY3" fmla="*/ 12097 h 359664"/>
                  <a:gd name="connsiteX4" fmla="*/ 10478 w 3289364"/>
                  <a:gd name="connsiteY4" fmla="*/ 24289 h 359664"/>
                  <a:gd name="connsiteX5" fmla="*/ 29432 w 3289364"/>
                  <a:gd name="connsiteY5" fmla="*/ 24289 h 359664"/>
                  <a:gd name="connsiteX6" fmla="*/ 29432 w 3289364"/>
                  <a:gd name="connsiteY6" fmla="*/ 30290 h 359664"/>
                  <a:gd name="connsiteX7" fmla="*/ 37814 w 3289364"/>
                  <a:gd name="connsiteY7" fmla="*/ 30290 h 359664"/>
                  <a:gd name="connsiteX8" fmla="*/ 37814 w 3289364"/>
                  <a:gd name="connsiteY8" fmla="*/ 36386 h 359664"/>
                  <a:gd name="connsiteX9" fmla="*/ 50483 w 3289364"/>
                  <a:gd name="connsiteY9" fmla="*/ 36386 h 359664"/>
                  <a:gd name="connsiteX10" fmla="*/ 50483 w 3289364"/>
                  <a:gd name="connsiteY10" fmla="*/ 42482 h 359664"/>
                  <a:gd name="connsiteX11" fmla="*/ 67342 w 3289364"/>
                  <a:gd name="connsiteY11" fmla="*/ 42482 h 359664"/>
                  <a:gd name="connsiteX12" fmla="*/ 67342 w 3289364"/>
                  <a:gd name="connsiteY12" fmla="*/ 48483 h 359664"/>
                  <a:gd name="connsiteX13" fmla="*/ 94679 w 3289364"/>
                  <a:gd name="connsiteY13" fmla="*/ 48483 h 359664"/>
                  <a:gd name="connsiteX14" fmla="*/ 94679 w 3289364"/>
                  <a:gd name="connsiteY14" fmla="*/ 54579 h 359664"/>
                  <a:gd name="connsiteX15" fmla="*/ 96774 w 3289364"/>
                  <a:gd name="connsiteY15" fmla="*/ 54579 h 359664"/>
                  <a:gd name="connsiteX16" fmla="*/ 96774 w 3289364"/>
                  <a:gd name="connsiteY16" fmla="*/ 60675 h 359664"/>
                  <a:gd name="connsiteX17" fmla="*/ 107251 w 3289364"/>
                  <a:gd name="connsiteY17" fmla="*/ 60675 h 359664"/>
                  <a:gd name="connsiteX18" fmla="*/ 107251 w 3289364"/>
                  <a:gd name="connsiteY18" fmla="*/ 66675 h 359664"/>
                  <a:gd name="connsiteX19" fmla="*/ 113538 w 3289364"/>
                  <a:gd name="connsiteY19" fmla="*/ 66675 h 359664"/>
                  <a:gd name="connsiteX20" fmla="*/ 113538 w 3289364"/>
                  <a:gd name="connsiteY20" fmla="*/ 78867 h 359664"/>
                  <a:gd name="connsiteX21" fmla="*/ 122015 w 3289364"/>
                  <a:gd name="connsiteY21" fmla="*/ 78867 h 359664"/>
                  <a:gd name="connsiteX22" fmla="*/ 122015 w 3289364"/>
                  <a:gd name="connsiteY22" fmla="*/ 84868 h 359664"/>
                  <a:gd name="connsiteX23" fmla="*/ 128302 w 3289364"/>
                  <a:gd name="connsiteY23" fmla="*/ 84868 h 359664"/>
                  <a:gd name="connsiteX24" fmla="*/ 128302 w 3289364"/>
                  <a:gd name="connsiteY24" fmla="*/ 97060 h 359664"/>
                  <a:gd name="connsiteX25" fmla="*/ 130397 w 3289364"/>
                  <a:gd name="connsiteY25" fmla="*/ 97060 h 359664"/>
                  <a:gd name="connsiteX26" fmla="*/ 130397 w 3289364"/>
                  <a:gd name="connsiteY26" fmla="*/ 103156 h 359664"/>
                  <a:gd name="connsiteX27" fmla="*/ 142970 w 3289364"/>
                  <a:gd name="connsiteY27" fmla="*/ 103156 h 359664"/>
                  <a:gd name="connsiteX28" fmla="*/ 142970 w 3289364"/>
                  <a:gd name="connsiteY28" fmla="*/ 109157 h 359664"/>
                  <a:gd name="connsiteX29" fmla="*/ 166116 w 3289364"/>
                  <a:gd name="connsiteY29" fmla="*/ 109157 h 359664"/>
                  <a:gd name="connsiteX30" fmla="*/ 166116 w 3289364"/>
                  <a:gd name="connsiteY30" fmla="*/ 115253 h 359664"/>
                  <a:gd name="connsiteX31" fmla="*/ 172498 w 3289364"/>
                  <a:gd name="connsiteY31" fmla="*/ 115253 h 359664"/>
                  <a:gd name="connsiteX32" fmla="*/ 172498 w 3289364"/>
                  <a:gd name="connsiteY32" fmla="*/ 121349 h 359664"/>
                  <a:gd name="connsiteX33" fmla="*/ 180880 w 3289364"/>
                  <a:gd name="connsiteY33" fmla="*/ 121349 h 359664"/>
                  <a:gd name="connsiteX34" fmla="*/ 180880 w 3289364"/>
                  <a:gd name="connsiteY34" fmla="*/ 127350 h 359664"/>
                  <a:gd name="connsiteX35" fmla="*/ 189262 w 3289364"/>
                  <a:gd name="connsiteY35" fmla="*/ 127350 h 359664"/>
                  <a:gd name="connsiteX36" fmla="*/ 189262 w 3289364"/>
                  <a:gd name="connsiteY36" fmla="*/ 133446 h 359664"/>
                  <a:gd name="connsiteX37" fmla="*/ 193453 w 3289364"/>
                  <a:gd name="connsiteY37" fmla="*/ 133446 h 359664"/>
                  <a:gd name="connsiteX38" fmla="*/ 193453 w 3289364"/>
                  <a:gd name="connsiteY38" fmla="*/ 139542 h 359664"/>
                  <a:gd name="connsiteX39" fmla="*/ 267081 w 3289364"/>
                  <a:gd name="connsiteY39" fmla="*/ 139542 h 359664"/>
                  <a:gd name="connsiteX40" fmla="*/ 267081 w 3289364"/>
                  <a:gd name="connsiteY40" fmla="*/ 145542 h 359664"/>
                  <a:gd name="connsiteX41" fmla="*/ 288131 w 3289364"/>
                  <a:gd name="connsiteY41" fmla="*/ 145542 h 359664"/>
                  <a:gd name="connsiteX42" fmla="*/ 288131 w 3289364"/>
                  <a:gd name="connsiteY42" fmla="*/ 151638 h 359664"/>
                  <a:gd name="connsiteX43" fmla="*/ 294418 w 3289364"/>
                  <a:gd name="connsiteY43" fmla="*/ 151638 h 359664"/>
                  <a:gd name="connsiteX44" fmla="*/ 294418 w 3289364"/>
                  <a:gd name="connsiteY44" fmla="*/ 157734 h 359664"/>
                  <a:gd name="connsiteX45" fmla="*/ 336518 w 3289364"/>
                  <a:gd name="connsiteY45" fmla="*/ 157734 h 359664"/>
                  <a:gd name="connsiteX46" fmla="*/ 336518 w 3289364"/>
                  <a:gd name="connsiteY46" fmla="*/ 163735 h 359664"/>
                  <a:gd name="connsiteX47" fmla="*/ 351187 w 3289364"/>
                  <a:gd name="connsiteY47" fmla="*/ 163735 h 359664"/>
                  <a:gd name="connsiteX48" fmla="*/ 351187 w 3289364"/>
                  <a:gd name="connsiteY48" fmla="*/ 169831 h 359664"/>
                  <a:gd name="connsiteX49" fmla="*/ 380714 w 3289364"/>
                  <a:gd name="connsiteY49" fmla="*/ 169831 h 359664"/>
                  <a:gd name="connsiteX50" fmla="*/ 380714 w 3289364"/>
                  <a:gd name="connsiteY50" fmla="*/ 175927 h 359664"/>
                  <a:gd name="connsiteX51" fmla="*/ 382810 w 3289364"/>
                  <a:gd name="connsiteY51" fmla="*/ 175927 h 359664"/>
                  <a:gd name="connsiteX52" fmla="*/ 382810 w 3289364"/>
                  <a:gd name="connsiteY52" fmla="*/ 181928 h 359664"/>
                  <a:gd name="connsiteX53" fmla="*/ 405860 w 3289364"/>
                  <a:gd name="connsiteY53" fmla="*/ 181928 h 359664"/>
                  <a:gd name="connsiteX54" fmla="*/ 405860 w 3289364"/>
                  <a:gd name="connsiteY54" fmla="*/ 188024 h 359664"/>
                  <a:gd name="connsiteX55" fmla="*/ 418529 w 3289364"/>
                  <a:gd name="connsiteY55" fmla="*/ 188024 h 359664"/>
                  <a:gd name="connsiteX56" fmla="*/ 418529 w 3289364"/>
                  <a:gd name="connsiteY56" fmla="*/ 194120 h 359664"/>
                  <a:gd name="connsiteX57" fmla="*/ 454247 w 3289364"/>
                  <a:gd name="connsiteY57" fmla="*/ 194120 h 359664"/>
                  <a:gd name="connsiteX58" fmla="*/ 454247 w 3289364"/>
                  <a:gd name="connsiteY58" fmla="*/ 200216 h 359664"/>
                  <a:gd name="connsiteX59" fmla="*/ 569976 w 3289364"/>
                  <a:gd name="connsiteY59" fmla="*/ 200216 h 359664"/>
                  <a:gd name="connsiteX60" fmla="*/ 569976 w 3289364"/>
                  <a:gd name="connsiteY60" fmla="*/ 206217 h 359664"/>
                  <a:gd name="connsiteX61" fmla="*/ 607790 w 3289364"/>
                  <a:gd name="connsiteY61" fmla="*/ 206217 h 359664"/>
                  <a:gd name="connsiteX62" fmla="*/ 607790 w 3289364"/>
                  <a:gd name="connsiteY62" fmla="*/ 212408 h 359664"/>
                  <a:gd name="connsiteX63" fmla="*/ 660368 w 3289364"/>
                  <a:gd name="connsiteY63" fmla="*/ 212408 h 359664"/>
                  <a:gd name="connsiteX64" fmla="*/ 660368 w 3289364"/>
                  <a:gd name="connsiteY64" fmla="*/ 218504 h 359664"/>
                  <a:gd name="connsiteX65" fmla="*/ 679323 w 3289364"/>
                  <a:gd name="connsiteY65" fmla="*/ 218504 h 359664"/>
                  <a:gd name="connsiteX66" fmla="*/ 679323 w 3289364"/>
                  <a:gd name="connsiteY66" fmla="*/ 224600 h 359664"/>
                  <a:gd name="connsiteX67" fmla="*/ 689801 w 3289364"/>
                  <a:gd name="connsiteY67" fmla="*/ 224600 h 359664"/>
                  <a:gd name="connsiteX68" fmla="*/ 689801 w 3289364"/>
                  <a:gd name="connsiteY68" fmla="*/ 230791 h 359664"/>
                  <a:gd name="connsiteX69" fmla="*/ 723519 w 3289364"/>
                  <a:gd name="connsiteY69" fmla="*/ 230791 h 359664"/>
                  <a:gd name="connsiteX70" fmla="*/ 723519 w 3289364"/>
                  <a:gd name="connsiteY70" fmla="*/ 236887 h 359664"/>
                  <a:gd name="connsiteX71" fmla="*/ 729806 w 3289364"/>
                  <a:gd name="connsiteY71" fmla="*/ 236887 h 359664"/>
                  <a:gd name="connsiteX72" fmla="*/ 729806 w 3289364"/>
                  <a:gd name="connsiteY72" fmla="*/ 242983 h 359664"/>
                  <a:gd name="connsiteX73" fmla="*/ 744474 w 3289364"/>
                  <a:gd name="connsiteY73" fmla="*/ 242983 h 359664"/>
                  <a:gd name="connsiteX74" fmla="*/ 744474 w 3289364"/>
                  <a:gd name="connsiteY74" fmla="*/ 249079 h 359664"/>
                  <a:gd name="connsiteX75" fmla="*/ 757142 w 3289364"/>
                  <a:gd name="connsiteY75" fmla="*/ 249079 h 359664"/>
                  <a:gd name="connsiteX76" fmla="*/ 757142 w 3289364"/>
                  <a:gd name="connsiteY76" fmla="*/ 255270 h 359664"/>
                  <a:gd name="connsiteX77" fmla="*/ 782384 w 3289364"/>
                  <a:gd name="connsiteY77" fmla="*/ 255270 h 359664"/>
                  <a:gd name="connsiteX78" fmla="*/ 782384 w 3289364"/>
                  <a:gd name="connsiteY78" fmla="*/ 261366 h 359664"/>
                  <a:gd name="connsiteX79" fmla="*/ 1011650 w 3289364"/>
                  <a:gd name="connsiteY79" fmla="*/ 261366 h 359664"/>
                  <a:gd name="connsiteX80" fmla="*/ 1011650 w 3289364"/>
                  <a:gd name="connsiteY80" fmla="*/ 267558 h 359664"/>
                  <a:gd name="connsiteX81" fmla="*/ 1125188 w 3289364"/>
                  <a:gd name="connsiteY81" fmla="*/ 267558 h 359664"/>
                  <a:gd name="connsiteX82" fmla="*/ 1125188 w 3289364"/>
                  <a:gd name="connsiteY82" fmla="*/ 273749 h 359664"/>
                  <a:gd name="connsiteX83" fmla="*/ 1394365 w 3289364"/>
                  <a:gd name="connsiteY83" fmla="*/ 273749 h 359664"/>
                  <a:gd name="connsiteX84" fmla="*/ 1394365 w 3289364"/>
                  <a:gd name="connsiteY84" fmla="*/ 280035 h 359664"/>
                  <a:gd name="connsiteX85" fmla="*/ 1467993 w 3289364"/>
                  <a:gd name="connsiteY85" fmla="*/ 280035 h 359664"/>
                  <a:gd name="connsiteX86" fmla="*/ 1467993 w 3289364"/>
                  <a:gd name="connsiteY86" fmla="*/ 286322 h 359664"/>
                  <a:gd name="connsiteX87" fmla="*/ 1547908 w 3289364"/>
                  <a:gd name="connsiteY87" fmla="*/ 286322 h 359664"/>
                  <a:gd name="connsiteX88" fmla="*/ 1547908 w 3289364"/>
                  <a:gd name="connsiteY88" fmla="*/ 292608 h 359664"/>
                  <a:gd name="connsiteX89" fmla="*/ 1709833 w 3289364"/>
                  <a:gd name="connsiteY89" fmla="*/ 292608 h 359664"/>
                  <a:gd name="connsiteX90" fmla="*/ 1709833 w 3289364"/>
                  <a:gd name="connsiteY90" fmla="*/ 299085 h 359664"/>
                  <a:gd name="connsiteX91" fmla="*/ 1726692 w 3289364"/>
                  <a:gd name="connsiteY91" fmla="*/ 299085 h 359664"/>
                  <a:gd name="connsiteX92" fmla="*/ 1726692 w 3289364"/>
                  <a:gd name="connsiteY92" fmla="*/ 305467 h 359664"/>
                  <a:gd name="connsiteX93" fmla="*/ 1844516 w 3289364"/>
                  <a:gd name="connsiteY93" fmla="*/ 305467 h 359664"/>
                  <a:gd name="connsiteX94" fmla="*/ 1844516 w 3289364"/>
                  <a:gd name="connsiteY94" fmla="*/ 311944 h 359664"/>
                  <a:gd name="connsiteX95" fmla="*/ 1937004 w 3289364"/>
                  <a:gd name="connsiteY95" fmla="*/ 311944 h 359664"/>
                  <a:gd name="connsiteX96" fmla="*/ 1937004 w 3289364"/>
                  <a:gd name="connsiteY96" fmla="*/ 318326 h 359664"/>
                  <a:gd name="connsiteX97" fmla="*/ 1955959 w 3289364"/>
                  <a:gd name="connsiteY97" fmla="*/ 318326 h 359664"/>
                  <a:gd name="connsiteX98" fmla="*/ 1955959 w 3289364"/>
                  <a:gd name="connsiteY98" fmla="*/ 324803 h 359664"/>
                  <a:gd name="connsiteX99" fmla="*/ 2809780 w 3289364"/>
                  <a:gd name="connsiteY99" fmla="*/ 324803 h 359664"/>
                  <a:gd name="connsiteX100" fmla="*/ 2809780 w 3289364"/>
                  <a:gd name="connsiteY100" fmla="*/ 359664 h 359664"/>
                  <a:gd name="connsiteX101" fmla="*/ 3289364 w 3289364"/>
                  <a:gd name="connsiteY101" fmla="*/ 359664 h 359664"/>
                  <a:gd name="connsiteX0" fmla="*/ 0 w 3289364"/>
                  <a:gd name="connsiteY0" fmla="*/ 0 h 359664"/>
                  <a:gd name="connsiteX1" fmla="*/ 4191 w 3289364"/>
                  <a:gd name="connsiteY1" fmla="*/ 12097 h 359664"/>
                  <a:gd name="connsiteX2" fmla="*/ 10478 w 3289364"/>
                  <a:gd name="connsiteY2" fmla="*/ 12097 h 359664"/>
                  <a:gd name="connsiteX3" fmla="*/ 10478 w 3289364"/>
                  <a:gd name="connsiteY3" fmla="*/ 24289 h 359664"/>
                  <a:gd name="connsiteX4" fmla="*/ 29432 w 3289364"/>
                  <a:gd name="connsiteY4" fmla="*/ 24289 h 359664"/>
                  <a:gd name="connsiteX5" fmla="*/ 29432 w 3289364"/>
                  <a:gd name="connsiteY5" fmla="*/ 30290 h 359664"/>
                  <a:gd name="connsiteX6" fmla="*/ 37814 w 3289364"/>
                  <a:gd name="connsiteY6" fmla="*/ 30290 h 359664"/>
                  <a:gd name="connsiteX7" fmla="*/ 37814 w 3289364"/>
                  <a:gd name="connsiteY7" fmla="*/ 36386 h 359664"/>
                  <a:gd name="connsiteX8" fmla="*/ 50483 w 3289364"/>
                  <a:gd name="connsiteY8" fmla="*/ 36386 h 359664"/>
                  <a:gd name="connsiteX9" fmla="*/ 50483 w 3289364"/>
                  <a:gd name="connsiteY9" fmla="*/ 42482 h 359664"/>
                  <a:gd name="connsiteX10" fmla="*/ 67342 w 3289364"/>
                  <a:gd name="connsiteY10" fmla="*/ 42482 h 359664"/>
                  <a:gd name="connsiteX11" fmla="*/ 67342 w 3289364"/>
                  <a:gd name="connsiteY11" fmla="*/ 48483 h 359664"/>
                  <a:gd name="connsiteX12" fmla="*/ 94679 w 3289364"/>
                  <a:gd name="connsiteY12" fmla="*/ 48483 h 359664"/>
                  <a:gd name="connsiteX13" fmla="*/ 94679 w 3289364"/>
                  <a:gd name="connsiteY13" fmla="*/ 54579 h 359664"/>
                  <a:gd name="connsiteX14" fmla="*/ 96774 w 3289364"/>
                  <a:gd name="connsiteY14" fmla="*/ 54579 h 359664"/>
                  <a:gd name="connsiteX15" fmla="*/ 96774 w 3289364"/>
                  <a:gd name="connsiteY15" fmla="*/ 60675 h 359664"/>
                  <a:gd name="connsiteX16" fmla="*/ 107251 w 3289364"/>
                  <a:gd name="connsiteY16" fmla="*/ 60675 h 359664"/>
                  <a:gd name="connsiteX17" fmla="*/ 107251 w 3289364"/>
                  <a:gd name="connsiteY17" fmla="*/ 66675 h 359664"/>
                  <a:gd name="connsiteX18" fmla="*/ 113538 w 3289364"/>
                  <a:gd name="connsiteY18" fmla="*/ 66675 h 359664"/>
                  <a:gd name="connsiteX19" fmla="*/ 113538 w 3289364"/>
                  <a:gd name="connsiteY19" fmla="*/ 78867 h 359664"/>
                  <a:gd name="connsiteX20" fmla="*/ 122015 w 3289364"/>
                  <a:gd name="connsiteY20" fmla="*/ 78867 h 359664"/>
                  <a:gd name="connsiteX21" fmla="*/ 122015 w 3289364"/>
                  <a:gd name="connsiteY21" fmla="*/ 84868 h 359664"/>
                  <a:gd name="connsiteX22" fmla="*/ 128302 w 3289364"/>
                  <a:gd name="connsiteY22" fmla="*/ 84868 h 359664"/>
                  <a:gd name="connsiteX23" fmla="*/ 128302 w 3289364"/>
                  <a:gd name="connsiteY23" fmla="*/ 97060 h 359664"/>
                  <a:gd name="connsiteX24" fmla="*/ 130397 w 3289364"/>
                  <a:gd name="connsiteY24" fmla="*/ 97060 h 359664"/>
                  <a:gd name="connsiteX25" fmla="*/ 130397 w 3289364"/>
                  <a:gd name="connsiteY25" fmla="*/ 103156 h 359664"/>
                  <a:gd name="connsiteX26" fmla="*/ 142970 w 3289364"/>
                  <a:gd name="connsiteY26" fmla="*/ 103156 h 359664"/>
                  <a:gd name="connsiteX27" fmla="*/ 142970 w 3289364"/>
                  <a:gd name="connsiteY27" fmla="*/ 109157 h 359664"/>
                  <a:gd name="connsiteX28" fmla="*/ 166116 w 3289364"/>
                  <a:gd name="connsiteY28" fmla="*/ 109157 h 359664"/>
                  <a:gd name="connsiteX29" fmla="*/ 166116 w 3289364"/>
                  <a:gd name="connsiteY29" fmla="*/ 115253 h 359664"/>
                  <a:gd name="connsiteX30" fmla="*/ 172498 w 3289364"/>
                  <a:gd name="connsiteY30" fmla="*/ 115253 h 359664"/>
                  <a:gd name="connsiteX31" fmla="*/ 172498 w 3289364"/>
                  <a:gd name="connsiteY31" fmla="*/ 121349 h 359664"/>
                  <a:gd name="connsiteX32" fmla="*/ 180880 w 3289364"/>
                  <a:gd name="connsiteY32" fmla="*/ 121349 h 359664"/>
                  <a:gd name="connsiteX33" fmla="*/ 180880 w 3289364"/>
                  <a:gd name="connsiteY33" fmla="*/ 127350 h 359664"/>
                  <a:gd name="connsiteX34" fmla="*/ 189262 w 3289364"/>
                  <a:gd name="connsiteY34" fmla="*/ 127350 h 359664"/>
                  <a:gd name="connsiteX35" fmla="*/ 189262 w 3289364"/>
                  <a:gd name="connsiteY35" fmla="*/ 133446 h 359664"/>
                  <a:gd name="connsiteX36" fmla="*/ 193453 w 3289364"/>
                  <a:gd name="connsiteY36" fmla="*/ 133446 h 359664"/>
                  <a:gd name="connsiteX37" fmla="*/ 193453 w 3289364"/>
                  <a:gd name="connsiteY37" fmla="*/ 139542 h 359664"/>
                  <a:gd name="connsiteX38" fmla="*/ 267081 w 3289364"/>
                  <a:gd name="connsiteY38" fmla="*/ 139542 h 359664"/>
                  <a:gd name="connsiteX39" fmla="*/ 267081 w 3289364"/>
                  <a:gd name="connsiteY39" fmla="*/ 145542 h 359664"/>
                  <a:gd name="connsiteX40" fmla="*/ 288131 w 3289364"/>
                  <a:gd name="connsiteY40" fmla="*/ 145542 h 359664"/>
                  <a:gd name="connsiteX41" fmla="*/ 288131 w 3289364"/>
                  <a:gd name="connsiteY41" fmla="*/ 151638 h 359664"/>
                  <a:gd name="connsiteX42" fmla="*/ 294418 w 3289364"/>
                  <a:gd name="connsiteY42" fmla="*/ 151638 h 359664"/>
                  <a:gd name="connsiteX43" fmla="*/ 294418 w 3289364"/>
                  <a:gd name="connsiteY43" fmla="*/ 157734 h 359664"/>
                  <a:gd name="connsiteX44" fmla="*/ 336518 w 3289364"/>
                  <a:gd name="connsiteY44" fmla="*/ 157734 h 359664"/>
                  <a:gd name="connsiteX45" fmla="*/ 336518 w 3289364"/>
                  <a:gd name="connsiteY45" fmla="*/ 163735 h 359664"/>
                  <a:gd name="connsiteX46" fmla="*/ 351187 w 3289364"/>
                  <a:gd name="connsiteY46" fmla="*/ 163735 h 359664"/>
                  <a:gd name="connsiteX47" fmla="*/ 351187 w 3289364"/>
                  <a:gd name="connsiteY47" fmla="*/ 169831 h 359664"/>
                  <a:gd name="connsiteX48" fmla="*/ 380714 w 3289364"/>
                  <a:gd name="connsiteY48" fmla="*/ 169831 h 359664"/>
                  <a:gd name="connsiteX49" fmla="*/ 380714 w 3289364"/>
                  <a:gd name="connsiteY49" fmla="*/ 175927 h 359664"/>
                  <a:gd name="connsiteX50" fmla="*/ 382810 w 3289364"/>
                  <a:gd name="connsiteY50" fmla="*/ 175927 h 359664"/>
                  <a:gd name="connsiteX51" fmla="*/ 382810 w 3289364"/>
                  <a:gd name="connsiteY51" fmla="*/ 181928 h 359664"/>
                  <a:gd name="connsiteX52" fmla="*/ 405860 w 3289364"/>
                  <a:gd name="connsiteY52" fmla="*/ 181928 h 359664"/>
                  <a:gd name="connsiteX53" fmla="*/ 405860 w 3289364"/>
                  <a:gd name="connsiteY53" fmla="*/ 188024 h 359664"/>
                  <a:gd name="connsiteX54" fmla="*/ 418529 w 3289364"/>
                  <a:gd name="connsiteY54" fmla="*/ 188024 h 359664"/>
                  <a:gd name="connsiteX55" fmla="*/ 418529 w 3289364"/>
                  <a:gd name="connsiteY55" fmla="*/ 194120 h 359664"/>
                  <a:gd name="connsiteX56" fmla="*/ 454247 w 3289364"/>
                  <a:gd name="connsiteY56" fmla="*/ 194120 h 359664"/>
                  <a:gd name="connsiteX57" fmla="*/ 454247 w 3289364"/>
                  <a:gd name="connsiteY57" fmla="*/ 200216 h 359664"/>
                  <a:gd name="connsiteX58" fmla="*/ 569976 w 3289364"/>
                  <a:gd name="connsiteY58" fmla="*/ 200216 h 359664"/>
                  <a:gd name="connsiteX59" fmla="*/ 569976 w 3289364"/>
                  <a:gd name="connsiteY59" fmla="*/ 206217 h 359664"/>
                  <a:gd name="connsiteX60" fmla="*/ 607790 w 3289364"/>
                  <a:gd name="connsiteY60" fmla="*/ 206217 h 359664"/>
                  <a:gd name="connsiteX61" fmla="*/ 607790 w 3289364"/>
                  <a:gd name="connsiteY61" fmla="*/ 212408 h 359664"/>
                  <a:gd name="connsiteX62" fmla="*/ 660368 w 3289364"/>
                  <a:gd name="connsiteY62" fmla="*/ 212408 h 359664"/>
                  <a:gd name="connsiteX63" fmla="*/ 660368 w 3289364"/>
                  <a:gd name="connsiteY63" fmla="*/ 218504 h 359664"/>
                  <a:gd name="connsiteX64" fmla="*/ 679323 w 3289364"/>
                  <a:gd name="connsiteY64" fmla="*/ 218504 h 359664"/>
                  <a:gd name="connsiteX65" fmla="*/ 679323 w 3289364"/>
                  <a:gd name="connsiteY65" fmla="*/ 224600 h 359664"/>
                  <a:gd name="connsiteX66" fmla="*/ 689801 w 3289364"/>
                  <a:gd name="connsiteY66" fmla="*/ 224600 h 359664"/>
                  <a:gd name="connsiteX67" fmla="*/ 689801 w 3289364"/>
                  <a:gd name="connsiteY67" fmla="*/ 230791 h 359664"/>
                  <a:gd name="connsiteX68" fmla="*/ 723519 w 3289364"/>
                  <a:gd name="connsiteY68" fmla="*/ 230791 h 359664"/>
                  <a:gd name="connsiteX69" fmla="*/ 723519 w 3289364"/>
                  <a:gd name="connsiteY69" fmla="*/ 236887 h 359664"/>
                  <a:gd name="connsiteX70" fmla="*/ 729806 w 3289364"/>
                  <a:gd name="connsiteY70" fmla="*/ 236887 h 359664"/>
                  <a:gd name="connsiteX71" fmla="*/ 729806 w 3289364"/>
                  <a:gd name="connsiteY71" fmla="*/ 242983 h 359664"/>
                  <a:gd name="connsiteX72" fmla="*/ 744474 w 3289364"/>
                  <a:gd name="connsiteY72" fmla="*/ 242983 h 359664"/>
                  <a:gd name="connsiteX73" fmla="*/ 744474 w 3289364"/>
                  <a:gd name="connsiteY73" fmla="*/ 249079 h 359664"/>
                  <a:gd name="connsiteX74" fmla="*/ 757142 w 3289364"/>
                  <a:gd name="connsiteY74" fmla="*/ 249079 h 359664"/>
                  <a:gd name="connsiteX75" fmla="*/ 757142 w 3289364"/>
                  <a:gd name="connsiteY75" fmla="*/ 255270 h 359664"/>
                  <a:gd name="connsiteX76" fmla="*/ 782384 w 3289364"/>
                  <a:gd name="connsiteY76" fmla="*/ 255270 h 359664"/>
                  <a:gd name="connsiteX77" fmla="*/ 782384 w 3289364"/>
                  <a:gd name="connsiteY77" fmla="*/ 261366 h 359664"/>
                  <a:gd name="connsiteX78" fmla="*/ 1011650 w 3289364"/>
                  <a:gd name="connsiteY78" fmla="*/ 261366 h 359664"/>
                  <a:gd name="connsiteX79" fmla="*/ 1011650 w 3289364"/>
                  <a:gd name="connsiteY79" fmla="*/ 267558 h 359664"/>
                  <a:gd name="connsiteX80" fmla="*/ 1125188 w 3289364"/>
                  <a:gd name="connsiteY80" fmla="*/ 267558 h 359664"/>
                  <a:gd name="connsiteX81" fmla="*/ 1125188 w 3289364"/>
                  <a:gd name="connsiteY81" fmla="*/ 273749 h 359664"/>
                  <a:gd name="connsiteX82" fmla="*/ 1394365 w 3289364"/>
                  <a:gd name="connsiteY82" fmla="*/ 273749 h 359664"/>
                  <a:gd name="connsiteX83" fmla="*/ 1394365 w 3289364"/>
                  <a:gd name="connsiteY83" fmla="*/ 280035 h 359664"/>
                  <a:gd name="connsiteX84" fmla="*/ 1467993 w 3289364"/>
                  <a:gd name="connsiteY84" fmla="*/ 280035 h 359664"/>
                  <a:gd name="connsiteX85" fmla="*/ 1467993 w 3289364"/>
                  <a:gd name="connsiteY85" fmla="*/ 286322 h 359664"/>
                  <a:gd name="connsiteX86" fmla="*/ 1547908 w 3289364"/>
                  <a:gd name="connsiteY86" fmla="*/ 286322 h 359664"/>
                  <a:gd name="connsiteX87" fmla="*/ 1547908 w 3289364"/>
                  <a:gd name="connsiteY87" fmla="*/ 292608 h 359664"/>
                  <a:gd name="connsiteX88" fmla="*/ 1709833 w 3289364"/>
                  <a:gd name="connsiteY88" fmla="*/ 292608 h 359664"/>
                  <a:gd name="connsiteX89" fmla="*/ 1709833 w 3289364"/>
                  <a:gd name="connsiteY89" fmla="*/ 299085 h 359664"/>
                  <a:gd name="connsiteX90" fmla="*/ 1726692 w 3289364"/>
                  <a:gd name="connsiteY90" fmla="*/ 299085 h 359664"/>
                  <a:gd name="connsiteX91" fmla="*/ 1726692 w 3289364"/>
                  <a:gd name="connsiteY91" fmla="*/ 305467 h 359664"/>
                  <a:gd name="connsiteX92" fmla="*/ 1844516 w 3289364"/>
                  <a:gd name="connsiteY92" fmla="*/ 305467 h 359664"/>
                  <a:gd name="connsiteX93" fmla="*/ 1844516 w 3289364"/>
                  <a:gd name="connsiteY93" fmla="*/ 311944 h 359664"/>
                  <a:gd name="connsiteX94" fmla="*/ 1937004 w 3289364"/>
                  <a:gd name="connsiteY94" fmla="*/ 311944 h 359664"/>
                  <a:gd name="connsiteX95" fmla="*/ 1937004 w 3289364"/>
                  <a:gd name="connsiteY95" fmla="*/ 318326 h 359664"/>
                  <a:gd name="connsiteX96" fmla="*/ 1955959 w 3289364"/>
                  <a:gd name="connsiteY96" fmla="*/ 318326 h 359664"/>
                  <a:gd name="connsiteX97" fmla="*/ 1955959 w 3289364"/>
                  <a:gd name="connsiteY97" fmla="*/ 324803 h 359664"/>
                  <a:gd name="connsiteX98" fmla="*/ 2809780 w 3289364"/>
                  <a:gd name="connsiteY98" fmla="*/ 324803 h 359664"/>
                  <a:gd name="connsiteX99" fmla="*/ 2809780 w 3289364"/>
                  <a:gd name="connsiteY99" fmla="*/ 359664 h 359664"/>
                  <a:gd name="connsiteX100" fmla="*/ 3289364 w 3289364"/>
                  <a:gd name="connsiteY100" fmla="*/ 359664 h 359664"/>
                  <a:gd name="connsiteX0" fmla="*/ 0 w 3285173"/>
                  <a:gd name="connsiteY0" fmla="*/ 0 h 347567"/>
                  <a:gd name="connsiteX1" fmla="*/ 6287 w 3285173"/>
                  <a:gd name="connsiteY1" fmla="*/ 0 h 347567"/>
                  <a:gd name="connsiteX2" fmla="*/ 6287 w 3285173"/>
                  <a:gd name="connsiteY2" fmla="*/ 12192 h 347567"/>
                  <a:gd name="connsiteX3" fmla="*/ 25241 w 3285173"/>
                  <a:gd name="connsiteY3" fmla="*/ 12192 h 347567"/>
                  <a:gd name="connsiteX4" fmla="*/ 25241 w 3285173"/>
                  <a:gd name="connsiteY4" fmla="*/ 18193 h 347567"/>
                  <a:gd name="connsiteX5" fmla="*/ 33623 w 3285173"/>
                  <a:gd name="connsiteY5" fmla="*/ 18193 h 347567"/>
                  <a:gd name="connsiteX6" fmla="*/ 33623 w 3285173"/>
                  <a:gd name="connsiteY6" fmla="*/ 24289 h 347567"/>
                  <a:gd name="connsiteX7" fmla="*/ 46292 w 3285173"/>
                  <a:gd name="connsiteY7" fmla="*/ 24289 h 347567"/>
                  <a:gd name="connsiteX8" fmla="*/ 46292 w 3285173"/>
                  <a:gd name="connsiteY8" fmla="*/ 30385 h 347567"/>
                  <a:gd name="connsiteX9" fmla="*/ 63151 w 3285173"/>
                  <a:gd name="connsiteY9" fmla="*/ 30385 h 347567"/>
                  <a:gd name="connsiteX10" fmla="*/ 63151 w 3285173"/>
                  <a:gd name="connsiteY10" fmla="*/ 36386 h 347567"/>
                  <a:gd name="connsiteX11" fmla="*/ 90488 w 3285173"/>
                  <a:gd name="connsiteY11" fmla="*/ 36386 h 347567"/>
                  <a:gd name="connsiteX12" fmla="*/ 90488 w 3285173"/>
                  <a:gd name="connsiteY12" fmla="*/ 42482 h 347567"/>
                  <a:gd name="connsiteX13" fmla="*/ 92583 w 3285173"/>
                  <a:gd name="connsiteY13" fmla="*/ 42482 h 347567"/>
                  <a:gd name="connsiteX14" fmla="*/ 92583 w 3285173"/>
                  <a:gd name="connsiteY14" fmla="*/ 48578 h 347567"/>
                  <a:gd name="connsiteX15" fmla="*/ 103060 w 3285173"/>
                  <a:gd name="connsiteY15" fmla="*/ 48578 h 347567"/>
                  <a:gd name="connsiteX16" fmla="*/ 103060 w 3285173"/>
                  <a:gd name="connsiteY16" fmla="*/ 54578 h 347567"/>
                  <a:gd name="connsiteX17" fmla="*/ 109347 w 3285173"/>
                  <a:gd name="connsiteY17" fmla="*/ 54578 h 347567"/>
                  <a:gd name="connsiteX18" fmla="*/ 109347 w 3285173"/>
                  <a:gd name="connsiteY18" fmla="*/ 66770 h 347567"/>
                  <a:gd name="connsiteX19" fmla="*/ 117824 w 3285173"/>
                  <a:gd name="connsiteY19" fmla="*/ 66770 h 347567"/>
                  <a:gd name="connsiteX20" fmla="*/ 117824 w 3285173"/>
                  <a:gd name="connsiteY20" fmla="*/ 72771 h 347567"/>
                  <a:gd name="connsiteX21" fmla="*/ 124111 w 3285173"/>
                  <a:gd name="connsiteY21" fmla="*/ 72771 h 347567"/>
                  <a:gd name="connsiteX22" fmla="*/ 124111 w 3285173"/>
                  <a:gd name="connsiteY22" fmla="*/ 84963 h 347567"/>
                  <a:gd name="connsiteX23" fmla="*/ 126206 w 3285173"/>
                  <a:gd name="connsiteY23" fmla="*/ 84963 h 347567"/>
                  <a:gd name="connsiteX24" fmla="*/ 126206 w 3285173"/>
                  <a:gd name="connsiteY24" fmla="*/ 91059 h 347567"/>
                  <a:gd name="connsiteX25" fmla="*/ 138779 w 3285173"/>
                  <a:gd name="connsiteY25" fmla="*/ 91059 h 347567"/>
                  <a:gd name="connsiteX26" fmla="*/ 138779 w 3285173"/>
                  <a:gd name="connsiteY26" fmla="*/ 97060 h 347567"/>
                  <a:gd name="connsiteX27" fmla="*/ 161925 w 3285173"/>
                  <a:gd name="connsiteY27" fmla="*/ 97060 h 347567"/>
                  <a:gd name="connsiteX28" fmla="*/ 161925 w 3285173"/>
                  <a:gd name="connsiteY28" fmla="*/ 103156 h 347567"/>
                  <a:gd name="connsiteX29" fmla="*/ 168307 w 3285173"/>
                  <a:gd name="connsiteY29" fmla="*/ 103156 h 347567"/>
                  <a:gd name="connsiteX30" fmla="*/ 168307 w 3285173"/>
                  <a:gd name="connsiteY30" fmla="*/ 109252 h 347567"/>
                  <a:gd name="connsiteX31" fmla="*/ 176689 w 3285173"/>
                  <a:gd name="connsiteY31" fmla="*/ 109252 h 347567"/>
                  <a:gd name="connsiteX32" fmla="*/ 176689 w 3285173"/>
                  <a:gd name="connsiteY32" fmla="*/ 115253 h 347567"/>
                  <a:gd name="connsiteX33" fmla="*/ 185071 w 3285173"/>
                  <a:gd name="connsiteY33" fmla="*/ 115253 h 347567"/>
                  <a:gd name="connsiteX34" fmla="*/ 185071 w 3285173"/>
                  <a:gd name="connsiteY34" fmla="*/ 121349 h 347567"/>
                  <a:gd name="connsiteX35" fmla="*/ 189262 w 3285173"/>
                  <a:gd name="connsiteY35" fmla="*/ 121349 h 347567"/>
                  <a:gd name="connsiteX36" fmla="*/ 189262 w 3285173"/>
                  <a:gd name="connsiteY36" fmla="*/ 127445 h 347567"/>
                  <a:gd name="connsiteX37" fmla="*/ 262890 w 3285173"/>
                  <a:gd name="connsiteY37" fmla="*/ 127445 h 347567"/>
                  <a:gd name="connsiteX38" fmla="*/ 262890 w 3285173"/>
                  <a:gd name="connsiteY38" fmla="*/ 133445 h 347567"/>
                  <a:gd name="connsiteX39" fmla="*/ 283940 w 3285173"/>
                  <a:gd name="connsiteY39" fmla="*/ 133445 h 347567"/>
                  <a:gd name="connsiteX40" fmla="*/ 283940 w 3285173"/>
                  <a:gd name="connsiteY40" fmla="*/ 139541 h 347567"/>
                  <a:gd name="connsiteX41" fmla="*/ 290227 w 3285173"/>
                  <a:gd name="connsiteY41" fmla="*/ 139541 h 347567"/>
                  <a:gd name="connsiteX42" fmla="*/ 290227 w 3285173"/>
                  <a:gd name="connsiteY42" fmla="*/ 145637 h 347567"/>
                  <a:gd name="connsiteX43" fmla="*/ 332327 w 3285173"/>
                  <a:gd name="connsiteY43" fmla="*/ 145637 h 347567"/>
                  <a:gd name="connsiteX44" fmla="*/ 332327 w 3285173"/>
                  <a:gd name="connsiteY44" fmla="*/ 151638 h 347567"/>
                  <a:gd name="connsiteX45" fmla="*/ 346996 w 3285173"/>
                  <a:gd name="connsiteY45" fmla="*/ 151638 h 347567"/>
                  <a:gd name="connsiteX46" fmla="*/ 346996 w 3285173"/>
                  <a:gd name="connsiteY46" fmla="*/ 157734 h 347567"/>
                  <a:gd name="connsiteX47" fmla="*/ 376523 w 3285173"/>
                  <a:gd name="connsiteY47" fmla="*/ 157734 h 347567"/>
                  <a:gd name="connsiteX48" fmla="*/ 376523 w 3285173"/>
                  <a:gd name="connsiteY48" fmla="*/ 163830 h 347567"/>
                  <a:gd name="connsiteX49" fmla="*/ 378619 w 3285173"/>
                  <a:gd name="connsiteY49" fmla="*/ 163830 h 347567"/>
                  <a:gd name="connsiteX50" fmla="*/ 378619 w 3285173"/>
                  <a:gd name="connsiteY50" fmla="*/ 169831 h 347567"/>
                  <a:gd name="connsiteX51" fmla="*/ 401669 w 3285173"/>
                  <a:gd name="connsiteY51" fmla="*/ 169831 h 347567"/>
                  <a:gd name="connsiteX52" fmla="*/ 401669 w 3285173"/>
                  <a:gd name="connsiteY52" fmla="*/ 175927 h 347567"/>
                  <a:gd name="connsiteX53" fmla="*/ 414338 w 3285173"/>
                  <a:gd name="connsiteY53" fmla="*/ 175927 h 347567"/>
                  <a:gd name="connsiteX54" fmla="*/ 414338 w 3285173"/>
                  <a:gd name="connsiteY54" fmla="*/ 182023 h 347567"/>
                  <a:gd name="connsiteX55" fmla="*/ 450056 w 3285173"/>
                  <a:gd name="connsiteY55" fmla="*/ 182023 h 347567"/>
                  <a:gd name="connsiteX56" fmla="*/ 450056 w 3285173"/>
                  <a:gd name="connsiteY56" fmla="*/ 188119 h 347567"/>
                  <a:gd name="connsiteX57" fmla="*/ 565785 w 3285173"/>
                  <a:gd name="connsiteY57" fmla="*/ 188119 h 347567"/>
                  <a:gd name="connsiteX58" fmla="*/ 565785 w 3285173"/>
                  <a:gd name="connsiteY58" fmla="*/ 194120 h 347567"/>
                  <a:gd name="connsiteX59" fmla="*/ 603599 w 3285173"/>
                  <a:gd name="connsiteY59" fmla="*/ 194120 h 347567"/>
                  <a:gd name="connsiteX60" fmla="*/ 603599 w 3285173"/>
                  <a:gd name="connsiteY60" fmla="*/ 200311 h 347567"/>
                  <a:gd name="connsiteX61" fmla="*/ 656177 w 3285173"/>
                  <a:gd name="connsiteY61" fmla="*/ 200311 h 347567"/>
                  <a:gd name="connsiteX62" fmla="*/ 656177 w 3285173"/>
                  <a:gd name="connsiteY62" fmla="*/ 206407 h 347567"/>
                  <a:gd name="connsiteX63" fmla="*/ 675132 w 3285173"/>
                  <a:gd name="connsiteY63" fmla="*/ 206407 h 347567"/>
                  <a:gd name="connsiteX64" fmla="*/ 675132 w 3285173"/>
                  <a:gd name="connsiteY64" fmla="*/ 212503 h 347567"/>
                  <a:gd name="connsiteX65" fmla="*/ 685610 w 3285173"/>
                  <a:gd name="connsiteY65" fmla="*/ 212503 h 347567"/>
                  <a:gd name="connsiteX66" fmla="*/ 685610 w 3285173"/>
                  <a:gd name="connsiteY66" fmla="*/ 218694 h 347567"/>
                  <a:gd name="connsiteX67" fmla="*/ 719328 w 3285173"/>
                  <a:gd name="connsiteY67" fmla="*/ 218694 h 347567"/>
                  <a:gd name="connsiteX68" fmla="*/ 719328 w 3285173"/>
                  <a:gd name="connsiteY68" fmla="*/ 224790 h 347567"/>
                  <a:gd name="connsiteX69" fmla="*/ 725615 w 3285173"/>
                  <a:gd name="connsiteY69" fmla="*/ 224790 h 347567"/>
                  <a:gd name="connsiteX70" fmla="*/ 725615 w 3285173"/>
                  <a:gd name="connsiteY70" fmla="*/ 230886 h 347567"/>
                  <a:gd name="connsiteX71" fmla="*/ 740283 w 3285173"/>
                  <a:gd name="connsiteY71" fmla="*/ 230886 h 347567"/>
                  <a:gd name="connsiteX72" fmla="*/ 740283 w 3285173"/>
                  <a:gd name="connsiteY72" fmla="*/ 236982 h 347567"/>
                  <a:gd name="connsiteX73" fmla="*/ 752951 w 3285173"/>
                  <a:gd name="connsiteY73" fmla="*/ 236982 h 347567"/>
                  <a:gd name="connsiteX74" fmla="*/ 752951 w 3285173"/>
                  <a:gd name="connsiteY74" fmla="*/ 243173 h 347567"/>
                  <a:gd name="connsiteX75" fmla="*/ 778193 w 3285173"/>
                  <a:gd name="connsiteY75" fmla="*/ 243173 h 347567"/>
                  <a:gd name="connsiteX76" fmla="*/ 778193 w 3285173"/>
                  <a:gd name="connsiteY76" fmla="*/ 249269 h 347567"/>
                  <a:gd name="connsiteX77" fmla="*/ 1007459 w 3285173"/>
                  <a:gd name="connsiteY77" fmla="*/ 249269 h 347567"/>
                  <a:gd name="connsiteX78" fmla="*/ 1007459 w 3285173"/>
                  <a:gd name="connsiteY78" fmla="*/ 255461 h 347567"/>
                  <a:gd name="connsiteX79" fmla="*/ 1120997 w 3285173"/>
                  <a:gd name="connsiteY79" fmla="*/ 255461 h 347567"/>
                  <a:gd name="connsiteX80" fmla="*/ 1120997 w 3285173"/>
                  <a:gd name="connsiteY80" fmla="*/ 261652 h 347567"/>
                  <a:gd name="connsiteX81" fmla="*/ 1390174 w 3285173"/>
                  <a:gd name="connsiteY81" fmla="*/ 261652 h 347567"/>
                  <a:gd name="connsiteX82" fmla="*/ 1390174 w 3285173"/>
                  <a:gd name="connsiteY82" fmla="*/ 267938 h 347567"/>
                  <a:gd name="connsiteX83" fmla="*/ 1463802 w 3285173"/>
                  <a:gd name="connsiteY83" fmla="*/ 267938 h 347567"/>
                  <a:gd name="connsiteX84" fmla="*/ 1463802 w 3285173"/>
                  <a:gd name="connsiteY84" fmla="*/ 274225 h 347567"/>
                  <a:gd name="connsiteX85" fmla="*/ 1543717 w 3285173"/>
                  <a:gd name="connsiteY85" fmla="*/ 274225 h 347567"/>
                  <a:gd name="connsiteX86" fmla="*/ 1543717 w 3285173"/>
                  <a:gd name="connsiteY86" fmla="*/ 280511 h 347567"/>
                  <a:gd name="connsiteX87" fmla="*/ 1705642 w 3285173"/>
                  <a:gd name="connsiteY87" fmla="*/ 280511 h 347567"/>
                  <a:gd name="connsiteX88" fmla="*/ 1705642 w 3285173"/>
                  <a:gd name="connsiteY88" fmla="*/ 286988 h 347567"/>
                  <a:gd name="connsiteX89" fmla="*/ 1722501 w 3285173"/>
                  <a:gd name="connsiteY89" fmla="*/ 286988 h 347567"/>
                  <a:gd name="connsiteX90" fmla="*/ 1722501 w 3285173"/>
                  <a:gd name="connsiteY90" fmla="*/ 293370 h 347567"/>
                  <a:gd name="connsiteX91" fmla="*/ 1840325 w 3285173"/>
                  <a:gd name="connsiteY91" fmla="*/ 293370 h 347567"/>
                  <a:gd name="connsiteX92" fmla="*/ 1840325 w 3285173"/>
                  <a:gd name="connsiteY92" fmla="*/ 299847 h 347567"/>
                  <a:gd name="connsiteX93" fmla="*/ 1932813 w 3285173"/>
                  <a:gd name="connsiteY93" fmla="*/ 299847 h 347567"/>
                  <a:gd name="connsiteX94" fmla="*/ 1932813 w 3285173"/>
                  <a:gd name="connsiteY94" fmla="*/ 306229 h 347567"/>
                  <a:gd name="connsiteX95" fmla="*/ 1951768 w 3285173"/>
                  <a:gd name="connsiteY95" fmla="*/ 306229 h 347567"/>
                  <a:gd name="connsiteX96" fmla="*/ 1951768 w 3285173"/>
                  <a:gd name="connsiteY96" fmla="*/ 312706 h 347567"/>
                  <a:gd name="connsiteX97" fmla="*/ 2805589 w 3285173"/>
                  <a:gd name="connsiteY97" fmla="*/ 312706 h 347567"/>
                  <a:gd name="connsiteX98" fmla="*/ 2805589 w 3285173"/>
                  <a:gd name="connsiteY98" fmla="*/ 347567 h 347567"/>
                  <a:gd name="connsiteX99" fmla="*/ 3285173 w 3285173"/>
                  <a:gd name="connsiteY99" fmla="*/ 347567 h 347567"/>
                  <a:gd name="connsiteX0" fmla="*/ 0 w 3285173"/>
                  <a:gd name="connsiteY0" fmla="*/ 0 h 347567"/>
                  <a:gd name="connsiteX1" fmla="*/ 6287 w 3285173"/>
                  <a:gd name="connsiteY1" fmla="*/ 12192 h 347567"/>
                  <a:gd name="connsiteX2" fmla="*/ 25241 w 3285173"/>
                  <a:gd name="connsiteY2" fmla="*/ 12192 h 347567"/>
                  <a:gd name="connsiteX3" fmla="*/ 25241 w 3285173"/>
                  <a:gd name="connsiteY3" fmla="*/ 18193 h 347567"/>
                  <a:gd name="connsiteX4" fmla="*/ 33623 w 3285173"/>
                  <a:gd name="connsiteY4" fmla="*/ 18193 h 347567"/>
                  <a:gd name="connsiteX5" fmla="*/ 33623 w 3285173"/>
                  <a:gd name="connsiteY5" fmla="*/ 24289 h 347567"/>
                  <a:gd name="connsiteX6" fmla="*/ 46292 w 3285173"/>
                  <a:gd name="connsiteY6" fmla="*/ 24289 h 347567"/>
                  <a:gd name="connsiteX7" fmla="*/ 46292 w 3285173"/>
                  <a:gd name="connsiteY7" fmla="*/ 30385 h 347567"/>
                  <a:gd name="connsiteX8" fmla="*/ 63151 w 3285173"/>
                  <a:gd name="connsiteY8" fmla="*/ 30385 h 347567"/>
                  <a:gd name="connsiteX9" fmla="*/ 63151 w 3285173"/>
                  <a:gd name="connsiteY9" fmla="*/ 36386 h 347567"/>
                  <a:gd name="connsiteX10" fmla="*/ 90488 w 3285173"/>
                  <a:gd name="connsiteY10" fmla="*/ 36386 h 347567"/>
                  <a:gd name="connsiteX11" fmla="*/ 90488 w 3285173"/>
                  <a:gd name="connsiteY11" fmla="*/ 42482 h 347567"/>
                  <a:gd name="connsiteX12" fmla="*/ 92583 w 3285173"/>
                  <a:gd name="connsiteY12" fmla="*/ 42482 h 347567"/>
                  <a:gd name="connsiteX13" fmla="*/ 92583 w 3285173"/>
                  <a:gd name="connsiteY13" fmla="*/ 48578 h 347567"/>
                  <a:gd name="connsiteX14" fmla="*/ 103060 w 3285173"/>
                  <a:gd name="connsiteY14" fmla="*/ 48578 h 347567"/>
                  <a:gd name="connsiteX15" fmla="*/ 103060 w 3285173"/>
                  <a:gd name="connsiteY15" fmla="*/ 54578 h 347567"/>
                  <a:gd name="connsiteX16" fmla="*/ 109347 w 3285173"/>
                  <a:gd name="connsiteY16" fmla="*/ 54578 h 347567"/>
                  <a:gd name="connsiteX17" fmla="*/ 109347 w 3285173"/>
                  <a:gd name="connsiteY17" fmla="*/ 66770 h 347567"/>
                  <a:gd name="connsiteX18" fmla="*/ 117824 w 3285173"/>
                  <a:gd name="connsiteY18" fmla="*/ 66770 h 347567"/>
                  <a:gd name="connsiteX19" fmla="*/ 117824 w 3285173"/>
                  <a:gd name="connsiteY19" fmla="*/ 72771 h 347567"/>
                  <a:gd name="connsiteX20" fmla="*/ 124111 w 3285173"/>
                  <a:gd name="connsiteY20" fmla="*/ 72771 h 347567"/>
                  <a:gd name="connsiteX21" fmla="*/ 124111 w 3285173"/>
                  <a:gd name="connsiteY21" fmla="*/ 84963 h 347567"/>
                  <a:gd name="connsiteX22" fmla="*/ 126206 w 3285173"/>
                  <a:gd name="connsiteY22" fmla="*/ 84963 h 347567"/>
                  <a:gd name="connsiteX23" fmla="*/ 126206 w 3285173"/>
                  <a:gd name="connsiteY23" fmla="*/ 91059 h 347567"/>
                  <a:gd name="connsiteX24" fmla="*/ 138779 w 3285173"/>
                  <a:gd name="connsiteY24" fmla="*/ 91059 h 347567"/>
                  <a:gd name="connsiteX25" fmla="*/ 138779 w 3285173"/>
                  <a:gd name="connsiteY25" fmla="*/ 97060 h 347567"/>
                  <a:gd name="connsiteX26" fmla="*/ 161925 w 3285173"/>
                  <a:gd name="connsiteY26" fmla="*/ 97060 h 347567"/>
                  <a:gd name="connsiteX27" fmla="*/ 161925 w 3285173"/>
                  <a:gd name="connsiteY27" fmla="*/ 103156 h 347567"/>
                  <a:gd name="connsiteX28" fmla="*/ 168307 w 3285173"/>
                  <a:gd name="connsiteY28" fmla="*/ 103156 h 347567"/>
                  <a:gd name="connsiteX29" fmla="*/ 168307 w 3285173"/>
                  <a:gd name="connsiteY29" fmla="*/ 109252 h 347567"/>
                  <a:gd name="connsiteX30" fmla="*/ 176689 w 3285173"/>
                  <a:gd name="connsiteY30" fmla="*/ 109252 h 347567"/>
                  <a:gd name="connsiteX31" fmla="*/ 176689 w 3285173"/>
                  <a:gd name="connsiteY31" fmla="*/ 115253 h 347567"/>
                  <a:gd name="connsiteX32" fmla="*/ 185071 w 3285173"/>
                  <a:gd name="connsiteY32" fmla="*/ 115253 h 347567"/>
                  <a:gd name="connsiteX33" fmla="*/ 185071 w 3285173"/>
                  <a:gd name="connsiteY33" fmla="*/ 121349 h 347567"/>
                  <a:gd name="connsiteX34" fmla="*/ 189262 w 3285173"/>
                  <a:gd name="connsiteY34" fmla="*/ 121349 h 347567"/>
                  <a:gd name="connsiteX35" fmla="*/ 189262 w 3285173"/>
                  <a:gd name="connsiteY35" fmla="*/ 127445 h 347567"/>
                  <a:gd name="connsiteX36" fmla="*/ 262890 w 3285173"/>
                  <a:gd name="connsiteY36" fmla="*/ 127445 h 347567"/>
                  <a:gd name="connsiteX37" fmla="*/ 262890 w 3285173"/>
                  <a:gd name="connsiteY37" fmla="*/ 133445 h 347567"/>
                  <a:gd name="connsiteX38" fmla="*/ 283940 w 3285173"/>
                  <a:gd name="connsiteY38" fmla="*/ 133445 h 347567"/>
                  <a:gd name="connsiteX39" fmla="*/ 283940 w 3285173"/>
                  <a:gd name="connsiteY39" fmla="*/ 139541 h 347567"/>
                  <a:gd name="connsiteX40" fmla="*/ 290227 w 3285173"/>
                  <a:gd name="connsiteY40" fmla="*/ 139541 h 347567"/>
                  <a:gd name="connsiteX41" fmla="*/ 290227 w 3285173"/>
                  <a:gd name="connsiteY41" fmla="*/ 145637 h 347567"/>
                  <a:gd name="connsiteX42" fmla="*/ 332327 w 3285173"/>
                  <a:gd name="connsiteY42" fmla="*/ 145637 h 347567"/>
                  <a:gd name="connsiteX43" fmla="*/ 332327 w 3285173"/>
                  <a:gd name="connsiteY43" fmla="*/ 151638 h 347567"/>
                  <a:gd name="connsiteX44" fmla="*/ 346996 w 3285173"/>
                  <a:gd name="connsiteY44" fmla="*/ 151638 h 347567"/>
                  <a:gd name="connsiteX45" fmla="*/ 346996 w 3285173"/>
                  <a:gd name="connsiteY45" fmla="*/ 157734 h 347567"/>
                  <a:gd name="connsiteX46" fmla="*/ 376523 w 3285173"/>
                  <a:gd name="connsiteY46" fmla="*/ 157734 h 347567"/>
                  <a:gd name="connsiteX47" fmla="*/ 376523 w 3285173"/>
                  <a:gd name="connsiteY47" fmla="*/ 163830 h 347567"/>
                  <a:gd name="connsiteX48" fmla="*/ 378619 w 3285173"/>
                  <a:gd name="connsiteY48" fmla="*/ 163830 h 347567"/>
                  <a:gd name="connsiteX49" fmla="*/ 378619 w 3285173"/>
                  <a:gd name="connsiteY49" fmla="*/ 169831 h 347567"/>
                  <a:gd name="connsiteX50" fmla="*/ 401669 w 3285173"/>
                  <a:gd name="connsiteY50" fmla="*/ 169831 h 347567"/>
                  <a:gd name="connsiteX51" fmla="*/ 401669 w 3285173"/>
                  <a:gd name="connsiteY51" fmla="*/ 175927 h 347567"/>
                  <a:gd name="connsiteX52" fmla="*/ 414338 w 3285173"/>
                  <a:gd name="connsiteY52" fmla="*/ 175927 h 347567"/>
                  <a:gd name="connsiteX53" fmla="*/ 414338 w 3285173"/>
                  <a:gd name="connsiteY53" fmla="*/ 182023 h 347567"/>
                  <a:gd name="connsiteX54" fmla="*/ 450056 w 3285173"/>
                  <a:gd name="connsiteY54" fmla="*/ 182023 h 347567"/>
                  <a:gd name="connsiteX55" fmla="*/ 450056 w 3285173"/>
                  <a:gd name="connsiteY55" fmla="*/ 188119 h 347567"/>
                  <a:gd name="connsiteX56" fmla="*/ 565785 w 3285173"/>
                  <a:gd name="connsiteY56" fmla="*/ 188119 h 347567"/>
                  <a:gd name="connsiteX57" fmla="*/ 565785 w 3285173"/>
                  <a:gd name="connsiteY57" fmla="*/ 194120 h 347567"/>
                  <a:gd name="connsiteX58" fmla="*/ 603599 w 3285173"/>
                  <a:gd name="connsiteY58" fmla="*/ 194120 h 347567"/>
                  <a:gd name="connsiteX59" fmla="*/ 603599 w 3285173"/>
                  <a:gd name="connsiteY59" fmla="*/ 200311 h 347567"/>
                  <a:gd name="connsiteX60" fmla="*/ 656177 w 3285173"/>
                  <a:gd name="connsiteY60" fmla="*/ 200311 h 347567"/>
                  <a:gd name="connsiteX61" fmla="*/ 656177 w 3285173"/>
                  <a:gd name="connsiteY61" fmla="*/ 206407 h 347567"/>
                  <a:gd name="connsiteX62" fmla="*/ 675132 w 3285173"/>
                  <a:gd name="connsiteY62" fmla="*/ 206407 h 347567"/>
                  <a:gd name="connsiteX63" fmla="*/ 675132 w 3285173"/>
                  <a:gd name="connsiteY63" fmla="*/ 212503 h 347567"/>
                  <a:gd name="connsiteX64" fmla="*/ 685610 w 3285173"/>
                  <a:gd name="connsiteY64" fmla="*/ 212503 h 347567"/>
                  <a:gd name="connsiteX65" fmla="*/ 685610 w 3285173"/>
                  <a:gd name="connsiteY65" fmla="*/ 218694 h 347567"/>
                  <a:gd name="connsiteX66" fmla="*/ 719328 w 3285173"/>
                  <a:gd name="connsiteY66" fmla="*/ 218694 h 347567"/>
                  <a:gd name="connsiteX67" fmla="*/ 719328 w 3285173"/>
                  <a:gd name="connsiteY67" fmla="*/ 224790 h 347567"/>
                  <a:gd name="connsiteX68" fmla="*/ 725615 w 3285173"/>
                  <a:gd name="connsiteY68" fmla="*/ 224790 h 347567"/>
                  <a:gd name="connsiteX69" fmla="*/ 725615 w 3285173"/>
                  <a:gd name="connsiteY69" fmla="*/ 230886 h 347567"/>
                  <a:gd name="connsiteX70" fmla="*/ 740283 w 3285173"/>
                  <a:gd name="connsiteY70" fmla="*/ 230886 h 347567"/>
                  <a:gd name="connsiteX71" fmla="*/ 740283 w 3285173"/>
                  <a:gd name="connsiteY71" fmla="*/ 236982 h 347567"/>
                  <a:gd name="connsiteX72" fmla="*/ 752951 w 3285173"/>
                  <a:gd name="connsiteY72" fmla="*/ 236982 h 347567"/>
                  <a:gd name="connsiteX73" fmla="*/ 752951 w 3285173"/>
                  <a:gd name="connsiteY73" fmla="*/ 243173 h 347567"/>
                  <a:gd name="connsiteX74" fmla="*/ 778193 w 3285173"/>
                  <a:gd name="connsiteY74" fmla="*/ 243173 h 347567"/>
                  <a:gd name="connsiteX75" fmla="*/ 778193 w 3285173"/>
                  <a:gd name="connsiteY75" fmla="*/ 249269 h 347567"/>
                  <a:gd name="connsiteX76" fmla="*/ 1007459 w 3285173"/>
                  <a:gd name="connsiteY76" fmla="*/ 249269 h 347567"/>
                  <a:gd name="connsiteX77" fmla="*/ 1007459 w 3285173"/>
                  <a:gd name="connsiteY77" fmla="*/ 255461 h 347567"/>
                  <a:gd name="connsiteX78" fmla="*/ 1120997 w 3285173"/>
                  <a:gd name="connsiteY78" fmla="*/ 255461 h 347567"/>
                  <a:gd name="connsiteX79" fmla="*/ 1120997 w 3285173"/>
                  <a:gd name="connsiteY79" fmla="*/ 261652 h 347567"/>
                  <a:gd name="connsiteX80" fmla="*/ 1390174 w 3285173"/>
                  <a:gd name="connsiteY80" fmla="*/ 261652 h 347567"/>
                  <a:gd name="connsiteX81" fmla="*/ 1390174 w 3285173"/>
                  <a:gd name="connsiteY81" fmla="*/ 267938 h 347567"/>
                  <a:gd name="connsiteX82" fmla="*/ 1463802 w 3285173"/>
                  <a:gd name="connsiteY82" fmla="*/ 267938 h 347567"/>
                  <a:gd name="connsiteX83" fmla="*/ 1463802 w 3285173"/>
                  <a:gd name="connsiteY83" fmla="*/ 274225 h 347567"/>
                  <a:gd name="connsiteX84" fmla="*/ 1543717 w 3285173"/>
                  <a:gd name="connsiteY84" fmla="*/ 274225 h 347567"/>
                  <a:gd name="connsiteX85" fmla="*/ 1543717 w 3285173"/>
                  <a:gd name="connsiteY85" fmla="*/ 280511 h 347567"/>
                  <a:gd name="connsiteX86" fmla="*/ 1705642 w 3285173"/>
                  <a:gd name="connsiteY86" fmla="*/ 280511 h 347567"/>
                  <a:gd name="connsiteX87" fmla="*/ 1705642 w 3285173"/>
                  <a:gd name="connsiteY87" fmla="*/ 286988 h 347567"/>
                  <a:gd name="connsiteX88" fmla="*/ 1722501 w 3285173"/>
                  <a:gd name="connsiteY88" fmla="*/ 286988 h 347567"/>
                  <a:gd name="connsiteX89" fmla="*/ 1722501 w 3285173"/>
                  <a:gd name="connsiteY89" fmla="*/ 293370 h 347567"/>
                  <a:gd name="connsiteX90" fmla="*/ 1840325 w 3285173"/>
                  <a:gd name="connsiteY90" fmla="*/ 293370 h 347567"/>
                  <a:gd name="connsiteX91" fmla="*/ 1840325 w 3285173"/>
                  <a:gd name="connsiteY91" fmla="*/ 299847 h 347567"/>
                  <a:gd name="connsiteX92" fmla="*/ 1932813 w 3285173"/>
                  <a:gd name="connsiteY92" fmla="*/ 299847 h 347567"/>
                  <a:gd name="connsiteX93" fmla="*/ 1932813 w 3285173"/>
                  <a:gd name="connsiteY93" fmla="*/ 306229 h 347567"/>
                  <a:gd name="connsiteX94" fmla="*/ 1951768 w 3285173"/>
                  <a:gd name="connsiteY94" fmla="*/ 306229 h 347567"/>
                  <a:gd name="connsiteX95" fmla="*/ 1951768 w 3285173"/>
                  <a:gd name="connsiteY95" fmla="*/ 312706 h 347567"/>
                  <a:gd name="connsiteX96" fmla="*/ 2805589 w 3285173"/>
                  <a:gd name="connsiteY96" fmla="*/ 312706 h 347567"/>
                  <a:gd name="connsiteX97" fmla="*/ 2805589 w 3285173"/>
                  <a:gd name="connsiteY97" fmla="*/ 347567 h 347567"/>
                  <a:gd name="connsiteX98" fmla="*/ 3285173 w 3285173"/>
                  <a:gd name="connsiteY98" fmla="*/ 347567 h 347567"/>
                  <a:gd name="connsiteX0" fmla="*/ 0 w 3278886"/>
                  <a:gd name="connsiteY0" fmla="*/ 0 h 335375"/>
                  <a:gd name="connsiteX1" fmla="*/ 18954 w 3278886"/>
                  <a:gd name="connsiteY1" fmla="*/ 0 h 335375"/>
                  <a:gd name="connsiteX2" fmla="*/ 18954 w 3278886"/>
                  <a:gd name="connsiteY2" fmla="*/ 6001 h 335375"/>
                  <a:gd name="connsiteX3" fmla="*/ 27336 w 3278886"/>
                  <a:gd name="connsiteY3" fmla="*/ 6001 h 335375"/>
                  <a:gd name="connsiteX4" fmla="*/ 27336 w 3278886"/>
                  <a:gd name="connsiteY4" fmla="*/ 12097 h 335375"/>
                  <a:gd name="connsiteX5" fmla="*/ 40005 w 3278886"/>
                  <a:gd name="connsiteY5" fmla="*/ 12097 h 335375"/>
                  <a:gd name="connsiteX6" fmla="*/ 40005 w 3278886"/>
                  <a:gd name="connsiteY6" fmla="*/ 18193 h 335375"/>
                  <a:gd name="connsiteX7" fmla="*/ 56864 w 3278886"/>
                  <a:gd name="connsiteY7" fmla="*/ 18193 h 335375"/>
                  <a:gd name="connsiteX8" fmla="*/ 56864 w 3278886"/>
                  <a:gd name="connsiteY8" fmla="*/ 24194 h 335375"/>
                  <a:gd name="connsiteX9" fmla="*/ 84201 w 3278886"/>
                  <a:gd name="connsiteY9" fmla="*/ 24194 h 335375"/>
                  <a:gd name="connsiteX10" fmla="*/ 84201 w 3278886"/>
                  <a:gd name="connsiteY10" fmla="*/ 30290 h 335375"/>
                  <a:gd name="connsiteX11" fmla="*/ 86296 w 3278886"/>
                  <a:gd name="connsiteY11" fmla="*/ 30290 h 335375"/>
                  <a:gd name="connsiteX12" fmla="*/ 86296 w 3278886"/>
                  <a:gd name="connsiteY12" fmla="*/ 36386 h 335375"/>
                  <a:gd name="connsiteX13" fmla="*/ 96773 w 3278886"/>
                  <a:gd name="connsiteY13" fmla="*/ 36386 h 335375"/>
                  <a:gd name="connsiteX14" fmla="*/ 96773 w 3278886"/>
                  <a:gd name="connsiteY14" fmla="*/ 42386 h 335375"/>
                  <a:gd name="connsiteX15" fmla="*/ 103060 w 3278886"/>
                  <a:gd name="connsiteY15" fmla="*/ 42386 h 335375"/>
                  <a:gd name="connsiteX16" fmla="*/ 103060 w 3278886"/>
                  <a:gd name="connsiteY16" fmla="*/ 54578 h 335375"/>
                  <a:gd name="connsiteX17" fmla="*/ 111537 w 3278886"/>
                  <a:gd name="connsiteY17" fmla="*/ 54578 h 335375"/>
                  <a:gd name="connsiteX18" fmla="*/ 111537 w 3278886"/>
                  <a:gd name="connsiteY18" fmla="*/ 60579 h 335375"/>
                  <a:gd name="connsiteX19" fmla="*/ 117824 w 3278886"/>
                  <a:gd name="connsiteY19" fmla="*/ 60579 h 335375"/>
                  <a:gd name="connsiteX20" fmla="*/ 117824 w 3278886"/>
                  <a:gd name="connsiteY20" fmla="*/ 72771 h 335375"/>
                  <a:gd name="connsiteX21" fmla="*/ 119919 w 3278886"/>
                  <a:gd name="connsiteY21" fmla="*/ 72771 h 335375"/>
                  <a:gd name="connsiteX22" fmla="*/ 119919 w 3278886"/>
                  <a:gd name="connsiteY22" fmla="*/ 78867 h 335375"/>
                  <a:gd name="connsiteX23" fmla="*/ 132492 w 3278886"/>
                  <a:gd name="connsiteY23" fmla="*/ 78867 h 335375"/>
                  <a:gd name="connsiteX24" fmla="*/ 132492 w 3278886"/>
                  <a:gd name="connsiteY24" fmla="*/ 84868 h 335375"/>
                  <a:gd name="connsiteX25" fmla="*/ 155638 w 3278886"/>
                  <a:gd name="connsiteY25" fmla="*/ 84868 h 335375"/>
                  <a:gd name="connsiteX26" fmla="*/ 155638 w 3278886"/>
                  <a:gd name="connsiteY26" fmla="*/ 90964 h 335375"/>
                  <a:gd name="connsiteX27" fmla="*/ 162020 w 3278886"/>
                  <a:gd name="connsiteY27" fmla="*/ 90964 h 335375"/>
                  <a:gd name="connsiteX28" fmla="*/ 162020 w 3278886"/>
                  <a:gd name="connsiteY28" fmla="*/ 97060 h 335375"/>
                  <a:gd name="connsiteX29" fmla="*/ 170402 w 3278886"/>
                  <a:gd name="connsiteY29" fmla="*/ 97060 h 335375"/>
                  <a:gd name="connsiteX30" fmla="*/ 170402 w 3278886"/>
                  <a:gd name="connsiteY30" fmla="*/ 103061 h 335375"/>
                  <a:gd name="connsiteX31" fmla="*/ 178784 w 3278886"/>
                  <a:gd name="connsiteY31" fmla="*/ 103061 h 335375"/>
                  <a:gd name="connsiteX32" fmla="*/ 178784 w 3278886"/>
                  <a:gd name="connsiteY32" fmla="*/ 109157 h 335375"/>
                  <a:gd name="connsiteX33" fmla="*/ 182975 w 3278886"/>
                  <a:gd name="connsiteY33" fmla="*/ 109157 h 335375"/>
                  <a:gd name="connsiteX34" fmla="*/ 182975 w 3278886"/>
                  <a:gd name="connsiteY34" fmla="*/ 115253 h 335375"/>
                  <a:gd name="connsiteX35" fmla="*/ 256603 w 3278886"/>
                  <a:gd name="connsiteY35" fmla="*/ 115253 h 335375"/>
                  <a:gd name="connsiteX36" fmla="*/ 256603 w 3278886"/>
                  <a:gd name="connsiteY36" fmla="*/ 121253 h 335375"/>
                  <a:gd name="connsiteX37" fmla="*/ 277653 w 3278886"/>
                  <a:gd name="connsiteY37" fmla="*/ 121253 h 335375"/>
                  <a:gd name="connsiteX38" fmla="*/ 277653 w 3278886"/>
                  <a:gd name="connsiteY38" fmla="*/ 127349 h 335375"/>
                  <a:gd name="connsiteX39" fmla="*/ 283940 w 3278886"/>
                  <a:gd name="connsiteY39" fmla="*/ 127349 h 335375"/>
                  <a:gd name="connsiteX40" fmla="*/ 283940 w 3278886"/>
                  <a:gd name="connsiteY40" fmla="*/ 133445 h 335375"/>
                  <a:gd name="connsiteX41" fmla="*/ 326040 w 3278886"/>
                  <a:gd name="connsiteY41" fmla="*/ 133445 h 335375"/>
                  <a:gd name="connsiteX42" fmla="*/ 326040 w 3278886"/>
                  <a:gd name="connsiteY42" fmla="*/ 139446 h 335375"/>
                  <a:gd name="connsiteX43" fmla="*/ 340709 w 3278886"/>
                  <a:gd name="connsiteY43" fmla="*/ 139446 h 335375"/>
                  <a:gd name="connsiteX44" fmla="*/ 340709 w 3278886"/>
                  <a:gd name="connsiteY44" fmla="*/ 145542 h 335375"/>
                  <a:gd name="connsiteX45" fmla="*/ 370236 w 3278886"/>
                  <a:gd name="connsiteY45" fmla="*/ 145542 h 335375"/>
                  <a:gd name="connsiteX46" fmla="*/ 370236 w 3278886"/>
                  <a:gd name="connsiteY46" fmla="*/ 151638 h 335375"/>
                  <a:gd name="connsiteX47" fmla="*/ 372332 w 3278886"/>
                  <a:gd name="connsiteY47" fmla="*/ 151638 h 335375"/>
                  <a:gd name="connsiteX48" fmla="*/ 372332 w 3278886"/>
                  <a:gd name="connsiteY48" fmla="*/ 157639 h 335375"/>
                  <a:gd name="connsiteX49" fmla="*/ 395382 w 3278886"/>
                  <a:gd name="connsiteY49" fmla="*/ 157639 h 335375"/>
                  <a:gd name="connsiteX50" fmla="*/ 395382 w 3278886"/>
                  <a:gd name="connsiteY50" fmla="*/ 163735 h 335375"/>
                  <a:gd name="connsiteX51" fmla="*/ 408051 w 3278886"/>
                  <a:gd name="connsiteY51" fmla="*/ 163735 h 335375"/>
                  <a:gd name="connsiteX52" fmla="*/ 408051 w 3278886"/>
                  <a:gd name="connsiteY52" fmla="*/ 169831 h 335375"/>
                  <a:gd name="connsiteX53" fmla="*/ 443769 w 3278886"/>
                  <a:gd name="connsiteY53" fmla="*/ 169831 h 335375"/>
                  <a:gd name="connsiteX54" fmla="*/ 443769 w 3278886"/>
                  <a:gd name="connsiteY54" fmla="*/ 175927 h 335375"/>
                  <a:gd name="connsiteX55" fmla="*/ 559498 w 3278886"/>
                  <a:gd name="connsiteY55" fmla="*/ 175927 h 335375"/>
                  <a:gd name="connsiteX56" fmla="*/ 559498 w 3278886"/>
                  <a:gd name="connsiteY56" fmla="*/ 181928 h 335375"/>
                  <a:gd name="connsiteX57" fmla="*/ 597312 w 3278886"/>
                  <a:gd name="connsiteY57" fmla="*/ 181928 h 335375"/>
                  <a:gd name="connsiteX58" fmla="*/ 597312 w 3278886"/>
                  <a:gd name="connsiteY58" fmla="*/ 188119 h 335375"/>
                  <a:gd name="connsiteX59" fmla="*/ 649890 w 3278886"/>
                  <a:gd name="connsiteY59" fmla="*/ 188119 h 335375"/>
                  <a:gd name="connsiteX60" fmla="*/ 649890 w 3278886"/>
                  <a:gd name="connsiteY60" fmla="*/ 194215 h 335375"/>
                  <a:gd name="connsiteX61" fmla="*/ 668845 w 3278886"/>
                  <a:gd name="connsiteY61" fmla="*/ 194215 h 335375"/>
                  <a:gd name="connsiteX62" fmla="*/ 668845 w 3278886"/>
                  <a:gd name="connsiteY62" fmla="*/ 200311 h 335375"/>
                  <a:gd name="connsiteX63" fmla="*/ 679323 w 3278886"/>
                  <a:gd name="connsiteY63" fmla="*/ 200311 h 335375"/>
                  <a:gd name="connsiteX64" fmla="*/ 679323 w 3278886"/>
                  <a:gd name="connsiteY64" fmla="*/ 206502 h 335375"/>
                  <a:gd name="connsiteX65" fmla="*/ 713041 w 3278886"/>
                  <a:gd name="connsiteY65" fmla="*/ 206502 h 335375"/>
                  <a:gd name="connsiteX66" fmla="*/ 713041 w 3278886"/>
                  <a:gd name="connsiteY66" fmla="*/ 212598 h 335375"/>
                  <a:gd name="connsiteX67" fmla="*/ 719328 w 3278886"/>
                  <a:gd name="connsiteY67" fmla="*/ 212598 h 335375"/>
                  <a:gd name="connsiteX68" fmla="*/ 719328 w 3278886"/>
                  <a:gd name="connsiteY68" fmla="*/ 218694 h 335375"/>
                  <a:gd name="connsiteX69" fmla="*/ 733996 w 3278886"/>
                  <a:gd name="connsiteY69" fmla="*/ 218694 h 335375"/>
                  <a:gd name="connsiteX70" fmla="*/ 733996 w 3278886"/>
                  <a:gd name="connsiteY70" fmla="*/ 224790 h 335375"/>
                  <a:gd name="connsiteX71" fmla="*/ 746664 w 3278886"/>
                  <a:gd name="connsiteY71" fmla="*/ 224790 h 335375"/>
                  <a:gd name="connsiteX72" fmla="*/ 746664 w 3278886"/>
                  <a:gd name="connsiteY72" fmla="*/ 230981 h 335375"/>
                  <a:gd name="connsiteX73" fmla="*/ 771906 w 3278886"/>
                  <a:gd name="connsiteY73" fmla="*/ 230981 h 335375"/>
                  <a:gd name="connsiteX74" fmla="*/ 771906 w 3278886"/>
                  <a:gd name="connsiteY74" fmla="*/ 237077 h 335375"/>
                  <a:gd name="connsiteX75" fmla="*/ 1001172 w 3278886"/>
                  <a:gd name="connsiteY75" fmla="*/ 237077 h 335375"/>
                  <a:gd name="connsiteX76" fmla="*/ 1001172 w 3278886"/>
                  <a:gd name="connsiteY76" fmla="*/ 243269 h 335375"/>
                  <a:gd name="connsiteX77" fmla="*/ 1114710 w 3278886"/>
                  <a:gd name="connsiteY77" fmla="*/ 243269 h 335375"/>
                  <a:gd name="connsiteX78" fmla="*/ 1114710 w 3278886"/>
                  <a:gd name="connsiteY78" fmla="*/ 249460 h 335375"/>
                  <a:gd name="connsiteX79" fmla="*/ 1383887 w 3278886"/>
                  <a:gd name="connsiteY79" fmla="*/ 249460 h 335375"/>
                  <a:gd name="connsiteX80" fmla="*/ 1383887 w 3278886"/>
                  <a:gd name="connsiteY80" fmla="*/ 255746 h 335375"/>
                  <a:gd name="connsiteX81" fmla="*/ 1457515 w 3278886"/>
                  <a:gd name="connsiteY81" fmla="*/ 255746 h 335375"/>
                  <a:gd name="connsiteX82" fmla="*/ 1457515 w 3278886"/>
                  <a:gd name="connsiteY82" fmla="*/ 262033 h 335375"/>
                  <a:gd name="connsiteX83" fmla="*/ 1537430 w 3278886"/>
                  <a:gd name="connsiteY83" fmla="*/ 262033 h 335375"/>
                  <a:gd name="connsiteX84" fmla="*/ 1537430 w 3278886"/>
                  <a:gd name="connsiteY84" fmla="*/ 268319 h 335375"/>
                  <a:gd name="connsiteX85" fmla="*/ 1699355 w 3278886"/>
                  <a:gd name="connsiteY85" fmla="*/ 268319 h 335375"/>
                  <a:gd name="connsiteX86" fmla="*/ 1699355 w 3278886"/>
                  <a:gd name="connsiteY86" fmla="*/ 274796 h 335375"/>
                  <a:gd name="connsiteX87" fmla="*/ 1716214 w 3278886"/>
                  <a:gd name="connsiteY87" fmla="*/ 274796 h 335375"/>
                  <a:gd name="connsiteX88" fmla="*/ 1716214 w 3278886"/>
                  <a:gd name="connsiteY88" fmla="*/ 281178 h 335375"/>
                  <a:gd name="connsiteX89" fmla="*/ 1834038 w 3278886"/>
                  <a:gd name="connsiteY89" fmla="*/ 281178 h 335375"/>
                  <a:gd name="connsiteX90" fmla="*/ 1834038 w 3278886"/>
                  <a:gd name="connsiteY90" fmla="*/ 287655 h 335375"/>
                  <a:gd name="connsiteX91" fmla="*/ 1926526 w 3278886"/>
                  <a:gd name="connsiteY91" fmla="*/ 287655 h 335375"/>
                  <a:gd name="connsiteX92" fmla="*/ 1926526 w 3278886"/>
                  <a:gd name="connsiteY92" fmla="*/ 294037 h 335375"/>
                  <a:gd name="connsiteX93" fmla="*/ 1945481 w 3278886"/>
                  <a:gd name="connsiteY93" fmla="*/ 294037 h 335375"/>
                  <a:gd name="connsiteX94" fmla="*/ 1945481 w 3278886"/>
                  <a:gd name="connsiteY94" fmla="*/ 300514 h 335375"/>
                  <a:gd name="connsiteX95" fmla="*/ 2799302 w 3278886"/>
                  <a:gd name="connsiteY95" fmla="*/ 300514 h 335375"/>
                  <a:gd name="connsiteX96" fmla="*/ 2799302 w 3278886"/>
                  <a:gd name="connsiteY96" fmla="*/ 335375 h 335375"/>
                  <a:gd name="connsiteX97" fmla="*/ 3278886 w 3278886"/>
                  <a:gd name="connsiteY97" fmla="*/ 335375 h 335375"/>
                  <a:gd name="connsiteX0" fmla="*/ 0 w 3259932"/>
                  <a:gd name="connsiteY0" fmla="*/ 0 h 335375"/>
                  <a:gd name="connsiteX1" fmla="*/ 0 w 3259932"/>
                  <a:gd name="connsiteY1" fmla="*/ 6001 h 335375"/>
                  <a:gd name="connsiteX2" fmla="*/ 8382 w 3259932"/>
                  <a:gd name="connsiteY2" fmla="*/ 6001 h 335375"/>
                  <a:gd name="connsiteX3" fmla="*/ 8382 w 3259932"/>
                  <a:gd name="connsiteY3" fmla="*/ 12097 h 335375"/>
                  <a:gd name="connsiteX4" fmla="*/ 21051 w 3259932"/>
                  <a:gd name="connsiteY4" fmla="*/ 12097 h 335375"/>
                  <a:gd name="connsiteX5" fmla="*/ 21051 w 3259932"/>
                  <a:gd name="connsiteY5" fmla="*/ 18193 h 335375"/>
                  <a:gd name="connsiteX6" fmla="*/ 37910 w 3259932"/>
                  <a:gd name="connsiteY6" fmla="*/ 18193 h 335375"/>
                  <a:gd name="connsiteX7" fmla="*/ 37910 w 3259932"/>
                  <a:gd name="connsiteY7" fmla="*/ 24194 h 335375"/>
                  <a:gd name="connsiteX8" fmla="*/ 65247 w 3259932"/>
                  <a:gd name="connsiteY8" fmla="*/ 24194 h 335375"/>
                  <a:gd name="connsiteX9" fmla="*/ 65247 w 3259932"/>
                  <a:gd name="connsiteY9" fmla="*/ 30290 h 335375"/>
                  <a:gd name="connsiteX10" fmla="*/ 67342 w 3259932"/>
                  <a:gd name="connsiteY10" fmla="*/ 30290 h 335375"/>
                  <a:gd name="connsiteX11" fmla="*/ 67342 w 3259932"/>
                  <a:gd name="connsiteY11" fmla="*/ 36386 h 335375"/>
                  <a:gd name="connsiteX12" fmla="*/ 77819 w 3259932"/>
                  <a:gd name="connsiteY12" fmla="*/ 36386 h 335375"/>
                  <a:gd name="connsiteX13" fmla="*/ 77819 w 3259932"/>
                  <a:gd name="connsiteY13" fmla="*/ 42386 h 335375"/>
                  <a:gd name="connsiteX14" fmla="*/ 84106 w 3259932"/>
                  <a:gd name="connsiteY14" fmla="*/ 42386 h 335375"/>
                  <a:gd name="connsiteX15" fmla="*/ 84106 w 3259932"/>
                  <a:gd name="connsiteY15" fmla="*/ 54578 h 335375"/>
                  <a:gd name="connsiteX16" fmla="*/ 92583 w 3259932"/>
                  <a:gd name="connsiteY16" fmla="*/ 54578 h 335375"/>
                  <a:gd name="connsiteX17" fmla="*/ 92583 w 3259932"/>
                  <a:gd name="connsiteY17" fmla="*/ 60579 h 335375"/>
                  <a:gd name="connsiteX18" fmla="*/ 98870 w 3259932"/>
                  <a:gd name="connsiteY18" fmla="*/ 60579 h 335375"/>
                  <a:gd name="connsiteX19" fmla="*/ 98870 w 3259932"/>
                  <a:gd name="connsiteY19" fmla="*/ 72771 h 335375"/>
                  <a:gd name="connsiteX20" fmla="*/ 100965 w 3259932"/>
                  <a:gd name="connsiteY20" fmla="*/ 72771 h 335375"/>
                  <a:gd name="connsiteX21" fmla="*/ 100965 w 3259932"/>
                  <a:gd name="connsiteY21" fmla="*/ 78867 h 335375"/>
                  <a:gd name="connsiteX22" fmla="*/ 113538 w 3259932"/>
                  <a:gd name="connsiteY22" fmla="*/ 78867 h 335375"/>
                  <a:gd name="connsiteX23" fmla="*/ 113538 w 3259932"/>
                  <a:gd name="connsiteY23" fmla="*/ 84868 h 335375"/>
                  <a:gd name="connsiteX24" fmla="*/ 136684 w 3259932"/>
                  <a:gd name="connsiteY24" fmla="*/ 84868 h 335375"/>
                  <a:gd name="connsiteX25" fmla="*/ 136684 w 3259932"/>
                  <a:gd name="connsiteY25" fmla="*/ 90964 h 335375"/>
                  <a:gd name="connsiteX26" fmla="*/ 143066 w 3259932"/>
                  <a:gd name="connsiteY26" fmla="*/ 90964 h 335375"/>
                  <a:gd name="connsiteX27" fmla="*/ 143066 w 3259932"/>
                  <a:gd name="connsiteY27" fmla="*/ 97060 h 335375"/>
                  <a:gd name="connsiteX28" fmla="*/ 151448 w 3259932"/>
                  <a:gd name="connsiteY28" fmla="*/ 97060 h 335375"/>
                  <a:gd name="connsiteX29" fmla="*/ 151448 w 3259932"/>
                  <a:gd name="connsiteY29" fmla="*/ 103061 h 335375"/>
                  <a:gd name="connsiteX30" fmla="*/ 159830 w 3259932"/>
                  <a:gd name="connsiteY30" fmla="*/ 103061 h 335375"/>
                  <a:gd name="connsiteX31" fmla="*/ 159830 w 3259932"/>
                  <a:gd name="connsiteY31" fmla="*/ 109157 h 335375"/>
                  <a:gd name="connsiteX32" fmla="*/ 164021 w 3259932"/>
                  <a:gd name="connsiteY32" fmla="*/ 109157 h 335375"/>
                  <a:gd name="connsiteX33" fmla="*/ 164021 w 3259932"/>
                  <a:gd name="connsiteY33" fmla="*/ 115253 h 335375"/>
                  <a:gd name="connsiteX34" fmla="*/ 237649 w 3259932"/>
                  <a:gd name="connsiteY34" fmla="*/ 115253 h 335375"/>
                  <a:gd name="connsiteX35" fmla="*/ 237649 w 3259932"/>
                  <a:gd name="connsiteY35" fmla="*/ 121253 h 335375"/>
                  <a:gd name="connsiteX36" fmla="*/ 258699 w 3259932"/>
                  <a:gd name="connsiteY36" fmla="*/ 121253 h 335375"/>
                  <a:gd name="connsiteX37" fmla="*/ 258699 w 3259932"/>
                  <a:gd name="connsiteY37" fmla="*/ 127349 h 335375"/>
                  <a:gd name="connsiteX38" fmla="*/ 264986 w 3259932"/>
                  <a:gd name="connsiteY38" fmla="*/ 127349 h 335375"/>
                  <a:gd name="connsiteX39" fmla="*/ 264986 w 3259932"/>
                  <a:gd name="connsiteY39" fmla="*/ 133445 h 335375"/>
                  <a:gd name="connsiteX40" fmla="*/ 307086 w 3259932"/>
                  <a:gd name="connsiteY40" fmla="*/ 133445 h 335375"/>
                  <a:gd name="connsiteX41" fmla="*/ 307086 w 3259932"/>
                  <a:gd name="connsiteY41" fmla="*/ 139446 h 335375"/>
                  <a:gd name="connsiteX42" fmla="*/ 321755 w 3259932"/>
                  <a:gd name="connsiteY42" fmla="*/ 139446 h 335375"/>
                  <a:gd name="connsiteX43" fmla="*/ 321755 w 3259932"/>
                  <a:gd name="connsiteY43" fmla="*/ 145542 h 335375"/>
                  <a:gd name="connsiteX44" fmla="*/ 351282 w 3259932"/>
                  <a:gd name="connsiteY44" fmla="*/ 145542 h 335375"/>
                  <a:gd name="connsiteX45" fmla="*/ 351282 w 3259932"/>
                  <a:gd name="connsiteY45" fmla="*/ 151638 h 335375"/>
                  <a:gd name="connsiteX46" fmla="*/ 353378 w 3259932"/>
                  <a:gd name="connsiteY46" fmla="*/ 151638 h 335375"/>
                  <a:gd name="connsiteX47" fmla="*/ 353378 w 3259932"/>
                  <a:gd name="connsiteY47" fmla="*/ 157639 h 335375"/>
                  <a:gd name="connsiteX48" fmla="*/ 376428 w 3259932"/>
                  <a:gd name="connsiteY48" fmla="*/ 157639 h 335375"/>
                  <a:gd name="connsiteX49" fmla="*/ 376428 w 3259932"/>
                  <a:gd name="connsiteY49" fmla="*/ 163735 h 335375"/>
                  <a:gd name="connsiteX50" fmla="*/ 389097 w 3259932"/>
                  <a:gd name="connsiteY50" fmla="*/ 163735 h 335375"/>
                  <a:gd name="connsiteX51" fmla="*/ 389097 w 3259932"/>
                  <a:gd name="connsiteY51" fmla="*/ 169831 h 335375"/>
                  <a:gd name="connsiteX52" fmla="*/ 424815 w 3259932"/>
                  <a:gd name="connsiteY52" fmla="*/ 169831 h 335375"/>
                  <a:gd name="connsiteX53" fmla="*/ 424815 w 3259932"/>
                  <a:gd name="connsiteY53" fmla="*/ 175927 h 335375"/>
                  <a:gd name="connsiteX54" fmla="*/ 540544 w 3259932"/>
                  <a:gd name="connsiteY54" fmla="*/ 175927 h 335375"/>
                  <a:gd name="connsiteX55" fmla="*/ 540544 w 3259932"/>
                  <a:gd name="connsiteY55" fmla="*/ 181928 h 335375"/>
                  <a:gd name="connsiteX56" fmla="*/ 578358 w 3259932"/>
                  <a:gd name="connsiteY56" fmla="*/ 181928 h 335375"/>
                  <a:gd name="connsiteX57" fmla="*/ 578358 w 3259932"/>
                  <a:gd name="connsiteY57" fmla="*/ 188119 h 335375"/>
                  <a:gd name="connsiteX58" fmla="*/ 630936 w 3259932"/>
                  <a:gd name="connsiteY58" fmla="*/ 188119 h 335375"/>
                  <a:gd name="connsiteX59" fmla="*/ 630936 w 3259932"/>
                  <a:gd name="connsiteY59" fmla="*/ 194215 h 335375"/>
                  <a:gd name="connsiteX60" fmla="*/ 649891 w 3259932"/>
                  <a:gd name="connsiteY60" fmla="*/ 194215 h 335375"/>
                  <a:gd name="connsiteX61" fmla="*/ 649891 w 3259932"/>
                  <a:gd name="connsiteY61" fmla="*/ 200311 h 335375"/>
                  <a:gd name="connsiteX62" fmla="*/ 660369 w 3259932"/>
                  <a:gd name="connsiteY62" fmla="*/ 200311 h 335375"/>
                  <a:gd name="connsiteX63" fmla="*/ 660369 w 3259932"/>
                  <a:gd name="connsiteY63" fmla="*/ 206502 h 335375"/>
                  <a:gd name="connsiteX64" fmla="*/ 694087 w 3259932"/>
                  <a:gd name="connsiteY64" fmla="*/ 206502 h 335375"/>
                  <a:gd name="connsiteX65" fmla="*/ 694087 w 3259932"/>
                  <a:gd name="connsiteY65" fmla="*/ 212598 h 335375"/>
                  <a:gd name="connsiteX66" fmla="*/ 700374 w 3259932"/>
                  <a:gd name="connsiteY66" fmla="*/ 212598 h 335375"/>
                  <a:gd name="connsiteX67" fmla="*/ 700374 w 3259932"/>
                  <a:gd name="connsiteY67" fmla="*/ 218694 h 335375"/>
                  <a:gd name="connsiteX68" fmla="*/ 715042 w 3259932"/>
                  <a:gd name="connsiteY68" fmla="*/ 218694 h 335375"/>
                  <a:gd name="connsiteX69" fmla="*/ 715042 w 3259932"/>
                  <a:gd name="connsiteY69" fmla="*/ 224790 h 335375"/>
                  <a:gd name="connsiteX70" fmla="*/ 727710 w 3259932"/>
                  <a:gd name="connsiteY70" fmla="*/ 224790 h 335375"/>
                  <a:gd name="connsiteX71" fmla="*/ 727710 w 3259932"/>
                  <a:gd name="connsiteY71" fmla="*/ 230981 h 335375"/>
                  <a:gd name="connsiteX72" fmla="*/ 752952 w 3259932"/>
                  <a:gd name="connsiteY72" fmla="*/ 230981 h 335375"/>
                  <a:gd name="connsiteX73" fmla="*/ 752952 w 3259932"/>
                  <a:gd name="connsiteY73" fmla="*/ 237077 h 335375"/>
                  <a:gd name="connsiteX74" fmla="*/ 982218 w 3259932"/>
                  <a:gd name="connsiteY74" fmla="*/ 237077 h 335375"/>
                  <a:gd name="connsiteX75" fmla="*/ 982218 w 3259932"/>
                  <a:gd name="connsiteY75" fmla="*/ 243269 h 335375"/>
                  <a:gd name="connsiteX76" fmla="*/ 1095756 w 3259932"/>
                  <a:gd name="connsiteY76" fmla="*/ 243269 h 335375"/>
                  <a:gd name="connsiteX77" fmla="*/ 1095756 w 3259932"/>
                  <a:gd name="connsiteY77" fmla="*/ 249460 h 335375"/>
                  <a:gd name="connsiteX78" fmla="*/ 1364933 w 3259932"/>
                  <a:gd name="connsiteY78" fmla="*/ 249460 h 335375"/>
                  <a:gd name="connsiteX79" fmla="*/ 1364933 w 3259932"/>
                  <a:gd name="connsiteY79" fmla="*/ 255746 h 335375"/>
                  <a:gd name="connsiteX80" fmla="*/ 1438561 w 3259932"/>
                  <a:gd name="connsiteY80" fmla="*/ 255746 h 335375"/>
                  <a:gd name="connsiteX81" fmla="*/ 1438561 w 3259932"/>
                  <a:gd name="connsiteY81" fmla="*/ 262033 h 335375"/>
                  <a:gd name="connsiteX82" fmla="*/ 1518476 w 3259932"/>
                  <a:gd name="connsiteY82" fmla="*/ 262033 h 335375"/>
                  <a:gd name="connsiteX83" fmla="*/ 1518476 w 3259932"/>
                  <a:gd name="connsiteY83" fmla="*/ 268319 h 335375"/>
                  <a:gd name="connsiteX84" fmla="*/ 1680401 w 3259932"/>
                  <a:gd name="connsiteY84" fmla="*/ 268319 h 335375"/>
                  <a:gd name="connsiteX85" fmla="*/ 1680401 w 3259932"/>
                  <a:gd name="connsiteY85" fmla="*/ 274796 h 335375"/>
                  <a:gd name="connsiteX86" fmla="*/ 1697260 w 3259932"/>
                  <a:gd name="connsiteY86" fmla="*/ 274796 h 335375"/>
                  <a:gd name="connsiteX87" fmla="*/ 1697260 w 3259932"/>
                  <a:gd name="connsiteY87" fmla="*/ 281178 h 335375"/>
                  <a:gd name="connsiteX88" fmla="*/ 1815084 w 3259932"/>
                  <a:gd name="connsiteY88" fmla="*/ 281178 h 335375"/>
                  <a:gd name="connsiteX89" fmla="*/ 1815084 w 3259932"/>
                  <a:gd name="connsiteY89" fmla="*/ 287655 h 335375"/>
                  <a:gd name="connsiteX90" fmla="*/ 1907572 w 3259932"/>
                  <a:gd name="connsiteY90" fmla="*/ 287655 h 335375"/>
                  <a:gd name="connsiteX91" fmla="*/ 1907572 w 3259932"/>
                  <a:gd name="connsiteY91" fmla="*/ 294037 h 335375"/>
                  <a:gd name="connsiteX92" fmla="*/ 1926527 w 3259932"/>
                  <a:gd name="connsiteY92" fmla="*/ 294037 h 335375"/>
                  <a:gd name="connsiteX93" fmla="*/ 1926527 w 3259932"/>
                  <a:gd name="connsiteY93" fmla="*/ 300514 h 335375"/>
                  <a:gd name="connsiteX94" fmla="*/ 2780348 w 3259932"/>
                  <a:gd name="connsiteY94" fmla="*/ 300514 h 335375"/>
                  <a:gd name="connsiteX95" fmla="*/ 2780348 w 3259932"/>
                  <a:gd name="connsiteY95" fmla="*/ 335375 h 335375"/>
                  <a:gd name="connsiteX96" fmla="*/ 3259932 w 3259932"/>
                  <a:gd name="connsiteY96" fmla="*/ 335375 h 335375"/>
                  <a:gd name="connsiteX0" fmla="*/ 0 w 3259932"/>
                  <a:gd name="connsiteY0" fmla="*/ 0 h 335375"/>
                  <a:gd name="connsiteX1" fmla="*/ 0 w 3259932"/>
                  <a:gd name="connsiteY1" fmla="*/ 6001 h 335375"/>
                  <a:gd name="connsiteX2" fmla="*/ 8382 w 3259932"/>
                  <a:gd name="connsiteY2" fmla="*/ 12097 h 335375"/>
                  <a:gd name="connsiteX3" fmla="*/ 21051 w 3259932"/>
                  <a:gd name="connsiteY3" fmla="*/ 12097 h 335375"/>
                  <a:gd name="connsiteX4" fmla="*/ 21051 w 3259932"/>
                  <a:gd name="connsiteY4" fmla="*/ 18193 h 335375"/>
                  <a:gd name="connsiteX5" fmla="*/ 37910 w 3259932"/>
                  <a:gd name="connsiteY5" fmla="*/ 18193 h 335375"/>
                  <a:gd name="connsiteX6" fmla="*/ 37910 w 3259932"/>
                  <a:gd name="connsiteY6" fmla="*/ 24194 h 335375"/>
                  <a:gd name="connsiteX7" fmla="*/ 65247 w 3259932"/>
                  <a:gd name="connsiteY7" fmla="*/ 24194 h 335375"/>
                  <a:gd name="connsiteX8" fmla="*/ 65247 w 3259932"/>
                  <a:gd name="connsiteY8" fmla="*/ 30290 h 335375"/>
                  <a:gd name="connsiteX9" fmla="*/ 67342 w 3259932"/>
                  <a:gd name="connsiteY9" fmla="*/ 30290 h 335375"/>
                  <a:gd name="connsiteX10" fmla="*/ 67342 w 3259932"/>
                  <a:gd name="connsiteY10" fmla="*/ 36386 h 335375"/>
                  <a:gd name="connsiteX11" fmla="*/ 77819 w 3259932"/>
                  <a:gd name="connsiteY11" fmla="*/ 36386 h 335375"/>
                  <a:gd name="connsiteX12" fmla="*/ 77819 w 3259932"/>
                  <a:gd name="connsiteY12" fmla="*/ 42386 h 335375"/>
                  <a:gd name="connsiteX13" fmla="*/ 84106 w 3259932"/>
                  <a:gd name="connsiteY13" fmla="*/ 42386 h 335375"/>
                  <a:gd name="connsiteX14" fmla="*/ 84106 w 3259932"/>
                  <a:gd name="connsiteY14" fmla="*/ 54578 h 335375"/>
                  <a:gd name="connsiteX15" fmla="*/ 92583 w 3259932"/>
                  <a:gd name="connsiteY15" fmla="*/ 54578 h 335375"/>
                  <a:gd name="connsiteX16" fmla="*/ 92583 w 3259932"/>
                  <a:gd name="connsiteY16" fmla="*/ 60579 h 335375"/>
                  <a:gd name="connsiteX17" fmla="*/ 98870 w 3259932"/>
                  <a:gd name="connsiteY17" fmla="*/ 60579 h 335375"/>
                  <a:gd name="connsiteX18" fmla="*/ 98870 w 3259932"/>
                  <a:gd name="connsiteY18" fmla="*/ 72771 h 335375"/>
                  <a:gd name="connsiteX19" fmla="*/ 100965 w 3259932"/>
                  <a:gd name="connsiteY19" fmla="*/ 72771 h 335375"/>
                  <a:gd name="connsiteX20" fmla="*/ 100965 w 3259932"/>
                  <a:gd name="connsiteY20" fmla="*/ 78867 h 335375"/>
                  <a:gd name="connsiteX21" fmla="*/ 113538 w 3259932"/>
                  <a:gd name="connsiteY21" fmla="*/ 78867 h 335375"/>
                  <a:gd name="connsiteX22" fmla="*/ 113538 w 3259932"/>
                  <a:gd name="connsiteY22" fmla="*/ 84868 h 335375"/>
                  <a:gd name="connsiteX23" fmla="*/ 136684 w 3259932"/>
                  <a:gd name="connsiteY23" fmla="*/ 84868 h 335375"/>
                  <a:gd name="connsiteX24" fmla="*/ 136684 w 3259932"/>
                  <a:gd name="connsiteY24" fmla="*/ 90964 h 335375"/>
                  <a:gd name="connsiteX25" fmla="*/ 143066 w 3259932"/>
                  <a:gd name="connsiteY25" fmla="*/ 90964 h 335375"/>
                  <a:gd name="connsiteX26" fmla="*/ 143066 w 3259932"/>
                  <a:gd name="connsiteY26" fmla="*/ 97060 h 335375"/>
                  <a:gd name="connsiteX27" fmla="*/ 151448 w 3259932"/>
                  <a:gd name="connsiteY27" fmla="*/ 97060 h 335375"/>
                  <a:gd name="connsiteX28" fmla="*/ 151448 w 3259932"/>
                  <a:gd name="connsiteY28" fmla="*/ 103061 h 335375"/>
                  <a:gd name="connsiteX29" fmla="*/ 159830 w 3259932"/>
                  <a:gd name="connsiteY29" fmla="*/ 103061 h 335375"/>
                  <a:gd name="connsiteX30" fmla="*/ 159830 w 3259932"/>
                  <a:gd name="connsiteY30" fmla="*/ 109157 h 335375"/>
                  <a:gd name="connsiteX31" fmla="*/ 164021 w 3259932"/>
                  <a:gd name="connsiteY31" fmla="*/ 109157 h 335375"/>
                  <a:gd name="connsiteX32" fmla="*/ 164021 w 3259932"/>
                  <a:gd name="connsiteY32" fmla="*/ 115253 h 335375"/>
                  <a:gd name="connsiteX33" fmla="*/ 237649 w 3259932"/>
                  <a:gd name="connsiteY33" fmla="*/ 115253 h 335375"/>
                  <a:gd name="connsiteX34" fmla="*/ 237649 w 3259932"/>
                  <a:gd name="connsiteY34" fmla="*/ 121253 h 335375"/>
                  <a:gd name="connsiteX35" fmla="*/ 258699 w 3259932"/>
                  <a:gd name="connsiteY35" fmla="*/ 121253 h 335375"/>
                  <a:gd name="connsiteX36" fmla="*/ 258699 w 3259932"/>
                  <a:gd name="connsiteY36" fmla="*/ 127349 h 335375"/>
                  <a:gd name="connsiteX37" fmla="*/ 264986 w 3259932"/>
                  <a:gd name="connsiteY37" fmla="*/ 127349 h 335375"/>
                  <a:gd name="connsiteX38" fmla="*/ 264986 w 3259932"/>
                  <a:gd name="connsiteY38" fmla="*/ 133445 h 335375"/>
                  <a:gd name="connsiteX39" fmla="*/ 307086 w 3259932"/>
                  <a:gd name="connsiteY39" fmla="*/ 133445 h 335375"/>
                  <a:gd name="connsiteX40" fmla="*/ 307086 w 3259932"/>
                  <a:gd name="connsiteY40" fmla="*/ 139446 h 335375"/>
                  <a:gd name="connsiteX41" fmla="*/ 321755 w 3259932"/>
                  <a:gd name="connsiteY41" fmla="*/ 139446 h 335375"/>
                  <a:gd name="connsiteX42" fmla="*/ 321755 w 3259932"/>
                  <a:gd name="connsiteY42" fmla="*/ 145542 h 335375"/>
                  <a:gd name="connsiteX43" fmla="*/ 351282 w 3259932"/>
                  <a:gd name="connsiteY43" fmla="*/ 145542 h 335375"/>
                  <a:gd name="connsiteX44" fmla="*/ 351282 w 3259932"/>
                  <a:gd name="connsiteY44" fmla="*/ 151638 h 335375"/>
                  <a:gd name="connsiteX45" fmla="*/ 353378 w 3259932"/>
                  <a:gd name="connsiteY45" fmla="*/ 151638 h 335375"/>
                  <a:gd name="connsiteX46" fmla="*/ 353378 w 3259932"/>
                  <a:gd name="connsiteY46" fmla="*/ 157639 h 335375"/>
                  <a:gd name="connsiteX47" fmla="*/ 376428 w 3259932"/>
                  <a:gd name="connsiteY47" fmla="*/ 157639 h 335375"/>
                  <a:gd name="connsiteX48" fmla="*/ 376428 w 3259932"/>
                  <a:gd name="connsiteY48" fmla="*/ 163735 h 335375"/>
                  <a:gd name="connsiteX49" fmla="*/ 389097 w 3259932"/>
                  <a:gd name="connsiteY49" fmla="*/ 163735 h 335375"/>
                  <a:gd name="connsiteX50" fmla="*/ 389097 w 3259932"/>
                  <a:gd name="connsiteY50" fmla="*/ 169831 h 335375"/>
                  <a:gd name="connsiteX51" fmla="*/ 424815 w 3259932"/>
                  <a:gd name="connsiteY51" fmla="*/ 169831 h 335375"/>
                  <a:gd name="connsiteX52" fmla="*/ 424815 w 3259932"/>
                  <a:gd name="connsiteY52" fmla="*/ 175927 h 335375"/>
                  <a:gd name="connsiteX53" fmla="*/ 540544 w 3259932"/>
                  <a:gd name="connsiteY53" fmla="*/ 175927 h 335375"/>
                  <a:gd name="connsiteX54" fmla="*/ 540544 w 3259932"/>
                  <a:gd name="connsiteY54" fmla="*/ 181928 h 335375"/>
                  <a:gd name="connsiteX55" fmla="*/ 578358 w 3259932"/>
                  <a:gd name="connsiteY55" fmla="*/ 181928 h 335375"/>
                  <a:gd name="connsiteX56" fmla="*/ 578358 w 3259932"/>
                  <a:gd name="connsiteY56" fmla="*/ 188119 h 335375"/>
                  <a:gd name="connsiteX57" fmla="*/ 630936 w 3259932"/>
                  <a:gd name="connsiteY57" fmla="*/ 188119 h 335375"/>
                  <a:gd name="connsiteX58" fmla="*/ 630936 w 3259932"/>
                  <a:gd name="connsiteY58" fmla="*/ 194215 h 335375"/>
                  <a:gd name="connsiteX59" fmla="*/ 649891 w 3259932"/>
                  <a:gd name="connsiteY59" fmla="*/ 194215 h 335375"/>
                  <a:gd name="connsiteX60" fmla="*/ 649891 w 3259932"/>
                  <a:gd name="connsiteY60" fmla="*/ 200311 h 335375"/>
                  <a:gd name="connsiteX61" fmla="*/ 660369 w 3259932"/>
                  <a:gd name="connsiteY61" fmla="*/ 200311 h 335375"/>
                  <a:gd name="connsiteX62" fmla="*/ 660369 w 3259932"/>
                  <a:gd name="connsiteY62" fmla="*/ 206502 h 335375"/>
                  <a:gd name="connsiteX63" fmla="*/ 694087 w 3259932"/>
                  <a:gd name="connsiteY63" fmla="*/ 206502 h 335375"/>
                  <a:gd name="connsiteX64" fmla="*/ 694087 w 3259932"/>
                  <a:gd name="connsiteY64" fmla="*/ 212598 h 335375"/>
                  <a:gd name="connsiteX65" fmla="*/ 700374 w 3259932"/>
                  <a:gd name="connsiteY65" fmla="*/ 212598 h 335375"/>
                  <a:gd name="connsiteX66" fmla="*/ 700374 w 3259932"/>
                  <a:gd name="connsiteY66" fmla="*/ 218694 h 335375"/>
                  <a:gd name="connsiteX67" fmla="*/ 715042 w 3259932"/>
                  <a:gd name="connsiteY67" fmla="*/ 218694 h 335375"/>
                  <a:gd name="connsiteX68" fmla="*/ 715042 w 3259932"/>
                  <a:gd name="connsiteY68" fmla="*/ 224790 h 335375"/>
                  <a:gd name="connsiteX69" fmla="*/ 727710 w 3259932"/>
                  <a:gd name="connsiteY69" fmla="*/ 224790 h 335375"/>
                  <a:gd name="connsiteX70" fmla="*/ 727710 w 3259932"/>
                  <a:gd name="connsiteY70" fmla="*/ 230981 h 335375"/>
                  <a:gd name="connsiteX71" fmla="*/ 752952 w 3259932"/>
                  <a:gd name="connsiteY71" fmla="*/ 230981 h 335375"/>
                  <a:gd name="connsiteX72" fmla="*/ 752952 w 3259932"/>
                  <a:gd name="connsiteY72" fmla="*/ 237077 h 335375"/>
                  <a:gd name="connsiteX73" fmla="*/ 982218 w 3259932"/>
                  <a:gd name="connsiteY73" fmla="*/ 237077 h 335375"/>
                  <a:gd name="connsiteX74" fmla="*/ 982218 w 3259932"/>
                  <a:gd name="connsiteY74" fmla="*/ 243269 h 335375"/>
                  <a:gd name="connsiteX75" fmla="*/ 1095756 w 3259932"/>
                  <a:gd name="connsiteY75" fmla="*/ 243269 h 335375"/>
                  <a:gd name="connsiteX76" fmla="*/ 1095756 w 3259932"/>
                  <a:gd name="connsiteY76" fmla="*/ 249460 h 335375"/>
                  <a:gd name="connsiteX77" fmla="*/ 1364933 w 3259932"/>
                  <a:gd name="connsiteY77" fmla="*/ 249460 h 335375"/>
                  <a:gd name="connsiteX78" fmla="*/ 1364933 w 3259932"/>
                  <a:gd name="connsiteY78" fmla="*/ 255746 h 335375"/>
                  <a:gd name="connsiteX79" fmla="*/ 1438561 w 3259932"/>
                  <a:gd name="connsiteY79" fmla="*/ 255746 h 335375"/>
                  <a:gd name="connsiteX80" fmla="*/ 1438561 w 3259932"/>
                  <a:gd name="connsiteY80" fmla="*/ 262033 h 335375"/>
                  <a:gd name="connsiteX81" fmla="*/ 1518476 w 3259932"/>
                  <a:gd name="connsiteY81" fmla="*/ 262033 h 335375"/>
                  <a:gd name="connsiteX82" fmla="*/ 1518476 w 3259932"/>
                  <a:gd name="connsiteY82" fmla="*/ 268319 h 335375"/>
                  <a:gd name="connsiteX83" fmla="*/ 1680401 w 3259932"/>
                  <a:gd name="connsiteY83" fmla="*/ 268319 h 335375"/>
                  <a:gd name="connsiteX84" fmla="*/ 1680401 w 3259932"/>
                  <a:gd name="connsiteY84" fmla="*/ 274796 h 335375"/>
                  <a:gd name="connsiteX85" fmla="*/ 1697260 w 3259932"/>
                  <a:gd name="connsiteY85" fmla="*/ 274796 h 335375"/>
                  <a:gd name="connsiteX86" fmla="*/ 1697260 w 3259932"/>
                  <a:gd name="connsiteY86" fmla="*/ 281178 h 335375"/>
                  <a:gd name="connsiteX87" fmla="*/ 1815084 w 3259932"/>
                  <a:gd name="connsiteY87" fmla="*/ 281178 h 335375"/>
                  <a:gd name="connsiteX88" fmla="*/ 1815084 w 3259932"/>
                  <a:gd name="connsiteY88" fmla="*/ 287655 h 335375"/>
                  <a:gd name="connsiteX89" fmla="*/ 1907572 w 3259932"/>
                  <a:gd name="connsiteY89" fmla="*/ 287655 h 335375"/>
                  <a:gd name="connsiteX90" fmla="*/ 1907572 w 3259932"/>
                  <a:gd name="connsiteY90" fmla="*/ 294037 h 335375"/>
                  <a:gd name="connsiteX91" fmla="*/ 1926527 w 3259932"/>
                  <a:gd name="connsiteY91" fmla="*/ 294037 h 335375"/>
                  <a:gd name="connsiteX92" fmla="*/ 1926527 w 3259932"/>
                  <a:gd name="connsiteY92" fmla="*/ 300514 h 335375"/>
                  <a:gd name="connsiteX93" fmla="*/ 2780348 w 3259932"/>
                  <a:gd name="connsiteY93" fmla="*/ 300514 h 335375"/>
                  <a:gd name="connsiteX94" fmla="*/ 2780348 w 3259932"/>
                  <a:gd name="connsiteY94" fmla="*/ 335375 h 335375"/>
                  <a:gd name="connsiteX95" fmla="*/ 3259932 w 3259932"/>
                  <a:gd name="connsiteY95" fmla="*/ 335375 h 335375"/>
                  <a:gd name="connsiteX0" fmla="*/ 0 w 3259932"/>
                  <a:gd name="connsiteY0" fmla="*/ 0 h 335375"/>
                  <a:gd name="connsiteX1" fmla="*/ 0 w 3259932"/>
                  <a:gd name="connsiteY1" fmla="*/ 6001 h 335375"/>
                  <a:gd name="connsiteX2" fmla="*/ 21051 w 3259932"/>
                  <a:gd name="connsiteY2" fmla="*/ 12097 h 335375"/>
                  <a:gd name="connsiteX3" fmla="*/ 21051 w 3259932"/>
                  <a:gd name="connsiteY3" fmla="*/ 18193 h 335375"/>
                  <a:gd name="connsiteX4" fmla="*/ 37910 w 3259932"/>
                  <a:gd name="connsiteY4" fmla="*/ 18193 h 335375"/>
                  <a:gd name="connsiteX5" fmla="*/ 37910 w 3259932"/>
                  <a:gd name="connsiteY5" fmla="*/ 24194 h 335375"/>
                  <a:gd name="connsiteX6" fmla="*/ 65247 w 3259932"/>
                  <a:gd name="connsiteY6" fmla="*/ 24194 h 335375"/>
                  <a:gd name="connsiteX7" fmla="*/ 65247 w 3259932"/>
                  <a:gd name="connsiteY7" fmla="*/ 30290 h 335375"/>
                  <a:gd name="connsiteX8" fmla="*/ 67342 w 3259932"/>
                  <a:gd name="connsiteY8" fmla="*/ 30290 h 335375"/>
                  <a:gd name="connsiteX9" fmla="*/ 67342 w 3259932"/>
                  <a:gd name="connsiteY9" fmla="*/ 36386 h 335375"/>
                  <a:gd name="connsiteX10" fmla="*/ 77819 w 3259932"/>
                  <a:gd name="connsiteY10" fmla="*/ 36386 h 335375"/>
                  <a:gd name="connsiteX11" fmla="*/ 77819 w 3259932"/>
                  <a:gd name="connsiteY11" fmla="*/ 42386 h 335375"/>
                  <a:gd name="connsiteX12" fmla="*/ 84106 w 3259932"/>
                  <a:gd name="connsiteY12" fmla="*/ 42386 h 335375"/>
                  <a:gd name="connsiteX13" fmla="*/ 84106 w 3259932"/>
                  <a:gd name="connsiteY13" fmla="*/ 54578 h 335375"/>
                  <a:gd name="connsiteX14" fmla="*/ 92583 w 3259932"/>
                  <a:gd name="connsiteY14" fmla="*/ 54578 h 335375"/>
                  <a:gd name="connsiteX15" fmla="*/ 92583 w 3259932"/>
                  <a:gd name="connsiteY15" fmla="*/ 60579 h 335375"/>
                  <a:gd name="connsiteX16" fmla="*/ 98870 w 3259932"/>
                  <a:gd name="connsiteY16" fmla="*/ 60579 h 335375"/>
                  <a:gd name="connsiteX17" fmla="*/ 98870 w 3259932"/>
                  <a:gd name="connsiteY17" fmla="*/ 72771 h 335375"/>
                  <a:gd name="connsiteX18" fmla="*/ 100965 w 3259932"/>
                  <a:gd name="connsiteY18" fmla="*/ 72771 h 335375"/>
                  <a:gd name="connsiteX19" fmla="*/ 100965 w 3259932"/>
                  <a:gd name="connsiteY19" fmla="*/ 78867 h 335375"/>
                  <a:gd name="connsiteX20" fmla="*/ 113538 w 3259932"/>
                  <a:gd name="connsiteY20" fmla="*/ 78867 h 335375"/>
                  <a:gd name="connsiteX21" fmla="*/ 113538 w 3259932"/>
                  <a:gd name="connsiteY21" fmla="*/ 84868 h 335375"/>
                  <a:gd name="connsiteX22" fmla="*/ 136684 w 3259932"/>
                  <a:gd name="connsiteY22" fmla="*/ 84868 h 335375"/>
                  <a:gd name="connsiteX23" fmla="*/ 136684 w 3259932"/>
                  <a:gd name="connsiteY23" fmla="*/ 90964 h 335375"/>
                  <a:gd name="connsiteX24" fmla="*/ 143066 w 3259932"/>
                  <a:gd name="connsiteY24" fmla="*/ 90964 h 335375"/>
                  <a:gd name="connsiteX25" fmla="*/ 143066 w 3259932"/>
                  <a:gd name="connsiteY25" fmla="*/ 97060 h 335375"/>
                  <a:gd name="connsiteX26" fmla="*/ 151448 w 3259932"/>
                  <a:gd name="connsiteY26" fmla="*/ 97060 h 335375"/>
                  <a:gd name="connsiteX27" fmla="*/ 151448 w 3259932"/>
                  <a:gd name="connsiteY27" fmla="*/ 103061 h 335375"/>
                  <a:gd name="connsiteX28" fmla="*/ 159830 w 3259932"/>
                  <a:gd name="connsiteY28" fmla="*/ 103061 h 335375"/>
                  <a:gd name="connsiteX29" fmla="*/ 159830 w 3259932"/>
                  <a:gd name="connsiteY29" fmla="*/ 109157 h 335375"/>
                  <a:gd name="connsiteX30" fmla="*/ 164021 w 3259932"/>
                  <a:gd name="connsiteY30" fmla="*/ 109157 h 335375"/>
                  <a:gd name="connsiteX31" fmla="*/ 164021 w 3259932"/>
                  <a:gd name="connsiteY31" fmla="*/ 115253 h 335375"/>
                  <a:gd name="connsiteX32" fmla="*/ 237649 w 3259932"/>
                  <a:gd name="connsiteY32" fmla="*/ 115253 h 335375"/>
                  <a:gd name="connsiteX33" fmla="*/ 237649 w 3259932"/>
                  <a:gd name="connsiteY33" fmla="*/ 121253 h 335375"/>
                  <a:gd name="connsiteX34" fmla="*/ 258699 w 3259932"/>
                  <a:gd name="connsiteY34" fmla="*/ 121253 h 335375"/>
                  <a:gd name="connsiteX35" fmla="*/ 258699 w 3259932"/>
                  <a:gd name="connsiteY35" fmla="*/ 127349 h 335375"/>
                  <a:gd name="connsiteX36" fmla="*/ 264986 w 3259932"/>
                  <a:gd name="connsiteY36" fmla="*/ 127349 h 335375"/>
                  <a:gd name="connsiteX37" fmla="*/ 264986 w 3259932"/>
                  <a:gd name="connsiteY37" fmla="*/ 133445 h 335375"/>
                  <a:gd name="connsiteX38" fmla="*/ 307086 w 3259932"/>
                  <a:gd name="connsiteY38" fmla="*/ 133445 h 335375"/>
                  <a:gd name="connsiteX39" fmla="*/ 307086 w 3259932"/>
                  <a:gd name="connsiteY39" fmla="*/ 139446 h 335375"/>
                  <a:gd name="connsiteX40" fmla="*/ 321755 w 3259932"/>
                  <a:gd name="connsiteY40" fmla="*/ 139446 h 335375"/>
                  <a:gd name="connsiteX41" fmla="*/ 321755 w 3259932"/>
                  <a:gd name="connsiteY41" fmla="*/ 145542 h 335375"/>
                  <a:gd name="connsiteX42" fmla="*/ 351282 w 3259932"/>
                  <a:gd name="connsiteY42" fmla="*/ 145542 h 335375"/>
                  <a:gd name="connsiteX43" fmla="*/ 351282 w 3259932"/>
                  <a:gd name="connsiteY43" fmla="*/ 151638 h 335375"/>
                  <a:gd name="connsiteX44" fmla="*/ 353378 w 3259932"/>
                  <a:gd name="connsiteY44" fmla="*/ 151638 h 335375"/>
                  <a:gd name="connsiteX45" fmla="*/ 353378 w 3259932"/>
                  <a:gd name="connsiteY45" fmla="*/ 157639 h 335375"/>
                  <a:gd name="connsiteX46" fmla="*/ 376428 w 3259932"/>
                  <a:gd name="connsiteY46" fmla="*/ 157639 h 335375"/>
                  <a:gd name="connsiteX47" fmla="*/ 376428 w 3259932"/>
                  <a:gd name="connsiteY47" fmla="*/ 163735 h 335375"/>
                  <a:gd name="connsiteX48" fmla="*/ 389097 w 3259932"/>
                  <a:gd name="connsiteY48" fmla="*/ 163735 h 335375"/>
                  <a:gd name="connsiteX49" fmla="*/ 389097 w 3259932"/>
                  <a:gd name="connsiteY49" fmla="*/ 169831 h 335375"/>
                  <a:gd name="connsiteX50" fmla="*/ 424815 w 3259932"/>
                  <a:gd name="connsiteY50" fmla="*/ 169831 h 335375"/>
                  <a:gd name="connsiteX51" fmla="*/ 424815 w 3259932"/>
                  <a:gd name="connsiteY51" fmla="*/ 175927 h 335375"/>
                  <a:gd name="connsiteX52" fmla="*/ 540544 w 3259932"/>
                  <a:gd name="connsiteY52" fmla="*/ 175927 h 335375"/>
                  <a:gd name="connsiteX53" fmla="*/ 540544 w 3259932"/>
                  <a:gd name="connsiteY53" fmla="*/ 181928 h 335375"/>
                  <a:gd name="connsiteX54" fmla="*/ 578358 w 3259932"/>
                  <a:gd name="connsiteY54" fmla="*/ 181928 h 335375"/>
                  <a:gd name="connsiteX55" fmla="*/ 578358 w 3259932"/>
                  <a:gd name="connsiteY55" fmla="*/ 188119 h 335375"/>
                  <a:gd name="connsiteX56" fmla="*/ 630936 w 3259932"/>
                  <a:gd name="connsiteY56" fmla="*/ 188119 h 335375"/>
                  <a:gd name="connsiteX57" fmla="*/ 630936 w 3259932"/>
                  <a:gd name="connsiteY57" fmla="*/ 194215 h 335375"/>
                  <a:gd name="connsiteX58" fmla="*/ 649891 w 3259932"/>
                  <a:gd name="connsiteY58" fmla="*/ 194215 h 335375"/>
                  <a:gd name="connsiteX59" fmla="*/ 649891 w 3259932"/>
                  <a:gd name="connsiteY59" fmla="*/ 200311 h 335375"/>
                  <a:gd name="connsiteX60" fmla="*/ 660369 w 3259932"/>
                  <a:gd name="connsiteY60" fmla="*/ 200311 h 335375"/>
                  <a:gd name="connsiteX61" fmla="*/ 660369 w 3259932"/>
                  <a:gd name="connsiteY61" fmla="*/ 206502 h 335375"/>
                  <a:gd name="connsiteX62" fmla="*/ 694087 w 3259932"/>
                  <a:gd name="connsiteY62" fmla="*/ 206502 h 335375"/>
                  <a:gd name="connsiteX63" fmla="*/ 694087 w 3259932"/>
                  <a:gd name="connsiteY63" fmla="*/ 212598 h 335375"/>
                  <a:gd name="connsiteX64" fmla="*/ 700374 w 3259932"/>
                  <a:gd name="connsiteY64" fmla="*/ 212598 h 335375"/>
                  <a:gd name="connsiteX65" fmla="*/ 700374 w 3259932"/>
                  <a:gd name="connsiteY65" fmla="*/ 218694 h 335375"/>
                  <a:gd name="connsiteX66" fmla="*/ 715042 w 3259932"/>
                  <a:gd name="connsiteY66" fmla="*/ 218694 h 335375"/>
                  <a:gd name="connsiteX67" fmla="*/ 715042 w 3259932"/>
                  <a:gd name="connsiteY67" fmla="*/ 224790 h 335375"/>
                  <a:gd name="connsiteX68" fmla="*/ 727710 w 3259932"/>
                  <a:gd name="connsiteY68" fmla="*/ 224790 h 335375"/>
                  <a:gd name="connsiteX69" fmla="*/ 727710 w 3259932"/>
                  <a:gd name="connsiteY69" fmla="*/ 230981 h 335375"/>
                  <a:gd name="connsiteX70" fmla="*/ 752952 w 3259932"/>
                  <a:gd name="connsiteY70" fmla="*/ 230981 h 335375"/>
                  <a:gd name="connsiteX71" fmla="*/ 752952 w 3259932"/>
                  <a:gd name="connsiteY71" fmla="*/ 237077 h 335375"/>
                  <a:gd name="connsiteX72" fmla="*/ 982218 w 3259932"/>
                  <a:gd name="connsiteY72" fmla="*/ 237077 h 335375"/>
                  <a:gd name="connsiteX73" fmla="*/ 982218 w 3259932"/>
                  <a:gd name="connsiteY73" fmla="*/ 243269 h 335375"/>
                  <a:gd name="connsiteX74" fmla="*/ 1095756 w 3259932"/>
                  <a:gd name="connsiteY74" fmla="*/ 243269 h 335375"/>
                  <a:gd name="connsiteX75" fmla="*/ 1095756 w 3259932"/>
                  <a:gd name="connsiteY75" fmla="*/ 249460 h 335375"/>
                  <a:gd name="connsiteX76" fmla="*/ 1364933 w 3259932"/>
                  <a:gd name="connsiteY76" fmla="*/ 249460 h 335375"/>
                  <a:gd name="connsiteX77" fmla="*/ 1364933 w 3259932"/>
                  <a:gd name="connsiteY77" fmla="*/ 255746 h 335375"/>
                  <a:gd name="connsiteX78" fmla="*/ 1438561 w 3259932"/>
                  <a:gd name="connsiteY78" fmla="*/ 255746 h 335375"/>
                  <a:gd name="connsiteX79" fmla="*/ 1438561 w 3259932"/>
                  <a:gd name="connsiteY79" fmla="*/ 262033 h 335375"/>
                  <a:gd name="connsiteX80" fmla="*/ 1518476 w 3259932"/>
                  <a:gd name="connsiteY80" fmla="*/ 262033 h 335375"/>
                  <a:gd name="connsiteX81" fmla="*/ 1518476 w 3259932"/>
                  <a:gd name="connsiteY81" fmla="*/ 268319 h 335375"/>
                  <a:gd name="connsiteX82" fmla="*/ 1680401 w 3259932"/>
                  <a:gd name="connsiteY82" fmla="*/ 268319 h 335375"/>
                  <a:gd name="connsiteX83" fmla="*/ 1680401 w 3259932"/>
                  <a:gd name="connsiteY83" fmla="*/ 274796 h 335375"/>
                  <a:gd name="connsiteX84" fmla="*/ 1697260 w 3259932"/>
                  <a:gd name="connsiteY84" fmla="*/ 274796 h 335375"/>
                  <a:gd name="connsiteX85" fmla="*/ 1697260 w 3259932"/>
                  <a:gd name="connsiteY85" fmla="*/ 281178 h 335375"/>
                  <a:gd name="connsiteX86" fmla="*/ 1815084 w 3259932"/>
                  <a:gd name="connsiteY86" fmla="*/ 281178 h 335375"/>
                  <a:gd name="connsiteX87" fmla="*/ 1815084 w 3259932"/>
                  <a:gd name="connsiteY87" fmla="*/ 287655 h 335375"/>
                  <a:gd name="connsiteX88" fmla="*/ 1907572 w 3259932"/>
                  <a:gd name="connsiteY88" fmla="*/ 287655 h 335375"/>
                  <a:gd name="connsiteX89" fmla="*/ 1907572 w 3259932"/>
                  <a:gd name="connsiteY89" fmla="*/ 294037 h 335375"/>
                  <a:gd name="connsiteX90" fmla="*/ 1926527 w 3259932"/>
                  <a:gd name="connsiteY90" fmla="*/ 294037 h 335375"/>
                  <a:gd name="connsiteX91" fmla="*/ 1926527 w 3259932"/>
                  <a:gd name="connsiteY91" fmla="*/ 300514 h 335375"/>
                  <a:gd name="connsiteX92" fmla="*/ 2780348 w 3259932"/>
                  <a:gd name="connsiteY92" fmla="*/ 300514 h 335375"/>
                  <a:gd name="connsiteX93" fmla="*/ 2780348 w 3259932"/>
                  <a:gd name="connsiteY93" fmla="*/ 335375 h 335375"/>
                  <a:gd name="connsiteX94" fmla="*/ 3259932 w 3259932"/>
                  <a:gd name="connsiteY94" fmla="*/ 335375 h 335375"/>
                  <a:gd name="connsiteX0" fmla="*/ 0 w 3259932"/>
                  <a:gd name="connsiteY0" fmla="*/ 0 h 329374"/>
                  <a:gd name="connsiteX1" fmla="*/ 21051 w 3259932"/>
                  <a:gd name="connsiteY1" fmla="*/ 6096 h 329374"/>
                  <a:gd name="connsiteX2" fmla="*/ 21051 w 3259932"/>
                  <a:gd name="connsiteY2" fmla="*/ 12192 h 329374"/>
                  <a:gd name="connsiteX3" fmla="*/ 37910 w 3259932"/>
                  <a:gd name="connsiteY3" fmla="*/ 12192 h 329374"/>
                  <a:gd name="connsiteX4" fmla="*/ 37910 w 3259932"/>
                  <a:gd name="connsiteY4" fmla="*/ 18193 h 329374"/>
                  <a:gd name="connsiteX5" fmla="*/ 65247 w 3259932"/>
                  <a:gd name="connsiteY5" fmla="*/ 18193 h 329374"/>
                  <a:gd name="connsiteX6" fmla="*/ 65247 w 3259932"/>
                  <a:gd name="connsiteY6" fmla="*/ 24289 h 329374"/>
                  <a:gd name="connsiteX7" fmla="*/ 67342 w 3259932"/>
                  <a:gd name="connsiteY7" fmla="*/ 24289 h 329374"/>
                  <a:gd name="connsiteX8" fmla="*/ 67342 w 3259932"/>
                  <a:gd name="connsiteY8" fmla="*/ 30385 h 329374"/>
                  <a:gd name="connsiteX9" fmla="*/ 77819 w 3259932"/>
                  <a:gd name="connsiteY9" fmla="*/ 30385 h 329374"/>
                  <a:gd name="connsiteX10" fmla="*/ 77819 w 3259932"/>
                  <a:gd name="connsiteY10" fmla="*/ 36385 h 329374"/>
                  <a:gd name="connsiteX11" fmla="*/ 84106 w 3259932"/>
                  <a:gd name="connsiteY11" fmla="*/ 36385 h 329374"/>
                  <a:gd name="connsiteX12" fmla="*/ 84106 w 3259932"/>
                  <a:gd name="connsiteY12" fmla="*/ 48577 h 329374"/>
                  <a:gd name="connsiteX13" fmla="*/ 92583 w 3259932"/>
                  <a:gd name="connsiteY13" fmla="*/ 48577 h 329374"/>
                  <a:gd name="connsiteX14" fmla="*/ 92583 w 3259932"/>
                  <a:gd name="connsiteY14" fmla="*/ 54578 h 329374"/>
                  <a:gd name="connsiteX15" fmla="*/ 98870 w 3259932"/>
                  <a:gd name="connsiteY15" fmla="*/ 54578 h 329374"/>
                  <a:gd name="connsiteX16" fmla="*/ 98870 w 3259932"/>
                  <a:gd name="connsiteY16" fmla="*/ 66770 h 329374"/>
                  <a:gd name="connsiteX17" fmla="*/ 100965 w 3259932"/>
                  <a:gd name="connsiteY17" fmla="*/ 66770 h 329374"/>
                  <a:gd name="connsiteX18" fmla="*/ 100965 w 3259932"/>
                  <a:gd name="connsiteY18" fmla="*/ 72866 h 329374"/>
                  <a:gd name="connsiteX19" fmla="*/ 113538 w 3259932"/>
                  <a:gd name="connsiteY19" fmla="*/ 72866 h 329374"/>
                  <a:gd name="connsiteX20" fmla="*/ 113538 w 3259932"/>
                  <a:gd name="connsiteY20" fmla="*/ 78867 h 329374"/>
                  <a:gd name="connsiteX21" fmla="*/ 136684 w 3259932"/>
                  <a:gd name="connsiteY21" fmla="*/ 78867 h 329374"/>
                  <a:gd name="connsiteX22" fmla="*/ 136684 w 3259932"/>
                  <a:gd name="connsiteY22" fmla="*/ 84963 h 329374"/>
                  <a:gd name="connsiteX23" fmla="*/ 143066 w 3259932"/>
                  <a:gd name="connsiteY23" fmla="*/ 84963 h 329374"/>
                  <a:gd name="connsiteX24" fmla="*/ 143066 w 3259932"/>
                  <a:gd name="connsiteY24" fmla="*/ 91059 h 329374"/>
                  <a:gd name="connsiteX25" fmla="*/ 151448 w 3259932"/>
                  <a:gd name="connsiteY25" fmla="*/ 91059 h 329374"/>
                  <a:gd name="connsiteX26" fmla="*/ 151448 w 3259932"/>
                  <a:gd name="connsiteY26" fmla="*/ 97060 h 329374"/>
                  <a:gd name="connsiteX27" fmla="*/ 159830 w 3259932"/>
                  <a:gd name="connsiteY27" fmla="*/ 97060 h 329374"/>
                  <a:gd name="connsiteX28" fmla="*/ 159830 w 3259932"/>
                  <a:gd name="connsiteY28" fmla="*/ 103156 h 329374"/>
                  <a:gd name="connsiteX29" fmla="*/ 164021 w 3259932"/>
                  <a:gd name="connsiteY29" fmla="*/ 103156 h 329374"/>
                  <a:gd name="connsiteX30" fmla="*/ 164021 w 3259932"/>
                  <a:gd name="connsiteY30" fmla="*/ 109252 h 329374"/>
                  <a:gd name="connsiteX31" fmla="*/ 237649 w 3259932"/>
                  <a:gd name="connsiteY31" fmla="*/ 109252 h 329374"/>
                  <a:gd name="connsiteX32" fmla="*/ 237649 w 3259932"/>
                  <a:gd name="connsiteY32" fmla="*/ 115252 h 329374"/>
                  <a:gd name="connsiteX33" fmla="*/ 258699 w 3259932"/>
                  <a:gd name="connsiteY33" fmla="*/ 115252 h 329374"/>
                  <a:gd name="connsiteX34" fmla="*/ 258699 w 3259932"/>
                  <a:gd name="connsiteY34" fmla="*/ 121348 h 329374"/>
                  <a:gd name="connsiteX35" fmla="*/ 264986 w 3259932"/>
                  <a:gd name="connsiteY35" fmla="*/ 121348 h 329374"/>
                  <a:gd name="connsiteX36" fmla="*/ 264986 w 3259932"/>
                  <a:gd name="connsiteY36" fmla="*/ 127444 h 329374"/>
                  <a:gd name="connsiteX37" fmla="*/ 307086 w 3259932"/>
                  <a:gd name="connsiteY37" fmla="*/ 127444 h 329374"/>
                  <a:gd name="connsiteX38" fmla="*/ 307086 w 3259932"/>
                  <a:gd name="connsiteY38" fmla="*/ 133445 h 329374"/>
                  <a:gd name="connsiteX39" fmla="*/ 321755 w 3259932"/>
                  <a:gd name="connsiteY39" fmla="*/ 133445 h 329374"/>
                  <a:gd name="connsiteX40" fmla="*/ 321755 w 3259932"/>
                  <a:gd name="connsiteY40" fmla="*/ 139541 h 329374"/>
                  <a:gd name="connsiteX41" fmla="*/ 351282 w 3259932"/>
                  <a:gd name="connsiteY41" fmla="*/ 139541 h 329374"/>
                  <a:gd name="connsiteX42" fmla="*/ 351282 w 3259932"/>
                  <a:gd name="connsiteY42" fmla="*/ 145637 h 329374"/>
                  <a:gd name="connsiteX43" fmla="*/ 353378 w 3259932"/>
                  <a:gd name="connsiteY43" fmla="*/ 145637 h 329374"/>
                  <a:gd name="connsiteX44" fmla="*/ 353378 w 3259932"/>
                  <a:gd name="connsiteY44" fmla="*/ 151638 h 329374"/>
                  <a:gd name="connsiteX45" fmla="*/ 376428 w 3259932"/>
                  <a:gd name="connsiteY45" fmla="*/ 151638 h 329374"/>
                  <a:gd name="connsiteX46" fmla="*/ 376428 w 3259932"/>
                  <a:gd name="connsiteY46" fmla="*/ 157734 h 329374"/>
                  <a:gd name="connsiteX47" fmla="*/ 389097 w 3259932"/>
                  <a:gd name="connsiteY47" fmla="*/ 157734 h 329374"/>
                  <a:gd name="connsiteX48" fmla="*/ 389097 w 3259932"/>
                  <a:gd name="connsiteY48" fmla="*/ 163830 h 329374"/>
                  <a:gd name="connsiteX49" fmla="*/ 424815 w 3259932"/>
                  <a:gd name="connsiteY49" fmla="*/ 163830 h 329374"/>
                  <a:gd name="connsiteX50" fmla="*/ 424815 w 3259932"/>
                  <a:gd name="connsiteY50" fmla="*/ 169926 h 329374"/>
                  <a:gd name="connsiteX51" fmla="*/ 540544 w 3259932"/>
                  <a:gd name="connsiteY51" fmla="*/ 169926 h 329374"/>
                  <a:gd name="connsiteX52" fmla="*/ 540544 w 3259932"/>
                  <a:gd name="connsiteY52" fmla="*/ 175927 h 329374"/>
                  <a:gd name="connsiteX53" fmla="*/ 578358 w 3259932"/>
                  <a:gd name="connsiteY53" fmla="*/ 175927 h 329374"/>
                  <a:gd name="connsiteX54" fmla="*/ 578358 w 3259932"/>
                  <a:gd name="connsiteY54" fmla="*/ 182118 h 329374"/>
                  <a:gd name="connsiteX55" fmla="*/ 630936 w 3259932"/>
                  <a:gd name="connsiteY55" fmla="*/ 182118 h 329374"/>
                  <a:gd name="connsiteX56" fmla="*/ 630936 w 3259932"/>
                  <a:gd name="connsiteY56" fmla="*/ 188214 h 329374"/>
                  <a:gd name="connsiteX57" fmla="*/ 649891 w 3259932"/>
                  <a:gd name="connsiteY57" fmla="*/ 188214 h 329374"/>
                  <a:gd name="connsiteX58" fmla="*/ 649891 w 3259932"/>
                  <a:gd name="connsiteY58" fmla="*/ 194310 h 329374"/>
                  <a:gd name="connsiteX59" fmla="*/ 660369 w 3259932"/>
                  <a:gd name="connsiteY59" fmla="*/ 194310 h 329374"/>
                  <a:gd name="connsiteX60" fmla="*/ 660369 w 3259932"/>
                  <a:gd name="connsiteY60" fmla="*/ 200501 h 329374"/>
                  <a:gd name="connsiteX61" fmla="*/ 694087 w 3259932"/>
                  <a:gd name="connsiteY61" fmla="*/ 200501 h 329374"/>
                  <a:gd name="connsiteX62" fmla="*/ 694087 w 3259932"/>
                  <a:gd name="connsiteY62" fmla="*/ 206597 h 329374"/>
                  <a:gd name="connsiteX63" fmla="*/ 700374 w 3259932"/>
                  <a:gd name="connsiteY63" fmla="*/ 206597 h 329374"/>
                  <a:gd name="connsiteX64" fmla="*/ 700374 w 3259932"/>
                  <a:gd name="connsiteY64" fmla="*/ 212693 h 329374"/>
                  <a:gd name="connsiteX65" fmla="*/ 715042 w 3259932"/>
                  <a:gd name="connsiteY65" fmla="*/ 212693 h 329374"/>
                  <a:gd name="connsiteX66" fmla="*/ 715042 w 3259932"/>
                  <a:gd name="connsiteY66" fmla="*/ 218789 h 329374"/>
                  <a:gd name="connsiteX67" fmla="*/ 727710 w 3259932"/>
                  <a:gd name="connsiteY67" fmla="*/ 218789 h 329374"/>
                  <a:gd name="connsiteX68" fmla="*/ 727710 w 3259932"/>
                  <a:gd name="connsiteY68" fmla="*/ 224980 h 329374"/>
                  <a:gd name="connsiteX69" fmla="*/ 752952 w 3259932"/>
                  <a:gd name="connsiteY69" fmla="*/ 224980 h 329374"/>
                  <a:gd name="connsiteX70" fmla="*/ 752952 w 3259932"/>
                  <a:gd name="connsiteY70" fmla="*/ 231076 h 329374"/>
                  <a:gd name="connsiteX71" fmla="*/ 982218 w 3259932"/>
                  <a:gd name="connsiteY71" fmla="*/ 231076 h 329374"/>
                  <a:gd name="connsiteX72" fmla="*/ 982218 w 3259932"/>
                  <a:gd name="connsiteY72" fmla="*/ 237268 h 329374"/>
                  <a:gd name="connsiteX73" fmla="*/ 1095756 w 3259932"/>
                  <a:gd name="connsiteY73" fmla="*/ 237268 h 329374"/>
                  <a:gd name="connsiteX74" fmla="*/ 1095756 w 3259932"/>
                  <a:gd name="connsiteY74" fmla="*/ 243459 h 329374"/>
                  <a:gd name="connsiteX75" fmla="*/ 1364933 w 3259932"/>
                  <a:gd name="connsiteY75" fmla="*/ 243459 h 329374"/>
                  <a:gd name="connsiteX76" fmla="*/ 1364933 w 3259932"/>
                  <a:gd name="connsiteY76" fmla="*/ 249745 h 329374"/>
                  <a:gd name="connsiteX77" fmla="*/ 1438561 w 3259932"/>
                  <a:gd name="connsiteY77" fmla="*/ 249745 h 329374"/>
                  <a:gd name="connsiteX78" fmla="*/ 1438561 w 3259932"/>
                  <a:gd name="connsiteY78" fmla="*/ 256032 h 329374"/>
                  <a:gd name="connsiteX79" fmla="*/ 1518476 w 3259932"/>
                  <a:gd name="connsiteY79" fmla="*/ 256032 h 329374"/>
                  <a:gd name="connsiteX80" fmla="*/ 1518476 w 3259932"/>
                  <a:gd name="connsiteY80" fmla="*/ 262318 h 329374"/>
                  <a:gd name="connsiteX81" fmla="*/ 1680401 w 3259932"/>
                  <a:gd name="connsiteY81" fmla="*/ 262318 h 329374"/>
                  <a:gd name="connsiteX82" fmla="*/ 1680401 w 3259932"/>
                  <a:gd name="connsiteY82" fmla="*/ 268795 h 329374"/>
                  <a:gd name="connsiteX83" fmla="*/ 1697260 w 3259932"/>
                  <a:gd name="connsiteY83" fmla="*/ 268795 h 329374"/>
                  <a:gd name="connsiteX84" fmla="*/ 1697260 w 3259932"/>
                  <a:gd name="connsiteY84" fmla="*/ 275177 h 329374"/>
                  <a:gd name="connsiteX85" fmla="*/ 1815084 w 3259932"/>
                  <a:gd name="connsiteY85" fmla="*/ 275177 h 329374"/>
                  <a:gd name="connsiteX86" fmla="*/ 1815084 w 3259932"/>
                  <a:gd name="connsiteY86" fmla="*/ 281654 h 329374"/>
                  <a:gd name="connsiteX87" fmla="*/ 1907572 w 3259932"/>
                  <a:gd name="connsiteY87" fmla="*/ 281654 h 329374"/>
                  <a:gd name="connsiteX88" fmla="*/ 1907572 w 3259932"/>
                  <a:gd name="connsiteY88" fmla="*/ 288036 h 329374"/>
                  <a:gd name="connsiteX89" fmla="*/ 1926527 w 3259932"/>
                  <a:gd name="connsiteY89" fmla="*/ 288036 h 329374"/>
                  <a:gd name="connsiteX90" fmla="*/ 1926527 w 3259932"/>
                  <a:gd name="connsiteY90" fmla="*/ 294513 h 329374"/>
                  <a:gd name="connsiteX91" fmla="*/ 2780348 w 3259932"/>
                  <a:gd name="connsiteY91" fmla="*/ 294513 h 329374"/>
                  <a:gd name="connsiteX92" fmla="*/ 2780348 w 3259932"/>
                  <a:gd name="connsiteY92" fmla="*/ 329374 h 329374"/>
                  <a:gd name="connsiteX93" fmla="*/ 3259932 w 3259932"/>
                  <a:gd name="connsiteY93" fmla="*/ 329374 h 329374"/>
                  <a:gd name="connsiteX0" fmla="*/ 0 w 3238881"/>
                  <a:gd name="connsiteY0" fmla="*/ 0 h 323278"/>
                  <a:gd name="connsiteX1" fmla="*/ 0 w 3238881"/>
                  <a:gd name="connsiteY1" fmla="*/ 6096 h 323278"/>
                  <a:gd name="connsiteX2" fmla="*/ 16859 w 3238881"/>
                  <a:gd name="connsiteY2" fmla="*/ 6096 h 323278"/>
                  <a:gd name="connsiteX3" fmla="*/ 16859 w 3238881"/>
                  <a:gd name="connsiteY3" fmla="*/ 12097 h 323278"/>
                  <a:gd name="connsiteX4" fmla="*/ 44196 w 3238881"/>
                  <a:gd name="connsiteY4" fmla="*/ 12097 h 323278"/>
                  <a:gd name="connsiteX5" fmla="*/ 44196 w 3238881"/>
                  <a:gd name="connsiteY5" fmla="*/ 18193 h 323278"/>
                  <a:gd name="connsiteX6" fmla="*/ 46291 w 3238881"/>
                  <a:gd name="connsiteY6" fmla="*/ 18193 h 323278"/>
                  <a:gd name="connsiteX7" fmla="*/ 46291 w 3238881"/>
                  <a:gd name="connsiteY7" fmla="*/ 24289 h 323278"/>
                  <a:gd name="connsiteX8" fmla="*/ 56768 w 3238881"/>
                  <a:gd name="connsiteY8" fmla="*/ 24289 h 323278"/>
                  <a:gd name="connsiteX9" fmla="*/ 56768 w 3238881"/>
                  <a:gd name="connsiteY9" fmla="*/ 30289 h 323278"/>
                  <a:gd name="connsiteX10" fmla="*/ 63055 w 3238881"/>
                  <a:gd name="connsiteY10" fmla="*/ 30289 h 323278"/>
                  <a:gd name="connsiteX11" fmla="*/ 63055 w 3238881"/>
                  <a:gd name="connsiteY11" fmla="*/ 42481 h 323278"/>
                  <a:gd name="connsiteX12" fmla="*/ 71532 w 3238881"/>
                  <a:gd name="connsiteY12" fmla="*/ 42481 h 323278"/>
                  <a:gd name="connsiteX13" fmla="*/ 71532 w 3238881"/>
                  <a:gd name="connsiteY13" fmla="*/ 48482 h 323278"/>
                  <a:gd name="connsiteX14" fmla="*/ 77819 w 3238881"/>
                  <a:gd name="connsiteY14" fmla="*/ 48482 h 323278"/>
                  <a:gd name="connsiteX15" fmla="*/ 77819 w 3238881"/>
                  <a:gd name="connsiteY15" fmla="*/ 60674 h 323278"/>
                  <a:gd name="connsiteX16" fmla="*/ 79914 w 3238881"/>
                  <a:gd name="connsiteY16" fmla="*/ 60674 h 323278"/>
                  <a:gd name="connsiteX17" fmla="*/ 79914 w 3238881"/>
                  <a:gd name="connsiteY17" fmla="*/ 66770 h 323278"/>
                  <a:gd name="connsiteX18" fmla="*/ 92487 w 3238881"/>
                  <a:gd name="connsiteY18" fmla="*/ 66770 h 323278"/>
                  <a:gd name="connsiteX19" fmla="*/ 92487 w 3238881"/>
                  <a:gd name="connsiteY19" fmla="*/ 72771 h 323278"/>
                  <a:gd name="connsiteX20" fmla="*/ 115633 w 3238881"/>
                  <a:gd name="connsiteY20" fmla="*/ 72771 h 323278"/>
                  <a:gd name="connsiteX21" fmla="*/ 115633 w 3238881"/>
                  <a:gd name="connsiteY21" fmla="*/ 78867 h 323278"/>
                  <a:gd name="connsiteX22" fmla="*/ 122015 w 3238881"/>
                  <a:gd name="connsiteY22" fmla="*/ 78867 h 323278"/>
                  <a:gd name="connsiteX23" fmla="*/ 122015 w 3238881"/>
                  <a:gd name="connsiteY23" fmla="*/ 84963 h 323278"/>
                  <a:gd name="connsiteX24" fmla="*/ 130397 w 3238881"/>
                  <a:gd name="connsiteY24" fmla="*/ 84963 h 323278"/>
                  <a:gd name="connsiteX25" fmla="*/ 130397 w 3238881"/>
                  <a:gd name="connsiteY25" fmla="*/ 90964 h 323278"/>
                  <a:gd name="connsiteX26" fmla="*/ 138779 w 3238881"/>
                  <a:gd name="connsiteY26" fmla="*/ 90964 h 323278"/>
                  <a:gd name="connsiteX27" fmla="*/ 138779 w 3238881"/>
                  <a:gd name="connsiteY27" fmla="*/ 97060 h 323278"/>
                  <a:gd name="connsiteX28" fmla="*/ 142970 w 3238881"/>
                  <a:gd name="connsiteY28" fmla="*/ 97060 h 323278"/>
                  <a:gd name="connsiteX29" fmla="*/ 142970 w 3238881"/>
                  <a:gd name="connsiteY29" fmla="*/ 103156 h 323278"/>
                  <a:gd name="connsiteX30" fmla="*/ 216598 w 3238881"/>
                  <a:gd name="connsiteY30" fmla="*/ 103156 h 323278"/>
                  <a:gd name="connsiteX31" fmla="*/ 216598 w 3238881"/>
                  <a:gd name="connsiteY31" fmla="*/ 109156 h 323278"/>
                  <a:gd name="connsiteX32" fmla="*/ 237648 w 3238881"/>
                  <a:gd name="connsiteY32" fmla="*/ 109156 h 323278"/>
                  <a:gd name="connsiteX33" fmla="*/ 237648 w 3238881"/>
                  <a:gd name="connsiteY33" fmla="*/ 115252 h 323278"/>
                  <a:gd name="connsiteX34" fmla="*/ 243935 w 3238881"/>
                  <a:gd name="connsiteY34" fmla="*/ 115252 h 323278"/>
                  <a:gd name="connsiteX35" fmla="*/ 243935 w 3238881"/>
                  <a:gd name="connsiteY35" fmla="*/ 121348 h 323278"/>
                  <a:gd name="connsiteX36" fmla="*/ 286035 w 3238881"/>
                  <a:gd name="connsiteY36" fmla="*/ 121348 h 323278"/>
                  <a:gd name="connsiteX37" fmla="*/ 286035 w 3238881"/>
                  <a:gd name="connsiteY37" fmla="*/ 127349 h 323278"/>
                  <a:gd name="connsiteX38" fmla="*/ 300704 w 3238881"/>
                  <a:gd name="connsiteY38" fmla="*/ 127349 h 323278"/>
                  <a:gd name="connsiteX39" fmla="*/ 300704 w 3238881"/>
                  <a:gd name="connsiteY39" fmla="*/ 133445 h 323278"/>
                  <a:gd name="connsiteX40" fmla="*/ 330231 w 3238881"/>
                  <a:gd name="connsiteY40" fmla="*/ 133445 h 323278"/>
                  <a:gd name="connsiteX41" fmla="*/ 330231 w 3238881"/>
                  <a:gd name="connsiteY41" fmla="*/ 139541 h 323278"/>
                  <a:gd name="connsiteX42" fmla="*/ 332327 w 3238881"/>
                  <a:gd name="connsiteY42" fmla="*/ 139541 h 323278"/>
                  <a:gd name="connsiteX43" fmla="*/ 332327 w 3238881"/>
                  <a:gd name="connsiteY43" fmla="*/ 145542 h 323278"/>
                  <a:gd name="connsiteX44" fmla="*/ 355377 w 3238881"/>
                  <a:gd name="connsiteY44" fmla="*/ 145542 h 323278"/>
                  <a:gd name="connsiteX45" fmla="*/ 355377 w 3238881"/>
                  <a:gd name="connsiteY45" fmla="*/ 151638 h 323278"/>
                  <a:gd name="connsiteX46" fmla="*/ 368046 w 3238881"/>
                  <a:gd name="connsiteY46" fmla="*/ 151638 h 323278"/>
                  <a:gd name="connsiteX47" fmla="*/ 368046 w 3238881"/>
                  <a:gd name="connsiteY47" fmla="*/ 157734 h 323278"/>
                  <a:gd name="connsiteX48" fmla="*/ 403764 w 3238881"/>
                  <a:gd name="connsiteY48" fmla="*/ 157734 h 323278"/>
                  <a:gd name="connsiteX49" fmla="*/ 403764 w 3238881"/>
                  <a:gd name="connsiteY49" fmla="*/ 163830 h 323278"/>
                  <a:gd name="connsiteX50" fmla="*/ 519493 w 3238881"/>
                  <a:gd name="connsiteY50" fmla="*/ 163830 h 323278"/>
                  <a:gd name="connsiteX51" fmla="*/ 519493 w 3238881"/>
                  <a:gd name="connsiteY51" fmla="*/ 169831 h 323278"/>
                  <a:gd name="connsiteX52" fmla="*/ 557307 w 3238881"/>
                  <a:gd name="connsiteY52" fmla="*/ 169831 h 323278"/>
                  <a:gd name="connsiteX53" fmla="*/ 557307 w 3238881"/>
                  <a:gd name="connsiteY53" fmla="*/ 176022 h 323278"/>
                  <a:gd name="connsiteX54" fmla="*/ 609885 w 3238881"/>
                  <a:gd name="connsiteY54" fmla="*/ 176022 h 323278"/>
                  <a:gd name="connsiteX55" fmla="*/ 609885 w 3238881"/>
                  <a:gd name="connsiteY55" fmla="*/ 182118 h 323278"/>
                  <a:gd name="connsiteX56" fmla="*/ 628840 w 3238881"/>
                  <a:gd name="connsiteY56" fmla="*/ 182118 h 323278"/>
                  <a:gd name="connsiteX57" fmla="*/ 628840 w 3238881"/>
                  <a:gd name="connsiteY57" fmla="*/ 188214 h 323278"/>
                  <a:gd name="connsiteX58" fmla="*/ 639318 w 3238881"/>
                  <a:gd name="connsiteY58" fmla="*/ 188214 h 323278"/>
                  <a:gd name="connsiteX59" fmla="*/ 639318 w 3238881"/>
                  <a:gd name="connsiteY59" fmla="*/ 194405 h 323278"/>
                  <a:gd name="connsiteX60" fmla="*/ 673036 w 3238881"/>
                  <a:gd name="connsiteY60" fmla="*/ 194405 h 323278"/>
                  <a:gd name="connsiteX61" fmla="*/ 673036 w 3238881"/>
                  <a:gd name="connsiteY61" fmla="*/ 200501 h 323278"/>
                  <a:gd name="connsiteX62" fmla="*/ 679323 w 3238881"/>
                  <a:gd name="connsiteY62" fmla="*/ 200501 h 323278"/>
                  <a:gd name="connsiteX63" fmla="*/ 679323 w 3238881"/>
                  <a:gd name="connsiteY63" fmla="*/ 206597 h 323278"/>
                  <a:gd name="connsiteX64" fmla="*/ 693991 w 3238881"/>
                  <a:gd name="connsiteY64" fmla="*/ 206597 h 323278"/>
                  <a:gd name="connsiteX65" fmla="*/ 693991 w 3238881"/>
                  <a:gd name="connsiteY65" fmla="*/ 212693 h 323278"/>
                  <a:gd name="connsiteX66" fmla="*/ 706659 w 3238881"/>
                  <a:gd name="connsiteY66" fmla="*/ 212693 h 323278"/>
                  <a:gd name="connsiteX67" fmla="*/ 706659 w 3238881"/>
                  <a:gd name="connsiteY67" fmla="*/ 218884 h 323278"/>
                  <a:gd name="connsiteX68" fmla="*/ 731901 w 3238881"/>
                  <a:gd name="connsiteY68" fmla="*/ 218884 h 323278"/>
                  <a:gd name="connsiteX69" fmla="*/ 731901 w 3238881"/>
                  <a:gd name="connsiteY69" fmla="*/ 224980 h 323278"/>
                  <a:gd name="connsiteX70" fmla="*/ 961167 w 3238881"/>
                  <a:gd name="connsiteY70" fmla="*/ 224980 h 323278"/>
                  <a:gd name="connsiteX71" fmla="*/ 961167 w 3238881"/>
                  <a:gd name="connsiteY71" fmla="*/ 231172 h 323278"/>
                  <a:gd name="connsiteX72" fmla="*/ 1074705 w 3238881"/>
                  <a:gd name="connsiteY72" fmla="*/ 231172 h 323278"/>
                  <a:gd name="connsiteX73" fmla="*/ 1074705 w 3238881"/>
                  <a:gd name="connsiteY73" fmla="*/ 237363 h 323278"/>
                  <a:gd name="connsiteX74" fmla="*/ 1343882 w 3238881"/>
                  <a:gd name="connsiteY74" fmla="*/ 237363 h 323278"/>
                  <a:gd name="connsiteX75" fmla="*/ 1343882 w 3238881"/>
                  <a:gd name="connsiteY75" fmla="*/ 243649 h 323278"/>
                  <a:gd name="connsiteX76" fmla="*/ 1417510 w 3238881"/>
                  <a:gd name="connsiteY76" fmla="*/ 243649 h 323278"/>
                  <a:gd name="connsiteX77" fmla="*/ 1417510 w 3238881"/>
                  <a:gd name="connsiteY77" fmla="*/ 249936 h 323278"/>
                  <a:gd name="connsiteX78" fmla="*/ 1497425 w 3238881"/>
                  <a:gd name="connsiteY78" fmla="*/ 249936 h 323278"/>
                  <a:gd name="connsiteX79" fmla="*/ 1497425 w 3238881"/>
                  <a:gd name="connsiteY79" fmla="*/ 256222 h 323278"/>
                  <a:gd name="connsiteX80" fmla="*/ 1659350 w 3238881"/>
                  <a:gd name="connsiteY80" fmla="*/ 256222 h 323278"/>
                  <a:gd name="connsiteX81" fmla="*/ 1659350 w 3238881"/>
                  <a:gd name="connsiteY81" fmla="*/ 262699 h 323278"/>
                  <a:gd name="connsiteX82" fmla="*/ 1676209 w 3238881"/>
                  <a:gd name="connsiteY82" fmla="*/ 262699 h 323278"/>
                  <a:gd name="connsiteX83" fmla="*/ 1676209 w 3238881"/>
                  <a:gd name="connsiteY83" fmla="*/ 269081 h 323278"/>
                  <a:gd name="connsiteX84" fmla="*/ 1794033 w 3238881"/>
                  <a:gd name="connsiteY84" fmla="*/ 269081 h 323278"/>
                  <a:gd name="connsiteX85" fmla="*/ 1794033 w 3238881"/>
                  <a:gd name="connsiteY85" fmla="*/ 275558 h 323278"/>
                  <a:gd name="connsiteX86" fmla="*/ 1886521 w 3238881"/>
                  <a:gd name="connsiteY86" fmla="*/ 275558 h 323278"/>
                  <a:gd name="connsiteX87" fmla="*/ 1886521 w 3238881"/>
                  <a:gd name="connsiteY87" fmla="*/ 281940 h 323278"/>
                  <a:gd name="connsiteX88" fmla="*/ 1905476 w 3238881"/>
                  <a:gd name="connsiteY88" fmla="*/ 281940 h 323278"/>
                  <a:gd name="connsiteX89" fmla="*/ 1905476 w 3238881"/>
                  <a:gd name="connsiteY89" fmla="*/ 288417 h 323278"/>
                  <a:gd name="connsiteX90" fmla="*/ 2759297 w 3238881"/>
                  <a:gd name="connsiteY90" fmla="*/ 288417 h 323278"/>
                  <a:gd name="connsiteX91" fmla="*/ 2759297 w 3238881"/>
                  <a:gd name="connsiteY91" fmla="*/ 323278 h 323278"/>
                  <a:gd name="connsiteX92" fmla="*/ 3238881 w 3238881"/>
                  <a:gd name="connsiteY92" fmla="*/ 323278 h 323278"/>
                  <a:gd name="connsiteX0" fmla="*/ 0 w 3238881"/>
                  <a:gd name="connsiteY0" fmla="*/ 0 h 323278"/>
                  <a:gd name="connsiteX1" fmla="*/ 16859 w 3238881"/>
                  <a:gd name="connsiteY1" fmla="*/ 6096 h 323278"/>
                  <a:gd name="connsiteX2" fmla="*/ 16859 w 3238881"/>
                  <a:gd name="connsiteY2" fmla="*/ 12097 h 323278"/>
                  <a:gd name="connsiteX3" fmla="*/ 44196 w 3238881"/>
                  <a:gd name="connsiteY3" fmla="*/ 12097 h 323278"/>
                  <a:gd name="connsiteX4" fmla="*/ 44196 w 3238881"/>
                  <a:gd name="connsiteY4" fmla="*/ 18193 h 323278"/>
                  <a:gd name="connsiteX5" fmla="*/ 46291 w 3238881"/>
                  <a:gd name="connsiteY5" fmla="*/ 18193 h 323278"/>
                  <a:gd name="connsiteX6" fmla="*/ 46291 w 3238881"/>
                  <a:gd name="connsiteY6" fmla="*/ 24289 h 323278"/>
                  <a:gd name="connsiteX7" fmla="*/ 56768 w 3238881"/>
                  <a:gd name="connsiteY7" fmla="*/ 24289 h 323278"/>
                  <a:gd name="connsiteX8" fmla="*/ 56768 w 3238881"/>
                  <a:gd name="connsiteY8" fmla="*/ 30289 h 323278"/>
                  <a:gd name="connsiteX9" fmla="*/ 63055 w 3238881"/>
                  <a:gd name="connsiteY9" fmla="*/ 30289 h 323278"/>
                  <a:gd name="connsiteX10" fmla="*/ 63055 w 3238881"/>
                  <a:gd name="connsiteY10" fmla="*/ 42481 h 323278"/>
                  <a:gd name="connsiteX11" fmla="*/ 71532 w 3238881"/>
                  <a:gd name="connsiteY11" fmla="*/ 42481 h 323278"/>
                  <a:gd name="connsiteX12" fmla="*/ 71532 w 3238881"/>
                  <a:gd name="connsiteY12" fmla="*/ 48482 h 323278"/>
                  <a:gd name="connsiteX13" fmla="*/ 77819 w 3238881"/>
                  <a:gd name="connsiteY13" fmla="*/ 48482 h 323278"/>
                  <a:gd name="connsiteX14" fmla="*/ 77819 w 3238881"/>
                  <a:gd name="connsiteY14" fmla="*/ 60674 h 323278"/>
                  <a:gd name="connsiteX15" fmla="*/ 79914 w 3238881"/>
                  <a:gd name="connsiteY15" fmla="*/ 60674 h 323278"/>
                  <a:gd name="connsiteX16" fmla="*/ 79914 w 3238881"/>
                  <a:gd name="connsiteY16" fmla="*/ 66770 h 323278"/>
                  <a:gd name="connsiteX17" fmla="*/ 92487 w 3238881"/>
                  <a:gd name="connsiteY17" fmla="*/ 66770 h 323278"/>
                  <a:gd name="connsiteX18" fmla="*/ 92487 w 3238881"/>
                  <a:gd name="connsiteY18" fmla="*/ 72771 h 323278"/>
                  <a:gd name="connsiteX19" fmla="*/ 115633 w 3238881"/>
                  <a:gd name="connsiteY19" fmla="*/ 72771 h 323278"/>
                  <a:gd name="connsiteX20" fmla="*/ 115633 w 3238881"/>
                  <a:gd name="connsiteY20" fmla="*/ 78867 h 323278"/>
                  <a:gd name="connsiteX21" fmla="*/ 122015 w 3238881"/>
                  <a:gd name="connsiteY21" fmla="*/ 78867 h 323278"/>
                  <a:gd name="connsiteX22" fmla="*/ 122015 w 3238881"/>
                  <a:gd name="connsiteY22" fmla="*/ 84963 h 323278"/>
                  <a:gd name="connsiteX23" fmla="*/ 130397 w 3238881"/>
                  <a:gd name="connsiteY23" fmla="*/ 84963 h 323278"/>
                  <a:gd name="connsiteX24" fmla="*/ 130397 w 3238881"/>
                  <a:gd name="connsiteY24" fmla="*/ 90964 h 323278"/>
                  <a:gd name="connsiteX25" fmla="*/ 138779 w 3238881"/>
                  <a:gd name="connsiteY25" fmla="*/ 90964 h 323278"/>
                  <a:gd name="connsiteX26" fmla="*/ 138779 w 3238881"/>
                  <a:gd name="connsiteY26" fmla="*/ 97060 h 323278"/>
                  <a:gd name="connsiteX27" fmla="*/ 142970 w 3238881"/>
                  <a:gd name="connsiteY27" fmla="*/ 97060 h 323278"/>
                  <a:gd name="connsiteX28" fmla="*/ 142970 w 3238881"/>
                  <a:gd name="connsiteY28" fmla="*/ 103156 h 323278"/>
                  <a:gd name="connsiteX29" fmla="*/ 216598 w 3238881"/>
                  <a:gd name="connsiteY29" fmla="*/ 103156 h 323278"/>
                  <a:gd name="connsiteX30" fmla="*/ 216598 w 3238881"/>
                  <a:gd name="connsiteY30" fmla="*/ 109156 h 323278"/>
                  <a:gd name="connsiteX31" fmla="*/ 237648 w 3238881"/>
                  <a:gd name="connsiteY31" fmla="*/ 109156 h 323278"/>
                  <a:gd name="connsiteX32" fmla="*/ 237648 w 3238881"/>
                  <a:gd name="connsiteY32" fmla="*/ 115252 h 323278"/>
                  <a:gd name="connsiteX33" fmla="*/ 243935 w 3238881"/>
                  <a:gd name="connsiteY33" fmla="*/ 115252 h 323278"/>
                  <a:gd name="connsiteX34" fmla="*/ 243935 w 3238881"/>
                  <a:gd name="connsiteY34" fmla="*/ 121348 h 323278"/>
                  <a:gd name="connsiteX35" fmla="*/ 286035 w 3238881"/>
                  <a:gd name="connsiteY35" fmla="*/ 121348 h 323278"/>
                  <a:gd name="connsiteX36" fmla="*/ 286035 w 3238881"/>
                  <a:gd name="connsiteY36" fmla="*/ 127349 h 323278"/>
                  <a:gd name="connsiteX37" fmla="*/ 300704 w 3238881"/>
                  <a:gd name="connsiteY37" fmla="*/ 127349 h 323278"/>
                  <a:gd name="connsiteX38" fmla="*/ 300704 w 3238881"/>
                  <a:gd name="connsiteY38" fmla="*/ 133445 h 323278"/>
                  <a:gd name="connsiteX39" fmla="*/ 330231 w 3238881"/>
                  <a:gd name="connsiteY39" fmla="*/ 133445 h 323278"/>
                  <a:gd name="connsiteX40" fmla="*/ 330231 w 3238881"/>
                  <a:gd name="connsiteY40" fmla="*/ 139541 h 323278"/>
                  <a:gd name="connsiteX41" fmla="*/ 332327 w 3238881"/>
                  <a:gd name="connsiteY41" fmla="*/ 139541 h 323278"/>
                  <a:gd name="connsiteX42" fmla="*/ 332327 w 3238881"/>
                  <a:gd name="connsiteY42" fmla="*/ 145542 h 323278"/>
                  <a:gd name="connsiteX43" fmla="*/ 355377 w 3238881"/>
                  <a:gd name="connsiteY43" fmla="*/ 145542 h 323278"/>
                  <a:gd name="connsiteX44" fmla="*/ 355377 w 3238881"/>
                  <a:gd name="connsiteY44" fmla="*/ 151638 h 323278"/>
                  <a:gd name="connsiteX45" fmla="*/ 368046 w 3238881"/>
                  <a:gd name="connsiteY45" fmla="*/ 151638 h 323278"/>
                  <a:gd name="connsiteX46" fmla="*/ 368046 w 3238881"/>
                  <a:gd name="connsiteY46" fmla="*/ 157734 h 323278"/>
                  <a:gd name="connsiteX47" fmla="*/ 403764 w 3238881"/>
                  <a:gd name="connsiteY47" fmla="*/ 157734 h 323278"/>
                  <a:gd name="connsiteX48" fmla="*/ 403764 w 3238881"/>
                  <a:gd name="connsiteY48" fmla="*/ 163830 h 323278"/>
                  <a:gd name="connsiteX49" fmla="*/ 519493 w 3238881"/>
                  <a:gd name="connsiteY49" fmla="*/ 163830 h 323278"/>
                  <a:gd name="connsiteX50" fmla="*/ 519493 w 3238881"/>
                  <a:gd name="connsiteY50" fmla="*/ 169831 h 323278"/>
                  <a:gd name="connsiteX51" fmla="*/ 557307 w 3238881"/>
                  <a:gd name="connsiteY51" fmla="*/ 169831 h 323278"/>
                  <a:gd name="connsiteX52" fmla="*/ 557307 w 3238881"/>
                  <a:gd name="connsiteY52" fmla="*/ 176022 h 323278"/>
                  <a:gd name="connsiteX53" fmla="*/ 609885 w 3238881"/>
                  <a:gd name="connsiteY53" fmla="*/ 176022 h 323278"/>
                  <a:gd name="connsiteX54" fmla="*/ 609885 w 3238881"/>
                  <a:gd name="connsiteY54" fmla="*/ 182118 h 323278"/>
                  <a:gd name="connsiteX55" fmla="*/ 628840 w 3238881"/>
                  <a:gd name="connsiteY55" fmla="*/ 182118 h 323278"/>
                  <a:gd name="connsiteX56" fmla="*/ 628840 w 3238881"/>
                  <a:gd name="connsiteY56" fmla="*/ 188214 h 323278"/>
                  <a:gd name="connsiteX57" fmla="*/ 639318 w 3238881"/>
                  <a:gd name="connsiteY57" fmla="*/ 188214 h 323278"/>
                  <a:gd name="connsiteX58" fmla="*/ 639318 w 3238881"/>
                  <a:gd name="connsiteY58" fmla="*/ 194405 h 323278"/>
                  <a:gd name="connsiteX59" fmla="*/ 673036 w 3238881"/>
                  <a:gd name="connsiteY59" fmla="*/ 194405 h 323278"/>
                  <a:gd name="connsiteX60" fmla="*/ 673036 w 3238881"/>
                  <a:gd name="connsiteY60" fmla="*/ 200501 h 323278"/>
                  <a:gd name="connsiteX61" fmla="*/ 679323 w 3238881"/>
                  <a:gd name="connsiteY61" fmla="*/ 200501 h 323278"/>
                  <a:gd name="connsiteX62" fmla="*/ 679323 w 3238881"/>
                  <a:gd name="connsiteY62" fmla="*/ 206597 h 323278"/>
                  <a:gd name="connsiteX63" fmla="*/ 693991 w 3238881"/>
                  <a:gd name="connsiteY63" fmla="*/ 206597 h 323278"/>
                  <a:gd name="connsiteX64" fmla="*/ 693991 w 3238881"/>
                  <a:gd name="connsiteY64" fmla="*/ 212693 h 323278"/>
                  <a:gd name="connsiteX65" fmla="*/ 706659 w 3238881"/>
                  <a:gd name="connsiteY65" fmla="*/ 212693 h 323278"/>
                  <a:gd name="connsiteX66" fmla="*/ 706659 w 3238881"/>
                  <a:gd name="connsiteY66" fmla="*/ 218884 h 323278"/>
                  <a:gd name="connsiteX67" fmla="*/ 731901 w 3238881"/>
                  <a:gd name="connsiteY67" fmla="*/ 218884 h 323278"/>
                  <a:gd name="connsiteX68" fmla="*/ 731901 w 3238881"/>
                  <a:gd name="connsiteY68" fmla="*/ 224980 h 323278"/>
                  <a:gd name="connsiteX69" fmla="*/ 961167 w 3238881"/>
                  <a:gd name="connsiteY69" fmla="*/ 224980 h 323278"/>
                  <a:gd name="connsiteX70" fmla="*/ 961167 w 3238881"/>
                  <a:gd name="connsiteY70" fmla="*/ 231172 h 323278"/>
                  <a:gd name="connsiteX71" fmla="*/ 1074705 w 3238881"/>
                  <a:gd name="connsiteY71" fmla="*/ 231172 h 323278"/>
                  <a:gd name="connsiteX72" fmla="*/ 1074705 w 3238881"/>
                  <a:gd name="connsiteY72" fmla="*/ 237363 h 323278"/>
                  <a:gd name="connsiteX73" fmla="*/ 1343882 w 3238881"/>
                  <a:gd name="connsiteY73" fmla="*/ 237363 h 323278"/>
                  <a:gd name="connsiteX74" fmla="*/ 1343882 w 3238881"/>
                  <a:gd name="connsiteY74" fmla="*/ 243649 h 323278"/>
                  <a:gd name="connsiteX75" fmla="*/ 1417510 w 3238881"/>
                  <a:gd name="connsiteY75" fmla="*/ 243649 h 323278"/>
                  <a:gd name="connsiteX76" fmla="*/ 1417510 w 3238881"/>
                  <a:gd name="connsiteY76" fmla="*/ 249936 h 323278"/>
                  <a:gd name="connsiteX77" fmla="*/ 1497425 w 3238881"/>
                  <a:gd name="connsiteY77" fmla="*/ 249936 h 323278"/>
                  <a:gd name="connsiteX78" fmla="*/ 1497425 w 3238881"/>
                  <a:gd name="connsiteY78" fmla="*/ 256222 h 323278"/>
                  <a:gd name="connsiteX79" fmla="*/ 1659350 w 3238881"/>
                  <a:gd name="connsiteY79" fmla="*/ 256222 h 323278"/>
                  <a:gd name="connsiteX80" fmla="*/ 1659350 w 3238881"/>
                  <a:gd name="connsiteY80" fmla="*/ 262699 h 323278"/>
                  <a:gd name="connsiteX81" fmla="*/ 1676209 w 3238881"/>
                  <a:gd name="connsiteY81" fmla="*/ 262699 h 323278"/>
                  <a:gd name="connsiteX82" fmla="*/ 1676209 w 3238881"/>
                  <a:gd name="connsiteY82" fmla="*/ 269081 h 323278"/>
                  <a:gd name="connsiteX83" fmla="*/ 1794033 w 3238881"/>
                  <a:gd name="connsiteY83" fmla="*/ 269081 h 323278"/>
                  <a:gd name="connsiteX84" fmla="*/ 1794033 w 3238881"/>
                  <a:gd name="connsiteY84" fmla="*/ 275558 h 323278"/>
                  <a:gd name="connsiteX85" fmla="*/ 1886521 w 3238881"/>
                  <a:gd name="connsiteY85" fmla="*/ 275558 h 323278"/>
                  <a:gd name="connsiteX86" fmla="*/ 1886521 w 3238881"/>
                  <a:gd name="connsiteY86" fmla="*/ 281940 h 323278"/>
                  <a:gd name="connsiteX87" fmla="*/ 1905476 w 3238881"/>
                  <a:gd name="connsiteY87" fmla="*/ 281940 h 323278"/>
                  <a:gd name="connsiteX88" fmla="*/ 1905476 w 3238881"/>
                  <a:gd name="connsiteY88" fmla="*/ 288417 h 323278"/>
                  <a:gd name="connsiteX89" fmla="*/ 2759297 w 3238881"/>
                  <a:gd name="connsiteY89" fmla="*/ 288417 h 323278"/>
                  <a:gd name="connsiteX90" fmla="*/ 2759297 w 3238881"/>
                  <a:gd name="connsiteY90" fmla="*/ 323278 h 323278"/>
                  <a:gd name="connsiteX91" fmla="*/ 3238881 w 3238881"/>
                  <a:gd name="connsiteY91" fmla="*/ 323278 h 323278"/>
                  <a:gd name="connsiteX0" fmla="*/ 0 w 3222022"/>
                  <a:gd name="connsiteY0" fmla="*/ 0 h 317182"/>
                  <a:gd name="connsiteX1" fmla="*/ 0 w 3222022"/>
                  <a:gd name="connsiteY1" fmla="*/ 6001 h 317182"/>
                  <a:gd name="connsiteX2" fmla="*/ 27337 w 3222022"/>
                  <a:gd name="connsiteY2" fmla="*/ 6001 h 317182"/>
                  <a:gd name="connsiteX3" fmla="*/ 27337 w 3222022"/>
                  <a:gd name="connsiteY3" fmla="*/ 12097 h 317182"/>
                  <a:gd name="connsiteX4" fmla="*/ 29432 w 3222022"/>
                  <a:gd name="connsiteY4" fmla="*/ 12097 h 317182"/>
                  <a:gd name="connsiteX5" fmla="*/ 29432 w 3222022"/>
                  <a:gd name="connsiteY5" fmla="*/ 18193 h 317182"/>
                  <a:gd name="connsiteX6" fmla="*/ 39909 w 3222022"/>
                  <a:gd name="connsiteY6" fmla="*/ 18193 h 317182"/>
                  <a:gd name="connsiteX7" fmla="*/ 39909 w 3222022"/>
                  <a:gd name="connsiteY7" fmla="*/ 24193 h 317182"/>
                  <a:gd name="connsiteX8" fmla="*/ 46196 w 3222022"/>
                  <a:gd name="connsiteY8" fmla="*/ 24193 h 317182"/>
                  <a:gd name="connsiteX9" fmla="*/ 46196 w 3222022"/>
                  <a:gd name="connsiteY9" fmla="*/ 36385 h 317182"/>
                  <a:gd name="connsiteX10" fmla="*/ 54673 w 3222022"/>
                  <a:gd name="connsiteY10" fmla="*/ 36385 h 317182"/>
                  <a:gd name="connsiteX11" fmla="*/ 54673 w 3222022"/>
                  <a:gd name="connsiteY11" fmla="*/ 42386 h 317182"/>
                  <a:gd name="connsiteX12" fmla="*/ 60960 w 3222022"/>
                  <a:gd name="connsiteY12" fmla="*/ 42386 h 317182"/>
                  <a:gd name="connsiteX13" fmla="*/ 60960 w 3222022"/>
                  <a:gd name="connsiteY13" fmla="*/ 54578 h 317182"/>
                  <a:gd name="connsiteX14" fmla="*/ 63055 w 3222022"/>
                  <a:gd name="connsiteY14" fmla="*/ 54578 h 317182"/>
                  <a:gd name="connsiteX15" fmla="*/ 63055 w 3222022"/>
                  <a:gd name="connsiteY15" fmla="*/ 60674 h 317182"/>
                  <a:gd name="connsiteX16" fmla="*/ 75628 w 3222022"/>
                  <a:gd name="connsiteY16" fmla="*/ 60674 h 317182"/>
                  <a:gd name="connsiteX17" fmla="*/ 75628 w 3222022"/>
                  <a:gd name="connsiteY17" fmla="*/ 66675 h 317182"/>
                  <a:gd name="connsiteX18" fmla="*/ 98774 w 3222022"/>
                  <a:gd name="connsiteY18" fmla="*/ 66675 h 317182"/>
                  <a:gd name="connsiteX19" fmla="*/ 98774 w 3222022"/>
                  <a:gd name="connsiteY19" fmla="*/ 72771 h 317182"/>
                  <a:gd name="connsiteX20" fmla="*/ 105156 w 3222022"/>
                  <a:gd name="connsiteY20" fmla="*/ 72771 h 317182"/>
                  <a:gd name="connsiteX21" fmla="*/ 105156 w 3222022"/>
                  <a:gd name="connsiteY21" fmla="*/ 78867 h 317182"/>
                  <a:gd name="connsiteX22" fmla="*/ 113538 w 3222022"/>
                  <a:gd name="connsiteY22" fmla="*/ 78867 h 317182"/>
                  <a:gd name="connsiteX23" fmla="*/ 113538 w 3222022"/>
                  <a:gd name="connsiteY23" fmla="*/ 84868 h 317182"/>
                  <a:gd name="connsiteX24" fmla="*/ 121920 w 3222022"/>
                  <a:gd name="connsiteY24" fmla="*/ 84868 h 317182"/>
                  <a:gd name="connsiteX25" fmla="*/ 121920 w 3222022"/>
                  <a:gd name="connsiteY25" fmla="*/ 90964 h 317182"/>
                  <a:gd name="connsiteX26" fmla="*/ 126111 w 3222022"/>
                  <a:gd name="connsiteY26" fmla="*/ 90964 h 317182"/>
                  <a:gd name="connsiteX27" fmla="*/ 126111 w 3222022"/>
                  <a:gd name="connsiteY27" fmla="*/ 97060 h 317182"/>
                  <a:gd name="connsiteX28" fmla="*/ 199739 w 3222022"/>
                  <a:gd name="connsiteY28" fmla="*/ 97060 h 317182"/>
                  <a:gd name="connsiteX29" fmla="*/ 199739 w 3222022"/>
                  <a:gd name="connsiteY29" fmla="*/ 103060 h 317182"/>
                  <a:gd name="connsiteX30" fmla="*/ 220789 w 3222022"/>
                  <a:gd name="connsiteY30" fmla="*/ 103060 h 317182"/>
                  <a:gd name="connsiteX31" fmla="*/ 220789 w 3222022"/>
                  <a:gd name="connsiteY31" fmla="*/ 109156 h 317182"/>
                  <a:gd name="connsiteX32" fmla="*/ 227076 w 3222022"/>
                  <a:gd name="connsiteY32" fmla="*/ 109156 h 317182"/>
                  <a:gd name="connsiteX33" fmla="*/ 227076 w 3222022"/>
                  <a:gd name="connsiteY33" fmla="*/ 115252 h 317182"/>
                  <a:gd name="connsiteX34" fmla="*/ 269176 w 3222022"/>
                  <a:gd name="connsiteY34" fmla="*/ 115252 h 317182"/>
                  <a:gd name="connsiteX35" fmla="*/ 269176 w 3222022"/>
                  <a:gd name="connsiteY35" fmla="*/ 121253 h 317182"/>
                  <a:gd name="connsiteX36" fmla="*/ 283845 w 3222022"/>
                  <a:gd name="connsiteY36" fmla="*/ 121253 h 317182"/>
                  <a:gd name="connsiteX37" fmla="*/ 283845 w 3222022"/>
                  <a:gd name="connsiteY37" fmla="*/ 127349 h 317182"/>
                  <a:gd name="connsiteX38" fmla="*/ 313372 w 3222022"/>
                  <a:gd name="connsiteY38" fmla="*/ 127349 h 317182"/>
                  <a:gd name="connsiteX39" fmla="*/ 313372 w 3222022"/>
                  <a:gd name="connsiteY39" fmla="*/ 133445 h 317182"/>
                  <a:gd name="connsiteX40" fmla="*/ 315468 w 3222022"/>
                  <a:gd name="connsiteY40" fmla="*/ 133445 h 317182"/>
                  <a:gd name="connsiteX41" fmla="*/ 315468 w 3222022"/>
                  <a:gd name="connsiteY41" fmla="*/ 139446 h 317182"/>
                  <a:gd name="connsiteX42" fmla="*/ 338518 w 3222022"/>
                  <a:gd name="connsiteY42" fmla="*/ 139446 h 317182"/>
                  <a:gd name="connsiteX43" fmla="*/ 338518 w 3222022"/>
                  <a:gd name="connsiteY43" fmla="*/ 145542 h 317182"/>
                  <a:gd name="connsiteX44" fmla="*/ 351187 w 3222022"/>
                  <a:gd name="connsiteY44" fmla="*/ 145542 h 317182"/>
                  <a:gd name="connsiteX45" fmla="*/ 351187 w 3222022"/>
                  <a:gd name="connsiteY45" fmla="*/ 151638 h 317182"/>
                  <a:gd name="connsiteX46" fmla="*/ 386905 w 3222022"/>
                  <a:gd name="connsiteY46" fmla="*/ 151638 h 317182"/>
                  <a:gd name="connsiteX47" fmla="*/ 386905 w 3222022"/>
                  <a:gd name="connsiteY47" fmla="*/ 157734 h 317182"/>
                  <a:gd name="connsiteX48" fmla="*/ 502634 w 3222022"/>
                  <a:gd name="connsiteY48" fmla="*/ 157734 h 317182"/>
                  <a:gd name="connsiteX49" fmla="*/ 502634 w 3222022"/>
                  <a:gd name="connsiteY49" fmla="*/ 163735 h 317182"/>
                  <a:gd name="connsiteX50" fmla="*/ 540448 w 3222022"/>
                  <a:gd name="connsiteY50" fmla="*/ 163735 h 317182"/>
                  <a:gd name="connsiteX51" fmla="*/ 540448 w 3222022"/>
                  <a:gd name="connsiteY51" fmla="*/ 169926 h 317182"/>
                  <a:gd name="connsiteX52" fmla="*/ 593026 w 3222022"/>
                  <a:gd name="connsiteY52" fmla="*/ 169926 h 317182"/>
                  <a:gd name="connsiteX53" fmla="*/ 593026 w 3222022"/>
                  <a:gd name="connsiteY53" fmla="*/ 176022 h 317182"/>
                  <a:gd name="connsiteX54" fmla="*/ 611981 w 3222022"/>
                  <a:gd name="connsiteY54" fmla="*/ 176022 h 317182"/>
                  <a:gd name="connsiteX55" fmla="*/ 611981 w 3222022"/>
                  <a:gd name="connsiteY55" fmla="*/ 182118 h 317182"/>
                  <a:gd name="connsiteX56" fmla="*/ 622459 w 3222022"/>
                  <a:gd name="connsiteY56" fmla="*/ 182118 h 317182"/>
                  <a:gd name="connsiteX57" fmla="*/ 622459 w 3222022"/>
                  <a:gd name="connsiteY57" fmla="*/ 188309 h 317182"/>
                  <a:gd name="connsiteX58" fmla="*/ 656177 w 3222022"/>
                  <a:gd name="connsiteY58" fmla="*/ 188309 h 317182"/>
                  <a:gd name="connsiteX59" fmla="*/ 656177 w 3222022"/>
                  <a:gd name="connsiteY59" fmla="*/ 194405 h 317182"/>
                  <a:gd name="connsiteX60" fmla="*/ 662464 w 3222022"/>
                  <a:gd name="connsiteY60" fmla="*/ 194405 h 317182"/>
                  <a:gd name="connsiteX61" fmla="*/ 662464 w 3222022"/>
                  <a:gd name="connsiteY61" fmla="*/ 200501 h 317182"/>
                  <a:gd name="connsiteX62" fmla="*/ 677132 w 3222022"/>
                  <a:gd name="connsiteY62" fmla="*/ 200501 h 317182"/>
                  <a:gd name="connsiteX63" fmla="*/ 677132 w 3222022"/>
                  <a:gd name="connsiteY63" fmla="*/ 206597 h 317182"/>
                  <a:gd name="connsiteX64" fmla="*/ 689800 w 3222022"/>
                  <a:gd name="connsiteY64" fmla="*/ 206597 h 317182"/>
                  <a:gd name="connsiteX65" fmla="*/ 689800 w 3222022"/>
                  <a:gd name="connsiteY65" fmla="*/ 212788 h 317182"/>
                  <a:gd name="connsiteX66" fmla="*/ 715042 w 3222022"/>
                  <a:gd name="connsiteY66" fmla="*/ 212788 h 317182"/>
                  <a:gd name="connsiteX67" fmla="*/ 715042 w 3222022"/>
                  <a:gd name="connsiteY67" fmla="*/ 218884 h 317182"/>
                  <a:gd name="connsiteX68" fmla="*/ 944308 w 3222022"/>
                  <a:gd name="connsiteY68" fmla="*/ 218884 h 317182"/>
                  <a:gd name="connsiteX69" fmla="*/ 944308 w 3222022"/>
                  <a:gd name="connsiteY69" fmla="*/ 225076 h 317182"/>
                  <a:gd name="connsiteX70" fmla="*/ 1057846 w 3222022"/>
                  <a:gd name="connsiteY70" fmla="*/ 225076 h 317182"/>
                  <a:gd name="connsiteX71" fmla="*/ 1057846 w 3222022"/>
                  <a:gd name="connsiteY71" fmla="*/ 231267 h 317182"/>
                  <a:gd name="connsiteX72" fmla="*/ 1327023 w 3222022"/>
                  <a:gd name="connsiteY72" fmla="*/ 231267 h 317182"/>
                  <a:gd name="connsiteX73" fmla="*/ 1327023 w 3222022"/>
                  <a:gd name="connsiteY73" fmla="*/ 237553 h 317182"/>
                  <a:gd name="connsiteX74" fmla="*/ 1400651 w 3222022"/>
                  <a:gd name="connsiteY74" fmla="*/ 237553 h 317182"/>
                  <a:gd name="connsiteX75" fmla="*/ 1400651 w 3222022"/>
                  <a:gd name="connsiteY75" fmla="*/ 243840 h 317182"/>
                  <a:gd name="connsiteX76" fmla="*/ 1480566 w 3222022"/>
                  <a:gd name="connsiteY76" fmla="*/ 243840 h 317182"/>
                  <a:gd name="connsiteX77" fmla="*/ 1480566 w 3222022"/>
                  <a:gd name="connsiteY77" fmla="*/ 250126 h 317182"/>
                  <a:gd name="connsiteX78" fmla="*/ 1642491 w 3222022"/>
                  <a:gd name="connsiteY78" fmla="*/ 250126 h 317182"/>
                  <a:gd name="connsiteX79" fmla="*/ 1642491 w 3222022"/>
                  <a:gd name="connsiteY79" fmla="*/ 256603 h 317182"/>
                  <a:gd name="connsiteX80" fmla="*/ 1659350 w 3222022"/>
                  <a:gd name="connsiteY80" fmla="*/ 256603 h 317182"/>
                  <a:gd name="connsiteX81" fmla="*/ 1659350 w 3222022"/>
                  <a:gd name="connsiteY81" fmla="*/ 262985 h 317182"/>
                  <a:gd name="connsiteX82" fmla="*/ 1777174 w 3222022"/>
                  <a:gd name="connsiteY82" fmla="*/ 262985 h 317182"/>
                  <a:gd name="connsiteX83" fmla="*/ 1777174 w 3222022"/>
                  <a:gd name="connsiteY83" fmla="*/ 269462 h 317182"/>
                  <a:gd name="connsiteX84" fmla="*/ 1869662 w 3222022"/>
                  <a:gd name="connsiteY84" fmla="*/ 269462 h 317182"/>
                  <a:gd name="connsiteX85" fmla="*/ 1869662 w 3222022"/>
                  <a:gd name="connsiteY85" fmla="*/ 275844 h 317182"/>
                  <a:gd name="connsiteX86" fmla="*/ 1888617 w 3222022"/>
                  <a:gd name="connsiteY86" fmla="*/ 275844 h 317182"/>
                  <a:gd name="connsiteX87" fmla="*/ 1888617 w 3222022"/>
                  <a:gd name="connsiteY87" fmla="*/ 282321 h 317182"/>
                  <a:gd name="connsiteX88" fmla="*/ 2742438 w 3222022"/>
                  <a:gd name="connsiteY88" fmla="*/ 282321 h 317182"/>
                  <a:gd name="connsiteX89" fmla="*/ 2742438 w 3222022"/>
                  <a:gd name="connsiteY89" fmla="*/ 317182 h 317182"/>
                  <a:gd name="connsiteX90" fmla="*/ 3222022 w 3222022"/>
                  <a:gd name="connsiteY90" fmla="*/ 317182 h 317182"/>
                  <a:gd name="connsiteX0" fmla="*/ 0 w 3222022"/>
                  <a:gd name="connsiteY0" fmla="*/ 0 h 317182"/>
                  <a:gd name="connsiteX1" fmla="*/ 27337 w 3222022"/>
                  <a:gd name="connsiteY1" fmla="*/ 6001 h 317182"/>
                  <a:gd name="connsiteX2" fmla="*/ 27337 w 3222022"/>
                  <a:gd name="connsiteY2" fmla="*/ 12097 h 317182"/>
                  <a:gd name="connsiteX3" fmla="*/ 29432 w 3222022"/>
                  <a:gd name="connsiteY3" fmla="*/ 12097 h 317182"/>
                  <a:gd name="connsiteX4" fmla="*/ 29432 w 3222022"/>
                  <a:gd name="connsiteY4" fmla="*/ 18193 h 317182"/>
                  <a:gd name="connsiteX5" fmla="*/ 39909 w 3222022"/>
                  <a:gd name="connsiteY5" fmla="*/ 18193 h 317182"/>
                  <a:gd name="connsiteX6" fmla="*/ 39909 w 3222022"/>
                  <a:gd name="connsiteY6" fmla="*/ 24193 h 317182"/>
                  <a:gd name="connsiteX7" fmla="*/ 46196 w 3222022"/>
                  <a:gd name="connsiteY7" fmla="*/ 24193 h 317182"/>
                  <a:gd name="connsiteX8" fmla="*/ 46196 w 3222022"/>
                  <a:gd name="connsiteY8" fmla="*/ 36385 h 317182"/>
                  <a:gd name="connsiteX9" fmla="*/ 54673 w 3222022"/>
                  <a:gd name="connsiteY9" fmla="*/ 36385 h 317182"/>
                  <a:gd name="connsiteX10" fmla="*/ 54673 w 3222022"/>
                  <a:gd name="connsiteY10" fmla="*/ 42386 h 317182"/>
                  <a:gd name="connsiteX11" fmla="*/ 60960 w 3222022"/>
                  <a:gd name="connsiteY11" fmla="*/ 42386 h 317182"/>
                  <a:gd name="connsiteX12" fmla="*/ 60960 w 3222022"/>
                  <a:gd name="connsiteY12" fmla="*/ 54578 h 317182"/>
                  <a:gd name="connsiteX13" fmla="*/ 63055 w 3222022"/>
                  <a:gd name="connsiteY13" fmla="*/ 54578 h 317182"/>
                  <a:gd name="connsiteX14" fmla="*/ 63055 w 3222022"/>
                  <a:gd name="connsiteY14" fmla="*/ 60674 h 317182"/>
                  <a:gd name="connsiteX15" fmla="*/ 75628 w 3222022"/>
                  <a:gd name="connsiteY15" fmla="*/ 60674 h 317182"/>
                  <a:gd name="connsiteX16" fmla="*/ 75628 w 3222022"/>
                  <a:gd name="connsiteY16" fmla="*/ 66675 h 317182"/>
                  <a:gd name="connsiteX17" fmla="*/ 98774 w 3222022"/>
                  <a:gd name="connsiteY17" fmla="*/ 66675 h 317182"/>
                  <a:gd name="connsiteX18" fmla="*/ 98774 w 3222022"/>
                  <a:gd name="connsiteY18" fmla="*/ 72771 h 317182"/>
                  <a:gd name="connsiteX19" fmla="*/ 105156 w 3222022"/>
                  <a:gd name="connsiteY19" fmla="*/ 72771 h 317182"/>
                  <a:gd name="connsiteX20" fmla="*/ 105156 w 3222022"/>
                  <a:gd name="connsiteY20" fmla="*/ 78867 h 317182"/>
                  <a:gd name="connsiteX21" fmla="*/ 113538 w 3222022"/>
                  <a:gd name="connsiteY21" fmla="*/ 78867 h 317182"/>
                  <a:gd name="connsiteX22" fmla="*/ 113538 w 3222022"/>
                  <a:gd name="connsiteY22" fmla="*/ 84868 h 317182"/>
                  <a:gd name="connsiteX23" fmla="*/ 121920 w 3222022"/>
                  <a:gd name="connsiteY23" fmla="*/ 84868 h 317182"/>
                  <a:gd name="connsiteX24" fmla="*/ 121920 w 3222022"/>
                  <a:gd name="connsiteY24" fmla="*/ 90964 h 317182"/>
                  <a:gd name="connsiteX25" fmla="*/ 126111 w 3222022"/>
                  <a:gd name="connsiteY25" fmla="*/ 90964 h 317182"/>
                  <a:gd name="connsiteX26" fmla="*/ 126111 w 3222022"/>
                  <a:gd name="connsiteY26" fmla="*/ 97060 h 317182"/>
                  <a:gd name="connsiteX27" fmla="*/ 199739 w 3222022"/>
                  <a:gd name="connsiteY27" fmla="*/ 97060 h 317182"/>
                  <a:gd name="connsiteX28" fmla="*/ 199739 w 3222022"/>
                  <a:gd name="connsiteY28" fmla="*/ 103060 h 317182"/>
                  <a:gd name="connsiteX29" fmla="*/ 220789 w 3222022"/>
                  <a:gd name="connsiteY29" fmla="*/ 103060 h 317182"/>
                  <a:gd name="connsiteX30" fmla="*/ 220789 w 3222022"/>
                  <a:gd name="connsiteY30" fmla="*/ 109156 h 317182"/>
                  <a:gd name="connsiteX31" fmla="*/ 227076 w 3222022"/>
                  <a:gd name="connsiteY31" fmla="*/ 109156 h 317182"/>
                  <a:gd name="connsiteX32" fmla="*/ 227076 w 3222022"/>
                  <a:gd name="connsiteY32" fmla="*/ 115252 h 317182"/>
                  <a:gd name="connsiteX33" fmla="*/ 269176 w 3222022"/>
                  <a:gd name="connsiteY33" fmla="*/ 115252 h 317182"/>
                  <a:gd name="connsiteX34" fmla="*/ 269176 w 3222022"/>
                  <a:gd name="connsiteY34" fmla="*/ 121253 h 317182"/>
                  <a:gd name="connsiteX35" fmla="*/ 283845 w 3222022"/>
                  <a:gd name="connsiteY35" fmla="*/ 121253 h 317182"/>
                  <a:gd name="connsiteX36" fmla="*/ 283845 w 3222022"/>
                  <a:gd name="connsiteY36" fmla="*/ 127349 h 317182"/>
                  <a:gd name="connsiteX37" fmla="*/ 313372 w 3222022"/>
                  <a:gd name="connsiteY37" fmla="*/ 127349 h 317182"/>
                  <a:gd name="connsiteX38" fmla="*/ 313372 w 3222022"/>
                  <a:gd name="connsiteY38" fmla="*/ 133445 h 317182"/>
                  <a:gd name="connsiteX39" fmla="*/ 315468 w 3222022"/>
                  <a:gd name="connsiteY39" fmla="*/ 133445 h 317182"/>
                  <a:gd name="connsiteX40" fmla="*/ 315468 w 3222022"/>
                  <a:gd name="connsiteY40" fmla="*/ 139446 h 317182"/>
                  <a:gd name="connsiteX41" fmla="*/ 338518 w 3222022"/>
                  <a:gd name="connsiteY41" fmla="*/ 139446 h 317182"/>
                  <a:gd name="connsiteX42" fmla="*/ 338518 w 3222022"/>
                  <a:gd name="connsiteY42" fmla="*/ 145542 h 317182"/>
                  <a:gd name="connsiteX43" fmla="*/ 351187 w 3222022"/>
                  <a:gd name="connsiteY43" fmla="*/ 145542 h 317182"/>
                  <a:gd name="connsiteX44" fmla="*/ 351187 w 3222022"/>
                  <a:gd name="connsiteY44" fmla="*/ 151638 h 317182"/>
                  <a:gd name="connsiteX45" fmla="*/ 386905 w 3222022"/>
                  <a:gd name="connsiteY45" fmla="*/ 151638 h 317182"/>
                  <a:gd name="connsiteX46" fmla="*/ 386905 w 3222022"/>
                  <a:gd name="connsiteY46" fmla="*/ 157734 h 317182"/>
                  <a:gd name="connsiteX47" fmla="*/ 502634 w 3222022"/>
                  <a:gd name="connsiteY47" fmla="*/ 157734 h 317182"/>
                  <a:gd name="connsiteX48" fmla="*/ 502634 w 3222022"/>
                  <a:gd name="connsiteY48" fmla="*/ 163735 h 317182"/>
                  <a:gd name="connsiteX49" fmla="*/ 540448 w 3222022"/>
                  <a:gd name="connsiteY49" fmla="*/ 163735 h 317182"/>
                  <a:gd name="connsiteX50" fmla="*/ 540448 w 3222022"/>
                  <a:gd name="connsiteY50" fmla="*/ 169926 h 317182"/>
                  <a:gd name="connsiteX51" fmla="*/ 593026 w 3222022"/>
                  <a:gd name="connsiteY51" fmla="*/ 169926 h 317182"/>
                  <a:gd name="connsiteX52" fmla="*/ 593026 w 3222022"/>
                  <a:gd name="connsiteY52" fmla="*/ 176022 h 317182"/>
                  <a:gd name="connsiteX53" fmla="*/ 611981 w 3222022"/>
                  <a:gd name="connsiteY53" fmla="*/ 176022 h 317182"/>
                  <a:gd name="connsiteX54" fmla="*/ 611981 w 3222022"/>
                  <a:gd name="connsiteY54" fmla="*/ 182118 h 317182"/>
                  <a:gd name="connsiteX55" fmla="*/ 622459 w 3222022"/>
                  <a:gd name="connsiteY55" fmla="*/ 182118 h 317182"/>
                  <a:gd name="connsiteX56" fmla="*/ 622459 w 3222022"/>
                  <a:gd name="connsiteY56" fmla="*/ 188309 h 317182"/>
                  <a:gd name="connsiteX57" fmla="*/ 656177 w 3222022"/>
                  <a:gd name="connsiteY57" fmla="*/ 188309 h 317182"/>
                  <a:gd name="connsiteX58" fmla="*/ 656177 w 3222022"/>
                  <a:gd name="connsiteY58" fmla="*/ 194405 h 317182"/>
                  <a:gd name="connsiteX59" fmla="*/ 662464 w 3222022"/>
                  <a:gd name="connsiteY59" fmla="*/ 194405 h 317182"/>
                  <a:gd name="connsiteX60" fmla="*/ 662464 w 3222022"/>
                  <a:gd name="connsiteY60" fmla="*/ 200501 h 317182"/>
                  <a:gd name="connsiteX61" fmla="*/ 677132 w 3222022"/>
                  <a:gd name="connsiteY61" fmla="*/ 200501 h 317182"/>
                  <a:gd name="connsiteX62" fmla="*/ 677132 w 3222022"/>
                  <a:gd name="connsiteY62" fmla="*/ 206597 h 317182"/>
                  <a:gd name="connsiteX63" fmla="*/ 689800 w 3222022"/>
                  <a:gd name="connsiteY63" fmla="*/ 206597 h 317182"/>
                  <a:gd name="connsiteX64" fmla="*/ 689800 w 3222022"/>
                  <a:gd name="connsiteY64" fmla="*/ 212788 h 317182"/>
                  <a:gd name="connsiteX65" fmla="*/ 715042 w 3222022"/>
                  <a:gd name="connsiteY65" fmla="*/ 212788 h 317182"/>
                  <a:gd name="connsiteX66" fmla="*/ 715042 w 3222022"/>
                  <a:gd name="connsiteY66" fmla="*/ 218884 h 317182"/>
                  <a:gd name="connsiteX67" fmla="*/ 944308 w 3222022"/>
                  <a:gd name="connsiteY67" fmla="*/ 218884 h 317182"/>
                  <a:gd name="connsiteX68" fmla="*/ 944308 w 3222022"/>
                  <a:gd name="connsiteY68" fmla="*/ 225076 h 317182"/>
                  <a:gd name="connsiteX69" fmla="*/ 1057846 w 3222022"/>
                  <a:gd name="connsiteY69" fmla="*/ 225076 h 317182"/>
                  <a:gd name="connsiteX70" fmla="*/ 1057846 w 3222022"/>
                  <a:gd name="connsiteY70" fmla="*/ 231267 h 317182"/>
                  <a:gd name="connsiteX71" fmla="*/ 1327023 w 3222022"/>
                  <a:gd name="connsiteY71" fmla="*/ 231267 h 317182"/>
                  <a:gd name="connsiteX72" fmla="*/ 1327023 w 3222022"/>
                  <a:gd name="connsiteY72" fmla="*/ 237553 h 317182"/>
                  <a:gd name="connsiteX73" fmla="*/ 1400651 w 3222022"/>
                  <a:gd name="connsiteY73" fmla="*/ 237553 h 317182"/>
                  <a:gd name="connsiteX74" fmla="*/ 1400651 w 3222022"/>
                  <a:gd name="connsiteY74" fmla="*/ 243840 h 317182"/>
                  <a:gd name="connsiteX75" fmla="*/ 1480566 w 3222022"/>
                  <a:gd name="connsiteY75" fmla="*/ 243840 h 317182"/>
                  <a:gd name="connsiteX76" fmla="*/ 1480566 w 3222022"/>
                  <a:gd name="connsiteY76" fmla="*/ 250126 h 317182"/>
                  <a:gd name="connsiteX77" fmla="*/ 1642491 w 3222022"/>
                  <a:gd name="connsiteY77" fmla="*/ 250126 h 317182"/>
                  <a:gd name="connsiteX78" fmla="*/ 1642491 w 3222022"/>
                  <a:gd name="connsiteY78" fmla="*/ 256603 h 317182"/>
                  <a:gd name="connsiteX79" fmla="*/ 1659350 w 3222022"/>
                  <a:gd name="connsiteY79" fmla="*/ 256603 h 317182"/>
                  <a:gd name="connsiteX80" fmla="*/ 1659350 w 3222022"/>
                  <a:gd name="connsiteY80" fmla="*/ 262985 h 317182"/>
                  <a:gd name="connsiteX81" fmla="*/ 1777174 w 3222022"/>
                  <a:gd name="connsiteY81" fmla="*/ 262985 h 317182"/>
                  <a:gd name="connsiteX82" fmla="*/ 1777174 w 3222022"/>
                  <a:gd name="connsiteY82" fmla="*/ 269462 h 317182"/>
                  <a:gd name="connsiteX83" fmla="*/ 1869662 w 3222022"/>
                  <a:gd name="connsiteY83" fmla="*/ 269462 h 317182"/>
                  <a:gd name="connsiteX84" fmla="*/ 1869662 w 3222022"/>
                  <a:gd name="connsiteY84" fmla="*/ 275844 h 317182"/>
                  <a:gd name="connsiteX85" fmla="*/ 1888617 w 3222022"/>
                  <a:gd name="connsiteY85" fmla="*/ 275844 h 317182"/>
                  <a:gd name="connsiteX86" fmla="*/ 1888617 w 3222022"/>
                  <a:gd name="connsiteY86" fmla="*/ 282321 h 317182"/>
                  <a:gd name="connsiteX87" fmla="*/ 2742438 w 3222022"/>
                  <a:gd name="connsiteY87" fmla="*/ 282321 h 317182"/>
                  <a:gd name="connsiteX88" fmla="*/ 2742438 w 3222022"/>
                  <a:gd name="connsiteY88" fmla="*/ 317182 h 317182"/>
                  <a:gd name="connsiteX89" fmla="*/ 3222022 w 3222022"/>
                  <a:gd name="connsiteY89" fmla="*/ 317182 h 317182"/>
                  <a:gd name="connsiteX0" fmla="*/ 0 w 3194685"/>
                  <a:gd name="connsiteY0" fmla="*/ 0 h 311181"/>
                  <a:gd name="connsiteX1" fmla="*/ 0 w 3194685"/>
                  <a:gd name="connsiteY1" fmla="*/ 6096 h 311181"/>
                  <a:gd name="connsiteX2" fmla="*/ 2095 w 3194685"/>
                  <a:gd name="connsiteY2" fmla="*/ 6096 h 311181"/>
                  <a:gd name="connsiteX3" fmla="*/ 2095 w 3194685"/>
                  <a:gd name="connsiteY3" fmla="*/ 12192 h 311181"/>
                  <a:gd name="connsiteX4" fmla="*/ 12572 w 3194685"/>
                  <a:gd name="connsiteY4" fmla="*/ 12192 h 311181"/>
                  <a:gd name="connsiteX5" fmla="*/ 12572 w 3194685"/>
                  <a:gd name="connsiteY5" fmla="*/ 18192 h 311181"/>
                  <a:gd name="connsiteX6" fmla="*/ 18859 w 3194685"/>
                  <a:gd name="connsiteY6" fmla="*/ 18192 h 311181"/>
                  <a:gd name="connsiteX7" fmla="*/ 18859 w 3194685"/>
                  <a:gd name="connsiteY7" fmla="*/ 30384 h 311181"/>
                  <a:gd name="connsiteX8" fmla="*/ 27336 w 3194685"/>
                  <a:gd name="connsiteY8" fmla="*/ 30384 h 311181"/>
                  <a:gd name="connsiteX9" fmla="*/ 27336 w 3194685"/>
                  <a:gd name="connsiteY9" fmla="*/ 36385 h 311181"/>
                  <a:gd name="connsiteX10" fmla="*/ 33623 w 3194685"/>
                  <a:gd name="connsiteY10" fmla="*/ 36385 h 311181"/>
                  <a:gd name="connsiteX11" fmla="*/ 33623 w 3194685"/>
                  <a:gd name="connsiteY11" fmla="*/ 48577 h 311181"/>
                  <a:gd name="connsiteX12" fmla="*/ 35718 w 3194685"/>
                  <a:gd name="connsiteY12" fmla="*/ 48577 h 311181"/>
                  <a:gd name="connsiteX13" fmla="*/ 35718 w 3194685"/>
                  <a:gd name="connsiteY13" fmla="*/ 54673 h 311181"/>
                  <a:gd name="connsiteX14" fmla="*/ 48291 w 3194685"/>
                  <a:gd name="connsiteY14" fmla="*/ 54673 h 311181"/>
                  <a:gd name="connsiteX15" fmla="*/ 48291 w 3194685"/>
                  <a:gd name="connsiteY15" fmla="*/ 60674 h 311181"/>
                  <a:gd name="connsiteX16" fmla="*/ 71437 w 3194685"/>
                  <a:gd name="connsiteY16" fmla="*/ 60674 h 311181"/>
                  <a:gd name="connsiteX17" fmla="*/ 71437 w 3194685"/>
                  <a:gd name="connsiteY17" fmla="*/ 66770 h 311181"/>
                  <a:gd name="connsiteX18" fmla="*/ 77819 w 3194685"/>
                  <a:gd name="connsiteY18" fmla="*/ 66770 h 311181"/>
                  <a:gd name="connsiteX19" fmla="*/ 77819 w 3194685"/>
                  <a:gd name="connsiteY19" fmla="*/ 72866 h 311181"/>
                  <a:gd name="connsiteX20" fmla="*/ 86201 w 3194685"/>
                  <a:gd name="connsiteY20" fmla="*/ 72866 h 311181"/>
                  <a:gd name="connsiteX21" fmla="*/ 86201 w 3194685"/>
                  <a:gd name="connsiteY21" fmla="*/ 78867 h 311181"/>
                  <a:gd name="connsiteX22" fmla="*/ 94583 w 3194685"/>
                  <a:gd name="connsiteY22" fmla="*/ 78867 h 311181"/>
                  <a:gd name="connsiteX23" fmla="*/ 94583 w 3194685"/>
                  <a:gd name="connsiteY23" fmla="*/ 84963 h 311181"/>
                  <a:gd name="connsiteX24" fmla="*/ 98774 w 3194685"/>
                  <a:gd name="connsiteY24" fmla="*/ 84963 h 311181"/>
                  <a:gd name="connsiteX25" fmla="*/ 98774 w 3194685"/>
                  <a:gd name="connsiteY25" fmla="*/ 91059 h 311181"/>
                  <a:gd name="connsiteX26" fmla="*/ 172402 w 3194685"/>
                  <a:gd name="connsiteY26" fmla="*/ 91059 h 311181"/>
                  <a:gd name="connsiteX27" fmla="*/ 172402 w 3194685"/>
                  <a:gd name="connsiteY27" fmla="*/ 97059 h 311181"/>
                  <a:gd name="connsiteX28" fmla="*/ 193452 w 3194685"/>
                  <a:gd name="connsiteY28" fmla="*/ 97059 h 311181"/>
                  <a:gd name="connsiteX29" fmla="*/ 193452 w 3194685"/>
                  <a:gd name="connsiteY29" fmla="*/ 103155 h 311181"/>
                  <a:gd name="connsiteX30" fmla="*/ 199739 w 3194685"/>
                  <a:gd name="connsiteY30" fmla="*/ 103155 h 311181"/>
                  <a:gd name="connsiteX31" fmla="*/ 199739 w 3194685"/>
                  <a:gd name="connsiteY31" fmla="*/ 109251 h 311181"/>
                  <a:gd name="connsiteX32" fmla="*/ 241839 w 3194685"/>
                  <a:gd name="connsiteY32" fmla="*/ 109251 h 311181"/>
                  <a:gd name="connsiteX33" fmla="*/ 241839 w 3194685"/>
                  <a:gd name="connsiteY33" fmla="*/ 115252 h 311181"/>
                  <a:gd name="connsiteX34" fmla="*/ 256508 w 3194685"/>
                  <a:gd name="connsiteY34" fmla="*/ 115252 h 311181"/>
                  <a:gd name="connsiteX35" fmla="*/ 256508 w 3194685"/>
                  <a:gd name="connsiteY35" fmla="*/ 121348 h 311181"/>
                  <a:gd name="connsiteX36" fmla="*/ 286035 w 3194685"/>
                  <a:gd name="connsiteY36" fmla="*/ 121348 h 311181"/>
                  <a:gd name="connsiteX37" fmla="*/ 286035 w 3194685"/>
                  <a:gd name="connsiteY37" fmla="*/ 127444 h 311181"/>
                  <a:gd name="connsiteX38" fmla="*/ 288131 w 3194685"/>
                  <a:gd name="connsiteY38" fmla="*/ 127444 h 311181"/>
                  <a:gd name="connsiteX39" fmla="*/ 288131 w 3194685"/>
                  <a:gd name="connsiteY39" fmla="*/ 133445 h 311181"/>
                  <a:gd name="connsiteX40" fmla="*/ 311181 w 3194685"/>
                  <a:gd name="connsiteY40" fmla="*/ 133445 h 311181"/>
                  <a:gd name="connsiteX41" fmla="*/ 311181 w 3194685"/>
                  <a:gd name="connsiteY41" fmla="*/ 139541 h 311181"/>
                  <a:gd name="connsiteX42" fmla="*/ 323850 w 3194685"/>
                  <a:gd name="connsiteY42" fmla="*/ 139541 h 311181"/>
                  <a:gd name="connsiteX43" fmla="*/ 323850 w 3194685"/>
                  <a:gd name="connsiteY43" fmla="*/ 145637 h 311181"/>
                  <a:gd name="connsiteX44" fmla="*/ 359568 w 3194685"/>
                  <a:gd name="connsiteY44" fmla="*/ 145637 h 311181"/>
                  <a:gd name="connsiteX45" fmla="*/ 359568 w 3194685"/>
                  <a:gd name="connsiteY45" fmla="*/ 151733 h 311181"/>
                  <a:gd name="connsiteX46" fmla="*/ 475297 w 3194685"/>
                  <a:gd name="connsiteY46" fmla="*/ 151733 h 311181"/>
                  <a:gd name="connsiteX47" fmla="*/ 475297 w 3194685"/>
                  <a:gd name="connsiteY47" fmla="*/ 157734 h 311181"/>
                  <a:gd name="connsiteX48" fmla="*/ 513111 w 3194685"/>
                  <a:gd name="connsiteY48" fmla="*/ 157734 h 311181"/>
                  <a:gd name="connsiteX49" fmla="*/ 513111 w 3194685"/>
                  <a:gd name="connsiteY49" fmla="*/ 163925 h 311181"/>
                  <a:gd name="connsiteX50" fmla="*/ 565689 w 3194685"/>
                  <a:gd name="connsiteY50" fmla="*/ 163925 h 311181"/>
                  <a:gd name="connsiteX51" fmla="*/ 565689 w 3194685"/>
                  <a:gd name="connsiteY51" fmla="*/ 170021 h 311181"/>
                  <a:gd name="connsiteX52" fmla="*/ 584644 w 3194685"/>
                  <a:gd name="connsiteY52" fmla="*/ 170021 h 311181"/>
                  <a:gd name="connsiteX53" fmla="*/ 584644 w 3194685"/>
                  <a:gd name="connsiteY53" fmla="*/ 176117 h 311181"/>
                  <a:gd name="connsiteX54" fmla="*/ 595122 w 3194685"/>
                  <a:gd name="connsiteY54" fmla="*/ 176117 h 311181"/>
                  <a:gd name="connsiteX55" fmla="*/ 595122 w 3194685"/>
                  <a:gd name="connsiteY55" fmla="*/ 182308 h 311181"/>
                  <a:gd name="connsiteX56" fmla="*/ 628840 w 3194685"/>
                  <a:gd name="connsiteY56" fmla="*/ 182308 h 311181"/>
                  <a:gd name="connsiteX57" fmla="*/ 628840 w 3194685"/>
                  <a:gd name="connsiteY57" fmla="*/ 188404 h 311181"/>
                  <a:gd name="connsiteX58" fmla="*/ 635127 w 3194685"/>
                  <a:gd name="connsiteY58" fmla="*/ 188404 h 311181"/>
                  <a:gd name="connsiteX59" fmla="*/ 635127 w 3194685"/>
                  <a:gd name="connsiteY59" fmla="*/ 194500 h 311181"/>
                  <a:gd name="connsiteX60" fmla="*/ 649795 w 3194685"/>
                  <a:gd name="connsiteY60" fmla="*/ 194500 h 311181"/>
                  <a:gd name="connsiteX61" fmla="*/ 649795 w 3194685"/>
                  <a:gd name="connsiteY61" fmla="*/ 200596 h 311181"/>
                  <a:gd name="connsiteX62" fmla="*/ 662463 w 3194685"/>
                  <a:gd name="connsiteY62" fmla="*/ 200596 h 311181"/>
                  <a:gd name="connsiteX63" fmla="*/ 662463 w 3194685"/>
                  <a:gd name="connsiteY63" fmla="*/ 206787 h 311181"/>
                  <a:gd name="connsiteX64" fmla="*/ 687705 w 3194685"/>
                  <a:gd name="connsiteY64" fmla="*/ 206787 h 311181"/>
                  <a:gd name="connsiteX65" fmla="*/ 687705 w 3194685"/>
                  <a:gd name="connsiteY65" fmla="*/ 212883 h 311181"/>
                  <a:gd name="connsiteX66" fmla="*/ 916971 w 3194685"/>
                  <a:gd name="connsiteY66" fmla="*/ 212883 h 311181"/>
                  <a:gd name="connsiteX67" fmla="*/ 916971 w 3194685"/>
                  <a:gd name="connsiteY67" fmla="*/ 219075 h 311181"/>
                  <a:gd name="connsiteX68" fmla="*/ 1030509 w 3194685"/>
                  <a:gd name="connsiteY68" fmla="*/ 219075 h 311181"/>
                  <a:gd name="connsiteX69" fmla="*/ 1030509 w 3194685"/>
                  <a:gd name="connsiteY69" fmla="*/ 225266 h 311181"/>
                  <a:gd name="connsiteX70" fmla="*/ 1299686 w 3194685"/>
                  <a:gd name="connsiteY70" fmla="*/ 225266 h 311181"/>
                  <a:gd name="connsiteX71" fmla="*/ 1299686 w 3194685"/>
                  <a:gd name="connsiteY71" fmla="*/ 231552 h 311181"/>
                  <a:gd name="connsiteX72" fmla="*/ 1373314 w 3194685"/>
                  <a:gd name="connsiteY72" fmla="*/ 231552 h 311181"/>
                  <a:gd name="connsiteX73" fmla="*/ 1373314 w 3194685"/>
                  <a:gd name="connsiteY73" fmla="*/ 237839 h 311181"/>
                  <a:gd name="connsiteX74" fmla="*/ 1453229 w 3194685"/>
                  <a:gd name="connsiteY74" fmla="*/ 237839 h 311181"/>
                  <a:gd name="connsiteX75" fmla="*/ 1453229 w 3194685"/>
                  <a:gd name="connsiteY75" fmla="*/ 244125 h 311181"/>
                  <a:gd name="connsiteX76" fmla="*/ 1615154 w 3194685"/>
                  <a:gd name="connsiteY76" fmla="*/ 244125 h 311181"/>
                  <a:gd name="connsiteX77" fmla="*/ 1615154 w 3194685"/>
                  <a:gd name="connsiteY77" fmla="*/ 250602 h 311181"/>
                  <a:gd name="connsiteX78" fmla="*/ 1632013 w 3194685"/>
                  <a:gd name="connsiteY78" fmla="*/ 250602 h 311181"/>
                  <a:gd name="connsiteX79" fmla="*/ 1632013 w 3194685"/>
                  <a:gd name="connsiteY79" fmla="*/ 256984 h 311181"/>
                  <a:gd name="connsiteX80" fmla="*/ 1749837 w 3194685"/>
                  <a:gd name="connsiteY80" fmla="*/ 256984 h 311181"/>
                  <a:gd name="connsiteX81" fmla="*/ 1749837 w 3194685"/>
                  <a:gd name="connsiteY81" fmla="*/ 263461 h 311181"/>
                  <a:gd name="connsiteX82" fmla="*/ 1842325 w 3194685"/>
                  <a:gd name="connsiteY82" fmla="*/ 263461 h 311181"/>
                  <a:gd name="connsiteX83" fmla="*/ 1842325 w 3194685"/>
                  <a:gd name="connsiteY83" fmla="*/ 269843 h 311181"/>
                  <a:gd name="connsiteX84" fmla="*/ 1861280 w 3194685"/>
                  <a:gd name="connsiteY84" fmla="*/ 269843 h 311181"/>
                  <a:gd name="connsiteX85" fmla="*/ 1861280 w 3194685"/>
                  <a:gd name="connsiteY85" fmla="*/ 276320 h 311181"/>
                  <a:gd name="connsiteX86" fmla="*/ 2715101 w 3194685"/>
                  <a:gd name="connsiteY86" fmla="*/ 276320 h 311181"/>
                  <a:gd name="connsiteX87" fmla="*/ 2715101 w 3194685"/>
                  <a:gd name="connsiteY87" fmla="*/ 311181 h 311181"/>
                  <a:gd name="connsiteX88" fmla="*/ 3194685 w 3194685"/>
                  <a:gd name="connsiteY88" fmla="*/ 311181 h 311181"/>
                  <a:gd name="connsiteX0" fmla="*/ 0 w 3194685"/>
                  <a:gd name="connsiteY0" fmla="*/ 0 h 311181"/>
                  <a:gd name="connsiteX1" fmla="*/ 0 w 3194685"/>
                  <a:gd name="connsiteY1" fmla="*/ 6096 h 311181"/>
                  <a:gd name="connsiteX2" fmla="*/ 2095 w 3194685"/>
                  <a:gd name="connsiteY2" fmla="*/ 12192 h 311181"/>
                  <a:gd name="connsiteX3" fmla="*/ 12572 w 3194685"/>
                  <a:gd name="connsiteY3" fmla="*/ 12192 h 311181"/>
                  <a:gd name="connsiteX4" fmla="*/ 12572 w 3194685"/>
                  <a:gd name="connsiteY4" fmla="*/ 18192 h 311181"/>
                  <a:gd name="connsiteX5" fmla="*/ 18859 w 3194685"/>
                  <a:gd name="connsiteY5" fmla="*/ 18192 h 311181"/>
                  <a:gd name="connsiteX6" fmla="*/ 18859 w 3194685"/>
                  <a:gd name="connsiteY6" fmla="*/ 30384 h 311181"/>
                  <a:gd name="connsiteX7" fmla="*/ 27336 w 3194685"/>
                  <a:gd name="connsiteY7" fmla="*/ 30384 h 311181"/>
                  <a:gd name="connsiteX8" fmla="*/ 27336 w 3194685"/>
                  <a:gd name="connsiteY8" fmla="*/ 36385 h 311181"/>
                  <a:gd name="connsiteX9" fmla="*/ 33623 w 3194685"/>
                  <a:gd name="connsiteY9" fmla="*/ 36385 h 311181"/>
                  <a:gd name="connsiteX10" fmla="*/ 33623 w 3194685"/>
                  <a:gd name="connsiteY10" fmla="*/ 48577 h 311181"/>
                  <a:gd name="connsiteX11" fmla="*/ 35718 w 3194685"/>
                  <a:gd name="connsiteY11" fmla="*/ 48577 h 311181"/>
                  <a:gd name="connsiteX12" fmla="*/ 35718 w 3194685"/>
                  <a:gd name="connsiteY12" fmla="*/ 54673 h 311181"/>
                  <a:gd name="connsiteX13" fmla="*/ 48291 w 3194685"/>
                  <a:gd name="connsiteY13" fmla="*/ 54673 h 311181"/>
                  <a:gd name="connsiteX14" fmla="*/ 48291 w 3194685"/>
                  <a:gd name="connsiteY14" fmla="*/ 60674 h 311181"/>
                  <a:gd name="connsiteX15" fmla="*/ 71437 w 3194685"/>
                  <a:gd name="connsiteY15" fmla="*/ 60674 h 311181"/>
                  <a:gd name="connsiteX16" fmla="*/ 71437 w 3194685"/>
                  <a:gd name="connsiteY16" fmla="*/ 66770 h 311181"/>
                  <a:gd name="connsiteX17" fmla="*/ 77819 w 3194685"/>
                  <a:gd name="connsiteY17" fmla="*/ 66770 h 311181"/>
                  <a:gd name="connsiteX18" fmla="*/ 77819 w 3194685"/>
                  <a:gd name="connsiteY18" fmla="*/ 72866 h 311181"/>
                  <a:gd name="connsiteX19" fmla="*/ 86201 w 3194685"/>
                  <a:gd name="connsiteY19" fmla="*/ 72866 h 311181"/>
                  <a:gd name="connsiteX20" fmla="*/ 86201 w 3194685"/>
                  <a:gd name="connsiteY20" fmla="*/ 78867 h 311181"/>
                  <a:gd name="connsiteX21" fmla="*/ 94583 w 3194685"/>
                  <a:gd name="connsiteY21" fmla="*/ 78867 h 311181"/>
                  <a:gd name="connsiteX22" fmla="*/ 94583 w 3194685"/>
                  <a:gd name="connsiteY22" fmla="*/ 84963 h 311181"/>
                  <a:gd name="connsiteX23" fmla="*/ 98774 w 3194685"/>
                  <a:gd name="connsiteY23" fmla="*/ 84963 h 311181"/>
                  <a:gd name="connsiteX24" fmla="*/ 98774 w 3194685"/>
                  <a:gd name="connsiteY24" fmla="*/ 91059 h 311181"/>
                  <a:gd name="connsiteX25" fmla="*/ 172402 w 3194685"/>
                  <a:gd name="connsiteY25" fmla="*/ 91059 h 311181"/>
                  <a:gd name="connsiteX26" fmla="*/ 172402 w 3194685"/>
                  <a:gd name="connsiteY26" fmla="*/ 97059 h 311181"/>
                  <a:gd name="connsiteX27" fmla="*/ 193452 w 3194685"/>
                  <a:gd name="connsiteY27" fmla="*/ 97059 h 311181"/>
                  <a:gd name="connsiteX28" fmla="*/ 193452 w 3194685"/>
                  <a:gd name="connsiteY28" fmla="*/ 103155 h 311181"/>
                  <a:gd name="connsiteX29" fmla="*/ 199739 w 3194685"/>
                  <a:gd name="connsiteY29" fmla="*/ 103155 h 311181"/>
                  <a:gd name="connsiteX30" fmla="*/ 199739 w 3194685"/>
                  <a:gd name="connsiteY30" fmla="*/ 109251 h 311181"/>
                  <a:gd name="connsiteX31" fmla="*/ 241839 w 3194685"/>
                  <a:gd name="connsiteY31" fmla="*/ 109251 h 311181"/>
                  <a:gd name="connsiteX32" fmla="*/ 241839 w 3194685"/>
                  <a:gd name="connsiteY32" fmla="*/ 115252 h 311181"/>
                  <a:gd name="connsiteX33" fmla="*/ 256508 w 3194685"/>
                  <a:gd name="connsiteY33" fmla="*/ 115252 h 311181"/>
                  <a:gd name="connsiteX34" fmla="*/ 256508 w 3194685"/>
                  <a:gd name="connsiteY34" fmla="*/ 121348 h 311181"/>
                  <a:gd name="connsiteX35" fmla="*/ 286035 w 3194685"/>
                  <a:gd name="connsiteY35" fmla="*/ 121348 h 311181"/>
                  <a:gd name="connsiteX36" fmla="*/ 286035 w 3194685"/>
                  <a:gd name="connsiteY36" fmla="*/ 127444 h 311181"/>
                  <a:gd name="connsiteX37" fmla="*/ 288131 w 3194685"/>
                  <a:gd name="connsiteY37" fmla="*/ 127444 h 311181"/>
                  <a:gd name="connsiteX38" fmla="*/ 288131 w 3194685"/>
                  <a:gd name="connsiteY38" fmla="*/ 133445 h 311181"/>
                  <a:gd name="connsiteX39" fmla="*/ 311181 w 3194685"/>
                  <a:gd name="connsiteY39" fmla="*/ 133445 h 311181"/>
                  <a:gd name="connsiteX40" fmla="*/ 311181 w 3194685"/>
                  <a:gd name="connsiteY40" fmla="*/ 139541 h 311181"/>
                  <a:gd name="connsiteX41" fmla="*/ 323850 w 3194685"/>
                  <a:gd name="connsiteY41" fmla="*/ 139541 h 311181"/>
                  <a:gd name="connsiteX42" fmla="*/ 323850 w 3194685"/>
                  <a:gd name="connsiteY42" fmla="*/ 145637 h 311181"/>
                  <a:gd name="connsiteX43" fmla="*/ 359568 w 3194685"/>
                  <a:gd name="connsiteY43" fmla="*/ 145637 h 311181"/>
                  <a:gd name="connsiteX44" fmla="*/ 359568 w 3194685"/>
                  <a:gd name="connsiteY44" fmla="*/ 151733 h 311181"/>
                  <a:gd name="connsiteX45" fmla="*/ 475297 w 3194685"/>
                  <a:gd name="connsiteY45" fmla="*/ 151733 h 311181"/>
                  <a:gd name="connsiteX46" fmla="*/ 475297 w 3194685"/>
                  <a:gd name="connsiteY46" fmla="*/ 157734 h 311181"/>
                  <a:gd name="connsiteX47" fmla="*/ 513111 w 3194685"/>
                  <a:gd name="connsiteY47" fmla="*/ 157734 h 311181"/>
                  <a:gd name="connsiteX48" fmla="*/ 513111 w 3194685"/>
                  <a:gd name="connsiteY48" fmla="*/ 163925 h 311181"/>
                  <a:gd name="connsiteX49" fmla="*/ 565689 w 3194685"/>
                  <a:gd name="connsiteY49" fmla="*/ 163925 h 311181"/>
                  <a:gd name="connsiteX50" fmla="*/ 565689 w 3194685"/>
                  <a:gd name="connsiteY50" fmla="*/ 170021 h 311181"/>
                  <a:gd name="connsiteX51" fmla="*/ 584644 w 3194685"/>
                  <a:gd name="connsiteY51" fmla="*/ 170021 h 311181"/>
                  <a:gd name="connsiteX52" fmla="*/ 584644 w 3194685"/>
                  <a:gd name="connsiteY52" fmla="*/ 176117 h 311181"/>
                  <a:gd name="connsiteX53" fmla="*/ 595122 w 3194685"/>
                  <a:gd name="connsiteY53" fmla="*/ 176117 h 311181"/>
                  <a:gd name="connsiteX54" fmla="*/ 595122 w 3194685"/>
                  <a:gd name="connsiteY54" fmla="*/ 182308 h 311181"/>
                  <a:gd name="connsiteX55" fmla="*/ 628840 w 3194685"/>
                  <a:gd name="connsiteY55" fmla="*/ 182308 h 311181"/>
                  <a:gd name="connsiteX56" fmla="*/ 628840 w 3194685"/>
                  <a:gd name="connsiteY56" fmla="*/ 188404 h 311181"/>
                  <a:gd name="connsiteX57" fmla="*/ 635127 w 3194685"/>
                  <a:gd name="connsiteY57" fmla="*/ 188404 h 311181"/>
                  <a:gd name="connsiteX58" fmla="*/ 635127 w 3194685"/>
                  <a:gd name="connsiteY58" fmla="*/ 194500 h 311181"/>
                  <a:gd name="connsiteX59" fmla="*/ 649795 w 3194685"/>
                  <a:gd name="connsiteY59" fmla="*/ 194500 h 311181"/>
                  <a:gd name="connsiteX60" fmla="*/ 649795 w 3194685"/>
                  <a:gd name="connsiteY60" fmla="*/ 200596 h 311181"/>
                  <a:gd name="connsiteX61" fmla="*/ 662463 w 3194685"/>
                  <a:gd name="connsiteY61" fmla="*/ 200596 h 311181"/>
                  <a:gd name="connsiteX62" fmla="*/ 662463 w 3194685"/>
                  <a:gd name="connsiteY62" fmla="*/ 206787 h 311181"/>
                  <a:gd name="connsiteX63" fmla="*/ 687705 w 3194685"/>
                  <a:gd name="connsiteY63" fmla="*/ 206787 h 311181"/>
                  <a:gd name="connsiteX64" fmla="*/ 687705 w 3194685"/>
                  <a:gd name="connsiteY64" fmla="*/ 212883 h 311181"/>
                  <a:gd name="connsiteX65" fmla="*/ 916971 w 3194685"/>
                  <a:gd name="connsiteY65" fmla="*/ 212883 h 311181"/>
                  <a:gd name="connsiteX66" fmla="*/ 916971 w 3194685"/>
                  <a:gd name="connsiteY66" fmla="*/ 219075 h 311181"/>
                  <a:gd name="connsiteX67" fmla="*/ 1030509 w 3194685"/>
                  <a:gd name="connsiteY67" fmla="*/ 219075 h 311181"/>
                  <a:gd name="connsiteX68" fmla="*/ 1030509 w 3194685"/>
                  <a:gd name="connsiteY68" fmla="*/ 225266 h 311181"/>
                  <a:gd name="connsiteX69" fmla="*/ 1299686 w 3194685"/>
                  <a:gd name="connsiteY69" fmla="*/ 225266 h 311181"/>
                  <a:gd name="connsiteX70" fmla="*/ 1299686 w 3194685"/>
                  <a:gd name="connsiteY70" fmla="*/ 231552 h 311181"/>
                  <a:gd name="connsiteX71" fmla="*/ 1373314 w 3194685"/>
                  <a:gd name="connsiteY71" fmla="*/ 231552 h 311181"/>
                  <a:gd name="connsiteX72" fmla="*/ 1373314 w 3194685"/>
                  <a:gd name="connsiteY72" fmla="*/ 237839 h 311181"/>
                  <a:gd name="connsiteX73" fmla="*/ 1453229 w 3194685"/>
                  <a:gd name="connsiteY73" fmla="*/ 237839 h 311181"/>
                  <a:gd name="connsiteX74" fmla="*/ 1453229 w 3194685"/>
                  <a:gd name="connsiteY74" fmla="*/ 244125 h 311181"/>
                  <a:gd name="connsiteX75" fmla="*/ 1615154 w 3194685"/>
                  <a:gd name="connsiteY75" fmla="*/ 244125 h 311181"/>
                  <a:gd name="connsiteX76" fmla="*/ 1615154 w 3194685"/>
                  <a:gd name="connsiteY76" fmla="*/ 250602 h 311181"/>
                  <a:gd name="connsiteX77" fmla="*/ 1632013 w 3194685"/>
                  <a:gd name="connsiteY77" fmla="*/ 250602 h 311181"/>
                  <a:gd name="connsiteX78" fmla="*/ 1632013 w 3194685"/>
                  <a:gd name="connsiteY78" fmla="*/ 256984 h 311181"/>
                  <a:gd name="connsiteX79" fmla="*/ 1749837 w 3194685"/>
                  <a:gd name="connsiteY79" fmla="*/ 256984 h 311181"/>
                  <a:gd name="connsiteX80" fmla="*/ 1749837 w 3194685"/>
                  <a:gd name="connsiteY80" fmla="*/ 263461 h 311181"/>
                  <a:gd name="connsiteX81" fmla="*/ 1842325 w 3194685"/>
                  <a:gd name="connsiteY81" fmla="*/ 263461 h 311181"/>
                  <a:gd name="connsiteX82" fmla="*/ 1842325 w 3194685"/>
                  <a:gd name="connsiteY82" fmla="*/ 269843 h 311181"/>
                  <a:gd name="connsiteX83" fmla="*/ 1861280 w 3194685"/>
                  <a:gd name="connsiteY83" fmla="*/ 269843 h 311181"/>
                  <a:gd name="connsiteX84" fmla="*/ 1861280 w 3194685"/>
                  <a:gd name="connsiteY84" fmla="*/ 276320 h 311181"/>
                  <a:gd name="connsiteX85" fmla="*/ 2715101 w 3194685"/>
                  <a:gd name="connsiteY85" fmla="*/ 276320 h 311181"/>
                  <a:gd name="connsiteX86" fmla="*/ 2715101 w 3194685"/>
                  <a:gd name="connsiteY86" fmla="*/ 311181 h 311181"/>
                  <a:gd name="connsiteX87" fmla="*/ 3194685 w 3194685"/>
                  <a:gd name="connsiteY87" fmla="*/ 311181 h 311181"/>
                  <a:gd name="connsiteX0" fmla="*/ 0 w 3194685"/>
                  <a:gd name="connsiteY0" fmla="*/ 0 h 305085"/>
                  <a:gd name="connsiteX1" fmla="*/ 2095 w 3194685"/>
                  <a:gd name="connsiteY1" fmla="*/ 6096 h 305085"/>
                  <a:gd name="connsiteX2" fmla="*/ 12572 w 3194685"/>
                  <a:gd name="connsiteY2" fmla="*/ 6096 h 305085"/>
                  <a:gd name="connsiteX3" fmla="*/ 12572 w 3194685"/>
                  <a:gd name="connsiteY3" fmla="*/ 12096 h 305085"/>
                  <a:gd name="connsiteX4" fmla="*/ 18859 w 3194685"/>
                  <a:gd name="connsiteY4" fmla="*/ 12096 h 305085"/>
                  <a:gd name="connsiteX5" fmla="*/ 18859 w 3194685"/>
                  <a:gd name="connsiteY5" fmla="*/ 24288 h 305085"/>
                  <a:gd name="connsiteX6" fmla="*/ 27336 w 3194685"/>
                  <a:gd name="connsiteY6" fmla="*/ 24288 h 305085"/>
                  <a:gd name="connsiteX7" fmla="*/ 27336 w 3194685"/>
                  <a:gd name="connsiteY7" fmla="*/ 30289 h 305085"/>
                  <a:gd name="connsiteX8" fmla="*/ 33623 w 3194685"/>
                  <a:gd name="connsiteY8" fmla="*/ 30289 h 305085"/>
                  <a:gd name="connsiteX9" fmla="*/ 33623 w 3194685"/>
                  <a:gd name="connsiteY9" fmla="*/ 42481 h 305085"/>
                  <a:gd name="connsiteX10" fmla="*/ 35718 w 3194685"/>
                  <a:gd name="connsiteY10" fmla="*/ 42481 h 305085"/>
                  <a:gd name="connsiteX11" fmla="*/ 35718 w 3194685"/>
                  <a:gd name="connsiteY11" fmla="*/ 48577 h 305085"/>
                  <a:gd name="connsiteX12" fmla="*/ 48291 w 3194685"/>
                  <a:gd name="connsiteY12" fmla="*/ 48577 h 305085"/>
                  <a:gd name="connsiteX13" fmla="*/ 48291 w 3194685"/>
                  <a:gd name="connsiteY13" fmla="*/ 54578 h 305085"/>
                  <a:gd name="connsiteX14" fmla="*/ 71437 w 3194685"/>
                  <a:gd name="connsiteY14" fmla="*/ 54578 h 305085"/>
                  <a:gd name="connsiteX15" fmla="*/ 71437 w 3194685"/>
                  <a:gd name="connsiteY15" fmla="*/ 60674 h 305085"/>
                  <a:gd name="connsiteX16" fmla="*/ 77819 w 3194685"/>
                  <a:gd name="connsiteY16" fmla="*/ 60674 h 305085"/>
                  <a:gd name="connsiteX17" fmla="*/ 77819 w 3194685"/>
                  <a:gd name="connsiteY17" fmla="*/ 66770 h 305085"/>
                  <a:gd name="connsiteX18" fmla="*/ 86201 w 3194685"/>
                  <a:gd name="connsiteY18" fmla="*/ 66770 h 305085"/>
                  <a:gd name="connsiteX19" fmla="*/ 86201 w 3194685"/>
                  <a:gd name="connsiteY19" fmla="*/ 72771 h 305085"/>
                  <a:gd name="connsiteX20" fmla="*/ 94583 w 3194685"/>
                  <a:gd name="connsiteY20" fmla="*/ 72771 h 305085"/>
                  <a:gd name="connsiteX21" fmla="*/ 94583 w 3194685"/>
                  <a:gd name="connsiteY21" fmla="*/ 78867 h 305085"/>
                  <a:gd name="connsiteX22" fmla="*/ 98774 w 3194685"/>
                  <a:gd name="connsiteY22" fmla="*/ 78867 h 305085"/>
                  <a:gd name="connsiteX23" fmla="*/ 98774 w 3194685"/>
                  <a:gd name="connsiteY23" fmla="*/ 84963 h 305085"/>
                  <a:gd name="connsiteX24" fmla="*/ 172402 w 3194685"/>
                  <a:gd name="connsiteY24" fmla="*/ 84963 h 305085"/>
                  <a:gd name="connsiteX25" fmla="*/ 172402 w 3194685"/>
                  <a:gd name="connsiteY25" fmla="*/ 90963 h 305085"/>
                  <a:gd name="connsiteX26" fmla="*/ 193452 w 3194685"/>
                  <a:gd name="connsiteY26" fmla="*/ 90963 h 305085"/>
                  <a:gd name="connsiteX27" fmla="*/ 193452 w 3194685"/>
                  <a:gd name="connsiteY27" fmla="*/ 97059 h 305085"/>
                  <a:gd name="connsiteX28" fmla="*/ 199739 w 3194685"/>
                  <a:gd name="connsiteY28" fmla="*/ 97059 h 305085"/>
                  <a:gd name="connsiteX29" fmla="*/ 199739 w 3194685"/>
                  <a:gd name="connsiteY29" fmla="*/ 103155 h 305085"/>
                  <a:gd name="connsiteX30" fmla="*/ 241839 w 3194685"/>
                  <a:gd name="connsiteY30" fmla="*/ 103155 h 305085"/>
                  <a:gd name="connsiteX31" fmla="*/ 241839 w 3194685"/>
                  <a:gd name="connsiteY31" fmla="*/ 109156 h 305085"/>
                  <a:gd name="connsiteX32" fmla="*/ 256508 w 3194685"/>
                  <a:gd name="connsiteY32" fmla="*/ 109156 h 305085"/>
                  <a:gd name="connsiteX33" fmla="*/ 256508 w 3194685"/>
                  <a:gd name="connsiteY33" fmla="*/ 115252 h 305085"/>
                  <a:gd name="connsiteX34" fmla="*/ 286035 w 3194685"/>
                  <a:gd name="connsiteY34" fmla="*/ 115252 h 305085"/>
                  <a:gd name="connsiteX35" fmla="*/ 286035 w 3194685"/>
                  <a:gd name="connsiteY35" fmla="*/ 121348 h 305085"/>
                  <a:gd name="connsiteX36" fmla="*/ 288131 w 3194685"/>
                  <a:gd name="connsiteY36" fmla="*/ 121348 h 305085"/>
                  <a:gd name="connsiteX37" fmla="*/ 288131 w 3194685"/>
                  <a:gd name="connsiteY37" fmla="*/ 127349 h 305085"/>
                  <a:gd name="connsiteX38" fmla="*/ 311181 w 3194685"/>
                  <a:gd name="connsiteY38" fmla="*/ 127349 h 305085"/>
                  <a:gd name="connsiteX39" fmla="*/ 311181 w 3194685"/>
                  <a:gd name="connsiteY39" fmla="*/ 133445 h 305085"/>
                  <a:gd name="connsiteX40" fmla="*/ 323850 w 3194685"/>
                  <a:gd name="connsiteY40" fmla="*/ 133445 h 305085"/>
                  <a:gd name="connsiteX41" fmla="*/ 323850 w 3194685"/>
                  <a:gd name="connsiteY41" fmla="*/ 139541 h 305085"/>
                  <a:gd name="connsiteX42" fmla="*/ 359568 w 3194685"/>
                  <a:gd name="connsiteY42" fmla="*/ 139541 h 305085"/>
                  <a:gd name="connsiteX43" fmla="*/ 359568 w 3194685"/>
                  <a:gd name="connsiteY43" fmla="*/ 145637 h 305085"/>
                  <a:gd name="connsiteX44" fmla="*/ 475297 w 3194685"/>
                  <a:gd name="connsiteY44" fmla="*/ 145637 h 305085"/>
                  <a:gd name="connsiteX45" fmla="*/ 475297 w 3194685"/>
                  <a:gd name="connsiteY45" fmla="*/ 151638 h 305085"/>
                  <a:gd name="connsiteX46" fmla="*/ 513111 w 3194685"/>
                  <a:gd name="connsiteY46" fmla="*/ 151638 h 305085"/>
                  <a:gd name="connsiteX47" fmla="*/ 513111 w 3194685"/>
                  <a:gd name="connsiteY47" fmla="*/ 157829 h 305085"/>
                  <a:gd name="connsiteX48" fmla="*/ 565689 w 3194685"/>
                  <a:gd name="connsiteY48" fmla="*/ 157829 h 305085"/>
                  <a:gd name="connsiteX49" fmla="*/ 565689 w 3194685"/>
                  <a:gd name="connsiteY49" fmla="*/ 163925 h 305085"/>
                  <a:gd name="connsiteX50" fmla="*/ 584644 w 3194685"/>
                  <a:gd name="connsiteY50" fmla="*/ 163925 h 305085"/>
                  <a:gd name="connsiteX51" fmla="*/ 584644 w 3194685"/>
                  <a:gd name="connsiteY51" fmla="*/ 170021 h 305085"/>
                  <a:gd name="connsiteX52" fmla="*/ 595122 w 3194685"/>
                  <a:gd name="connsiteY52" fmla="*/ 170021 h 305085"/>
                  <a:gd name="connsiteX53" fmla="*/ 595122 w 3194685"/>
                  <a:gd name="connsiteY53" fmla="*/ 176212 h 305085"/>
                  <a:gd name="connsiteX54" fmla="*/ 628840 w 3194685"/>
                  <a:gd name="connsiteY54" fmla="*/ 176212 h 305085"/>
                  <a:gd name="connsiteX55" fmla="*/ 628840 w 3194685"/>
                  <a:gd name="connsiteY55" fmla="*/ 182308 h 305085"/>
                  <a:gd name="connsiteX56" fmla="*/ 635127 w 3194685"/>
                  <a:gd name="connsiteY56" fmla="*/ 182308 h 305085"/>
                  <a:gd name="connsiteX57" fmla="*/ 635127 w 3194685"/>
                  <a:gd name="connsiteY57" fmla="*/ 188404 h 305085"/>
                  <a:gd name="connsiteX58" fmla="*/ 649795 w 3194685"/>
                  <a:gd name="connsiteY58" fmla="*/ 188404 h 305085"/>
                  <a:gd name="connsiteX59" fmla="*/ 649795 w 3194685"/>
                  <a:gd name="connsiteY59" fmla="*/ 194500 h 305085"/>
                  <a:gd name="connsiteX60" fmla="*/ 662463 w 3194685"/>
                  <a:gd name="connsiteY60" fmla="*/ 194500 h 305085"/>
                  <a:gd name="connsiteX61" fmla="*/ 662463 w 3194685"/>
                  <a:gd name="connsiteY61" fmla="*/ 200691 h 305085"/>
                  <a:gd name="connsiteX62" fmla="*/ 687705 w 3194685"/>
                  <a:gd name="connsiteY62" fmla="*/ 200691 h 305085"/>
                  <a:gd name="connsiteX63" fmla="*/ 687705 w 3194685"/>
                  <a:gd name="connsiteY63" fmla="*/ 206787 h 305085"/>
                  <a:gd name="connsiteX64" fmla="*/ 916971 w 3194685"/>
                  <a:gd name="connsiteY64" fmla="*/ 206787 h 305085"/>
                  <a:gd name="connsiteX65" fmla="*/ 916971 w 3194685"/>
                  <a:gd name="connsiteY65" fmla="*/ 212979 h 305085"/>
                  <a:gd name="connsiteX66" fmla="*/ 1030509 w 3194685"/>
                  <a:gd name="connsiteY66" fmla="*/ 212979 h 305085"/>
                  <a:gd name="connsiteX67" fmla="*/ 1030509 w 3194685"/>
                  <a:gd name="connsiteY67" fmla="*/ 219170 h 305085"/>
                  <a:gd name="connsiteX68" fmla="*/ 1299686 w 3194685"/>
                  <a:gd name="connsiteY68" fmla="*/ 219170 h 305085"/>
                  <a:gd name="connsiteX69" fmla="*/ 1299686 w 3194685"/>
                  <a:gd name="connsiteY69" fmla="*/ 225456 h 305085"/>
                  <a:gd name="connsiteX70" fmla="*/ 1373314 w 3194685"/>
                  <a:gd name="connsiteY70" fmla="*/ 225456 h 305085"/>
                  <a:gd name="connsiteX71" fmla="*/ 1373314 w 3194685"/>
                  <a:gd name="connsiteY71" fmla="*/ 231743 h 305085"/>
                  <a:gd name="connsiteX72" fmla="*/ 1453229 w 3194685"/>
                  <a:gd name="connsiteY72" fmla="*/ 231743 h 305085"/>
                  <a:gd name="connsiteX73" fmla="*/ 1453229 w 3194685"/>
                  <a:gd name="connsiteY73" fmla="*/ 238029 h 305085"/>
                  <a:gd name="connsiteX74" fmla="*/ 1615154 w 3194685"/>
                  <a:gd name="connsiteY74" fmla="*/ 238029 h 305085"/>
                  <a:gd name="connsiteX75" fmla="*/ 1615154 w 3194685"/>
                  <a:gd name="connsiteY75" fmla="*/ 244506 h 305085"/>
                  <a:gd name="connsiteX76" fmla="*/ 1632013 w 3194685"/>
                  <a:gd name="connsiteY76" fmla="*/ 244506 h 305085"/>
                  <a:gd name="connsiteX77" fmla="*/ 1632013 w 3194685"/>
                  <a:gd name="connsiteY77" fmla="*/ 250888 h 305085"/>
                  <a:gd name="connsiteX78" fmla="*/ 1749837 w 3194685"/>
                  <a:gd name="connsiteY78" fmla="*/ 250888 h 305085"/>
                  <a:gd name="connsiteX79" fmla="*/ 1749837 w 3194685"/>
                  <a:gd name="connsiteY79" fmla="*/ 257365 h 305085"/>
                  <a:gd name="connsiteX80" fmla="*/ 1842325 w 3194685"/>
                  <a:gd name="connsiteY80" fmla="*/ 257365 h 305085"/>
                  <a:gd name="connsiteX81" fmla="*/ 1842325 w 3194685"/>
                  <a:gd name="connsiteY81" fmla="*/ 263747 h 305085"/>
                  <a:gd name="connsiteX82" fmla="*/ 1861280 w 3194685"/>
                  <a:gd name="connsiteY82" fmla="*/ 263747 h 305085"/>
                  <a:gd name="connsiteX83" fmla="*/ 1861280 w 3194685"/>
                  <a:gd name="connsiteY83" fmla="*/ 270224 h 305085"/>
                  <a:gd name="connsiteX84" fmla="*/ 2715101 w 3194685"/>
                  <a:gd name="connsiteY84" fmla="*/ 270224 h 305085"/>
                  <a:gd name="connsiteX85" fmla="*/ 2715101 w 3194685"/>
                  <a:gd name="connsiteY85" fmla="*/ 305085 h 305085"/>
                  <a:gd name="connsiteX86" fmla="*/ 3194685 w 3194685"/>
                  <a:gd name="connsiteY86" fmla="*/ 305085 h 305085"/>
                  <a:gd name="connsiteX0" fmla="*/ 0 w 3194685"/>
                  <a:gd name="connsiteY0" fmla="*/ 0 h 305085"/>
                  <a:gd name="connsiteX1" fmla="*/ 12572 w 3194685"/>
                  <a:gd name="connsiteY1" fmla="*/ 6096 h 305085"/>
                  <a:gd name="connsiteX2" fmla="*/ 12572 w 3194685"/>
                  <a:gd name="connsiteY2" fmla="*/ 12096 h 305085"/>
                  <a:gd name="connsiteX3" fmla="*/ 18859 w 3194685"/>
                  <a:gd name="connsiteY3" fmla="*/ 12096 h 305085"/>
                  <a:gd name="connsiteX4" fmla="*/ 18859 w 3194685"/>
                  <a:gd name="connsiteY4" fmla="*/ 24288 h 305085"/>
                  <a:gd name="connsiteX5" fmla="*/ 27336 w 3194685"/>
                  <a:gd name="connsiteY5" fmla="*/ 24288 h 305085"/>
                  <a:gd name="connsiteX6" fmla="*/ 27336 w 3194685"/>
                  <a:gd name="connsiteY6" fmla="*/ 30289 h 305085"/>
                  <a:gd name="connsiteX7" fmla="*/ 33623 w 3194685"/>
                  <a:gd name="connsiteY7" fmla="*/ 30289 h 305085"/>
                  <a:gd name="connsiteX8" fmla="*/ 33623 w 3194685"/>
                  <a:gd name="connsiteY8" fmla="*/ 42481 h 305085"/>
                  <a:gd name="connsiteX9" fmla="*/ 35718 w 3194685"/>
                  <a:gd name="connsiteY9" fmla="*/ 42481 h 305085"/>
                  <a:gd name="connsiteX10" fmla="*/ 35718 w 3194685"/>
                  <a:gd name="connsiteY10" fmla="*/ 48577 h 305085"/>
                  <a:gd name="connsiteX11" fmla="*/ 48291 w 3194685"/>
                  <a:gd name="connsiteY11" fmla="*/ 48577 h 305085"/>
                  <a:gd name="connsiteX12" fmla="*/ 48291 w 3194685"/>
                  <a:gd name="connsiteY12" fmla="*/ 54578 h 305085"/>
                  <a:gd name="connsiteX13" fmla="*/ 71437 w 3194685"/>
                  <a:gd name="connsiteY13" fmla="*/ 54578 h 305085"/>
                  <a:gd name="connsiteX14" fmla="*/ 71437 w 3194685"/>
                  <a:gd name="connsiteY14" fmla="*/ 60674 h 305085"/>
                  <a:gd name="connsiteX15" fmla="*/ 77819 w 3194685"/>
                  <a:gd name="connsiteY15" fmla="*/ 60674 h 305085"/>
                  <a:gd name="connsiteX16" fmla="*/ 77819 w 3194685"/>
                  <a:gd name="connsiteY16" fmla="*/ 66770 h 305085"/>
                  <a:gd name="connsiteX17" fmla="*/ 86201 w 3194685"/>
                  <a:gd name="connsiteY17" fmla="*/ 66770 h 305085"/>
                  <a:gd name="connsiteX18" fmla="*/ 86201 w 3194685"/>
                  <a:gd name="connsiteY18" fmla="*/ 72771 h 305085"/>
                  <a:gd name="connsiteX19" fmla="*/ 94583 w 3194685"/>
                  <a:gd name="connsiteY19" fmla="*/ 72771 h 305085"/>
                  <a:gd name="connsiteX20" fmla="*/ 94583 w 3194685"/>
                  <a:gd name="connsiteY20" fmla="*/ 78867 h 305085"/>
                  <a:gd name="connsiteX21" fmla="*/ 98774 w 3194685"/>
                  <a:gd name="connsiteY21" fmla="*/ 78867 h 305085"/>
                  <a:gd name="connsiteX22" fmla="*/ 98774 w 3194685"/>
                  <a:gd name="connsiteY22" fmla="*/ 84963 h 305085"/>
                  <a:gd name="connsiteX23" fmla="*/ 172402 w 3194685"/>
                  <a:gd name="connsiteY23" fmla="*/ 84963 h 305085"/>
                  <a:gd name="connsiteX24" fmla="*/ 172402 w 3194685"/>
                  <a:gd name="connsiteY24" fmla="*/ 90963 h 305085"/>
                  <a:gd name="connsiteX25" fmla="*/ 193452 w 3194685"/>
                  <a:gd name="connsiteY25" fmla="*/ 90963 h 305085"/>
                  <a:gd name="connsiteX26" fmla="*/ 193452 w 3194685"/>
                  <a:gd name="connsiteY26" fmla="*/ 97059 h 305085"/>
                  <a:gd name="connsiteX27" fmla="*/ 199739 w 3194685"/>
                  <a:gd name="connsiteY27" fmla="*/ 97059 h 305085"/>
                  <a:gd name="connsiteX28" fmla="*/ 199739 w 3194685"/>
                  <a:gd name="connsiteY28" fmla="*/ 103155 h 305085"/>
                  <a:gd name="connsiteX29" fmla="*/ 241839 w 3194685"/>
                  <a:gd name="connsiteY29" fmla="*/ 103155 h 305085"/>
                  <a:gd name="connsiteX30" fmla="*/ 241839 w 3194685"/>
                  <a:gd name="connsiteY30" fmla="*/ 109156 h 305085"/>
                  <a:gd name="connsiteX31" fmla="*/ 256508 w 3194685"/>
                  <a:gd name="connsiteY31" fmla="*/ 109156 h 305085"/>
                  <a:gd name="connsiteX32" fmla="*/ 256508 w 3194685"/>
                  <a:gd name="connsiteY32" fmla="*/ 115252 h 305085"/>
                  <a:gd name="connsiteX33" fmla="*/ 286035 w 3194685"/>
                  <a:gd name="connsiteY33" fmla="*/ 115252 h 305085"/>
                  <a:gd name="connsiteX34" fmla="*/ 286035 w 3194685"/>
                  <a:gd name="connsiteY34" fmla="*/ 121348 h 305085"/>
                  <a:gd name="connsiteX35" fmla="*/ 288131 w 3194685"/>
                  <a:gd name="connsiteY35" fmla="*/ 121348 h 305085"/>
                  <a:gd name="connsiteX36" fmla="*/ 288131 w 3194685"/>
                  <a:gd name="connsiteY36" fmla="*/ 127349 h 305085"/>
                  <a:gd name="connsiteX37" fmla="*/ 311181 w 3194685"/>
                  <a:gd name="connsiteY37" fmla="*/ 127349 h 305085"/>
                  <a:gd name="connsiteX38" fmla="*/ 311181 w 3194685"/>
                  <a:gd name="connsiteY38" fmla="*/ 133445 h 305085"/>
                  <a:gd name="connsiteX39" fmla="*/ 323850 w 3194685"/>
                  <a:gd name="connsiteY39" fmla="*/ 133445 h 305085"/>
                  <a:gd name="connsiteX40" fmla="*/ 323850 w 3194685"/>
                  <a:gd name="connsiteY40" fmla="*/ 139541 h 305085"/>
                  <a:gd name="connsiteX41" fmla="*/ 359568 w 3194685"/>
                  <a:gd name="connsiteY41" fmla="*/ 139541 h 305085"/>
                  <a:gd name="connsiteX42" fmla="*/ 359568 w 3194685"/>
                  <a:gd name="connsiteY42" fmla="*/ 145637 h 305085"/>
                  <a:gd name="connsiteX43" fmla="*/ 475297 w 3194685"/>
                  <a:gd name="connsiteY43" fmla="*/ 145637 h 305085"/>
                  <a:gd name="connsiteX44" fmla="*/ 475297 w 3194685"/>
                  <a:gd name="connsiteY44" fmla="*/ 151638 h 305085"/>
                  <a:gd name="connsiteX45" fmla="*/ 513111 w 3194685"/>
                  <a:gd name="connsiteY45" fmla="*/ 151638 h 305085"/>
                  <a:gd name="connsiteX46" fmla="*/ 513111 w 3194685"/>
                  <a:gd name="connsiteY46" fmla="*/ 157829 h 305085"/>
                  <a:gd name="connsiteX47" fmla="*/ 565689 w 3194685"/>
                  <a:gd name="connsiteY47" fmla="*/ 157829 h 305085"/>
                  <a:gd name="connsiteX48" fmla="*/ 565689 w 3194685"/>
                  <a:gd name="connsiteY48" fmla="*/ 163925 h 305085"/>
                  <a:gd name="connsiteX49" fmla="*/ 584644 w 3194685"/>
                  <a:gd name="connsiteY49" fmla="*/ 163925 h 305085"/>
                  <a:gd name="connsiteX50" fmla="*/ 584644 w 3194685"/>
                  <a:gd name="connsiteY50" fmla="*/ 170021 h 305085"/>
                  <a:gd name="connsiteX51" fmla="*/ 595122 w 3194685"/>
                  <a:gd name="connsiteY51" fmla="*/ 170021 h 305085"/>
                  <a:gd name="connsiteX52" fmla="*/ 595122 w 3194685"/>
                  <a:gd name="connsiteY52" fmla="*/ 176212 h 305085"/>
                  <a:gd name="connsiteX53" fmla="*/ 628840 w 3194685"/>
                  <a:gd name="connsiteY53" fmla="*/ 176212 h 305085"/>
                  <a:gd name="connsiteX54" fmla="*/ 628840 w 3194685"/>
                  <a:gd name="connsiteY54" fmla="*/ 182308 h 305085"/>
                  <a:gd name="connsiteX55" fmla="*/ 635127 w 3194685"/>
                  <a:gd name="connsiteY55" fmla="*/ 182308 h 305085"/>
                  <a:gd name="connsiteX56" fmla="*/ 635127 w 3194685"/>
                  <a:gd name="connsiteY56" fmla="*/ 188404 h 305085"/>
                  <a:gd name="connsiteX57" fmla="*/ 649795 w 3194685"/>
                  <a:gd name="connsiteY57" fmla="*/ 188404 h 305085"/>
                  <a:gd name="connsiteX58" fmla="*/ 649795 w 3194685"/>
                  <a:gd name="connsiteY58" fmla="*/ 194500 h 305085"/>
                  <a:gd name="connsiteX59" fmla="*/ 662463 w 3194685"/>
                  <a:gd name="connsiteY59" fmla="*/ 194500 h 305085"/>
                  <a:gd name="connsiteX60" fmla="*/ 662463 w 3194685"/>
                  <a:gd name="connsiteY60" fmla="*/ 200691 h 305085"/>
                  <a:gd name="connsiteX61" fmla="*/ 687705 w 3194685"/>
                  <a:gd name="connsiteY61" fmla="*/ 200691 h 305085"/>
                  <a:gd name="connsiteX62" fmla="*/ 687705 w 3194685"/>
                  <a:gd name="connsiteY62" fmla="*/ 206787 h 305085"/>
                  <a:gd name="connsiteX63" fmla="*/ 916971 w 3194685"/>
                  <a:gd name="connsiteY63" fmla="*/ 206787 h 305085"/>
                  <a:gd name="connsiteX64" fmla="*/ 916971 w 3194685"/>
                  <a:gd name="connsiteY64" fmla="*/ 212979 h 305085"/>
                  <a:gd name="connsiteX65" fmla="*/ 1030509 w 3194685"/>
                  <a:gd name="connsiteY65" fmla="*/ 212979 h 305085"/>
                  <a:gd name="connsiteX66" fmla="*/ 1030509 w 3194685"/>
                  <a:gd name="connsiteY66" fmla="*/ 219170 h 305085"/>
                  <a:gd name="connsiteX67" fmla="*/ 1299686 w 3194685"/>
                  <a:gd name="connsiteY67" fmla="*/ 219170 h 305085"/>
                  <a:gd name="connsiteX68" fmla="*/ 1299686 w 3194685"/>
                  <a:gd name="connsiteY68" fmla="*/ 225456 h 305085"/>
                  <a:gd name="connsiteX69" fmla="*/ 1373314 w 3194685"/>
                  <a:gd name="connsiteY69" fmla="*/ 225456 h 305085"/>
                  <a:gd name="connsiteX70" fmla="*/ 1373314 w 3194685"/>
                  <a:gd name="connsiteY70" fmla="*/ 231743 h 305085"/>
                  <a:gd name="connsiteX71" fmla="*/ 1453229 w 3194685"/>
                  <a:gd name="connsiteY71" fmla="*/ 231743 h 305085"/>
                  <a:gd name="connsiteX72" fmla="*/ 1453229 w 3194685"/>
                  <a:gd name="connsiteY72" fmla="*/ 238029 h 305085"/>
                  <a:gd name="connsiteX73" fmla="*/ 1615154 w 3194685"/>
                  <a:gd name="connsiteY73" fmla="*/ 238029 h 305085"/>
                  <a:gd name="connsiteX74" fmla="*/ 1615154 w 3194685"/>
                  <a:gd name="connsiteY74" fmla="*/ 244506 h 305085"/>
                  <a:gd name="connsiteX75" fmla="*/ 1632013 w 3194685"/>
                  <a:gd name="connsiteY75" fmla="*/ 244506 h 305085"/>
                  <a:gd name="connsiteX76" fmla="*/ 1632013 w 3194685"/>
                  <a:gd name="connsiteY76" fmla="*/ 250888 h 305085"/>
                  <a:gd name="connsiteX77" fmla="*/ 1749837 w 3194685"/>
                  <a:gd name="connsiteY77" fmla="*/ 250888 h 305085"/>
                  <a:gd name="connsiteX78" fmla="*/ 1749837 w 3194685"/>
                  <a:gd name="connsiteY78" fmla="*/ 257365 h 305085"/>
                  <a:gd name="connsiteX79" fmla="*/ 1842325 w 3194685"/>
                  <a:gd name="connsiteY79" fmla="*/ 257365 h 305085"/>
                  <a:gd name="connsiteX80" fmla="*/ 1842325 w 3194685"/>
                  <a:gd name="connsiteY80" fmla="*/ 263747 h 305085"/>
                  <a:gd name="connsiteX81" fmla="*/ 1861280 w 3194685"/>
                  <a:gd name="connsiteY81" fmla="*/ 263747 h 305085"/>
                  <a:gd name="connsiteX82" fmla="*/ 1861280 w 3194685"/>
                  <a:gd name="connsiteY82" fmla="*/ 270224 h 305085"/>
                  <a:gd name="connsiteX83" fmla="*/ 2715101 w 3194685"/>
                  <a:gd name="connsiteY83" fmla="*/ 270224 h 305085"/>
                  <a:gd name="connsiteX84" fmla="*/ 2715101 w 3194685"/>
                  <a:gd name="connsiteY84" fmla="*/ 305085 h 305085"/>
                  <a:gd name="connsiteX85" fmla="*/ 3194685 w 3194685"/>
                  <a:gd name="connsiteY85" fmla="*/ 305085 h 305085"/>
                  <a:gd name="connsiteX0" fmla="*/ 0 w 3182113"/>
                  <a:gd name="connsiteY0" fmla="*/ 0 h 298989"/>
                  <a:gd name="connsiteX1" fmla="*/ 0 w 3182113"/>
                  <a:gd name="connsiteY1" fmla="*/ 6000 h 298989"/>
                  <a:gd name="connsiteX2" fmla="*/ 6287 w 3182113"/>
                  <a:gd name="connsiteY2" fmla="*/ 6000 h 298989"/>
                  <a:gd name="connsiteX3" fmla="*/ 6287 w 3182113"/>
                  <a:gd name="connsiteY3" fmla="*/ 18192 h 298989"/>
                  <a:gd name="connsiteX4" fmla="*/ 14764 w 3182113"/>
                  <a:gd name="connsiteY4" fmla="*/ 18192 h 298989"/>
                  <a:gd name="connsiteX5" fmla="*/ 14764 w 3182113"/>
                  <a:gd name="connsiteY5" fmla="*/ 24193 h 298989"/>
                  <a:gd name="connsiteX6" fmla="*/ 21051 w 3182113"/>
                  <a:gd name="connsiteY6" fmla="*/ 24193 h 298989"/>
                  <a:gd name="connsiteX7" fmla="*/ 21051 w 3182113"/>
                  <a:gd name="connsiteY7" fmla="*/ 36385 h 298989"/>
                  <a:gd name="connsiteX8" fmla="*/ 23146 w 3182113"/>
                  <a:gd name="connsiteY8" fmla="*/ 36385 h 298989"/>
                  <a:gd name="connsiteX9" fmla="*/ 23146 w 3182113"/>
                  <a:gd name="connsiteY9" fmla="*/ 42481 h 298989"/>
                  <a:gd name="connsiteX10" fmla="*/ 35719 w 3182113"/>
                  <a:gd name="connsiteY10" fmla="*/ 42481 h 298989"/>
                  <a:gd name="connsiteX11" fmla="*/ 35719 w 3182113"/>
                  <a:gd name="connsiteY11" fmla="*/ 48482 h 298989"/>
                  <a:gd name="connsiteX12" fmla="*/ 58865 w 3182113"/>
                  <a:gd name="connsiteY12" fmla="*/ 48482 h 298989"/>
                  <a:gd name="connsiteX13" fmla="*/ 58865 w 3182113"/>
                  <a:gd name="connsiteY13" fmla="*/ 54578 h 298989"/>
                  <a:gd name="connsiteX14" fmla="*/ 65247 w 3182113"/>
                  <a:gd name="connsiteY14" fmla="*/ 54578 h 298989"/>
                  <a:gd name="connsiteX15" fmla="*/ 65247 w 3182113"/>
                  <a:gd name="connsiteY15" fmla="*/ 60674 h 298989"/>
                  <a:gd name="connsiteX16" fmla="*/ 73629 w 3182113"/>
                  <a:gd name="connsiteY16" fmla="*/ 60674 h 298989"/>
                  <a:gd name="connsiteX17" fmla="*/ 73629 w 3182113"/>
                  <a:gd name="connsiteY17" fmla="*/ 66675 h 298989"/>
                  <a:gd name="connsiteX18" fmla="*/ 82011 w 3182113"/>
                  <a:gd name="connsiteY18" fmla="*/ 66675 h 298989"/>
                  <a:gd name="connsiteX19" fmla="*/ 82011 w 3182113"/>
                  <a:gd name="connsiteY19" fmla="*/ 72771 h 298989"/>
                  <a:gd name="connsiteX20" fmla="*/ 86202 w 3182113"/>
                  <a:gd name="connsiteY20" fmla="*/ 72771 h 298989"/>
                  <a:gd name="connsiteX21" fmla="*/ 86202 w 3182113"/>
                  <a:gd name="connsiteY21" fmla="*/ 78867 h 298989"/>
                  <a:gd name="connsiteX22" fmla="*/ 159830 w 3182113"/>
                  <a:gd name="connsiteY22" fmla="*/ 78867 h 298989"/>
                  <a:gd name="connsiteX23" fmla="*/ 159830 w 3182113"/>
                  <a:gd name="connsiteY23" fmla="*/ 84867 h 298989"/>
                  <a:gd name="connsiteX24" fmla="*/ 180880 w 3182113"/>
                  <a:gd name="connsiteY24" fmla="*/ 84867 h 298989"/>
                  <a:gd name="connsiteX25" fmla="*/ 180880 w 3182113"/>
                  <a:gd name="connsiteY25" fmla="*/ 90963 h 298989"/>
                  <a:gd name="connsiteX26" fmla="*/ 187167 w 3182113"/>
                  <a:gd name="connsiteY26" fmla="*/ 90963 h 298989"/>
                  <a:gd name="connsiteX27" fmla="*/ 187167 w 3182113"/>
                  <a:gd name="connsiteY27" fmla="*/ 97059 h 298989"/>
                  <a:gd name="connsiteX28" fmla="*/ 229267 w 3182113"/>
                  <a:gd name="connsiteY28" fmla="*/ 97059 h 298989"/>
                  <a:gd name="connsiteX29" fmla="*/ 229267 w 3182113"/>
                  <a:gd name="connsiteY29" fmla="*/ 103060 h 298989"/>
                  <a:gd name="connsiteX30" fmla="*/ 243936 w 3182113"/>
                  <a:gd name="connsiteY30" fmla="*/ 103060 h 298989"/>
                  <a:gd name="connsiteX31" fmla="*/ 243936 w 3182113"/>
                  <a:gd name="connsiteY31" fmla="*/ 109156 h 298989"/>
                  <a:gd name="connsiteX32" fmla="*/ 273463 w 3182113"/>
                  <a:gd name="connsiteY32" fmla="*/ 109156 h 298989"/>
                  <a:gd name="connsiteX33" fmla="*/ 273463 w 3182113"/>
                  <a:gd name="connsiteY33" fmla="*/ 115252 h 298989"/>
                  <a:gd name="connsiteX34" fmla="*/ 275559 w 3182113"/>
                  <a:gd name="connsiteY34" fmla="*/ 115252 h 298989"/>
                  <a:gd name="connsiteX35" fmla="*/ 275559 w 3182113"/>
                  <a:gd name="connsiteY35" fmla="*/ 121253 h 298989"/>
                  <a:gd name="connsiteX36" fmla="*/ 298609 w 3182113"/>
                  <a:gd name="connsiteY36" fmla="*/ 121253 h 298989"/>
                  <a:gd name="connsiteX37" fmla="*/ 298609 w 3182113"/>
                  <a:gd name="connsiteY37" fmla="*/ 127349 h 298989"/>
                  <a:gd name="connsiteX38" fmla="*/ 311278 w 3182113"/>
                  <a:gd name="connsiteY38" fmla="*/ 127349 h 298989"/>
                  <a:gd name="connsiteX39" fmla="*/ 311278 w 3182113"/>
                  <a:gd name="connsiteY39" fmla="*/ 133445 h 298989"/>
                  <a:gd name="connsiteX40" fmla="*/ 346996 w 3182113"/>
                  <a:gd name="connsiteY40" fmla="*/ 133445 h 298989"/>
                  <a:gd name="connsiteX41" fmla="*/ 346996 w 3182113"/>
                  <a:gd name="connsiteY41" fmla="*/ 139541 h 298989"/>
                  <a:gd name="connsiteX42" fmla="*/ 462725 w 3182113"/>
                  <a:gd name="connsiteY42" fmla="*/ 139541 h 298989"/>
                  <a:gd name="connsiteX43" fmla="*/ 462725 w 3182113"/>
                  <a:gd name="connsiteY43" fmla="*/ 145542 h 298989"/>
                  <a:gd name="connsiteX44" fmla="*/ 500539 w 3182113"/>
                  <a:gd name="connsiteY44" fmla="*/ 145542 h 298989"/>
                  <a:gd name="connsiteX45" fmla="*/ 500539 w 3182113"/>
                  <a:gd name="connsiteY45" fmla="*/ 151733 h 298989"/>
                  <a:gd name="connsiteX46" fmla="*/ 553117 w 3182113"/>
                  <a:gd name="connsiteY46" fmla="*/ 151733 h 298989"/>
                  <a:gd name="connsiteX47" fmla="*/ 553117 w 3182113"/>
                  <a:gd name="connsiteY47" fmla="*/ 157829 h 298989"/>
                  <a:gd name="connsiteX48" fmla="*/ 572072 w 3182113"/>
                  <a:gd name="connsiteY48" fmla="*/ 157829 h 298989"/>
                  <a:gd name="connsiteX49" fmla="*/ 572072 w 3182113"/>
                  <a:gd name="connsiteY49" fmla="*/ 163925 h 298989"/>
                  <a:gd name="connsiteX50" fmla="*/ 582550 w 3182113"/>
                  <a:gd name="connsiteY50" fmla="*/ 163925 h 298989"/>
                  <a:gd name="connsiteX51" fmla="*/ 582550 w 3182113"/>
                  <a:gd name="connsiteY51" fmla="*/ 170116 h 298989"/>
                  <a:gd name="connsiteX52" fmla="*/ 616268 w 3182113"/>
                  <a:gd name="connsiteY52" fmla="*/ 170116 h 298989"/>
                  <a:gd name="connsiteX53" fmla="*/ 616268 w 3182113"/>
                  <a:gd name="connsiteY53" fmla="*/ 176212 h 298989"/>
                  <a:gd name="connsiteX54" fmla="*/ 622555 w 3182113"/>
                  <a:gd name="connsiteY54" fmla="*/ 176212 h 298989"/>
                  <a:gd name="connsiteX55" fmla="*/ 622555 w 3182113"/>
                  <a:gd name="connsiteY55" fmla="*/ 182308 h 298989"/>
                  <a:gd name="connsiteX56" fmla="*/ 637223 w 3182113"/>
                  <a:gd name="connsiteY56" fmla="*/ 182308 h 298989"/>
                  <a:gd name="connsiteX57" fmla="*/ 637223 w 3182113"/>
                  <a:gd name="connsiteY57" fmla="*/ 188404 h 298989"/>
                  <a:gd name="connsiteX58" fmla="*/ 649891 w 3182113"/>
                  <a:gd name="connsiteY58" fmla="*/ 188404 h 298989"/>
                  <a:gd name="connsiteX59" fmla="*/ 649891 w 3182113"/>
                  <a:gd name="connsiteY59" fmla="*/ 194595 h 298989"/>
                  <a:gd name="connsiteX60" fmla="*/ 675133 w 3182113"/>
                  <a:gd name="connsiteY60" fmla="*/ 194595 h 298989"/>
                  <a:gd name="connsiteX61" fmla="*/ 675133 w 3182113"/>
                  <a:gd name="connsiteY61" fmla="*/ 200691 h 298989"/>
                  <a:gd name="connsiteX62" fmla="*/ 904399 w 3182113"/>
                  <a:gd name="connsiteY62" fmla="*/ 200691 h 298989"/>
                  <a:gd name="connsiteX63" fmla="*/ 904399 w 3182113"/>
                  <a:gd name="connsiteY63" fmla="*/ 206883 h 298989"/>
                  <a:gd name="connsiteX64" fmla="*/ 1017937 w 3182113"/>
                  <a:gd name="connsiteY64" fmla="*/ 206883 h 298989"/>
                  <a:gd name="connsiteX65" fmla="*/ 1017937 w 3182113"/>
                  <a:gd name="connsiteY65" fmla="*/ 213074 h 298989"/>
                  <a:gd name="connsiteX66" fmla="*/ 1287114 w 3182113"/>
                  <a:gd name="connsiteY66" fmla="*/ 213074 h 298989"/>
                  <a:gd name="connsiteX67" fmla="*/ 1287114 w 3182113"/>
                  <a:gd name="connsiteY67" fmla="*/ 219360 h 298989"/>
                  <a:gd name="connsiteX68" fmla="*/ 1360742 w 3182113"/>
                  <a:gd name="connsiteY68" fmla="*/ 219360 h 298989"/>
                  <a:gd name="connsiteX69" fmla="*/ 1360742 w 3182113"/>
                  <a:gd name="connsiteY69" fmla="*/ 225647 h 298989"/>
                  <a:gd name="connsiteX70" fmla="*/ 1440657 w 3182113"/>
                  <a:gd name="connsiteY70" fmla="*/ 225647 h 298989"/>
                  <a:gd name="connsiteX71" fmla="*/ 1440657 w 3182113"/>
                  <a:gd name="connsiteY71" fmla="*/ 231933 h 298989"/>
                  <a:gd name="connsiteX72" fmla="*/ 1602582 w 3182113"/>
                  <a:gd name="connsiteY72" fmla="*/ 231933 h 298989"/>
                  <a:gd name="connsiteX73" fmla="*/ 1602582 w 3182113"/>
                  <a:gd name="connsiteY73" fmla="*/ 238410 h 298989"/>
                  <a:gd name="connsiteX74" fmla="*/ 1619441 w 3182113"/>
                  <a:gd name="connsiteY74" fmla="*/ 238410 h 298989"/>
                  <a:gd name="connsiteX75" fmla="*/ 1619441 w 3182113"/>
                  <a:gd name="connsiteY75" fmla="*/ 244792 h 298989"/>
                  <a:gd name="connsiteX76" fmla="*/ 1737265 w 3182113"/>
                  <a:gd name="connsiteY76" fmla="*/ 244792 h 298989"/>
                  <a:gd name="connsiteX77" fmla="*/ 1737265 w 3182113"/>
                  <a:gd name="connsiteY77" fmla="*/ 251269 h 298989"/>
                  <a:gd name="connsiteX78" fmla="*/ 1829753 w 3182113"/>
                  <a:gd name="connsiteY78" fmla="*/ 251269 h 298989"/>
                  <a:gd name="connsiteX79" fmla="*/ 1829753 w 3182113"/>
                  <a:gd name="connsiteY79" fmla="*/ 257651 h 298989"/>
                  <a:gd name="connsiteX80" fmla="*/ 1848708 w 3182113"/>
                  <a:gd name="connsiteY80" fmla="*/ 257651 h 298989"/>
                  <a:gd name="connsiteX81" fmla="*/ 1848708 w 3182113"/>
                  <a:gd name="connsiteY81" fmla="*/ 264128 h 298989"/>
                  <a:gd name="connsiteX82" fmla="*/ 2702529 w 3182113"/>
                  <a:gd name="connsiteY82" fmla="*/ 264128 h 298989"/>
                  <a:gd name="connsiteX83" fmla="*/ 2702529 w 3182113"/>
                  <a:gd name="connsiteY83" fmla="*/ 298989 h 298989"/>
                  <a:gd name="connsiteX84" fmla="*/ 3182113 w 3182113"/>
                  <a:gd name="connsiteY84" fmla="*/ 298989 h 298989"/>
                  <a:gd name="connsiteX0" fmla="*/ 0 w 3182113"/>
                  <a:gd name="connsiteY0" fmla="*/ 0 h 298989"/>
                  <a:gd name="connsiteX1" fmla="*/ 0 w 3182113"/>
                  <a:gd name="connsiteY1" fmla="*/ 6000 h 298989"/>
                  <a:gd name="connsiteX2" fmla="*/ 6287 w 3182113"/>
                  <a:gd name="connsiteY2" fmla="*/ 18192 h 298989"/>
                  <a:gd name="connsiteX3" fmla="*/ 14764 w 3182113"/>
                  <a:gd name="connsiteY3" fmla="*/ 18192 h 298989"/>
                  <a:gd name="connsiteX4" fmla="*/ 14764 w 3182113"/>
                  <a:gd name="connsiteY4" fmla="*/ 24193 h 298989"/>
                  <a:gd name="connsiteX5" fmla="*/ 21051 w 3182113"/>
                  <a:gd name="connsiteY5" fmla="*/ 24193 h 298989"/>
                  <a:gd name="connsiteX6" fmla="*/ 21051 w 3182113"/>
                  <a:gd name="connsiteY6" fmla="*/ 36385 h 298989"/>
                  <a:gd name="connsiteX7" fmla="*/ 23146 w 3182113"/>
                  <a:gd name="connsiteY7" fmla="*/ 36385 h 298989"/>
                  <a:gd name="connsiteX8" fmla="*/ 23146 w 3182113"/>
                  <a:gd name="connsiteY8" fmla="*/ 42481 h 298989"/>
                  <a:gd name="connsiteX9" fmla="*/ 35719 w 3182113"/>
                  <a:gd name="connsiteY9" fmla="*/ 42481 h 298989"/>
                  <a:gd name="connsiteX10" fmla="*/ 35719 w 3182113"/>
                  <a:gd name="connsiteY10" fmla="*/ 48482 h 298989"/>
                  <a:gd name="connsiteX11" fmla="*/ 58865 w 3182113"/>
                  <a:gd name="connsiteY11" fmla="*/ 48482 h 298989"/>
                  <a:gd name="connsiteX12" fmla="*/ 58865 w 3182113"/>
                  <a:gd name="connsiteY12" fmla="*/ 54578 h 298989"/>
                  <a:gd name="connsiteX13" fmla="*/ 65247 w 3182113"/>
                  <a:gd name="connsiteY13" fmla="*/ 54578 h 298989"/>
                  <a:gd name="connsiteX14" fmla="*/ 65247 w 3182113"/>
                  <a:gd name="connsiteY14" fmla="*/ 60674 h 298989"/>
                  <a:gd name="connsiteX15" fmla="*/ 73629 w 3182113"/>
                  <a:gd name="connsiteY15" fmla="*/ 60674 h 298989"/>
                  <a:gd name="connsiteX16" fmla="*/ 73629 w 3182113"/>
                  <a:gd name="connsiteY16" fmla="*/ 66675 h 298989"/>
                  <a:gd name="connsiteX17" fmla="*/ 82011 w 3182113"/>
                  <a:gd name="connsiteY17" fmla="*/ 66675 h 298989"/>
                  <a:gd name="connsiteX18" fmla="*/ 82011 w 3182113"/>
                  <a:gd name="connsiteY18" fmla="*/ 72771 h 298989"/>
                  <a:gd name="connsiteX19" fmla="*/ 86202 w 3182113"/>
                  <a:gd name="connsiteY19" fmla="*/ 72771 h 298989"/>
                  <a:gd name="connsiteX20" fmla="*/ 86202 w 3182113"/>
                  <a:gd name="connsiteY20" fmla="*/ 78867 h 298989"/>
                  <a:gd name="connsiteX21" fmla="*/ 159830 w 3182113"/>
                  <a:gd name="connsiteY21" fmla="*/ 78867 h 298989"/>
                  <a:gd name="connsiteX22" fmla="*/ 159830 w 3182113"/>
                  <a:gd name="connsiteY22" fmla="*/ 84867 h 298989"/>
                  <a:gd name="connsiteX23" fmla="*/ 180880 w 3182113"/>
                  <a:gd name="connsiteY23" fmla="*/ 84867 h 298989"/>
                  <a:gd name="connsiteX24" fmla="*/ 180880 w 3182113"/>
                  <a:gd name="connsiteY24" fmla="*/ 90963 h 298989"/>
                  <a:gd name="connsiteX25" fmla="*/ 187167 w 3182113"/>
                  <a:gd name="connsiteY25" fmla="*/ 90963 h 298989"/>
                  <a:gd name="connsiteX26" fmla="*/ 187167 w 3182113"/>
                  <a:gd name="connsiteY26" fmla="*/ 97059 h 298989"/>
                  <a:gd name="connsiteX27" fmla="*/ 229267 w 3182113"/>
                  <a:gd name="connsiteY27" fmla="*/ 97059 h 298989"/>
                  <a:gd name="connsiteX28" fmla="*/ 229267 w 3182113"/>
                  <a:gd name="connsiteY28" fmla="*/ 103060 h 298989"/>
                  <a:gd name="connsiteX29" fmla="*/ 243936 w 3182113"/>
                  <a:gd name="connsiteY29" fmla="*/ 103060 h 298989"/>
                  <a:gd name="connsiteX30" fmla="*/ 243936 w 3182113"/>
                  <a:gd name="connsiteY30" fmla="*/ 109156 h 298989"/>
                  <a:gd name="connsiteX31" fmla="*/ 273463 w 3182113"/>
                  <a:gd name="connsiteY31" fmla="*/ 109156 h 298989"/>
                  <a:gd name="connsiteX32" fmla="*/ 273463 w 3182113"/>
                  <a:gd name="connsiteY32" fmla="*/ 115252 h 298989"/>
                  <a:gd name="connsiteX33" fmla="*/ 275559 w 3182113"/>
                  <a:gd name="connsiteY33" fmla="*/ 115252 h 298989"/>
                  <a:gd name="connsiteX34" fmla="*/ 275559 w 3182113"/>
                  <a:gd name="connsiteY34" fmla="*/ 121253 h 298989"/>
                  <a:gd name="connsiteX35" fmla="*/ 298609 w 3182113"/>
                  <a:gd name="connsiteY35" fmla="*/ 121253 h 298989"/>
                  <a:gd name="connsiteX36" fmla="*/ 298609 w 3182113"/>
                  <a:gd name="connsiteY36" fmla="*/ 127349 h 298989"/>
                  <a:gd name="connsiteX37" fmla="*/ 311278 w 3182113"/>
                  <a:gd name="connsiteY37" fmla="*/ 127349 h 298989"/>
                  <a:gd name="connsiteX38" fmla="*/ 311278 w 3182113"/>
                  <a:gd name="connsiteY38" fmla="*/ 133445 h 298989"/>
                  <a:gd name="connsiteX39" fmla="*/ 346996 w 3182113"/>
                  <a:gd name="connsiteY39" fmla="*/ 133445 h 298989"/>
                  <a:gd name="connsiteX40" fmla="*/ 346996 w 3182113"/>
                  <a:gd name="connsiteY40" fmla="*/ 139541 h 298989"/>
                  <a:gd name="connsiteX41" fmla="*/ 462725 w 3182113"/>
                  <a:gd name="connsiteY41" fmla="*/ 139541 h 298989"/>
                  <a:gd name="connsiteX42" fmla="*/ 462725 w 3182113"/>
                  <a:gd name="connsiteY42" fmla="*/ 145542 h 298989"/>
                  <a:gd name="connsiteX43" fmla="*/ 500539 w 3182113"/>
                  <a:gd name="connsiteY43" fmla="*/ 145542 h 298989"/>
                  <a:gd name="connsiteX44" fmla="*/ 500539 w 3182113"/>
                  <a:gd name="connsiteY44" fmla="*/ 151733 h 298989"/>
                  <a:gd name="connsiteX45" fmla="*/ 553117 w 3182113"/>
                  <a:gd name="connsiteY45" fmla="*/ 151733 h 298989"/>
                  <a:gd name="connsiteX46" fmla="*/ 553117 w 3182113"/>
                  <a:gd name="connsiteY46" fmla="*/ 157829 h 298989"/>
                  <a:gd name="connsiteX47" fmla="*/ 572072 w 3182113"/>
                  <a:gd name="connsiteY47" fmla="*/ 157829 h 298989"/>
                  <a:gd name="connsiteX48" fmla="*/ 572072 w 3182113"/>
                  <a:gd name="connsiteY48" fmla="*/ 163925 h 298989"/>
                  <a:gd name="connsiteX49" fmla="*/ 582550 w 3182113"/>
                  <a:gd name="connsiteY49" fmla="*/ 163925 h 298989"/>
                  <a:gd name="connsiteX50" fmla="*/ 582550 w 3182113"/>
                  <a:gd name="connsiteY50" fmla="*/ 170116 h 298989"/>
                  <a:gd name="connsiteX51" fmla="*/ 616268 w 3182113"/>
                  <a:gd name="connsiteY51" fmla="*/ 170116 h 298989"/>
                  <a:gd name="connsiteX52" fmla="*/ 616268 w 3182113"/>
                  <a:gd name="connsiteY52" fmla="*/ 176212 h 298989"/>
                  <a:gd name="connsiteX53" fmla="*/ 622555 w 3182113"/>
                  <a:gd name="connsiteY53" fmla="*/ 176212 h 298989"/>
                  <a:gd name="connsiteX54" fmla="*/ 622555 w 3182113"/>
                  <a:gd name="connsiteY54" fmla="*/ 182308 h 298989"/>
                  <a:gd name="connsiteX55" fmla="*/ 637223 w 3182113"/>
                  <a:gd name="connsiteY55" fmla="*/ 182308 h 298989"/>
                  <a:gd name="connsiteX56" fmla="*/ 637223 w 3182113"/>
                  <a:gd name="connsiteY56" fmla="*/ 188404 h 298989"/>
                  <a:gd name="connsiteX57" fmla="*/ 649891 w 3182113"/>
                  <a:gd name="connsiteY57" fmla="*/ 188404 h 298989"/>
                  <a:gd name="connsiteX58" fmla="*/ 649891 w 3182113"/>
                  <a:gd name="connsiteY58" fmla="*/ 194595 h 298989"/>
                  <a:gd name="connsiteX59" fmla="*/ 675133 w 3182113"/>
                  <a:gd name="connsiteY59" fmla="*/ 194595 h 298989"/>
                  <a:gd name="connsiteX60" fmla="*/ 675133 w 3182113"/>
                  <a:gd name="connsiteY60" fmla="*/ 200691 h 298989"/>
                  <a:gd name="connsiteX61" fmla="*/ 904399 w 3182113"/>
                  <a:gd name="connsiteY61" fmla="*/ 200691 h 298989"/>
                  <a:gd name="connsiteX62" fmla="*/ 904399 w 3182113"/>
                  <a:gd name="connsiteY62" fmla="*/ 206883 h 298989"/>
                  <a:gd name="connsiteX63" fmla="*/ 1017937 w 3182113"/>
                  <a:gd name="connsiteY63" fmla="*/ 206883 h 298989"/>
                  <a:gd name="connsiteX64" fmla="*/ 1017937 w 3182113"/>
                  <a:gd name="connsiteY64" fmla="*/ 213074 h 298989"/>
                  <a:gd name="connsiteX65" fmla="*/ 1287114 w 3182113"/>
                  <a:gd name="connsiteY65" fmla="*/ 213074 h 298989"/>
                  <a:gd name="connsiteX66" fmla="*/ 1287114 w 3182113"/>
                  <a:gd name="connsiteY66" fmla="*/ 219360 h 298989"/>
                  <a:gd name="connsiteX67" fmla="*/ 1360742 w 3182113"/>
                  <a:gd name="connsiteY67" fmla="*/ 219360 h 298989"/>
                  <a:gd name="connsiteX68" fmla="*/ 1360742 w 3182113"/>
                  <a:gd name="connsiteY68" fmla="*/ 225647 h 298989"/>
                  <a:gd name="connsiteX69" fmla="*/ 1440657 w 3182113"/>
                  <a:gd name="connsiteY69" fmla="*/ 225647 h 298989"/>
                  <a:gd name="connsiteX70" fmla="*/ 1440657 w 3182113"/>
                  <a:gd name="connsiteY70" fmla="*/ 231933 h 298989"/>
                  <a:gd name="connsiteX71" fmla="*/ 1602582 w 3182113"/>
                  <a:gd name="connsiteY71" fmla="*/ 231933 h 298989"/>
                  <a:gd name="connsiteX72" fmla="*/ 1602582 w 3182113"/>
                  <a:gd name="connsiteY72" fmla="*/ 238410 h 298989"/>
                  <a:gd name="connsiteX73" fmla="*/ 1619441 w 3182113"/>
                  <a:gd name="connsiteY73" fmla="*/ 238410 h 298989"/>
                  <a:gd name="connsiteX74" fmla="*/ 1619441 w 3182113"/>
                  <a:gd name="connsiteY74" fmla="*/ 244792 h 298989"/>
                  <a:gd name="connsiteX75" fmla="*/ 1737265 w 3182113"/>
                  <a:gd name="connsiteY75" fmla="*/ 244792 h 298989"/>
                  <a:gd name="connsiteX76" fmla="*/ 1737265 w 3182113"/>
                  <a:gd name="connsiteY76" fmla="*/ 251269 h 298989"/>
                  <a:gd name="connsiteX77" fmla="*/ 1829753 w 3182113"/>
                  <a:gd name="connsiteY77" fmla="*/ 251269 h 298989"/>
                  <a:gd name="connsiteX78" fmla="*/ 1829753 w 3182113"/>
                  <a:gd name="connsiteY78" fmla="*/ 257651 h 298989"/>
                  <a:gd name="connsiteX79" fmla="*/ 1848708 w 3182113"/>
                  <a:gd name="connsiteY79" fmla="*/ 257651 h 298989"/>
                  <a:gd name="connsiteX80" fmla="*/ 1848708 w 3182113"/>
                  <a:gd name="connsiteY80" fmla="*/ 264128 h 298989"/>
                  <a:gd name="connsiteX81" fmla="*/ 2702529 w 3182113"/>
                  <a:gd name="connsiteY81" fmla="*/ 264128 h 298989"/>
                  <a:gd name="connsiteX82" fmla="*/ 2702529 w 3182113"/>
                  <a:gd name="connsiteY82" fmla="*/ 298989 h 298989"/>
                  <a:gd name="connsiteX83" fmla="*/ 3182113 w 3182113"/>
                  <a:gd name="connsiteY83" fmla="*/ 298989 h 298989"/>
                  <a:gd name="connsiteX0" fmla="*/ 0 w 3182113"/>
                  <a:gd name="connsiteY0" fmla="*/ 0 h 298989"/>
                  <a:gd name="connsiteX1" fmla="*/ 6287 w 3182113"/>
                  <a:gd name="connsiteY1" fmla="*/ 18192 h 298989"/>
                  <a:gd name="connsiteX2" fmla="*/ 14764 w 3182113"/>
                  <a:gd name="connsiteY2" fmla="*/ 18192 h 298989"/>
                  <a:gd name="connsiteX3" fmla="*/ 14764 w 3182113"/>
                  <a:gd name="connsiteY3" fmla="*/ 24193 h 298989"/>
                  <a:gd name="connsiteX4" fmla="*/ 21051 w 3182113"/>
                  <a:gd name="connsiteY4" fmla="*/ 24193 h 298989"/>
                  <a:gd name="connsiteX5" fmla="*/ 21051 w 3182113"/>
                  <a:gd name="connsiteY5" fmla="*/ 36385 h 298989"/>
                  <a:gd name="connsiteX6" fmla="*/ 23146 w 3182113"/>
                  <a:gd name="connsiteY6" fmla="*/ 36385 h 298989"/>
                  <a:gd name="connsiteX7" fmla="*/ 23146 w 3182113"/>
                  <a:gd name="connsiteY7" fmla="*/ 42481 h 298989"/>
                  <a:gd name="connsiteX8" fmla="*/ 35719 w 3182113"/>
                  <a:gd name="connsiteY8" fmla="*/ 42481 h 298989"/>
                  <a:gd name="connsiteX9" fmla="*/ 35719 w 3182113"/>
                  <a:gd name="connsiteY9" fmla="*/ 48482 h 298989"/>
                  <a:gd name="connsiteX10" fmla="*/ 58865 w 3182113"/>
                  <a:gd name="connsiteY10" fmla="*/ 48482 h 298989"/>
                  <a:gd name="connsiteX11" fmla="*/ 58865 w 3182113"/>
                  <a:gd name="connsiteY11" fmla="*/ 54578 h 298989"/>
                  <a:gd name="connsiteX12" fmla="*/ 65247 w 3182113"/>
                  <a:gd name="connsiteY12" fmla="*/ 54578 h 298989"/>
                  <a:gd name="connsiteX13" fmla="*/ 65247 w 3182113"/>
                  <a:gd name="connsiteY13" fmla="*/ 60674 h 298989"/>
                  <a:gd name="connsiteX14" fmla="*/ 73629 w 3182113"/>
                  <a:gd name="connsiteY14" fmla="*/ 60674 h 298989"/>
                  <a:gd name="connsiteX15" fmla="*/ 73629 w 3182113"/>
                  <a:gd name="connsiteY15" fmla="*/ 66675 h 298989"/>
                  <a:gd name="connsiteX16" fmla="*/ 82011 w 3182113"/>
                  <a:gd name="connsiteY16" fmla="*/ 66675 h 298989"/>
                  <a:gd name="connsiteX17" fmla="*/ 82011 w 3182113"/>
                  <a:gd name="connsiteY17" fmla="*/ 72771 h 298989"/>
                  <a:gd name="connsiteX18" fmla="*/ 86202 w 3182113"/>
                  <a:gd name="connsiteY18" fmla="*/ 72771 h 298989"/>
                  <a:gd name="connsiteX19" fmla="*/ 86202 w 3182113"/>
                  <a:gd name="connsiteY19" fmla="*/ 78867 h 298989"/>
                  <a:gd name="connsiteX20" fmla="*/ 159830 w 3182113"/>
                  <a:gd name="connsiteY20" fmla="*/ 78867 h 298989"/>
                  <a:gd name="connsiteX21" fmla="*/ 159830 w 3182113"/>
                  <a:gd name="connsiteY21" fmla="*/ 84867 h 298989"/>
                  <a:gd name="connsiteX22" fmla="*/ 180880 w 3182113"/>
                  <a:gd name="connsiteY22" fmla="*/ 84867 h 298989"/>
                  <a:gd name="connsiteX23" fmla="*/ 180880 w 3182113"/>
                  <a:gd name="connsiteY23" fmla="*/ 90963 h 298989"/>
                  <a:gd name="connsiteX24" fmla="*/ 187167 w 3182113"/>
                  <a:gd name="connsiteY24" fmla="*/ 90963 h 298989"/>
                  <a:gd name="connsiteX25" fmla="*/ 187167 w 3182113"/>
                  <a:gd name="connsiteY25" fmla="*/ 97059 h 298989"/>
                  <a:gd name="connsiteX26" fmla="*/ 229267 w 3182113"/>
                  <a:gd name="connsiteY26" fmla="*/ 97059 h 298989"/>
                  <a:gd name="connsiteX27" fmla="*/ 229267 w 3182113"/>
                  <a:gd name="connsiteY27" fmla="*/ 103060 h 298989"/>
                  <a:gd name="connsiteX28" fmla="*/ 243936 w 3182113"/>
                  <a:gd name="connsiteY28" fmla="*/ 103060 h 298989"/>
                  <a:gd name="connsiteX29" fmla="*/ 243936 w 3182113"/>
                  <a:gd name="connsiteY29" fmla="*/ 109156 h 298989"/>
                  <a:gd name="connsiteX30" fmla="*/ 273463 w 3182113"/>
                  <a:gd name="connsiteY30" fmla="*/ 109156 h 298989"/>
                  <a:gd name="connsiteX31" fmla="*/ 273463 w 3182113"/>
                  <a:gd name="connsiteY31" fmla="*/ 115252 h 298989"/>
                  <a:gd name="connsiteX32" fmla="*/ 275559 w 3182113"/>
                  <a:gd name="connsiteY32" fmla="*/ 115252 h 298989"/>
                  <a:gd name="connsiteX33" fmla="*/ 275559 w 3182113"/>
                  <a:gd name="connsiteY33" fmla="*/ 121253 h 298989"/>
                  <a:gd name="connsiteX34" fmla="*/ 298609 w 3182113"/>
                  <a:gd name="connsiteY34" fmla="*/ 121253 h 298989"/>
                  <a:gd name="connsiteX35" fmla="*/ 298609 w 3182113"/>
                  <a:gd name="connsiteY35" fmla="*/ 127349 h 298989"/>
                  <a:gd name="connsiteX36" fmla="*/ 311278 w 3182113"/>
                  <a:gd name="connsiteY36" fmla="*/ 127349 h 298989"/>
                  <a:gd name="connsiteX37" fmla="*/ 311278 w 3182113"/>
                  <a:gd name="connsiteY37" fmla="*/ 133445 h 298989"/>
                  <a:gd name="connsiteX38" fmla="*/ 346996 w 3182113"/>
                  <a:gd name="connsiteY38" fmla="*/ 133445 h 298989"/>
                  <a:gd name="connsiteX39" fmla="*/ 346996 w 3182113"/>
                  <a:gd name="connsiteY39" fmla="*/ 139541 h 298989"/>
                  <a:gd name="connsiteX40" fmla="*/ 462725 w 3182113"/>
                  <a:gd name="connsiteY40" fmla="*/ 139541 h 298989"/>
                  <a:gd name="connsiteX41" fmla="*/ 462725 w 3182113"/>
                  <a:gd name="connsiteY41" fmla="*/ 145542 h 298989"/>
                  <a:gd name="connsiteX42" fmla="*/ 500539 w 3182113"/>
                  <a:gd name="connsiteY42" fmla="*/ 145542 h 298989"/>
                  <a:gd name="connsiteX43" fmla="*/ 500539 w 3182113"/>
                  <a:gd name="connsiteY43" fmla="*/ 151733 h 298989"/>
                  <a:gd name="connsiteX44" fmla="*/ 553117 w 3182113"/>
                  <a:gd name="connsiteY44" fmla="*/ 151733 h 298989"/>
                  <a:gd name="connsiteX45" fmla="*/ 553117 w 3182113"/>
                  <a:gd name="connsiteY45" fmla="*/ 157829 h 298989"/>
                  <a:gd name="connsiteX46" fmla="*/ 572072 w 3182113"/>
                  <a:gd name="connsiteY46" fmla="*/ 157829 h 298989"/>
                  <a:gd name="connsiteX47" fmla="*/ 572072 w 3182113"/>
                  <a:gd name="connsiteY47" fmla="*/ 163925 h 298989"/>
                  <a:gd name="connsiteX48" fmla="*/ 582550 w 3182113"/>
                  <a:gd name="connsiteY48" fmla="*/ 163925 h 298989"/>
                  <a:gd name="connsiteX49" fmla="*/ 582550 w 3182113"/>
                  <a:gd name="connsiteY49" fmla="*/ 170116 h 298989"/>
                  <a:gd name="connsiteX50" fmla="*/ 616268 w 3182113"/>
                  <a:gd name="connsiteY50" fmla="*/ 170116 h 298989"/>
                  <a:gd name="connsiteX51" fmla="*/ 616268 w 3182113"/>
                  <a:gd name="connsiteY51" fmla="*/ 176212 h 298989"/>
                  <a:gd name="connsiteX52" fmla="*/ 622555 w 3182113"/>
                  <a:gd name="connsiteY52" fmla="*/ 176212 h 298989"/>
                  <a:gd name="connsiteX53" fmla="*/ 622555 w 3182113"/>
                  <a:gd name="connsiteY53" fmla="*/ 182308 h 298989"/>
                  <a:gd name="connsiteX54" fmla="*/ 637223 w 3182113"/>
                  <a:gd name="connsiteY54" fmla="*/ 182308 h 298989"/>
                  <a:gd name="connsiteX55" fmla="*/ 637223 w 3182113"/>
                  <a:gd name="connsiteY55" fmla="*/ 188404 h 298989"/>
                  <a:gd name="connsiteX56" fmla="*/ 649891 w 3182113"/>
                  <a:gd name="connsiteY56" fmla="*/ 188404 h 298989"/>
                  <a:gd name="connsiteX57" fmla="*/ 649891 w 3182113"/>
                  <a:gd name="connsiteY57" fmla="*/ 194595 h 298989"/>
                  <a:gd name="connsiteX58" fmla="*/ 675133 w 3182113"/>
                  <a:gd name="connsiteY58" fmla="*/ 194595 h 298989"/>
                  <a:gd name="connsiteX59" fmla="*/ 675133 w 3182113"/>
                  <a:gd name="connsiteY59" fmla="*/ 200691 h 298989"/>
                  <a:gd name="connsiteX60" fmla="*/ 904399 w 3182113"/>
                  <a:gd name="connsiteY60" fmla="*/ 200691 h 298989"/>
                  <a:gd name="connsiteX61" fmla="*/ 904399 w 3182113"/>
                  <a:gd name="connsiteY61" fmla="*/ 206883 h 298989"/>
                  <a:gd name="connsiteX62" fmla="*/ 1017937 w 3182113"/>
                  <a:gd name="connsiteY62" fmla="*/ 206883 h 298989"/>
                  <a:gd name="connsiteX63" fmla="*/ 1017937 w 3182113"/>
                  <a:gd name="connsiteY63" fmla="*/ 213074 h 298989"/>
                  <a:gd name="connsiteX64" fmla="*/ 1287114 w 3182113"/>
                  <a:gd name="connsiteY64" fmla="*/ 213074 h 298989"/>
                  <a:gd name="connsiteX65" fmla="*/ 1287114 w 3182113"/>
                  <a:gd name="connsiteY65" fmla="*/ 219360 h 298989"/>
                  <a:gd name="connsiteX66" fmla="*/ 1360742 w 3182113"/>
                  <a:gd name="connsiteY66" fmla="*/ 219360 h 298989"/>
                  <a:gd name="connsiteX67" fmla="*/ 1360742 w 3182113"/>
                  <a:gd name="connsiteY67" fmla="*/ 225647 h 298989"/>
                  <a:gd name="connsiteX68" fmla="*/ 1440657 w 3182113"/>
                  <a:gd name="connsiteY68" fmla="*/ 225647 h 298989"/>
                  <a:gd name="connsiteX69" fmla="*/ 1440657 w 3182113"/>
                  <a:gd name="connsiteY69" fmla="*/ 231933 h 298989"/>
                  <a:gd name="connsiteX70" fmla="*/ 1602582 w 3182113"/>
                  <a:gd name="connsiteY70" fmla="*/ 231933 h 298989"/>
                  <a:gd name="connsiteX71" fmla="*/ 1602582 w 3182113"/>
                  <a:gd name="connsiteY71" fmla="*/ 238410 h 298989"/>
                  <a:gd name="connsiteX72" fmla="*/ 1619441 w 3182113"/>
                  <a:gd name="connsiteY72" fmla="*/ 238410 h 298989"/>
                  <a:gd name="connsiteX73" fmla="*/ 1619441 w 3182113"/>
                  <a:gd name="connsiteY73" fmla="*/ 244792 h 298989"/>
                  <a:gd name="connsiteX74" fmla="*/ 1737265 w 3182113"/>
                  <a:gd name="connsiteY74" fmla="*/ 244792 h 298989"/>
                  <a:gd name="connsiteX75" fmla="*/ 1737265 w 3182113"/>
                  <a:gd name="connsiteY75" fmla="*/ 251269 h 298989"/>
                  <a:gd name="connsiteX76" fmla="*/ 1829753 w 3182113"/>
                  <a:gd name="connsiteY76" fmla="*/ 251269 h 298989"/>
                  <a:gd name="connsiteX77" fmla="*/ 1829753 w 3182113"/>
                  <a:gd name="connsiteY77" fmla="*/ 257651 h 298989"/>
                  <a:gd name="connsiteX78" fmla="*/ 1848708 w 3182113"/>
                  <a:gd name="connsiteY78" fmla="*/ 257651 h 298989"/>
                  <a:gd name="connsiteX79" fmla="*/ 1848708 w 3182113"/>
                  <a:gd name="connsiteY79" fmla="*/ 264128 h 298989"/>
                  <a:gd name="connsiteX80" fmla="*/ 2702529 w 3182113"/>
                  <a:gd name="connsiteY80" fmla="*/ 264128 h 298989"/>
                  <a:gd name="connsiteX81" fmla="*/ 2702529 w 3182113"/>
                  <a:gd name="connsiteY81" fmla="*/ 298989 h 298989"/>
                  <a:gd name="connsiteX82" fmla="*/ 3182113 w 3182113"/>
                  <a:gd name="connsiteY82" fmla="*/ 298989 h 298989"/>
                  <a:gd name="connsiteX0" fmla="*/ 0 w 3175826"/>
                  <a:gd name="connsiteY0" fmla="*/ 0 h 280797"/>
                  <a:gd name="connsiteX1" fmla="*/ 8477 w 3175826"/>
                  <a:gd name="connsiteY1" fmla="*/ 0 h 280797"/>
                  <a:gd name="connsiteX2" fmla="*/ 8477 w 3175826"/>
                  <a:gd name="connsiteY2" fmla="*/ 6001 h 280797"/>
                  <a:gd name="connsiteX3" fmla="*/ 14764 w 3175826"/>
                  <a:gd name="connsiteY3" fmla="*/ 6001 h 280797"/>
                  <a:gd name="connsiteX4" fmla="*/ 14764 w 3175826"/>
                  <a:gd name="connsiteY4" fmla="*/ 18193 h 280797"/>
                  <a:gd name="connsiteX5" fmla="*/ 16859 w 3175826"/>
                  <a:gd name="connsiteY5" fmla="*/ 18193 h 280797"/>
                  <a:gd name="connsiteX6" fmla="*/ 16859 w 3175826"/>
                  <a:gd name="connsiteY6" fmla="*/ 24289 h 280797"/>
                  <a:gd name="connsiteX7" fmla="*/ 29432 w 3175826"/>
                  <a:gd name="connsiteY7" fmla="*/ 24289 h 280797"/>
                  <a:gd name="connsiteX8" fmla="*/ 29432 w 3175826"/>
                  <a:gd name="connsiteY8" fmla="*/ 30290 h 280797"/>
                  <a:gd name="connsiteX9" fmla="*/ 52578 w 3175826"/>
                  <a:gd name="connsiteY9" fmla="*/ 30290 h 280797"/>
                  <a:gd name="connsiteX10" fmla="*/ 52578 w 3175826"/>
                  <a:gd name="connsiteY10" fmla="*/ 36386 h 280797"/>
                  <a:gd name="connsiteX11" fmla="*/ 58960 w 3175826"/>
                  <a:gd name="connsiteY11" fmla="*/ 36386 h 280797"/>
                  <a:gd name="connsiteX12" fmla="*/ 58960 w 3175826"/>
                  <a:gd name="connsiteY12" fmla="*/ 42482 h 280797"/>
                  <a:gd name="connsiteX13" fmla="*/ 67342 w 3175826"/>
                  <a:gd name="connsiteY13" fmla="*/ 42482 h 280797"/>
                  <a:gd name="connsiteX14" fmla="*/ 67342 w 3175826"/>
                  <a:gd name="connsiteY14" fmla="*/ 48483 h 280797"/>
                  <a:gd name="connsiteX15" fmla="*/ 75724 w 3175826"/>
                  <a:gd name="connsiteY15" fmla="*/ 48483 h 280797"/>
                  <a:gd name="connsiteX16" fmla="*/ 75724 w 3175826"/>
                  <a:gd name="connsiteY16" fmla="*/ 54579 h 280797"/>
                  <a:gd name="connsiteX17" fmla="*/ 79915 w 3175826"/>
                  <a:gd name="connsiteY17" fmla="*/ 54579 h 280797"/>
                  <a:gd name="connsiteX18" fmla="*/ 79915 w 3175826"/>
                  <a:gd name="connsiteY18" fmla="*/ 60675 h 280797"/>
                  <a:gd name="connsiteX19" fmla="*/ 153543 w 3175826"/>
                  <a:gd name="connsiteY19" fmla="*/ 60675 h 280797"/>
                  <a:gd name="connsiteX20" fmla="*/ 153543 w 3175826"/>
                  <a:gd name="connsiteY20" fmla="*/ 66675 h 280797"/>
                  <a:gd name="connsiteX21" fmla="*/ 174593 w 3175826"/>
                  <a:gd name="connsiteY21" fmla="*/ 66675 h 280797"/>
                  <a:gd name="connsiteX22" fmla="*/ 174593 w 3175826"/>
                  <a:gd name="connsiteY22" fmla="*/ 72771 h 280797"/>
                  <a:gd name="connsiteX23" fmla="*/ 180880 w 3175826"/>
                  <a:gd name="connsiteY23" fmla="*/ 72771 h 280797"/>
                  <a:gd name="connsiteX24" fmla="*/ 180880 w 3175826"/>
                  <a:gd name="connsiteY24" fmla="*/ 78867 h 280797"/>
                  <a:gd name="connsiteX25" fmla="*/ 222980 w 3175826"/>
                  <a:gd name="connsiteY25" fmla="*/ 78867 h 280797"/>
                  <a:gd name="connsiteX26" fmla="*/ 222980 w 3175826"/>
                  <a:gd name="connsiteY26" fmla="*/ 84868 h 280797"/>
                  <a:gd name="connsiteX27" fmla="*/ 237649 w 3175826"/>
                  <a:gd name="connsiteY27" fmla="*/ 84868 h 280797"/>
                  <a:gd name="connsiteX28" fmla="*/ 237649 w 3175826"/>
                  <a:gd name="connsiteY28" fmla="*/ 90964 h 280797"/>
                  <a:gd name="connsiteX29" fmla="*/ 267176 w 3175826"/>
                  <a:gd name="connsiteY29" fmla="*/ 90964 h 280797"/>
                  <a:gd name="connsiteX30" fmla="*/ 267176 w 3175826"/>
                  <a:gd name="connsiteY30" fmla="*/ 97060 h 280797"/>
                  <a:gd name="connsiteX31" fmla="*/ 269272 w 3175826"/>
                  <a:gd name="connsiteY31" fmla="*/ 97060 h 280797"/>
                  <a:gd name="connsiteX32" fmla="*/ 269272 w 3175826"/>
                  <a:gd name="connsiteY32" fmla="*/ 103061 h 280797"/>
                  <a:gd name="connsiteX33" fmla="*/ 292322 w 3175826"/>
                  <a:gd name="connsiteY33" fmla="*/ 103061 h 280797"/>
                  <a:gd name="connsiteX34" fmla="*/ 292322 w 3175826"/>
                  <a:gd name="connsiteY34" fmla="*/ 109157 h 280797"/>
                  <a:gd name="connsiteX35" fmla="*/ 304991 w 3175826"/>
                  <a:gd name="connsiteY35" fmla="*/ 109157 h 280797"/>
                  <a:gd name="connsiteX36" fmla="*/ 304991 w 3175826"/>
                  <a:gd name="connsiteY36" fmla="*/ 115253 h 280797"/>
                  <a:gd name="connsiteX37" fmla="*/ 340709 w 3175826"/>
                  <a:gd name="connsiteY37" fmla="*/ 115253 h 280797"/>
                  <a:gd name="connsiteX38" fmla="*/ 340709 w 3175826"/>
                  <a:gd name="connsiteY38" fmla="*/ 121349 h 280797"/>
                  <a:gd name="connsiteX39" fmla="*/ 456438 w 3175826"/>
                  <a:gd name="connsiteY39" fmla="*/ 121349 h 280797"/>
                  <a:gd name="connsiteX40" fmla="*/ 456438 w 3175826"/>
                  <a:gd name="connsiteY40" fmla="*/ 127350 h 280797"/>
                  <a:gd name="connsiteX41" fmla="*/ 494252 w 3175826"/>
                  <a:gd name="connsiteY41" fmla="*/ 127350 h 280797"/>
                  <a:gd name="connsiteX42" fmla="*/ 494252 w 3175826"/>
                  <a:gd name="connsiteY42" fmla="*/ 133541 h 280797"/>
                  <a:gd name="connsiteX43" fmla="*/ 546830 w 3175826"/>
                  <a:gd name="connsiteY43" fmla="*/ 133541 h 280797"/>
                  <a:gd name="connsiteX44" fmla="*/ 546830 w 3175826"/>
                  <a:gd name="connsiteY44" fmla="*/ 139637 h 280797"/>
                  <a:gd name="connsiteX45" fmla="*/ 565785 w 3175826"/>
                  <a:gd name="connsiteY45" fmla="*/ 139637 h 280797"/>
                  <a:gd name="connsiteX46" fmla="*/ 565785 w 3175826"/>
                  <a:gd name="connsiteY46" fmla="*/ 145733 h 280797"/>
                  <a:gd name="connsiteX47" fmla="*/ 576263 w 3175826"/>
                  <a:gd name="connsiteY47" fmla="*/ 145733 h 280797"/>
                  <a:gd name="connsiteX48" fmla="*/ 576263 w 3175826"/>
                  <a:gd name="connsiteY48" fmla="*/ 151924 h 280797"/>
                  <a:gd name="connsiteX49" fmla="*/ 609981 w 3175826"/>
                  <a:gd name="connsiteY49" fmla="*/ 151924 h 280797"/>
                  <a:gd name="connsiteX50" fmla="*/ 609981 w 3175826"/>
                  <a:gd name="connsiteY50" fmla="*/ 158020 h 280797"/>
                  <a:gd name="connsiteX51" fmla="*/ 616268 w 3175826"/>
                  <a:gd name="connsiteY51" fmla="*/ 158020 h 280797"/>
                  <a:gd name="connsiteX52" fmla="*/ 616268 w 3175826"/>
                  <a:gd name="connsiteY52" fmla="*/ 164116 h 280797"/>
                  <a:gd name="connsiteX53" fmla="*/ 630936 w 3175826"/>
                  <a:gd name="connsiteY53" fmla="*/ 164116 h 280797"/>
                  <a:gd name="connsiteX54" fmla="*/ 630936 w 3175826"/>
                  <a:gd name="connsiteY54" fmla="*/ 170212 h 280797"/>
                  <a:gd name="connsiteX55" fmla="*/ 643604 w 3175826"/>
                  <a:gd name="connsiteY55" fmla="*/ 170212 h 280797"/>
                  <a:gd name="connsiteX56" fmla="*/ 643604 w 3175826"/>
                  <a:gd name="connsiteY56" fmla="*/ 176403 h 280797"/>
                  <a:gd name="connsiteX57" fmla="*/ 668846 w 3175826"/>
                  <a:gd name="connsiteY57" fmla="*/ 176403 h 280797"/>
                  <a:gd name="connsiteX58" fmla="*/ 668846 w 3175826"/>
                  <a:gd name="connsiteY58" fmla="*/ 182499 h 280797"/>
                  <a:gd name="connsiteX59" fmla="*/ 898112 w 3175826"/>
                  <a:gd name="connsiteY59" fmla="*/ 182499 h 280797"/>
                  <a:gd name="connsiteX60" fmla="*/ 898112 w 3175826"/>
                  <a:gd name="connsiteY60" fmla="*/ 188691 h 280797"/>
                  <a:gd name="connsiteX61" fmla="*/ 1011650 w 3175826"/>
                  <a:gd name="connsiteY61" fmla="*/ 188691 h 280797"/>
                  <a:gd name="connsiteX62" fmla="*/ 1011650 w 3175826"/>
                  <a:gd name="connsiteY62" fmla="*/ 194882 h 280797"/>
                  <a:gd name="connsiteX63" fmla="*/ 1280827 w 3175826"/>
                  <a:gd name="connsiteY63" fmla="*/ 194882 h 280797"/>
                  <a:gd name="connsiteX64" fmla="*/ 1280827 w 3175826"/>
                  <a:gd name="connsiteY64" fmla="*/ 201168 h 280797"/>
                  <a:gd name="connsiteX65" fmla="*/ 1354455 w 3175826"/>
                  <a:gd name="connsiteY65" fmla="*/ 201168 h 280797"/>
                  <a:gd name="connsiteX66" fmla="*/ 1354455 w 3175826"/>
                  <a:gd name="connsiteY66" fmla="*/ 207455 h 280797"/>
                  <a:gd name="connsiteX67" fmla="*/ 1434370 w 3175826"/>
                  <a:gd name="connsiteY67" fmla="*/ 207455 h 280797"/>
                  <a:gd name="connsiteX68" fmla="*/ 1434370 w 3175826"/>
                  <a:gd name="connsiteY68" fmla="*/ 213741 h 280797"/>
                  <a:gd name="connsiteX69" fmla="*/ 1596295 w 3175826"/>
                  <a:gd name="connsiteY69" fmla="*/ 213741 h 280797"/>
                  <a:gd name="connsiteX70" fmla="*/ 1596295 w 3175826"/>
                  <a:gd name="connsiteY70" fmla="*/ 220218 h 280797"/>
                  <a:gd name="connsiteX71" fmla="*/ 1613154 w 3175826"/>
                  <a:gd name="connsiteY71" fmla="*/ 220218 h 280797"/>
                  <a:gd name="connsiteX72" fmla="*/ 1613154 w 3175826"/>
                  <a:gd name="connsiteY72" fmla="*/ 226600 h 280797"/>
                  <a:gd name="connsiteX73" fmla="*/ 1730978 w 3175826"/>
                  <a:gd name="connsiteY73" fmla="*/ 226600 h 280797"/>
                  <a:gd name="connsiteX74" fmla="*/ 1730978 w 3175826"/>
                  <a:gd name="connsiteY74" fmla="*/ 233077 h 280797"/>
                  <a:gd name="connsiteX75" fmla="*/ 1823466 w 3175826"/>
                  <a:gd name="connsiteY75" fmla="*/ 233077 h 280797"/>
                  <a:gd name="connsiteX76" fmla="*/ 1823466 w 3175826"/>
                  <a:gd name="connsiteY76" fmla="*/ 239459 h 280797"/>
                  <a:gd name="connsiteX77" fmla="*/ 1842421 w 3175826"/>
                  <a:gd name="connsiteY77" fmla="*/ 239459 h 280797"/>
                  <a:gd name="connsiteX78" fmla="*/ 1842421 w 3175826"/>
                  <a:gd name="connsiteY78" fmla="*/ 245936 h 280797"/>
                  <a:gd name="connsiteX79" fmla="*/ 2696242 w 3175826"/>
                  <a:gd name="connsiteY79" fmla="*/ 245936 h 280797"/>
                  <a:gd name="connsiteX80" fmla="*/ 2696242 w 3175826"/>
                  <a:gd name="connsiteY80" fmla="*/ 280797 h 280797"/>
                  <a:gd name="connsiteX81" fmla="*/ 3175826 w 3175826"/>
                  <a:gd name="connsiteY81" fmla="*/ 280797 h 280797"/>
                  <a:gd name="connsiteX0" fmla="*/ 0 w 3175826"/>
                  <a:gd name="connsiteY0" fmla="*/ 0 h 280797"/>
                  <a:gd name="connsiteX1" fmla="*/ 8477 w 3175826"/>
                  <a:gd name="connsiteY1" fmla="*/ 0 h 280797"/>
                  <a:gd name="connsiteX2" fmla="*/ 14764 w 3175826"/>
                  <a:gd name="connsiteY2" fmla="*/ 6001 h 280797"/>
                  <a:gd name="connsiteX3" fmla="*/ 14764 w 3175826"/>
                  <a:gd name="connsiteY3" fmla="*/ 18193 h 280797"/>
                  <a:gd name="connsiteX4" fmla="*/ 16859 w 3175826"/>
                  <a:gd name="connsiteY4" fmla="*/ 18193 h 280797"/>
                  <a:gd name="connsiteX5" fmla="*/ 16859 w 3175826"/>
                  <a:gd name="connsiteY5" fmla="*/ 24289 h 280797"/>
                  <a:gd name="connsiteX6" fmla="*/ 29432 w 3175826"/>
                  <a:gd name="connsiteY6" fmla="*/ 24289 h 280797"/>
                  <a:gd name="connsiteX7" fmla="*/ 29432 w 3175826"/>
                  <a:gd name="connsiteY7" fmla="*/ 30290 h 280797"/>
                  <a:gd name="connsiteX8" fmla="*/ 52578 w 3175826"/>
                  <a:gd name="connsiteY8" fmla="*/ 30290 h 280797"/>
                  <a:gd name="connsiteX9" fmla="*/ 52578 w 3175826"/>
                  <a:gd name="connsiteY9" fmla="*/ 36386 h 280797"/>
                  <a:gd name="connsiteX10" fmla="*/ 58960 w 3175826"/>
                  <a:gd name="connsiteY10" fmla="*/ 36386 h 280797"/>
                  <a:gd name="connsiteX11" fmla="*/ 58960 w 3175826"/>
                  <a:gd name="connsiteY11" fmla="*/ 42482 h 280797"/>
                  <a:gd name="connsiteX12" fmla="*/ 67342 w 3175826"/>
                  <a:gd name="connsiteY12" fmla="*/ 42482 h 280797"/>
                  <a:gd name="connsiteX13" fmla="*/ 67342 w 3175826"/>
                  <a:gd name="connsiteY13" fmla="*/ 48483 h 280797"/>
                  <a:gd name="connsiteX14" fmla="*/ 75724 w 3175826"/>
                  <a:gd name="connsiteY14" fmla="*/ 48483 h 280797"/>
                  <a:gd name="connsiteX15" fmla="*/ 75724 w 3175826"/>
                  <a:gd name="connsiteY15" fmla="*/ 54579 h 280797"/>
                  <a:gd name="connsiteX16" fmla="*/ 79915 w 3175826"/>
                  <a:gd name="connsiteY16" fmla="*/ 54579 h 280797"/>
                  <a:gd name="connsiteX17" fmla="*/ 79915 w 3175826"/>
                  <a:gd name="connsiteY17" fmla="*/ 60675 h 280797"/>
                  <a:gd name="connsiteX18" fmla="*/ 153543 w 3175826"/>
                  <a:gd name="connsiteY18" fmla="*/ 60675 h 280797"/>
                  <a:gd name="connsiteX19" fmla="*/ 153543 w 3175826"/>
                  <a:gd name="connsiteY19" fmla="*/ 66675 h 280797"/>
                  <a:gd name="connsiteX20" fmla="*/ 174593 w 3175826"/>
                  <a:gd name="connsiteY20" fmla="*/ 66675 h 280797"/>
                  <a:gd name="connsiteX21" fmla="*/ 174593 w 3175826"/>
                  <a:gd name="connsiteY21" fmla="*/ 72771 h 280797"/>
                  <a:gd name="connsiteX22" fmla="*/ 180880 w 3175826"/>
                  <a:gd name="connsiteY22" fmla="*/ 72771 h 280797"/>
                  <a:gd name="connsiteX23" fmla="*/ 180880 w 3175826"/>
                  <a:gd name="connsiteY23" fmla="*/ 78867 h 280797"/>
                  <a:gd name="connsiteX24" fmla="*/ 222980 w 3175826"/>
                  <a:gd name="connsiteY24" fmla="*/ 78867 h 280797"/>
                  <a:gd name="connsiteX25" fmla="*/ 222980 w 3175826"/>
                  <a:gd name="connsiteY25" fmla="*/ 84868 h 280797"/>
                  <a:gd name="connsiteX26" fmla="*/ 237649 w 3175826"/>
                  <a:gd name="connsiteY26" fmla="*/ 84868 h 280797"/>
                  <a:gd name="connsiteX27" fmla="*/ 237649 w 3175826"/>
                  <a:gd name="connsiteY27" fmla="*/ 90964 h 280797"/>
                  <a:gd name="connsiteX28" fmla="*/ 267176 w 3175826"/>
                  <a:gd name="connsiteY28" fmla="*/ 90964 h 280797"/>
                  <a:gd name="connsiteX29" fmla="*/ 267176 w 3175826"/>
                  <a:gd name="connsiteY29" fmla="*/ 97060 h 280797"/>
                  <a:gd name="connsiteX30" fmla="*/ 269272 w 3175826"/>
                  <a:gd name="connsiteY30" fmla="*/ 97060 h 280797"/>
                  <a:gd name="connsiteX31" fmla="*/ 269272 w 3175826"/>
                  <a:gd name="connsiteY31" fmla="*/ 103061 h 280797"/>
                  <a:gd name="connsiteX32" fmla="*/ 292322 w 3175826"/>
                  <a:gd name="connsiteY32" fmla="*/ 103061 h 280797"/>
                  <a:gd name="connsiteX33" fmla="*/ 292322 w 3175826"/>
                  <a:gd name="connsiteY33" fmla="*/ 109157 h 280797"/>
                  <a:gd name="connsiteX34" fmla="*/ 304991 w 3175826"/>
                  <a:gd name="connsiteY34" fmla="*/ 109157 h 280797"/>
                  <a:gd name="connsiteX35" fmla="*/ 304991 w 3175826"/>
                  <a:gd name="connsiteY35" fmla="*/ 115253 h 280797"/>
                  <a:gd name="connsiteX36" fmla="*/ 340709 w 3175826"/>
                  <a:gd name="connsiteY36" fmla="*/ 115253 h 280797"/>
                  <a:gd name="connsiteX37" fmla="*/ 340709 w 3175826"/>
                  <a:gd name="connsiteY37" fmla="*/ 121349 h 280797"/>
                  <a:gd name="connsiteX38" fmla="*/ 456438 w 3175826"/>
                  <a:gd name="connsiteY38" fmla="*/ 121349 h 280797"/>
                  <a:gd name="connsiteX39" fmla="*/ 456438 w 3175826"/>
                  <a:gd name="connsiteY39" fmla="*/ 127350 h 280797"/>
                  <a:gd name="connsiteX40" fmla="*/ 494252 w 3175826"/>
                  <a:gd name="connsiteY40" fmla="*/ 127350 h 280797"/>
                  <a:gd name="connsiteX41" fmla="*/ 494252 w 3175826"/>
                  <a:gd name="connsiteY41" fmla="*/ 133541 h 280797"/>
                  <a:gd name="connsiteX42" fmla="*/ 546830 w 3175826"/>
                  <a:gd name="connsiteY42" fmla="*/ 133541 h 280797"/>
                  <a:gd name="connsiteX43" fmla="*/ 546830 w 3175826"/>
                  <a:gd name="connsiteY43" fmla="*/ 139637 h 280797"/>
                  <a:gd name="connsiteX44" fmla="*/ 565785 w 3175826"/>
                  <a:gd name="connsiteY44" fmla="*/ 139637 h 280797"/>
                  <a:gd name="connsiteX45" fmla="*/ 565785 w 3175826"/>
                  <a:gd name="connsiteY45" fmla="*/ 145733 h 280797"/>
                  <a:gd name="connsiteX46" fmla="*/ 576263 w 3175826"/>
                  <a:gd name="connsiteY46" fmla="*/ 145733 h 280797"/>
                  <a:gd name="connsiteX47" fmla="*/ 576263 w 3175826"/>
                  <a:gd name="connsiteY47" fmla="*/ 151924 h 280797"/>
                  <a:gd name="connsiteX48" fmla="*/ 609981 w 3175826"/>
                  <a:gd name="connsiteY48" fmla="*/ 151924 h 280797"/>
                  <a:gd name="connsiteX49" fmla="*/ 609981 w 3175826"/>
                  <a:gd name="connsiteY49" fmla="*/ 158020 h 280797"/>
                  <a:gd name="connsiteX50" fmla="*/ 616268 w 3175826"/>
                  <a:gd name="connsiteY50" fmla="*/ 158020 h 280797"/>
                  <a:gd name="connsiteX51" fmla="*/ 616268 w 3175826"/>
                  <a:gd name="connsiteY51" fmla="*/ 164116 h 280797"/>
                  <a:gd name="connsiteX52" fmla="*/ 630936 w 3175826"/>
                  <a:gd name="connsiteY52" fmla="*/ 164116 h 280797"/>
                  <a:gd name="connsiteX53" fmla="*/ 630936 w 3175826"/>
                  <a:gd name="connsiteY53" fmla="*/ 170212 h 280797"/>
                  <a:gd name="connsiteX54" fmla="*/ 643604 w 3175826"/>
                  <a:gd name="connsiteY54" fmla="*/ 170212 h 280797"/>
                  <a:gd name="connsiteX55" fmla="*/ 643604 w 3175826"/>
                  <a:gd name="connsiteY55" fmla="*/ 176403 h 280797"/>
                  <a:gd name="connsiteX56" fmla="*/ 668846 w 3175826"/>
                  <a:gd name="connsiteY56" fmla="*/ 176403 h 280797"/>
                  <a:gd name="connsiteX57" fmla="*/ 668846 w 3175826"/>
                  <a:gd name="connsiteY57" fmla="*/ 182499 h 280797"/>
                  <a:gd name="connsiteX58" fmla="*/ 898112 w 3175826"/>
                  <a:gd name="connsiteY58" fmla="*/ 182499 h 280797"/>
                  <a:gd name="connsiteX59" fmla="*/ 898112 w 3175826"/>
                  <a:gd name="connsiteY59" fmla="*/ 188691 h 280797"/>
                  <a:gd name="connsiteX60" fmla="*/ 1011650 w 3175826"/>
                  <a:gd name="connsiteY60" fmla="*/ 188691 h 280797"/>
                  <a:gd name="connsiteX61" fmla="*/ 1011650 w 3175826"/>
                  <a:gd name="connsiteY61" fmla="*/ 194882 h 280797"/>
                  <a:gd name="connsiteX62" fmla="*/ 1280827 w 3175826"/>
                  <a:gd name="connsiteY62" fmla="*/ 194882 h 280797"/>
                  <a:gd name="connsiteX63" fmla="*/ 1280827 w 3175826"/>
                  <a:gd name="connsiteY63" fmla="*/ 201168 h 280797"/>
                  <a:gd name="connsiteX64" fmla="*/ 1354455 w 3175826"/>
                  <a:gd name="connsiteY64" fmla="*/ 201168 h 280797"/>
                  <a:gd name="connsiteX65" fmla="*/ 1354455 w 3175826"/>
                  <a:gd name="connsiteY65" fmla="*/ 207455 h 280797"/>
                  <a:gd name="connsiteX66" fmla="*/ 1434370 w 3175826"/>
                  <a:gd name="connsiteY66" fmla="*/ 207455 h 280797"/>
                  <a:gd name="connsiteX67" fmla="*/ 1434370 w 3175826"/>
                  <a:gd name="connsiteY67" fmla="*/ 213741 h 280797"/>
                  <a:gd name="connsiteX68" fmla="*/ 1596295 w 3175826"/>
                  <a:gd name="connsiteY68" fmla="*/ 213741 h 280797"/>
                  <a:gd name="connsiteX69" fmla="*/ 1596295 w 3175826"/>
                  <a:gd name="connsiteY69" fmla="*/ 220218 h 280797"/>
                  <a:gd name="connsiteX70" fmla="*/ 1613154 w 3175826"/>
                  <a:gd name="connsiteY70" fmla="*/ 220218 h 280797"/>
                  <a:gd name="connsiteX71" fmla="*/ 1613154 w 3175826"/>
                  <a:gd name="connsiteY71" fmla="*/ 226600 h 280797"/>
                  <a:gd name="connsiteX72" fmla="*/ 1730978 w 3175826"/>
                  <a:gd name="connsiteY72" fmla="*/ 226600 h 280797"/>
                  <a:gd name="connsiteX73" fmla="*/ 1730978 w 3175826"/>
                  <a:gd name="connsiteY73" fmla="*/ 233077 h 280797"/>
                  <a:gd name="connsiteX74" fmla="*/ 1823466 w 3175826"/>
                  <a:gd name="connsiteY74" fmla="*/ 233077 h 280797"/>
                  <a:gd name="connsiteX75" fmla="*/ 1823466 w 3175826"/>
                  <a:gd name="connsiteY75" fmla="*/ 239459 h 280797"/>
                  <a:gd name="connsiteX76" fmla="*/ 1842421 w 3175826"/>
                  <a:gd name="connsiteY76" fmla="*/ 239459 h 280797"/>
                  <a:gd name="connsiteX77" fmla="*/ 1842421 w 3175826"/>
                  <a:gd name="connsiteY77" fmla="*/ 245936 h 280797"/>
                  <a:gd name="connsiteX78" fmla="*/ 2696242 w 3175826"/>
                  <a:gd name="connsiteY78" fmla="*/ 245936 h 280797"/>
                  <a:gd name="connsiteX79" fmla="*/ 2696242 w 3175826"/>
                  <a:gd name="connsiteY79" fmla="*/ 280797 h 280797"/>
                  <a:gd name="connsiteX80" fmla="*/ 3175826 w 3175826"/>
                  <a:gd name="connsiteY80" fmla="*/ 280797 h 280797"/>
                  <a:gd name="connsiteX0" fmla="*/ 0 w 3175826"/>
                  <a:gd name="connsiteY0" fmla="*/ 0 h 280797"/>
                  <a:gd name="connsiteX1" fmla="*/ 14764 w 3175826"/>
                  <a:gd name="connsiteY1" fmla="*/ 6001 h 280797"/>
                  <a:gd name="connsiteX2" fmla="*/ 14764 w 3175826"/>
                  <a:gd name="connsiteY2" fmla="*/ 18193 h 280797"/>
                  <a:gd name="connsiteX3" fmla="*/ 16859 w 3175826"/>
                  <a:gd name="connsiteY3" fmla="*/ 18193 h 280797"/>
                  <a:gd name="connsiteX4" fmla="*/ 16859 w 3175826"/>
                  <a:gd name="connsiteY4" fmla="*/ 24289 h 280797"/>
                  <a:gd name="connsiteX5" fmla="*/ 29432 w 3175826"/>
                  <a:gd name="connsiteY5" fmla="*/ 24289 h 280797"/>
                  <a:gd name="connsiteX6" fmla="*/ 29432 w 3175826"/>
                  <a:gd name="connsiteY6" fmla="*/ 30290 h 280797"/>
                  <a:gd name="connsiteX7" fmla="*/ 52578 w 3175826"/>
                  <a:gd name="connsiteY7" fmla="*/ 30290 h 280797"/>
                  <a:gd name="connsiteX8" fmla="*/ 52578 w 3175826"/>
                  <a:gd name="connsiteY8" fmla="*/ 36386 h 280797"/>
                  <a:gd name="connsiteX9" fmla="*/ 58960 w 3175826"/>
                  <a:gd name="connsiteY9" fmla="*/ 36386 h 280797"/>
                  <a:gd name="connsiteX10" fmla="*/ 58960 w 3175826"/>
                  <a:gd name="connsiteY10" fmla="*/ 42482 h 280797"/>
                  <a:gd name="connsiteX11" fmla="*/ 67342 w 3175826"/>
                  <a:gd name="connsiteY11" fmla="*/ 42482 h 280797"/>
                  <a:gd name="connsiteX12" fmla="*/ 67342 w 3175826"/>
                  <a:gd name="connsiteY12" fmla="*/ 48483 h 280797"/>
                  <a:gd name="connsiteX13" fmla="*/ 75724 w 3175826"/>
                  <a:gd name="connsiteY13" fmla="*/ 48483 h 280797"/>
                  <a:gd name="connsiteX14" fmla="*/ 75724 w 3175826"/>
                  <a:gd name="connsiteY14" fmla="*/ 54579 h 280797"/>
                  <a:gd name="connsiteX15" fmla="*/ 79915 w 3175826"/>
                  <a:gd name="connsiteY15" fmla="*/ 54579 h 280797"/>
                  <a:gd name="connsiteX16" fmla="*/ 79915 w 3175826"/>
                  <a:gd name="connsiteY16" fmla="*/ 60675 h 280797"/>
                  <a:gd name="connsiteX17" fmla="*/ 153543 w 3175826"/>
                  <a:gd name="connsiteY17" fmla="*/ 60675 h 280797"/>
                  <a:gd name="connsiteX18" fmla="*/ 153543 w 3175826"/>
                  <a:gd name="connsiteY18" fmla="*/ 66675 h 280797"/>
                  <a:gd name="connsiteX19" fmla="*/ 174593 w 3175826"/>
                  <a:gd name="connsiteY19" fmla="*/ 66675 h 280797"/>
                  <a:gd name="connsiteX20" fmla="*/ 174593 w 3175826"/>
                  <a:gd name="connsiteY20" fmla="*/ 72771 h 280797"/>
                  <a:gd name="connsiteX21" fmla="*/ 180880 w 3175826"/>
                  <a:gd name="connsiteY21" fmla="*/ 72771 h 280797"/>
                  <a:gd name="connsiteX22" fmla="*/ 180880 w 3175826"/>
                  <a:gd name="connsiteY22" fmla="*/ 78867 h 280797"/>
                  <a:gd name="connsiteX23" fmla="*/ 222980 w 3175826"/>
                  <a:gd name="connsiteY23" fmla="*/ 78867 h 280797"/>
                  <a:gd name="connsiteX24" fmla="*/ 222980 w 3175826"/>
                  <a:gd name="connsiteY24" fmla="*/ 84868 h 280797"/>
                  <a:gd name="connsiteX25" fmla="*/ 237649 w 3175826"/>
                  <a:gd name="connsiteY25" fmla="*/ 84868 h 280797"/>
                  <a:gd name="connsiteX26" fmla="*/ 237649 w 3175826"/>
                  <a:gd name="connsiteY26" fmla="*/ 90964 h 280797"/>
                  <a:gd name="connsiteX27" fmla="*/ 267176 w 3175826"/>
                  <a:gd name="connsiteY27" fmla="*/ 90964 h 280797"/>
                  <a:gd name="connsiteX28" fmla="*/ 267176 w 3175826"/>
                  <a:gd name="connsiteY28" fmla="*/ 97060 h 280797"/>
                  <a:gd name="connsiteX29" fmla="*/ 269272 w 3175826"/>
                  <a:gd name="connsiteY29" fmla="*/ 97060 h 280797"/>
                  <a:gd name="connsiteX30" fmla="*/ 269272 w 3175826"/>
                  <a:gd name="connsiteY30" fmla="*/ 103061 h 280797"/>
                  <a:gd name="connsiteX31" fmla="*/ 292322 w 3175826"/>
                  <a:gd name="connsiteY31" fmla="*/ 103061 h 280797"/>
                  <a:gd name="connsiteX32" fmla="*/ 292322 w 3175826"/>
                  <a:gd name="connsiteY32" fmla="*/ 109157 h 280797"/>
                  <a:gd name="connsiteX33" fmla="*/ 304991 w 3175826"/>
                  <a:gd name="connsiteY33" fmla="*/ 109157 h 280797"/>
                  <a:gd name="connsiteX34" fmla="*/ 304991 w 3175826"/>
                  <a:gd name="connsiteY34" fmla="*/ 115253 h 280797"/>
                  <a:gd name="connsiteX35" fmla="*/ 340709 w 3175826"/>
                  <a:gd name="connsiteY35" fmla="*/ 115253 h 280797"/>
                  <a:gd name="connsiteX36" fmla="*/ 340709 w 3175826"/>
                  <a:gd name="connsiteY36" fmla="*/ 121349 h 280797"/>
                  <a:gd name="connsiteX37" fmla="*/ 456438 w 3175826"/>
                  <a:gd name="connsiteY37" fmla="*/ 121349 h 280797"/>
                  <a:gd name="connsiteX38" fmla="*/ 456438 w 3175826"/>
                  <a:gd name="connsiteY38" fmla="*/ 127350 h 280797"/>
                  <a:gd name="connsiteX39" fmla="*/ 494252 w 3175826"/>
                  <a:gd name="connsiteY39" fmla="*/ 127350 h 280797"/>
                  <a:gd name="connsiteX40" fmla="*/ 494252 w 3175826"/>
                  <a:gd name="connsiteY40" fmla="*/ 133541 h 280797"/>
                  <a:gd name="connsiteX41" fmla="*/ 546830 w 3175826"/>
                  <a:gd name="connsiteY41" fmla="*/ 133541 h 280797"/>
                  <a:gd name="connsiteX42" fmla="*/ 546830 w 3175826"/>
                  <a:gd name="connsiteY42" fmla="*/ 139637 h 280797"/>
                  <a:gd name="connsiteX43" fmla="*/ 565785 w 3175826"/>
                  <a:gd name="connsiteY43" fmla="*/ 139637 h 280797"/>
                  <a:gd name="connsiteX44" fmla="*/ 565785 w 3175826"/>
                  <a:gd name="connsiteY44" fmla="*/ 145733 h 280797"/>
                  <a:gd name="connsiteX45" fmla="*/ 576263 w 3175826"/>
                  <a:gd name="connsiteY45" fmla="*/ 145733 h 280797"/>
                  <a:gd name="connsiteX46" fmla="*/ 576263 w 3175826"/>
                  <a:gd name="connsiteY46" fmla="*/ 151924 h 280797"/>
                  <a:gd name="connsiteX47" fmla="*/ 609981 w 3175826"/>
                  <a:gd name="connsiteY47" fmla="*/ 151924 h 280797"/>
                  <a:gd name="connsiteX48" fmla="*/ 609981 w 3175826"/>
                  <a:gd name="connsiteY48" fmla="*/ 158020 h 280797"/>
                  <a:gd name="connsiteX49" fmla="*/ 616268 w 3175826"/>
                  <a:gd name="connsiteY49" fmla="*/ 158020 h 280797"/>
                  <a:gd name="connsiteX50" fmla="*/ 616268 w 3175826"/>
                  <a:gd name="connsiteY50" fmla="*/ 164116 h 280797"/>
                  <a:gd name="connsiteX51" fmla="*/ 630936 w 3175826"/>
                  <a:gd name="connsiteY51" fmla="*/ 164116 h 280797"/>
                  <a:gd name="connsiteX52" fmla="*/ 630936 w 3175826"/>
                  <a:gd name="connsiteY52" fmla="*/ 170212 h 280797"/>
                  <a:gd name="connsiteX53" fmla="*/ 643604 w 3175826"/>
                  <a:gd name="connsiteY53" fmla="*/ 170212 h 280797"/>
                  <a:gd name="connsiteX54" fmla="*/ 643604 w 3175826"/>
                  <a:gd name="connsiteY54" fmla="*/ 176403 h 280797"/>
                  <a:gd name="connsiteX55" fmla="*/ 668846 w 3175826"/>
                  <a:gd name="connsiteY55" fmla="*/ 176403 h 280797"/>
                  <a:gd name="connsiteX56" fmla="*/ 668846 w 3175826"/>
                  <a:gd name="connsiteY56" fmla="*/ 182499 h 280797"/>
                  <a:gd name="connsiteX57" fmla="*/ 898112 w 3175826"/>
                  <a:gd name="connsiteY57" fmla="*/ 182499 h 280797"/>
                  <a:gd name="connsiteX58" fmla="*/ 898112 w 3175826"/>
                  <a:gd name="connsiteY58" fmla="*/ 188691 h 280797"/>
                  <a:gd name="connsiteX59" fmla="*/ 1011650 w 3175826"/>
                  <a:gd name="connsiteY59" fmla="*/ 188691 h 280797"/>
                  <a:gd name="connsiteX60" fmla="*/ 1011650 w 3175826"/>
                  <a:gd name="connsiteY60" fmla="*/ 194882 h 280797"/>
                  <a:gd name="connsiteX61" fmla="*/ 1280827 w 3175826"/>
                  <a:gd name="connsiteY61" fmla="*/ 194882 h 280797"/>
                  <a:gd name="connsiteX62" fmla="*/ 1280827 w 3175826"/>
                  <a:gd name="connsiteY62" fmla="*/ 201168 h 280797"/>
                  <a:gd name="connsiteX63" fmla="*/ 1354455 w 3175826"/>
                  <a:gd name="connsiteY63" fmla="*/ 201168 h 280797"/>
                  <a:gd name="connsiteX64" fmla="*/ 1354455 w 3175826"/>
                  <a:gd name="connsiteY64" fmla="*/ 207455 h 280797"/>
                  <a:gd name="connsiteX65" fmla="*/ 1434370 w 3175826"/>
                  <a:gd name="connsiteY65" fmla="*/ 207455 h 280797"/>
                  <a:gd name="connsiteX66" fmla="*/ 1434370 w 3175826"/>
                  <a:gd name="connsiteY66" fmla="*/ 213741 h 280797"/>
                  <a:gd name="connsiteX67" fmla="*/ 1596295 w 3175826"/>
                  <a:gd name="connsiteY67" fmla="*/ 213741 h 280797"/>
                  <a:gd name="connsiteX68" fmla="*/ 1596295 w 3175826"/>
                  <a:gd name="connsiteY68" fmla="*/ 220218 h 280797"/>
                  <a:gd name="connsiteX69" fmla="*/ 1613154 w 3175826"/>
                  <a:gd name="connsiteY69" fmla="*/ 220218 h 280797"/>
                  <a:gd name="connsiteX70" fmla="*/ 1613154 w 3175826"/>
                  <a:gd name="connsiteY70" fmla="*/ 226600 h 280797"/>
                  <a:gd name="connsiteX71" fmla="*/ 1730978 w 3175826"/>
                  <a:gd name="connsiteY71" fmla="*/ 226600 h 280797"/>
                  <a:gd name="connsiteX72" fmla="*/ 1730978 w 3175826"/>
                  <a:gd name="connsiteY72" fmla="*/ 233077 h 280797"/>
                  <a:gd name="connsiteX73" fmla="*/ 1823466 w 3175826"/>
                  <a:gd name="connsiteY73" fmla="*/ 233077 h 280797"/>
                  <a:gd name="connsiteX74" fmla="*/ 1823466 w 3175826"/>
                  <a:gd name="connsiteY74" fmla="*/ 239459 h 280797"/>
                  <a:gd name="connsiteX75" fmla="*/ 1842421 w 3175826"/>
                  <a:gd name="connsiteY75" fmla="*/ 239459 h 280797"/>
                  <a:gd name="connsiteX76" fmla="*/ 1842421 w 3175826"/>
                  <a:gd name="connsiteY76" fmla="*/ 245936 h 280797"/>
                  <a:gd name="connsiteX77" fmla="*/ 2696242 w 3175826"/>
                  <a:gd name="connsiteY77" fmla="*/ 245936 h 280797"/>
                  <a:gd name="connsiteX78" fmla="*/ 2696242 w 3175826"/>
                  <a:gd name="connsiteY78" fmla="*/ 280797 h 280797"/>
                  <a:gd name="connsiteX79" fmla="*/ 3175826 w 3175826"/>
                  <a:gd name="connsiteY79" fmla="*/ 280797 h 280797"/>
                  <a:gd name="connsiteX0" fmla="*/ 0 w 3161062"/>
                  <a:gd name="connsiteY0" fmla="*/ 0 h 274796"/>
                  <a:gd name="connsiteX1" fmla="*/ 0 w 3161062"/>
                  <a:gd name="connsiteY1" fmla="*/ 12192 h 274796"/>
                  <a:gd name="connsiteX2" fmla="*/ 2095 w 3161062"/>
                  <a:gd name="connsiteY2" fmla="*/ 12192 h 274796"/>
                  <a:gd name="connsiteX3" fmla="*/ 2095 w 3161062"/>
                  <a:gd name="connsiteY3" fmla="*/ 18288 h 274796"/>
                  <a:gd name="connsiteX4" fmla="*/ 14668 w 3161062"/>
                  <a:gd name="connsiteY4" fmla="*/ 18288 h 274796"/>
                  <a:gd name="connsiteX5" fmla="*/ 14668 w 3161062"/>
                  <a:gd name="connsiteY5" fmla="*/ 24289 h 274796"/>
                  <a:gd name="connsiteX6" fmla="*/ 37814 w 3161062"/>
                  <a:gd name="connsiteY6" fmla="*/ 24289 h 274796"/>
                  <a:gd name="connsiteX7" fmla="*/ 37814 w 3161062"/>
                  <a:gd name="connsiteY7" fmla="*/ 30385 h 274796"/>
                  <a:gd name="connsiteX8" fmla="*/ 44196 w 3161062"/>
                  <a:gd name="connsiteY8" fmla="*/ 30385 h 274796"/>
                  <a:gd name="connsiteX9" fmla="*/ 44196 w 3161062"/>
                  <a:gd name="connsiteY9" fmla="*/ 36481 h 274796"/>
                  <a:gd name="connsiteX10" fmla="*/ 52578 w 3161062"/>
                  <a:gd name="connsiteY10" fmla="*/ 36481 h 274796"/>
                  <a:gd name="connsiteX11" fmla="*/ 52578 w 3161062"/>
                  <a:gd name="connsiteY11" fmla="*/ 42482 h 274796"/>
                  <a:gd name="connsiteX12" fmla="*/ 60960 w 3161062"/>
                  <a:gd name="connsiteY12" fmla="*/ 42482 h 274796"/>
                  <a:gd name="connsiteX13" fmla="*/ 60960 w 3161062"/>
                  <a:gd name="connsiteY13" fmla="*/ 48578 h 274796"/>
                  <a:gd name="connsiteX14" fmla="*/ 65151 w 3161062"/>
                  <a:gd name="connsiteY14" fmla="*/ 48578 h 274796"/>
                  <a:gd name="connsiteX15" fmla="*/ 65151 w 3161062"/>
                  <a:gd name="connsiteY15" fmla="*/ 54674 h 274796"/>
                  <a:gd name="connsiteX16" fmla="*/ 138779 w 3161062"/>
                  <a:gd name="connsiteY16" fmla="*/ 54674 h 274796"/>
                  <a:gd name="connsiteX17" fmla="*/ 138779 w 3161062"/>
                  <a:gd name="connsiteY17" fmla="*/ 60674 h 274796"/>
                  <a:gd name="connsiteX18" fmla="*/ 159829 w 3161062"/>
                  <a:gd name="connsiteY18" fmla="*/ 60674 h 274796"/>
                  <a:gd name="connsiteX19" fmla="*/ 159829 w 3161062"/>
                  <a:gd name="connsiteY19" fmla="*/ 66770 h 274796"/>
                  <a:gd name="connsiteX20" fmla="*/ 166116 w 3161062"/>
                  <a:gd name="connsiteY20" fmla="*/ 66770 h 274796"/>
                  <a:gd name="connsiteX21" fmla="*/ 166116 w 3161062"/>
                  <a:gd name="connsiteY21" fmla="*/ 72866 h 274796"/>
                  <a:gd name="connsiteX22" fmla="*/ 208216 w 3161062"/>
                  <a:gd name="connsiteY22" fmla="*/ 72866 h 274796"/>
                  <a:gd name="connsiteX23" fmla="*/ 208216 w 3161062"/>
                  <a:gd name="connsiteY23" fmla="*/ 78867 h 274796"/>
                  <a:gd name="connsiteX24" fmla="*/ 222885 w 3161062"/>
                  <a:gd name="connsiteY24" fmla="*/ 78867 h 274796"/>
                  <a:gd name="connsiteX25" fmla="*/ 222885 w 3161062"/>
                  <a:gd name="connsiteY25" fmla="*/ 84963 h 274796"/>
                  <a:gd name="connsiteX26" fmla="*/ 252412 w 3161062"/>
                  <a:gd name="connsiteY26" fmla="*/ 84963 h 274796"/>
                  <a:gd name="connsiteX27" fmla="*/ 252412 w 3161062"/>
                  <a:gd name="connsiteY27" fmla="*/ 91059 h 274796"/>
                  <a:gd name="connsiteX28" fmla="*/ 254508 w 3161062"/>
                  <a:gd name="connsiteY28" fmla="*/ 91059 h 274796"/>
                  <a:gd name="connsiteX29" fmla="*/ 254508 w 3161062"/>
                  <a:gd name="connsiteY29" fmla="*/ 97060 h 274796"/>
                  <a:gd name="connsiteX30" fmla="*/ 277558 w 3161062"/>
                  <a:gd name="connsiteY30" fmla="*/ 97060 h 274796"/>
                  <a:gd name="connsiteX31" fmla="*/ 277558 w 3161062"/>
                  <a:gd name="connsiteY31" fmla="*/ 103156 h 274796"/>
                  <a:gd name="connsiteX32" fmla="*/ 290227 w 3161062"/>
                  <a:gd name="connsiteY32" fmla="*/ 103156 h 274796"/>
                  <a:gd name="connsiteX33" fmla="*/ 290227 w 3161062"/>
                  <a:gd name="connsiteY33" fmla="*/ 109252 h 274796"/>
                  <a:gd name="connsiteX34" fmla="*/ 325945 w 3161062"/>
                  <a:gd name="connsiteY34" fmla="*/ 109252 h 274796"/>
                  <a:gd name="connsiteX35" fmla="*/ 325945 w 3161062"/>
                  <a:gd name="connsiteY35" fmla="*/ 115348 h 274796"/>
                  <a:gd name="connsiteX36" fmla="*/ 441674 w 3161062"/>
                  <a:gd name="connsiteY36" fmla="*/ 115348 h 274796"/>
                  <a:gd name="connsiteX37" fmla="*/ 441674 w 3161062"/>
                  <a:gd name="connsiteY37" fmla="*/ 121349 h 274796"/>
                  <a:gd name="connsiteX38" fmla="*/ 479488 w 3161062"/>
                  <a:gd name="connsiteY38" fmla="*/ 121349 h 274796"/>
                  <a:gd name="connsiteX39" fmla="*/ 479488 w 3161062"/>
                  <a:gd name="connsiteY39" fmla="*/ 127540 h 274796"/>
                  <a:gd name="connsiteX40" fmla="*/ 532066 w 3161062"/>
                  <a:gd name="connsiteY40" fmla="*/ 127540 h 274796"/>
                  <a:gd name="connsiteX41" fmla="*/ 532066 w 3161062"/>
                  <a:gd name="connsiteY41" fmla="*/ 133636 h 274796"/>
                  <a:gd name="connsiteX42" fmla="*/ 551021 w 3161062"/>
                  <a:gd name="connsiteY42" fmla="*/ 133636 h 274796"/>
                  <a:gd name="connsiteX43" fmla="*/ 551021 w 3161062"/>
                  <a:gd name="connsiteY43" fmla="*/ 139732 h 274796"/>
                  <a:gd name="connsiteX44" fmla="*/ 561499 w 3161062"/>
                  <a:gd name="connsiteY44" fmla="*/ 139732 h 274796"/>
                  <a:gd name="connsiteX45" fmla="*/ 561499 w 3161062"/>
                  <a:gd name="connsiteY45" fmla="*/ 145923 h 274796"/>
                  <a:gd name="connsiteX46" fmla="*/ 595217 w 3161062"/>
                  <a:gd name="connsiteY46" fmla="*/ 145923 h 274796"/>
                  <a:gd name="connsiteX47" fmla="*/ 595217 w 3161062"/>
                  <a:gd name="connsiteY47" fmla="*/ 152019 h 274796"/>
                  <a:gd name="connsiteX48" fmla="*/ 601504 w 3161062"/>
                  <a:gd name="connsiteY48" fmla="*/ 152019 h 274796"/>
                  <a:gd name="connsiteX49" fmla="*/ 601504 w 3161062"/>
                  <a:gd name="connsiteY49" fmla="*/ 158115 h 274796"/>
                  <a:gd name="connsiteX50" fmla="*/ 616172 w 3161062"/>
                  <a:gd name="connsiteY50" fmla="*/ 158115 h 274796"/>
                  <a:gd name="connsiteX51" fmla="*/ 616172 w 3161062"/>
                  <a:gd name="connsiteY51" fmla="*/ 164211 h 274796"/>
                  <a:gd name="connsiteX52" fmla="*/ 628840 w 3161062"/>
                  <a:gd name="connsiteY52" fmla="*/ 164211 h 274796"/>
                  <a:gd name="connsiteX53" fmla="*/ 628840 w 3161062"/>
                  <a:gd name="connsiteY53" fmla="*/ 170402 h 274796"/>
                  <a:gd name="connsiteX54" fmla="*/ 654082 w 3161062"/>
                  <a:gd name="connsiteY54" fmla="*/ 170402 h 274796"/>
                  <a:gd name="connsiteX55" fmla="*/ 654082 w 3161062"/>
                  <a:gd name="connsiteY55" fmla="*/ 176498 h 274796"/>
                  <a:gd name="connsiteX56" fmla="*/ 883348 w 3161062"/>
                  <a:gd name="connsiteY56" fmla="*/ 176498 h 274796"/>
                  <a:gd name="connsiteX57" fmla="*/ 883348 w 3161062"/>
                  <a:gd name="connsiteY57" fmla="*/ 182690 h 274796"/>
                  <a:gd name="connsiteX58" fmla="*/ 996886 w 3161062"/>
                  <a:gd name="connsiteY58" fmla="*/ 182690 h 274796"/>
                  <a:gd name="connsiteX59" fmla="*/ 996886 w 3161062"/>
                  <a:gd name="connsiteY59" fmla="*/ 188881 h 274796"/>
                  <a:gd name="connsiteX60" fmla="*/ 1266063 w 3161062"/>
                  <a:gd name="connsiteY60" fmla="*/ 188881 h 274796"/>
                  <a:gd name="connsiteX61" fmla="*/ 1266063 w 3161062"/>
                  <a:gd name="connsiteY61" fmla="*/ 195167 h 274796"/>
                  <a:gd name="connsiteX62" fmla="*/ 1339691 w 3161062"/>
                  <a:gd name="connsiteY62" fmla="*/ 195167 h 274796"/>
                  <a:gd name="connsiteX63" fmla="*/ 1339691 w 3161062"/>
                  <a:gd name="connsiteY63" fmla="*/ 201454 h 274796"/>
                  <a:gd name="connsiteX64" fmla="*/ 1419606 w 3161062"/>
                  <a:gd name="connsiteY64" fmla="*/ 201454 h 274796"/>
                  <a:gd name="connsiteX65" fmla="*/ 1419606 w 3161062"/>
                  <a:gd name="connsiteY65" fmla="*/ 207740 h 274796"/>
                  <a:gd name="connsiteX66" fmla="*/ 1581531 w 3161062"/>
                  <a:gd name="connsiteY66" fmla="*/ 207740 h 274796"/>
                  <a:gd name="connsiteX67" fmla="*/ 1581531 w 3161062"/>
                  <a:gd name="connsiteY67" fmla="*/ 214217 h 274796"/>
                  <a:gd name="connsiteX68" fmla="*/ 1598390 w 3161062"/>
                  <a:gd name="connsiteY68" fmla="*/ 214217 h 274796"/>
                  <a:gd name="connsiteX69" fmla="*/ 1598390 w 3161062"/>
                  <a:gd name="connsiteY69" fmla="*/ 220599 h 274796"/>
                  <a:gd name="connsiteX70" fmla="*/ 1716214 w 3161062"/>
                  <a:gd name="connsiteY70" fmla="*/ 220599 h 274796"/>
                  <a:gd name="connsiteX71" fmla="*/ 1716214 w 3161062"/>
                  <a:gd name="connsiteY71" fmla="*/ 227076 h 274796"/>
                  <a:gd name="connsiteX72" fmla="*/ 1808702 w 3161062"/>
                  <a:gd name="connsiteY72" fmla="*/ 227076 h 274796"/>
                  <a:gd name="connsiteX73" fmla="*/ 1808702 w 3161062"/>
                  <a:gd name="connsiteY73" fmla="*/ 233458 h 274796"/>
                  <a:gd name="connsiteX74" fmla="*/ 1827657 w 3161062"/>
                  <a:gd name="connsiteY74" fmla="*/ 233458 h 274796"/>
                  <a:gd name="connsiteX75" fmla="*/ 1827657 w 3161062"/>
                  <a:gd name="connsiteY75" fmla="*/ 239935 h 274796"/>
                  <a:gd name="connsiteX76" fmla="*/ 2681478 w 3161062"/>
                  <a:gd name="connsiteY76" fmla="*/ 239935 h 274796"/>
                  <a:gd name="connsiteX77" fmla="*/ 2681478 w 3161062"/>
                  <a:gd name="connsiteY77" fmla="*/ 274796 h 274796"/>
                  <a:gd name="connsiteX78" fmla="*/ 3161062 w 3161062"/>
                  <a:gd name="connsiteY78" fmla="*/ 274796 h 274796"/>
                  <a:gd name="connsiteX0" fmla="*/ 0 w 3161062"/>
                  <a:gd name="connsiteY0" fmla="*/ 0 h 262604"/>
                  <a:gd name="connsiteX1" fmla="*/ 2095 w 3161062"/>
                  <a:gd name="connsiteY1" fmla="*/ 0 h 262604"/>
                  <a:gd name="connsiteX2" fmla="*/ 2095 w 3161062"/>
                  <a:gd name="connsiteY2" fmla="*/ 6096 h 262604"/>
                  <a:gd name="connsiteX3" fmla="*/ 14668 w 3161062"/>
                  <a:gd name="connsiteY3" fmla="*/ 6096 h 262604"/>
                  <a:gd name="connsiteX4" fmla="*/ 14668 w 3161062"/>
                  <a:gd name="connsiteY4" fmla="*/ 12097 h 262604"/>
                  <a:gd name="connsiteX5" fmla="*/ 37814 w 3161062"/>
                  <a:gd name="connsiteY5" fmla="*/ 12097 h 262604"/>
                  <a:gd name="connsiteX6" fmla="*/ 37814 w 3161062"/>
                  <a:gd name="connsiteY6" fmla="*/ 18193 h 262604"/>
                  <a:gd name="connsiteX7" fmla="*/ 44196 w 3161062"/>
                  <a:gd name="connsiteY7" fmla="*/ 18193 h 262604"/>
                  <a:gd name="connsiteX8" fmla="*/ 44196 w 3161062"/>
                  <a:gd name="connsiteY8" fmla="*/ 24289 h 262604"/>
                  <a:gd name="connsiteX9" fmla="*/ 52578 w 3161062"/>
                  <a:gd name="connsiteY9" fmla="*/ 24289 h 262604"/>
                  <a:gd name="connsiteX10" fmla="*/ 52578 w 3161062"/>
                  <a:gd name="connsiteY10" fmla="*/ 30290 h 262604"/>
                  <a:gd name="connsiteX11" fmla="*/ 60960 w 3161062"/>
                  <a:gd name="connsiteY11" fmla="*/ 30290 h 262604"/>
                  <a:gd name="connsiteX12" fmla="*/ 60960 w 3161062"/>
                  <a:gd name="connsiteY12" fmla="*/ 36386 h 262604"/>
                  <a:gd name="connsiteX13" fmla="*/ 65151 w 3161062"/>
                  <a:gd name="connsiteY13" fmla="*/ 36386 h 262604"/>
                  <a:gd name="connsiteX14" fmla="*/ 65151 w 3161062"/>
                  <a:gd name="connsiteY14" fmla="*/ 42482 h 262604"/>
                  <a:gd name="connsiteX15" fmla="*/ 138779 w 3161062"/>
                  <a:gd name="connsiteY15" fmla="*/ 42482 h 262604"/>
                  <a:gd name="connsiteX16" fmla="*/ 138779 w 3161062"/>
                  <a:gd name="connsiteY16" fmla="*/ 48482 h 262604"/>
                  <a:gd name="connsiteX17" fmla="*/ 159829 w 3161062"/>
                  <a:gd name="connsiteY17" fmla="*/ 48482 h 262604"/>
                  <a:gd name="connsiteX18" fmla="*/ 159829 w 3161062"/>
                  <a:gd name="connsiteY18" fmla="*/ 54578 h 262604"/>
                  <a:gd name="connsiteX19" fmla="*/ 166116 w 3161062"/>
                  <a:gd name="connsiteY19" fmla="*/ 54578 h 262604"/>
                  <a:gd name="connsiteX20" fmla="*/ 166116 w 3161062"/>
                  <a:gd name="connsiteY20" fmla="*/ 60674 h 262604"/>
                  <a:gd name="connsiteX21" fmla="*/ 208216 w 3161062"/>
                  <a:gd name="connsiteY21" fmla="*/ 60674 h 262604"/>
                  <a:gd name="connsiteX22" fmla="*/ 208216 w 3161062"/>
                  <a:gd name="connsiteY22" fmla="*/ 66675 h 262604"/>
                  <a:gd name="connsiteX23" fmla="*/ 222885 w 3161062"/>
                  <a:gd name="connsiteY23" fmla="*/ 66675 h 262604"/>
                  <a:gd name="connsiteX24" fmla="*/ 222885 w 3161062"/>
                  <a:gd name="connsiteY24" fmla="*/ 72771 h 262604"/>
                  <a:gd name="connsiteX25" fmla="*/ 252412 w 3161062"/>
                  <a:gd name="connsiteY25" fmla="*/ 72771 h 262604"/>
                  <a:gd name="connsiteX26" fmla="*/ 252412 w 3161062"/>
                  <a:gd name="connsiteY26" fmla="*/ 78867 h 262604"/>
                  <a:gd name="connsiteX27" fmla="*/ 254508 w 3161062"/>
                  <a:gd name="connsiteY27" fmla="*/ 78867 h 262604"/>
                  <a:gd name="connsiteX28" fmla="*/ 254508 w 3161062"/>
                  <a:gd name="connsiteY28" fmla="*/ 84868 h 262604"/>
                  <a:gd name="connsiteX29" fmla="*/ 277558 w 3161062"/>
                  <a:gd name="connsiteY29" fmla="*/ 84868 h 262604"/>
                  <a:gd name="connsiteX30" fmla="*/ 277558 w 3161062"/>
                  <a:gd name="connsiteY30" fmla="*/ 90964 h 262604"/>
                  <a:gd name="connsiteX31" fmla="*/ 290227 w 3161062"/>
                  <a:gd name="connsiteY31" fmla="*/ 90964 h 262604"/>
                  <a:gd name="connsiteX32" fmla="*/ 290227 w 3161062"/>
                  <a:gd name="connsiteY32" fmla="*/ 97060 h 262604"/>
                  <a:gd name="connsiteX33" fmla="*/ 325945 w 3161062"/>
                  <a:gd name="connsiteY33" fmla="*/ 97060 h 262604"/>
                  <a:gd name="connsiteX34" fmla="*/ 325945 w 3161062"/>
                  <a:gd name="connsiteY34" fmla="*/ 103156 h 262604"/>
                  <a:gd name="connsiteX35" fmla="*/ 441674 w 3161062"/>
                  <a:gd name="connsiteY35" fmla="*/ 103156 h 262604"/>
                  <a:gd name="connsiteX36" fmla="*/ 441674 w 3161062"/>
                  <a:gd name="connsiteY36" fmla="*/ 109157 h 262604"/>
                  <a:gd name="connsiteX37" fmla="*/ 479488 w 3161062"/>
                  <a:gd name="connsiteY37" fmla="*/ 109157 h 262604"/>
                  <a:gd name="connsiteX38" fmla="*/ 479488 w 3161062"/>
                  <a:gd name="connsiteY38" fmla="*/ 115348 h 262604"/>
                  <a:gd name="connsiteX39" fmla="*/ 532066 w 3161062"/>
                  <a:gd name="connsiteY39" fmla="*/ 115348 h 262604"/>
                  <a:gd name="connsiteX40" fmla="*/ 532066 w 3161062"/>
                  <a:gd name="connsiteY40" fmla="*/ 121444 h 262604"/>
                  <a:gd name="connsiteX41" fmla="*/ 551021 w 3161062"/>
                  <a:gd name="connsiteY41" fmla="*/ 121444 h 262604"/>
                  <a:gd name="connsiteX42" fmla="*/ 551021 w 3161062"/>
                  <a:gd name="connsiteY42" fmla="*/ 127540 h 262604"/>
                  <a:gd name="connsiteX43" fmla="*/ 561499 w 3161062"/>
                  <a:gd name="connsiteY43" fmla="*/ 127540 h 262604"/>
                  <a:gd name="connsiteX44" fmla="*/ 561499 w 3161062"/>
                  <a:gd name="connsiteY44" fmla="*/ 133731 h 262604"/>
                  <a:gd name="connsiteX45" fmla="*/ 595217 w 3161062"/>
                  <a:gd name="connsiteY45" fmla="*/ 133731 h 262604"/>
                  <a:gd name="connsiteX46" fmla="*/ 595217 w 3161062"/>
                  <a:gd name="connsiteY46" fmla="*/ 139827 h 262604"/>
                  <a:gd name="connsiteX47" fmla="*/ 601504 w 3161062"/>
                  <a:gd name="connsiteY47" fmla="*/ 139827 h 262604"/>
                  <a:gd name="connsiteX48" fmla="*/ 601504 w 3161062"/>
                  <a:gd name="connsiteY48" fmla="*/ 145923 h 262604"/>
                  <a:gd name="connsiteX49" fmla="*/ 616172 w 3161062"/>
                  <a:gd name="connsiteY49" fmla="*/ 145923 h 262604"/>
                  <a:gd name="connsiteX50" fmla="*/ 616172 w 3161062"/>
                  <a:gd name="connsiteY50" fmla="*/ 152019 h 262604"/>
                  <a:gd name="connsiteX51" fmla="*/ 628840 w 3161062"/>
                  <a:gd name="connsiteY51" fmla="*/ 152019 h 262604"/>
                  <a:gd name="connsiteX52" fmla="*/ 628840 w 3161062"/>
                  <a:gd name="connsiteY52" fmla="*/ 158210 h 262604"/>
                  <a:gd name="connsiteX53" fmla="*/ 654082 w 3161062"/>
                  <a:gd name="connsiteY53" fmla="*/ 158210 h 262604"/>
                  <a:gd name="connsiteX54" fmla="*/ 654082 w 3161062"/>
                  <a:gd name="connsiteY54" fmla="*/ 164306 h 262604"/>
                  <a:gd name="connsiteX55" fmla="*/ 883348 w 3161062"/>
                  <a:gd name="connsiteY55" fmla="*/ 164306 h 262604"/>
                  <a:gd name="connsiteX56" fmla="*/ 883348 w 3161062"/>
                  <a:gd name="connsiteY56" fmla="*/ 170498 h 262604"/>
                  <a:gd name="connsiteX57" fmla="*/ 996886 w 3161062"/>
                  <a:gd name="connsiteY57" fmla="*/ 170498 h 262604"/>
                  <a:gd name="connsiteX58" fmla="*/ 996886 w 3161062"/>
                  <a:gd name="connsiteY58" fmla="*/ 176689 h 262604"/>
                  <a:gd name="connsiteX59" fmla="*/ 1266063 w 3161062"/>
                  <a:gd name="connsiteY59" fmla="*/ 176689 h 262604"/>
                  <a:gd name="connsiteX60" fmla="*/ 1266063 w 3161062"/>
                  <a:gd name="connsiteY60" fmla="*/ 182975 h 262604"/>
                  <a:gd name="connsiteX61" fmla="*/ 1339691 w 3161062"/>
                  <a:gd name="connsiteY61" fmla="*/ 182975 h 262604"/>
                  <a:gd name="connsiteX62" fmla="*/ 1339691 w 3161062"/>
                  <a:gd name="connsiteY62" fmla="*/ 189262 h 262604"/>
                  <a:gd name="connsiteX63" fmla="*/ 1419606 w 3161062"/>
                  <a:gd name="connsiteY63" fmla="*/ 189262 h 262604"/>
                  <a:gd name="connsiteX64" fmla="*/ 1419606 w 3161062"/>
                  <a:gd name="connsiteY64" fmla="*/ 195548 h 262604"/>
                  <a:gd name="connsiteX65" fmla="*/ 1581531 w 3161062"/>
                  <a:gd name="connsiteY65" fmla="*/ 195548 h 262604"/>
                  <a:gd name="connsiteX66" fmla="*/ 1581531 w 3161062"/>
                  <a:gd name="connsiteY66" fmla="*/ 202025 h 262604"/>
                  <a:gd name="connsiteX67" fmla="*/ 1598390 w 3161062"/>
                  <a:gd name="connsiteY67" fmla="*/ 202025 h 262604"/>
                  <a:gd name="connsiteX68" fmla="*/ 1598390 w 3161062"/>
                  <a:gd name="connsiteY68" fmla="*/ 208407 h 262604"/>
                  <a:gd name="connsiteX69" fmla="*/ 1716214 w 3161062"/>
                  <a:gd name="connsiteY69" fmla="*/ 208407 h 262604"/>
                  <a:gd name="connsiteX70" fmla="*/ 1716214 w 3161062"/>
                  <a:gd name="connsiteY70" fmla="*/ 214884 h 262604"/>
                  <a:gd name="connsiteX71" fmla="*/ 1808702 w 3161062"/>
                  <a:gd name="connsiteY71" fmla="*/ 214884 h 262604"/>
                  <a:gd name="connsiteX72" fmla="*/ 1808702 w 3161062"/>
                  <a:gd name="connsiteY72" fmla="*/ 221266 h 262604"/>
                  <a:gd name="connsiteX73" fmla="*/ 1827657 w 3161062"/>
                  <a:gd name="connsiteY73" fmla="*/ 221266 h 262604"/>
                  <a:gd name="connsiteX74" fmla="*/ 1827657 w 3161062"/>
                  <a:gd name="connsiteY74" fmla="*/ 227743 h 262604"/>
                  <a:gd name="connsiteX75" fmla="*/ 2681478 w 3161062"/>
                  <a:gd name="connsiteY75" fmla="*/ 227743 h 262604"/>
                  <a:gd name="connsiteX76" fmla="*/ 2681478 w 3161062"/>
                  <a:gd name="connsiteY76" fmla="*/ 262604 h 262604"/>
                  <a:gd name="connsiteX77" fmla="*/ 3161062 w 3161062"/>
                  <a:gd name="connsiteY77" fmla="*/ 262604 h 262604"/>
                  <a:gd name="connsiteX0" fmla="*/ 0 w 3161062"/>
                  <a:gd name="connsiteY0" fmla="*/ 0 h 262604"/>
                  <a:gd name="connsiteX1" fmla="*/ 2095 w 3161062"/>
                  <a:gd name="connsiteY1" fmla="*/ 0 h 262604"/>
                  <a:gd name="connsiteX2" fmla="*/ 14668 w 3161062"/>
                  <a:gd name="connsiteY2" fmla="*/ 6096 h 262604"/>
                  <a:gd name="connsiteX3" fmla="*/ 14668 w 3161062"/>
                  <a:gd name="connsiteY3" fmla="*/ 12097 h 262604"/>
                  <a:gd name="connsiteX4" fmla="*/ 37814 w 3161062"/>
                  <a:gd name="connsiteY4" fmla="*/ 12097 h 262604"/>
                  <a:gd name="connsiteX5" fmla="*/ 37814 w 3161062"/>
                  <a:gd name="connsiteY5" fmla="*/ 18193 h 262604"/>
                  <a:gd name="connsiteX6" fmla="*/ 44196 w 3161062"/>
                  <a:gd name="connsiteY6" fmla="*/ 18193 h 262604"/>
                  <a:gd name="connsiteX7" fmla="*/ 44196 w 3161062"/>
                  <a:gd name="connsiteY7" fmla="*/ 24289 h 262604"/>
                  <a:gd name="connsiteX8" fmla="*/ 52578 w 3161062"/>
                  <a:gd name="connsiteY8" fmla="*/ 24289 h 262604"/>
                  <a:gd name="connsiteX9" fmla="*/ 52578 w 3161062"/>
                  <a:gd name="connsiteY9" fmla="*/ 30290 h 262604"/>
                  <a:gd name="connsiteX10" fmla="*/ 60960 w 3161062"/>
                  <a:gd name="connsiteY10" fmla="*/ 30290 h 262604"/>
                  <a:gd name="connsiteX11" fmla="*/ 60960 w 3161062"/>
                  <a:gd name="connsiteY11" fmla="*/ 36386 h 262604"/>
                  <a:gd name="connsiteX12" fmla="*/ 65151 w 3161062"/>
                  <a:gd name="connsiteY12" fmla="*/ 36386 h 262604"/>
                  <a:gd name="connsiteX13" fmla="*/ 65151 w 3161062"/>
                  <a:gd name="connsiteY13" fmla="*/ 42482 h 262604"/>
                  <a:gd name="connsiteX14" fmla="*/ 138779 w 3161062"/>
                  <a:gd name="connsiteY14" fmla="*/ 42482 h 262604"/>
                  <a:gd name="connsiteX15" fmla="*/ 138779 w 3161062"/>
                  <a:gd name="connsiteY15" fmla="*/ 48482 h 262604"/>
                  <a:gd name="connsiteX16" fmla="*/ 159829 w 3161062"/>
                  <a:gd name="connsiteY16" fmla="*/ 48482 h 262604"/>
                  <a:gd name="connsiteX17" fmla="*/ 159829 w 3161062"/>
                  <a:gd name="connsiteY17" fmla="*/ 54578 h 262604"/>
                  <a:gd name="connsiteX18" fmla="*/ 166116 w 3161062"/>
                  <a:gd name="connsiteY18" fmla="*/ 54578 h 262604"/>
                  <a:gd name="connsiteX19" fmla="*/ 166116 w 3161062"/>
                  <a:gd name="connsiteY19" fmla="*/ 60674 h 262604"/>
                  <a:gd name="connsiteX20" fmla="*/ 208216 w 3161062"/>
                  <a:gd name="connsiteY20" fmla="*/ 60674 h 262604"/>
                  <a:gd name="connsiteX21" fmla="*/ 208216 w 3161062"/>
                  <a:gd name="connsiteY21" fmla="*/ 66675 h 262604"/>
                  <a:gd name="connsiteX22" fmla="*/ 222885 w 3161062"/>
                  <a:gd name="connsiteY22" fmla="*/ 66675 h 262604"/>
                  <a:gd name="connsiteX23" fmla="*/ 222885 w 3161062"/>
                  <a:gd name="connsiteY23" fmla="*/ 72771 h 262604"/>
                  <a:gd name="connsiteX24" fmla="*/ 252412 w 3161062"/>
                  <a:gd name="connsiteY24" fmla="*/ 72771 h 262604"/>
                  <a:gd name="connsiteX25" fmla="*/ 252412 w 3161062"/>
                  <a:gd name="connsiteY25" fmla="*/ 78867 h 262604"/>
                  <a:gd name="connsiteX26" fmla="*/ 254508 w 3161062"/>
                  <a:gd name="connsiteY26" fmla="*/ 78867 h 262604"/>
                  <a:gd name="connsiteX27" fmla="*/ 254508 w 3161062"/>
                  <a:gd name="connsiteY27" fmla="*/ 84868 h 262604"/>
                  <a:gd name="connsiteX28" fmla="*/ 277558 w 3161062"/>
                  <a:gd name="connsiteY28" fmla="*/ 84868 h 262604"/>
                  <a:gd name="connsiteX29" fmla="*/ 277558 w 3161062"/>
                  <a:gd name="connsiteY29" fmla="*/ 90964 h 262604"/>
                  <a:gd name="connsiteX30" fmla="*/ 290227 w 3161062"/>
                  <a:gd name="connsiteY30" fmla="*/ 90964 h 262604"/>
                  <a:gd name="connsiteX31" fmla="*/ 290227 w 3161062"/>
                  <a:gd name="connsiteY31" fmla="*/ 97060 h 262604"/>
                  <a:gd name="connsiteX32" fmla="*/ 325945 w 3161062"/>
                  <a:gd name="connsiteY32" fmla="*/ 97060 h 262604"/>
                  <a:gd name="connsiteX33" fmla="*/ 325945 w 3161062"/>
                  <a:gd name="connsiteY33" fmla="*/ 103156 h 262604"/>
                  <a:gd name="connsiteX34" fmla="*/ 441674 w 3161062"/>
                  <a:gd name="connsiteY34" fmla="*/ 103156 h 262604"/>
                  <a:gd name="connsiteX35" fmla="*/ 441674 w 3161062"/>
                  <a:gd name="connsiteY35" fmla="*/ 109157 h 262604"/>
                  <a:gd name="connsiteX36" fmla="*/ 479488 w 3161062"/>
                  <a:gd name="connsiteY36" fmla="*/ 109157 h 262604"/>
                  <a:gd name="connsiteX37" fmla="*/ 479488 w 3161062"/>
                  <a:gd name="connsiteY37" fmla="*/ 115348 h 262604"/>
                  <a:gd name="connsiteX38" fmla="*/ 532066 w 3161062"/>
                  <a:gd name="connsiteY38" fmla="*/ 115348 h 262604"/>
                  <a:gd name="connsiteX39" fmla="*/ 532066 w 3161062"/>
                  <a:gd name="connsiteY39" fmla="*/ 121444 h 262604"/>
                  <a:gd name="connsiteX40" fmla="*/ 551021 w 3161062"/>
                  <a:gd name="connsiteY40" fmla="*/ 121444 h 262604"/>
                  <a:gd name="connsiteX41" fmla="*/ 551021 w 3161062"/>
                  <a:gd name="connsiteY41" fmla="*/ 127540 h 262604"/>
                  <a:gd name="connsiteX42" fmla="*/ 561499 w 3161062"/>
                  <a:gd name="connsiteY42" fmla="*/ 127540 h 262604"/>
                  <a:gd name="connsiteX43" fmla="*/ 561499 w 3161062"/>
                  <a:gd name="connsiteY43" fmla="*/ 133731 h 262604"/>
                  <a:gd name="connsiteX44" fmla="*/ 595217 w 3161062"/>
                  <a:gd name="connsiteY44" fmla="*/ 133731 h 262604"/>
                  <a:gd name="connsiteX45" fmla="*/ 595217 w 3161062"/>
                  <a:gd name="connsiteY45" fmla="*/ 139827 h 262604"/>
                  <a:gd name="connsiteX46" fmla="*/ 601504 w 3161062"/>
                  <a:gd name="connsiteY46" fmla="*/ 139827 h 262604"/>
                  <a:gd name="connsiteX47" fmla="*/ 601504 w 3161062"/>
                  <a:gd name="connsiteY47" fmla="*/ 145923 h 262604"/>
                  <a:gd name="connsiteX48" fmla="*/ 616172 w 3161062"/>
                  <a:gd name="connsiteY48" fmla="*/ 145923 h 262604"/>
                  <a:gd name="connsiteX49" fmla="*/ 616172 w 3161062"/>
                  <a:gd name="connsiteY49" fmla="*/ 152019 h 262604"/>
                  <a:gd name="connsiteX50" fmla="*/ 628840 w 3161062"/>
                  <a:gd name="connsiteY50" fmla="*/ 152019 h 262604"/>
                  <a:gd name="connsiteX51" fmla="*/ 628840 w 3161062"/>
                  <a:gd name="connsiteY51" fmla="*/ 158210 h 262604"/>
                  <a:gd name="connsiteX52" fmla="*/ 654082 w 3161062"/>
                  <a:gd name="connsiteY52" fmla="*/ 158210 h 262604"/>
                  <a:gd name="connsiteX53" fmla="*/ 654082 w 3161062"/>
                  <a:gd name="connsiteY53" fmla="*/ 164306 h 262604"/>
                  <a:gd name="connsiteX54" fmla="*/ 883348 w 3161062"/>
                  <a:gd name="connsiteY54" fmla="*/ 164306 h 262604"/>
                  <a:gd name="connsiteX55" fmla="*/ 883348 w 3161062"/>
                  <a:gd name="connsiteY55" fmla="*/ 170498 h 262604"/>
                  <a:gd name="connsiteX56" fmla="*/ 996886 w 3161062"/>
                  <a:gd name="connsiteY56" fmla="*/ 170498 h 262604"/>
                  <a:gd name="connsiteX57" fmla="*/ 996886 w 3161062"/>
                  <a:gd name="connsiteY57" fmla="*/ 176689 h 262604"/>
                  <a:gd name="connsiteX58" fmla="*/ 1266063 w 3161062"/>
                  <a:gd name="connsiteY58" fmla="*/ 176689 h 262604"/>
                  <a:gd name="connsiteX59" fmla="*/ 1266063 w 3161062"/>
                  <a:gd name="connsiteY59" fmla="*/ 182975 h 262604"/>
                  <a:gd name="connsiteX60" fmla="*/ 1339691 w 3161062"/>
                  <a:gd name="connsiteY60" fmla="*/ 182975 h 262604"/>
                  <a:gd name="connsiteX61" fmla="*/ 1339691 w 3161062"/>
                  <a:gd name="connsiteY61" fmla="*/ 189262 h 262604"/>
                  <a:gd name="connsiteX62" fmla="*/ 1419606 w 3161062"/>
                  <a:gd name="connsiteY62" fmla="*/ 189262 h 262604"/>
                  <a:gd name="connsiteX63" fmla="*/ 1419606 w 3161062"/>
                  <a:gd name="connsiteY63" fmla="*/ 195548 h 262604"/>
                  <a:gd name="connsiteX64" fmla="*/ 1581531 w 3161062"/>
                  <a:gd name="connsiteY64" fmla="*/ 195548 h 262604"/>
                  <a:gd name="connsiteX65" fmla="*/ 1581531 w 3161062"/>
                  <a:gd name="connsiteY65" fmla="*/ 202025 h 262604"/>
                  <a:gd name="connsiteX66" fmla="*/ 1598390 w 3161062"/>
                  <a:gd name="connsiteY66" fmla="*/ 202025 h 262604"/>
                  <a:gd name="connsiteX67" fmla="*/ 1598390 w 3161062"/>
                  <a:gd name="connsiteY67" fmla="*/ 208407 h 262604"/>
                  <a:gd name="connsiteX68" fmla="*/ 1716214 w 3161062"/>
                  <a:gd name="connsiteY68" fmla="*/ 208407 h 262604"/>
                  <a:gd name="connsiteX69" fmla="*/ 1716214 w 3161062"/>
                  <a:gd name="connsiteY69" fmla="*/ 214884 h 262604"/>
                  <a:gd name="connsiteX70" fmla="*/ 1808702 w 3161062"/>
                  <a:gd name="connsiteY70" fmla="*/ 214884 h 262604"/>
                  <a:gd name="connsiteX71" fmla="*/ 1808702 w 3161062"/>
                  <a:gd name="connsiteY71" fmla="*/ 221266 h 262604"/>
                  <a:gd name="connsiteX72" fmla="*/ 1827657 w 3161062"/>
                  <a:gd name="connsiteY72" fmla="*/ 221266 h 262604"/>
                  <a:gd name="connsiteX73" fmla="*/ 1827657 w 3161062"/>
                  <a:gd name="connsiteY73" fmla="*/ 227743 h 262604"/>
                  <a:gd name="connsiteX74" fmla="*/ 2681478 w 3161062"/>
                  <a:gd name="connsiteY74" fmla="*/ 227743 h 262604"/>
                  <a:gd name="connsiteX75" fmla="*/ 2681478 w 3161062"/>
                  <a:gd name="connsiteY75" fmla="*/ 262604 h 262604"/>
                  <a:gd name="connsiteX76" fmla="*/ 3161062 w 3161062"/>
                  <a:gd name="connsiteY76" fmla="*/ 262604 h 262604"/>
                  <a:gd name="connsiteX0" fmla="*/ 0 w 3161062"/>
                  <a:gd name="connsiteY0" fmla="*/ 0 h 262604"/>
                  <a:gd name="connsiteX1" fmla="*/ 14668 w 3161062"/>
                  <a:gd name="connsiteY1" fmla="*/ 6096 h 262604"/>
                  <a:gd name="connsiteX2" fmla="*/ 14668 w 3161062"/>
                  <a:gd name="connsiteY2" fmla="*/ 12097 h 262604"/>
                  <a:gd name="connsiteX3" fmla="*/ 37814 w 3161062"/>
                  <a:gd name="connsiteY3" fmla="*/ 12097 h 262604"/>
                  <a:gd name="connsiteX4" fmla="*/ 37814 w 3161062"/>
                  <a:gd name="connsiteY4" fmla="*/ 18193 h 262604"/>
                  <a:gd name="connsiteX5" fmla="*/ 44196 w 3161062"/>
                  <a:gd name="connsiteY5" fmla="*/ 18193 h 262604"/>
                  <a:gd name="connsiteX6" fmla="*/ 44196 w 3161062"/>
                  <a:gd name="connsiteY6" fmla="*/ 24289 h 262604"/>
                  <a:gd name="connsiteX7" fmla="*/ 52578 w 3161062"/>
                  <a:gd name="connsiteY7" fmla="*/ 24289 h 262604"/>
                  <a:gd name="connsiteX8" fmla="*/ 52578 w 3161062"/>
                  <a:gd name="connsiteY8" fmla="*/ 30290 h 262604"/>
                  <a:gd name="connsiteX9" fmla="*/ 60960 w 3161062"/>
                  <a:gd name="connsiteY9" fmla="*/ 30290 h 262604"/>
                  <a:gd name="connsiteX10" fmla="*/ 60960 w 3161062"/>
                  <a:gd name="connsiteY10" fmla="*/ 36386 h 262604"/>
                  <a:gd name="connsiteX11" fmla="*/ 65151 w 3161062"/>
                  <a:gd name="connsiteY11" fmla="*/ 36386 h 262604"/>
                  <a:gd name="connsiteX12" fmla="*/ 65151 w 3161062"/>
                  <a:gd name="connsiteY12" fmla="*/ 42482 h 262604"/>
                  <a:gd name="connsiteX13" fmla="*/ 138779 w 3161062"/>
                  <a:gd name="connsiteY13" fmla="*/ 42482 h 262604"/>
                  <a:gd name="connsiteX14" fmla="*/ 138779 w 3161062"/>
                  <a:gd name="connsiteY14" fmla="*/ 48482 h 262604"/>
                  <a:gd name="connsiteX15" fmla="*/ 159829 w 3161062"/>
                  <a:gd name="connsiteY15" fmla="*/ 48482 h 262604"/>
                  <a:gd name="connsiteX16" fmla="*/ 159829 w 3161062"/>
                  <a:gd name="connsiteY16" fmla="*/ 54578 h 262604"/>
                  <a:gd name="connsiteX17" fmla="*/ 166116 w 3161062"/>
                  <a:gd name="connsiteY17" fmla="*/ 54578 h 262604"/>
                  <a:gd name="connsiteX18" fmla="*/ 166116 w 3161062"/>
                  <a:gd name="connsiteY18" fmla="*/ 60674 h 262604"/>
                  <a:gd name="connsiteX19" fmla="*/ 208216 w 3161062"/>
                  <a:gd name="connsiteY19" fmla="*/ 60674 h 262604"/>
                  <a:gd name="connsiteX20" fmla="*/ 208216 w 3161062"/>
                  <a:gd name="connsiteY20" fmla="*/ 66675 h 262604"/>
                  <a:gd name="connsiteX21" fmla="*/ 222885 w 3161062"/>
                  <a:gd name="connsiteY21" fmla="*/ 66675 h 262604"/>
                  <a:gd name="connsiteX22" fmla="*/ 222885 w 3161062"/>
                  <a:gd name="connsiteY22" fmla="*/ 72771 h 262604"/>
                  <a:gd name="connsiteX23" fmla="*/ 252412 w 3161062"/>
                  <a:gd name="connsiteY23" fmla="*/ 72771 h 262604"/>
                  <a:gd name="connsiteX24" fmla="*/ 252412 w 3161062"/>
                  <a:gd name="connsiteY24" fmla="*/ 78867 h 262604"/>
                  <a:gd name="connsiteX25" fmla="*/ 254508 w 3161062"/>
                  <a:gd name="connsiteY25" fmla="*/ 78867 h 262604"/>
                  <a:gd name="connsiteX26" fmla="*/ 254508 w 3161062"/>
                  <a:gd name="connsiteY26" fmla="*/ 84868 h 262604"/>
                  <a:gd name="connsiteX27" fmla="*/ 277558 w 3161062"/>
                  <a:gd name="connsiteY27" fmla="*/ 84868 h 262604"/>
                  <a:gd name="connsiteX28" fmla="*/ 277558 w 3161062"/>
                  <a:gd name="connsiteY28" fmla="*/ 90964 h 262604"/>
                  <a:gd name="connsiteX29" fmla="*/ 290227 w 3161062"/>
                  <a:gd name="connsiteY29" fmla="*/ 90964 h 262604"/>
                  <a:gd name="connsiteX30" fmla="*/ 290227 w 3161062"/>
                  <a:gd name="connsiteY30" fmla="*/ 97060 h 262604"/>
                  <a:gd name="connsiteX31" fmla="*/ 325945 w 3161062"/>
                  <a:gd name="connsiteY31" fmla="*/ 97060 h 262604"/>
                  <a:gd name="connsiteX32" fmla="*/ 325945 w 3161062"/>
                  <a:gd name="connsiteY32" fmla="*/ 103156 h 262604"/>
                  <a:gd name="connsiteX33" fmla="*/ 441674 w 3161062"/>
                  <a:gd name="connsiteY33" fmla="*/ 103156 h 262604"/>
                  <a:gd name="connsiteX34" fmla="*/ 441674 w 3161062"/>
                  <a:gd name="connsiteY34" fmla="*/ 109157 h 262604"/>
                  <a:gd name="connsiteX35" fmla="*/ 479488 w 3161062"/>
                  <a:gd name="connsiteY35" fmla="*/ 109157 h 262604"/>
                  <a:gd name="connsiteX36" fmla="*/ 479488 w 3161062"/>
                  <a:gd name="connsiteY36" fmla="*/ 115348 h 262604"/>
                  <a:gd name="connsiteX37" fmla="*/ 532066 w 3161062"/>
                  <a:gd name="connsiteY37" fmla="*/ 115348 h 262604"/>
                  <a:gd name="connsiteX38" fmla="*/ 532066 w 3161062"/>
                  <a:gd name="connsiteY38" fmla="*/ 121444 h 262604"/>
                  <a:gd name="connsiteX39" fmla="*/ 551021 w 3161062"/>
                  <a:gd name="connsiteY39" fmla="*/ 121444 h 262604"/>
                  <a:gd name="connsiteX40" fmla="*/ 551021 w 3161062"/>
                  <a:gd name="connsiteY40" fmla="*/ 127540 h 262604"/>
                  <a:gd name="connsiteX41" fmla="*/ 561499 w 3161062"/>
                  <a:gd name="connsiteY41" fmla="*/ 127540 h 262604"/>
                  <a:gd name="connsiteX42" fmla="*/ 561499 w 3161062"/>
                  <a:gd name="connsiteY42" fmla="*/ 133731 h 262604"/>
                  <a:gd name="connsiteX43" fmla="*/ 595217 w 3161062"/>
                  <a:gd name="connsiteY43" fmla="*/ 133731 h 262604"/>
                  <a:gd name="connsiteX44" fmla="*/ 595217 w 3161062"/>
                  <a:gd name="connsiteY44" fmla="*/ 139827 h 262604"/>
                  <a:gd name="connsiteX45" fmla="*/ 601504 w 3161062"/>
                  <a:gd name="connsiteY45" fmla="*/ 139827 h 262604"/>
                  <a:gd name="connsiteX46" fmla="*/ 601504 w 3161062"/>
                  <a:gd name="connsiteY46" fmla="*/ 145923 h 262604"/>
                  <a:gd name="connsiteX47" fmla="*/ 616172 w 3161062"/>
                  <a:gd name="connsiteY47" fmla="*/ 145923 h 262604"/>
                  <a:gd name="connsiteX48" fmla="*/ 616172 w 3161062"/>
                  <a:gd name="connsiteY48" fmla="*/ 152019 h 262604"/>
                  <a:gd name="connsiteX49" fmla="*/ 628840 w 3161062"/>
                  <a:gd name="connsiteY49" fmla="*/ 152019 h 262604"/>
                  <a:gd name="connsiteX50" fmla="*/ 628840 w 3161062"/>
                  <a:gd name="connsiteY50" fmla="*/ 158210 h 262604"/>
                  <a:gd name="connsiteX51" fmla="*/ 654082 w 3161062"/>
                  <a:gd name="connsiteY51" fmla="*/ 158210 h 262604"/>
                  <a:gd name="connsiteX52" fmla="*/ 654082 w 3161062"/>
                  <a:gd name="connsiteY52" fmla="*/ 164306 h 262604"/>
                  <a:gd name="connsiteX53" fmla="*/ 883348 w 3161062"/>
                  <a:gd name="connsiteY53" fmla="*/ 164306 h 262604"/>
                  <a:gd name="connsiteX54" fmla="*/ 883348 w 3161062"/>
                  <a:gd name="connsiteY54" fmla="*/ 170498 h 262604"/>
                  <a:gd name="connsiteX55" fmla="*/ 996886 w 3161062"/>
                  <a:gd name="connsiteY55" fmla="*/ 170498 h 262604"/>
                  <a:gd name="connsiteX56" fmla="*/ 996886 w 3161062"/>
                  <a:gd name="connsiteY56" fmla="*/ 176689 h 262604"/>
                  <a:gd name="connsiteX57" fmla="*/ 1266063 w 3161062"/>
                  <a:gd name="connsiteY57" fmla="*/ 176689 h 262604"/>
                  <a:gd name="connsiteX58" fmla="*/ 1266063 w 3161062"/>
                  <a:gd name="connsiteY58" fmla="*/ 182975 h 262604"/>
                  <a:gd name="connsiteX59" fmla="*/ 1339691 w 3161062"/>
                  <a:gd name="connsiteY59" fmla="*/ 182975 h 262604"/>
                  <a:gd name="connsiteX60" fmla="*/ 1339691 w 3161062"/>
                  <a:gd name="connsiteY60" fmla="*/ 189262 h 262604"/>
                  <a:gd name="connsiteX61" fmla="*/ 1419606 w 3161062"/>
                  <a:gd name="connsiteY61" fmla="*/ 189262 h 262604"/>
                  <a:gd name="connsiteX62" fmla="*/ 1419606 w 3161062"/>
                  <a:gd name="connsiteY62" fmla="*/ 195548 h 262604"/>
                  <a:gd name="connsiteX63" fmla="*/ 1581531 w 3161062"/>
                  <a:gd name="connsiteY63" fmla="*/ 195548 h 262604"/>
                  <a:gd name="connsiteX64" fmla="*/ 1581531 w 3161062"/>
                  <a:gd name="connsiteY64" fmla="*/ 202025 h 262604"/>
                  <a:gd name="connsiteX65" fmla="*/ 1598390 w 3161062"/>
                  <a:gd name="connsiteY65" fmla="*/ 202025 h 262604"/>
                  <a:gd name="connsiteX66" fmla="*/ 1598390 w 3161062"/>
                  <a:gd name="connsiteY66" fmla="*/ 208407 h 262604"/>
                  <a:gd name="connsiteX67" fmla="*/ 1716214 w 3161062"/>
                  <a:gd name="connsiteY67" fmla="*/ 208407 h 262604"/>
                  <a:gd name="connsiteX68" fmla="*/ 1716214 w 3161062"/>
                  <a:gd name="connsiteY68" fmla="*/ 214884 h 262604"/>
                  <a:gd name="connsiteX69" fmla="*/ 1808702 w 3161062"/>
                  <a:gd name="connsiteY69" fmla="*/ 214884 h 262604"/>
                  <a:gd name="connsiteX70" fmla="*/ 1808702 w 3161062"/>
                  <a:gd name="connsiteY70" fmla="*/ 221266 h 262604"/>
                  <a:gd name="connsiteX71" fmla="*/ 1827657 w 3161062"/>
                  <a:gd name="connsiteY71" fmla="*/ 221266 h 262604"/>
                  <a:gd name="connsiteX72" fmla="*/ 1827657 w 3161062"/>
                  <a:gd name="connsiteY72" fmla="*/ 227743 h 262604"/>
                  <a:gd name="connsiteX73" fmla="*/ 2681478 w 3161062"/>
                  <a:gd name="connsiteY73" fmla="*/ 227743 h 262604"/>
                  <a:gd name="connsiteX74" fmla="*/ 2681478 w 3161062"/>
                  <a:gd name="connsiteY74" fmla="*/ 262604 h 262604"/>
                  <a:gd name="connsiteX75" fmla="*/ 3161062 w 3161062"/>
                  <a:gd name="connsiteY75" fmla="*/ 262604 h 262604"/>
                  <a:gd name="connsiteX0" fmla="*/ 0 w 3161062"/>
                  <a:gd name="connsiteY0" fmla="*/ 0 h 262604"/>
                  <a:gd name="connsiteX1" fmla="*/ 14668 w 3161062"/>
                  <a:gd name="connsiteY1" fmla="*/ 12097 h 262604"/>
                  <a:gd name="connsiteX2" fmla="*/ 37814 w 3161062"/>
                  <a:gd name="connsiteY2" fmla="*/ 12097 h 262604"/>
                  <a:gd name="connsiteX3" fmla="*/ 37814 w 3161062"/>
                  <a:gd name="connsiteY3" fmla="*/ 18193 h 262604"/>
                  <a:gd name="connsiteX4" fmla="*/ 44196 w 3161062"/>
                  <a:gd name="connsiteY4" fmla="*/ 18193 h 262604"/>
                  <a:gd name="connsiteX5" fmla="*/ 44196 w 3161062"/>
                  <a:gd name="connsiteY5" fmla="*/ 24289 h 262604"/>
                  <a:gd name="connsiteX6" fmla="*/ 52578 w 3161062"/>
                  <a:gd name="connsiteY6" fmla="*/ 24289 h 262604"/>
                  <a:gd name="connsiteX7" fmla="*/ 52578 w 3161062"/>
                  <a:gd name="connsiteY7" fmla="*/ 30290 h 262604"/>
                  <a:gd name="connsiteX8" fmla="*/ 60960 w 3161062"/>
                  <a:gd name="connsiteY8" fmla="*/ 30290 h 262604"/>
                  <a:gd name="connsiteX9" fmla="*/ 60960 w 3161062"/>
                  <a:gd name="connsiteY9" fmla="*/ 36386 h 262604"/>
                  <a:gd name="connsiteX10" fmla="*/ 65151 w 3161062"/>
                  <a:gd name="connsiteY10" fmla="*/ 36386 h 262604"/>
                  <a:gd name="connsiteX11" fmla="*/ 65151 w 3161062"/>
                  <a:gd name="connsiteY11" fmla="*/ 42482 h 262604"/>
                  <a:gd name="connsiteX12" fmla="*/ 138779 w 3161062"/>
                  <a:gd name="connsiteY12" fmla="*/ 42482 h 262604"/>
                  <a:gd name="connsiteX13" fmla="*/ 138779 w 3161062"/>
                  <a:gd name="connsiteY13" fmla="*/ 48482 h 262604"/>
                  <a:gd name="connsiteX14" fmla="*/ 159829 w 3161062"/>
                  <a:gd name="connsiteY14" fmla="*/ 48482 h 262604"/>
                  <a:gd name="connsiteX15" fmla="*/ 159829 w 3161062"/>
                  <a:gd name="connsiteY15" fmla="*/ 54578 h 262604"/>
                  <a:gd name="connsiteX16" fmla="*/ 166116 w 3161062"/>
                  <a:gd name="connsiteY16" fmla="*/ 54578 h 262604"/>
                  <a:gd name="connsiteX17" fmla="*/ 166116 w 3161062"/>
                  <a:gd name="connsiteY17" fmla="*/ 60674 h 262604"/>
                  <a:gd name="connsiteX18" fmla="*/ 208216 w 3161062"/>
                  <a:gd name="connsiteY18" fmla="*/ 60674 h 262604"/>
                  <a:gd name="connsiteX19" fmla="*/ 208216 w 3161062"/>
                  <a:gd name="connsiteY19" fmla="*/ 66675 h 262604"/>
                  <a:gd name="connsiteX20" fmla="*/ 222885 w 3161062"/>
                  <a:gd name="connsiteY20" fmla="*/ 66675 h 262604"/>
                  <a:gd name="connsiteX21" fmla="*/ 222885 w 3161062"/>
                  <a:gd name="connsiteY21" fmla="*/ 72771 h 262604"/>
                  <a:gd name="connsiteX22" fmla="*/ 252412 w 3161062"/>
                  <a:gd name="connsiteY22" fmla="*/ 72771 h 262604"/>
                  <a:gd name="connsiteX23" fmla="*/ 252412 w 3161062"/>
                  <a:gd name="connsiteY23" fmla="*/ 78867 h 262604"/>
                  <a:gd name="connsiteX24" fmla="*/ 254508 w 3161062"/>
                  <a:gd name="connsiteY24" fmla="*/ 78867 h 262604"/>
                  <a:gd name="connsiteX25" fmla="*/ 254508 w 3161062"/>
                  <a:gd name="connsiteY25" fmla="*/ 84868 h 262604"/>
                  <a:gd name="connsiteX26" fmla="*/ 277558 w 3161062"/>
                  <a:gd name="connsiteY26" fmla="*/ 84868 h 262604"/>
                  <a:gd name="connsiteX27" fmla="*/ 277558 w 3161062"/>
                  <a:gd name="connsiteY27" fmla="*/ 90964 h 262604"/>
                  <a:gd name="connsiteX28" fmla="*/ 290227 w 3161062"/>
                  <a:gd name="connsiteY28" fmla="*/ 90964 h 262604"/>
                  <a:gd name="connsiteX29" fmla="*/ 290227 w 3161062"/>
                  <a:gd name="connsiteY29" fmla="*/ 97060 h 262604"/>
                  <a:gd name="connsiteX30" fmla="*/ 325945 w 3161062"/>
                  <a:gd name="connsiteY30" fmla="*/ 97060 h 262604"/>
                  <a:gd name="connsiteX31" fmla="*/ 325945 w 3161062"/>
                  <a:gd name="connsiteY31" fmla="*/ 103156 h 262604"/>
                  <a:gd name="connsiteX32" fmla="*/ 441674 w 3161062"/>
                  <a:gd name="connsiteY32" fmla="*/ 103156 h 262604"/>
                  <a:gd name="connsiteX33" fmla="*/ 441674 w 3161062"/>
                  <a:gd name="connsiteY33" fmla="*/ 109157 h 262604"/>
                  <a:gd name="connsiteX34" fmla="*/ 479488 w 3161062"/>
                  <a:gd name="connsiteY34" fmla="*/ 109157 h 262604"/>
                  <a:gd name="connsiteX35" fmla="*/ 479488 w 3161062"/>
                  <a:gd name="connsiteY35" fmla="*/ 115348 h 262604"/>
                  <a:gd name="connsiteX36" fmla="*/ 532066 w 3161062"/>
                  <a:gd name="connsiteY36" fmla="*/ 115348 h 262604"/>
                  <a:gd name="connsiteX37" fmla="*/ 532066 w 3161062"/>
                  <a:gd name="connsiteY37" fmla="*/ 121444 h 262604"/>
                  <a:gd name="connsiteX38" fmla="*/ 551021 w 3161062"/>
                  <a:gd name="connsiteY38" fmla="*/ 121444 h 262604"/>
                  <a:gd name="connsiteX39" fmla="*/ 551021 w 3161062"/>
                  <a:gd name="connsiteY39" fmla="*/ 127540 h 262604"/>
                  <a:gd name="connsiteX40" fmla="*/ 561499 w 3161062"/>
                  <a:gd name="connsiteY40" fmla="*/ 127540 h 262604"/>
                  <a:gd name="connsiteX41" fmla="*/ 561499 w 3161062"/>
                  <a:gd name="connsiteY41" fmla="*/ 133731 h 262604"/>
                  <a:gd name="connsiteX42" fmla="*/ 595217 w 3161062"/>
                  <a:gd name="connsiteY42" fmla="*/ 133731 h 262604"/>
                  <a:gd name="connsiteX43" fmla="*/ 595217 w 3161062"/>
                  <a:gd name="connsiteY43" fmla="*/ 139827 h 262604"/>
                  <a:gd name="connsiteX44" fmla="*/ 601504 w 3161062"/>
                  <a:gd name="connsiteY44" fmla="*/ 139827 h 262604"/>
                  <a:gd name="connsiteX45" fmla="*/ 601504 w 3161062"/>
                  <a:gd name="connsiteY45" fmla="*/ 145923 h 262604"/>
                  <a:gd name="connsiteX46" fmla="*/ 616172 w 3161062"/>
                  <a:gd name="connsiteY46" fmla="*/ 145923 h 262604"/>
                  <a:gd name="connsiteX47" fmla="*/ 616172 w 3161062"/>
                  <a:gd name="connsiteY47" fmla="*/ 152019 h 262604"/>
                  <a:gd name="connsiteX48" fmla="*/ 628840 w 3161062"/>
                  <a:gd name="connsiteY48" fmla="*/ 152019 h 262604"/>
                  <a:gd name="connsiteX49" fmla="*/ 628840 w 3161062"/>
                  <a:gd name="connsiteY49" fmla="*/ 158210 h 262604"/>
                  <a:gd name="connsiteX50" fmla="*/ 654082 w 3161062"/>
                  <a:gd name="connsiteY50" fmla="*/ 158210 h 262604"/>
                  <a:gd name="connsiteX51" fmla="*/ 654082 w 3161062"/>
                  <a:gd name="connsiteY51" fmla="*/ 164306 h 262604"/>
                  <a:gd name="connsiteX52" fmla="*/ 883348 w 3161062"/>
                  <a:gd name="connsiteY52" fmla="*/ 164306 h 262604"/>
                  <a:gd name="connsiteX53" fmla="*/ 883348 w 3161062"/>
                  <a:gd name="connsiteY53" fmla="*/ 170498 h 262604"/>
                  <a:gd name="connsiteX54" fmla="*/ 996886 w 3161062"/>
                  <a:gd name="connsiteY54" fmla="*/ 170498 h 262604"/>
                  <a:gd name="connsiteX55" fmla="*/ 996886 w 3161062"/>
                  <a:gd name="connsiteY55" fmla="*/ 176689 h 262604"/>
                  <a:gd name="connsiteX56" fmla="*/ 1266063 w 3161062"/>
                  <a:gd name="connsiteY56" fmla="*/ 176689 h 262604"/>
                  <a:gd name="connsiteX57" fmla="*/ 1266063 w 3161062"/>
                  <a:gd name="connsiteY57" fmla="*/ 182975 h 262604"/>
                  <a:gd name="connsiteX58" fmla="*/ 1339691 w 3161062"/>
                  <a:gd name="connsiteY58" fmla="*/ 182975 h 262604"/>
                  <a:gd name="connsiteX59" fmla="*/ 1339691 w 3161062"/>
                  <a:gd name="connsiteY59" fmla="*/ 189262 h 262604"/>
                  <a:gd name="connsiteX60" fmla="*/ 1419606 w 3161062"/>
                  <a:gd name="connsiteY60" fmla="*/ 189262 h 262604"/>
                  <a:gd name="connsiteX61" fmla="*/ 1419606 w 3161062"/>
                  <a:gd name="connsiteY61" fmla="*/ 195548 h 262604"/>
                  <a:gd name="connsiteX62" fmla="*/ 1581531 w 3161062"/>
                  <a:gd name="connsiteY62" fmla="*/ 195548 h 262604"/>
                  <a:gd name="connsiteX63" fmla="*/ 1581531 w 3161062"/>
                  <a:gd name="connsiteY63" fmla="*/ 202025 h 262604"/>
                  <a:gd name="connsiteX64" fmla="*/ 1598390 w 3161062"/>
                  <a:gd name="connsiteY64" fmla="*/ 202025 h 262604"/>
                  <a:gd name="connsiteX65" fmla="*/ 1598390 w 3161062"/>
                  <a:gd name="connsiteY65" fmla="*/ 208407 h 262604"/>
                  <a:gd name="connsiteX66" fmla="*/ 1716214 w 3161062"/>
                  <a:gd name="connsiteY66" fmla="*/ 208407 h 262604"/>
                  <a:gd name="connsiteX67" fmla="*/ 1716214 w 3161062"/>
                  <a:gd name="connsiteY67" fmla="*/ 214884 h 262604"/>
                  <a:gd name="connsiteX68" fmla="*/ 1808702 w 3161062"/>
                  <a:gd name="connsiteY68" fmla="*/ 214884 h 262604"/>
                  <a:gd name="connsiteX69" fmla="*/ 1808702 w 3161062"/>
                  <a:gd name="connsiteY69" fmla="*/ 221266 h 262604"/>
                  <a:gd name="connsiteX70" fmla="*/ 1827657 w 3161062"/>
                  <a:gd name="connsiteY70" fmla="*/ 221266 h 262604"/>
                  <a:gd name="connsiteX71" fmla="*/ 1827657 w 3161062"/>
                  <a:gd name="connsiteY71" fmla="*/ 227743 h 262604"/>
                  <a:gd name="connsiteX72" fmla="*/ 2681478 w 3161062"/>
                  <a:gd name="connsiteY72" fmla="*/ 227743 h 262604"/>
                  <a:gd name="connsiteX73" fmla="*/ 2681478 w 3161062"/>
                  <a:gd name="connsiteY73" fmla="*/ 262604 h 262604"/>
                  <a:gd name="connsiteX74" fmla="*/ 3161062 w 3161062"/>
                  <a:gd name="connsiteY74" fmla="*/ 262604 h 262604"/>
                  <a:gd name="connsiteX0" fmla="*/ 0 w 3146394"/>
                  <a:gd name="connsiteY0" fmla="*/ 0 h 250507"/>
                  <a:gd name="connsiteX1" fmla="*/ 23146 w 3146394"/>
                  <a:gd name="connsiteY1" fmla="*/ 0 h 250507"/>
                  <a:gd name="connsiteX2" fmla="*/ 23146 w 3146394"/>
                  <a:gd name="connsiteY2" fmla="*/ 6096 h 250507"/>
                  <a:gd name="connsiteX3" fmla="*/ 29528 w 3146394"/>
                  <a:gd name="connsiteY3" fmla="*/ 6096 h 250507"/>
                  <a:gd name="connsiteX4" fmla="*/ 29528 w 3146394"/>
                  <a:gd name="connsiteY4" fmla="*/ 12192 h 250507"/>
                  <a:gd name="connsiteX5" fmla="*/ 37910 w 3146394"/>
                  <a:gd name="connsiteY5" fmla="*/ 12192 h 250507"/>
                  <a:gd name="connsiteX6" fmla="*/ 37910 w 3146394"/>
                  <a:gd name="connsiteY6" fmla="*/ 18193 h 250507"/>
                  <a:gd name="connsiteX7" fmla="*/ 46292 w 3146394"/>
                  <a:gd name="connsiteY7" fmla="*/ 18193 h 250507"/>
                  <a:gd name="connsiteX8" fmla="*/ 46292 w 3146394"/>
                  <a:gd name="connsiteY8" fmla="*/ 24289 h 250507"/>
                  <a:gd name="connsiteX9" fmla="*/ 50483 w 3146394"/>
                  <a:gd name="connsiteY9" fmla="*/ 24289 h 250507"/>
                  <a:gd name="connsiteX10" fmla="*/ 50483 w 3146394"/>
                  <a:gd name="connsiteY10" fmla="*/ 30385 h 250507"/>
                  <a:gd name="connsiteX11" fmla="*/ 124111 w 3146394"/>
                  <a:gd name="connsiteY11" fmla="*/ 30385 h 250507"/>
                  <a:gd name="connsiteX12" fmla="*/ 124111 w 3146394"/>
                  <a:gd name="connsiteY12" fmla="*/ 36385 h 250507"/>
                  <a:gd name="connsiteX13" fmla="*/ 145161 w 3146394"/>
                  <a:gd name="connsiteY13" fmla="*/ 36385 h 250507"/>
                  <a:gd name="connsiteX14" fmla="*/ 145161 w 3146394"/>
                  <a:gd name="connsiteY14" fmla="*/ 42481 h 250507"/>
                  <a:gd name="connsiteX15" fmla="*/ 151448 w 3146394"/>
                  <a:gd name="connsiteY15" fmla="*/ 42481 h 250507"/>
                  <a:gd name="connsiteX16" fmla="*/ 151448 w 3146394"/>
                  <a:gd name="connsiteY16" fmla="*/ 48577 h 250507"/>
                  <a:gd name="connsiteX17" fmla="*/ 193548 w 3146394"/>
                  <a:gd name="connsiteY17" fmla="*/ 48577 h 250507"/>
                  <a:gd name="connsiteX18" fmla="*/ 193548 w 3146394"/>
                  <a:gd name="connsiteY18" fmla="*/ 54578 h 250507"/>
                  <a:gd name="connsiteX19" fmla="*/ 208217 w 3146394"/>
                  <a:gd name="connsiteY19" fmla="*/ 54578 h 250507"/>
                  <a:gd name="connsiteX20" fmla="*/ 208217 w 3146394"/>
                  <a:gd name="connsiteY20" fmla="*/ 60674 h 250507"/>
                  <a:gd name="connsiteX21" fmla="*/ 237744 w 3146394"/>
                  <a:gd name="connsiteY21" fmla="*/ 60674 h 250507"/>
                  <a:gd name="connsiteX22" fmla="*/ 237744 w 3146394"/>
                  <a:gd name="connsiteY22" fmla="*/ 66770 h 250507"/>
                  <a:gd name="connsiteX23" fmla="*/ 239840 w 3146394"/>
                  <a:gd name="connsiteY23" fmla="*/ 66770 h 250507"/>
                  <a:gd name="connsiteX24" fmla="*/ 239840 w 3146394"/>
                  <a:gd name="connsiteY24" fmla="*/ 72771 h 250507"/>
                  <a:gd name="connsiteX25" fmla="*/ 262890 w 3146394"/>
                  <a:gd name="connsiteY25" fmla="*/ 72771 h 250507"/>
                  <a:gd name="connsiteX26" fmla="*/ 262890 w 3146394"/>
                  <a:gd name="connsiteY26" fmla="*/ 78867 h 250507"/>
                  <a:gd name="connsiteX27" fmla="*/ 275559 w 3146394"/>
                  <a:gd name="connsiteY27" fmla="*/ 78867 h 250507"/>
                  <a:gd name="connsiteX28" fmla="*/ 275559 w 3146394"/>
                  <a:gd name="connsiteY28" fmla="*/ 84963 h 250507"/>
                  <a:gd name="connsiteX29" fmla="*/ 311277 w 3146394"/>
                  <a:gd name="connsiteY29" fmla="*/ 84963 h 250507"/>
                  <a:gd name="connsiteX30" fmla="*/ 311277 w 3146394"/>
                  <a:gd name="connsiteY30" fmla="*/ 91059 h 250507"/>
                  <a:gd name="connsiteX31" fmla="*/ 427006 w 3146394"/>
                  <a:gd name="connsiteY31" fmla="*/ 91059 h 250507"/>
                  <a:gd name="connsiteX32" fmla="*/ 427006 w 3146394"/>
                  <a:gd name="connsiteY32" fmla="*/ 97060 h 250507"/>
                  <a:gd name="connsiteX33" fmla="*/ 464820 w 3146394"/>
                  <a:gd name="connsiteY33" fmla="*/ 97060 h 250507"/>
                  <a:gd name="connsiteX34" fmla="*/ 464820 w 3146394"/>
                  <a:gd name="connsiteY34" fmla="*/ 103251 h 250507"/>
                  <a:gd name="connsiteX35" fmla="*/ 517398 w 3146394"/>
                  <a:gd name="connsiteY35" fmla="*/ 103251 h 250507"/>
                  <a:gd name="connsiteX36" fmla="*/ 517398 w 3146394"/>
                  <a:gd name="connsiteY36" fmla="*/ 109347 h 250507"/>
                  <a:gd name="connsiteX37" fmla="*/ 536353 w 3146394"/>
                  <a:gd name="connsiteY37" fmla="*/ 109347 h 250507"/>
                  <a:gd name="connsiteX38" fmla="*/ 536353 w 3146394"/>
                  <a:gd name="connsiteY38" fmla="*/ 115443 h 250507"/>
                  <a:gd name="connsiteX39" fmla="*/ 546831 w 3146394"/>
                  <a:gd name="connsiteY39" fmla="*/ 115443 h 250507"/>
                  <a:gd name="connsiteX40" fmla="*/ 546831 w 3146394"/>
                  <a:gd name="connsiteY40" fmla="*/ 121634 h 250507"/>
                  <a:gd name="connsiteX41" fmla="*/ 580549 w 3146394"/>
                  <a:gd name="connsiteY41" fmla="*/ 121634 h 250507"/>
                  <a:gd name="connsiteX42" fmla="*/ 580549 w 3146394"/>
                  <a:gd name="connsiteY42" fmla="*/ 127730 h 250507"/>
                  <a:gd name="connsiteX43" fmla="*/ 586836 w 3146394"/>
                  <a:gd name="connsiteY43" fmla="*/ 127730 h 250507"/>
                  <a:gd name="connsiteX44" fmla="*/ 586836 w 3146394"/>
                  <a:gd name="connsiteY44" fmla="*/ 133826 h 250507"/>
                  <a:gd name="connsiteX45" fmla="*/ 601504 w 3146394"/>
                  <a:gd name="connsiteY45" fmla="*/ 133826 h 250507"/>
                  <a:gd name="connsiteX46" fmla="*/ 601504 w 3146394"/>
                  <a:gd name="connsiteY46" fmla="*/ 139922 h 250507"/>
                  <a:gd name="connsiteX47" fmla="*/ 614172 w 3146394"/>
                  <a:gd name="connsiteY47" fmla="*/ 139922 h 250507"/>
                  <a:gd name="connsiteX48" fmla="*/ 614172 w 3146394"/>
                  <a:gd name="connsiteY48" fmla="*/ 146113 h 250507"/>
                  <a:gd name="connsiteX49" fmla="*/ 639414 w 3146394"/>
                  <a:gd name="connsiteY49" fmla="*/ 146113 h 250507"/>
                  <a:gd name="connsiteX50" fmla="*/ 639414 w 3146394"/>
                  <a:gd name="connsiteY50" fmla="*/ 152209 h 250507"/>
                  <a:gd name="connsiteX51" fmla="*/ 868680 w 3146394"/>
                  <a:gd name="connsiteY51" fmla="*/ 152209 h 250507"/>
                  <a:gd name="connsiteX52" fmla="*/ 868680 w 3146394"/>
                  <a:gd name="connsiteY52" fmla="*/ 158401 h 250507"/>
                  <a:gd name="connsiteX53" fmla="*/ 982218 w 3146394"/>
                  <a:gd name="connsiteY53" fmla="*/ 158401 h 250507"/>
                  <a:gd name="connsiteX54" fmla="*/ 982218 w 3146394"/>
                  <a:gd name="connsiteY54" fmla="*/ 164592 h 250507"/>
                  <a:gd name="connsiteX55" fmla="*/ 1251395 w 3146394"/>
                  <a:gd name="connsiteY55" fmla="*/ 164592 h 250507"/>
                  <a:gd name="connsiteX56" fmla="*/ 1251395 w 3146394"/>
                  <a:gd name="connsiteY56" fmla="*/ 170878 h 250507"/>
                  <a:gd name="connsiteX57" fmla="*/ 1325023 w 3146394"/>
                  <a:gd name="connsiteY57" fmla="*/ 170878 h 250507"/>
                  <a:gd name="connsiteX58" fmla="*/ 1325023 w 3146394"/>
                  <a:gd name="connsiteY58" fmla="*/ 177165 h 250507"/>
                  <a:gd name="connsiteX59" fmla="*/ 1404938 w 3146394"/>
                  <a:gd name="connsiteY59" fmla="*/ 177165 h 250507"/>
                  <a:gd name="connsiteX60" fmla="*/ 1404938 w 3146394"/>
                  <a:gd name="connsiteY60" fmla="*/ 183451 h 250507"/>
                  <a:gd name="connsiteX61" fmla="*/ 1566863 w 3146394"/>
                  <a:gd name="connsiteY61" fmla="*/ 183451 h 250507"/>
                  <a:gd name="connsiteX62" fmla="*/ 1566863 w 3146394"/>
                  <a:gd name="connsiteY62" fmla="*/ 189928 h 250507"/>
                  <a:gd name="connsiteX63" fmla="*/ 1583722 w 3146394"/>
                  <a:gd name="connsiteY63" fmla="*/ 189928 h 250507"/>
                  <a:gd name="connsiteX64" fmla="*/ 1583722 w 3146394"/>
                  <a:gd name="connsiteY64" fmla="*/ 196310 h 250507"/>
                  <a:gd name="connsiteX65" fmla="*/ 1701546 w 3146394"/>
                  <a:gd name="connsiteY65" fmla="*/ 196310 h 250507"/>
                  <a:gd name="connsiteX66" fmla="*/ 1701546 w 3146394"/>
                  <a:gd name="connsiteY66" fmla="*/ 202787 h 250507"/>
                  <a:gd name="connsiteX67" fmla="*/ 1794034 w 3146394"/>
                  <a:gd name="connsiteY67" fmla="*/ 202787 h 250507"/>
                  <a:gd name="connsiteX68" fmla="*/ 1794034 w 3146394"/>
                  <a:gd name="connsiteY68" fmla="*/ 209169 h 250507"/>
                  <a:gd name="connsiteX69" fmla="*/ 1812989 w 3146394"/>
                  <a:gd name="connsiteY69" fmla="*/ 209169 h 250507"/>
                  <a:gd name="connsiteX70" fmla="*/ 1812989 w 3146394"/>
                  <a:gd name="connsiteY70" fmla="*/ 215646 h 250507"/>
                  <a:gd name="connsiteX71" fmla="*/ 2666810 w 3146394"/>
                  <a:gd name="connsiteY71" fmla="*/ 215646 h 250507"/>
                  <a:gd name="connsiteX72" fmla="*/ 2666810 w 3146394"/>
                  <a:gd name="connsiteY72" fmla="*/ 250507 h 250507"/>
                  <a:gd name="connsiteX73" fmla="*/ 3146394 w 3146394"/>
                  <a:gd name="connsiteY73" fmla="*/ 250507 h 250507"/>
                  <a:gd name="connsiteX0" fmla="*/ 0 w 3123248"/>
                  <a:gd name="connsiteY0" fmla="*/ 0 h 250507"/>
                  <a:gd name="connsiteX1" fmla="*/ 0 w 3123248"/>
                  <a:gd name="connsiteY1" fmla="*/ 6096 h 250507"/>
                  <a:gd name="connsiteX2" fmla="*/ 6382 w 3123248"/>
                  <a:gd name="connsiteY2" fmla="*/ 6096 h 250507"/>
                  <a:gd name="connsiteX3" fmla="*/ 6382 w 3123248"/>
                  <a:gd name="connsiteY3" fmla="*/ 12192 h 250507"/>
                  <a:gd name="connsiteX4" fmla="*/ 14764 w 3123248"/>
                  <a:gd name="connsiteY4" fmla="*/ 12192 h 250507"/>
                  <a:gd name="connsiteX5" fmla="*/ 14764 w 3123248"/>
                  <a:gd name="connsiteY5" fmla="*/ 18193 h 250507"/>
                  <a:gd name="connsiteX6" fmla="*/ 23146 w 3123248"/>
                  <a:gd name="connsiteY6" fmla="*/ 18193 h 250507"/>
                  <a:gd name="connsiteX7" fmla="*/ 23146 w 3123248"/>
                  <a:gd name="connsiteY7" fmla="*/ 24289 h 250507"/>
                  <a:gd name="connsiteX8" fmla="*/ 27337 w 3123248"/>
                  <a:gd name="connsiteY8" fmla="*/ 24289 h 250507"/>
                  <a:gd name="connsiteX9" fmla="*/ 27337 w 3123248"/>
                  <a:gd name="connsiteY9" fmla="*/ 30385 h 250507"/>
                  <a:gd name="connsiteX10" fmla="*/ 100965 w 3123248"/>
                  <a:gd name="connsiteY10" fmla="*/ 30385 h 250507"/>
                  <a:gd name="connsiteX11" fmla="*/ 100965 w 3123248"/>
                  <a:gd name="connsiteY11" fmla="*/ 36385 h 250507"/>
                  <a:gd name="connsiteX12" fmla="*/ 122015 w 3123248"/>
                  <a:gd name="connsiteY12" fmla="*/ 36385 h 250507"/>
                  <a:gd name="connsiteX13" fmla="*/ 122015 w 3123248"/>
                  <a:gd name="connsiteY13" fmla="*/ 42481 h 250507"/>
                  <a:gd name="connsiteX14" fmla="*/ 128302 w 3123248"/>
                  <a:gd name="connsiteY14" fmla="*/ 42481 h 250507"/>
                  <a:gd name="connsiteX15" fmla="*/ 128302 w 3123248"/>
                  <a:gd name="connsiteY15" fmla="*/ 48577 h 250507"/>
                  <a:gd name="connsiteX16" fmla="*/ 170402 w 3123248"/>
                  <a:gd name="connsiteY16" fmla="*/ 48577 h 250507"/>
                  <a:gd name="connsiteX17" fmla="*/ 170402 w 3123248"/>
                  <a:gd name="connsiteY17" fmla="*/ 54578 h 250507"/>
                  <a:gd name="connsiteX18" fmla="*/ 185071 w 3123248"/>
                  <a:gd name="connsiteY18" fmla="*/ 54578 h 250507"/>
                  <a:gd name="connsiteX19" fmla="*/ 185071 w 3123248"/>
                  <a:gd name="connsiteY19" fmla="*/ 60674 h 250507"/>
                  <a:gd name="connsiteX20" fmla="*/ 214598 w 3123248"/>
                  <a:gd name="connsiteY20" fmla="*/ 60674 h 250507"/>
                  <a:gd name="connsiteX21" fmla="*/ 214598 w 3123248"/>
                  <a:gd name="connsiteY21" fmla="*/ 66770 h 250507"/>
                  <a:gd name="connsiteX22" fmla="*/ 216694 w 3123248"/>
                  <a:gd name="connsiteY22" fmla="*/ 66770 h 250507"/>
                  <a:gd name="connsiteX23" fmla="*/ 216694 w 3123248"/>
                  <a:gd name="connsiteY23" fmla="*/ 72771 h 250507"/>
                  <a:gd name="connsiteX24" fmla="*/ 239744 w 3123248"/>
                  <a:gd name="connsiteY24" fmla="*/ 72771 h 250507"/>
                  <a:gd name="connsiteX25" fmla="*/ 239744 w 3123248"/>
                  <a:gd name="connsiteY25" fmla="*/ 78867 h 250507"/>
                  <a:gd name="connsiteX26" fmla="*/ 252413 w 3123248"/>
                  <a:gd name="connsiteY26" fmla="*/ 78867 h 250507"/>
                  <a:gd name="connsiteX27" fmla="*/ 252413 w 3123248"/>
                  <a:gd name="connsiteY27" fmla="*/ 84963 h 250507"/>
                  <a:gd name="connsiteX28" fmla="*/ 288131 w 3123248"/>
                  <a:gd name="connsiteY28" fmla="*/ 84963 h 250507"/>
                  <a:gd name="connsiteX29" fmla="*/ 288131 w 3123248"/>
                  <a:gd name="connsiteY29" fmla="*/ 91059 h 250507"/>
                  <a:gd name="connsiteX30" fmla="*/ 403860 w 3123248"/>
                  <a:gd name="connsiteY30" fmla="*/ 91059 h 250507"/>
                  <a:gd name="connsiteX31" fmla="*/ 403860 w 3123248"/>
                  <a:gd name="connsiteY31" fmla="*/ 97060 h 250507"/>
                  <a:gd name="connsiteX32" fmla="*/ 441674 w 3123248"/>
                  <a:gd name="connsiteY32" fmla="*/ 97060 h 250507"/>
                  <a:gd name="connsiteX33" fmla="*/ 441674 w 3123248"/>
                  <a:gd name="connsiteY33" fmla="*/ 103251 h 250507"/>
                  <a:gd name="connsiteX34" fmla="*/ 494252 w 3123248"/>
                  <a:gd name="connsiteY34" fmla="*/ 103251 h 250507"/>
                  <a:gd name="connsiteX35" fmla="*/ 494252 w 3123248"/>
                  <a:gd name="connsiteY35" fmla="*/ 109347 h 250507"/>
                  <a:gd name="connsiteX36" fmla="*/ 513207 w 3123248"/>
                  <a:gd name="connsiteY36" fmla="*/ 109347 h 250507"/>
                  <a:gd name="connsiteX37" fmla="*/ 513207 w 3123248"/>
                  <a:gd name="connsiteY37" fmla="*/ 115443 h 250507"/>
                  <a:gd name="connsiteX38" fmla="*/ 523685 w 3123248"/>
                  <a:gd name="connsiteY38" fmla="*/ 115443 h 250507"/>
                  <a:gd name="connsiteX39" fmla="*/ 523685 w 3123248"/>
                  <a:gd name="connsiteY39" fmla="*/ 121634 h 250507"/>
                  <a:gd name="connsiteX40" fmla="*/ 557403 w 3123248"/>
                  <a:gd name="connsiteY40" fmla="*/ 121634 h 250507"/>
                  <a:gd name="connsiteX41" fmla="*/ 557403 w 3123248"/>
                  <a:gd name="connsiteY41" fmla="*/ 127730 h 250507"/>
                  <a:gd name="connsiteX42" fmla="*/ 563690 w 3123248"/>
                  <a:gd name="connsiteY42" fmla="*/ 127730 h 250507"/>
                  <a:gd name="connsiteX43" fmla="*/ 563690 w 3123248"/>
                  <a:gd name="connsiteY43" fmla="*/ 133826 h 250507"/>
                  <a:gd name="connsiteX44" fmla="*/ 578358 w 3123248"/>
                  <a:gd name="connsiteY44" fmla="*/ 133826 h 250507"/>
                  <a:gd name="connsiteX45" fmla="*/ 578358 w 3123248"/>
                  <a:gd name="connsiteY45" fmla="*/ 139922 h 250507"/>
                  <a:gd name="connsiteX46" fmla="*/ 591026 w 3123248"/>
                  <a:gd name="connsiteY46" fmla="*/ 139922 h 250507"/>
                  <a:gd name="connsiteX47" fmla="*/ 591026 w 3123248"/>
                  <a:gd name="connsiteY47" fmla="*/ 146113 h 250507"/>
                  <a:gd name="connsiteX48" fmla="*/ 616268 w 3123248"/>
                  <a:gd name="connsiteY48" fmla="*/ 146113 h 250507"/>
                  <a:gd name="connsiteX49" fmla="*/ 616268 w 3123248"/>
                  <a:gd name="connsiteY49" fmla="*/ 152209 h 250507"/>
                  <a:gd name="connsiteX50" fmla="*/ 845534 w 3123248"/>
                  <a:gd name="connsiteY50" fmla="*/ 152209 h 250507"/>
                  <a:gd name="connsiteX51" fmla="*/ 845534 w 3123248"/>
                  <a:gd name="connsiteY51" fmla="*/ 158401 h 250507"/>
                  <a:gd name="connsiteX52" fmla="*/ 959072 w 3123248"/>
                  <a:gd name="connsiteY52" fmla="*/ 158401 h 250507"/>
                  <a:gd name="connsiteX53" fmla="*/ 959072 w 3123248"/>
                  <a:gd name="connsiteY53" fmla="*/ 164592 h 250507"/>
                  <a:gd name="connsiteX54" fmla="*/ 1228249 w 3123248"/>
                  <a:gd name="connsiteY54" fmla="*/ 164592 h 250507"/>
                  <a:gd name="connsiteX55" fmla="*/ 1228249 w 3123248"/>
                  <a:gd name="connsiteY55" fmla="*/ 170878 h 250507"/>
                  <a:gd name="connsiteX56" fmla="*/ 1301877 w 3123248"/>
                  <a:gd name="connsiteY56" fmla="*/ 170878 h 250507"/>
                  <a:gd name="connsiteX57" fmla="*/ 1301877 w 3123248"/>
                  <a:gd name="connsiteY57" fmla="*/ 177165 h 250507"/>
                  <a:gd name="connsiteX58" fmla="*/ 1381792 w 3123248"/>
                  <a:gd name="connsiteY58" fmla="*/ 177165 h 250507"/>
                  <a:gd name="connsiteX59" fmla="*/ 1381792 w 3123248"/>
                  <a:gd name="connsiteY59" fmla="*/ 183451 h 250507"/>
                  <a:gd name="connsiteX60" fmla="*/ 1543717 w 3123248"/>
                  <a:gd name="connsiteY60" fmla="*/ 183451 h 250507"/>
                  <a:gd name="connsiteX61" fmla="*/ 1543717 w 3123248"/>
                  <a:gd name="connsiteY61" fmla="*/ 189928 h 250507"/>
                  <a:gd name="connsiteX62" fmla="*/ 1560576 w 3123248"/>
                  <a:gd name="connsiteY62" fmla="*/ 189928 h 250507"/>
                  <a:gd name="connsiteX63" fmla="*/ 1560576 w 3123248"/>
                  <a:gd name="connsiteY63" fmla="*/ 196310 h 250507"/>
                  <a:gd name="connsiteX64" fmla="*/ 1678400 w 3123248"/>
                  <a:gd name="connsiteY64" fmla="*/ 196310 h 250507"/>
                  <a:gd name="connsiteX65" fmla="*/ 1678400 w 3123248"/>
                  <a:gd name="connsiteY65" fmla="*/ 202787 h 250507"/>
                  <a:gd name="connsiteX66" fmla="*/ 1770888 w 3123248"/>
                  <a:gd name="connsiteY66" fmla="*/ 202787 h 250507"/>
                  <a:gd name="connsiteX67" fmla="*/ 1770888 w 3123248"/>
                  <a:gd name="connsiteY67" fmla="*/ 209169 h 250507"/>
                  <a:gd name="connsiteX68" fmla="*/ 1789843 w 3123248"/>
                  <a:gd name="connsiteY68" fmla="*/ 209169 h 250507"/>
                  <a:gd name="connsiteX69" fmla="*/ 1789843 w 3123248"/>
                  <a:gd name="connsiteY69" fmla="*/ 215646 h 250507"/>
                  <a:gd name="connsiteX70" fmla="*/ 2643664 w 3123248"/>
                  <a:gd name="connsiteY70" fmla="*/ 215646 h 250507"/>
                  <a:gd name="connsiteX71" fmla="*/ 2643664 w 3123248"/>
                  <a:gd name="connsiteY71" fmla="*/ 250507 h 250507"/>
                  <a:gd name="connsiteX72" fmla="*/ 3123248 w 3123248"/>
                  <a:gd name="connsiteY72" fmla="*/ 250507 h 250507"/>
                  <a:gd name="connsiteX0" fmla="*/ 0 w 3123248"/>
                  <a:gd name="connsiteY0" fmla="*/ 0 h 250507"/>
                  <a:gd name="connsiteX1" fmla="*/ 0 w 3123248"/>
                  <a:gd name="connsiteY1" fmla="*/ 6096 h 250507"/>
                  <a:gd name="connsiteX2" fmla="*/ 6382 w 3123248"/>
                  <a:gd name="connsiteY2" fmla="*/ 12192 h 250507"/>
                  <a:gd name="connsiteX3" fmla="*/ 14764 w 3123248"/>
                  <a:gd name="connsiteY3" fmla="*/ 12192 h 250507"/>
                  <a:gd name="connsiteX4" fmla="*/ 14764 w 3123248"/>
                  <a:gd name="connsiteY4" fmla="*/ 18193 h 250507"/>
                  <a:gd name="connsiteX5" fmla="*/ 23146 w 3123248"/>
                  <a:gd name="connsiteY5" fmla="*/ 18193 h 250507"/>
                  <a:gd name="connsiteX6" fmla="*/ 23146 w 3123248"/>
                  <a:gd name="connsiteY6" fmla="*/ 24289 h 250507"/>
                  <a:gd name="connsiteX7" fmla="*/ 27337 w 3123248"/>
                  <a:gd name="connsiteY7" fmla="*/ 24289 h 250507"/>
                  <a:gd name="connsiteX8" fmla="*/ 27337 w 3123248"/>
                  <a:gd name="connsiteY8" fmla="*/ 30385 h 250507"/>
                  <a:gd name="connsiteX9" fmla="*/ 100965 w 3123248"/>
                  <a:gd name="connsiteY9" fmla="*/ 30385 h 250507"/>
                  <a:gd name="connsiteX10" fmla="*/ 100965 w 3123248"/>
                  <a:gd name="connsiteY10" fmla="*/ 36385 h 250507"/>
                  <a:gd name="connsiteX11" fmla="*/ 122015 w 3123248"/>
                  <a:gd name="connsiteY11" fmla="*/ 36385 h 250507"/>
                  <a:gd name="connsiteX12" fmla="*/ 122015 w 3123248"/>
                  <a:gd name="connsiteY12" fmla="*/ 42481 h 250507"/>
                  <a:gd name="connsiteX13" fmla="*/ 128302 w 3123248"/>
                  <a:gd name="connsiteY13" fmla="*/ 42481 h 250507"/>
                  <a:gd name="connsiteX14" fmla="*/ 128302 w 3123248"/>
                  <a:gd name="connsiteY14" fmla="*/ 48577 h 250507"/>
                  <a:gd name="connsiteX15" fmla="*/ 170402 w 3123248"/>
                  <a:gd name="connsiteY15" fmla="*/ 48577 h 250507"/>
                  <a:gd name="connsiteX16" fmla="*/ 170402 w 3123248"/>
                  <a:gd name="connsiteY16" fmla="*/ 54578 h 250507"/>
                  <a:gd name="connsiteX17" fmla="*/ 185071 w 3123248"/>
                  <a:gd name="connsiteY17" fmla="*/ 54578 h 250507"/>
                  <a:gd name="connsiteX18" fmla="*/ 185071 w 3123248"/>
                  <a:gd name="connsiteY18" fmla="*/ 60674 h 250507"/>
                  <a:gd name="connsiteX19" fmla="*/ 214598 w 3123248"/>
                  <a:gd name="connsiteY19" fmla="*/ 60674 h 250507"/>
                  <a:gd name="connsiteX20" fmla="*/ 214598 w 3123248"/>
                  <a:gd name="connsiteY20" fmla="*/ 66770 h 250507"/>
                  <a:gd name="connsiteX21" fmla="*/ 216694 w 3123248"/>
                  <a:gd name="connsiteY21" fmla="*/ 66770 h 250507"/>
                  <a:gd name="connsiteX22" fmla="*/ 216694 w 3123248"/>
                  <a:gd name="connsiteY22" fmla="*/ 72771 h 250507"/>
                  <a:gd name="connsiteX23" fmla="*/ 239744 w 3123248"/>
                  <a:gd name="connsiteY23" fmla="*/ 72771 h 250507"/>
                  <a:gd name="connsiteX24" fmla="*/ 239744 w 3123248"/>
                  <a:gd name="connsiteY24" fmla="*/ 78867 h 250507"/>
                  <a:gd name="connsiteX25" fmla="*/ 252413 w 3123248"/>
                  <a:gd name="connsiteY25" fmla="*/ 78867 h 250507"/>
                  <a:gd name="connsiteX26" fmla="*/ 252413 w 3123248"/>
                  <a:gd name="connsiteY26" fmla="*/ 84963 h 250507"/>
                  <a:gd name="connsiteX27" fmla="*/ 288131 w 3123248"/>
                  <a:gd name="connsiteY27" fmla="*/ 84963 h 250507"/>
                  <a:gd name="connsiteX28" fmla="*/ 288131 w 3123248"/>
                  <a:gd name="connsiteY28" fmla="*/ 91059 h 250507"/>
                  <a:gd name="connsiteX29" fmla="*/ 403860 w 3123248"/>
                  <a:gd name="connsiteY29" fmla="*/ 91059 h 250507"/>
                  <a:gd name="connsiteX30" fmla="*/ 403860 w 3123248"/>
                  <a:gd name="connsiteY30" fmla="*/ 97060 h 250507"/>
                  <a:gd name="connsiteX31" fmla="*/ 441674 w 3123248"/>
                  <a:gd name="connsiteY31" fmla="*/ 97060 h 250507"/>
                  <a:gd name="connsiteX32" fmla="*/ 441674 w 3123248"/>
                  <a:gd name="connsiteY32" fmla="*/ 103251 h 250507"/>
                  <a:gd name="connsiteX33" fmla="*/ 494252 w 3123248"/>
                  <a:gd name="connsiteY33" fmla="*/ 103251 h 250507"/>
                  <a:gd name="connsiteX34" fmla="*/ 494252 w 3123248"/>
                  <a:gd name="connsiteY34" fmla="*/ 109347 h 250507"/>
                  <a:gd name="connsiteX35" fmla="*/ 513207 w 3123248"/>
                  <a:gd name="connsiteY35" fmla="*/ 109347 h 250507"/>
                  <a:gd name="connsiteX36" fmla="*/ 513207 w 3123248"/>
                  <a:gd name="connsiteY36" fmla="*/ 115443 h 250507"/>
                  <a:gd name="connsiteX37" fmla="*/ 523685 w 3123248"/>
                  <a:gd name="connsiteY37" fmla="*/ 115443 h 250507"/>
                  <a:gd name="connsiteX38" fmla="*/ 523685 w 3123248"/>
                  <a:gd name="connsiteY38" fmla="*/ 121634 h 250507"/>
                  <a:gd name="connsiteX39" fmla="*/ 557403 w 3123248"/>
                  <a:gd name="connsiteY39" fmla="*/ 121634 h 250507"/>
                  <a:gd name="connsiteX40" fmla="*/ 557403 w 3123248"/>
                  <a:gd name="connsiteY40" fmla="*/ 127730 h 250507"/>
                  <a:gd name="connsiteX41" fmla="*/ 563690 w 3123248"/>
                  <a:gd name="connsiteY41" fmla="*/ 127730 h 250507"/>
                  <a:gd name="connsiteX42" fmla="*/ 563690 w 3123248"/>
                  <a:gd name="connsiteY42" fmla="*/ 133826 h 250507"/>
                  <a:gd name="connsiteX43" fmla="*/ 578358 w 3123248"/>
                  <a:gd name="connsiteY43" fmla="*/ 133826 h 250507"/>
                  <a:gd name="connsiteX44" fmla="*/ 578358 w 3123248"/>
                  <a:gd name="connsiteY44" fmla="*/ 139922 h 250507"/>
                  <a:gd name="connsiteX45" fmla="*/ 591026 w 3123248"/>
                  <a:gd name="connsiteY45" fmla="*/ 139922 h 250507"/>
                  <a:gd name="connsiteX46" fmla="*/ 591026 w 3123248"/>
                  <a:gd name="connsiteY46" fmla="*/ 146113 h 250507"/>
                  <a:gd name="connsiteX47" fmla="*/ 616268 w 3123248"/>
                  <a:gd name="connsiteY47" fmla="*/ 146113 h 250507"/>
                  <a:gd name="connsiteX48" fmla="*/ 616268 w 3123248"/>
                  <a:gd name="connsiteY48" fmla="*/ 152209 h 250507"/>
                  <a:gd name="connsiteX49" fmla="*/ 845534 w 3123248"/>
                  <a:gd name="connsiteY49" fmla="*/ 152209 h 250507"/>
                  <a:gd name="connsiteX50" fmla="*/ 845534 w 3123248"/>
                  <a:gd name="connsiteY50" fmla="*/ 158401 h 250507"/>
                  <a:gd name="connsiteX51" fmla="*/ 959072 w 3123248"/>
                  <a:gd name="connsiteY51" fmla="*/ 158401 h 250507"/>
                  <a:gd name="connsiteX52" fmla="*/ 959072 w 3123248"/>
                  <a:gd name="connsiteY52" fmla="*/ 164592 h 250507"/>
                  <a:gd name="connsiteX53" fmla="*/ 1228249 w 3123248"/>
                  <a:gd name="connsiteY53" fmla="*/ 164592 h 250507"/>
                  <a:gd name="connsiteX54" fmla="*/ 1228249 w 3123248"/>
                  <a:gd name="connsiteY54" fmla="*/ 170878 h 250507"/>
                  <a:gd name="connsiteX55" fmla="*/ 1301877 w 3123248"/>
                  <a:gd name="connsiteY55" fmla="*/ 170878 h 250507"/>
                  <a:gd name="connsiteX56" fmla="*/ 1301877 w 3123248"/>
                  <a:gd name="connsiteY56" fmla="*/ 177165 h 250507"/>
                  <a:gd name="connsiteX57" fmla="*/ 1381792 w 3123248"/>
                  <a:gd name="connsiteY57" fmla="*/ 177165 h 250507"/>
                  <a:gd name="connsiteX58" fmla="*/ 1381792 w 3123248"/>
                  <a:gd name="connsiteY58" fmla="*/ 183451 h 250507"/>
                  <a:gd name="connsiteX59" fmla="*/ 1543717 w 3123248"/>
                  <a:gd name="connsiteY59" fmla="*/ 183451 h 250507"/>
                  <a:gd name="connsiteX60" fmla="*/ 1543717 w 3123248"/>
                  <a:gd name="connsiteY60" fmla="*/ 189928 h 250507"/>
                  <a:gd name="connsiteX61" fmla="*/ 1560576 w 3123248"/>
                  <a:gd name="connsiteY61" fmla="*/ 189928 h 250507"/>
                  <a:gd name="connsiteX62" fmla="*/ 1560576 w 3123248"/>
                  <a:gd name="connsiteY62" fmla="*/ 196310 h 250507"/>
                  <a:gd name="connsiteX63" fmla="*/ 1678400 w 3123248"/>
                  <a:gd name="connsiteY63" fmla="*/ 196310 h 250507"/>
                  <a:gd name="connsiteX64" fmla="*/ 1678400 w 3123248"/>
                  <a:gd name="connsiteY64" fmla="*/ 202787 h 250507"/>
                  <a:gd name="connsiteX65" fmla="*/ 1770888 w 3123248"/>
                  <a:gd name="connsiteY65" fmla="*/ 202787 h 250507"/>
                  <a:gd name="connsiteX66" fmla="*/ 1770888 w 3123248"/>
                  <a:gd name="connsiteY66" fmla="*/ 209169 h 250507"/>
                  <a:gd name="connsiteX67" fmla="*/ 1789843 w 3123248"/>
                  <a:gd name="connsiteY67" fmla="*/ 209169 h 250507"/>
                  <a:gd name="connsiteX68" fmla="*/ 1789843 w 3123248"/>
                  <a:gd name="connsiteY68" fmla="*/ 215646 h 250507"/>
                  <a:gd name="connsiteX69" fmla="*/ 2643664 w 3123248"/>
                  <a:gd name="connsiteY69" fmla="*/ 215646 h 250507"/>
                  <a:gd name="connsiteX70" fmla="*/ 2643664 w 3123248"/>
                  <a:gd name="connsiteY70" fmla="*/ 250507 h 250507"/>
                  <a:gd name="connsiteX71" fmla="*/ 3123248 w 3123248"/>
                  <a:gd name="connsiteY71" fmla="*/ 250507 h 250507"/>
                  <a:gd name="connsiteX0" fmla="*/ 0 w 3123248"/>
                  <a:gd name="connsiteY0" fmla="*/ 0 h 250507"/>
                  <a:gd name="connsiteX1" fmla="*/ 6382 w 3123248"/>
                  <a:gd name="connsiteY1" fmla="*/ 12192 h 250507"/>
                  <a:gd name="connsiteX2" fmla="*/ 14764 w 3123248"/>
                  <a:gd name="connsiteY2" fmla="*/ 12192 h 250507"/>
                  <a:gd name="connsiteX3" fmla="*/ 14764 w 3123248"/>
                  <a:gd name="connsiteY3" fmla="*/ 18193 h 250507"/>
                  <a:gd name="connsiteX4" fmla="*/ 23146 w 3123248"/>
                  <a:gd name="connsiteY4" fmla="*/ 18193 h 250507"/>
                  <a:gd name="connsiteX5" fmla="*/ 23146 w 3123248"/>
                  <a:gd name="connsiteY5" fmla="*/ 24289 h 250507"/>
                  <a:gd name="connsiteX6" fmla="*/ 27337 w 3123248"/>
                  <a:gd name="connsiteY6" fmla="*/ 24289 h 250507"/>
                  <a:gd name="connsiteX7" fmla="*/ 27337 w 3123248"/>
                  <a:gd name="connsiteY7" fmla="*/ 30385 h 250507"/>
                  <a:gd name="connsiteX8" fmla="*/ 100965 w 3123248"/>
                  <a:gd name="connsiteY8" fmla="*/ 30385 h 250507"/>
                  <a:gd name="connsiteX9" fmla="*/ 100965 w 3123248"/>
                  <a:gd name="connsiteY9" fmla="*/ 36385 h 250507"/>
                  <a:gd name="connsiteX10" fmla="*/ 122015 w 3123248"/>
                  <a:gd name="connsiteY10" fmla="*/ 36385 h 250507"/>
                  <a:gd name="connsiteX11" fmla="*/ 122015 w 3123248"/>
                  <a:gd name="connsiteY11" fmla="*/ 42481 h 250507"/>
                  <a:gd name="connsiteX12" fmla="*/ 128302 w 3123248"/>
                  <a:gd name="connsiteY12" fmla="*/ 42481 h 250507"/>
                  <a:gd name="connsiteX13" fmla="*/ 128302 w 3123248"/>
                  <a:gd name="connsiteY13" fmla="*/ 48577 h 250507"/>
                  <a:gd name="connsiteX14" fmla="*/ 170402 w 3123248"/>
                  <a:gd name="connsiteY14" fmla="*/ 48577 h 250507"/>
                  <a:gd name="connsiteX15" fmla="*/ 170402 w 3123248"/>
                  <a:gd name="connsiteY15" fmla="*/ 54578 h 250507"/>
                  <a:gd name="connsiteX16" fmla="*/ 185071 w 3123248"/>
                  <a:gd name="connsiteY16" fmla="*/ 54578 h 250507"/>
                  <a:gd name="connsiteX17" fmla="*/ 185071 w 3123248"/>
                  <a:gd name="connsiteY17" fmla="*/ 60674 h 250507"/>
                  <a:gd name="connsiteX18" fmla="*/ 214598 w 3123248"/>
                  <a:gd name="connsiteY18" fmla="*/ 60674 h 250507"/>
                  <a:gd name="connsiteX19" fmla="*/ 214598 w 3123248"/>
                  <a:gd name="connsiteY19" fmla="*/ 66770 h 250507"/>
                  <a:gd name="connsiteX20" fmla="*/ 216694 w 3123248"/>
                  <a:gd name="connsiteY20" fmla="*/ 66770 h 250507"/>
                  <a:gd name="connsiteX21" fmla="*/ 216694 w 3123248"/>
                  <a:gd name="connsiteY21" fmla="*/ 72771 h 250507"/>
                  <a:gd name="connsiteX22" fmla="*/ 239744 w 3123248"/>
                  <a:gd name="connsiteY22" fmla="*/ 72771 h 250507"/>
                  <a:gd name="connsiteX23" fmla="*/ 239744 w 3123248"/>
                  <a:gd name="connsiteY23" fmla="*/ 78867 h 250507"/>
                  <a:gd name="connsiteX24" fmla="*/ 252413 w 3123248"/>
                  <a:gd name="connsiteY24" fmla="*/ 78867 h 250507"/>
                  <a:gd name="connsiteX25" fmla="*/ 252413 w 3123248"/>
                  <a:gd name="connsiteY25" fmla="*/ 84963 h 250507"/>
                  <a:gd name="connsiteX26" fmla="*/ 288131 w 3123248"/>
                  <a:gd name="connsiteY26" fmla="*/ 84963 h 250507"/>
                  <a:gd name="connsiteX27" fmla="*/ 288131 w 3123248"/>
                  <a:gd name="connsiteY27" fmla="*/ 91059 h 250507"/>
                  <a:gd name="connsiteX28" fmla="*/ 403860 w 3123248"/>
                  <a:gd name="connsiteY28" fmla="*/ 91059 h 250507"/>
                  <a:gd name="connsiteX29" fmla="*/ 403860 w 3123248"/>
                  <a:gd name="connsiteY29" fmla="*/ 97060 h 250507"/>
                  <a:gd name="connsiteX30" fmla="*/ 441674 w 3123248"/>
                  <a:gd name="connsiteY30" fmla="*/ 97060 h 250507"/>
                  <a:gd name="connsiteX31" fmla="*/ 441674 w 3123248"/>
                  <a:gd name="connsiteY31" fmla="*/ 103251 h 250507"/>
                  <a:gd name="connsiteX32" fmla="*/ 494252 w 3123248"/>
                  <a:gd name="connsiteY32" fmla="*/ 103251 h 250507"/>
                  <a:gd name="connsiteX33" fmla="*/ 494252 w 3123248"/>
                  <a:gd name="connsiteY33" fmla="*/ 109347 h 250507"/>
                  <a:gd name="connsiteX34" fmla="*/ 513207 w 3123248"/>
                  <a:gd name="connsiteY34" fmla="*/ 109347 h 250507"/>
                  <a:gd name="connsiteX35" fmla="*/ 513207 w 3123248"/>
                  <a:gd name="connsiteY35" fmla="*/ 115443 h 250507"/>
                  <a:gd name="connsiteX36" fmla="*/ 523685 w 3123248"/>
                  <a:gd name="connsiteY36" fmla="*/ 115443 h 250507"/>
                  <a:gd name="connsiteX37" fmla="*/ 523685 w 3123248"/>
                  <a:gd name="connsiteY37" fmla="*/ 121634 h 250507"/>
                  <a:gd name="connsiteX38" fmla="*/ 557403 w 3123248"/>
                  <a:gd name="connsiteY38" fmla="*/ 121634 h 250507"/>
                  <a:gd name="connsiteX39" fmla="*/ 557403 w 3123248"/>
                  <a:gd name="connsiteY39" fmla="*/ 127730 h 250507"/>
                  <a:gd name="connsiteX40" fmla="*/ 563690 w 3123248"/>
                  <a:gd name="connsiteY40" fmla="*/ 127730 h 250507"/>
                  <a:gd name="connsiteX41" fmla="*/ 563690 w 3123248"/>
                  <a:gd name="connsiteY41" fmla="*/ 133826 h 250507"/>
                  <a:gd name="connsiteX42" fmla="*/ 578358 w 3123248"/>
                  <a:gd name="connsiteY42" fmla="*/ 133826 h 250507"/>
                  <a:gd name="connsiteX43" fmla="*/ 578358 w 3123248"/>
                  <a:gd name="connsiteY43" fmla="*/ 139922 h 250507"/>
                  <a:gd name="connsiteX44" fmla="*/ 591026 w 3123248"/>
                  <a:gd name="connsiteY44" fmla="*/ 139922 h 250507"/>
                  <a:gd name="connsiteX45" fmla="*/ 591026 w 3123248"/>
                  <a:gd name="connsiteY45" fmla="*/ 146113 h 250507"/>
                  <a:gd name="connsiteX46" fmla="*/ 616268 w 3123248"/>
                  <a:gd name="connsiteY46" fmla="*/ 146113 h 250507"/>
                  <a:gd name="connsiteX47" fmla="*/ 616268 w 3123248"/>
                  <a:gd name="connsiteY47" fmla="*/ 152209 h 250507"/>
                  <a:gd name="connsiteX48" fmla="*/ 845534 w 3123248"/>
                  <a:gd name="connsiteY48" fmla="*/ 152209 h 250507"/>
                  <a:gd name="connsiteX49" fmla="*/ 845534 w 3123248"/>
                  <a:gd name="connsiteY49" fmla="*/ 158401 h 250507"/>
                  <a:gd name="connsiteX50" fmla="*/ 959072 w 3123248"/>
                  <a:gd name="connsiteY50" fmla="*/ 158401 h 250507"/>
                  <a:gd name="connsiteX51" fmla="*/ 959072 w 3123248"/>
                  <a:gd name="connsiteY51" fmla="*/ 164592 h 250507"/>
                  <a:gd name="connsiteX52" fmla="*/ 1228249 w 3123248"/>
                  <a:gd name="connsiteY52" fmla="*/ 164592 h 250507"/>
                  <a:gd name="connsiteX53" fmla="*/ 1228249 w 3123248"/>
                  <a:gd name="connsiteY53" fmla="*/ 170878 h 250507"/>
                  <a:gd name="connsiteX54" fmla="*/ 1301877 w 3123248"/>
                  <a:gd name="connsiteY54" fmla="*/ 170878 h 250507"/>
                  <a:gd name="connsiteX55" fmla="*/ 1301877 w 3123248"/>
                  <a:gd name="connsiteY55" fmla="*/ 177165 h 250507"/>
                  <a:gd name="connsiteX56" fmla="*/ 1381792 w 3123248"/>
                  <a:gd name="connsiteY56" fmla="*/ 177165 h 250507"/>
                  <a:gd name="connsiteX57" fmla="*/ 1381792 w 3123248"/>
                  <a:gd name="connsiteY57" fmla="*/ 183451 h 250507"/>
                  <a:gd name="connsiteX58" fmla="*/ 1543717 w 3123248"/>
                  <a:gd name="connsiteY58" fmla="*/ 183451 h 250507"/>
                  <a:gd name="connsiteX59" fmla="*/ 1543717 w 3123248"/>
                  <a:gd name="connsiteY59" fmla="*/ 189928 h 250507"/>
                  <a:gd name="connsiteX60" fmla="*/ 1560576 w 3123248"/>
                  <a:gd name="connsiteY60" fmla="*/ 189928 h 250507"/>
                  <a:gd name="connsiteX61" fmla="*/ 1560576 w 3123248"/>
                  <a:gd name="connsiteY61" fmla="*/ 196310 h 250507"/>
                  <a:gd name="connsiteX62" fmla="*/ 1678400 w 3123248"/>
                  <a:gd name="connsiteY62" fmla="*/ 196310 h 250507"/>
                  <a:gd name="connsiteX63" fmla="*/ 1678400 w 3123248"/>
                  <a:gd name="connsiteY63" fmla="*/ 202787 h 250507"/>
                  <a:gd name="connsiteX64" fmla="*/ 1770888 w 3123248"/>
                  <a:gd name="connsiteY64" fmla="*/ 202787 h 250507"/>
                  <a:gd name="connsiteX65" fmla="*/ 1770888 w 3123248"/>
                  <a:gd name="connsiteY65" fmla="*/ 209169 h 250507"/>
                  <a:gd name="connsiteX66" fmla="*/ 1789843 w 3123248"/>
                  <a:gd name="connsiteY66" fmla="*/ 209169 h 250507"/>
                  <a:gd name="connsiteX67" fmla="*/ 1789843 w 3123248"/>
                  <a:gd name="connsiteY67" fmla="*/ 215646 h 250507"/>
                  <a:gd name="connsiteX68" fmla="*/ 2643664 w 3123248"/>
                  <a:gd name="connsiteY68" fmla="*/ 215646 h 250507"/>
                  <a:gd name="connsiteX69" fmla="*/ 2643664 w 3123248"/>
                  <a:gd name="connsiteY69" fmla="*/ 250507 h 250507"/>
                  <a:gd name="connsiteX70" fmla="*/ 3123248 w 3123248"/>
                  <a:gd name="connsiteY70" fmla="*/ 250507 h 250507"/>
                  <a:gd name="connsiteX0" fmla="*/ 0 w 3116866"/>
                  <a:gd name="connsiteY0" fmla="*/ 0 h 238315"/>
                  <a:gd name="connsiteX1" fmla="*/ 8382 w 3116866"/>
                  <a:gd name="connsiteY1" fmla="*/ 0 h 238315"/>
                  <a:gd name="connsiteX2" fmla="*/ 8382 w 3116866"/>
                  <a:gd name="connsiteY2" fmla="*/ 6001 h 238315"/>
                  <a:gd name="connsiteX3" fmla="*/ 16764 w 3116866"/>
                  <a:gd name="connsiteY3" fmla="*/ 6001 h 238315"/>
                  <a:gd name="connsiteX4" fmla="*/ 16764 w 3116866"/>
                  <a:gd name="connsiteY4" fmla="*/ 12097 h 238315"/>
                  <a:gd name="connsiteX5" fmla="*/ 20955 w 3116866"/>
                  <a:gd name="connsiteY5" fmla="*/ 12097 h 238315"/>
                  <a:gd name="connsiteX6" fmla="*/ 20955 w 3116866"/>
                  <a:gd name="connsiteY6" fmla="*/ 18193 h 238315"/>
                  <a:gd name="connsiteX7" fmla="*/ 94583 w 3116866"/>
                  <a:gd name="connsiteY7" fmla="*/ 18193 h 238315"/>
                  <a:gd name="connsiteX8" fmla="*/ 94583 w 3116866"/>
                  <a:gd name="connsiteY8" fmla="*/ 24193 h 238315"/>
                  <a:gd name="connsiteX9" fmla="*/ 115633 w 3116866"/>
                  <a:gd name="connsiteY9" fmla="*/ 24193 h 238315"/>
                  <a:gd name="connsiteX10" fmla="*/ 115633 w 3116866"/>
                  <a:gd name="connsiteY10" fmla="*/ 30289 h 238315"/>
                  <a:gd name="connsiteX11" fmla="*/ 121920 w 3116866"/>
                  <a:gd name="connsiteY11" fmla="*/ 30289 h 238315"/>
                  <a:gd name="connsiteX12" fmla="*/ 121920 w 3116866"/>
                  <a:gd name="connsiteY12" fmla="*/ 36385 h 238315"/>
                  <a:gd name="connsiteX13" fmla="*/ 164020 w 3116866"/>
                  <a:gd name="connsiteY13" fmla="*/ 36385 h 238315"/>
                  <a:gd name="connsiteX14" fmla="*/ 164020 w 3116866"/>
                  <a:gd name="connsiteY14" fmla="*/ 42386 h 238315"/>
                  <a:gd name="connsiteX15" fmla="*/ 178689 w 3116866"/>
                  <a:gd name="connsiteY15" fmla="*/ 42386 h 238315"/>
                  <a:gd name="connsiteX16" fmla="*/ 178689 w 3116866"/>
                  <a:gd name="connsiteY16" fmla="*/ 48482 h 238315"/>
                  <a:gd name="connsiteX17" fmla="*/ 208216 w 3116866"/>
                  <a:gd name="connsiteY17" fmla="*/ 48482 h 238315"/>
                  <a:gd name="connsiteX18" fmla="*/ 208216 w 3116866"/>
                  <a:gd name="connsiteY18" fmla="*/ 54578 h 238315"/>
                  <a:gd name="connsiteX19" fmla="*/ 210312 w 3116866"/>
                  <a:gd name="connsiteY19" fmla="*/ 54578 h 238315"/>
                  <a:gd name="connsiteX20" fmla="*/ 210312 w 3116866"/>
                  <a:gd name="connsiteY20" fmla="*/ 60579 h 238315"/>
                  <a:gd name="connsiteX21" fmla="*/ 233362 w 3116866"/>
                  <a:gd name="connsiteY21" fmla="*/ 60579 h 238315"/>
                  <a:gd name="connsiteX22" fmla="*/ 233362 w 3116866"/>
                  <a:gd name="connsiteY22" fmla="*/ 66675 h 238315"/>
                  <a:gd name="connsiteX23" fmla="*/ 246031 w 3116866"/>
                  <a:gd name="connsiteY23" fmla="*/ 66675 h 238315"/>
                  <a:gd name="connsiteX24" fmla="*/ 246031 w 3116866"/>
                  <a:gd name="connsiteY24" fmla="*/ 72771 h 238315"/>
                  <a:gd name="connsiteX25" fmla="*/ 281749 w 3116866"/>
                  <a:gd name="connsiteY25" fmla="*/ 72771 h 238315"/>
                  <a:gd name="connsiteX26" fmla="*/ 281749 w 3116866"/>
                  <a:gd name="connsiteY26" fmla="*/ 78867 h 238315"/>
                  <a:gd name="connsiteX27" fmla="*/ 397478 w 3116866"/>
                  <a:gd name="connsiteY27" fmla="*/ 78867 h 238315"/>
                  <a:gd name="connsiteX28" fmla="*/ 397478 w 3116866"/>
                  <a:gd name="connsiteY28" fmla="*/ 84868 h 238315"/>
                  <a:gd name="connsiteX29" fmla="*/ 435292 w 3116866"/>
                  <a:gd name="connsiteY29" fmla="*/ 84868 h 238315"/>
                  <a:gd name="connsiteX30" fmla="*/ 435292 w 3116866"/>
                  <a:gd name="connsiteY30" fmla="*/ 91059 h 238315"/>
                  <a:gd name="connsiteX31" fmla="*/ 487870 w 3116866"/>
                  <a:gd name="connsiteY31" fmla="*/ 91059 h 238315"/>
                  <a:gd name="connsiteX32" fmla="*/ 487870 w 3116866"/>
                  <a:gd name="connsiteY32" fmla="*/ 97155 h 238315"/>
                  <a:gd name="connsiteX33" fmla="*/ 506825 w 3116866"/>
                  <a:gd name="connsiteY33" fmla="*/ 97155 h 238315"/>
                  <a:gd name="connsiteX34" fmla="*/ 506825 w 3116866"/>
                  <a:gd name="connsiteY34" fmla="*/ 103251 h 238315"/>
                  <a:gd name="connsiteX35" fmla="*/ 517303 w 3116866"/>
                  <a:gd name="connsiteY35" fmla="*/ 103251 h 238315"/>
                  <a:gd name="connsiteX36" fmla="*/ 517303 w 3116866"/>
                  <a:gd name="connsiteY36" fmla="*/ 109442 h 238315"/>
                  <a:gd name="connsiteX37" fmla="*/ 551021 w 3116866"/>
                  <a:gd name="connsiteY37" fmla="*/ 109442 h 238315"/>
                  <a:gd name="connsiteX38" fmla="*/ 551021 w 3116866"/>
                  <a:gd name="connsiteY38" fmla="*/ 115538 h 238315"/>
                  <a:gd name="connsiteX39" fmla="*/ 557308 w 3116866"/>
                  <a:gd name="connsiteY39" fmla="*/ 115538 h 238315"/>
                  <a:gd name="connsiteX40" fmla="*/ 557308 w 3116866"/>
                  <a:gd name="connsiteY40" fmla="*/ 121634 h 238315"/>
                  <a:gd name="connsiteX41" fmla="*/ 571976 w 3116866"/>
                  <a:gd name="connsiteY41" fmla="*/ 121634 h 238315"/>
                  <a:gd name="connsiteX42" fmla="*/ 571976 w 3116866"/>
                  <a:gd name="connsiteY42" fmla="*/ 127730 h 238315"/>
                  <a:gd name="connsiteX43" fmla="*/ 584644 w 3116866"/>
                  <a:gd name="connsiteY43" fmla="*/ 127730 h 238315"/>
                  <a:gd name="connsiteX44" fmla="*/ 584644 w 3116866"/>
                  <a:gd name="connsiteY44" fmla="*/ 133921 h 238315"/>
                  <a:gd name="connsiteX45" fmla="*/ 609886 w 3116866"/>
                  <a:gd name="connsiteY45" fmla="*/ 133921 h 238315"/>
                  <a:gd name="connsiteX46" fmla="*/ 609886 w 3116866"/>
                  <a:gd name="connsiteY46" fmla="*/ 140017 h 238315"/>
                  <a:gd name="connsiteX47" fmla="*/ 839152 w 3116866"/>
                  <a:gd name="connsiteY47" fmla="*/ 140017 h 238315"/>
                  <a:gd name="connsiteX48" fmla="*/ 839152 w 3116866"/>
                  <a:gd name="connsiteY48" fmla="*/ 146209 h 238315"/>
                  <a:gd name="connsiteX49" fmla="*/ 952690 w 3116866"/>
                  <a:gd name="connsiteY49" fmla="*/ 146209 h 238315"/>
                  <a:gd name="connsiteX50" fmla="*/ 952690 w 3116866"/>
                  <a:gd name="connsiteY50" fmla="*/ 152400 h 238315"/>
                  <a:gd name="connsiteX51" fmla="*/ 1221867 w 3116866"/>
                  <a:gd name="connsiteY51" fmla="*/ 152400 h 238315"/>
                  <a:gd name="connsiteX52" fmla="*/ 1221867 w 3116866"/>
                  <a:gd name="connsiteY52" fmla="*/ 158686 h 238315"/>
                  <a:gd name="connsiteX53" fmla="*/ 1295495 w 3116866"/>
                  <a:gd name="connsiteY53" fmla="*/ 158686 h 238315"/>
                  <a:gd name="connsiteX54" fmla="*/ 1295495 w 3116866"/>
                  <a:gd name="connsiteY54" fmla="*/ 164973 h 238315"/>
                  <a:gd name="connsiteX55" fmla="*/ 1375410 w 3116866"/>
                  <a:gd name="connsiteY55" fmla="*/ 164973 h 238315"/>
                  <a:gd name="connsiteX56" fmla="*/ 1375410 w 3116866"/>
                  <a:gd name="connsiteY56" fmla="*/ 171259 h 238315"/>
                  <a:gd name="connsiteX57" fmla="*/ 1537335 w 3116866"/>
                  <a:gd name="connsiteY57" fmla="*/ 171259 h 238315"/>
                  <a:gd name="connsiteX58" fmla="*/ 1537335 w 3116866"/>
                  <a:gd name="connsiteY58" fmla="*/ 177736 h 238315"/>
                  <a:gd name="connsiteX59" fmla="*/ 1554194 w 3116866"/>
                  <a:gd name="connsiteY59" fmla="*/ 177736 h 238315"/>
                  <a:gd name="connsiteX60" fmla="*/ 1554194 w 3116866"/>
                  <a:gd name="connsiteY60" fmla="*/ 184118 h 238315"/>
                  <a:gd name="connsiteX61" fmla="*/ 1672018 w 3116866"/>
                  <a:gd name="connsiteY61" fmla="*/ 184118 h 238315"/>
                  <a:gd name="connsiteX62" fmla="*/ 1672018 w 3116866"/>
                  <a:gd name="connsiteY62" fmla="*/ 190595 h 238315"/>
                  <a:gd name="connsiteX63" fmla="*/ 1764506 w 3116866"/>
                  <a:gd name="connsiteY63" fmla="*/ 190595 h 238315"/>
                  <a:gd name="connsiteX64" fmla="*/ 1764506 w 3116866"/>
                  <a:gd name="connsiteY64" fmla="*/ 196977 h 238315"/>
                  <a:gd name="connsiteX65" fmla="*/ 1783461 w 3116866"/>
                  <a:gd name="connsiteY65" fmla="*/ 196977 h 238315"/>
                  <a:gd name="connsiteX66" fmla="*/ 1783461 w 3116866"/>
                  <a:gd name="connsiteY66" fmla="*/ 203454 h 238315"/>
                  <a:gd name="connsiteX67" fmla="*/ 2637282 w 3116866"/>
                  <a:gd name="connsiteY67" fmla="*/ 203454 h 238315"/>
                  <a:gd name="connsiteX68" fmla="*/ 2637282 w 3116866"/>
                  <a:gd name="connsiteY68" fmla="*/ 238315 h 238315"/>
                  <a:gd name="connsiteX69" fmla="*/ 3116866 w 3116866"/>
                  <a:gd name="connsiteY69" fmla="*/ 238315 h 238315"/>
                  <a:gd name="connsiteX0" fmla="*/ 0 w 3116866"/>
                  <a:gd name="connsiteY0" fmla="*/ 0 h 238315"/>
                  <a:gd name="connsiteX1" fmla="*/ 8382 w 3116866"/>
                  <a:gd name="connsiteY1" fmla="*/ 6001 h 238315"/>
                  <a:gd name="connsiteX2" fmla="*/ 16764 w 3116866"/>
                  <a:gd name="connsiteY2" fmla="*/ 6001 h 238315"/>
                  <a:gd name="connsiteX3" fmla="*/ 16764 w 3116866"/>
                  <a:gd name="connsiteY3" fmla="*/ 12097 h 238315"/>
                  <a:gd name="connsiteX4" fmla="*/ 20955 w 3116866"/>
                  <a:gd name="connsiteY4" fmla="*/ 12097 h 238315"/>
                  <a:gd name="connsiteX5" fmla="*/ 20955 w 3116866"/>
                  <a:gd name="connsiteY5" fmla="*/ 18193 h 238315"/>
                  <a:gd name="connsiteX6" fmla="*/ 94583 w 3116866"/>
                  <a:gd name="connsiteY6" fmla="*/ 18193 h 238315"/>
                  <a:gd name="connsiteX7" fmla="*/ 94583 w 3116866"/>
                  <a:gd name="connsiteY7" fmla="*/ 24193 h 238315"/>
                  <a:gd name="connsiteX8" fmla="*/ 115633 w 3116866"/>
                  <a:gd name="connsiteY8" fmla="*/ 24193 h 238315"/>
                  <a:gd name="connsiteX9" fmla="*/ 115633 w 3116866"/>
                  <a:gd name="connsiteY9" fmla="*/ 30289 h 238315"/>
                  <a:gd name="connsiteX10" fmla="*/ 121920 w 3116866"/>
                  <a:gd name="connsiteY10" fmla="*/ 30289 h 238315"/>
                  <a:gd name="connsiteX11" fmla="*/ 121920 w 3116866"/>
                  <a:gd name="connsiteY11" fmla="*/ 36385 h 238315"/>
                  <a:gd name="connsiteX12" fmla="*/ 164020 w 3116866"/>
                  <a:gd name="connsiteY12" fmla="*/ 36385 h 238315"/>
                  <a:gd name="connsiteX13" fmla="*/ 164020 w 3116866"/>
                  <a:gd name="connsiteY13" fmla="*/ 42386 h 238315"/>
                  <a:gd name="connsiteX14" fmla="*/ 178689 w 3116866"/>
                  <a:gd name="connsiteY14" fmla="*/ 42386 h 238315"/>
                  <a:gd name="connsiteX15" fmla="*/ 178689 w 3116866"/>
                  <a:gd name="connsiteY15" fmla="*/ 48482 h 238315"/>
                  <a:gd name="connsiteX16" fmla="*/ 208216 w 3116866"/>
                  <a:gd name="connsiteY16" fmla="*/ 48482 h 238315"/>
                  <a:gd name="connsiteX17" fmla="*/ 208216 w 3116866"/>
                  <a:gd name="connsiteY17" fmla="*/ 54578 h 238315"/>
                  <a:gd name="connsiteX18" fmla="*/ 210312 w 3116866"/>
                  <a:gd name="connsiteY18" fmla="*/ 54578 h 238315"/>
                  <a:gd name="connsiteX19" fmla="*/ 210312 w 3116866"/>
                  <a:gd name="connsiteY19" fmla="*/ 60579 h 238315"/>
                  <a:gd name="connsiteX20" fmla="*/ 233362 w 3116866"/>
                  <a:gd name="connsiteY20" fmla="*/ 60579 h 238315"/>
                  <a:gd name="connsiteX21" fmla="*/ 233362 w 3116866"/>
                  <a:gd name="connsiteY21" fmla="*/ 66675 h 238315"/>
                  <a:gd name="connsiteX22" fmla="*/ 246031 w 3116866"/>
                  <a:gd name="connsiteY22" fmla="*/ 66675 h 238315"/>
                  <a:gd name="connsiteX23" fmla="*/ 246031 w 3116866"/>
                  <a:gd name="connsiteY23" fmla="*/ 72771 h 238315"/>
                  <a:gd name="connsiteX24" fmla="*/ 281749 w 3116866"/>
                  <a:gd name="connsiteY24" fmla="*/ 72771 h 238315"/>
                  <a:gd name="connsiteX25" fmla="*/ 281749 w 3116866"/>
                  <a:gd name="connsiteY25" fmla="*/ 78867 h 238315"/>
                  <a:gd name="connsiteX26" fmla="*/ 397478 w 3116866"/>
                  <a:gd name="connsiteY26" fmla="*/ 78867 h 238315"/>
                  <a:gd name="connsiteX27" fmla="*/ 397478 w 3116866"/>
                  <a:gd name="connsiteY27" fmla="*/ 84868 h 238315"/>
                  <a:gd name="connsiteX28" fmla="*/ 435292 w 3116866"/>
                  <a:gd name="connsiteY28" fmla="*/ 84868 h 238315"/>
                  <a:gd name="connsiteX29" fmla="*/ 435292 w 3116866"/>
                  <a:gd name="connsiteY29" fmla="*/ 91059 h 238315"/>
                  <a:gd name="connsiteX30" fmla="*/ 487870 w 3116866"/>
                  <a:gd name="connsiteY30" fmla="*/ 91059 h 238315"/>
                  <a:gd name="connsiteX31" fmla="*/ 487870 w 3116866"/>
                  <a:gd name="connsiteY31" fmla="*/ 97155 h 238315"/>
                  <a:gd name="connsiteX32" fmla="*/ 506825 w 3116866"/>
                  <a:gd name="connsiteY32" fmla="*/ 97155 h 238315"/>
                  <a:gd name="connsiteX33" fmla="*/ 506825 w 3116866"/>
                  <a:gd name="connsiteY33" fmla="*/ 103251 h 238315"/>
                  <a:gd name="connsiteX34" fmla="*/ 517303 w 3116866"/>
                  <a:gd name="connsiteY34" fmla="*/ 103251 h 238315"/>
                  <a:gd name="connsiteX35" fmla="*/ 517303 w 3116866"/>
                  <a:gd name="connsiteY35" fmla="*/ 109442 h 238315"/>
                  <a:gd name="connsiteX36" fmla="*/ 551021 w 3116866"/>
                  <a:gd name="connsiteY36" fmla="*/ 109442 h 238315"/>
                  <a:gd name="connsiteX37" fmla="*/ 551021 w 3116866"/>
                  <a:gd name="connsiteY37" fmla="*/ 115538 h 238315"/>
                  <a:gd name="connsiteX38" fmla="*/ 557308 w 3116866"/>
                  <a:gd name="connsiteY38" fmla="*/ 115538 h 238315"/>
                  <a:gd name="connsiteX39" fmla="*/ 557308 w 3116866"/>
                  <a:gd name="connsiteY39" fmla="*/ 121634 h 238315"/>
                  <a:gd name="connsiteX40" fmla="*/ 571976 w 3116866"/>
                  <a:gd name="connsiteY40" fmla="*/ 121634 h 238315"/>
                  <a:gd name="connsiteX41" fmla="*/ 571976 w 3116866"/>
                  <a:gd name="connsiteY41" fmla="*/ 127730 h 238315"/>
                  <a:gd name="connsiteX42" fmla="*/ 584644 w 3116866"/>
                  <a:gd name="connsiteY42" fmla="*/ 127730 h 238315"/>
                  <a:gd name="connsiteX43" fmla="*/ 584644 w 3116866"/>
                  <a:gd name="connsiteY43" fmla="*/ 133921 h 238315"/>
                  <a:gd name="connsiteX44" fmla="*/ 609886 w 3116866"/>
                  <a:gd name="connsiteY44" fmla="*/ 133921 h 238315"/>
                  <a:gd name="connsiteX45" fmla="*/ 609886 w 3116866"/>
                  <a:gd name="connsiteY45" fmla="*/ 140017 h 238315"/>
                  <a:gd name="connsiteX46" fmla="*/ 839152 w 3116866"/>
                  <a:gd name="connsiteY46" fmla="*/ 140017 h 238315"/>
                  <a:gd name="connsiteX47" fmla="*/ 839152 w 3116866"/>
                  <a:gd name="connsiteY47" fmla="*/ 146209 h 238315"/>
                  <a:gd name="connsiteX48" fmla="*/ 952690 w 3116866"/>
                  <a:gd name="connsiteY48" fmla="*/ 146209 h 238315"/>
                  <a:gd name="connsiteX49" fmla="*/ 952690 w 3116866"/>
                  <a:gd name="connsiteY49" fmla="*/ 152400 h 238315"/>
                  <a:gd name="connsiteX50" fmla="*/ 1221867 w 3116866"/>
                  <a:gd name="connsiteY50" fmla="*/ 152400 h 238315"/>
                  <a:gd name="connsiteX51" fmla="*/ 1221867 w 3116866"/>
                  <a:gd name="connsiteY51" fmla="*/ 158686 h 238315"/>
                  <a:gd name="connsiteX52" fmla="*/ 1295495 w 3116866"/>
                  <a:gd name="connsiteY52" fmla="*/ 158686 h 238315"/>
                  <a:gd name="connsiteX53" fmla="*/ 1295495 w 3116866"/>
                  <a:gd name="connsiteY53" fmla="*/ 164973 h 238315"/>
                  <a:gd name="connsiteX54" fmla="*/ 1375410 w 3116866"/>
                  <a:gd name="connsiteY54" fmla="*/ 164973 h 238315"/>
                  <a:gd name="connsiteX55" fmla="*/ 1375410 w 3116866"/>
                  <a:gd name="connsiteY55" fmla="*/ 171259 h 238315"/>
                  <a:gd name="connsiteX56" fmla="*/ 1537335 w 3116866"/>
                  <a:gd name="connsiteY56" fmla="*/ 171259 h 238315"/>
                  <a:gd name="connsiteX57" fmla="*/ 1537335 w 3116866"/>
                  <a:gd name="connsiteY57" fmla="*/ 177736 h 238315"/>
                  <a:gd name="connsiteX58" fmla="*/ 1554194 w 3116866"/>
                  <a:gd name="connsiteY58" fmla="*/ 177736 h 238315"/>
                  <a:gd name="connsiteX59" fmla="*/ 1554194 w 3116866"/>
                  <a:gd name="connsiteY59" fmla="*/ 184118 h 238315"/>
                  <a:gd name="connsiteX60" fmla="*/ 1672018 w 3116866"/>
                  <a:gd name="connsiteY60" fmla="*/ 184118 h 238315"/>
                  <a:gd name="connsiteX61" fmla="*/ 1672018 w 3116866"/>
                  <a:gd name="connsiteY61" fmla="*/ 190595 h 238315"/>
                  <a:gd name="connsiteX62" fmla="*/ 1764506 w 3116866"/>
                  <a:gd name="connsiteY62" fmla="*/ 190595 h 238315"/>
                  <a:gd name="connsiteX63" fmla="*/ 1764506 w 3116866"/>
                  <a:gd name="connsiteY63" fmla="*/ 196977 h 238315"/>
                  <a:gd name="connsiteX64" fmla="*/ 1783461 w 3116866"/>
                  <a:gd name="connsiteY64" fmla="*/ 196977 h 238315"/>
                  <a:gd name="connsiteX65" fmla="*/ 1783461 w 3116866"/>
                  <a:gd name="connsiteY65" fmla="*/ 203454 h 238315"/>
                  <a:gd name="connsiteX66" fmla="*/ 2637282 w 3116866"/>
                  <a:gd name="connsiteY66" fmla="*/ 203454 h 238315"/>
                  <a:gd name="connsiteX67" fmla="*/ 2637282 w 3116866"/>
                  <a:gd name="connsiteY67" fmla="*/ 238315 h 238315"/>
                  <a:gd name="connsiteX68" fmla="*/ 3116866 w 3116866"/>
                  <a:gd name="connsiteY68" fmla="*/ 238315 h 238315"/>
                  <a:gd name="connsiteX0" fmla="*/ 0 w 3116866"/>
                  <a:gd name="connsiteY0" fmla="*/ 0 h 238315"/>
                  <a:gd name="connsiteX1" fmla="*/ 8382 w 3116866"/>
                  <a:gd name="connsiteY1" fmla="*/ 6001 h 238315"/>
                  <a:gd name="connsiteX2" fmla="*/ 16764 w 3116866"/>
                  <a:gd name="connsiteY2" fmla="*/ 6001 h 238315"/>
                  <a:gd name="connsiteX3" fmla="*/ 20955 w 3116866"/>
                  <a:gd name="connsiteY3" fmla="*/ 12097 h 238315"/>
                  <a:gd name="connsiteX4" fmla="*/ 20955 w 3116866"/>
                  <a:gd name="connsiteY4" fmla="*/ 18193 h 238315"/>
                  <a:gd name="connsiteX5" fmla="*/ 94583 w 3116866"/>
                  <a:gd name="connsiteY5" fmla="*/ 18193 h 238315"/>
                  <a:gd name="connsiteX6" fmla="*/ 94583 w 3116866"/>
                  <a:gd name="connsiteY6" fmla="*/ 24193 h 238315"/>
                  <a:gd name="connsiteX7" fmla="*/ 115633 w 3116866"/>
                  <a:gd name="connsiteY7" fmla="*/ 24193 h 238315"/>
                  <a:gd name="connsiteX8" fmla="*/ 115633 w 3116866"/>
                  <a:gd name="connsiteY8" fmla="*/ 30289 h 238315"/>
                  <a:gd name="connsiteX9" fmla="*/ 121920 w 3116866"/>
                  <a:gd name="connsiteY9" fmla="*/ 30289 h 238315"/>
                  <a:gd name="connsiteX10" fmla="*/ 121920 w 3116866"/>
                  <a:gd name="connsiteY10" fmla="*/ 36385 h 238315"/>
                  <a:gd name="connsiteX11" fmla="*/ 164020 w 3116866"/>
                  <a:gd name="connsiteY11" fmla="*/ 36385 h 238315"/>
                  <a:gd name="connsiteX12" fmla="*/ 164020 w 3116866"/>
                  <a:gd name="connsiteY12" fmla="*/ 42386 h 238315"/>
                  <a:gd name="connsiteX13" fmla="*/ 178689 w 3116866"/>
                  <a:gd name="connsiteY13" fmla="*/ 42386 h 238315"/>
                  <a:gd name="connsiteX14" fmla="*/ 178689 w 3116866"/>
                  <a:gd name="connsiteY14" fmla="*/ 48482 h 238315"/>
                  <a:gd name="connsiteX15" fmla="*/ 208216 w 3116866"/>
                  <a:gd name="connsiteY15" fmla="*/ 48482 h 238315"/>
                  <a:gd name="connsiteX16" fmla="*/ 208216 w 3116866"/>
                  <a:gd name="connsiteY16" fmla="*/ 54578 h 238315"/>
                  <a:gd name="connsiteX17" fmla="*/ 210312 w 3116866"/>
                  <a:gd name="connsiteY17" fmla="*/ 54578 h 238315"/>
                  <a:gd name="connsiteX18" fmla="*/ 210312 w 3116866"/>
                  <a:gd name="connsiteY18" fmla="*/ 60579 h 238315"/>
                  <a:gd name="connsiteX19" fmla="*/ 233362 w 3116866"/>
                  <a:gd name="connsiteY19" fmla="*/ 60579 h 238315"/>
                  <a:gd name="connsiteX20" fmla="*/ 233362 w 3116866"/>
                  <a:gd name="connsiteY20" fmla="*/ 66675 h 238315"/>
                  <a:gd name="connsiteX21" fmla="*/ 246031 w 3116866"/>
                  <a:gd name="connsiteY21" fmla="*/ 66675 h 238315"/>
                  <a:gd name="connsiteX22" fmla="*/ 246031 w 3116866"/>
                  <a:gd name="connsiteY22" fmla="*/ 72771 h 238315"/>
                  <a:gd name="connsiteX23" fmla="*/ 281749 w 3116866"/>
                  <a:gd name="connsiteY23" fmla="*/ 72771 h 238315"/>
                  <a:gd name="connsiteX24" fmla="*/ 281749 w 3116866"/>
                  <a:gd name="connsiteY24" fmla="*/ 78867 h 238315"/>
                  <a:gd name="connsiteX25" fmla="*/ 397478 w 3116866"/>
                  <a:gd name="connsiteY25" fmla="*/ 78867 h 238315"/>
                  <a:gd name="connsiteX26" fmla="*/ 397478 w 3116866"/>
                  <a:gd name="connsiteY26" fmla="*/ 84868 h 238315"/>
                  <a:gd name="connsiteX27" fmla="*/ 435292 w 3116866"/>
                  <a:gd name="connsiteY27" fmla="*/ 84868 h 238315"/>
                  <a:gd name="connsiteX28" fmla="*/ 435292 w 3116866"/>
                  <a:gd name="connsiteY28" fmla="*/ 91059 h 238315"/>
                  <a:gd name="connsiteX29" fmla="*/ 487870 w 3116866"/>
                  <a:gd name="connsiteY29" fmla="*/ 91059 h 238315"/>
                  <a:gd name="connsiteX30" fmla="*/ 487870 w 3116866"/>
                  <a:gd name="connsiteY30" fmla="*/ 97155 h 238315"/>
                  <a:gd name="connsiteX31" fmla="*/ 506825 w 3116866"/>
                  <a:gd name="connsiteY31" fmla="*/ 97155 h 238315"/>
                  <a:gd name="connsiteX32" fmla="*/ 506825 w 3116866"/>
                  <a:gd name="connsiteY32" fmla="*/ 103251 h 238315"/>
                  <a:gd name="connsiteX33" fmla="*/ 517303 w 3116866"/>
                  <a:gd name="connsiteY33" fmla="*/ 103251 h 238315"/>
                  <a:gd name="connsiteX34" fmla="*/ 517303 w 3116866"/>
                  <a:gd name="connsiteY34" fmla="*/ 109442 h 238315"/>
                  <a:gd name="connsiteX35" fmla="*/ 551021 w 3116866"/>
                  <a:gd name="connsiteY35" fmla="*/ 109442 h 238315"/>
                  <a:gd name="connsiteX36" fmla="*/ 551021 w 3116866"/>
                  <a:gd name="connsiteY36" fmla="*/ 115538 h 238315"/>
                  <a:gd name="connsiteX37" fmla="*/ 557308 w 3116866"/>
                  <a:gd name="connsiteY37" fmla="*/ 115538 h 238315"/>
                  <a:gd name="connsiteX38" fmla="*/ 557308 w 3116866"/>
                  <a:gd name="connsiteY38" fmla="*/ 121634 h 238315"/>
                  <a:gd name="connsiteX39" fmla="*/ 571976 w 3116866"/>
                  <a:gd name="connsiteY39" fmla="*/ 121634 h 238315"/>
                  <a:gd name="connsiteX40" fmla="*/ 571976 w 3116866"/>
                  <a:gd name="connsiteY40" fmla="*/ 127730 h 238315"/>
                  <a:gd name="connsiteX41" fmla="*/ 584644 w 3116866"/>
                  <a:gd name="connsiteY41" fmla="*/ 127730 h 238315"/>
                  <a:gd name="connsiteX42" fmla="*/ 584644 w 3116866"/>
                  <a:gd name="connsiteY42" fmla="*/ 133921 h 238315"/>
                  <a:gd name="connsiteX43" fmla="*/ 609886 w 3116866"/>
                  <a:gd name="connsiteY43" fmla="*/ 133921 h 238315"/>
                  <a:gd name="connsiteX44" fmla="*/ 609886 w 3116866"/>
                  <a:gd name="connsiteY44" fmla="*/ 140017 h 238315"/>
                  <a:gd name="connsiteX45" fmla="*/ 839152 w 3116866"/>
                  <a:gd name="connsiteY45" fmla="*/ 140017 h 238315"/>
                  <a:gd name="connsiteX46" fmla="*/ 839152 w 3116866"/>
                  <a:gd name="connsiteY46" fmla="*/ 146209 h 238315"/>
                  <a:gd name="connsiteX47" fmla="*/ 952690 w 3116866"/>
                  <a:gd name="connsiteY47" fmla="*/ 146209 h 238315"/>
                  <a:gd name="connsiteX48" fmla="*/ 952690 w 3116866"/>
                  <a:gd name="connsiteY48" fmla="*/ 152400 h 238315"/>
                  <a:gd name="connsiteX49" fmla="*/ 1221867 w 3116866"/>
                  <a:gd name="connsiteY49" fmla="*/ 152400 h 238315"/>
                  <a:gd name="connsiteX50" fmla="*/ 1221867 w 3116866"/>
                  <a:gd name="connsiteY50" fmla="*/ 158686 h 238315"/>
                  <a:gd name="connsiteX51" fmla="*/ 1295495 w 3116866"/>
                  <a:gd name="connsiteY51" fmla="*/ 158686 h 238315"/>
                  <a:gd name="connsiteX52" fmla="*/ 1295495 w 3116866"/>
                  <a:gd name="connsiteY52" fmla="*/ 164973 h 238315"/>
                  <a:gd name="connsiteX53" fmla="*/ 1375410 w 3116866"/>
                  <a:gd name="connsiteY53" fmla="*/ 164973 h 238315"/>
                  <a:gd name="connsiteX54" fmla="*/ 1375410 w 3116866"/>
                  <a:gd name="connsiteY54" fmla="*/ 171259 h 238315"/>
                  <a:gd name="connsiteX55" fmla="*/ 1537335 w 3116866"/>
                  <a:gd name="connsiteY55" fmla="*/ 171259 h 238315"/>
                  <a:gd name="connsiteX56" fmla="*/ 1537335 w 3116866"/>
                  <a:gd name="connsiteY56" fmla="*/ 177736 h 238315"/>
                  <a:gd name="connsiteX57" fmla="*/ 1554194 w 3116866"/>
                  <a:gd name="connsiteY57" fmla="*/ 177736 h 238315"/>
                  <a:gd name="connsiteX58" fmla="*/ 1554194 w 3116866"/>
                  <a:gd name="connsiteY58" fmla="*/ 184118 h 238315"/>
                  <a:gd name="connsiteX59" fmla="*/ 1672018 w 3116866"/>
                  <a:gd name="connsiteY59" fmla="*/ 184118 h 238315"/>
                  <a:gd name="connsiteX60" fmla="*/ 1672018 w 3116866"/>
                  <a:gd name="connsiteY60" fmla="*/ 190595 h 238315"/>
                  <a:gd name="connsiteX61" fmla="*/ 1764506 w 3116866"/>
                  <a:gd name="connsiteY61" fmla="*/ 190595 h 238315"/>
                  <a:gd name="connsiteX62" fmla="*/ 1764506 w 3116866"/>
                  <a:gd name="connsiteY62" fmla="*/ 196977 h 238315"/>
                  <a:gd name="connsiteX63" fmla="*/ 1783461 w 3116866"/>
                  <a:gd name="connsiteY63" fmla="*/ 196977 h 238315"/>
                  <a:gd name="connsiteX64" fmla="*/ 1783461 w 3116866"/>
                  <a:gd name="connsiteY64" fmla="*/ 203454 h 238315"/>
                  <a:gd name="connsiteX65" fmla="*/ 2637282 w 3116866"/>
                  <a:gd name="connsiteY65" fmla="*/ 203454 h 238315"/>
                  <a:gd name="connsiteX66" fmla="*/ 2637282 w 3116866"/>
                  <a:gd name="connsiteY66" fmla="*/ 238315 h 238315"/>
                  <a:gd name="connsiteX67" fmla="*/ 3116866 w 3116866"/>
                  <a:gd name="connsiteY67" fmla="*/ 238315 h 238315"/>
                  <a:gd name="connsiteX0" fmla="*/ 0 w 3116866"/>
                  <a:gd name="connsiteY0" fmla="*/ 0 h 238315"/>
                  <a:gd name="connsiteX1" fmla="*/ 16764 w 3116866"/>
                  <a:gd name="connsiteY1" fmla="*/ 6001 h 238315"/>
                  <a:gd name="connsiteX2" fmla="*/ 20955 w 3116866"/>
                  <a:gd name="connsiteY2" fmla="*/ 12097 h 238315"/>
                  <a:gd name="connsiteX3" fmla="*/ 20955 w 3116866"/>
                  <a:gd name="connsiteY3" fmla="*/ 18193 h 238315"/>
                  <a:gd name="connsiteX4" fmla="*/ 94583 w 3116866"/>
                  <a:gd name="connsiteY4" fmla="*/ 18193 h 238315"/>
                  <a:gd name="connsiteX5" fmla="*/ 94583 w 3116866"/>
                  <a:gd name="connsiteY5" fmla="*/ 24193 h 238315"/>
                  <a:gd name="connsiteX6" fmla="*/ 115633 w 3116866"/>
                  <a:gd name="connsiteY6" fmla="*/ 24193 h 238315"/>
                  <a:gd name="connsiteX7" fmla="*/ 115633 w 3116866"/>
                  <a:gd name="connsiteY7" fmla="*/ 30289 h 238315"/>
                  <a:gd name="connsiteX8" fmla="*/ 121920 w 3116866"/>
                  <a:gd name="connsiteY8" fmla="*/ 30289 h 238315"/>
                  <a:gd name="connsiteX9" fmla="*/ 121920 w 3116866"/>
                  <a:gd name="connsiteY9" fmla="*/ 36385 h 238315"/>
                  <a:gd name="connsiteX10" fmla="*/ 164020 w 3116866"/>
                  <a:gd name="connsiteY10" fmla="*/ 36385 h 238315"/>
                  <a:gd name="connsiteX11" fmla="*/ 164020 w 3116866"/>
                  <a:gd name="connsiteY11" fmla="*/ 42386 h 238315"/>
                  <a:gd name="connsiteX12" fmla="*/ 178689 w 3116866"/>
                  <a:gd name="connsiteY12" fmla="*/ 42386 h 238315"/>
                  <a:gd name="connsiteX13" fmla="*/ 178689 w 3116866"/>
                  <a:gd name="connsiteY13" fmla="*/ 48482 h 238315"/>
                  <a:gd name="connsiteX14" fmla="*/ 208216 w 3116866"/>
                  <a:gd name="connsiteY14" fmla="*/ 48482 h 238315"/>
                  <a:gd name="connsiteX15" fmla="*/ 208216 w 3116866"/>
                  <a:gd name="connsiteY15" fmla="*/ 54578 h 238315"/>
                  <a:gd name="connsiteX16" fmla="*/ 210312 w 3116866"/>
                  <a:gd name="connsiteY16" fmla="*/ 54578 h 238315"/>
                  <a:gd name="connsiteX17" fmla="*/ 210312 w 3116866"/>
                  <a:gd name="connsiteY17" fmla="*/ 60579 h 238315"/>
                  <a:gd name="connsiteX18" fmla="*/ 233362 w 3116866"/>
                  <a:gd name="connsiteY18" fmla="*/ 60579 h 238315"/>
                  <a:gd name="connsiteX19" fmla="*/ 233362 w 3116866"/>
                  <a:gd name="connsiteY19" fmla="*/ 66675 h 238315"/>
                  <a:gd name="connsiteX20" fmla="*/ 246031 w 3116866"/>
                  <a:gd name="connsiteY20" fmla="*/ 66675 h 238315"/>
                  <a:gd name="connsiteX21" fmla="*/ 246031 w 3116866"/>
                  <a:gd name="connsiteY21" fmla="*/ 72771 h 238315"/>
                  <a:gd name="connsiteX22" fmla="*/ 281749 w 3116866"/>
                  <a:gd name="connsiteY22" fmla="*/ 72771 h 238315"/>
                  <a:gd name="connsiteX23" fmla="*/ 281749 w 3116866"/>
                  <a:gd name="connsiteY23" fmla="*/ 78867 h 238315"/>
                  <a:gd name="connsiteX24" fmla="*/ 397478 w 3116866"/>
                  <a:gd name="connsiteY24" fmla="*/ 78867 h 238315"/>
                  <a:gd name="connsiteX25" fmla="*/ 397478 w 3116866"/>
                  <a:gd name="connsiteY25" fmla="*/ 84868 h 238315"/>
                  <a:gd name="connsiteX26" fmla="*/ 435292 w 3116866"/>
                  <a:gd name="connsiteY26" fmla="*/ 84868 h 238315"/>
                  <a:gd name="connsiteX27" fmla="*/ 435292 w 3116866"/>
                  <a:gd name="connsiteY27" fmla="*/ 91059 h 238315"/>
                  <a:gd name="connsiteX28" fmla="*/ 487870 w 3116866"/>
                  <a:gd name="connsiteY28" fmla="*/ 91059 h 238315"/>
                  <a:gd name="connsiteX29" fmla="*/ 487870 w 3116866"/>
                  <a:gd name="connsiteY29" fmla="*/ 97155 h 238315"/>
                  <a:gd name="connsiteX30" fmla="*/ 506825 w 3116866"/>
                  <a:gd name="connsiteY30" fmla="*/ 97155 h 238315"/>
                  <a:gd name="connsiteX31" fmla="*/ 506825 w 3116866"/>
                  <a:gd name="connsiteY31" fmla="*/ 103251 h 238315"/>
                  <a:gd name="connsiteX32" fmla="*/ 517303 w 3116866"/>
                  <a:gd name="connsiteY32" fmla="*/ 103251 h 238315"/>
                  <a:gd name="connsiteX33" fmla="*/ 517303 w 3116866"/>
                  <a:gd name="connsiteY33" fmla="*/ 109442 h 238315"/>
                  <a:gd name="connsiteX34" fmla="*/ 551021 w 3116866"/>
                  <a:gd name="connsiteY34" fmla="*/ 109442 h 238315"/>
                  <a:gd name="connsiteX35" fmla="*/ 551021 w 3116866"/>
                  <a:gd name="connsiteY35" fmla="*/ 115538 h 238315"/>
                  <a:gd name="connsiteX36" fmla="*/ 557308 w 3116866"/>
                  <a:gd name="connsiteY36" fmla="*/ 115538 h 238315"/>
                  <a:gd name="connsiteX37" fmla="*/ 557308 w 3116866"/>
                  <a:gd name="connsiteY37" fmla="*/ 121634 h 238315"/>
                  <a:gd name="connsiteX38" fmla="*/ 571976 w 3116866"/>
                  <a:gd name="connsiteY38" fmla="*/ 121634 h 238315"/>
                  <a:gd name="connsiteX39" fmla="*/ 571976 w 3116866"/>
                  <a:gd name="connsiteY39" fmla="*/ 127730 h 238315"/>
                  <a:gd name="connsiteX40" fmla="*/ 584644 w 3116866"/>
                  <a:gd name="connsiteY40" fmla="*/ 127730 h 238315"/>
                  <a:gd name="connsiteX41" fmla="*/ 584644 w 3116866"/>
                  <a:gd name="connsiteY41" fmla="*/ 133921 h 238315"/>
                  <a:gd name="connsiteX42" fmla="*/ 609886 w 3116866"/>
                  <a:gd name="connsiteY42" fmla="*/ 133921 h 238315"/>
                  <a:gd name="connsiteX43" fmla="*/ 609886 w 3116866"/>
                  <a:gd name="connsiteY43" fmla="*/ 140017 h 238315"/>
                  <a:gd name="connsiteX44" fmla="*/ 839152 w 3116866"/>
                  <a:gd name="connsiteY44" fmla="*/ 140017 h 238315"/>
                  <a:gd name="connsiteX45" fmla="*/ 839152 w 3116866"/>
                  <a:gd name="connsiteY45" fmla="*/ 146209 h 238315"/>
                  <a:gd name="connsiteX46" fmla="*/ 952690 w 3116866"/>
                  <a:gd name="connsiteY46" fmla="*/ 146209 h 238315"/>
                  <a:gd name="connsiteX47" fmla="*/ 952690 w 3116866"/>
                  <a:gd name="connsiteY47" fmla="*/ 152400 h 238315"/>
                  <a:gd name="connsiteX48" fmla="*/ 1221867 w 3116866"/>
                  <a:gd name="connsiteY48" fmla="*/ 152400 h 238315"/>
                  <a:gd name="connsiteX49" fmla="*/ 1221867 w 3116866"/>
                  <a:gd name="connsiteY49" fmla="*/ 158686 h 238315"/>
                  <a:gd name="connsiteX50" fmla="*/ 1295495 w 3116866"/>
                  <a:gd name="connsiteY50" fmla="*/ 158686 h 238315"/>
                  <a:gd name="connsiteX51" fmla="*/ 1295495 w 3116866"/>
                  <a:gd name="connsiteY51" fmla="*/ 164973 h 238315"/>
                  <a:gd name="connsiteX52" fmla="*/ 1375410 w 3116866"/>
                  <a:gd name="connsiteY52" fmla="*/ 164973 h 238315"/>
                  <a:gd name="connsiteX53" fmla="*/ 1375410 w 3116866"/>
                  <a:gd name="connsiteY53" fmla="*/ 171259 h 238315"/>
                  <a:gd name="connsiteX54" fmla="*/ 1537335 w 3116866"/>
                  <a:gd name="connsiteY54" fmla="*/ 171259 h 238315"/>
                  <a:gd name="connsiteX55" fmla="*/ 1537335 w 3116866"/>
                  <a:gd name="connsiteY55" fmla="*/ 177736 h 238315"/>
                  <a:gd name="connsiteX56" fmla="*/ 1554194 w 3116866"/>
                  <a:gd name="connsiteY56" fmla="*/ 177736 h 238315"/>
                  <a:gd name="connsiteX57" fmla="*/ 1554194 w 3116866"/>
                  <a:gd name="connsiteY57" fmla="*/ 184118 h 238315"/>
                  <a:gd name="connsiteX58" fmla="*/ 1672018 w 3116866"/>
                  <a:gd name="connsiteY58" fmla="*/ 184118 h 238315"/>
                  <a:gd name="connsiteX59" fmla="*/ 1672018 w 3116866"/>
                  <a:gd name="connsiteY59" fmla="*/ 190595 h 238315"/>
                  <a:gd name="connsiteX60" fmla="*/ 1764506 w 3116866"/>
                  <a:gd name="connsiteY60" fmla="*/ 190595 h 238315"/>
                  <a:gd name="connsiteX61" fmla="*/ 1764506 w 3116866"/>
                  <a:gd name="connsiteY61" fmla="*/ 196977 h 238315"/>
                  <a:gd name="connsiteX62" fmla="*/ 1783461 w 3116866"/>
                  <a:gd name="connsiteY62" fmla="*/ 196977 h 238315"/>
                  <a:gd name="connsiteX63" fmla="*/ 1783461 w 3116866"/>
                  <a:gd name="connsiteY63" fmla="*/ 203454 h 238315"/>
                  <a:gd name="connsiteX64" fmla="*/ 2637282 w 3116866"/>
                  <a:gd name="connsiteY64" fmla="*/ 203454 h 238315"/>
                  <a:gd name="connsiteX65" fmla="*/ 2637282 w 3116866"/>
                  <a:gd name="connsiteY65" fmla="*/ 238315 h 238315"/>
                  <a:gd name="connsiteX66" fmla="*/ 3116866 w 3116866"/>
                  <a:gd name="connsiteY66" fmla="*/ 238315 h 238315"/>
                  <a:gd name="connsiteX0" fmla="*/ 0 w 3100102"/>
                  <a:gd name="connsiteY0" fmla="*/ 0 h 232314"/>
                  <a:gd name="connsiteX1" fmla="*/ 4191 w 3100102"/>
                  <a:gd name="connsiteY1" fmla="*/ 6096 h 232314"/>
                  <a:gd name="connsiteX2" fmla="*/ 4191 w 3100102"/>
                  <a:gd name="connsiteY2" fmla="*/ 12192 h 232314"/>
                  <a:gd name="connsiteX3" fmla="*/ 77819 w 3100102"/>
                  <a:gd name="connsiteY3" fmla="*/ 12192 h 232314"/>
                  <a:gd name="connsiteX4" fmla="*/ 77819 w 3100102"/>
                  <a:gd name="connsiteY4" fmla="*/ 18192 h 232314"/>
                  <a:gd name="connsiteX5" fmla="*/ 98869 w 3100102"/>
                  <a:gd name="connsiteY5" fmla="*/ 18192 h 232314"/>
                  <a:gd name="connsiteX6" fmla="*/ 98869 w 3100102"/>
                  <a:gd name="connsiteY6" fmla="*/ 24288 h 232314"/>
                  <a:gd name="connsiteX7" fmla="*/ 105156 w 3100102"/>
                  <a:gd name="connsiteY7" fmla="*/ 24288 h 232314"/>
                  <a:gd name="connsiteX8" fmla="*/ 105156 w 3100102"/>
                  <a:gd name="connsiteY8" fmla="*/ 30384 h 232314"/>
                  <a:gd name="connsiteX9" fmla="*/ 147256 w 3100102"/>
                  <a:gd name="connsiteY9" fmla="*/ 30384 h 232314"/>
                  <a:gd name="connsiteX10" fmla="*/ 147256 w 3100102"/>
                  <a:gd name="connsiteY10" fmla="*/ 36385 h 232314"/>
                  <a:gd name="connsiteX11" fmla="*/ 161925 w 3100102"/>
                  <a:gd name="connsiteY11" fmla="*/ 36385 h 232314"/>
                  <a:gd name="connsiteX12" fmla="*/ 161925 w 3100102"/>
                  <a:gd name="connsiteY12" fmla="*/ 42481 h 232314"/>
                  <a:gd name="connsiteX13" fmla="*/ 191452 w 3100102"/>
                  <a:gd name="connsiteY13" fmla="*/ 42481 h 232314"/>
                  <a:gd name="connsiteX14" fmla="*/ 191452 w 3100102"/>
                  <a:gd name="connsiteY14" fmla="*/ 48577 h 232314"/>
                  <a:gd name="connsiteX15" fmla="*/ 193548 w 3100102"/>
                  <a:gd name="connsiteY15" fmla="*/ 48577 h 232314"/>
                  <a:gd name="connsiteX16" fmla="*/ 193548 w 3100102"/>
                  <a:gd name="connsiteY16" fmla="*/ 54578 h 232314"/>
                  <a:gd name="connsiteX17" fmla="*/ 216598 w 3100102"/>
                  <a:gd name="connsiteY17" fmla="*/ 54578 h 232314"/>
                  <a:gd name="connsiteX18" fmla="*/ 216598 w 3100102"/>
                  <a:gd name="connsiteY18" fmla="*/ 60674 h 232314"/>
                  <a:gd name="connsiteX19" fmla="*/ 229267 w 3100102"/>
                  <a:gd name="connsiteY19" fmla="*/ 60674 h 232314"/>
                  <a:gd name="connsiteX20" fmla="*/ 229267 w 3100102"/>
                  <a:gd name="connsiteY20" fmla="*/ 66770 h 232314"/>
                  <a:gd name="connsiteX21" fmla="*/ 264985 w 3100102"/>
                  <a:gd name="connsiteY21" fmla="*/ 66770 h 232314"/>
                  <a:gd name="connsiteX22" fmla="*/ 264985 w 3100102"/>
                  <a:gd name="connsiteY22" fmla="*/ 72866 h 232314"/>
                  <a:gd name="connsiteX23" fmla="*/ 380714 w 3100102"/>
                  <a:gd name="connsiteY23" fmla="*/ 72866 h 232314"/>
                  <a:gd name="connsiteX24" fmla="*/ 380714 w 3100102"/>
                  <a:gd name="connsiteY24" fmla="*/ 78867 h 232314"/>
                  <a:gd name="connsiteX25" fmla="*/ 418528 w 3100102"/>
                  <a:gd name="connsiteY25" fmla="*/ 78867 h 232314"/>
                  <a:gd name="connsiteX26" fmla="*/ 418528 w 3100102"/>
                  <a:gd name="connsiteY26" fmla="*/ 85058 h 232314"/>
                  <a:gd name="connsiteX27" fmla="*/ 471106 w 3100102"/>
                  <a:gd name="connsiteY27" fmla="*/ 85058 h 232314"/>
                  <a:gd name="connsiteX28" fmla="*/ 471106 w 3100102"/>
                  <a:gd name="connsiteY28" fmla="*/ 91154 h 232314"/>
                  <a:gd name="connsiteX29" fmla="*/ 490061 w 3100102"/>
                  <a:gd name="connsiteY29" fmla="*/ 91154 h 232314"/>
                  <a:gd name="connsiteX30" fmla="*/ 490061 w 3100102"/>
                  <a:gd name="connsiteY30" fmla="*/ 97250 h 232314"/>
                  <a:gd name="connsiteX31" fmla="*/ 500539 w 3100102"/>
                  <a:gd name="connsiteY31" fmla="*/ 97250 h 232314"/>
                  <a:gd name="connsiteX32" fmla="*/ 500539 w 3100102"/>
                  <a:gd name="connsiteY32" fmla="*/ 103441 h 232314"/>
                  <a:gd name="connsiteX33" fmla="*/ 534257 w 3100102"/>
                  <a:gd name="connsiteY33" fmla="*/ 103441 h 232314"/>
                  <a:gd name="connsiteX34" fmla="*/ 534257 w 3100102"/>
                  <a:gd name="connsiteY34" fmla="*/ 109537 h 232314"/>
                  <a:gd name="connsiteX35" fmla="*/ 540544 w 3100102"/>
                  <a:gd name="connsiteY35" fmla="*/ 109537 h 232314"/>
                  <a:gd name="connsiteX36" fmla="*/ 540544 w 3100102"/>
                  <a:gd name="connsiteY36" fmla="*/ 115633 h 232314"/>
                  <a:gd name="connsiteX37" fmla="*/ 555212 w 3100102"/>
                  <a:gd name="connsiteY37" fmla="*/ 115633 h 232314"/>
                  <a:gd name="connsiteX38" fmla="*/ 555212 w 3100102"/>
                  <a:gd name="connsiteY38" fmla="*/ 121729 h 232314"/>
                  <a:gd name="connsiteX39" fmla="*/ 567880 w 3100102"/>
                  <a:gd name="connsiteY39" fmla="*/ 121729 h 232314"/>
                  <a:gd name="connsiteX40" fmla="*/ 567880 w 3100102"/>
                  <a:gd name="connsiteY40" fmla="*/ 127920 h 232314"/>
                  <a:gd name="connsiteX41" fmla="*/ 593122 w 3100102"/>
                  <a:gd name="connsiteY41" fmla="*/ 127920 h 232314"/>
                  <a:gd name="connsiteX42" fmla="*/ 593122 w 3100102"/>
                  <a:gd name="connsiteY42" fmla="*/ 134016 h 232314"/>
                  <a:gd name="connsiteX43" fmla="*/ 822388 w 3100102"/>
                  <a:gd name="connsiteY43" fmla="*/ 134016 h 232314"/>
                  <a:gd name="connsiteX44" fmla="*/ 822388 w 3100102"/>
                  <a:gd name="connsiteY44" fmla="*/ 140208 h 232314"/>
                  <a:gd name="connsiteX45" fmla="*/ 935926 w 3100102"/>
                  <a:gd name="connsiteY45" fmla="*/ 140208 h 232314"/>
                  <a:gd name="connsiteX46" fmla="*/ 935926 w 3100102"/>
                  <a:gd name="connsiteY46" fmla="*/ 146399 h 232314"/>
                  <a:gd name="connsiteX47" fmla="*/ 1205103 w 3100102"/>
                  <a:gd name="connsiteY47" fmla="*/ 146399 h 232314"/>
                  <a:gd name="connsiteX48" fmla="*/ 1205103 w 3100102"/>
                  <a:gd name="connsiteY48" fmla="*/ 152685 h 232314"/>
                  <a:gd name="connsiteX49" fmla="*/ 1278731 w 3100102"/>
                  <a:gd name="connsiteY49" fmla="*/ 152685 h 232314"/>
                  <a:gd name="connsiteX50" fmla="*/ 1278731 w 3100102"/>
                  <a:gd name="connsiteY50" fmla="*/ 158972 h 232314"/>
                  <a:gd name="connsiteX51" fmla="*/ 1358646 w 3100102"/>
                  <a:gd name="connsiteY51" fmla="*/ 158972 h 232314"/>
                  <a:gd name="connsiteX52" fmla="*/ 1358646 w 3100102"/>
                  <a:gd name="connsiteY52" fmla="*/ 165258 h 232314"/>
                  <a:gd name="connsiteX53" fmla="*/ 1520571 w 3100102"/>
                  <a:gd name="connsiteY53" fmla="*/ 165258 h 232314"/>
                  <a:gd name="connsiteX54" fmla="*/ 1520571 w 3100102"/>
                  <a:gd name="connsiteY54" fmla="*/ 171735 h 232314"/>
                  <a:gd name="connsiteX55" fmla="*/ 1537430 w 3100102"/>
                  <a:gd name="connsiteY55" fmla="*/ 171735 h 232314"/>
                  <a:gd name="connsiteX56" fmla="*/ 1537430 w 3100102"/>
                  <a:gd name="connsiteY56" fmla="*/ 178117 h 232314"/>
                  <a:gd name="connsiteX57" fmla="*/ 1655254 w 3100102"/>
                  <a:gd name="connsiteY57" fmla="*/ 178117 h 232314"/>
                  <a:gd name="connsiteX58" fmla="*/ 1655254 w 3100102"/>
                  <a:gd name="connsiteY58" fmla="*/ 184594 h 232314"/>
                  <a:gd name="connsiteX59" fmla="*/ 1747742 w 3100102"/>
                  <a:gd name="connsiteY59" fmla="*/ 184594 h 232314"/>
                  <a:gd name="connsiteX60" fmla="*/ 1747742 w 3100102"/>
                  <a:gd name="connsiteY60" fmla="*/ 190976 h 232314"/>
                  <a:gd name="connsiteX61" fmla="*/ 1766697 w 3100102"/>
                  <a:gd name="connsiteY61" fmla="*/ 190976 h 232314"/>
                  <a:gd name="connsiteX62" fmla="*/ 1766697 w 3100102"/>
                  <a:gd name="connsiteY62" fmla="*/ 197453 h 232314"/>
                  <a:gd name="connsiteX63" fmla="*/ 2620518 w 3100102"/>
                  <a:gd name="connsiteY63" fmla="*/ 197453 h 232314"/>
                  <a:gd name="connsiteX64" fmla="*/ 2620518 w 3100102"/>
                  <a:gd name="connsiteY64" fmla="*/ 232314 h 232314"/>
                  <a:gd name="connsiteX65" fmla="*/ 3100102 w 3100102"/>
                  <a:gd name="connsiteY65" fmla="*/ 232314 h 232314"/>
                  <a:gd name="connsiteX0" fmla="*/ 0 w 3100102"/>
                  <a:gd name="connsiteY0" fmla="*/ 0 h 232314"/>
                  <a:gd name="connsiteX1" fmla="*/ 4191 w 3100102"/>
                  <a:gd name="connsiteY1" fmla="*/ 12192 h 232314"/>
                  <a:gd name="connsiteX2" fmla="*/ 77819 w 3100102"/>
                  <a:gd name="connsiteY2" fmla="*/ 12192 h 232314"/>
                  <a:gd name="connsiteX3" fmla="*/ 77819 w 3100102"/>
                  <a:gd name="connsiteY3" fmla="*/ 18192 h 232314"/>
                  <a:gd name="connsiteX4" fmla="*/ 98869 w 3100102"/>
                  <a:gd name="connsiteY4" fmla="*/ 18192 h 232314"/>
                  <a:gd name="connsiteX5" fmla="*/ 98869 w 3100102"/>
                  <a:gd name="connsiteY5" fmla="*/ 24288 h 232314"/>
                  <a:gd name="connsiteX6" fmla="*/ 105156 w 3100102"/>
                  <a:gd name="connsiteY6" fmla="*/ 24288 h 232314"/>
                  <a:gd name="connsiteX7" fmla="*/ 105156 w 3100102"/>
                  <a:gd name="connsiteY7" fmla="*/ 30384 h 232314"/>
                  <a:gd name="connsiteX8" fmla="*/ 147256 w 3100102"/>
                  <a:gd name="connsiteY8" fmla="*/ 30384 h 232314"/>
                  <a:gd name="connsiteX9" fmla="*/ 147256 w 3100102"/>
                  <a:gd name="connsiteY9" fmla="*/ 36385 h 232314"/>
                  <a:gd name="connsiteX10" fmla="*/ 161925 w 3100102"/>
                  <a:gd name="connsiteY10" fmla="*/ 36385 h 232314"/>
                  <a:gd name="connsiteX11" fmla="*/ 161925 w 3100102"/>
                  <a:gd name="connsiteY11" fmla="*/ 42481 h 232314"/>
                  <a:gd name="connsiteX12" fmla="*/ 191452 w 3100102"/>
                  <a:gd name="connsiteY12" fmla="*/ 42481 h 232314"/>
                  <a:gd name="connsiteX13" fmla="*/ 191452 w 3100102"/>
                  <a:gd name="connsiteY13" fmla="*/ 48577 h 232314"/>
                  <a:gd name="connsiteX14" fmla="*/ 193548 w 3100102"/>
                  <a:gd name="connsiteY14" fmla="*/ 48577 h 232314"/>
                  <a:gd name="connsiteX15" fmla="*/ 193548 w 3100102"/>
                  <a:gd name="connsiteY15" fmla="*/ 54578 h 232314"/>
                  <a:gd name="connsiteX16" fmla="*/ 216598 w 3100102"/>
                  <a:gd name="connsiteY16" fmla="*/ 54578 h 232314"/>
                  <a:gd name="connsiteX17" fmla="*/ 216598 w 3100102"/>
                  <a:gd name="connsiteY17" fmla="*/ 60674 h 232314"/>
                  <a:gd name="connsiteX18" fmla="*/ 229267 w 3100102"/>
                  <a:gd name="connsiteY18" fmla="*/ 60674 h 232314"/>
                  <a:gd name="connsiteX19" fmla="*/ 229267 w 3100102"/>
                  <a:gd name="connsiteY19" fmla="*/ 66770 h 232314"/>
                  <a:gd name="connsiteX20" fmla="*/ 264985 w 3100102"/>
                  <a:gd name="connsiteY20" fmla="*/ 66770 h 232314"/>
                  <a:gd name="connsiteX21" fmla="*/ 264985 w 3100102"/>
                  <a:gd name="connsiteY21" fmla="*/ 72866 h 232314"/>
                  <a:gd name="connsiteX22" fmla="*/ 380714 w 3100102"/>
                  <a:gd name="connsiteY22" fmla="*/ 72866 h 232314"/>
                  <a:gd name="connsiteX23" fmla="*/ 380714 w 3100102"/>
                  <a:gd name="connsiteY23" fmla="*/ 78867 h 232314"/>
                  <a:gd name="connsiteX24" fmla="*/ 418528 w 3100102"/>
                  <a:gd name="connsiteY24" fmla="*/ 78867 h 232314"/>
                  <a:gd name="connsiteX25" fmla="*/ 418528 w 3100102"/>
                  <a:gd name="connsiteY25" fmla="*/ 85058 h 232314"/>
                  <a:gd name="connsiteX26" fmla="*/ 471106 w 3100102"/>
                  <a:gd name="connsiteY26" fmla="*/ 85058 h 232314"/>
                  <a:gd name="connsiteX27" fmla="*/ 471106 w 3100102"/>
                  <a:gd name="connsiteY27" fmla="*/ 91154 h 232314"/>
                  <a:gd name="connsiteX28" fmla="*/ 490061 w 3100102"/>
                  <a:gd name="connsiteY28" fmla="*/ 91154 h 232314"/>
                  <a:gd name="connsiteX29" fmla="*/ 490061 w 3100102"/>
                  <a:gd name="connsiteY29" fmla="*/ 97250 h 232314"/>
                  <a:gd name="connsiteX30" fmla="*/ 500539 w 3100102"/>
                  <a:gd name="connsiteY30" fmla="*/ 97250 h 232314"/>
                  <a:gd name="connsiteX31" fmla="*/ 500539 w 3100102"/>
                  <a:gd name="connsiteY31" fmla="*/ 103441 h 232314"/>
                  <a:gd name="connsiteX32" fmla="*/ 534257 w 3100102"/>
                  <a:gd name="connsiteY32" fmla="*/ 103441 h 232314"/>
                  <a:gd name="connsiteX33" fmla="*/ 534257 w 3100102"/>
                  <a:gd name="connsiteY33" fmla="*/ 109537 h 232314"/>
                  <a:gd name="connsiteX34" fmla="*/ 540544 w 3100102"/>
                  <a:gd name="connsiteY34" fmla="*/ 109537 h 232314"/>
                  <a:gd name="connsiteX35" fmla="*/ 540544 w 3100102"/>
                  <a:gd name="connsiteY35" fmla="*/ 115633 h 232314"/>
                  <a:gd name="connsiteX36" fmla="*/ 555212 w 3100102"/>
                  <a:gd name="connsiteY36" fmla="*/ 115633 h 232314"/>
                  <a:gd name="connsiteX37" fmla="*/ 555212 w 3100102"/>
                  <a:gd name="connsiteY37" fmla="*/ 121729 h 232314"/>
                  <a:gd name="connsiteX38" fmla="*/ 567880 w 3100102"/>
                  <a:gd name="connsiteY38" fmla="*/ 121729 h 232314"/>
                  <a:gd name="connsiteX39" fmla="*/ 567880 w 3100102"/>
                  <a:gd name="connsiteY39" fmla="*/ 127920 h 232314"/>
                  <a:gd name="connsiteX40" fmla="*/ 593122 w 3100102"/>
                  <a:gd name="connsiteY40" fmla="*/ 127920 h 232314"/>
                  <a:gd name="connsiteX41" fmla="*/ 593122 w 3100102"/>
                  <a:gd name="connsiteY41" fmla="*/ 134016 h 232314"/>
                  <a:gd name="connsiteX42" fmla="*/ 822388 w 3100102"/>
                  <a:gd name="connsiteY42" fmla="*/ 134016 h 232314"/>
                  <a:gd name="connsiteX43" fmla="*/ 822388 w 3100102"/>
                  <a:gd name="connsiteY43" fmla="*/ 140208 h 232314"/>
                  <a:gd name="connsiteX44" fmla="*/ 935926 w 3100102"/>
                  <a:gd name="connsiteY44" fmla="*/ 140208 h 232314"/>
                  <a:gd name="connsiteX45" fmla="*/ 935926 w 3100102"/>
                  <a:gd name="connsiteY45" fmla="*/ 146399 h 232314"/>
                  <a:gd name="connsiteX46" fmla="*/ 1205103 w 3100102"/>
                  <a:gd name="connsiteY46" fmla="*/ 146399 h 232314"/>
                  <a:gd name="connsiteX47" fmla="*/ 1205103 w 3100102"/>
                  <a:gd name="connsiteY47" fmla="*/ 152685 h 232314"/>
                  <a:gd name="connsiteX48" fmla="*/ 1278731 w 3100102"/>
                  <a:gd name="connsiteY48" fmla="*/ 152685 h 232314"/>
                  <a:gd name="connsiteX49" fmla="*/ 1278731 w 3100102"/>
                  <a:gd name="connsiteY49" fmla="*/ 158972 h 232314"/>
                  <a:gd name="connsiteX50" fmla="*/ 1358646 w 3100102"/>
                  <a:gd name="connsiteY50" fmla="*/ 158972 h 232314"/>
                  <a:gd name="connsiteX51" fmla="*/ 1358646 w 3100102"/>
                  <a:gd name="connsiteY51" fmla="*/ 165258 h 232314"/>
                  <a:gd name="connsiteX52" fmla="*/ 1520571 w 3100102"/>
                  <a:gd name="connsiteY52" fmla="*/ 165258 h 232314"/>
                  <a:gd name="connsiteX53" fmla="*/ 1520571 w 3100102"/>
                  <a:gd name="connsiteY53" fmla="*/ 171735 h 232314"/>
                  <a:gd name="connsiteX54" fmla="*/ 1537430 w 3100102"/>
                  <a:gd name="connsiteY54" fmla="*/ 171735 h 232314"/>
                  <a:gd name="connsiteX55" fmla="*/ 1537430 w 3100102"/>
                  <a:gd name="connsiteY55" fmla="*/ 178117 h 232314"/>
                  <a:gd name="connsiteX56" fmla="*/ 1655254 w 3100102"/>
                  <a:gd name="connsiteY56" fmla="*/ 178117 h 232314"/>
                  <a:gd name="connsiteX57" fmla="*/ 1655254 w 3100102"/>
                  <a:gd name="connsiteY57" fmla="*/ 184594 h 232314"/>
                  <a:gd name="connsiteX58" fmla="*/ 1747742 w 3100102"/>
                  <a:gd name="connsiteY58" fmla="*/ 184594 h 232314"/>
                  <a:gd name="connsiteX59" fmla="*/ 1747742 w 3100102"/>
                  <a:gd name="connsiteY59" fmla="*/ 190976 h 232314"/>
                  <a:gd name="connsiteX60" fmla="*/ 1766697 w 3100102"/>
                  <a:gd name="connsiteY60" fmla="*/ 190976 h 232314"/>
                  <a:gd name="connsiteX61" fmla="*/ 1766697 w 3100102"/>
                  <a:gd name="connsiteY61" fmla="*/ 197453 h 232314"/>
                  <a:gd name="connsiteX62" fmla="*/ 2620518 w 3100102"/>
                  <a:gd name="connsiteY62" fmla="*/ 197453 h 232314"/>
                  <a:gd name="connsiteX63" fmla="*/ 2620518 w 3100102"/>
                  <a:gd name="connsiteY63" fmla="*/ 232314 h 232314"/>
                  <a:gd name="connsiteX64" fmla="*/ 3100102 w 3100102"/>
                  <a:gd name="connsiteY64" fmla="*/ 232314 h 232314"/>
                  <a:gd name="connsiteX0" fmla="*/ 0 w 3095911"/>
                  <a:gd name="connsiteY0" fmla="*/ 0 h 220122"/>
                  <a:gd name="connsiteX1" fmla="*/ 73628 w 3095911"/>
                  <a:gd name="connsiteY1" fmla="*/ 0 h 220122"/>
                  <a:gd name="connsiteX2" fmla="*/ 73628 w 3095911"/>
                  <a:gd name="connsiteY2" fmla="*/ 6000 h 220122"/>
                  <a:gd name="connsiteX3" fmla="*/ 94678 w 3095911"/>
                  <a:gd name="connsiteY3" fmla="*/ 6000 h 220122"/>
                  <a:gd name="connsiteX4" fmla="*/ 94678 w 3095911"/>
                  <a:gd name="connsiteY4" fmla="*/ 12096 h 220122"/>
                  <a:gd name="connsiteX5" fmla="*/ 100965 w 3095911"/>
                  <a:gd name="connsiteY5" fmla="*/ 12096 h 220122"/>
                  <a:gd name="connsiteX6" fmla="*/ 100965 w 3095911"/>
                  <a:gd name="connsiteY6" fmla="*/ 18192 h 220122"/>
                  <a:gd name="connsiteX7" fmla="*/ 143065 w 3095911"/>
                  <a:gd name="connsiteY7" fmla="*/ 18192 h 220122"/>
                  <a:gd name="connsiteX8" fmla="*/ 143065 w 3095911"/>
                  <a:gd name="connsiteY8" fmla="*/ 24193 h 220122"/>
                  <a:gd name="connsiteX9" fmla="*/ 157734 w 3095911"/>
                  <a:gd name="connsiteY9" fmla="*/ 24193 h 220122"/>
                  <a:gd name="connsiteX10" fmla="*/ 157734 w 3095911"/>
                  <a:gd name="connsiteY10" fmla="*/ 30289 h 220122"/>
                  <a:gd name="connsiteX11" fmla="*/ 187261 w 3095911"/>
                  <a:gd name="connsiteY11" fmla="*/ 30289 h 220122"/>
                  <a:gd name="connsiteX12" fmla="*/ 187261 w 3095911"/>
                  <a:gd name="connsiteY12" fmla="*/ 36385 h 220122"/>
                  <a:gd name="connsiteX13" fmla="*/ 189357 w 3095911"/>
                  <a:gd name="connsiteY13" fmla="*/ 36385 h 220122"/>
                  <a:gd name="connsiteX14" fmla="*/ 189357 w 3095911"/>
                  <a:gd name="connsiteY14" fmla="*/ 42386 h 220122"/>
                  <a:gd name="connsiteX15" fmla="*/ 212407 w 3095911"/>
                  <a:gd name="connsiteY15" fmla="*/ 42386 h 220122"/>
                  <a:gd name="connsiteX16" fmla="*/ 212407 w 3095911"/>
                  <a:gd name="connsiteY16" fmla="*/ 48482 h 220122"/>
                  <a:gd name="connsiteX17" fmla="*/ 225076 w 3095911"/>
                  <a:gd name="connsiteY17" fmla="*/ 48482 h 220122"/>
                  <a:gd name="connsiteX18" fmla="*/ 225076 w 3095911"/>
                  <a:gd name="connsiteY18" fmla="*/ 54578 h 220122"/>
                  <a:gd name="connsiteX19" fmla="*/ 260794 w 3095911"/>
                  <a:gd name="connsiteY19" fmla="*/ 54578 h 220122"/>
                  <a:gd name="connsiteX20" fmla="*/ 260794 w 3095911"/>
                  <a:gd name="connsiteY20" fmla="*/ 60674 h 220122"/>
                  <a:gd name="connsiteX21" fmla="*/ 376523 w 3095911"/>
                  <a:gd name="connsiteY21" fmla="*/ 60674 h 220122"/>
                  <a:gd name="connsiteX22" fmla="*/ 376523 w 3095911"/>
                  <a:gd name="connsiteY22" fmla="*/ 66675 h 220122"/>
                  <a:gd name="connsiteX23" fmla="*/ 414337 w 3095911"/>
                  <a:gd name="connsiteY23" fmla="*/ 66675 h 220122"/>
                  <a:gd name="connsiteX24" fmla="*/ 414337 w 3095911"/>
                  <a:gd name="connsiteY24" fmla="*/ 72866 h 220122"/>
                  <a:gd name="connsiteX25" fmla="*/ 466915 w 3095911"/>
                  <a:gd name="connsiteY25" fmla="*/ 72866 h 220122"/>
                  <a:gd name="connsiteX26" fmla="*/ 466915 w 3095911"/>
                  <a:gd name="connsiteY26" fmla="*/ 78962 h 220122"/>
                  <a:gd name="connsiteX27" fmla="*/ 485870 w 3095911"/>
                  <a:gd name="connsiteY27" fmla="*/ 78962 h 220122"/>
                  <a:gd name="connsiteX28" fmla="*/ 485870 w 3095911"/>
                  <a:gd name="connsiteY28" fmla="*/ 85058 h 220122"/>
                  <a:gd name="connsiteX29" fmla="*/ 496348 w 3095911"/>
                  <a:gd name="connsiteY29" fmla="*/ 85058 h 220122"/>
                  <a:gd name="connsiteX30" fmla="*/ 496348 w 3095911"/>
                  <a:gd name="connsiteY30" fmla="*/ 91249 h 220122"/>
                  <a:gd name="connsiteX31" fmla="*/ 530066 w 3095911"/>
                  <a:gd name="connsiteY31" fmla="*/ 91249 h 220122"/>
                  <a:gd name="connsiteX32" fmla="*/ 530066 w 3095911"/>
                  <a:gd name="connsiteY32" fmla="*/ 97345 h 220122"/>
                  <a:gd name="connsiteX33" fmla="*/ 536353 w 3095911"/>
                  <a:gd name="connsiteY33" fmla="*/ 97345 h 220122"/>
                  <a:gd name="connsiteX34" fmla="*/ 536353 w 3095911"/>
                  <a:gd name="connsiteY34" fmla="*/ 103441 h 220122"/>
                  <a:gd name="connsiteX35" fmla="*/ 551021 w 3095911"/>
                  <a:gd name="connsiteY35" fmla="*/ 103441 h 220122"/>
                  <a:gd name="connsiteX36" fmla="*/ 551021 w 3095911"/>
                  <a:gd name="connsiteY36" fmla="*/ 109537 h 220122"/>
                  <a:gd name="connsiteX37" fmla="*/ 563689 w 3095911"/>
                  <a:gd name="connsiteY37" fmla="*/ 109537 h 220122"/>
                  <a:gd name="connsiteX38" fmla="*/ 563689 w 3095911"/>
                  <a:gd name="connsiteY38" fmla="*/ 115728 h 220122"/>
                  <a:gd name="connsiteX39" fmla="*/ 588931 w 3095911"/>
                  <a:gd name="connsiteY39" fmla="*/ 115728 h 220122"/>
                  <a:gd name="connsiteX40" fmla="*/ 588931 w 3095911"/>
                  <a:gd name="connsiteY40" fmla="*/ 121824 h 220122"/>
                  <a:gd name="connsiteX41" fmla="*/ 818197 w 3095911"/>
                  <a:gd name="connsiteY41" fmla="*/ 121824 h 220122"/>
                  <a:gd name="connsiteX42" fmla="*/ 818197 w 3095911"/>
                  <a:gd name="connsiteY42" fmla="*/ 128016 h 220122"/>
                  <a:gd name="connsiteX43" fmla="*/ 931735 w 3095911"/>
                  <a:gd name="connsiteY43" fmla="*/ 128016 h 220122"/>
                  <a:gd name="connsiteX44" fmla="*/ 931735 w 3095911"/>
                  <a:gd name="connsiteY44" fmla="*/ 134207 h 220122"/>
                  <a:gd name="connsiteX45" fmla="*/ 1200912 w 3095911"/>
                  <a:gd name="connsiteY45" fmla="*/ 134207 h 220122"/>
                  <a:gd name="connsiteX46" fmla="*/ 1200912 w 3095911"/>
                  <a:gd name="connsiteY46" fmla="*/ 140493 h 220122"/>
                  <a:gd name="connsiteX47" fmla="*/ 1274540 w 3095911"/>
                  <a:gd name="connsiteY47" fmla="*/ 140493 h 220122"/>
                  <a:gd name="connsiteX48" fmla="*/ 1274540 w 3095911"/>
                  <a:gd name="connsiteY48" fmla="*/ 146780 h 220122"/>
                  <a:gd name="connsiteX49" fmla="*/ 1354455 w 3095911"/>
                  <a:gd name="connsiteY49" fmla="*/ 146780 h 220122"/>
                  <a:gd name="connsiteX50" fmla="*/ 1354455 w 3095911"/>
                  <a:gd name="connsiteY50" fmla="*/ 153066 h 220122"/>
                  <a:gd name="connsiteX51" fmla="*/ 1516380 w 3095911"/>
                  <a:gd name="connsiteY51" fmla="*/ 153066 h 220122"/>
                  <a:gd name="connsiteX52" fmla="*/ 1516380 w 3095911"/>
                  <a:gd name="connsiteY52" fmla="*/ 159543 h 220122"/>
                  <a:gd name="connsiteX53" fmla="*/ 1533239 w 3095911"/>
                  <a:gd name="connsiteY53" fmla="*/ 159543 h 220122"/>
                  <a:gd name="connsiteX54" fmla="*/ 1533239 w 3095911"/>
                  <a:gd name="connsiteY54" fmla="*/ 165925 h 220122"/>
                  <a:gd name="connsiteX55" fmla="*/ 1651063 w 3095911"/>
                  <a:gd name="connsiteY55" fmla="*/ 165925 h 220122"/>
                  <a:gd name="connsiteX56" fmla="*/ 1651063 w 3095911"/>
                  <a:gd name="connsiteY56" fmla="*/ 172402 h 220122"/>
                  <a:gd name="connsiteX57" fmla="*/ 1743551 w 3095911"/>
                  <a:gd name="connsiteY57" fmla="*/ 172402 h 220122"/>
                  <a:gd name="connsiteX58" fmla="*/ 1743551 w 3095911"/>
                  <a:gd name="connsiteY58" fmla="*/ 178784 h 220122"/>
                  <a:gd name="connsiteX59" fmla="*/ 1762506 w 3095911"/>
                  <a:gd name="connsiteY59" fmla="*/ 178784 h 220122"/>
                  <a:gd name="connsiteX60" fmla="*/ 1762506 w 3095911"/>
                  <a:gd name="connsiteY60" fmla="*/ 185261 h 220122"/>
                  <a:gd name="connsiteX61" fmla="*/ 2616327 w 3095911"/>
                  <a:gd name="connsiteY61" fmla="*/ 185261 h 220122"/>
                  <a:gd name="connsiteX62" fmla="*/ 2616327 w 3095911"/>
                  <a:gd name="connsiteY62" fmla="*/ 220122 h 220122"/>
                  <a:gd name="connsiteX63" fmla="*/ 3095911 w 3095911"/>
                  <a:gd name="connsiteY63" fmla="*/ 220122 h 220122"/>
                  <a:gd name="connsiteX0" fmla="*/ 0 w 3022283"/>
                  <a:gd name="connsiteY0" fmla="*/ 0 h 220122"/>
                  <a:gd name="connsiteX1" fmla="*/ 0 w 3022283"/>
                  <a:gd name="connsiteY1" fmla="*/ 6000 h 220122"/>
                  <a:gd name="connsiteX2" fmla="*/ 21050 w 3022283"/>
                  <a:gd name="connsiteY2" fmla="*/ 6000 h 220122"/>
                  <a:gd name="connsiteX3" fmla="*/ 21050 w 3022283"/>
                  <a:gd name="connsiteY3" fmla="*/ 12096 h 220122"/>
                  <a:gd name="connsiteX4" fmla="*/ 27337 w 3022283"/>
                  <a:gd name="connsiteY4" fmla="*/ 12096 h 220122"/>
                  <a:gd name="connsiteX5" fmla="*/ 27337 w 3022283"/>
                  <a:gd name="connsiteY5" fmla="*/ 18192 h 220122"/>
                  <a:gd name="connsiteX6" fmla="*/ 69437 w 3022283"/>
                  <a:gd name="connsiteY6" fmla="*/ 18192 h 220122"/>
                  <a:gd name="connsiteX7" fmla="*/ 69437 w 3022283"/>
                  <a:gd name="connsiteY7" fmla="*/ 24193 h 220122"/>
                  <a:gd name="connsiteX8" fmla="*/ 84106 w 3022283"/>
                  <a:gd name="connsiteY8" fmla="*/ 24193 h 220122"/>
                  <a:gd name="connsiteX9" fmla="*/ 84106 w 3022283"/>
                  <a:gd name="connsiteY9" fmla="*/ 30289 h 220122"/>
                  <a:gd name="connsiteX10" fmla="*/ 113633 w 3022283"/>
                  <a:gd name="connsiteY10" fmla="*/ 30289 h 220122"/>
                  <a:gd name="connsiteX11" fmla="*/ 113633 w 3022283"/>
                  <a:gd name="connsiteY11" fmla="*/ 36385 h 220122"/>
                  <a:gd name="connsiteX12" fmla="*/ 115729 w 3022283"/>
                  <a:gd name="connsiteY12" fmla="*/ 36385 h 220122"/>
                  <a:gd name="connsiteX13" fmla="*/ 115729 w 3022283"/>
                  <a:gd name="connsiteY13" fmla="*/ 42386 h 220122"/>
                  <a:gd name="connsiteX14" fmla="*/ 138779 w 3022283"/>
                  <a:gd name="connsiteY14" fmla="*/ 42386 h 220122"/>
                  <a:gd name="connsiteX15" fmla="*/ 138779 w 3022283"/>
                  <a:gd name="connsiteY15" fmla="*/ 48482 h 220122"/>
                  <a:gd name="connsiteX16" fmla="*/ 151448 w 3022283"/>
                  <a:gd name="connsiteY16" fmla="*/ 48482 h 220122"/>
                  <a:gd name="connsiteX17" fmla="*/ 151448 w 3022283"/>
                  <a:gd name="connsiteY17" fmla="*/ 54578 h 220122"/>
                  <a:gd name="connsiteX18" fmla="*/ 187166 w 3022283"/>
                  <a:gd name="connsiteY18" fmla="*/ 54578 h 220122"/>
                  <a:gd name="connsiteX19" fmla="*/ 187166 w 3022283"/>
                  <a:gd name="connsiteY19" fmla="*/ 60674 h 220122"/>
                  <a:gd name="connsiteX20" fmla="*/ 302895 w 3022283"/>
                  <a:gd name="connsiteY20" fmla="*/ 60674 h 220122"/>
                  <a:gd name="connsiteX21" fmla="*/ 302895 w 3022283"/>
                  <a:gd name="connsiteY21" fmla="*/ 66675 h 220122"/>
                  <a:gd name="connsiteX22" fmla="*/ 340709 w 3022283"/>
                  <a:gd name="connsiteY22" fmla="*/ 66675 h 220122"/>
                  <a:gd name="connsiteX23" fmla="*/ 340709 w 3022283"/>
                  <a:gd name="connsiteY23" fmla="*/ 72866 h 220122"/>
                  <a:gd name="connsiteX24" fmla="*/ 393287 w 3022283"/>
                  <a:gd name="connsiteY24" fmla="*/ 72866 h 220122"/>
                  <a:gd name="connsiteX25" fmla="*/ 393287 w 3022283"/>
                  <a:gd name="connsiteY25" fmla="*/ 78962 h 220122"/>
                  <a:gd name="connsiteX26" fmla="*/ 412242 w 3022283"/>
                  <a:gd name="connsiteY26" fmla="*/ 78962 h 220122"/>
                  <a:gd name="connsiteX27" fmla="*/ 412242 w 3022283"/>
                  <a:gd name="connsiteY27" fmla="*/ 85058 h 220122"/>
                  <a:gd name="connsiteX28" fmla="*/ 422720 w 3022283"/>
                  <a:gd name="connsiteY28" fmla="*/ 85058 h 220122"/>
                  <a:gd name="connsiteX29" fmla="*/ 422720 w 3022283"/>
                  <a:gd name="connsiteY29" fmla="*/ 91249 h 220122"/>
                  <a:gd name="connsiteX30" fmla="*/ 456438 w 3022283"/>
                  <a:gd name="connsiteY30" fmla="*/ 91249 h 220122"/>
                  <a:gd name="connsiteX31" fmla="*/ 456438 w 3022283"/>
                  <a:gd name="connsiteY31" fmla="*/ 97345 h 220122"/>
                  <a:gd name="connsiteX32" fmla="*/ 462725 w 3022283"/>
                  <a:gd name="connsiteY32" fmla="*/ 97345 h 220122"/>
                  <a:gd name="connsiteX33" fmla="*/ 462725 w 3022283"/>
                  <a:gd name="connsiteY33" fmla="*/ 103441 h 220122"/>
                  <a:gd name="connsiteX34" fmla="*/ 477393 w 3022283"/>
                  <a:gd name="connsiteY34" fmla="*/ 103441 h 220122"/>
                  <a:gd name="connsiteX35" fmla="*/ 477393 w 3022283"/>
                  <a:gd name="connsiteY35" fmla="*/ 109537 h 220122"/>
                  <a:gd name="connsiteX36" fmla="*/ 490061 w 3022283"/>
                  <a:gd name="connsiteY36" fmla="*/ 109537 h 220122"/>
                  <a:gd name="connsiteX37" fmla="*/ 490061 w 3022283"/>
                  <a:gd name="connsiteY37" fmla="*/ 115728 h 220122"/>
                  <a:gd name="connsiteX38" fmla="*/ 515303 w 3022283"/>
                  <a:gd name="connsiteY38" fmla="*/ 115728 h 220122"/>
                  <a:gd name="connsiteX39" fmla="*/ 515303 w 3022283"/>
                  <a:gd name="connsiteY39" fmla="*/ 121824 h 220122"/>
                  <a:gd name="connsiteX40" fmla="*/ 744569 w 3022283"/>
                  <a:gd name="connsiteY40" fmla="*/ 121824 h 220122"/>
                  <a:gd name="connsiteX41" fmla="*/ 744569 w 3022283"/>
                  <a:gd name="connsiteY41" fmla="*/ 128016 h 220122"/>
                  <a:gd name="connsiteX42" fmla="*/ 858107 w 3022283"/>
                  <a:gd name="connsiteY42" fmla="*/ 128016 h 220122"/>
                  <a:gd name="connsiteX43" fmla="*/ 858107 w 3022283"/>
                  <a:gd name="connsiteY43" fmla="*/ 134207 h 220122"/>
                  <a:gd name="connsiteX44" fmla="*/ 1127284 w 3022283"/>
                  <a:gd name="connsiteY44" fmla="*/ 134207 h 220122"/>
                  <a:gd name="connsiteX45" fmla="*/ 1127284 w 3022283"/>
                  <a:gd name="connsiteY45" fmla="*/ 140493 h 220122"/>
                  <a:gd name="connsiteX46" fmla="*/ 1200912 w 3022283"/>
                  <a:gd name="connsiteY46" fmla="*/ 140493 h 220122"/>
                  <a:gd name="connsiteX47" fmla="*/ 1200912 w 3022283"/>
                  <a:gd name="connsiteY47" fmla="*/ 146780 h 220122"/>
                  <a:gd name="connsiteX48" fmla="*/ 1280827 w 3022283"/>
                  <a:gd name="connsiteY48" fmla="*/ 146780 h 220122"/>
                  <a:gd name="connsiteX49" fmla="*/ 1280827 w 3022283"/>
                  <a:gd name="connsiteY49" fmla="*/ 153066 h 220122"/>
                  <a:gd name="connsiteX50" fmla="*/ 1442752 w 3022283"/>
                  <a:gd name="connsiteY50" fmla="*/ 153066 h 220122"/>
                  <a:gd name="connsiteX51" fmla="*/ 1442752 w 3022283"/>
                  <a:gd name="connsiteY51" fmla="*/ 159543 h 220122"/>
                  <a:gd name="connsiteX52" fmla="*/ 1459611 w 3022283"/>
                  <a:gd name="connsiteY52" fmla="*/ 159543 h 220122"/>
                  <a:gd name="connsiteX53" fmla="*/ 1459611 w 3022283"/>
                  <a:gd name="connsiteY53" fmla="*/ 165925 h 220122"/>
                  <a:gd name="connsiteX54" fmla="*/ 1577435 w 3022283"/>
                  <a:gd name="connsiteY54" fmla="*/ 165925 h 220122"/>
                  <a:gd name="connsiteX55" fmla="*/ 1577435 w 3022283"/>
                  <a:gd name="connsiteY55" fmla="*/ 172402 h 220122"/>
                  <a:gd name="connsiteX56" fmla="*/ 1669923 w 3022283"/>
                  <a:gd name="connsiteY56" fmla="*/ 172402 h 220122"/>
                  <a:gd name="connsiteX57" fmla="*/ 1669923 w 3022283"/>
                  <a:gd name="connsiteY57" fmla="*/ 178784 h 220122"/>
                  <a:gd name="connsiteX58" fmla="*/ 1688878 w 3022283"/>
                  <a:gd name="connsiteY58" fmla="*/ 178784 h 220122"/>
                  <a:gd name="connsiteX59" fmla="*/ 1688878 w 3022283"/>
                  <a:gd name="connsiteY59" fmla="*/ 185261 h 220122"/>
                  <a:gd name="connsiteX60" fmla="*/ 2542699 w 3022283"/>
                  <a:gd name="connsiteY60" fmla="*/ 185261 h 220122"/>
                  <a:gd name="connsiteX61" fmla="*/ 2542699 w 3022283"/>
                  <a:gd name="connsiteY61" fmla="*/ 220122 h 220122"/>
                  <a:gd name="connsiteX62" fmla="*/ 3022283 w 3022283"/>
                  <a:gd name="connsiteY62" fmla="*/ 220122 h 220122"/>
                  <a:gd name="connsiteX0" fmla="*/ 0 w 3022283"/>
                  <a:gd name="connsiteY0" fmla="*/ 0 h 214122"/>
                  <a:gd name="connsiteX1" fmla="*/ 21050 w 3022283"/>
                  <a:gd name="connsiteY1" fmla="*/ 0 h 214122"/>
                  <a:gd name="connsiteX2" fmla="*/ 21050 w 3022283"/>
                  <a:gd name="connsiteY2" fmla="*/ 6096 h 214122"/>
                  <a:gd name="connsiteX3" fmla="*/ 27337 w 3022283"/>
                  <a:gd name="connsiteY3" fmla="*/ 6096 h 214122"/>
                  <a:gd name="connsiteX4" fmla="*/ 27337 w 3022283"/>
                  <a:gd name="connsiteY4" fmla="*/ 12192 h 214122"/>
                  <a:gd name="connsiteX5" fmla="*/ 69437 w 3022283"/>
                  <a:gd name="connsiteY5" fmla="*/ 12192 h 214122"/>
                  <a:gd name="connsiteX6" fmla="*/ 69437 w 3022283"/>
                  <a:gd name="connsiteY6" fmla="*/ 18193 h 214122"/>
                  <a:gd name="connsiteX7" fmla="*/ 84106 w 3022283"/>
                  <a:gd name="connsiteY7" fmla="*/ 18193 h 214122"/>
                  <a:gd name="connsiteX8" fmla="*/ 84106 w 3022283"/>
                  <a:gd name="connsiteY8" fmla="*/ 24289 h 214122"/>
                  <a:gd name="connsiteX9" fmla="*/ 113633 w 3022283"/>
                  <a:gd name="connsiteY9" fmla="*/ 24289 h 214122"/>
                  <a:gd name="connsiteX10" fmla="*/ 113633 w 3022283"/>
                  <a:gd name="connsiteY10" fmla="*/ 30385 h 214122"/>
                  <a:gd name="connsiteX11" fmla="*/ 115729 w 3022283"/>
                  <a:gd name="connsiteY11" fmla="*/ 30385 h 214122"/>
                  <a:gd name="connsiteX12" fmla="*/ 115729 w 3022283"/>
                  <a:gd name="connsiteY12" fmla="*/ 36386 h 214122"/>
                  <a:gd name="connsiteX13" fmla="*/ 138779 w 3022283"/>
                  <a:gd name="connsiteY13" fmla="*/ 36386 h 214122"/>
                  <a:gd name="connsiteX14" fmla="*/ 138779 w 3022283"/>
                  <a:gd name="connsiteY14" fmla="*/ 42482 h 214122"/>
                  <a:gd name="connsiteX15" fmla="*/ 151448 w 3022283"/>
                  <a:gd name="connsiteY15" fmla="*/ 42482 h 214122"/>
                  <a:gd name="connsiteX16" fmla="*/ 151448 w 3022283"/>
                  <a:gd name="connsiteY16" fmla="*/ 48578 h 214122"/>
                  <a:gd name="connsiteX17" fmla="*/ 187166 w 3022283"/>
                  <a:gd name="connsiteY17" fmla="*/ 48578 h 214122"/>
                  <a:gd name="connsiteX18" fmla="*/ 187166 w 3022283"/>
                  <a:gd name="connsiteY18" fmla="*/ 54674 h 214122"/>
                  <a:gd name="connsiteX19" fmla="*/ 302895 w 3022283"/>
                  <a:gd name="connsiteY19" fmla="*/ 54674 h 214122"/>
                  <a:gd name="connsiteX20" fmla="*/ 302895 w 3022283"/>
                  <a:gd name="connsiteY20" fmla="*/ 60675 h 214122"/>
                  <a:gd name="connsiteX21" fmla="*/ 340709 w 3022283"/>
                  <a:gd name="connsiteY21" fmla="*/ 60675 h 214122"/>
                  <a:gd name="connsiteX22" fmla="*/ 340709 w 3022283"/>
                  <a:gd name="connsiteY22" fmla="*/ 66866 h 214122"/>
                  <a:gd name="connsiteX23" fmla="*/ 393287 w 3022283"/>
                  <a:gd name="connsiteY23" fmla="*/ 66866 h 214122"/>
                  <a:gd name="connsiteX24" fmla="*/ 393287 w 3022283"/>
                  <a:gd name="connsiteY24" fmla="*/ 72962 h 214122"/>
                  <a:gd name="connsiteX25" fmla="*/ 412242 w 3022283"/>
                  <a:gd name="connsiteY25" fmla="*/ 72962 h 214122"/>
                  <a:gd name="connsiteX26" fmla="*/ 412242 w 3022283"/>
                  <a:gd name="connsiteY26" fmla="*/ 79058 h 214122"/>
                  <a:gd name="connsiteX27" fmla="*/ 422720 w 3022283"/>
                  <a:gd name="connsiteY27" fmla="*/ 79058 h 214122"/>
                  <a:gd name="connsiteX28" fmla="*/ 422720 w 3022283"/>
                  <a:gd name="connsiteY28" fmla="*/ 85249 h 214122"/>
                  <a:gd name="connsiteX29" fmla="*/ 456438 w 3022283"/>
                  <a:gd name="connsiteY29" fmla="*/ 85249 h 214122"/>
                  <a:gd name="connsiteX30" fmla="*/ 456438 w 3022283"/>
                  <a:gd name="connsiteY30" fmla="*/ 91345 h 214122"/>
                  <a:gd name="connsiteX31" fmla="*/ 462725 w 3022283"/>
                  <a:gd name="connsiteY31" fmla="*/ 91345 h 214122"/>
                  <a:gd name="connsiteX32" fmla="*/ 462725 w 3022283"/>
                  <a:gd name="connsiteY32" fmla="*/ 97441 h 214122"/>
                  <a:gd name="connsiteX33" fmla="*/ 477393 w 3022283"/>
                  <a:gd name="connsiteY33" fmla="*/ 97441 h 214122"/>
                  <a:gd name="connsiteX34" fmla="*/ 477393 w 3022283"/>
                  <a:gd name="connsiteY34" fmla="*/ 103537 h 214122"/>
                  <a:gd name="connsiteX35" fmla="*/ 490061 w 3022283"/>
                  <a:gd name="connsiteY35" fmla="*/ 103537 h 214122"/>
                  <a:gd name="connsiteX36" fmla="*/ 490061 w 3022283"/>
                  <a:gd name="connsiteY36" fmla="*/ 109728 h 214122"/>
                  <a:gd name="connsiteX37" fmla="*/ 515303 w 3022283"/>
                  <a:gd name="connsiteY37" fmla="*/ 109728 h 214122"/>
                  <a:gd name="connsiteX38" fmla="*/ 515303 w 3022283"/>
                  <a:gd name="connsiteY38" fmla="*/ 115824 h 214122"/>
                  <a:gd name="connsiteX39" fmla="*/ 744569 w 3022283"/>
                  <a:gd name="connsiteY39" fmla="*/ 115824 h 214122"/>
                  <a:gd name="connsiteX40" fmla="*/ 744569 w 3022283"/>
                  <a:gd name="connsiteY40" fmla="*/ 122016 h 214122"/>
                  <a:gd name="connsiteX41" fmla="*/ 858107 w 3022283"/>
                  <a:gd name="connsiteY41" fmla="*/ 122016 h 214122"/>
                  <a:gd name="connsiteX42" fmla="*/ 858107 w 3022283"/>
                  <a:gd name="connsiteY42" fmla="*/ 128207 h 214122"/>
                  <a:gd name="connsiteX43" fmla="*/ 1127284 w 3022283"/>
                  <a:gd name="connsiteY43" fmla="*/ 128207 h 214122"/>
                  <a:gd name="connsiteX44" fmla="*/ 1127284 w 3022283"/>
                  <a:gd name="connsiteY44" fmla="*/ 134493 h 214122"/>
                  <a:gd name="connsiteX45" fmla="*/ 1200912 w 3022283"/>
                  <a:gd name="connsiteY45" fmla="*/ 134493 h 214122"/>
                  <a:gd name="connsiteX46" fmla="*/ 1200912 w 3022283"/>
                  <a:gd name="connsiteY46" fmla="*/ 140780 h 214122"/>
                  <a:gd name="connsiteX47" fmla="*/ 1280827 w 3022283"/>
                  <a:gd name="connsiteY47" fmla="*/ 140780 h 214122"/>
                  <a:gd name="connsiteX48" fmla="*/ 1280827 w 3022283"/>
                  <a:gd name="connsiteY48" fmla="*/ 147066 h 214122"/>
                  <a:gd name="connsiteX49" fmla="*/ 1442752 w 3022283"/>
                  <a:gd name="connsiteY49" fmla="*/ 147066 h 214122"/>
                  <a:gd name="connsiteX50" fmla="*/ 1442752 w 3022283"/>
                  <a:gd name="connsiteY50" fmla="*/ 153543 h 214122"/>
                  <a:gd name="connsiteX51" fmla="*/ 1459611 w 3022283"/>
                  <a:gd name="connsiteY51" fmla="*/ 153543 h 214122"/>
                  <a:gd name="connsiteX52" fmla="*/ 1459611 w 3022283"/>
                  <a:gd name="connsiteY52" fmla="*/ 159925 h 214122"/>
                  <a:gd name="connsiteX53" fmla="*/ 1577435 w 3022283"/>
                  <a:gd name="connsiteY53" fmla="*/ 159925 h 214122"/>
                  <a:gd name="connsiteX54" fmla="*/ 1577435 w 3022283"/>
                  <a:gd name="connsiteY54" fmla="*/ 166402 h 214122"/>
                  <a:gd name="connsiteX55" fmla="*/ 1669923 w 3022283"/>
                  <a:gd name="connsiteY55" fmla="*/ 166402 h 214122"/>
                  <a:gd name="connsiteX56" fmla="*/ 1669923 w 3022283"/>
                  <a:gd name="connsiteY56" fmla="*/ 172784 h 214122"/>
                  <a:gd name="connsiteX57" fmla="*/ 1688878 w 3022283"/>
                  <a:gd name="connsiteY57" fmla="*/ 172784 h 214122"/>
                  <a:gd name="connsiteX58" fmla="*/ 1688878 w 3022283"/>
                  <a:gd name="connsiteY58" fmla="*/ 179261 h 214122"/>
                  <a:gd name="connsiteX59" fmla="*/ 2542699 w 3022283"/>
                  <a:gd name="connsiteY59" fmla="*/ 179261 h 214122"/>
                  <a:gd name="connsiteX60" fmla="*/ 2542699 w 3022283"/>
                  <a:gd name="connsiteY60" fmla="*/ 214122 h 214122"/>
                  <a:gd name="connsiteX61" fmla="*/ 3022283 w 3022283"/>
                  <a:gd name="connsiteY61" fmla="*/ 214122 h 214122"/>
                  <a:gd name="connsiteX0" fmla="*/ 0 w 3001233"/>
                  <a:gd name="connsiteY0" fmla="*/ 0 h 214122"/>
                  <a:gd name="connsiteX1" fmla="*/ 0 w 3001233"/>
                  <a:gd name="connsiteY1" fmla="*/ 6096 h 214122"/>
                  <a:gd name="connsiteX2" fmla="*/ 6287 w 3001233"/>
                  <a:gd name="connsiteY2" fmla="*/ 6096 h 214122"/>
                  <a:gd name="connsiteX3" fmla="*/ 6287 w 3001233"/>
                  <a:gd name="connsiteY3" fmla="*/ 12192 h 214122"/>
                  <a:gd name="connsiteX4" fmla="*/ 48387 w 3001233"/>
                  <a:gd name="connsiteY4" fmla="*/ 12192 h 214122"/>
                  <a:gd name="connsiteX5" fmla="*/ 48387 w 3001233"/>
                  <a:gd name="connsiteY5" fmla="*/ 18193 h 214122"/>
                  <a:gd name="connsiteX6" fmla="*/ 63056 w 3001233"/>
                  <a:gd name="connsiteY6" fmla="*/ 18193 h 214122"/>
                  <a:gd name="connsiteX7" fmla="*/ 63056 w 3001233"/>
                  <a:gd name="connsiteY7" fmla="*/ 24289 h 214122"/>
                  <a:gd name="connsiteX8" fmla="*/ 92583 w 3001233"/>
                  <a:gd name="connsiteY8" fmla="*/ 24289 h 214122"/>
                  <a:gd name="connsiteX9" fmla="*/ 92583 w 3001233"/>
                  <a:gd name="connsiteY9" fmla="*/ 30385 h 214122"/>
                  <a:gd name="connsiteX10" fmla="*/ 94679 w 3001233"/>
                  <a:gd name="connsiteY10" fmla="*/ 30385 h 214122"/>
                  <a:gd name="connsiteX11" fmla="*/ 94679 w 3001233"/>
                  <a:gd name="connsiteY11" fmla="*/ 36386 h 214122"/>
                  <a:gd name="connsiteX12" fmla="*/ 117729 w 3001233"/>
                  <a:gd name="connsiteY12" fmla="*/ 36386 h 214122"/>
                  <a:gd name="connsiteX13" fmla="*/ 117729 w 3001233"/>
                  <a:gd name="connsiteY13" fmla="*/ 42482 h 214122"/>
                  <a:gd name="connsiteX14" fmla="*/ 130398 w 3001233"/>
                  <a:gd name="connsiteY14" fmla="*/ 42482 h 214122"/>
                  <a:gd name="connsiteX15" fmla="*/ 130398 w 3001233"/>
                  <a:gd name="connsiteY15" fmla="*/ 48578 h 214122"/>
                  <a:gd name="connsiteX16" fmla="*/ 166116 w 3001233"/>
                  <a:gd name="connsiteY16" fmla="*/ 48578 h 214122"/>
                  <a:gd name="connsiteX17" fmla="*/ 166116 w 3001233"/>
                  <a:gd name="connsiteY17" fmla="*/ 54674 h 214122"/>
                  <a:gd name="connsiteX18" fmla="*/ 281845 w 3001233"/>
                  <a:gd name="connsiteY18" fmla="*/ 54674 h 214122"/>
                  <a:gd name="connsiteX19" fmla="*/ 281845 w 3001233"/>
                  <a:gd name="connsiteY19" fmla="*/ 60675 h 214122"/>
                  <a:gd name="connsiteX20" fmla="*/ 319659 w 3001233"/>
                  <a:gd name="connsiteY20" fmla="*/ 60675 h 214122"/>
                  <a:gd name="connsiteX21" fmla="*/ 319659 w 3001233"/>
                  <a:gd name="connsiteY21" fmla="*/ 66866 h 214122"/>
                  <a:gd name="connsiteX22" fmla="*/ 372237 w 3001233"/>
                  <a:gd name="connsiteY22" fmla="*/ 66866 h 214122"/>
                  <a:gd name="connsiteX23" fmla="*/ 372237 w 3001233"/>
                  <a:gd name="connsiteY23" fmla="*/ 72962 h 214122"/>
                  <a:gd name="connsiteX24" fmla="*/ 391192 w 3001233"/>
                  <a:gd name="connsiteY24" fmla="*/ 72962 h 214122"/>
                  <a:gd name="connsiteX25" fmla="*/ 391192 w 3001233"/>
                  <a:gd name="connsiteY25" fmla="*/ 79058 h 214122"/>
                  <a:gd name="connsiteX26" fmla="*/ 401670 w 3001233"/>
                  <a:gd name="connsiteY26" fmla="*/ 79058 h 214122"/>
                  <a:gd name="connsiteX27" fmla="*/ 401670 w 3001233"/>
                  <a:gd name="connsiteY27" fmla="*/ 85249 h 214122"/>
                  <a:gd name="connsiteX28" fmla="*/ 435388 w 3001233"/>
                  <a:gd name="connsiteY28" fmla="*/ 85249 h 214122"/>
                  <a:gd name="connsiteX29" fmla="*/ 435388 w 3001233"/>
                  <a:gd name="connsiteY29" fmla="*/ 91345 h 214122"/>
                  <a:gd name="connsiteX30" fmla="*/ 441675 w 3001233"/>
                  <a:gd name="connsiteY30" fmla="*/ 91345 h 214122"/>
                  <a:gd name="connsiteX31" fmla="*/ 441675 w 3001233"/>
                  <a:gd name="connsiteY31" fmla="*/ 97441 h 214122"/>
                  <a:gd name="connsiteX32" fmla="*/ 456343 w 3001233"/>
                  <a:gd name="connsiteY32" fmla="*/ 97441 h 214122"/>
                  <a:gd name="connsiteX33" fmla="*/ 456343 w 3001233"/>
                  <a:gd name="connsiteY33" fmla="*/ 103537 h 214122"/>
                  <a:gd name="connsiteX34" fmla="*/ 469011 w 3001233"/>
                  <a:gd name="connsiteY34" fmla="*/ 103537 h 214122"/>
                  <a:gd name="connsiteX35" fmla="*/ 469011 w 3001233"/>
                  <a:gd name="connsiteY35" fmla="*/ 109728 h 214122"/>
                  <a:gd name="connsiteX36" fmla="*/ 494253 w 3001233"/>
                  <a:gd name="connsiteY36" fmla="*/ 109728 h 214122"/>
                  <a:gd name="connsiteX37" fmla="*/ 494253 w 3001233"/>
                  <a:gd name="connsiteY37" fmla="*/ 115824 h 214122"/>
                  <a:gd name="connsiteX38" fmla="*/ 723519 w 3001233"/>
                  <a:gd name="connsiteY38" fmla="*/ 115824 h 214122"/>
                  <a:gd name="connsiteX39" fmla="*/ 723519 w 3001233"/>
                  <a:gd name="connsiteY39" fmla="*/ 122016 h 214122"/>
                  <a:gd name="connsiteX40" fmla="*/ 837057 w 3001233"/>
                  <a:gd name="connsiteY40" fmla="*/ 122016 h 214122"/>
                  <a:gd name="connsiteX41" fmla="*/ 837057 w 3001233"/>
                  <a:gd name="connsiteY41" fmla="*/ 128207 h 214122"/>
                  <a:gd name="connsiteX42" fmla="*/ 1106234 w 3001233"/>
                  <a:gd name="connsiteY42" fmla="*/ 128207 h 214122"/>
                  <a:gd name="connsiteX43" fmla="*/ 1106234 w 3001233"/>
                  <a:gd name="connsiteY43" fmla="*/ 134493 h 214122"/>
                  <a:gd name="connsiteX44" fmla="*/ 1179862 w 3001233"/>
                  <a:gd name="connsiteY44" fmla="*/ 134493 h 214122"/>
                  <a:gd name="connsiteX45" fmla="*/ 1179862 w 3001233"/>
                  <a:gd name="connsiteY45" fmla="*/ 140780 h 214122"/>
                  <a:gd name="connsiteX46" fmla="*/ 1259777 w 3001233"/>
                  <a:gd name="connsiteY46" fmla="*/ 140780 h 214122"/>
                  <a:gd name="connsiteX47" fmla="*/ 1259777 w 3001233"/>
                  <a:gd name="connsiteY47" fmla="*/ 147066 h 214122"/>
                  <a:gd name="connsiteX48" fmla="*/ 1421702 w 3001233"/>
                  <a:gd name="connsiteY48" fmla="*/ 147066 h 214122"/>
                  <a:gd name="connsiteX49" fmla="*/ 1421702 w 3001233"/>
                  <a:gd name="connsiteY49" fmla="*/ 153543 h 214122"/>
                  <a:gd name="connsiteX50" fmla="*/ 1438561 w 3001233"/>
                  <a:gd name="connsiteY50" fmla="*/ 153543 h 214122"/>
                  <a:gd name="connsiteX51" fmla="*/ 1438561 w 3001233"/>
                  <a:gd name="connsiteY51" fmla="*/ 159925 h 214122"/>
                  <a:gd name="connsiteX52" fmla="*/ 1556385 w 3001233"/>
                  <a:gd name="connsiteY52" fmla="*/ 159925 h 214122"/>
                  <a:gd name="connsiteX53" fmla="*/ 1556385 w 3001233"/>
                  <a:gd name="connsiteY53" fmla="*/ 166402 h 214122"/>
                  <a:gd name="connsiteX54" fmla="*/ 1648873 w 3001233"/>
                  <a:gd name="connsiteY54" fmla="*/ 166402 h 214122"/>
                  <a:gd name="connsiteX55" fmla="*/ 1648873 w 3001233"/>
                  <a:gd name="connsiteY55" fmla="*/ 172784 h 214122"/>
                  <a:gd name="connsiteX56" fmla="*/ 1667828 w 3001233"/>
                  <a:gd name="connsiteY56" fmla="*/ 172784 h 214122"/>
                  <a:gd name="connsiteX57" fmla="*/ 1667828 w 3001233"/>
                  <a:gd name="connsiteY57" fmla="*/ 179261 h 214122"/>
                  <a:gd name="connsiteX58" fmla="*/ 2521649 w 3001233"/>
                  <a:gd name="connsiteY58" fmla="*/ 179261 h 214122"/>
                  <a:gd name="connsiteX59" fmla="*/ 2521649 w 3001233"/>
                  <a:gd name="connsiteY59" fmla="*/ 214122 h 214122"/>
                  <a:gd name="connsiteX60" fmla="*/ 3001233 w 3001233"/>
                  <a:gd name="connsiteY60" fmla="*/ 214122 h 214122"/>
                  <a:gd name="connsiteX0" fmla="*/ 0 w 3001233"/>
                  <a:gd name="connsiteY0" fmla="*/ 0 h 208026"/>
                  <a:gd name="connsiteX1" fmla="*/ 6287 w 3001233"/>
                  <a:gd name="connsiteY1" fmla="*/ 0 h 208026"/>
                  <a:gd name="connsiteX2" fmla="*/ 6287 w 3001233"/>
                  <a:gd name="connsiteY2" fmla="*/ 6096 h 208026"/>
                  <a:gd name="connsiteX3" fmla="*/ 48387 w 3001233"/>
                  <a:gd name="connsiteY3" fmla="*/ 6096 h 208026"/>
                  <a:gd name="connsiteX4" fmla="*/ 48387 w 3001233"/>
                  <a:gd name="connsiteY4" fmla="*/ 12097 h 208026"/>
                  <a:gd name="connsiteX5" fmla="*/ 63056 w 3001233"/>
                  <a:gd name="connsiteY5" fmla="*/ 12097 h 208026"/>
                  <a:gd name="connsiteX6" fmla="*/ 63056 w 3001233"/>
                  <a:gd name="connsiteY6" fmla="*/ 18193 h 208026"/>
                  <a:gd name="connsiteX7" fmla="*/ 92583 w 3001233"/>
                  <a:gd name="connsiteY7" fmla="*/ 18193 h 208026"/>
                  <a:gd name="connsiteX8" fmla="*/ 92583 w 3001233"/>
                  <a:gd name="connsiteY8" fmla="*/ 24289 h 208026"/>
                  <a:gd name="connsiteX9" fmla="*/ 94679 w 3001233"/>
                  <a:gd name="connsiteY9" fmla="*/ 24289 h 208026"/>
                  <a:gd name="connsiteX10" fmla="*/ 94679 w 3001233"/>
                  <a:gd name="connsiteY10" fmla="*/ 30290 h 208026"/>
                  <a:gd name="connsiteX11" fmla="*/ 117729 w 3001233"/>
                  <a:gd name="connsiteY11" fmla="*/ 30290 h 208026"/>
                  <a:gd name="connsiteX12" fmla="*/ 117729 w 3001233"/>
                  <a:gd name="connsiteY12" fmla="*/ 36386 h 208026"/>
                  <a:gd name="connsiteX13" fmla="*/ 130398 w 3001233"/>
                  <a:gd name="connsiteY13" fmla="*/ 36386 h 208026"/>
                  <a:gd name="connsiteX14" fmla="*/ 130398 w 3001233"/>
                  <a:gd name="connsiteY14" fmla="*/ 42482 h 208026"/>
                  <a:gd name="connsiteX15" fmla="*/ 166116 w 3001233"/>
                  <a:gd name="connsiteY15" fmla="*/ 42482 h 208026"/>
                  <a:gd name="connsiteX16" fmla="*/ 166116 w 3001233"/>
                  <a:gd name="connsiteY16" fmla="*/ 48578 h 208026"/>
                  <a:gd name="connsiteX17" fmla="*/ 281845 w 3001233"/>
                  <a:gd name="connsiteY17" fmla="*/ 48578 h 208026"/>
                  <a:gd name="connsiteX18" fmla="*/ 281845 w 3001233"/>
                  <a:gd name="connsiteY18" fmla="*/ 54579 h 208026"/>
                  <a:gd name="connsiteX19" fmla="*/ 319659 w 3001233"/>
                  <a:gd name="connsiteY19" fmla="*/ 54579 h 208026"/>
                  <a:gd name="connsiteX20" fmla="*/ 319659 w 3001233"/>
                  <a:gd name="connsiteY20" fmla="*/ 60770 h 208026"/>
                  <a:gd name="connsiteX21" fmla="*/ 372237 w 3001233"/>
                  <a:gd name="connsiteY21" fmla="*/ 60770 h 208026"/>
                  <a:gd name="connsiteX22" fmla="*/ 372237 w 3001233"/>
                  <a:gd name="connsiteY22" fmla="*/ 66866 h 208026"/>
                  <a:gd name="connsiteX23" fmla="*/ 391192 w 3001233"/>
                  <a:gd name="connsiteY23" fmla="*/ 66866 h 208026"/>
                  <a:gd name="connsiteX24" fmla="*/ 391192 w 3001233"/>
                  <a:gd name="connsiteY24" fmla="*/ 72962 h 208026"/>
                  <a:gd name="connsiteX25" fmla="*/ 401670 w 3001233"/>
                  <a:gd name="connsiteY25" fmla="*/ 72962 h 208026"/>
                  <a:gd name="connsiteX26" fmla="*/ 401670 w 3001233"/>
                  <a:gd name="connsiteY26" fmla="*/ 79153 h 208026"/>
                  <a:gd name="connsiteX27" fmla="*/ 435388 w 3001233"/>
                  <a:gd name="connsiteY27" fmla="*/ 79153 h 208026"/>
                  <a:gd name="connsiteX28" fmla="*/ 435388 w 3001233"/>
                  <a:gd name="connsiteY28" fmla="*/ 85249 h 208026"/>
                  <a:gd name="connsiteX29" fmla="*/ 441675 w 3001233"/>
                  <a:gd name="connsiteY29" fmla="*/ 85249 h 208026"/>
                  <a:gd name="connsiteX30" fmla="*/ 441675 w 3001233"/>
                  <a:gd name="connsiteY30" fmla="*/ 91345 h 208026"/>
                  <a:gd name="connsiteX31" fmla="*/ 456343 w 3001233"/>
                  <a:gd name="connsiteY31" fmla="*/ 91345 h 208026"/>
                  <a:gd name="connsiteX32" fmla="*/ 456343 w 3001233"/>
                  <a:gd name="connsiteY32" fmla="*/ 97441 h 208026"/>
                  <a:gd name="connsiteX33" fmla="*/ 469011 w 3001233"/>
                  <a:gd name="connsiteY33" fmla="*/ 97441 h 208026"/>
                  <a:gd name="connsiteX34" fmla="*/ 469011 w 3001233"/>
                  <a:gd name="connsiteY34" fmla="*/ 103632 h 208026"/>
                  <a:gd name="connsiteX35" fmla="*/ 494253 w 3001233"/>
                  <a:gd name="connsiteY35" fmla="*/ 103632 h 208026"/>
                  <a:gd name="connsiteX36" fmla="*/ 494253 w 3001233"/>
                  <a:gd name="connsiteY36" fmla="*/ 109728 h 208026"/>
                  <a:gd name="connsiteX37" fmla="*/ 723519 w 3001233"/>
                  <a:gd name="connsiteY37" fmla="*/ 109728 h 208026"/>
                  <a:gd name="connsiteX38" fmla="*/ 723519 w 3001233"/>
                  <a:gd name="connsiteY38" fmla="*/ 115920 h 208026"/>
                  <a:gd name="connsiteX39" fmla="*/ 837057 w 3001233"/>
                  <a:gd name="connsiteY39" fmla="*/ 115920 h 208026"/>
                  <a:gd name="connsiteX40" fmla="*/ 837057 w 3001233"/>
                  <a:gd name="connsiteY40" fmla="*/ 122111 h 208026"/>
                  <a:gd name="connsiteX41" fmla="*/ 1106234 w 3001233"/>
                  <a:gd name="connsiteY41" fmla="*/ 122111 h 208026"/>
                  <a:gd name="connsiteX42" fmla="*/ 1106234 w 3001233"/>
                  <a:gd name="connsiteY42" fmla="*/ 128397 h 208026"/>
                  <a:gd name="connsiteX43" fmla="*/ 1179862 w 3001233"/>
                  <a:gd name="connsiteY43" fmla="*/ 128397 h 208026"/>
                  <a:gd name="connsiteX44" fmla="*/ 1179862 w 3001233"/>
                  <a:gd name="connsiteY44" fmla="*/ 134684 h 208026"/>
                  <a:gd name="connsiteX45" fmla="*/ 1259777 w 3001233"/>
                  <a:gd name="connsiteY45" fmla="*/ 134684 h 208026"/>
                  <a:gd name="connsiteX46" fmla="*/ 1259777 w 3001233"/>
                  <a:gd name="connsiteY46" fmla="*/ 140970 h 208026"/>
                  <a:gd name="connsiteX47" fmla="*/ 1421702 w 3001233"/>
                  <a:gd name="connsiteY47" fmla="*/ 140970 h 208026"/>
                  <a:gd name="connsiteX48" fmla="*/ 1421702 w 3001233"/>
                  <a:gd name="connsiteY48" fmla="*/ 147447 h 208026"/>
                  <a:gd name="connsiteX49" fmla="*/ 1438561 w 3001233"/>
                  <a:gd name="connsiteY49" fmla="*/ 147447 h 208026"/>
                  <a:gd name="connsiteX50" fmla="*/ 1438561 w 3001233"/>
                  <a:gd name="connsiteY50" fmla="*/ 153829 h 208026"/>
                  <a:gd name="connsiteX51" fmla="*/ 1556385 w 3001233"/>
                  <a:gd name="connsiteY51" fmla="*/ 153829 h 208026"/>
                  <a:gd name="connsiteX52" fmla="*/ 1556385 w 3001233"/>
                  <a:gd name="connsiteY52" fmla="*/ 160306 h 208026"/>
                  <a:gd name="connsiteX53" fmla="*/ 1648873 w 3001233"/>
                  <a:gd name="connsiteY53" fmla="*/ 160306 h 208026"/>
                  <a:gd name="connsiteX54" fmla="*/ 1648873 w 3001233"/>
                  <a:gd name="connsiteY54" fmla="*/ 166688 h 208026"/>
                  <a:gd name="connsiteX55" fmla="*/ 1667828 w 3001233"/>
                  <a:gd name="connsiteY55" fmla="*/ 166688 h 208026"/>
                  <a:gd name="connsiteX56" fmla="*/ 1667828 w 3001233"/>
                  <a:gd name="connsiteY56" fmla="*/ 173165 h 208026"/>
                  <a:gd name="connsiteX57" fmla="*/ 2521649 w 3001233"/>
                  <a:gd name="connsiteY57" fmla="*/ 173165 h 208026"/>
                  <a:gd name="connsiteX58" fmla="*/ 2521649 w 3001233"/>
                  <a:gd name="connsiteY58" fmla="*/ 208026 h 208026"/>
                  <a:gd name="connsiteX59" fmla="*/ 3001233 w 3001233"/>
                  <a:gd name="connsiteY59" fmla="*/ 208026 h 208026"/>
                  <a:gd name="connsiteX0" fmla="*/ 0 w 3001233"/>
                  <a:gd name="connsiteY0" fmla="*/ 0 h 208026"/>
                  <a:gd name="connsiteX1" fmla="*/ 6287 w 3001233"/>
                  <a:gd name="connsiteY1" fmla="*/ 0 h 208026"/>
                  <a:gd name="connsiteX2" fmla="*/ 48387 w 3001233"/>
                  <a:gd name="connsiteY2" fmla="*/ 6096 h 208026"/>
                  <a:gd name="connsiteX3" fmla="*/ 48387 w 3001233"/>
                  <a:gd name="connsiteY3" fmla="*/ 12097 h 208026"/>
                  <a:gd name="connsiteX4" fmla="*/ 63056 w 3001233"/>
                  <a:gd name="connsiteY4" fmla="*/ 12097 h 208026"/>
                  <a:gd name="connsiteX5" fmla="*/ 63056 w 3001233"/>
                  <a:gd name="connsiteY5" fmla="*/ 18193 h 208026"/>
                  <a:gd name="connsiteX6" fmla="*/ 92583 w 3001233"/>
                  <a:gd name="connsiteY6" fmla="*/ 18193 h 208026"/>
                  <a:gd name="connsiteX7" fmla="*/ 92583 w 3001233"/>
                  <a:gd name="connsiteY7" fmla="*/ 24289 h 208026"/>
                  <a:gd name="connsiteX8" fmla="*/ 94679 w 3001233"/>
                  <a:gd name="connsiteY8" fmla="*/ 24289 h 208026"/>
                  <a:gd name="connsiteX9" fmla="*/ 94679 w 3001233"/>
                  <a:gd name="connsiteY9" fmla="*/ 30290 h 208026"/>
                  <a:gd name="connsiteX10" fmla="*/ 117729 w 3001233"/>
                  <a:gd name="connsiteY10" fmla="*/ 30290 h 208026"/>
                  <a:gd name="connsiteX11" fmla="*/ 117729 w 3001233"/>
                  <a:gd name="connsiteY11" fmla="*/ 36386 h 208026"/>
                  <a:gd name="connsiteX12" fmla="*/ 130398 w 3001233"/>
                  <a:gd name="connsiteY12" fmla="*/ 36386 h 208026"/>
                  <a:gd name="connsiteX13" fmla="*/ 130398 w 3001233"/>
                  <a:gd name="connsiteY13" fmla="*/ 42482 h 208026"/>
                  <a:gd name="connsiteX14" fmla="*/ 166116 w 3001233"/>
                  <a:gd name="connsiteY14" fmla="*/ 42482 h 208026"/>
                  <a:gd name="connsiteX15" fmla="*/ 166116 w 3001233"/>
                  <a:gd name="connsiteY15" fmla="*/ 48578 h 208026"/>
                  <a:gd name="connsiteX16" fmla="*/ 281845 w 3001233"/>
                  <a:gd name="connsiteY16" fmla="*/ 48578 h 208026"/>
                  <a:gd name="connsiteX17" fmla="*/ 281845 w 3001233"/>
                  <a:gd name="connsiteY17" fmla="*/ 54579 h 208026"/>
                  <a:gd name="connsiteX18" fmla="*/ 319659 w 3001233"/>
                  <a:gd name="connsiteY18" fmla="*/ 54579 h 208026"/>
                  <a:gd name="connsiteX19" fmla="*/ 319659 w 3001233"/>
                  <a:gd name="connsiteY19" fmla="*/ 60770 h 208026"/>
                  <a:gd name="connsiteX20" fmla="*/ 372237 w 3001233"/>
                  <a:gd name="connsiteY20" fmla="*/ 60770 h 208026"/>
                  <a:gd name="connsiteX21" fmla="*/ 372237 w 3001233"/>
                  <a:gd name="connsiteY21" fmla="*/ 66866 h 208026"/>
                  <a:gd name="connsiteX22" fmla="*/ 391192 w 3001233"/>
                  <a:gd name="connsiteY22" fmla="*/ 66866 h 208026"/>
                  <a:gd name="connsiteX23" fmla="*/ 391192 w 3001233"/>
                  <a:gd name="connsiteY23" fmla="*/ 72962 h 208026"/>
                  <a:gd name="connsiteX24" fmla="*/ 401670 w 3001233"/>
                  <a:gd name="connsiteY24" fmla="*/ 72962 h 208026"/>
                  <a:gd name="connsiteX25" fmla="*/ 401670 w 3001233"/>
                  <a:gd name="connsiteY25" fmla="*/ 79153 h 208026"/>
                  <a:gd name="connsiteX26" fmla="*/ 435388 w 3001233"/>
                  <a:gd name="connsiteY26" fmla="*/ 79153 h 208026"/>
                  <a:gd name="connsiteX27" fmla="*/ 435388 w 3001233"/>
                  <a:gd name="connsiteY27" fmla="*/ 85249 h 208026"/>
                  <a:gd name="connsiteX28" fmla="*/ 441675 w 3001233"/>
                  <a:gd name="connsiteY28" fmla="*/ 85249 h 208026"/>
                  <a:gd name="connsiteX29" fmla="*/ 441675 w 3001233"/>
                  <a:gd name="connsiteY29" fmla="*/ 91345 h 208026"/>
                  <a:gd name="connsiteX30" fmla="*/ 456343 w 3001233"/>
                  <a:gd name="connsiteY30" fmla="*/ 91345 h 208026"/>
                  <a:gd name="connsiteX31" fmla="*/ 456343 w 3001233"/>
                  <a:gd name="connsiteY31" fmla="*/ 97441 h 208026"/>
                  <a:gd name="connsiteX32" fmla="*/ 469011 w 3001233"/>
                  <a:gd name="connsiteY32" fmla="*/ 97441 h 208026"/>
                  <a:gd name="connsiteX33" fmla="*/ 469011 w 3001233"/>
                  <a:gd name="connsiteY33" fmla="*/ 103632 h 208026"/>
                  <a:gd name="connsiteX34" fmla="*/ 494253 w 3001233"/>
                  <a:gd name="connsiteY34" fmla="*/ 103632 h 208026"/>
                  <a:gd name="connsiteX35" fmla="*/ 494253 w 3001233"/>
                  <a:gd name="connsiteY35" fmla="*/ 109728 h 208026"/>
                  <a:gd name="connsiteX36" fmla="*/ 723519 w 3001233"/>
                  <a:gd name="connsiteY36" fmla="*/ 109728 h 208026"/>
                  <a:gd name="connsiteX37" fmla="*/ 723519 w 3001233"/>
                  <a:gd name="connsiteY37" fmla="*/ 115920 h 208026"/>
                  <a:gd name="connsiteX38" fmla="*/ 837057 w 3001233"/>
                  <a:gd name="connsiteY38" fmla="*/ 115920 h 208026"/>
                  <a:gd name="connsiteX39" fmla="*/ 837057 w 3001233"/>
                  <a:gd name="connsiteY39" fmla="*/ 122111 h 208026"/>
                  <a:gd name="connsiteX40" fmla="*/ 1106234 w 3001233"/>
                  <a:gd name="connsiteY40" fmla="*/ 122111 h 208026"/>
                  <a:gd name="connsiteX41" fmla="*/ 1106234 w 3001233"/>
                  <a:gd name="connsiteY41" fmla="*/ 128397 h 208026"/>
                  <a:gd name="connsiteX42" fmla="*/ 1179862 w 3001233"/>
                  <a:gd name="connsiteY42" fmla="*/ 128397 h 208026"/>
                  <a:gd name="connsiteX43" fmla="*/ 1179862 w 3001233"/>
                  <a:gd name="connsiteY43" fmla="*/ 134684 h 208026"/>
                  <a:gd name="connsiteX44" fmla="*/ 1259777 w 3001233"/>
                  <a:gd name="connsiteY44" fmla="*/ 134684 h 208026"/>
                  <a:gd name="connsiteX45" fmla="*/ 1259777 w 3001233"/>
                  <a:gd name="connsiteY45" fmla="*/ 140970 h 208026"/>
                  <a:gd name="connsiteX46" fmla="*/ 1421702 w 3001233"/>
                  <a:gd name="connsiteY46" fmla="*/ 140970 h 208026"/>
                  <a:gd name="connsiteX47" fmla="*/ 1421702 w 3001233"/>
                  <a:gd name="connsiteY47" fmla="*/ 147447 h 208026"/>
                  <a:gd name="connsiteX48" fmla="*/ 1438561 w 3001233"/>
                  <a:gd name="connsiteY48" fmla="*/ 147447 h 208026"/>
                  <a:gd name="connsiteX49" fmla="*/ 1438561 w 3001233"/>
                  <a:gd name="connsiteY49" fmla="*/ 153829 h 208026"/>
                  <a:gd name="connsiteX50" fmla="*/ 1556385 w 3001233"/>
                  <a:gd name="connsiteY50" fmla="*/ 153829 h 208026"/>
                  <a:gd name="connsiteX51" fmla="*/ 1556385 w 3001233"/>
                  <a:gd name="connsiteY51" fmla="*/ 160306 h 208026"/>
                  <a:gd name="connsiteX52" fmla="*/ 1648873 w 3001233"/>
                  <a:gd name="connsiteY52" fmla="*/ 160306 h 208026"/>
                  <a:gd name="connsiteX53" fmla="*/ 1648873 w 3001233"/>
                  <a:gd name="connsiteY53" fmla="*/ 166688 h 208026"/>
                  <a:gd name="connsiteX54" fmla="*/ 1667828 w 3001233"/>
                  <a:gd name="connsiteY54" fmla="*/ 166688 h 208026"/>
                  <a:gd name="connsiteX55" fmla="*/ 1667828 w 3001233"/>
                  <a:gd name="connsiteY55" fmla="*/ 173165 h 208026"/>
                  <a:gd name="connsiteX56" fmla="*/ 2521649 w 3001233"/>
                  <a:gd name="connsiteY56" fmla="*/ 173165 h 208026"/>
                  <a:gd name="connsiteX57" fmla="*/ 2521649 w 3001233"/>
                  <a:gd name="connsiteY57" fmla="*/ 208026 h 208026"/>
                  <a:gd name="connsiteX58" fmla="*/ 3001233 w 3001233"/>
                  <a:gd name="connsiteY58" fmla="*/ 208026 h 208026"/>
                  <a:gd name="connsiteX0" fmla="*/ 0 w 3001233"/>
                  <a:gd name="connsiteY0" fmla="*/ 0 h 208026"/>
                  <a:gd name="connsiteX1" fmla="*/ 48387 w 3001233"/>
                  <a:gd name="connsiteY1" fmla="*/ 6096 h 208026"/>
                  <a:gd name="connsiteX2" fmla="*/ 48387 w 3001233"/>
                  <a:gd name="connsiteY2" fmla="*/ 12097 h 208026"/>
                  <a:gd name="connsiteX3" fmla="*/ 63056 w 3001233"/>
                  <a:gd name="connsiteY3" fmla="*/ 12097 h 208026"/>
                  <a:gd name="connsiteX4" fmla="*/ 63056 w 3001233"/>
                  <a:gd name="connsiteY4" fmla="*/ 18193 h 208026"/>
                  <a:gd name="connsiteX5" fmla="*/ 92583 w 3001233"/>
                  <a:gd name="connsiteY5" fmla="*/ 18193 h 208026"/>
                  <a:gd name="connsiteX6" fmla="*/ 92583 w 3001233"/>
                  <a:gd name="connsiteY6" fmla="*/ 24289 h 208026"/>
                  <a:gd name="connsiteX7" fmla="*/ 94679 w 3001233"/>
                  <a:gd name="connsiteY7" fmla="*/ 24289 h 208026"/>
                  <a:gd name="connsiteX8" fmla="*/ 94679 w 3001233"/>
                  <a:gd name="connsiteY8" fmla="*/ 30290 h 208026"/>
                  <a:gd name="connsiteX9" fmla="*/ 117729 w 3001233"/>
                  <a:gd name="connsiteY9" fmla="*/ 30290 h 208026"/>
                  <a:gd name="connsiteX10" fmla="*/ 117729 w 3001233"/>
                  <a:gd name="connsiteY10" fmla="*/ 36386 h 208026"/>
                  <a:gd name="connsiteX11" fmla="*/ 130398 w 3001233"/>
                  <a:gd name="connsiteY11" fmla="*/ 36386 h 208026"/>
                  <a:gd name="connsiteX12" fmla="*/ 130398 w 3001233"/>
                  <a:gd name="connsiteY12" fmla="*/ 42482 h 208026"/>
                  <a:gd name="connsiteX13" fmla="*/ 166116 w 3001233"/>
                  <a:gd name="connsiteY13" fmla="*/ 42482 h 208026"/>
                  <a:gd name="connsiteX14" fmla="*/ 166116 w 3001233"/>
                  <a:gd name="connsiteY14" fmla="*/ 48578 h 208026"/>
                  <a:gd name="connsiteX15" fmla="*/ 281845 w 3001233"/>
                  <a:gd name="connsiteY15" fmla="*/ 48578 h 208026"/>
                  <a:gd name="connsiteX16" fmla="*/ 281845 w 3001233"/>
                  <a:gd name="connsiteY16" fmla="*/ 54579 h 208026"/>
                  <a:gd name="connsiteX17" fmla="*/ 319659 w 3001233"/>
                  <a:gd name="connsiteY17" fmla="*/ 54579 h 208026"/>
                  <a:gd name="connsiteX18" fmla="*/ 319659 w 3001233"/>
                  <a:gd name="connsiteY18" fmla="*/ 60770 h 208026"/>
                  <a:gd name="connsiteX19" fmla="*/ 372237 w 3001233"/>
                  <a:gd name="connsiteY19" fmla="*/ 60770 h 208026"/>
                  <a:gd name="connsiteX20" fmla="*/ 372237 w 3001233"/>
                  <a:gd name="connsiteY20" fmla="*/ 66866 h 208026"/>
                  <a:gd name="connsiteX21" fmla="*/ 391192 w 3001233"/>
                  <a:gd name="connsiteY21" fmla="*/ 66866 h 208026"/>
                  <a:gd name="connsiteX22" fmla="*/ 391192 w 3001233"/>
                  <a:gd name="connsiteY22" fmla="*/ 72962 h 208026"/>
                  <a:gd name="connsiteX23" fmla="*/ 401670 w 3001233"/>
                  <a:gd name="connsiteY23" fmla="*/ 72962 h 208026"/>
                  <a:gd name="connsiteX24" fmla="*/ 401670 w 3001233"/>
                  <a:gd name="connsiteY24" fmla="*/ 79153 h 208026"/>
                  <a:gd name="connsiteX25" fmla="*/ 435388 w 3001233"/>
                  <a:gd name="connsiteY25" fmla="*/ 79153 h 208026"/>
                  <a:gd name="connsiteX26" fmla="*/ 435388 w 3001233"/>
                  <a:gd name="connsiteY26" fmla="*/ 85249 h 208026"/>
                  <a:gd name="connsiteX27" fmla="*/ 441675 w 3001233"/>
                  <a:gd name="connsiteY27" fmla="*/ 85249 h 208026"/>
                  <a:gd name="connsiteX28" fmla="*/ 441675 w 3001233"/>
                  <a:gd name="connsiteY28" fmla="*/ 91345 h 208026"/>
                  <a:gd name="connsiteX29" fmla="*/ 456343 w 3001233"/>
                  <a:gd name="connsiteY29" fmla="*/ 91345 h 208026"/>
                  <a:gd name="connsiteX30" fmla="*/ 456343 w 3001233"/>
                  <a:gd name="connsiteY30" fmla="*/ 97441 h 208026"/>
                  <a:gd name="connsiteX31" fmla="*/ 469011 w 3001233"/>
                  <a:gd name="connsiteY31" fmla="*/ 97441 h 208026"/>
                  <a:gd name="connsiteX32" fmla="*/ 469011 w 3001233"/>
                  <a:gd name="connsiteY32" fmla="*/ 103632 h 208026"/>
                  <a:gd name="connsiteX33" fmla="*/ 494253 w 3001233"/>
                  <a:gd name="connsiteY33" fmla="*/ 103632 h 208026"/>
                  <a:gd name="connsiteX34" fmla="*/ 494253 w 3001233"/>
                  <a:gd name="connsiteY34" fmla="*/ 109728 h 208026"/>
                  <a:gd name="connsiteX35" fmla="*/ 723519 w 3001233"/>
                  <a:gd name="connsiteY35" fmla="*/ 109728 h 208026"/>
                  <a:gd name="connsiteX36" fmla="*/ 723519 w 3001233"/>
                  <a:gd name="connsiteY36" fmla="*/ 115920 h 208026"/>
                  <a:gd name="connsiteX37" fmla="*/ 837057 w 3001233"/>
                  <a:gd name="connsiteY37" fmla="*/ 115920 h 208026"/>
                  <a:gd name="connsiteX38" fmla="*/ 837057 w 3001233"/>
                  <a:gd name="connsiteY38" fmla="*/ 122111 h 208026"/>
                  <a:gd name="connsiteX39" fmla="*/ 1106234 w 3001233"/>
                  <a:gd name="connsiteY39" fmla="*/ 122111 h 208026"/>
                  <a:gd name="connsiteX40" fmla="*/ 1106234 w 3001233"/>
                  <a:gd name="connsiteY40" fmla="*/ 128397 h 208026"/>
                  <a:gd name="connsiteX41" fmla="*/ 1179862 w 3001233"/>
                  <a:gd name="connsiteY41" fmla="*/ 128397 h 208026"/>
                  <a:gd name="connsiteX42" fmla="*/ 1179862 w 3001233"/>
                  <a:gd name="connsiteY42" fmla="*/ 134684 h 208026"/>
                  <a:gd name="connsiteX43" fmla="*/ 1259777 w 3001233"/>
                  <a:gd name="connsiteY43" fmla="*/ 134684 h 208026"/>
                  <a:gd name="connsiteX44" fmla="*/ 1259777 w 3001233"/>
                  <a:gd name="connsiteY44" fmla="*/ 140970 h 208026"/>
                  <a:gd name="connsiteX45" fmla="*/ 1421702 w 3001233"/>
                  <a:gd name="connsiteY45" fmla="*/ 140970 h 208026"/>
                  <a:gd name="connsiteX46" fmla="*/ 1421702 w 3001233"/>
                  <a:gd name="connsiteY46" fmla="*/ 147447 h 208026"/>
                  <a:gd name="connsiteX47" fmla="*/ 1438561 w 3001233"/>
                  <a:gd name="connsiteY47" fmla="*/ 147447 h 208026"/>
                  <a:gd name="connsiteX48" fmla="*/ 1438561 w 3001233"/>
                  <a:gd name="connsiteY48" fmla="*/ 153829 h 208026"/>
                  <a:gd name="connsiteX49" fmla="*/ 1556385 w 3001233"/>
                  <a:gd name="connsiteY49" fmla="*/ 153829 h 208026"/>
                  <a:gd name="connsiteX50" fmla="*/ 1556385 w 3001233"/>
                  <a:gd name="connsiteY50" fmla="*/ 160306 h 208026"/>
                  <a:gd name="connsiteX51" fmla="*/ 1648873 w 3001233"/>
                  <a:gd name="connsiteY51" fmla="*/ 160306 h 208026"/>
                  <a:gd name="connsiteX52" fmla="*/ 1648873 w 3001233"/>
                  <a:gd name="connsiteY52" fmla="*/ 166688 h 208026"/>
                  <a:gd name="connsiteX53" fmla="*/ 1667828 w 3001233"/>
                  <a:gd name="connsiteY53" fmla="*/ 166688 h 208026"/>
                  <a:gd name="connsiteX54" fmla="*/ 1667828 w 3001233"/>
                  <a:gd name="connsiteY54" fmla="*/ 173165 h 208026"/>
                  <a:gd name="connsiteX55" fmla="*/ 2521649 w 3001233"/>
                  <a:gd name="connsiteY55" fmla="*/ 173165 h 208026"/>
                  <a:gd name="connsiteX56" fmla="*/ 2521649 w 3001233"/>
                  <a:gd name="connsiteY56" fmla="*/ 208026 h 208026"/>
                  <a:gd name="connsiteX57" fmla="*/ 3001233 w 3001233"/>
                  <a:gd name="connsiteY57" fmla="*/ 208026 h 208026"/>
                  <a:gd name="connsiteX0" fmla="*/ 0 w 2952846"/>
                  <a:gd name="connsiteY0" fmla="*/ 0 h 201930"/>
                  <a:gd name="connsiteX1" fmla="*/ 0 w 2952846"/>
                  <a:gd name="connsiteY1" fmla="*/ 6001 h 201930"/>
                  <a:gd name="connsiteX2" fmla="*/ 14669 w 2952846"/>
                  <a:gd name="connsiteY2" fmla="*/ 6001 h 201930"/>
                  <a:gd name="connsiteX3" fmla="*/ 14669 w 2952846"/>
                  <a:gd name="connsiteY3" fmla="*/ 12097 h 201930"/>
                  <a:gd name="connsiteX4" fmla="*/ 44196 w 2952846"/>
                  <a:gd name="connsiteY4" fmla="*/ 12097 h 201930"/>
                  <a:gd name="connsiteX5" fmla="*/ 44196 w 2952846"/>
                  <a:gd name="connsiteY5" fmla="*/ 18193 h 201930"/>
                  <a:gd name="connsiteX6" fmla="*/ 46292 w 2952846"/>
                  <a:gd name="connsiteY6" fmla="*/ 18193 h 201930"/>
                  <a:gd name="connsiteX7" fmla="*/ 46292 w 2952846"/>
                  <a:gd name="connsiteY7" fmla="*/ 24194 h 201930"/>
                  <a:gd name="connsiteX8" fmla="*/ 69342 w 2952846"/>
                  <a:gd name="connsiteY8" fmla="*/ 24194 h 201930"/>
                  <a:gd name="connsiteX9" fmla="*/ 69342 w 2952846"/>
                  <a:gd name="connsiteY9" fmla="*/ 30290 h 201930"/>
                  <a:gd name="connsiteX10" fmla="*/ 82011 w 2952846"/>
                  <a:gd name="connsiteY10" fmla="*/ 30290 h 201930"/>
                  <a:gd name="connsiteX11" fmla="*/ 82011 w 2952846"/>
                  <a:gd name="connsiteY11" fmla="*/ 36386 h 201930"/>
                  <a:gd name="connsiteX12" fmla="*/ 117729 w 2952846"/>
                  <a:gd name="connsiteY12" fmla="*/ 36386 h 201930"/>
                  <a:gd name="connsiteX13" fmla="*/ 117729 w 2952846"/>
                  <a:gd name="connsiteY13" fmla="*/ 42482 h 201930"/>
                  <a:gd name="connsiteX14" fmla="*/ 233458 w 2952846"/>
                  <a:gd name="connsiteY14" fmla="*/ 42482 h 201930"/>
                  <a:gd name="connsiteX15" fmla="*/ 233458 w 2952846"/>
                  <a:gd name="connsiteY15" fmla="*/ 48483 h 201930"/>
                  <a:gd name="connsiteX16" fmla="*/ 271272 w 2952846"/>
                  <a:gd name="connsiteY16" fmla="*/ 48483 h 201930"/>
                  <a:gd name="connsiteX17" fmla="*/ 271272 w 2952846"/>
                  <a:gd name="connsiteY17" fmla="*/ 54674 h 201930"/>
                  <a:gd name="connsiteX18" fmla="*/ 323850 w 2952846"/>
                  <a:gd name="connsiteY18" fmla="*/ 54674 h 201930"/>
                  <a:gd name="connsiteX19" fmla="*/ 323850 w 2952846"/>
                  <a:gd name="connsiteY19" fmla="*/ 60770 h 201930"/>
                  <a:gd name="connsiteX20" fmla="*/ 342805 w 2952846"/>
                  <a:gd name="connsiteY20" fmla="*/ 60770 h 201930"/>
                  <a:gd name="connsiteX21" fmla="*/ 342805 w 2952846"/>
                  <a:gd name="connsiteY21" fmla="*/ 66866 h 201930"/>
                  <a:gd name="connsiteX22" fmla="*/ 353283 w 2952846"/>
                  <a:gd name="connsiteY22" fmla="*/ 66866 h 201930"/>
                  <a:gd name="connsiteX23" fmla="*/ 353283 w 2952846"/>
                  <a:gd name="connsiteY23" fmla="*/ 73057 h 201930"/>
                  <a:gd name="connsiteX24" fmla="*/ 387001 w 2952846"/>
                  <a:gd name="connsiteY24" fmla="*/ 73057 h 201930"/>
                  <a:gd name="connsiteX25" fmla="*/ 387001 w 2952846"/>
                  <a:gd name="connsiteY25" fmla="*/ 79153 h 201930"/>
                  <a:gd name="connsiteX26" fmla="*/ 393288 w 2952846"/>
                  <a:gd name="connsiteY26" fmla="*/ 79153 h 201930"/>
                  <a:gd name="connsiteX27" fmla="*/ 393288 w 2952846"/>
                  <a:gd name="connsiteY27" fmla="*/ 85249 h 201930"/>
                  <a:gd name="connsiteX28" fmla="*/ 407956 w 2952846"/>
                  <a:gd name="connsiteY28" fmla="*/ 85249 h 201930"/>
                  <a:gd name="connsiteX29" fmla="*/ 407956 w 2952846"/>
                  <a:gd name="connsiteY29" fmla="*/ 91345 h 201930"/>
                  <a:gd name="connsiteX30" fmla="*/ 420624 w 2952846"/>
                  <a:gd name="connsiteY30" fmla="*/ 91345 h 201930"/>
                  <a:gd name="connsiteX31" fmla="*/ 420624 w 2952846"/>
                  <a:gd name="connsiteY31" fmla="*/ 97536 h 201930"/>
                  <a:gd name="connsiteX32" fmla="*/ 445866 w 2952846"/>
                  <a:gd name="connsiteY32" fmla="*/ 97536 h 201930"/>
                  <a:gd name="connsiteX33" fmla="*/ 445866 w 2952846"/>
                  <a:gd name="connsiteY33" fmla="*/ 103632 h 201930"/>
                  <a:gd name="connsiteX34" fmla="*/ 675132 w 2952846"/>
                  <a:gd name="connsiteY34" fmla="*/ 103632 h 201930"/>
                  <a:gd name="connsiteX35" fmla="*/ 675132 w 2952846"/>
                  <a:gd name="connsiteY35" fmla="*/ 109824 h 201930"/>
                  <a:gd name="connsiteX36" fmla="*/ 788670 w 2952846"/>
                  <a:gd name="connsiteY36" fmla="*/ 109824 h 201930"/>
                  <a:gd name="connsiteX37" fmla="*/ 788670 w 2952846"/>
                  <a:gd name="connsiteY37" fmla="*/ 116015 h 201930"/>
                  <a:gd name="connsiteX38" fmla="*/ 1057847 w 2952846"/>
                  <a:gd name="connsiteY38" fmla="*/ 116015 h 201930"/>
                  <a:gd name="connsiteX39" fmla="*/ 1057847 w 2952846"/>
                  <a:gd name="connsiteY39" fmla="*/ 122301 h 201930"/>
                  <a:gd name="connsiteX40" fmla="*/ 1131475 w 2952846"/>
                  <a:gd name="connsiteY40" fmla="*/ 122301 h 201930"/>
                  <a:gd name="connsiteX41" fmla="*/ 1131475 w 2952846"/>
                  <a:gd name="connsiteY41" fmla="*/ 128588 h 201930"/>
                  <a:gd name="connsiteX42" fmla="*/ 1211390 w 2952846"/>
                  <a:gd name="connsiteY42" fmla="*/ 128588 h 201930"/>
                  <a:gd name="connsiteX43" fmla="*/ 1211390 w 2952846"/>
                  <a:gd name="connsiteY43" fmla="*/ 134874 h 201930"/>
                  <a:gd name="connsiteX44" fmla="*/ 1373315 w 2952846"/>
                  <a:gd name="connsiteY44" fmla="*/ 134874 h 201930"/>
                  <a:gd name="connsiteX45" fmla="*/ 1373315 w 2952846"/>
                  <a:gd name="connsiteY45" fmla="*/ 141351 h 201930"/>
                  <a:gd name="connsiteX46" fmla="*/ 1390174 w 2952846"/>
                  <a:gd name="connsiteY46" fmla="*/ 141351 h 201930"/>
                  <a:gd name="connsiteX47" fmla="*/ 1390174 w 2952846"/>
                  <a:gd name="connsiteY47" fmla="*/ 147733 h 201930"/>
                  <a:gd name="connsiteX48" fmla="*/ 1507998 w 2952846"/>
                  <a:gd name="connsiteY48" fmla="*/ 147733 h 201930"/>
                  <a:gd name="connsiteX49" fmla="*/ 1507998 w 2952846"/>
                  <a:gd name="connsiteY49" fmla="*/ 154210 h 201930"/>
                  <a:gd name="connsiteX50" fmla="*/ 1600486 w 2952846"/>
                  <a:gd name="connsiteY50" fmla="*/ 154210 h 201930"/>
                  <a:gd name="connsiteX51" fmla="*/ 1600486 w 2952846"/>
                  <a:gd name="connsiteY51" fmla="*/ 160592 h 201930"/>
                  <a:gd name="connsiteX52" fmla="*/ 1619441 w 2952846"/>
                  <a:gd name="connsiteY52" fmla="*/ 160592 h 201930"/>
                  <a:gd name="connsiteX53" fmla="*/ 1619441 w 2952846"/>
                  <a:gd name="connsiteY53" fmla="*/ 167069 h 201930"/>
                  <a:gd name="connsiteX54" fmla="*/ 2473262 w 2952846"/>
                  <a:gd name="connsiteY54" fmla="*/ 167069 h 201930"/>
                  <a:gd name="connsiteX55" fmla="*/ 2473262 w 2952846"/>
                  <a:gd name="connsiteY55" fmla="*/ 201930 h 201930"/>
                  <a:gd name="connsiteX56" fmla="*/ 2952846 w 2952846"/>
                  <a:gd name="connsiteY56" fmla="*/ 201930 h 201930"/>
                  <a:gd name="connsiteX0" fmla="*/ 0 w 2952846"/>
                  <a:gd name="connsiteY0" fmla="*/ 0 h 201930"/>
                  <a:gd name="connsiteX1" fmla="*/ 14669 w 2952846"/>
                  <a:gd name="connsiteY1" fmla="*/ 6001 h 201930"/>
                  <a:gd name="connsiteX2" fmla="*/ 14669 w 2952846"/>
                  <a:gd name="connsiteY2" fmla="*/ 12097 h 201930"/>
                  <a:gd name="connsiteX3" fmla="*/ 44196 w 2952846"/>
                  <a:gd name="connsiteY3" fmla="*/ 12097 h 201930"/>
                  <a:gd name="connsiteX4" fmla="*/ 44196 w 2952846"/>
                  <a:gd name="connsiteY4" fmla="*/ 18193 h 201930"/>
                  <a:gd name="connsiteX5" fmla="*/ 46292 w 2952846"/>
                  <a:gd name="connsiteY5" fmla="*/ 18193 h 201930"/>
                  <a:gd name="connsiteX6" fmla="*/ 46292 w 2952846"/>
                  <a:gd name="connsiteY6" fmla="*/ 24194 h 201930"/>
                  <a:gd name="connsiteX7" fmla="*/ 69342 w 2952846"/>
                  <a:gd name="connsiteY7" fmla="*/ 24194 h 201930"/>
                  <a:gd name="connsiteX8" fmla="*/ 69342 w 2952846"/>
                  <a:gd name="connsiteY8" fmla="*/ 30290 h 201930"/>
                  <a:gd name="connsiteX9" fmla="*/ 82011 w 2952846"/>
                  <a:gd name="connsiteY9" fmla="*/ 30290 h 201930"/>
                  <a:gd name="connsiteX10" fmla="*/ 82011 w 2952846"/>
                  <a:gd name="connsiteY10" fmla="*/ 36386 h 201930"/>
                  <a:gd name="connsiteX11" fmla="*/ 117729 w 2952846"/>
                  <a:gd name="connsiteY11" fmla="*/ 36386 h 201930"/>
                  <a:gd name="connsiteX12" fmla="*/ 117729 w 2952846"/>
                  <a:gd name="connsiteY12" fmla="*/ 42482 h 201930"/>
                  <a:gd name="connsiteX13" fmla="*/ 233458 w 2952846"/>
                  <a:gd name="connsiteY13" fmla="*/ 42482 h 201930"/>
                  <a:gd name="connsiteX14" fmla="*/ 233458 w 2952846"/>
                  <a:gd name="connsiteY14" fmla="*/ 48483 h 201930"/>
                  <a:gd name="connsiteX15" fmla="*/ 271272 w 2952846"/>
                  <a:gd name="connsiteY15" fmla="*/ 48483 h 201930"/>
                  <a:gd name="connsiteX16" fmla="*/ 271272 w 2952846"/>
                  <a:gd name="connsiteY16" fmla="*/ 54674 h 201930"/>
                  <a:gd name="connsiteX17" fmla="*/ 323850 w 2952846"/>
                  <a:gd name="connsiteY17" fmla="*/ 54674 h 201930"/>
                  <a:gd name="connsiteX18" fmla="*/ 323850 w 2952846"/>
                  <a:gd name="connsiteY18" fmla="*/ 60770 h 201930"/>
                  <a:gd name="connsiteX19" fmla="*/ 342805 w 2952846"/>
                  <a:gd name="connsiteY19" fmla="*/ 60770 h 201930"/>
                  <a:gd name="connsiteX20" fmla="*/ 342805 w 2952846"/>
                  <a:gd name="connsiteY20" fmla="*/ 66866 h 201930"/>
                  <a:gd name="connsiteX21" fmla="*/ 353283 w 2952846"/>
                  <a:gd name="connsiteY21" fmla="*/ 66866 h 201930"/>
                  <a:gd name="connsiteX22" fmla="*/ 353283 w 2952846"/>
                  <a:gd name="connsiteY22" fmla="*/ 73057 h 201930"/>
                  <a:gd name="connsiteX23" fmla="*/ 387001 w 2952846"/>
                  <a:gd name="connsiteY23" fmla="*/ 73057 h 201930"/>
                  <a:gd name="connsiteX24" fmla="*/ 387001 w 2952846"/>
                  <a:gd name="connsiteY24" fmla="*/ 79153 h 201930"/>
                  <a:gd name="connsiteX25" fmla="*/ 393288 w 2952846"/>
                  <a:gd name="connsiteY25" fmla="*/ 79153 h 201930"/>
                  <a:gd name="connsiteX26" fmla="*/ 393288 w 2952846"/>
                  <a:gd name="connsiteY26" fmla="*/ 85249 h 201930"/>
                  <a:gd name="connsiteX27" fmla="*/ 407956 w 2952846"/>
                  <a:gd name="connsiteY27" fmla="*/ 85249 h 201930"/>
                  <a:gd name="connsiteX28" fmla="*/ 407956 w 2952846"/>
                  <a:gd name="connsiteY28" fmla="*/ 91345 h 201930"/>
                  <a:gd name="connsiteX29" fmla="*/ 420624 w 2952846"/>
                  <a:gd name="connsiteY29" fmla="*/ 91345 h 201930"/>
                  <a:gd name="connsiteX30" fmla="*/ 420624 w 2952846"/>
                  <a:gd name="connsiteY30" fmla="*/ 97536 h 201930"/>
                  <a:gd name="connsiteX31" fmla="*/ 445866 w 2952846"/>
                  <a:gd name="connsiteY31" fmla="*/ 97536 h 201930"/>
                  <a:gd name="connsiteX32" fmla="*/ 445866 w 2952846"/>
                  <a:gd name="connsiteY32" fmla="*/ 103632 h 201930"/>
                  <a:gd name="connsiteX33" fmla="*/ 675132 w 2952846"/>
                  <a:gd name="connsiteY33" fmla="*/ 103632 h 201930"/>
                  <a:gd name="connsiteX34" fmla="*/ 675132 w 2952846"/>
                  <a:gd name="connsiteY34" fmla="*/ 109824 h 201930"/>
                  <a:gd name="connsiteX35" fmla="*/ 788670 w 2952846"/>
                  <a:gd name="connsiteY35" fmla="*/ 109824 h 201930"/>
                  <a:gd name="connsiteX36" fmla="*/ 788670 w 2952846"/>
                  <a:gd name="connsiteY36" fmla="*/ 116015 h 201930"/>
                  <a:gd name="connsiteX37" fmla="*/ 1057847 w 2952846"/>
                  <a:gd name="connsiteY37" fmla="*/ 116015 h 201930"/>
                  <a:gd name="connsiteX38" fmla="*/ 1057847 w 2952846"/>
                  <a:gd name="connsiteY38" fmla="*/ 122301 h 201930"/>
                  <a:gd name="connsiteX39" fmla="*/ 1131475 w 2952846"/>
                  <a:gd name="connsiteY39" fmla="*/ 122301 h 201930"/>
                  <a:gd name="connsiteX40" fmla="*/ 1131475 w 2952846"/>
                  <a:gd name="connsiteY40" fmla="*/ 128588 h 201930"/>
                  <a:gd name="connsiteX41" fmla="*/ 1211390 w 2952846"/>
                  <a:gd name="connsiteY41" fmla="*/ 128588 h 201930"/>
                  <a:gd name="connsiteX42" fmla="*/ 1211390 w 2952846"/>
                  <a:gd name="connsiteY42" fmla="*/ 134874 h 201930"/>
                  <a:gd name="connsiteX43" fmla="*/ 1373315 w 2952846"/>
                  <a:gd name="connsiteY43" fmla="*/ 134874 h 201930"/>
                  <a:gd name="connsiteX44" fmla="*/ 1373315 w 2952846"/>
                  <a:gd name="connsiteY44" fmla="*/ 141351 h 201930"/>
                  <a:gd name="connsiteX45" fmla="*/ 1390174 w 2952846"/>
                  <a:gd name="connsiteY45" fmla="*/ 141351 h 201930"/>
                  <a:gd name="connsiteX46" fmla="*/ 1390174 w 2952846"/>
                  <a:gd name="connsiteY46" fmla="*/ 147733 h 201930"/>
                  <a:gd name="connsiteX47" fmla="*/ 1507998 w 2952846"/>
                  <a:gd name="connsiteY47" fmla="*/ 147733 h 201930"/>
                  <a:gd name="connsiteX48" fmla="*/ 1507998 w 2952846"/>
                  <a:gd name="connsiteY48" fmla="*/ 154210 h 201930"/>
                  <a:gd name="connsiteX49" fmla="*/ 1600486 w 2952846"/>
                  <a:gd name="connsiteY49" fmla="*/ 154210 h 201930"/>
                  <a:gd name="connsiteX50" fmla="*/ 1600486 w 2952846"/>
                  <a:gd name="connsiteY50" fmla="*/ 160592 h 201930"/>
                  <a:gd name="connsiteX51" fmla="*/ 1619441 w 2952846"/>
                  <a:gd name="connsiteY51" fmla="*/ 160592 h 201930"/>
                  <a:gd name="connsiteX52" fmla="*/ 1619441 w 2952846"/>
                  <a:gd name="connsiteY52" fmla="*/ 167069 h 201930"/>
                  <a:gd name="connsiteX53" fmla="*/ 2473262 w 2952846"/>
                  <a:gd name="connsiteY53" fmla="*/ 167069 h 201930"/>
                  <a:gd name="connsiteX54" fmla="*/ 2473262 w 2952846"/>
                  <a:gd name="connsiteY54" fmla="*/ 201930 h 201930"/>
                  <a:gd name="connsiteX55" fmla="*/ 2952846 w 2952846"/>
                  <a:gd name="connsiteY55" fmla="*/ 201930 h 201930"/>
                  <a:gd name="connsiteX0" fmla="*/ 0 w 2938177"/>
                  <a:gd name="connsiteY0" fmla="*/ 0 h 195929"/>
                  <a:gd name="connsiteX1" fmla="*/ 0 w 2938177"/>
                  <a:gd name="connsiteY1" fmla="*/ 6096 h 195929"/>
                  <a:gd name="connsiteX2" fmla="*/ 29527 w 2938177"/>
                  <a:gd name="connsiteY2" fmla="*/ 6096 h 195929"/>
                  <a:gd name="connsiteX3" fmla="*/ 29527 w 2938177"/>
                  <a:gd name="connsiteY3" fmla="*/ 12192 h 195929"/>
                  <a:gd name="connsiteX4" fmla="*/ 31623 w 2938177"/>
                  <a:gd name="connsiteY4" fmla="*/ 12192 h 195929"/>
                  <a:gd name="connsiteX5" fmla="*/ 31623 w 2938177"/>
                  <a:gd name="connsiteY5" fmla="*/ 18193 h 195929"/>
                  <a:gd name="connsiteX6" fmla="*/ 54673 w 2938177"/>
                  <a:gd name="connsiteY6" fmla="*/ 18193 h 195929"/>
                  <a:gd name="connsiteX7" fmla="*/ 54673 w 2938177"/>
                  <a:gd name="connsiteY7" fmla="*/ 24289 h 195929"/>
                  <a:gd name="connsiteX8" fmla="*/ 67342 w 2938177"/>
                  <a:gd name="connsiteY8" fmla="*/ 24289 h 195929"/>
                  <a:gd name="connsiteX9" fmla="*/ 67342 w 2938177"/>
                  <a:gd name="connsiteY9" fmla="*/ 30385 h 195929"/>
                  <a:gd name="connsiteX10" fmla="*/ 103060 w 2938177"/>
                  <a:gd name="connsiteY10" fmla="*/ 30385 h 195929"/>
                  <a:gd name="connsiteX11" fmla="*/ 103060 w 2938177"/>
                  <a:gd name="connsiteY11" fmla="*/ 36481 h 195929"/>
                  <a:gd name="connsiteX12" fmla="*/ 218789 w 2938177"/>
                  <a:gd name="connsiteY12" fmla="*/ 36481 h 195929"/>
                  <a:gd name="connsiteX13" fmla="*/ 218789 w 2938177"/>
                  <a:gd name="connsiteY13" fmla="*/ 42482 h 195929"/>
                  <a:gd name="connsiteX14" fmla="*/ 256603 w 2938177"/>
                  <a:gd name="connsiteY14" fmla="*/ 42482 h 195929"/>
                  <a:gd name="connsiteX15" fmla="*/ 256603 w 2938177"/>
                  <a:gd name="connsiteY15" fmla="*/ 48673 h 195929"/>
                  <a:gd name="connsiteX16" fmla="*/ 309181 w 2938177"/>
                  <a:gd name="connsiteY16" fmla="*/ 48673 h 195929"/>
                  <a:gd name="connsiteX17" fmla="*/ 309181 w 2938177"/>
                  <a:gd name="connsiteY17" fmla="*/ 54769 h 195929"/>
                  <a:gd name="connsiteX18" fmla="*/ 328136 w 2938177"/>
                  <a:gd name="connsiteY18" fmla="*/ 54769 h 195929"/>
                  <a:gd name="connsiteX19" fmla="*/ 328136 w 2938177"/>
                  <a:gd name="connsiteY19" fmla="*/ 60865 h 195929"/>
                  <a:gd name="connsiteX20" fmla="*/ 338614 w 2938177"/>
                  <a:gd name="connsiteY20" fmla="*/ 60865 h 195929"/>
                  <a:gd name="connsiteX21" fmla="*/ 338614 w 2938177"/>
                  <a:gd name="connsiteY21" fmla="*/ 67056 h 195929"/>
                  <a:gd name="connsiteX22" fmla="*/ 372332 w 2938177"/>
                  <a:gd name="connsiteY22" fmla="*/ 67056 h 195929"/>
                  <a:gd name="connsiteX23" fmla="*/ 372332 w 2938177"/>
                  <a:gd name="connsiteY23" fmla="*/ 73152 h 195929"/>
                  <a:gd name="connsiteX24" fmla="*/ 378619 w 2938177"/>
                  <a:gd name="connsiteY24" fmla="*/ 73152 h 195929"/>
                  <a:gd name="connsiteX25" fmla="*/ 378619 w 2938177"/>
                  <a:gd name="connsiteY25" fmla="*/ 79248 h 195929"/>
                  <a:gd name="connsiteX26" fmla="*/ 393287 w 2938177"/>
                  <a:gd name="connsiteY26" fmla="*/ 79248 h 195929"/>
                  <a:gd name="connsiteX27" fmla="*/ 393287 w 2938177"/>
                  <a:gd name="connsiteY27" fmla="*/ 85344 h 195929"/>
                  <a:gd name="connsiteX28" fmla="*/ 405955 w 2938177"/>
                  <a:gd name="connsiteY28" fmla="*/ 85344 h 195929"/>
                  <a:gd name="connsiteX29" fmla="*/ 405955 w 2938177"/>
                  <a:gd name="connsiteY29" fmla="*/ 91535 h 195929"/>
                  <a:gd name="connsiteX30" fmla="*/ 431197 w 2938177"/>
                  <a:gd name="connsiteY30" fmla="*/ 91535 h 195929"/>
                  <a:gd name="connsiteX31" fmla="*/ 431197 w 2938177"/>
                  <a:gd name="connsiteY31" fmla="*/ 97631 h 195929"/>
                  <a:gd name="connsiteX32" fmla="*/ 660463 w 2938177"/>
                  <a:gd name="connsiteY32" fmla="*/ 97631 h 195929"/>
                  <a:gd name="connsiteX33" fmla="*/ 660463 w 2938177"/>
                  <a:gd name="connsiteY33" fmla="*/ 103823 h 195929"/>
                  <a:gd name="connsiteX34" fmla="*/ 774001 w 2938177"/>
                  <a:gd name="connsiteY34" fmla="*/ 103823 h 195929"/>
                  <a:gd name="connsiteX35" fmla="*/ 774001 w 2938177"/>
                  <a:gd name="connsiteY35" fmla="*/ 110014 h 195929"/>
                  <a:gd name="connsiteX36" fmla="*/ 1043178 w 2938177"/>
                  <a:gd name="connsiteY36" fmla="*/ 110014 h 195929"/>
                  <a:gd name="connsiteX37" fmla="*/ 1043178 w 2938177"/>
                  <a:gd name="connsiteY37" fmla="*/ 116300 h 195929"/>
                  <a:gd name="connsiteX38" fmla="*/ 1116806 w 2938177"/>
                  <a:gd name="connsiteY38" fmla="*/ 116300 h 195929"/>
                  <a:gd name="connsiteX39" fmla="*/ 1116806 w 2938177"/>
                  <a:gd name="connsiteY39" fmla="*/ 122587 h 195929"/>
                  <a:gd name="connsiteX40" fmla="*/ 1196721 w 2938177"/>
                  <a:gd name="connsiteY40" fmla="*/ 122587 h 195929"/>
                  <a:gd name="connsiteX41" fmla="*/ 1196721 w 2938177"/>
                  <a:gd name="connsiteY41" fmla="*/ 128873 h 195929"/>
                  <a:gd name="connsiteX42" fmla="*/ 1358646 w 2938177"/>
                  <a:gd name="connsiteY42" fmla="*/ 128873 h 195929"/>
                  <a:gd name="connsiteX43" fmla="*/ 1358646 w 2938177"/>
                  <a:gd name="connsiteY43" fmla="*/ 135350 h 195929"/>
                  <a:gd name="connsiteX44" fmla="*/ 1375505 w 2938177"/>
                  <a:gd name="connsiteY44" fmla="*/ 135350 h 195929"/>
                  <a:gd name="connsiteX45" fmla="*/ 1375505 w 2938177"/>
                  <a:gd name="connsiteY45" fmla="*/ 141732 h 195929"/>
                  <a:gd name="connsiteX46" fmla="*/ 1493329 w 2938177"/>
                  <a:gd name="connsiteY46" fmla="*/ 141732 h 195929"/>
                  <a:gd name="connsiteX47" fmla="*/ 1493329 w 2938177"/>
                  <a:gd name="connsiteY47" fmla="*/ 148209 h 195929"/>
                  <a:gd name="connsiteX48" fmla="*/ 1585817 w 2938177"/>
                  <a:gd name="connsiteY48" fmla="*/ 148209 h 195929"/>
                  <a:gd name="connsiteX49" fmla="*/ 1585817 w 2938177"/>
                  <a:gd name="connsiteY49" fmla="*/ 154591 h 195929"/>
                  <a:gd name="connsiteX50" fmla="*/ 1604772 w 2938177"/>
                  <a:gd name="connsiteY50" fmla="*/ 154591 h 195929"/>
                  <a:gd name="connsiteX51" fmla="*/ 1604772 w 2938177"/>
                  <a:gd name="connsiteY51" fmla="*/ 161068 h 195929"/>
                  <a:gd name="connsiteX52" fmla="*/ 2458593 w 2938177"/>
                  <a:gd name="connsiteY52" fmla="*/ 161068 h 195929"/>
                  <a:gd name="connsiteX53" fmla="*/ 2458593 w 2938177"/>
                  <a:gd name="connsiteY53" fmla="*/ 195929 h 195929"/>
                  <a:gd name="connsiteX54" fmla="*/ 2938177 w 2938177"/>
                  <a:gd name="connsiteY54" fmla="*/ 195929 h 195929"/>
                  <a:gd name="connsiteX0" fmla="*/ 0 w 2938177"/>
                  <a:gd name="connsiteY0" fmla="*/ 0 h 195929"/>
                  <a:gd name="connsiteX1" fmla="*/ 29527 w 2938177"/>
                  <a:gd name="connsiteY1" fmla="*/ 6096 h 195929"/>
                  <a:gd name="connsiteX2" fmla="*/ 29527 w 2938177"/>
                  <a:gd name="connsiteY2" fmla="*/ 12192 h 195929"/>
                  <a:gd name="connsiteX3" fmla="*/ 31623 w 2938177"/>
                  <a:gd name="connsiteY3" fmla="*/ 12192 h 195929"/>
                  <a:gd name="connsiteX4" fmla="*/ 31623 w 2938177"/>
                  <a:gd name="connsiteY4" fmla="*/ 18193 h 195929"/>
                  <a:gd name="connsiteX5" fmla="*/ 54673 w 2938177"/>
                  <a:gd name="connsiteY5" fmla="*/ 18193 h 195929"/>
                  <a:gd name="connsiteX6" fmla="*/ 54673 w 2938177"/>
                  <a:gd name="connsiteY6" fmla="*/ 24289 h 195929"/>
                  <a:gd name="connsiteX7" fmla="*/ 67342 w 2938177"/>
                  <a:gd name="connsiteY7" fmla="*/ 24289 h 195929"/>
                  <a:gd name="connsiteX8" fmla="*/ 67342 w 2938177"/>
                  <a:gd name="connsiteY8" fmla="*/ 30385 h 195929"/>
                  <a:gd name="connsiteX9" fmla="*/ 103060 w 2938177"/>
                  <a:gd name="connsiteY9" fmla="*/ 30385 h 195929"/>
                  <a:gd name="connsiteX10" fmla="*/ 103060 w 2938177"/>
                  <a:gd name="connsiteY10" fmla="*/ 36481 h 195929"/>
                  <a:gd name="connsiteX11" fmla="*/ 218789 w 2938177"/>
                  <a:gd name="connsiteY11" fmla="*/ 36481 h 195929"/>
                  <a:gd name="connsiteX12" fmla="*/ 218789 w 2938177"/>
                  <a:gd name="connsiteY12" fmla="*/ 42482 h 195929"/>
                  <a:gd name="connsiteX13" fmla="*/ 256603 w 2938177"/>
                  <a:gd name="connsiteY13" fmla="*/ 42482 h 195929"/>
                  <a:gd name="connsiteX14" fmla="*/ 256603 w 2938177"/>
                  <a:gd name="connsiteY14" fmla="*/ 48673 h 195929"/>
                  <a:gd name="connsiteX15" fmla="*/ 309181 w 2938177"/>
                  <a:gd name="connsiteY15" fmla="*/ 48673 h 195929"/>
                  <a:gd name="connsiteX16" fmla="*/ 309181 w 2938177"/>
                  <a:gd name="connsiteY16" fmla="*/ 54769 h 195929"/>
                  <a:gd name="connsiteX17" fmla="*/ 328136 w 2938177"/>
                  <a:gd name="connsiteY17" fmla="*/ 54769 h 195929"/>
                  <a:gd name="connsiteX18" fmla="*/ 328136 w 2938177"/>
                  <a:gd name="connsiteY18" fmla="*/ 60865 h 195929"/>
                  <a:gd name="connsiteX19" fmla="*/ 338614 w 2938177"/>
                  <a:gd name="connsiteY19" fmla="*/ 60865 h 195929"/>
                  <a:gd name="connsiteX20" fmla="*/ 338614 w 2938177"/>
                  <a:gd name="connsiteY20" fmla="*/ 67056 h 195929"/>
                  <a:gd name="connsiteX21" fmla="*/ 372332 w 2938177"/>
                  <a:gd name="connsiteY21" fmla="*/ 67056 h 195929"/>
                  <a:gd name="connsiteX22" fmla="*/ 372332 w 2938177"/>
                  <a:gd name="connsiteY22" fmla="*/ 73152 h 195929"/>
                  <a:gd name="connsiteX23" fmla="*/ 378619 w 2938177"/>
                  <a:gd name="connsiteY23" fmla="*/ 73152 h 195929"/>
                  <a:gd name="connsiteX24" fmla="*/ 378619 w 2938177"/>
                  <a:gd name="connsiteY24" fmla="*/ 79248 h 195929"/>
                  <a:gd name="connsiteX25" fmla="*/ 393287 w 2938177"/>
                  <a:gd name="connsiteY25" fmla="*/ 79248 h 195929"/>
                  <a:gd name="connsiteX26" fmla="*/ 393287 w 2938177"/>
                  <a:gd name="connsiteY26" fmla="*/ 85344 h 195929"/>
                  <a:gd name="connsiteX27" fmla="*/ 405955 w 2938177"/>
                  <a:gd name="connsiteY27" fmla="*/ 85344 h 195929"/>
                  <a:gd name="connsiteX28" fmla="*/ 405955 w 2938177"/>
                  <a:gd name="connsiteY28" fmla="*/ 91535 h 195929"/>
                  <a:gd name="connsiteX29" fmla="*/ 431197 w 2938177"/>
                  <a:gd name="connsiteY29" fmla="*/ 91535 h 195929"/>
                  <a:gd name="connsiteX30" fmla="*/ 431197 w 2938177"/>
                  <a:gd name="connsiteY30" fmla="*/ 97631 h 195929"/>
                  <a:gd name="connsiteX31" fmla="*/ 660463 w 2938177"/>
                  <a:gd name="connsiteY31" fmla="*/ 97631 h 195929"/>
                  <a:gd name="connsiteX32" fmla="*/ 660463 w 2938177"/>
                  <a:gd name="connsiteY32" fmla="*/ 103823 h 195929"/>
                  <a:gd name="connsiteX33" fmla="*/ 774001 w 2938177"/>
                  <a:gd name="connsiteY33" fmla="*/ 103823 h 195929"/>
                  <a:gd name="connsiteX34" fmla="*/ 774001 w 2938177"/>
                  <a:gd name="connsiteY34" fmla="*/ 110014 h 195929"/>
                  <a:gd name="connsiteX35" fmla="*/ 1043178 w 2938177"/>
                  <a:gd name="connsiteY35" fmla="*/ 110014 h 195929"/>
                  <a:gd name="connsiteX36" fmla="*/ 1043178 w 2938177"/>
                  <a:gd name="connsiteY36" fmla="*/ 116300 h 195929"/>
                  <a:gd name="connsiteX37" fmla="*/ 1116806 w 2938177"/>
                  <a:gd name="connsiteY37" fmla="*/ 116300 h 195929"/>
                  <a:gd name="connsiteX38" fmla="*/ 1116806 w 2938177"/>
                  <a:gd name="connsiteY38" fmla="*/ 122587 h 195929"/>
                  <a:gd name="connsiteX39" fmla="*/ 1196721 w 2938177"/>
                  <a:gd name="connsiteY39" fmla="*/ 122587 h 195929"/>
                  <a:gd name="connsiteX40" fmla="*/ 1196721 w 2938177"/>
                  <a:gd name="connsiteY40" fmla="*/ 128873 h 195929"/>
                  <a:gd name="connsiteX41" fmla="*/ 1358646 w 2938177"/>
                  <a:gd name="connsiteY41" fmla="*/ 128873 h 195929"/>
                  <a:gd name="connsiteX42" fmla="*/ 1358646 w 2938177"/>
                  <a:gd name="connsiteY42" fmla="*/ 135350 h 195929"/>
                  <a:gd name="connsiteX43" fmla="*/ 1375505 w 2938177"/>
                  <a:gd name="connsiteY43" fmla="*/ 135350 h 195929"/>
                  <a:gd name="connsiteX44" fmla="*/ 1375505 w 2938177"/>
                  <a:gd name="connsiteY44" fmla="*/ 141732 h 195929"/>
                  <a:gd name="connsiteX45" fmla="*/ 1493329 w 2938177"/>
                  <a:gd name="connsiteY45" fmla="*/ 141732 h 195929"/>
                  <a:gd name="connsiteX46" fmla="*/ 1493329 w 2938177"/>
                  <a:gd name="connsiteY46" fmla="*/ 148209 h 195929"/>
                  <a:gd name="connsiteX47" fmla="*/ 1585817 w 2938177"/>
                  <a:gd name="connsiteY47" fmla="*/ 148209 h 195929"/>
                  <a:gd name="connsiteX48" fmla="*/ 1585817 w 2938177"/>
                  <a:gd name="connsiteY48" fmla="*/ 154591 h 195929"/>
                  <a:gd name="connsiteX49" fmla="*/ 1604772 w 2938177"/>
                  <a:gd name="connsiteY49" fmla="*/ 154591 h 195929"/>
                  <a:gd name="connsiteX50" fmla="*/ 1604772 w 2938177"/>
                  <a:gd name="connsiteY50" fmla="*/ 161068 h 195929"/>
                  <a:gd name="connsiteX51" fmla="*/ 2458593 w 2938177"/>
                  <a:gd name="connsiteY51" fmla="*/ 161068 h 195929"/>
                  <a:gd name="connsiteX52" fmla="*/ 2458593 w 2938177"/>
                  <a:gd name="connsiteY52" fmla="*/ 195929 h 195929"/>
                  <a:gd name="connsiteX53" fmla="*/ 2938177 w 2938177"/>
                  <a:gd name="connsiteY53" fmla="*/ 195929 h 195929"/>
                  <a:gd name="connsiteX0" fmla="*/ 0 w 2908650"/>
                  <a:gd name="connsiteY0" fmla="*/ 0 h 189833"/>
                  <a:gd name="connsiteX1" fmla="*/ 0 w 2908650"/>
                  <a:gd name="connsiteY1" fmla="*/ 6096 h 189833"/>
                  <a:gd name="connsiteX2" fmla="*/ 2096 w 2908650"/>
                  <a:gd name="connsiteY2" fmla="*/ 6096 h 189833"/>
                  <a:gd name="connsiteX3" fmla="*/ 2096 w 2908650"/>
                  <a:gd name="connsiteY3" fmla="*/ 12097 h 189833"/>
                  <a:gd name="connsiteX4" fmla="*/ 25146 w 2908650"/>
                  <a:gd name="connsiteY4" fmla="*/ 12097 h 189833"/>
                  <a:gd name="connsiteX5" fmla="*/ 25146 w 2908650"/>
                  <a:gd name="connsiteY5" fmla="*/ 18193 h 189833"/>
                  <a:gd name="connsiteX6" fmla="*/ 37815 w 2908650"/>
                  <a:gd name="connsiteY6" fmla="*/ 18193 h 189833"/>
                  <a:gd name="connsiteX7" fmla="*/ 37815 w 2908650"/>
                  <a:gd name="connsiteY7" fmla="*/ 24289 h 189833"/>
                  <a:gd name="connsiteX8" fmla="*/ 73533 w 2908650"/>
                  <a:gd name="connsiteY8" fmla="*/ 24289 h 189833"/>
                  <a:gd name="connsiteX9" fmla="*/ 73533 w 2908650"/>
                  <a:gd name="connsiteY9" fmla="*/ 30385 h 189833"/>
                  <a:gd name="connsiteX10" fmla="*/ 189262 w 2908650"/>
                  <a:gd name="connsiteY10" fmla="*/ 30385 h 189833"/>
                  <a:gd name="connsiteX11" fmla="*/ 189262 w 2908650"/>
                  <a:gd name="connsiteY11" fmla="*/ 36386 h 189833"/>
                  <a:gd name="connsiteX12" fmla="*/ 227076 w 2908650"/>
                  <a:gd name="connsiteY12" fmla="*/ 36386 h 189833"/>
                  <a:gd name="connsiteX13" fmla="*/ 227076 w 2908650"/>
                  <a:gd name="connsiteY13" fmla="*/ 42577 h 189833"/>
                  <a:gd name="connsiteX14" fmla="*/ 279654 w 2908650"/>
                  <a:gd name="connsiteY14" fmla="*/ 42577 h 189833"/>
                  <a:gd name="connsiteX15" fmla="*/ 279654 w 2908650"/>
                  <a:gd name="connsiteY15" fmla="*/ 48673 h 189833"/>
                  <a:gd name="connsiteX16" fmla="*/ 298609 w 2908650"/>
                  <a:gd name="connsiteY16" fmla="*/ 48673 h 189833"/>
                  <a:gd name="connsiteX17" fmla="*/ 298609 w 2908650"/>
                  <a:gd name="connsiteY17" fmla="*/ 54769 h 189833"/>
                  <a:gd name="connsiteX18" fmla="*/ 309087 w 2908650"/>
                  <a:gd name="connsiteY18" fmla="*/ 54769 h 189833"/>
                  <a:gd name="connsiteX19" fmla="*/ 309087 w 2908650"/>
                  <a:gd name="connsiteY19" fmla="*/ 60960 h 189833"/>
                  <a:gd name="connsiteX20" fmla="*/ 342805 w 2908650"/>
                  <a:gd name="connsiteY20" fmla="*/ 60960 h 189833"/>
                  <a:gd name="connsiteX21" fmla="*/ 342805 w 2908650"/>
                  <a:gd name="connsiteY21" fmla="*/ 67056 h 189833"/>
                  <a:gd name="connsiteX22" fmla="*/ 349092 w 2908650"/>
                  <a:gd name="connsiteY22" fmla="*/ 67056 h 189833"/>
                  <a:gd name="connsiteX23" fmla="*/ 349092 w 2908650"/>
                  <a:gd name="connsiteY23" fmla="*/ 73152 h 189833"/>
                  <a:gd name="connsiteX24" fmla="*/ 363760 w 2908650"/>
                  <a:gd name="connsiteY24" fmla="*/ 73152 h 189833"/>
                  <a:gd name="connsiteX25" fmla="*/ 363760 w 2908650"/>
                  <a:gd name="connsiteY25" fmla="*/ 79248 h 189833"/>
                  <a:gd name="connsiteX26" fmla="*/ 376428 w 2908650"/>
                  <a:gd name="connsiteY26" fmla="*/ 79248 h 189833"/>
                  <a:gd name="connsiteX27" fmla="*/ 376428 w 2908650"/>
                  <a:gd name="connsiteY27" fmla="*/ 85439 h 189833"/>
                  <a:gd name="connsiteX28" fmla="*/ 401670 w 2908650"/>
                  <a:gd name="connsiteY28" fmla="*/ 85439 h 189833"/>
                  <a:gd name="connsiteX29" fmla="*/ 401670 w 2908650"/>
                  <a:gd name="connsiteY29" fmla="*/ 91535 h 189833"/>
                  <a:gd name="connsiteX30" fmla="*/ 630936 w 2908650"/>
                  <a:gd name="connsiteY30" fmla="*/ 91535 h 189833"/>
                  <a:gd name="connsiteX31" fmla="*/ 630936 w 2908650"/>
                  <a:gd name="connsiteY31" fmla="*/ 97727 h 189833"/>
                  <a:gd name="connsiteX32" fmla="*/ 744474 w 2908650"/>
                  <a:gd name="connsiteY32" fmla="*/ 97727 h 189833"/>
                  <a:gd name="connsiteX33" fmla="*/ 744474 w 2908650"/>
                  <a:gd name="connsiteY33" fmla="*/ 103918 h 189833"/>
                  <a:gd name="connsiteX34" fmla="*/ 1013651 w 2908650"/>
                  <a:gd name="connsiteY34" fmla="*/ 103918 h 189833"/>
                  <a:gd name="connsiteX35" fmla="*/ 1013651 w 2908650"/>
                  <a:gd name="connsiteY35" fmla="*/ 110204 h 189833"/>
                  <a:gd name="connsiteX36" fmla="*/ 1087279 w 2908650"/>
                  <a:gd name="connsiteY36" fmla="*/ 110204 h 189833"/>
                  <a:gd name="connsiteX37" fmla="*/ 1087279 w 2908650"/>
                  <a:gd name="connsiteY37" fmla="*/ 116491 h 189833"/>
                  <a:gd name="connsiteX38" fmla="*/ 1167194 w 2908650"/>
                  <a:gd name="connsiteY38" fmla="*/ 116491 h 189833"/>
                  <a:gd name="connsiteX39" fmla="*/ 1167194 w 2908650"/>
                  <a:gd name="connsiteY39" fmla="*/ 122777 h 189833"/>
                  <a:gd name="connsiteX40" fmla="*/ 1329119 w 2908650"/>
                  <a:gd name="connsiteY40" fmla="*/ 122777 h 189833"/>
                  <a:gd name="connsiteX41" fmla="*/ 1329119 w 2908650"/>
                  <a:gd name="connsiteY41" fmla="*/ 129254 h 189833"/>
                  <a:gd name="connsiteX42" fmla="*/ 1345978 w 2908650"/>
                  <a:gd name="connsiteY42" fmla="*/ 129254 h 189833"/>
                  <a:gd name="connsiteX43" fmla="*/ 1345978 w 2908650"/>
                  <a:gd name="connsiteY43" fmla="*/ 135636 h 189833"/>
                  <a:gd name="connsiteX44" fmla="*/ 1463802 w 2908650"/>
                  <a:gd name="connsiteY44" fmla="*/ 135636 h 189833"/>
                  <a:gd name="connsiteX45" fmla="*/ 1463802 w 2908650"/>
                  <a:gd name="connsiteY45" fmla="*/ 142113 h 189833"/>
                  <a:gd name="connsiteX46" fmla="*/ 1556290 w 2908650"/>
                  <a:gd name="connsiteY46" fmla="*/ 142113 h 189833"/>
                  <a:gd name="connsiteX47" fmla="*/ 1556290 w 2908650"/>
                  <a:gd name="connsiteY47" fmla="*/ 148495 h 189833"/>
                  <a:gd name="connsiteX48" fmla="*/ 1575245 w 2908650"/>
                  <a:gd name="connsiteY48" fmla="*/ 148495 h 189833"/>
                  <a:gd name="connsiteX49" fmla="*/ 1575245 w 2908650"/>
                  <a:gd name="connsiteY49" fmla="*/ 154972 h 189833"/>
                  <a:gd name="connsiteX50" fmla="*/ 2429066 w 2908650"/>
                  <a:gd name="connsiteY50" fmla="*/ 154972 h 189833"/>
                  <a:gd name="connsiteX51" fmla="*/ 2429066 w 2908650"/>
                  <a:gd name="connsiteY51" fmla="*/ 189833 h 189833"/>
                  <a:gd name="connsiteX52" fmla="*/ 2908650 w 2908650"/>
                  <a:gd name="connsiteY52" fmla="*/ 189833 h 189833"/>
                  <a:gd name="connsiteX0" fmla="*/ 0 w 2908650"/>
                  <a:gd name="connsiteY0" fmla="*/ 0 h 189833"/>
                  <a:gd name="connsiteX1" fmla="*/ 0 w 2908650"/>
                  <a:gd name="connsiteY1" fmla="*/ 6096 h 189833"/>
                  <a:gd name="connsiteX2" fmla="*/ 2096 w 2908650"/>
                  <a:gd name="connsiteY2" fmla="*/ 12097 h 189833"/>
                  <a:gd name="connsiteX3" fmla="*/ 25146 w 2908650"/>
                  <a:gd name="connsiteY3" fmla="*/ 12097 h 189833"/>
                  <a:gd name="connsiteX4" fmla="*/ 25146 w 2908650"/>
                  <a:gd name="connsiteY4" fmla="*/ 18193 h 189833"/>
                  <a:gd name="connsiteX5" fmla="*/ 37815 w 2908650"/>
                  <a:gd name="connsiteY5" fmla="*/ 18193 h 189833"/>
                  <a:gd name="connsiteX6" fmla="*/ 37815 w 2908650"/>
                  <a:gd name="connsiteY6" fmla="*/ 24289 h 189833"/>
                  <a:gd name="connsiteX7" fmla="*/ 73533 w 2908650"/>
                  <a:gd name="connsiteY7" fmla="*/ 24289 h 189833"/>
                  <a:gd name="connsiteX8" fmla="*/ 73533 w 2908650"/>
                  <a:gd name="connsiteY8" fmla="*/ 30385 h 189833"/>
                  <a:gd name="connsiteX9" fmla="*/ 189262 w 2908650"/>
                  <a:gd name="connsiteY9" fmla="*/ 30385 h 189833"/>
                  <a:gd name="connsiteX10" fmla="*/ 189262 w 2908650"/>
                  <a:gd name="connsiteY10" fmla="*/ 36386 h 189833"/>
                  <a:gd name="connsiteX11" fmla="*/ 227076 w 2908650"/>
                  <a:gd name="connsiteY11" fmla="*/ 36386 h 189833"/>
                  <a:gd name="connsiteX12" fmla="*/ 227076 w 2908650"/>
                  <a:gd name="connsiteY12" fmla="*/ 42577 h 189833"/>
                  <a:gd name="connsiteX13" fmla="*/ 279654 w 2908650"/>
                  <a:gd name="connsiteY13" fmla="*/ 42577 h 189833"/>
                  <a:gd name="connsiteX14" fmla="*/ 279654 w 2908650"/>
                  <a:gd name="connsiteY14" fmla="*/ 48673 h 189833"/>
                  <a:gd name="connsiteX15" fmla="*/ 298609 w 2908650"/>
                  <a:gd name="connsiteY15" fmla="*/ 48673 h 189833"/>
                  <a:gd name="connsiteX16" fmla="*/ 298609 w 2908650"/>
                  <a:gd name="connsiteY16" fmla="*/ 54769 h 189833"/>
                  <a:gd name="connsiteX17" fmla="*/ 309087 w 2908650"/>
                  <a:gd name="connsiteY17" fmla="*/ 54769 h 189833"/>
                  <a:gd name="connsiteX18" fmla="*/ 309087 w 2908650"/>
                  <a:gd name="connsiteY18" fmla="*/ 60960 h 189833"/>
                  <a:gd name="connsiteX19" fmla="*/ 342805 w 2908650"/>
                  <a:gd name="connsiteY19" fmla="*/ 60960 h 189833"/>
                  <a:gd name="connsiteX20" fmla="*/ 342805 w 2908650"/>
                  <a:gd name="connsiteY20" fmla="*/ 67056 h 189833"/>
                  <a:gd name="connsiteX21" fmla="*/ 349092 w 2908650"/>
                  <a:gd name="connsiteY21" fmla="*/ 67056 h 189833"/>
                  <a:gd name="connsiteX22" fmla="*/ 349092 w 2908650"/>
                  <a:gd name="connsiteY22" fmla="*/ 73152 h 189833"/>
                  <a:gd name="connsiteX23" fmla="*/ 363760 w 2908650"/>
                  <a:gd name="connsiteY23" fmla="*/ 73152 h 189833"/>
                  <a:gd name="connsiteX24" fmla="*/ 363760 w 2908650"/>
                  <a:gd name="connsiteY24" fmla="*/ 79248 h 189833"/>
                  <a:gd name="connsiteX25" fmla="*/ 376428 w 2908650"/>
                  <a:gd name="connsiteY25" fmla="*/ 79248 h 189833"/>
                  <a:gd name="connsiteX26" fmla="*/ 376428 w 2908650"/>
                  <a:gd name="connsiteY26" fmla="*/ 85439 h 189833"/>
                  <a:gd name="connsiteX27" fmla="*/ 401670 w 2908650"/>
                  <a:gd name="connsiteY27" fmla="*/ 85439 h 189833"/>
                  <a:gd name="connsiteX28" fmla="*/ 401670 w 2908650"/>
                  <a:gd name="connsiteY28" fmla="*/ 91535 h 189833"/>
                  <a:gd name="connsiteX29" fmla="*/ 630936 w 2908650"/>
                  <a:gd name="connsiteY29" fmla="*/ 91535 h 189833"/>
                  <a:gd name="connsiteX30" fmla="*/ 630936 w 2908650"/>
                  <a:gd name="connsiteY30" fmla="*/ 97727 h 189833"/>
                  <a:gd name="connsiteX31" fmla="*/ 744474 w 2908650"/>
                  <a:gd name="connsiteY31" fmla="*/ 97727 h 189833"/>
                  <a:gd name="connsiteX32" fmla="*/ 744474 w 2908650"/>
                  <a:gd name="connsiteY32" fmla="*/ 103918 h 189833"/>
                  <a:gd name="connsiteX33" fmla="*/ 1013651 w 2908650"/>
                  <a:gd name="connsiteY33" fmla="*/ 103918 h 189833"/>
                  <a:gd name="connsiteX34" fmla="*/ 1013651 w 2908650"/>
                  <a:gd name="connsiteY34" fmla="*/ 110204 h 189833"/>
                  <a:gd name="connsiteX35" fmla="*/ 1087279 w 2908650"/>
                  <a:gd name="connsiteY35" fmla="*/ 110204 h 189833"/>
                  <a:gd name="connsiteX36" fmla="*/ 1087279 w 2908650"/>
                  <a:gd name="connsiteY36" fmla="*/ 116491 h 189833"/>
                  <a:gd name="connsiteX37" fmla="*/ 1167194 w 2908650"/>
                  <a:gd name="connsiteY37" fmla="*/ 116491 h 189833"/>
                  <a:gd name="connsiteX38" fmla="*/ 1167194 w 2908650"/>
                  <a:gd name="connsiteY38" fmla="*/ 122777 h 189833"/>
                  <a:gd name="connsiteX39" fmla="*/ 1329119 w 2908650"/>
                  <a:gd name="connsiteY39" fmla="*/ 122777 h 189833"/>
                  <a:gd name="connsiteX40" fmla="*/ 1329119 w 2908650"/>
                  <a:gd name="connsiteY40" fmla="*/ 129254 h 189833"/>
                  <a:gd name="connsiteX41" fmla="*/ 1345978 w 2908650"/>
                  <a:gd name="connsiteY41" fmla="*/ 129254 h 189833"/>
                  <a:gd name="connsiteX42" fmla="*/ 1345978 w 2908650"/>
                  <a:gd name="connsiteY42" fmla="*/ 135636 h 189833"/>
                  <a:gd name="connsiteX43" fmla="*/ 1463802 w 2908650"/>
                  <a:gd name="connsiteY43" fmla="*/ 135636 h 189833"/>
                  <a:gd name="connsiteX44" fmla="*/ 1463802 w 2908650"/>
                  <a:gd name="connsiteY44" fmla="*/ 142113 h 189833"/>
                  <a:gd name="connsiteX45" fmla="*/ 1556290 w 2908650"/>
                  <a:gd name="connsiteY45" fmla="*/ 142113 h 189833"/>
                  <a:gd name="connsiteX46" fmla="*/ 1556290 w 2908650"/>
                  <a:gd name="connsiteY46" fmla="*/ 148495 h 189833"/>
                  <a:gd name="connsiteX47" fmla="*/ 1575245 w 2908650"/>
                  <a:gd name="connsiteY47" fmla="*/ 148495 h 189833"/>
                  <a:gd name="connsiteX48" fmla="*/ 1575245 w 2908650"/>
                  <a:gd name="connsiteY48" fmla="*/ 154972 h 189833"/>
                  <a:gd name="connsiteX49" fmla="*/ 2429066 w 2908650"/>
                  <a:gd name="connsiteY49" fmla="*/ 154972 h 189833"/>
                  <a:gd name="connsiteX50" fmla="*/ 2429066 w 2908650"/>
                  <a:gd name="connsiteY50" fmla="*/ 189833 h 189833"/>
                  <a:gd name="connsiteX51" fmla="*/ 2908650 w 2908650"/>
                  <a:gd name="connsiteY51" fmla="*/ 189833 h 189833"/>
                  <a:gd name="connsiteX0" fmla="*/ 0 w 2908650"/>
                  <a:gd name="connsiteY0" fmla="*/ 0 h 189833"/>
                  <a:gd name="connsiteX1" fmla="*/ 2096 w 2908650"/>
                  <a:gd name="connsiteY1" fmla="*/ 12097 h 189833"/>
                  <a:gd name="connsiteX2" fmla="*/ 25146 w 2908650"/>
                  <a:gd name="connsiteY2" fmla="*/ 12097 h 189833"/>
                  <a:gd name="connsiteX3" fmla="*/ 25146 w 2908650"/>
                  <a:gd name="connsiteY3" fmla="*/ 18193 h 189833"/>
                  <a:gd name="connsiteX4" fmla="*/ 37815 w 2908650"/>
                  <a:gd name="connsiteY4" fmla="*/ 18193 h 189833"/>
                  <a:gd name="connsiteX5" fmla="*/ 37815 w 2908650"/>
                  <a:gd name="connsiteY5" fmla="*/ 24289 h 189833"/>
                  <a:gd name="connsiteX6" fmla="*/ 73533 w 2908650"/>
                  <a:gd name="connsiteY6" fmla="*/ 24289 h 189833"/>
                  <a:gd name="connsiteX7" fmla="*/ 73533 w 2908650"/>
                  <a:gd name="connsiteY7" fmla="*/ 30385 h 189833"/>
                  <a:gd name="connsiteX8" fmla="*/ 189262 w 2908650"/>
                  <a:gd name="connsiteY8" fmla="*/ 30385 h 189833"/>
                  <a:gd name="connsiteX9" fmla="*/ 189262 w 2908650"/>
                  <a:gd name="connsiteY9" fmla="*/ 36386 h 189833"/>
                  <a:gd name="connsiteX10" fmla="*/ 227076 w 2908650"/>
                  <a:gd name="connsiteY10" fmla="*/ 36386 h 189833"/>
                  <a:gd name="connsiteX11" fmla="*/ 227076 w 2908650"/>
                  <a:gd name="connsiteY11" fmla="*/ 42577 h 189833"/>
                  <a:gd name="connsiteX12" fmla="*/ 279654 w 2908650"/>
                  <a:gd name="connsiteY12" fmla="*/ 42577 h 189833"/>
                  <a:gd name="connsiteX13" fmla="*/ 279654 w 2908650"/>
                  <a:gd name="connsiteY13" fmla="*/ 48673 h 189833"/>
                  <a:gd name="connsiteX14" fmla="*/ 298609 w 2908650"/>
                  <a:gd name="connsiteY14" fmla="*/ 48673 h 189833"/>
                  <a:gd name="connsiteX15" fmla="*/ 298609 w 2908650"/>
                  <a:gd name="connsiteY15" fmla="*/ 54769 h 189833"/>
                  <a:gd name="connsiteX16" fmla="*/ 309087 w 2908650"/>
                  <a:gd name="connsiteY16" fmla="*/ 54769 h 189833"/>
                  <a:gd name="connsiteX17" fmla="*/ 309087 w 2908650"/>
                  <a:gd name="connsiteY17" fmla="*/ 60960 h 189833"/>
                  <a:gd name="connsiteX18" fmla="*/ 342805 w 2908650"/>
                  <a:gd name="connsiteY18" fmla="*/ 60960 h 189833"/>
                  <a:gd name="connsiteX19" fmla="*/ 342805 w 2908650"/>
                  <a:gd name="connsiteY19" fmla="*/ 67056 h 189833"/>
                  <a:gd name="connsiteX20" fmla="*/ 349092 w 2908650"/>
                  <a:gd name="connsiteY20" fmla="*/ 67056 h 189833"/>
                  <a:gd name="connsiteX21" fmla="*/ 349092 w 2908650"/>
                  <a:gd name="connsiteY21" fmla="*/ 73152 h 189833"/>
                  <a:gd name="connsiteX22" fmla="*/ 363760 w 2908650"/>
                  <a:gd name="connsiteY22" fmla="*/ 73152 h 189833"/>
                  <a:gd name="connsiteX23" fmla="*/ 363760 w 2908650"/>
                  <a:gd name="connsiteY23" fmla="*/ 79248 h 189833"/>
                  <a:gd name="connsiteX24" fmla="*/ 376428 w 2908650"/>
                  <a:gd name="connsiteY24" fmla="*/ 79248 h 189833"/>
                  <a:gd name="connsiteX25" fmla="*/ 376428 w 2908650"/>
                  <a:gd name="connsiteY25" fmla="*/ 85439 h 189833"/>
                  <a:gd name="connsiteX26" fmla="*/ 401670 w 2908650"/>
                  <a:gd name="connsiteY26" fmla="*/ 85439 h 189833"/>
                  <a:gd name="connsiteX27" fmla="*/ 401670 w 2908650"/>
                  <a:gd name="connsiteY27" fmla="*/ 91535 h 189833"/>
                  <a:gd name="connsiteX28" fmla="*/ 630936 w 2908650"/>
                  <a:gd name="connsiteY28" fmla="*/ 91535 h 189833"/>
                  <a:gd name="connsiteX29" fmla="*/ 630936 w 2908650"/>
                  <a:gd name="connsiteY29" fmla="*/ 97727 h 189833"/>
                  <a:gd name="connsiteX30" fmla="*/ 744474 w 2908650"/>
                  <a:gd name="connsiteY30" fmla="*/ 97727 h 189833"/>
                  <a:gd name="connsiteX31" fmla="*/ 744474 w 2908650"/>
                  <a:gd name="connsiteY31" fmla="*/ 103918 h 189833"/>
                  <a:gd name="connsiteX32" fmla="*/ 1013651 w 2908650"/>
                  <a:gd name="connsiteY32" fmla="*/ 103918 h 189833"/>
                  <a:gd name="connsiteX33" fmla="*/ 1013651 w 2908650"/>
                  <a:gd name="connsiteY33" fmla="*/ 110204 h 189833"/>
                  <a:gd name="connsiteX34" fmla="*/ 1087279 w 2908650"/>
                  <a:gd name="connsiteY34" fmla="*/ 110204 h 189833"/>
                  <a:gd name="connsiteX35" fmla="*/ 1087279 w 2908650"/>
                  <a:gd name="connsiteY35" fmla="*/ 116491 h 189833"/>
                  <a:gd name="connsiteX36" fmla="*/ 1167194 w 2908650"/>
                  <a:gd name="connsiteY36" fmla="*/ 116491 h 189833"/>
                  <a:gd name="connsiteX37" fmla="*/ 1167194 w 2908650"/>
                  <a:gd name="connsiteY37" fmla="*/ 122777 h 189833"/>
                  <a:gd name="connsiteX38" fmla="*/ 1329119 w 2908650"/>
                  <a:gd name="connsiteY38" fmla="*/ 122777 h 189833"/>
                  <a:gd name="connsiteX39" fmla="*/ 1329119 w 2908650"/>
                  <a:gd name="connsiteY39" fmla="*/ 129254 h 189833"/>
                  <a:gd name="connsiteX40" fmla="*/ 1345978 w 2908650"/>
                  <a:gd name="connsiteY40" fmla="*/ 129254 h 189833"/>
                  <a:gd name="connsiteX41" fmla="*/ 1345978 w 2908650"/>
                  <a:gd name="connsiteY41" fmla="*/ 135636 h 189833"/>
                  <a:gd name="connsiteX42" fmla="*/ 1463802 w 2908650"/>
                  <a:gd name="connsiteY42" fmla="*/ 135636 h 189833"/>
                  <a:gd name="connsiteX43" fmla="*/ 1463802 w 2908650"/>
                  <a:gd name="connsiteY43" fmla="*/ 142113 h 189833"/>
                  <a:gd name="connsiteX44" fmla="*/ 1556290 w 2908650"/>
                  <a:gd name="connsiteY44" fmla="*/ 142113 h 189833"/>
                  <a:gd name="connsiteX45" fmla="*/ 1556290 w 2908650"/>
                  <a:gd name="connsiteY45" fmla="*/ 148495 h 189833"/>
                  <a:gd name="connsiteX46" fmla="*/ 1575245 w 2908650"/>
                  <a:gd name="connsiteY46" fmla="*/ 148495 h 189833"/>
                  <a:gd name="connsiteX47" fmla="*/ 1575245 w 2908650"/>
                  <a:gd name="connsiteY47" fmla="*/ 154972 h 189833"/>
                  <a:gd name="connsiteX48" fmla="*/ 2429066 w 2908650"/>
                  <a:gd name="connsiteY48" fmla="*/ 154972 h 189833"/>
                  <a:gd name="connsiteX49" fmla="*/ 2429066 w 2908650"/>
                  <a:gd name="connsiteY49" fmla="*/ 189833 h 189833"/>
                  <a:gd name="connsiteX50" fmla="*/ 2908650 w 2908650"/>
                  <a:gd name="connsiteY50" fmla="*/ 189833 h 189833"/>
                  <a:gd name="connsiteX0" fmla="*/ 0 w 2906554"/>
                  <a:gd name="connsiteY0" fmla="*/ 0 h 177736"/>
                  <a:gd name="connsiteX1" fmla="*/ 23050 w 2906554"/>
                  <a:gd name="connsiteY1" fmla="*/ 0 h 177736"/>
                  <a:gd name="connsiteX2" fmla="*/ 23050 w 2906554"/>
                  <a:gd name="connsiteY2" fmla="*/ 6096 h 177736"/>
                  <a:gd name="connsiteX3" fmla="*/ 35719 w 2906554"/>
                  <a:gd name="connsiteY3" fmla="*/ 6096 h 177736"/>
                  <a:gd name="connsiteX4" fmla="*/ 35719 w 2906554"/>
                  <a:gd name="connsiteY4" fmla="*/ 12192 h 177736"/>
                  <a:gd name="connsiteX5" fmla="*/ 71437 w 2906554"/>
                  <a:gd name="connsiteY5" fmla="*/ 12192 h 177736"/>
                  <a:gd name="connsiteX6" fmla="*/ 71437 w 2906554"/>
                  <a:gd name="connsiteY6" fmla="*/ 18288 h 177736"/>
                  <a:gd name="connsiteX7" fmla="*/ 187166 w 2906554"/>
                  <a:gd name="connsiteY7" fmla="*/ 18288 h 177736"/>
                  <a:gd name="connsiteX8" fmla="*/ 187166 w 2906554"/>
                  <a:gd name="connsiteY8" fmla="*/ 24289 h 177736"/>
                  <a:gd name="connsiteX9" fmla="*/ 224980 w 2906554"/>
                  <a:gd name="connsiteY9" fmla="*/ 24289 h 177736"/>
                  <a:gd name="connsiteX10" fmla="*/ 224980 w 2906554"/>
                  <a:gd name="connsiteY10" fmla="*/ 30480 h 177736"/>
                  <a:gd name="connsiteX11" fmla="*/ 277558 w 2906554"/>
                  <a:gd name="connsiteY11" fmla="*/ 30480 h 177736"/>
                  <a:gd name="connsiteX12" fmla="*/ 277558 w 2906554"/>
                  <a:gd name="connsiteY12" fmla="*/ 36576 h 177736"/>
                  <a:gd name="connsiteX13" fmla="*/ 296513 w 2906554"/>
                  <a:gd name="connsiteY13" fmla="*/ 36576 h 177736"/>
                  <a:gd name="connsiteX14" fmla="*/ 296513 w 2906554"/>
                  <a:gd name="connsiteY14" fmla="*/ 42672 h 177736"/>
                  <a:gd name="connsiteX15" fmla="*/ 306991 w 2906554"/>
                  <a:gd name="connsiteY15" fmla="*/ 42672 h 177736"/>
                  <a:gd name="connsiteX16" fmla="*/ 306991 w 2906554"/>
                  <a:gd name="connsiteY16" fmla="*/ 48863 h 177736"/>
                  <a:gd name="connsiteX17" fmla="*/ 340709 w 2906554"/>
                  <a:gd name="connsiteY17" fmla="*/ 48863 h 177736"/>
                  <a:gd name="connsiteX18" fmla="*/ 340709 w 2906554"/>
                  <a:gd name="connsiteY18" fmla="*/ 54959 h 177736"/>
                  <a:gd name="connsiteX19" fmla="*/ 346996 w 2906554"/>
                  <a:gd name="connsiteY19" fmla="*/ 54959 h 177736"/>
                  <a:gd name="connsiteX20" fmla="*/ 346996 w 2906554"/>
                  <a:gd name="connsiteY20" fmla="*/ 61055 h 177736"/>
                  <a:gd name="connsiteX21" fmla="*/ 361664 w 2906554"/>
                  <a:gd name="connsiteY21" fmla="*/ 61055 h 177736"/>
                  <a:gd name="connsiteX22" fmla="*/ 361664 w 2906554"/>
                  <a:gd name="connsiteY22" fmla="*/ 67151 h 177736"/>
                  <a:gd name="connsiteX23" fmla="*/ 374332 w 2906554"/>
                  <a:gd name="connsiteY23" fmla="*/ 67151 h 177736"/>
                  <a:gd name="connsiteX24" fmla="*/ 374332 w 2906554"/>
                  <a:gd name="connsiteY24" fmla="*/ 73342 h 177736"/>
                  <a:gd name="connsiteX25" fmla="*/ 399574 w 2906554"/>
                  <a:gd name="connsiteY25" fmla="*/ 73342 h 177736"/>
                  <a:gd name="connsiteX26" fmla="*/ 399574 w 2906554"/>
                  <a:gd name="connsiteY26" fmla="*/ 79438 h 177736"/>
                  <a:gd name="connsiteX27" fmla="*/ 628840 w 2906554"/>
                  <a:gd name="connsiteY27" fmla="*/ 79438 h 177736"/>
                  <a:gd name="connsiteX28" fmla="*/ 628840 w 2906554"/>
                  <a:gd name="connsiteY28" fmla="*/ 85630 h 177736"/>
                  <a:gd name="connsiteX29" fmla="*/ 742378 w 2906554"/>
                  <a:gd name="connsiteY29" fmla="*/ 85630 h 177736"/>
                  <a:gd name="connsiteX30" fmla="*/ 742378 w 2906554"/>
                  <a:gd name="connsiteY30" fmla="*/ 91821 h 177736"/>
                  <a:gd name="connsiteX31" fmla="*/ 1011555 w 2906554"/>
                  <a:gd name="connsiteY31" fmla="*/ 91821 h 177736"/>
                  <a:gd name="connsiteX32" fmla="*/ 1011555 w 2906554"/>
                  <a:gd name="connsiteY32" fmla="*/ 98107 h 177736"/>
                  <a:gd name="connsiteX33" fmla="*/ 1085183 w 2906554"/>
                  <a:gd name="connsiteY33" fmla="*/ 98107 h 177736"/>
                  <a:gd name="connsiteX34" fmla="*/ 1085183 w 2906554"/>
                  <a:gd name="connsiteY34" fmla="*/ 104394 h 177736"/>
                  <a:gd name="connsiteX35" fmla="*/ 1165098 w 2906554"/>
                  <a:gd name="connsiteY35" fmla="*/ 104394 h 177736"/>
                  <a:gd name="connsiteX36" fmla="*/ 1165098 w 2906554"/>
                  <a:gd name="connsiteY36" fmla="*/ 110680 h 177736"/>
                  <a:gd name="connsiteX37" fmla="*/ 1327023 w 2906554"/>
                  <a:gd name="connsiteY37" fmla="*/ 110680 h 177736"/>
                  <a:gd name="connsiteX38" fmla="*/ 1327023 w 2906554"/>
                  <a:gd name="connsiteY38" fmla="*/ 117157 h 177736"/>
                  <a:gd name="connsiteX39" fmla="*/ 1343882 w 2906554"/>
                  <a:gd name="connsiteY39" fmla="*/ 117157 h 177736"/>
                  <a:gd name="connsiteX40" fmla="*/ 1343882 w 2906554"/>
                  <a:gd name="connsiteY40" fmla="*/ 123539 h 177736"/>
                  <a:gd name="connsiteX41" fmla="*/ 1461706 w 2906554"/>
                  <a:gd name="connsiteY41" fmla="*/ 123539 h 177736"/>
                  <a:gd name="connsiteX42" fmla="*/ 1461706 w 2906554"/>
                  <a:gd name="connsiteY42" fmla="*/ 130016 h 177736"/>
                  <a:gd name="connsiteX43" fmla="*/ 1554194 w 2906554"/>
                  <a:gd name="connsiteY43" fmla="*/ 130016 h 177736"/>
                  <a:gd name="connsiteX44" fmla="*/ 1554194 w 2906554"/>
                  <a:gd name="connsiteY44" fmla="*/ 136398 h 177736"/>
                  <a:gd name="connsiteX45" fmla="*/ 1573149 w 2906554"/>
                  <a:gd name="connsiteY45" fmla="*/ 136398 h 177736"/>
                  <a:gd name="connsiteX46" fmla="*/ 1573149 w 2906554"/>
                  <a:gd name="connsiteY46" fmla="*/ 142875 h 177736"/>
                  <a:gd name="connsiteX47" fmla="*/ 2426970 w 2906554"/>
                  <a:gd name="connsiteY47" fmla="*/ 142875 h 177736"/>
                  <a:gd name="connsiteX48" fmla="*/ 2426970 w 2906554"/>
                  <a:gd name="connsiteY48" fmla="*/ 177736 h 177736"/>
                  <a:gd name="connsiteX49" fmla="*/ 2906554 w 2906554"/>
                  <a:gd name="connsiteY49" fmla="*/ 177736 h 177736"/>
                  <a:gd name="connsiteX0" fmla="*/ 0 w 2883504"/>
                  <a:gd name="connsiteY0" fmla="*/ 0 h 177736"/>
                  <a:gd name="connsiteX1" fmla="*/ 0 w 2883504"/>
                  <a:gd name="connsiteY1" fmla="*/ 6096 h 177736"/>
                  <a:gd name="connsiteX2" fmla="*/ 12669 w 2883504"/>
                  <a:gd name="connsiteY2" fmla="*/ 6096 h 177736"/>
                  <a:gd name="connsiteX3" fmla="*/ 12669 w 2883504"/>
                  <a:gd name="connsiteY3" fmla="*/ 12192 h 177736"/>
                  <a:gd name="connsiteX4" fmla="*/ 48387 w 2883504"/>
                  <a:gd name="connsiteY4" fmla="*/ 12192 h 177736"/>
                  <a:gd name="connsiteX5" fmla="*/ 48387 w 2883504"/>
                  <a:gd name="connsiteY5" fmla="*/ 18288 h 177736"/>
                  <a:gd name="connsiteX6" fmla="*/ 164116 w 2883504"/>
                  <a:gd name="connsiteY6" fmla="*/ 18288 h 177736"/>
                  <a:gd name="connsiteX7" fmla="*/ 164116 w 2883504"/>
                  <a:gd name="connsiteY7" fmla="*/ 24289 h 177736"/>
                  <a:gd name="connsiteX8" fmla="*/ 201930 w 2883504"/>
                  <a:gd name="connsiteY8" fmla="*/ 24289 h 177736"/>
                  <a:gd name="connsiteX9" fmla="*/ 201930 w 2883504"/>
                  <a:gd name="connsiteY9" fmla="*/ 30480 h 177736"/>
                  <a:gd name="connsiteX10" fmla="*/ 254508 w 2883504"/>
                  <a:gd name="connsiteY10" fmla="*/ 30480 h 177736"/>
                  <a:gd name="connsiteX11" fmla="*/ 254508 w 2883504"/>
                  <a:gd name="connsiteY11" fmla="*/ 36576 h 177736"/>
                  <a:gd name="connsiteX12" fmla="*/ 273463 w 2883504"/>
                  <a:gd name="connsiteY12" fmla="*/ 36576 h 177736"/>
                  <a:gd name="connsiteX13" fmla="*/ 273463 w 2883504"/>
                  <a:gd name="connsiteY13" fmla="*/ 42672 h 177736"/>
                  <a:gd name="connsiteX14" fmla="*/ 283941 w 2883504"/>
                  <a:gd name="connsiteY14" fmla="*/ 42672 h 177736"/>
                  <a:gd name="connsiteX15" fmla="*/ 283941 w 2883504"/>
                  <a:gd name="connsiteY15" fmla="*/ 48863 h 177736"/>
                  <a:gd name="connsiteX16" fmla="*/ 317659 w 2883504"/>
                  <a:gd name="connsiteY16" fmla="*/ 48863 h 177736"/>
                  <a:gd name="connsiteX17" fmla="*/ 317659 w 2883504"/>
                  <a:gd name="connsiteY17" fmla="*/ 54959 h 177736"/>
                  <a:gd name="connsiteX18" fmla="*/ 323946 w 2883504"/>
                  <a:gd name="connsiteY18" fmla="*/ 54959 h 177736"/>
                  <a:gd name="connsiteX19" fmla="*/ 323946 w 2883504"/>
                  <a:gd name="connsiteY19" fmla="*/ 61055 h 177736"/>
                  <a:gd name="connsiteX20" fmla="*/ 338614 w 2883504"/>
                  <a:gd name="connsiteY20" fmla="*/ 61055 h 177736"/>
                  <a:gd name="connsiteX21" fmla="*/ 338614 w 2883504"/>
                  <a:gd name="connsiteY21" fmla="*/ 67151 h 177736"/>
                  <a:gd name="connsiteX22" fmla="*/ 351282 w 2883504"/>
                  <a:gd name="connsiteY22" fmla="*/ 67151 h 177736"/>
                  <a:gd name="connsiteX23" fmla="*/ 351282 w 2883504"/>
                  <a:gd name="connsiteY23" fmla="*/ 73342 h 177736"/>
                  <a:gd name="connsiteX24" fmla="*/ 376524 w 2883504"/>
                  <a:gd name="connsiteY24" fmla="*/ 73342 h 177736"/>
                  <a:gd name="connsiteX25" fmla="*/ 376524 w 2883504"/>
                  <a:gd name="connsiteY25" fmla="*/ 79438 h 177736"/>
                  <a:gd name="connsiteX26" fmla="*/ 605790 w 2883504"/>
                  <a:gd name="connsiteY26" fmla="*/ 79438 h 177736"/>
                  <a:gd name="connsiteX27" fmla="*/ 605790 w 2883504"/>
                  <a:gd name="connsiteY27" fmla="*/ 85630 h 177736"/>
                  <a:gd name="connsiteX28" fmla="*/ 719328 w 2883504"/>
                  <a:gd name="connsiteY28" fmla="*/ 85630 h 177736"/>
                  <a:gd name="connsiteX29" fmla="*/ 719328 w 2883504"/>
                  <a:gd name="connsiteY29" fmla="*/ 91821 h 177736"/>
                  <a:gd name="connsiteX30" fmla="*/ 988505 w 2883504"/>
                  <a:gd name="connsiteY30" fmla="*/ 91821 h 177736"/>
                  <a:gd name="connsiteX31" fmla="*/ 988505 w 2883504"/>
                  <a:gd name="connsiteY31" fmla="*/ 98107 h 177736"/>
                  <a:gd name="connsiteX32" fmla="*/ 1062133 w 2883504"/>
                  <a:gd name="connsiteY32" fmla="*/ 98107 h 177736"/>
                  <a:gd name="connsiteX33" fmla="*/ 1062133 w 2883504"/>
                  <a:gd name="connsiteY33" fmla="*/ 104394 h 177736"/>
                  <a:gd name="connsiteX34" fmla="*/ 1142048 w 2883504"/>
                  <a:gd name="connsiteY34" fmla="*/ 104394 h 177736"/>
                  <a:gd name="connsiteX35" fmla="*/ 1142048 w 2883504"/>
                  <a:gd name="connsiteY35" fmla="*/ 110680 h 177736"/>
                  <a:gd name="connsiteX36" fmla="*/ 1303973 w 2883504"/>
                  <a:gd name="connsiteY36" fmla="*/ 110680 h 177736"/>
                  <a:gd name="connsiteX37" fmla="*/ 1303973 w 2883504"/>
                  <a:gd name="connsiteY37" fmla="*/ 117157 h 177736"/>
                  <a:gd name="connsiteX38" fmla="*/ 1320832 w 2883504"/>
                  <a:gd name="connsiteY38" fmla="*/ 117157 h 177736"/>
                  <a:gd name="connsiteX39" fmla="*/ 1320832 w 2883504"/>
                  <a:gd name="connsiteY39" fmla="*/ 123539 h 177736"/>
                  <a:gd name="connsiteX40" fmla="*/ 1438656 w 2883504"/>
                  <a:gd name="connsiteY40" fmla="*/ 123539 h 177736"/>
                  <a:gd name="connsiteX41" fmla="*/ 1438656 w 2883504"/>
                  <a:gd name="connsiteY41" fmla="*/ 130016 h 177736"/>
                  <a:gd name="connsiteX42" fmla="*/ 1531144 w 2883504"/>
                  <a:gd name="connsiteY42" fmla="*/ 130016 h 177736"/>
                  <a:gd name="connsiteX43" fmla="*/ 1531144 w 2883504"/>
                  <a:gd name="connsiteY43" fmla="*/ 136398 h 177736"/>
                  <a:gd name="connsiteX44" fmla="*/ 1550099 w 2883504"/>
                  <a:gd name="connsiteY44" fmla="*/ 136398 h 177736"/>
                  <a:gd name="connsiteX45" fmla="*/ 1550099 w 2883504"/>
                  <a:gd name="connsiteY45" fmla="*/ 142875 h 177736"/>
                  <a:gd name="connsiteX46" fmla="*/ 2403920 w 2883504"/>
                  <a:gd name="connsiteY46" fmla="*/ 142875 h 177736"/>
                  <a:gd name="connsiteX47" fmla="*/ 2403920 w 2883504"/>
                  <a:gd name="connsiteY47" fmla="*/ 177736 h 177736"/>
                  <a:gd name="connsiteX48" fmla="*/ 2883504 w 2883504"/>
                  <a:gd name="connsiteY48" fmla="*/ 177736 h 177736"/>
                  <a:gd name="connsiteX0" fmla="*/ 0 w 2883504"/>
                  <a:gd name="connsiteY0" fmla="*/ 0 h 177736"/>
                  <a:gd name="connsiteX1" fmla="*/ 12669 w 2883504"/>
                  <a:gd name="connsiteY1" fmla="*/ 6096 h 177736"/>
                  <a:gd name="connsiteX2" fmla="*/ 12669 w 2883504"/>
                  <a:gd name="connsiteY2" fmla="*/ 12192 h 177736"/>
                  <a:gd name="connsiteX3" fmla="*/ 48387 w 2883504"/>
                  <a:gd name="connsiteY3" fmla="*/ 12192 h 177736"/>
                  <a:gd name="connsiteX4" fmla="*/ 48387 w 2883504"/>
                  <a:gd name="connsiteY4" fmla="*/ 18288 h 177736"/>
                  <a:gd name="connsiteX5" fmla="*/ 164116 w 2883504"/>
                  <a:gd name="connsiteY5" fmla="*/ 18288 h 177736"/>
                  <a:gd name="connsiteX6" fmla="*/ 164116 w 2883504"/>
                  <a:gd name="connsiteY6" fmla="*/ 24289 h 177736"/>
                  <a:gd name="connsiteX7" fmla="*/ 201930 w 2883504"/>
                  <a:gd name="connsiteY7" fmla="*/ 24289 h 177736"/>
                  <a:gd name="connsiteX8" fmla="*/ 201930 w 2883504"/>
                  <a:gd name="connsiteY8" fmla="*/ 30480 h 177736"/>
                  <a:gd name="connsiteX9" fmla="*/ 254508 w 2883504"/>
                  <a:gd name="connsiteY9" fmla="*/ 30480 h 177736"/>
                  <a:gd name="connsiteX10" fmla="*/ 254508 w 2883504"/>
                  <a:gd name="connsiteY10" fmla="*/ 36576 h 177736"/>
                  <a:gd name="connsiteX11" fmla="*/ 273463 w 2883504"/>
                  <a:gd name="connsiteY11" fmla="*/ 36576 h 177736"/>
                  <a:gd name="connsiteX12" fmla="*/ 273463 w 2883504"/>
                  <a:gd name="connsiteY12" fmla="*/ 42672 h 177736"/>
                  <a:gd name="connsiteX13" fmla="*/ 283941 w 2883504"/>
                  <a:gd name="connsiteY13" fmla="*/ 42672 h 177736"/>
                  <a:gd name="connsiteX14" fmla="*/ 283941 w 2883504"/>
                  <a:gd name="connsiteY14" fmla="*/ 48863 h 177736"/>
                  <a:gd name="connsiteX15" fmla="*/ 317659 w 2883504"/>
                  <a:gd name="connsiteY15" fmla="*/ 48863 h 177736"/>
                  <a:gd name="connsiteX16" fmla="*/ 317659 w 2883504"/>
                  <a:gd name="connsiteY16" fmla="*/ 54959 h 177736"/>
                  <a:gd name="connsiteX17" fmla="*/ 323946 w 2883504"/>
                  <a:gd name="connsiteY17" fmla="*/ 54959 h 177736"/>
                  <a:gd name="connsiteX18" fmla="*/ 323946 w 2883504"/>
                  <a:gd name="connsiteY18" fmla="*/ 61055 h 177736"/>
                  <a:gd name="connsiteX19" fmla="*/ 338614 w 2883504"/>
                  <a:gd name="connsiteY19" fmla="*/ 61055 h 177736"/>
                  <a:gd name="connsiteX20" fmla="*/ 338614 w 2883504"/>
                  <a:gd name="connsiteY20" fmla="*/ 67151 h 177736"/>
                  <a:gd name="connsiteX21" fmla="*/ 351282 w 2883504"/>
                  <a:gd name="connsiteY21" fmla="*/ 67151 h 177736"/>
                  <a:gd name="connsiteX22" fmla="*/ 351282 w 2883504"/>
                  <a:gd name="connsiteY22" fmla="*/ 73342 h 177736"/>
                  <a:gd name="connsiteX23" fmla="*/ 376524 w 2883504"/>
                  <a:gd name="connsiteY23" fmla="*/ 73342 h 177736"/>
                  <a:gd name="connsiteX24" fmla="*/ 376524 w 2883504"/>
                  <a:gd name="connsiteY24" fmla="*/ 79438 h 177736"/>
                  <a:gd name="connsiteX25" fmla="*/ 605790 w 2883504"/>
                  <a:gd name="connsiteY25" fmla="*/ 79438 h 177736"/>
                  <a:gd name="connsiteX26" fmla="*/ 605790 w 2883504"/>
                  <a:gd name="connsiteY26" fmla="*/ 85630 h 177736"/>
                  <a:gd name="connsiteX27" fmla="*/ 719328 w 2883504"/>
                  <a:gd name="connsiteY27" fmla="*/ 85630 h 177736"/>
                  <a:gd name="connsiteX28" fmla="*/ 719328 w 2883504"/>
                  <a:gd name="connsiteY28" fmla="*/ 91821 h 177736"/>
                  <a:gd name="connsiteX29" fmla="*/ 988505 w 2883504"/>
                  <a:gd name="connsiteY29" fmla="*/ 91821 h 177736"/>
                  <a:gd name="connsiteX30" fmla="*/ 988505 w 2883504"/>
                  <a:gd name="connsiteY30" fmla="*/ 98107 h 177736"/>
                  <a:gd name="connsiteX31" fmla="*/ 1062133 w 2883504"/>
                  <a:gd name="connsiteY31" fmla="*/ 98107 h 177736"/>
                  <a:gd name="connsiteX32" fmla="*/ 1062133 w 2883504"/>
                  <a:gd name="connsiteY32" fmla="*/ 104394 h 177736"/>
                  <a:gd name="connsiteX33" fmla="*/ 1142048 w 2883504"/>
                  <a:gd name="connsiteY33" fmla="*/ 104394 h 177736"/>
                  <a:gd name="connsiteX34" fmla="*/ 1142048 w 2883504"/>
                  <a:gd name="connsiteY34" fmla="*/ 110680 h 177736"/>
                  <a:gd name="connsiteX35" fmla="*/ 1303973 w 2883504"/>
                  <a:gd name="connsiteY35" fmla="*/ 110680 h 177736"/>
                  <a:gd name="connsiteX36" fmla="*/ 1303973 w 2883504"/>
                  <a:gd name="connsiteY36" fmla="*/ 117157 h 177736"/>
                  <a:gd name="connsiteX37" fmla="*/ 1320832 w 2883504"/>
                  <a:gd name="connsiteY37" fmla="*/ 117157 h 177736"/>
                  <a:gd name="connsiteX38" fmla="*/ 1320832 w 2883504"/>
                  <a:gd name="connsiteY38" fmla="*/ 123539 h 177736"/>
                  <a:gd name="connsiteX39" fmla="*/ 1438656 w 2883504"/>
                  <a:gd name="connsiteY39" fmla="*/ 123539 h 177736"/>
                  <a:gd name="connsiteX40" fmla="*/ 1438656 w 2883504"/>
                  <a:gd name="connsiteY40" fmla="*/ 130016 h 177736"/>
                  <a:gd name="connsiteX41" fmla="*/ 1531144 w 2883504"/>
                  <a:gd name="connsiteY41" fmla="*/ 130016 h 177736"/>
                  <a:gd name="connsiteX42" fmla="*/ 1531144 w 2883504"/>
                  <a:gd name="connsiteY42" fmla="*/ 136398 h 177736"/>
                  <a:gd name="connsiteX43" fmla="*/ 1550099 w 2883504"/>
                  <a:gd name="connsiteY43" fmla="*/ 136398 h 177736"/>
                  <a:gd name="connsiteX44" fmla="*/ 1550099 w 2883504"/>
                  <a:gd name="connsiteY44" fmla="*/ 142875 h 177736"/>
                  <a:gd name="connsiteX45" fmla="*/ 2403920 w 2883504"/>
                  <a:gd name="connsiteY45" fmla="*/ 142875 h 177736"/>
                  <a:gd name="connsiteX46" fmla="*/ 2403920 w 2883504"/>
                  <a:gd name="connsiteY46" fmla="*/ 177736 h 177736"/>
                  <a:gd name="connsiteX47" fmla="*/ 2883504 w 2883504"/>
                  <a:gd name="connsiteY47" fmla="*/ 177736 h 177736"/>
                  <a:gd name="connsiteX0" fmla="*/ 0 w 2870835"/>
                  <a:gd name="connsiteY0" fmla="*/ 0 h 171640"/>
                  <a:gd name="connsiteX1" fmla="*/ 0 w 2870835"/>
                  <a:gd name="connsiteY1" fmla="*/ 6096 h 171640"/>
                  <a:gd name="connsiteX2" fmla="*/ 35718 w 2870835"/>
                  <a:gd name="connsiteY2" fmla="*/ 6096 h 171640"/>
                  <a:gd name="connsiteX3" fmla="*/ 35718 w 2870835"/>
                  <a:gd name="connsiteY3" fmla="*/ 12192 h 171640"/>
                  <a:gd name="connsiteX4" fmla="*/ 151447 w 2870835"/>
                  <a:gd name="connsiteY4" fmla="*/ 12192 h 171640"/>
                  <a:gd name="connsiteX5" fmla="*/ 151447 w 2870835"/>
                  <a:gd name="connsiteY5" fmla="*/ 18193 h 171640"/>
                  <a:gd name="connsiteX6" fmla="*/ 189261 w 2870835"/>
                  <a:gd name="connsiteY6" fmla="*/ 18193 h 171640"/>
                  <a:gd name="connsiteX7" fmla="*/ 189261 w 2870835"/>
                  <a:gd name="connsiteY7" fmla="*/ 24384 h 171640"/>
                  <a:gd name="connsiteX8" fmla="*/ 241839 w 2870835"/>
                  <a:gd name="connsiteY8" fmla="*/ 24384 h 171640"/>
                  <a:gd name="connsiteX9" fmla="*/ 241839 w 2870835"/>
                  <a:gd name="connsiteY9" fmla="*/ 30480 h 171640"/>
                  <a:gd name="connsiteX10" fmla="*/ 260794 w 2870835"/>
                  <a:gd name="connsiteY10" fmla="*/ 30480 h 171640"/>
                  <a:gd name="connsiteX11" fmla="*/ 260794 w 2870835"/>
                  <a:gd name="connsiteY11" fmla="*/ 36576 h 171640"/>
                  <a:gd name="connsiteX12" fmla="*/ 271272 w 2870835"/>
                  <a:gd name="connsiteY12" fmla="*/ 36576 h 171640"/>
                  <a:gd name="connsiteX13" fmla="*/ 271272 w 2870835"/>
                  <a:gd name="connsiteY13" fmla="*/ 42767 h 171640"/>
                  <a:gd name="connsiteX14" fmla="*/ 304990 w 2870835"/>
                  <a:gd name="connsiteY14" fmla="*/ 42767 h 171640"/>
                  <a:gd name="connsiteX15" fmla="*/ 304990 w 2870835"/>
                  <a:gd name="connsiteY15" fmla="*/ 48863 h 171640"/>
                  <a:gd name="connsiteX16" fmla="*/ 311277 w 2870835"/>
                  <a:gd name="connsiteY16" fmla="*/ 48863 h 171640"/>
                  <a:gd name="connsiteX17" fmla="*/ 311277 w 2870835"/>
                  <a:gd name="connsiteY17" fmla="*/ 54959 h 171640"/>
                  <a:gd name="connsiteX18" fmla="*/ 325945 w 2870835"/>
                  <a:gd name="connsiteY18" fmla="*/ 54959 h 171640"/>
                  <a:gd name="connsiteX19" fmla="*/ 325945 w 2870835"/>
                  <a:gd name="connsiteY19" fmla="*/ 61055 h 171640"/>
                  <a:gd name="connsiteX20" fmla="*/ 338613 w 2870835"/>
                  <a:gd name="connsiteY20" fmla="*/ 61055 h 171640"/>
                  <a:gd name="connsiteX21" fmla="*/ 338613 w 2870835"/>
                  <a:gd name="connsiteY21" fmla="*/ 67246 h 171640"/>
                  <a:gd name="connsiteX22" fmla="*/ 363855 w 2870835"/>
                  <a:gd name="connsiteY22" fmla="*/ 67246 h 171640"/>
                  <a:gd name="connsiteX23" fmla="*/ 363855 w 2870835"/>
                  <a:gd name="connsiteY23" fmla="*/ 73342 h 171640"/>
                  <a:gd name="connsiteX24" fmla="*/ 593121 w 2870835"/>
                  <a:gd name="connsiteY24" fmla="*/ 73342 h 171640"/>
                  <a:gd name="connsiteX25" fmla="*/ 593121 w 2870835"/>
                  <a:gd name="connsiteY25" fmla="*/ 79534 h 171640"/>
                  <a:gd name="connsiteX26" fmla="*/ 706659 w 2870835"/>
                  <a:gd name="connsiteY26" fmla="*/ 79534 h 171640"/>
                  <a:gd name="connsiteX27" fmla="*/ 706659 w 2870835"/>
                  <a:gd name="connsiteY27" fmla="*/ 85725 h 171640"/>
                  <a:gd name="connsiteX28" fmla="*/ 975836 w 2870835"/>
                  <a:gd name="connsiteY28" fmla="*/ 85725 h 171640"/>
                  <a:gd name="connsiteX29" fmla="*/ 975836 w 2870835"/>
                  <a:gd name="connsiteY29" fmla="*/ 92011 h 171640"/>
                  <a:gd name="connsiteX30" fmla="*/ 1049464 w 2870835"/>
                  <a:gd name="connsiteY30" fmla="*/ 92011 h 171640"/>
                  <a:gd name="connsiteX31" fmla="*/ 1049464 w 2870835"/>
                  <a:gd name="connsiteY31" fmla="*/ 98298 h 171640"/>
                  <a:gd name="connsiteX32" fmla="*/ 1129379 w 2870835"/>
                  <a:gd name="connsiteY32" fmla="*/ 98298 h 171640"/>
                  <a:gd name="connsiteX33" fmla="*/ 1129379 w 2870835"/>
                  <a:gd name="connsiteY33" fmla="*/ 104584 h 171640"/>
                  <a:gd name="connsiteX34" fmla="*/ 1291304 w 2870835"/>
                  <a:gd name="connsiteY34" fmla="*/ 104584 h 171640"/>
                  <a:gd name="connsiteX35" fmla="*/ 1291304 w 2870835"/>
                  <a:gd name="connsiteY35" fmla="*/ 111061 h 171640"/>
                  <a:gd name="connsiteX36" fmla="*/ 1308163 w 2870835"/>
                  <a:gd name="connsiteY36" fmla="*/ 111061 h 171640"/>
                  <a:gd name="connsiteX37" fmla="*/ 1308163 w 2870835"/>
                  <a:gd name="connsiteY37" fmla="*/ 117443 h 171640"/>
                  <a:gd name="connsiteX38" fmla="*/ 1425987 w 2870835"/>
                  <a:gd name="connsiteY38" fmla="*/ 117443 h 171640"/>
                  <a:gd name="connsiteX39" fmla="*/ 1425987 w 2870835"/>
                  <a:gd name="connsiteY39" fmla="*/ 123920 h 171640"/>
                  <a:gd name="connsiteX40" fmla="*/ 1518475 w 2870835"/>
                  <a:gd name="connsiteY40" fmla="*/ 123920 h 171640"/>
                  <a:gd name="connsiteX41" fmla="*/ 1518475 w 2870835"/>
                  <a:gd name="connsiteY41" fmla="*/ 130302 h 171640"/>
                  <a:gd name="connsiteX42" fmla="*/ 1537430 w 2870835"/>
                  <a:gd name="connsiteY42" fmla="*/ 130302 h 171640"/>
                  <a:gd name="connsiteX43" fmla="*/ 1537430 w 2870835"/>
                  <a:gd name="connsiteY43" fmla="*/ 136779 h 171640"/>
                  <a:gd name="connsiteX44" fmla="*/ 2391251 w 2870835"/>
                  <a:gd name="connsiteY44" fmla="*/ 136779 h 171640"/>
                  <a:gd name="connsiteX45" fmla="*/ 2391251 w 2870835"/>
                  <a:gd name="connsiteY45" fmla="*/ 171640 h 171640"/>
                  <a:gd name="connsiteX46" fmla="*/ 2870835 w 2870835"/>
                  <a:gd name="connsiteY46" fmla="*/ 171640 h 171640"/>
                  <a:gd name="connsiteX0" fmla="*/ 0 w 2870835"/>
                  <a:gd name="connsiteY0" fmla="*/ 0 h 171640"/>
                  <a:gd name="connsiteX1" fmla="*/ 35718 w 2870835"/>
                  <a:gd name="connsiteY1" fmla="*/ 6096 h 171640"/>
                  <a:gd name="connsiteX2" fmla="*/ 35718 w 2870835"/>
                  <a:gd name="connsiteY2" fmla="*/ 12192 h 171640"/>
                  <a:gd name="connsiteX3" fmla="*/ 151447 w 2870835"/>
                  <a:gd name="connsiteY3" fmla="*/ 12192 h 171640"/>
                  <a:gd name="connsiteX4" fmla="*/ 151447 w 2870835"/>
                  <a:gd name="connsiteY4" fmla="*/ 18193 h 171640"/>
                  <a:gd name="connsiteX5" fmla="*/ 189261 w 2870835"/>
                  <a:gd name="connsiteY5" fmla="*/ 18193 h 171640"/>
                  <a:gd name="connsiteX6" fmla="*/ 189261 w 2870835"/>
                  <a:gd name="connsiteY6" fmla="*/ 24384 h 171640"/>
                  <a:gd name="connsiteX7" fmla="*/ 241839 w 2870835"/>
                  <a:gd name="connsiteY7" fmla="*/ 24384 h 171640"/>
                  <a:gd name="connsiteX8" fmla="*/ 241839 w 2870835"/>
                  <a:gd name="connsiteY8" fmla="*/ 30480 h 171640"/>
                  <a:gd name="connsiteX9" fmla="*/ 260794 w 2870835"/>
                  <a:gd name="connsiteY9" fmla="*/ 30480 h 171640"/>
                  <a:gd name="connsiteX10" fmla="*/ 260794 w 2870835"/>
                  <a:gd name="connsiteY10" fmla="*/ 36576 h 171640"/>
                  <a:gd name="connsiteX11" fmla="*/ 271272 w 2870835"/>
                  <a:gd name="connsiteY11" fmla="*/ 36576 h 171640"/>
                  <a:gd name="connsiteX12" fmla="*/ 271272 w 2870835"/>
                  <a:gd name="connsiteY12" fmla="*/ 42767 h 171640"/>
                  <a:gd name="connsiteX13" fmla="*/ 304990 w 2870835"/>
                  <a:gd name="connsiteY13" fmla="*/ 42767 h 171640"/>
                  <a:gd name="connsiteX14" fmla="*/ 304990 w 2870835"/>
                  <a:gd name="connsiteY14" fmla="*/ 48863 h 171640"/>
                  <a:gd name="connsiteX15" fmla="*/ 311277 w 2870835"/>
                  <a:gd name="connsiteY15" fmla="*/ 48863 h 171640"/>
                  <a:gd name="connsiteX16" fmla="*/ 311277 w 2870835"/>
                  <a:gd name="connsiteY16" fmla="*/ 54959 h 171640"/>
                  <a:gd name="connsiteX17" fmla="*/ 325945 w 2870835"/>
                  <a:gd name="connsiteY17" fmla="*/ 54959 h 171640"/>
                  <a:gd name="connsiteX18" fmla="*/ 325945 w 2870835"/>
                  <a:gd name="connsiteY18" fmla="*/ 61055 h 171640"/>
                  <a:gd name="connsiteX19" fmla="*/ 338613 w 2870835"/>
                  <a:gd name="connsiteY19" fmla="*/ 61055 h 171640"/>
                  <a:gd name="connsiteX20" fmla="*/ 338613 w 2870835"/>
                  <a:gd name="connsiteY20" fmla="*/ 67246 h 171640"/>
                  <a:gd name="connsiteX21" fmla="*/ 363855 w 2870835"/>
                  <a:gd name="connsiteY21" fmla="*/ 67246 h 171640"/>
                  <a:gd name="connsiteX22" fmla="*/ 363855 w 2870835"/>
                  <a:gd name="connsiteY22" fmla="*/ 73342 h 171640"/>
                  <a:gd name="connsiteX23" fmla="*/ 593121 w 2870835"/>
                  <a:gd name="connsiteY23" fmla="*/ 73342 h 171640"/>
                  <a:gd name="connsiteX24" fmla="*/ 593121 w 2870835"/>
                  <a:gd name="connsiteY24" fmla="*/ 79534 h 171640"/>
                  <a:gd name="connsiteX25" fmla="*/ 706659 w 2870835"/>
                  <a:gd name="connsiteY25" fmla="*/ 79534 h 171640"/>
                  <a:gd name="connsiteX26" fmla="*/ 706659 w 2870835"/>
                  <a:gd name="connsiteY26" fmla="*/ 85725 h 171640"/>
                  <a:gd name="connsiteX27" fmla="*/ 975836 w 2870835"/>
                  <a:gd name="connsiteY27" fmla="*/ 85725 h 171640"/>
                  <a:gd name="connsiteX28" fmla="*/ 975836 w 2870835"/>
                  <a:gd name="connsiteY28" fmla="*/ 92011 h 171640"/>
                  <a:gd name="connsiteX29" fmla="*/ 1049464 w 2870835"/>
                  <a:gd name="connsiteY29" fmla="*/ 92011 h 171640"/>
                  <a:gd name="connsiteX30" fmla="*/ 1049464 w 2870835"/>
                  <a:gd name="connsiteY30" fmla="*/ 98298 h 171640"/>
                  <a:gd name="connsiteX31" fmla="*/ 1129379 w 2870835"/>
                  <a:gd name="connsiteY31" fmla="*/ 98298 h 171640"/>
                  <a:gd name="connsiteX32" fmla="*/ 1129379 w 2870835"/>
                  <a:gd name="connsiteY32" fmla="*/ 104584 h 171640"/>
                  <a:gd name="connsiteX33" fmla="*/ 1291304 w 2870835"/>
                  <a:gd name="connsiteY33" fmla="*/ 104584 h 171640"/>
                  <a:gd name="connsiteX34" fmla="*/ 1291304 w 2870835"/>
                  <a:gd name="connsiteY34" fmla="*/ 111061 h 171640"/>
                  <a:gd name="connsiteX35" fmla="*/ 1308163 w 2870835"/>
                  <a:gd name="connsiteY35" fmla="*/ 111061 h 171640"/>
                  <a:gd name="connsiteX36" fmla="*/ 1308163 w 2870835"/>
                  <a:gd name="connsiteY36" fmla="*/ 117443 h 171640"/>
                  <a:gd name="connsiteX37" fmla="*/ 1425987 w 2870835"/>
                  <a:gd name="connsiteY37" fmla="*/ 117443 h 171640"/>
                  <a:gd name="connsiteX38" fmla="*/ 1425987 w 2870835"/>
                  <a:gd name="connsiteY38" fmla="*/ 123920 h 171640"/>
                  <a:gd name="connsiteX39" fmla="*/ 1518475 w 2870835"/>
                  <a:gd name="connsiteY39" fmla="*/ 123920 h 171640"/>
                  <a:gd name="connsiteX40" fmla="*/ 1518475 w 2870835"/>
                  <a:gd name="connsiteY40" fmla="*/ 130302 h 171640"/>
                  <a:gd name="connsiteX41" fmla="*/ 1537430 w 2870835"/>
                  <a:gd name="connsiteY41" fmla="*/ 130302 h 171640"/>
                  <a:gd name="connsiteX42" fmla="*/ 1537430 w 2870835"/>
                  <a:gd name="connsiteY42" fmla="*/ 136779 h 171640"/>
                  <a:gd name="connsiteX43" fmla="*/ 2391251 w 2870835"/>
                  <a:gd name="connsiteY43" fmla="*/ 136779 h 171640"/>
                  <a:gd name="connsiteX44" fmla="*/ 2391251 w 2870835"/>
                  <a:gd name="connsiteY44" fmla="*/ 171640 h 171640"/>
                  <a:gd name="connsiteX45" fmla="*/ 2870835 w 2870835"/>
                  <a:gd name="connsiteY45" fmla="*/ 171640 h 171640"/>
                  <a:gd name="connsiteX0" fmla="*/ 0 w 2835117"/>
                  <a:gd name="connsiteY0" fmla="*/ 0 h 165544"/>
                  <a:gd name="connsiteX1" fmla="*/ 0 w 2835117"/>
                  <a:gd name="connsiteY1" fmla="*/ 6096 h 165544"/>
                  <a:gd name="connsiteX2" fmla="*/ 115729 w 2835117"/>
                  <a:gd name="connsiteY2" fmla="*/ 6096 h 165544"/>
                  <a:gd name="connsiteX3" fmla="*/ 115729 w 2835117"/>
                  <a:gd name="connsiteY3" fmla="*/ 12097 h 165544"/>
                  <a:gd name="connsiteX4" fmla="*/ 153543 w 2835117"/>
                  <a:gd name="connsiteY4" fmla="*/ 12097 h 165544"/>
                  <a:gd name="connsiteX5" fmla="*/ 153543 w 2835117"/>
                  <a:gd name="connsiteY5" fmla="*/ 18288 h 165544"/>
                  <a:gd name="connsiteX6" fmla="*/ 206121 w 2835117"/>
                  <a:gd name="connsiteY6" fmla="*/ 18288 h 165544"/>
                  <a:gd name="connsiteX7" fmla="*/ 206121 w 2835117"/>
                  <a:gd name="connsiteY7" fmla="*/ 24384 h 165544"/>
                  <a:gd name="connsiteX8" fmla="*/ 225076 w 2835117"/>
                  <a:gd name="connsiteY8" fmla="*/ 24384 h 165544"/>
                  <a:gd name="connsiteX9" fmla="*/ 225076 w 2835117"/>
                  <a:gd name="connsiteY9" fmla="*/ 30480 h 165544"/>
                  <a:gd name="connsiteX10" fmla="*/ 235554 w 2835117"/>
                  <a:gd name="connsiteY10" fmla="*/ 30480 h 165544"/>
                  <a:gd name="connsiteX11" fmla="*/ 235554 w 2835117"/>
                  <a:gd name="connsiteY11" fmla="*/ 36671 h 165544"/>
                  <a:gd name="connsiteX12" fmla="*/ 269272 w 2835117"/>
                  <a:gd name="connsiteY12" fmla="*/ 36671 h 165544"/>
                  <a:gd name="connsiteX13" fmla="*/ 269272 w 2835117"/>
                  <a:gd name="connsiteY13" fmla="*/ 42767 h 165544"/>
                  <a:gd name="connsiteX14" fmla="*/ 275559 w 2835117"/>
                  <a:gd name="connsiteY14" fmla="*/ 42767 h 165544"/>
                  <a:gd name="connsiteX15" fmla="*/ 275559 w 2835117"/>
                  <a:gd name="connsiteY15" fmla="*/ 48863 h 165544"/>
                  <a:gd name="connsiteX16" fmla="*/ 290227 w 2835117"/>
                  <a:gd name="connsiteY16" fmla="*/ 48863 h 165544"/>
                  <a:gd name="connsiteX17" fmla="*/ 290227 w 2835117"/>
                  <a:gd name="connsiteY17" fmla="*/ 54959 h 165544"/>
                  <a:gd name="connsiteX18" fmla="*/ 302895 w 2835117"/>
                  <a:gd name="connsiteY18" fmla="*/ 54959 h 165544"/>
                  <a:gd name="connsiteX19" fmla="*/ 302895 w 2835117"/>
                  <a:gd name="connsiteY19" fmla="*/ 61150 h 165544"/>
                  <a:gd name="connsiteX20" fmla="*/ 328137 w 2835117"/>
                  <a:gd name="connsiteY20" fmla="*/ 61150 h 165544"/>
                  <a:gd name="connsiteX21" fmla="*/ 328137 w 2835117"/>
                  <a:gd name="connsiteY21" fmla="*/ 67246 h 165544"/>
                  <a:gd name="connsiteX22" fmla="*/ 557403 w 2835117"/>
                  <a:gd name="connsiteY22" fmla="*/ 67246 h 165544"/>
                  <a:gd name="connsiteX23" fmla="*/ 557403 w 2835117"/>
                  <a:gd name="connsiteY23" fmla="*/ 73438 h 165544"/>
                  <a:gd name="connsiteX24" fmla="*/ 670941 w 2835117"/>
                  <a:gd name="connsiteY24" fmla="*/ 73438 h 165544"/>
                  <a:gd name="connsiteX25" fmla="*/ 670941 w 2835117"/>
                  <a:gd name="connsiteY25" fmla="*/ 79629 h 165544"/>
                  <a:gd name="connsiteX26" fmla="*/ 940118 w 2835117"/>
                  <a:gd name="connsiteY26" fmla="*/ 79629 h 165544"/>
                  <a:gd name="connsiteX27" fmla="*/ 940118 w 2835117"/>
                  <a:gd name="connsiteY27" fmla="*/ 85915 h 165544"/>
                  <a:gd name="connsiteX28" fmla="*/ 1013746 w 2835117"/>
                  <a:gd name="connsiteY28" fmla="*/ 85915 h 165544"/>
                  <a:gd name="connsiteX29" fmla="*/ 1013746 w 2835117"/>
                  <a:gd name="connsiteY29" fmla="*/ 92202 h 165544"/>
                  <a:gd name="connsiteX30" fmla="*/ 1093661 w 2835117"/>
                  <a:gd name="connsiteY30" fmla="*/ 92202 h 165544"/>
                  <a:gd name="connsiteX31" fmla="*/ 1093661 w 2835117"/>
                  <a:gd name="connsiteY31" fmla="*/ 98488 h 165544"/>
                  <a:gd name="connsiteX32" fmla="*/ 1255586 w 2835117"/>
                  <a:gd name="connsiteY32" fmla="*/ 98488 h 165544"/>
                  <a:gd name="connsiteX33" fmla="*/ 1255586 w 2835117"/>
                  <a:gd name="connsiteY33" fmla="*/ 104965 h 165544"/>
                  <a:gd name="connsiteX34" fmla="*/ 1272445 w 2835117"/>
                  <a:gd name="connsiteY34" fmla="*/ 104965 h 165544"/>
                  <a:gd name="connsiteX35" fmla="*/ 1272445 w 2835117"/>
                  <a:gd name="connsiteY35" fmla="*/ 111347 h 165544"/>
                  <a:gd name="connsiteX36" fmla="*/ 1390269 w 2835117"/>
                  <a:gd name="connsiteY36" fmla="*/ 111347 h 165544"/>
                  <a:gd name="connsiteX37" fmla="*/ 1390269 w 2835117"/>
                  <a:gd name="connsiteY37" fmla="*/ 117824 h 165544"/>
                  <a:gd name="connsiteX38" fmla="*/ 1482757 w 2835117"/>
                  <a:gd name="connsiteY38" fmla="*/ 117824 h 165544"/>
                  <a:gd name="connsiteX39" fmla="*/ 1482757 w 2835117"/>
                  <a:gd name="connsiteY39" fmla="*/ 124206 h 165544"/>
                  <a:gd name="connsiteX40" fmla="*/ 1501712 w 2835117"/>
                  <a:gd name="connsiteY40" fmla="*/ 124206 h 165544"/>
                  <a:gd name="connsiteX41" fmla="*/ 1501712 w 2835117"/>
                  <a:gd name="connsiteY41" fmla="*/ 130683 h 165544"/>
                  <a:gd name="connsiteX42" fmla="*/ 2355533 w 2835117"/>
                  <a:gd name="connsiteY42" fmla="*/ 130683 h 165544"/>
                  <a:gd name="connsiteX43" fmla="*/ 2355533 w 2835117"/>
                  <a:gd name="connsiteY43" fmla="*/ 165544 h 165544"/>
                  <a:gd name="connsiteX44" fmla="*/ 2835117 w 2835117"/>
                  <a:gd name="connsiteY44" fmla="*/ 165544 h 165544"/>
                  <a:gd name="connsiteX0" fmla="*/ 0 w 2835117"/>
                  <a:gd name="connsiteY0" fmla="*/ 0 h 165544"/>
                  <a:gd name="connsiteX1" fmla="*/ 115729 w 2835117"/>
                  <a:gd name="connsiteY1" fmla="*/ 6096 h 165544"/>
                  <a:gd name="connsiteX2" fmla="*/ 115729 w 2835117"/>
                  <a:gd name="connsiteY2" fmla="*/ 12097 h 165544"/>
                  <a:gd name="connsiteX3" fmla="*/ 153543 w 2835117"/>
                  <a:gd name="connsiteY3" fmla="*/ 12097 h 165544"/>
                  <a:gd name="connsiteX4" fmla="*/ 153543 w 2835117"/>
                  <a:gd name="connsiteY4" fmla="*/ 18288 h 165544"/>
                  <a:gd name="connsiteX5" fmla="*/ 206121 w 2835117"/>
                  <a:gd name="connsiteY5" fmla="*/ 18288 h 165544"/>
                  <a:gd name="connsiteX6" fmla="*/ 206121 w 2835117"/>
                  <a:gd name="connsiteY6" fmla="*/ 24384 h 165544"/>
                  <a:gd name="connsiteX7" fmla="*/ 225076 w 2835117"/>
                  <a:gd name="connsiteY7" fmla="*/ 24384 h 165544"/>
                  <a:gd name="connsiteX8" fmla="*/ 225076 w 2835117"/>
                  <a:gd name="connsiteY8" fmla="*/ 30480 h 165544"/>
                  <a:gd name="connsiteX9" fmla="*/ 235554 w 2835117"/>
                  <a:gd name="connsiteY9" fmla="*/ 30480 h 165544"/>
                  <a:gd name="connsiteX10" fmla="*/ 235554 w 2835117"/>
                  <a:gd name="connsiteY10" fmla="*/ 36671 h 165544"/>
                  <a:gd name="connsiteX11" fmla="*/ 269272 w 2835117"/>
                  <a:gd name="connsiteY11" fmla="*/ 36671 h 165544"/>
                  <a:gd name="connsiteX12" fmla="*/ 269272 w 2835117"/>
                  <a:gd name="connsiteY12" fmla="*/ 42767 h 165544"/>
                  <a:gd name="connsiteX13" fmla="*/ 275559 w 2835117"/>
                  <a:gd name="connsiteY13" fmla="*/ 42767 h 165544"/>
                  <a:gd name="connsiteX14" fmla="*/ 275559 w 2835117"/>
                  <a:gd name="connsiteY14" fmla="*/ 48863 h 165544"/>
                  <a:gd name="connsiteX15" fmla="*/ 290227 w 2835117"/>
                  <a:gd name="connsiteY15" fmla="*/ 48863 h 165544"/>
                  <a:gd name="connsiteX16" fmla="*/ 290227 w 2835117"/>
                  <a:gd name="connsiteY16" fmla="*/ 54959 h 165544"/>
                  <a:gd name="connsiteX17" fmla="*/ 302895 w 2835117"/>
                  <a:gd name="connsiteY17" fmla="*/ 54959 h 165544"/>
                  <a:gd name="connsiteX18" fmla="*/ 302895 w 2835117"/>
                  <a:gd name="connsiteY18" fmla="*/ 61150 h 165544"/>
                  <a:gd name="connsiteX19" fmla="*/ 328137 w 2835117"/>
                  <a:gd name="connsiteY19" fmla="*/ 61150 h 165544"/>
                  <a:gd name="connsiteX20" fmla="*/ 328137 w 2835117"/>
                  <a:gd name="connsiteY20" fmla="*/ 67246 h 165544"/>
                  <a:gd name="connsiteX21" fmla="*/ 557403 w 2835117"/>
                  <a:gd name="connsiteY21" fmla="*/ 67246 h 165544"/>
                  <a:gd name="connsiteX22" fmla="*/ 557403 w 2835117"/>
                  <a:gd name="connsiteY22" fmla="*/ 73438 h 165544"/>
                  <a:gd name="connsiteX23" fmla="*/ 670941 w 2835117"/>
                  <a:gd name="connsiteY23" fmla="*/ 73438 h 165544"/>
                  <a:gd name="connsiteX24" fmla="*/ 670941 w 2835117"/>
                  <a:gd name="connsiteY24" fmla="*/ 79629 h 165544"/>
                  <a:gd name="connsiteX25" fmla="*/ 940118 w 2835117"/>
                  <a:gd name="connsiteY25" fmla="*/ 79629 h 165544"/>
                  <a:gd name="connsiteX26" fmla="*/ 940118 w 2835117"/>
                  <a:gd name="connsiteY26" fmla="*/ 85915 h 165544"/>
                  <a:gd name="connsiteX27" fmla="*/ 1013746 w 2835117"/>
                  <a:gd name="connsiteY27" fmla="*/ 85915 h 165544"/>
                  <a:gd name="connsiteX28" fmla="*/ 1013746 w 2835117"/>
                  <a:gd name="connsiteY28" fmla="*/ 92202 h 165544"/>
                  <a:gd name="connsiteX29" fmla="*/ 1093661 w 2835117"/>
                  <a:gd name="connsiteY29" fmla="*/ 92202 h 165544"/>
                  <a:gd name="connsiteX30" fmla="*/ 1093661 w 2835117"/>
                  <a:gd name="connsiteY30" fmla="*/ 98488 h 165544"/>
                  <a:gd name="connsiteX31" fmla="*/ 1255586 w 2835117"/>
                  <a:gd name="connsiteY31" fmla="*/ 98488 h 165544"/>
                  <a:gd name="connsiteX32" fmla="*/ 1255586 w 2835117"/>
                  <a:gd name="connsiteY32" fmla="*/ 104965 h 165544"/>
                  <a:gd name="connsiteX33" fmla="*/ 1272445 w 2835117"/>
                  <a:gd name="connsiteY33" fmla="*/ 104965 h 165544"/>
                  <a:gd name="connsiteX34" fmla="*/ 1272445 w 2835117"/>
                  <a:gd name="connsiteY34" fmla="*/ 111347 h 165544"/>
                  <a:gd name="connsiteX35" fmla="*/ 1390269 w 2835117"/>
                  <a:gd name="connsiteY35" fmla="*/ 111347 h 165544"/>
                  <a:gd name="connsiteX36" fmla="*/ 1390269 w 2835117"/>
                  <a:gd name="connsiteY36" fmla="*/ 117824 h 165544"/>
                  <a:gd name="connsiteX37" fmla="*/ 1482757 w 2835117"/>
                  <a:gd name="connsiteY37" fmla="*/ 117824 h 165544"/>
                  <a:gd name="connsiteX38" fmla="*/ 1482757 w 2835117"/>
                  <a:gd name="connsiteY38" fmla="*/ 124206 h 165544"/>
                  <a:gd name="connsiteX39" fmla="*/ 1501712 w 2835117"/>
                  <a:gd name="connsiteY39" fmla="*/ 124206 h 165544"/>
                  <a:gd name="connsiteX40" fmla="*/ 1501712 w 2835117"/>
                  <a:gd name="connsiteY40" fmla="*/ 130683 h 165544"/>
                  <a:gd name="connsiteX41" fmla="*/ 2355533 w 2835117"/>
                  <a:gd name="connsiteY41" fmla="*/ 130683 h 165544"/>
                  <a:gd name="connsiteX42" fmla="*/ 2355533 w 2835117"/>
                  <a:gd name="connsiteY42" fmla="*/ 165544 h 165544"/>
                  <a:gd name="connsiteX43" fmla="*/ 2835117 w 2835117"/>
                  <a:gd name="connsiteY43" fmla="*/ 165544 h 165544"/>
                  <a:gd name="connsiteX0" fmla="*/ 0 w 2719388"/>
                  <a:gd name="connsiteY0" fmla="*/ 0 h 159448"/>
                  <a:gd name="connsiteX1" fmla="*/ 0 w 2719388"/>
                  <a:gd name="connsiteY1" fmla="*/ 6001 h 159448"/>
                  <a:gd name="connsiteX2" fmla="*/ 37814 w 2719388"/>
                  <a:gd name="connsiteY2" fmla="*/ 6001 h 159448"/>
                  <a:gd name="connsiteX3" fmla="*/ 37814 w 2719388"/>
                  <a:gd name="connsiteY3" fmla="*/ 12192 h 159448"/>
                  <a:gd name="connsiteX4" fmla="*/ 90392 w 2719388"/>
                  <a:gd name="connsiteY4" fmla="*/ 12192 h 159448"/>
                  <a:gd name="connsiteX5" fmla="*/ 90392 w 2719388"/>
                  <a:gd name="connsiteY5" fmla="*/ 18288 h 159448"/>
                  <a:gd name="connsiteX6" fmla="*/ 109347 w 2719388"/>
                  <a:gd name="connsiteY6" fmla="*/ 18288 h 159448"/>
                  <a:gd name="connsiteX7" fmla="*/ 109347 w 2719388"/>
                  <a:gd name="connsiteY7" fmla="*/ 24384 h 159448"/>
                  <a:gd name="connsiteX8" fmla="*/ 119825 w 2719388"/>
                  <a:gd name="connsiteY8" fmla="*/ 24384 h 159448"/>
                  <a:gd name="connsiteX9" fmla="*/ 119825 w 2719388"/>
                  <a:gd name="connsiteY9" fmla="*/ 30575 h 159448"/>
                  <a:gd name="connsiteX10" fmla="*/ 153543 w 2719388"/>
                  <a:gd name="connsiteY10" fmla="*/ 30575 h 159448"/>
                  <a:gd name="connsiteX11" fmla="*/ 153543 w 2719388"/>
                  <a:gd name="connsiteY11" fmla="*/ 36671 h 159448"/>
                  <a:gd name="connsiteX12" fmla="*/ 159830 w 2719388"/>
                  <a:gd name="connsiteY12" fmla="*/ 36671 h 159448"/>
                  <a:gd name="connsiteX13" fmla="*/ 159830 w 2719388"/>
                  <a:gd name="connsiteY13" fmla="*/ 42767 h 159448"/>
                  <a:gd name="connsiteX14" fmla="*/ 174498 w 2719388"/>
                  <a:gd name="connsiteY14" fmla="*/ 42767 h 159448"/>
                  <a:gd name="connsiteX15" fmla="*/ 174498 w 2719388"/>
                  <a:gd name="connsiteY15" fmla="*/ 48863 h 159448"/>
                  <a:gd name="connsiteX16" fmla="*/ 187166 w 2719388"/>
                  <a:gd name="connsiteY16" fmla="*/ 48863 h 159448"/>
                  <a:gd name="connsiteX17" fmla="*/ 187166 w 2719388"/>
                  <a:gd name="connsiteY17" fmla="*/ 55054 h 159448"/>
                  <a:gd name="connsiteX18" fmla="*/ 212408 w 2719388"/>
                  <a:gd name="connsiteY18" fmla="*/ 55054 h 159448"/>
                  <a:gd name="connsiteX19" fmla="*/ 212408 w 2719388"/>
                  <a:gd name="connsiteY19" fmla="*/ 61150 h 159448"/>
                  <a:gd name="connsiteX20" fmla="*/ 441674 w 2719388"/>
                  <a:gd name="connsiteY20" fmla="*/ 61150 h 159448"/>
                  <a:gd name="connsiteX21" fmla="*/ 441674 w 2719388"/>
                  <a:gd name="connsiteY21" fmla="*/ 67342 h 159448"/>
                  <a:gd name="connsiteX22" fmla="*/ 555212 w 2719388"/>
                  <a:gd name="connsiteY22" fmla="*/ 67342 h 159448"/>
                  <a:gd name="connsiteX23" fmla="*/ 555212 w 2719388"/>
                  <a:gd name="connsiteY23" fmla="*/ 73533 h 159448"/>
                  <a:gd name="connsiteX24" fmla="*/ 824389 w 2719388"/>
                  <a:gd name="connsiteY24" fmla="*/ 73533 h 159448"/>
                  <a:gd name="connsiteX25" fmla="*/ 824389 w 2719388"/>
                  <a:gd name="connsiteY25" fmla="*/ 79819 h 159448"/>
                  <a:gd name="connsiteX26" fmla="*/ 898017 w 2719388"/>
                  <a:gd name="connsiteY26" fmla="*/ 79819 h 159448"/>
                  <a:gd name="connsiteX27" fmla="*/ 898017 w 2719388"/>
                  <a:gd name="connsiteY27" fmla="*/ 86106 h 159448"/>
                  <a:gd name="connsiteX28" fmla="*/ 977932 w 2719388"/>
                  <a:gd name="connsiteY28" fmla="*/ 86106 h 159448"/>
                  <a:gd name="connsiteX29" fmla="*/ 977932 w 2719388"/>
                  <a:gd name="connsiteY29" fmla="*/ 92392 h 159448"/>
                  <a:gd name="connsiteX30" fmla="*/ 1139857 w 2719388"/>
                  <a:gd name="connsiteY30" fmla="*/ 92392 h 159448"/>
                  <a:gd name="connsiteX31" fmla="*/ 1139857 w 2719388"/>
                  <a:gd name="connsiteY31" fmla="*/ 98869 h 159448"/>
                  <a:gd name="connsiteX32" fmla="*/ 1156716 w 2719388"/>
                  <a:gd name="connsiteY32" fmla="*/ 98869 h 159448"/>
                  <a:gd name="connsiteX33" fmla="*/ 1156716 w 2719388"/>
                  <a:gd name="connsiteY33" fmla="*/ 105251 h 159448"/>
                  <a:gd name="connsiteX34" fmla="*/ 1274540 w 2719388"/>
                  <a:gd name="connsiteY34" fmla="*/ 105251 h 159448"/>
                  <a:gd name="connsiteX35" fmla="*/ 1274540 w 2719388"/>
                  <a:gd name="connsiteY35" fmla="*/ 111728 h 159448"/>
                  <a:gd name="connsiteX36" fmla="*/ 1367028 w 2719388"/>
                  <a:gd name="connsiteY36" fmla="*/ 111728 h 159448"/>
                  <a:gd name="connsiteX37" fmla="*/ 1367028 w 2719388"/>
                  <a:gd name="connsiteY37" fmla="*/ 118110 h 159448"/>
                  <a:gd name="connsiteX38" fmla="*/ 1385983 w 2719388"/>
                  <a:gd name="connsiteY38" fmla="*/ 118110 h 159448"/>
                  <a:gd name="connsiteX39" fmla="*/ 1385983 w 2719388"/>
                  <a:gd name="connsiteY39" fmla="*/ 124587 h 159448"/>
                  <a:gd name="connsiteX40" fmla="*/ 2239804 w 2719388"/>
                  <a:gd name="connsiteY40" fmla="*/ 124587 h 159448"/>
                  <a:gd name="connsiteX41" fmla="*/ 2239804 w 2719388"/>
                  <a:gd name="connsiteY41" fmla="*/ 159448 h 159448"/>
                  <a:gd name="connsiteX42" fmla="*/ 2719388 w 2719388"/>
                  <a:gd name="connsiteY42" fmla="*/ 159448 h 159448"/>
                  <a:gd name="connsiteX0" fmla="*/ 0 w 2719388"/>
                  <a:gd name="connsiteY0" fmla="*/ 0 h 159448"/>
                  <a:gd name="connsiteX1" fmla="*/ 37814 w 2719388"/>
                  <a:gd name="connsiteY1" fmla="*/ 6001 h 159448"/>
                  <a:gd name="connsiteX2" fmla="*/ 37814 w 2719388"/>
                  <a:gd name="connsiteY2" fmla="*/ 12192 h 159448"/>
                  <a:gd name="connsiteX3" fmla="*/ 90392 w 2719388"/>
                  <a:gd name="connsiteY3" fmla="*/ 12192 h 159448"/>
                  <a:gd name="connsiteX4" fmla="*/ 90392 w 2719388"/>
                  <a:gd name="connsiteY4" fmla="*/ 18288 h 159448"/>
                  <a:gd name="connsiteX5" fmla="*/ 109347 w 2719388"/>
                  <a:gd name="connsiteY5" fmla="*/ 18288 h 159448"/>
                  <a:gd name="connsiteX6" fmla="*/ 109347 w 2719388"/>
                  <a:gd name="connsiteY6" fmla="*/ 24384 h 159448"/>
                  <a:gd name="connsiteX7" fmla="*/ 119825 w 2719388"/>
                  <a:gd name="connsiteY7" fmla="*/ 24384 h 159448"/>
                  <a:gd name="connsiteX8" fmla="*/ 119825 w 2719388"/>
                  <a:gd name="connsiteY8" fmla="*/ 30575 h 159448"/>
                  <a:gd name="connsiteX9" fmla="*/ 153543 w 2719388"/>
                  <a:gd name="connsiteY9" fmla="*/ 30575 h 159448"/>
                  <a:gd name="connsiteX10" fmla="*/ 153543 w 2719388"/>
                  <a:gd name="connsiteY10" fmla="*/ 36671 h 159448"/>
                  <a:gd name="connsiteX11" fmla="*/ 159830 w 2719388"/>
                  <a:gd name="connsiteY11" fmla="*/ 36671 h 159448"/>
                  <a:gd name="connsiteX12" fmla="*/ 159830 w 2719388"/>
                  <a:gd name="connsiteY12" fmla="*/ 42767 h 159448"/>
                  <a:gd name="connsiteX13" fmla="*/ 174498 w 2719388"/>
                  <a:gd name="connsiteY13" fmla="*/ 42767 h 159448"/>
                  <a:gd name="connsiteX14" fmla="*/ 174498 w 2719388"/>
                  <a:gd name="connsiteY14" fmla="*/ 48863 h 159448"/>
                  <a:gd name="connsiteX15" fmla="*/ 187166 w 2719388"/>
                  <a:gd name="connsiteY15" fmla="*/ 48863 h 159448"/>
                  <a:gd name="connsiteX16" fmla="*/ 187166 w 2719388"/>
                  <a:gd name="connsiteY16" fmla="*/ 55054 h 159448"/>
                  <a:gd name="connsiteX17" fmla="*/ 212408 w 2719388"/>
                  <a:gd name="connsiteY17" fmla="*/ 55054 h 159448"/>
                  <a:gd name="connsiteX18" fmla="*/ 212408 w 2719388"/>
                  <a:gd name="connsiteY18" fmla="*/ 61150 h 159448"/>
                  <a:gd name="connsiteX19" fmla="*/ 441674 w 2719388"/>
                  <a:gd name="connsiteY19" fmla="*/ 61150 h 159448"/>
                  <a:gd name="connsiteX20" fmla="*/ 441674 w 2719388"/>
                  <a:gd name="connsiteY20" fmla="*/ 67342 h 159448"/>
                  <a:gd name="connsiteX21" fmla="*/ 555212 w 2719388"/>
                  <a:gd name="connsiteY21" fmla="*/ 67342 h 159448"/>
                  <a:gd name="connsiteX22" fmla="*/ 555212 w 2719388"/>
                  <a:gd name="connsiteY22" fmla="*/ 73533 h 159448"/>
                  <a:gd name="connsiteX23" fmla="*/ 824389 w 2719388"/>
                  <a:gd name="connsiteY23" fmla="*/ 73533 h 159448"/>
                  <a:gd name="connsiteX24" fmla="*/ 824389 w 2719388"/>
                  <a:gd name="connsiteY24" fmla="*/ 79819 h 159448"/>
                  <a:gd name="connsiteX25" fmla="*/ 898017 w 2719388"/>
                  <a:gd name="connsiteY25" fmla="*/ 79819 h 159448"/>
                  <a:gd name="connsiteX26" fmla="*/ 898017 w 2719388"/>
                  <a:gd name="connsiteY26" fmla="*/ 86106 h 159448"/>
                  <a:gd name="connsiteX27" fmla="*/ 977932 w 2719388"/>
                  <a:gd name="connsiteY27" fmla="*/ 86106 h 159448"/>
                  <a:gd name="connsiteX28" fmla="*/ 977932 w 2719388"/>
                  <a:gd name="connsiteY28" fmla="*/ 92392 h 159448"/>
                  <a:gd name="connsiteX29" fmla="*/ 1139857 w 2719388"/>
                  <a:gd name="connsiteY29" fmla="*/ 92392 h 159448"/>
                  <a:gd name="connsiteX30" fmla="*/ 1139857 w 2719388"/>
                  <a:gd name="connsiteY30" fmla="*/ 98869 h 159448"/>
                  <a:gd name="connsiteX31" fmla="*/ 1156716 w 2719388"/>
                  <a:gd name="connsiteY31" fmla="*/ 98869 h 159448"/>
                  <a:gd name="connsiteX32" fmla="*/ 1156716 w 2719388"/>
                  <a:gd name="connsiteY32" fmla="*/ 105251 h 159448"/>
                  <a:gd name="connsiteX33" fmla="*/ 1274540 w 2719388"/>
                  <a:gd name="connsiteY33" fmla="*/ 105251 h 159448"/>
                  <a:gd name="connsiteX34" fmla="*/ 1274540 w 2719388"/>
                  <a:gd name="connsiteY34" fmla="*/ 111728 h 159448"/>
                  <a:gd name="connsiteX35" fmla="*/ 1367028 w 2719388"/>
                  <a:gd name="connsiteY35" fmla="*/ 111728 h 159448"/>
                  <a:gd name="connsiteX36" fmla="*/ 1367028 w 2719388"/>
                  <a:gd name="connsiteY36" fmla="*/ 118110 h 159448"/>
                  <a:gd name="connsiteX37" fmla="*/ 1385983 w 2719388"/>
                  <a:gd name="connsiteY37" fmla="*/ 118110 h 159448"/>
                  <a:gd name="connsiteX38" fmla="*/ 1385983 w 2719388"/>
                  <a:gd name="connsiteY38" fmla="*/ 124587 h 159448"/>
                  <a:gd name="connsiteX39" fmla="*/ 2239804 w 2719388"/>
                  <a:gd name="connsiteY39" fmla="*/ 124587 h 159448"/>
                  <a:gd name="connsiteX40" fmla="*/ 2239804 w 2719388"/>
                  <a:gd name="connsiteY40" fmla="*/ 159448 h 159448"/>
                  <a:gd name="connsiteX41" fmla="*/ 2719388 w 2719388"/>
                  <a:gd name="connsiteY41" fmla="*/ 159448 h 159448"/>
                  <a:gd name="connsiteX0" fmla="*/ 0 w 2681574"/>
                  <a:gd name="connsiteY0" fmla="*/ 0 h 153447"/>
                  <a:gd name="connsiteX1" fmla="*/ 0 w 2681574"/>
                  <a:gd name="connsiteY1" fmla="*/ 6191 h 153447"/>
                  <a:gd name="connsiteX2" fmla="*/ 52578 w 2681574"/>
                  <a:gd name="connsiteY2" fmla="*/ 6191 h 153447"/>
                  <a:gd name="connsiteX3" fmla="*/ 52578 w 2681574"/>
                  <a:gd name="connsiteY3" fmla="*/ 12287 h 153447"/>
                  <a:gd name="connsiteX4" fmla="*/ 71533 w 2681574"/>
                  <a:gd name="connsiteY4" fmla="*/ 12287 h 153447"/>
                  <a:gd name="connsiteX5" fmla="*/ 71533 w 2681574"/>
                  <a:gd name="connsiteY5" fmla="*/ 18383 h 153447"/>
                  <a:gd name="connsiteX6" fmla="*/ 82011 w 2681574"/>
                  <a:gd name="connsiteY6" fmla="*/ 18383 h 153447"/>
                  <a:gd name="connsiteX7" fmla="*/ 82011 w 2681574"/>
                  <a:gd name="connsiteY7" fmla="*/ 24574 h 153447"/>
                  <a:gd name="connsiteX8" fmla="*/ 115729 w 2681574"/>
                  <a:gd name="connsiteY8" fmla="*/ 24574 h 153447"/>
                  <a:gd name="connsiteX9" fmla="*/ 115729 w 2681574"/>
                  <a:gd name="connsiteY9" fmla="*/ 30670 h 153447"/>
                  <a:gd name="connsiteX10" fmla="*/ 122016 w 2681574"/>
                  <a:gd name="connsiteY10" fmla="*/ 30670 h 153447"/>
                  <a:gd name="connsiteX11" fmla="*/ 122016 w 2681574"/>
                  <a:gd name="connsiteY11" fmla="*/ 36766 h 153447"/>
                  <a:gd name="connsiteX12" fmla="*/ 136684 w 2681574"/>
                  <a:gd name="connsiteY12" fmla="*/ 36766 h 153447"/>
                  <a:gd name="connsiteX13" fmla="*/ 136684 w 2681574"/>
                  <a:gd name="connsiteY13" fmla="*/ 42862 h 153447"/>
                  <a:gd name="connsiteX14" fmla="*/ 149352 w 2681574"/>
                  <a:gd name="connsiteY14" fmla="*/ 42862 h 153447"/>
                  <a:gd name="connsiteX15" fmla="*/ 149352 w 2681574"/>
                  <a:gd name="connsiteY15" fmla="*/ 49053 h 153447"/>
                  <a:gd name="connsiteX16" fmla="*/ 174594 w 2681574"/>
                  <a:gd name="connsiteY16" fmla="*/ 49053 h 153447"/>
                  <a:gd name="connsiteX17" fmla="*/ 174594 w 2681574"/>
                  <a:gd name="connsiteY17" fmla="*/ 55149 h 153447"/>
                  <a:gd name="connsiteX18" fmla="*/ 403860 w 2681574"/>
                  <a:gd name="connsiteY18" fmla="*/ 55149 h 153447"/>
                  <a:gd name="connsiteX19" fmla="*/ 403860 w 2681574"/>
                  <a:gd name="connsiteY19" fmla="*/ 61341 h 153447"/>
                  <a:gd name="connsiteX20" fmla="*/ 517398 w 2681574"/>
                  <a:gd name="connsiteY20" fmla="*/ 61341 h 153447"/>
                  <a:gd name="connsiteX21" fmla="*/ 517398 w 2681574"/>
                  <a:gd name="connsiteY21" fmla="*/ 67532 h 153447"/>
                  <a:gd name="connsiteX22" fmla="*/ 786575 w 2681574"/>
                  <a:gd name="connsiteY22" fmla="*/ 67532 h 153447"/>
                  <a:gd name="connsiteX23" fmla="*/ 786575 w 2681574"/>
                  <a:gd name="connsiteY23" fmla="*/ 73818 h 153447"/>
                  <a:gd name="connsiteX24" fmla="*/ 860203 w 2681574"/>
                  <a:gd name="connsiteY24" fmla="*/ 73818 h 153447"/>
                  <a:gd name="connsiteX25" fmla="*/ 860203 w 2681574"/>
                  <a:gd name="connsiteY25" fmla="*/ 80105 h 153447"/>
                  <a:gd name="connsiteX26" fmla="*/ 940118 w 2681574"/>
                  <a:gd name="connsiteY26" fmla="*/ 80105 h 153447"/>
                  <a:gd name="connsiteX27" fmla="*/ 940118 w 2681574"/>
                  <a:gd name="connsiteY27" fmla="*/ 86391 h 153447"/>
                  <a:gd name="connsiteX28" fmla="*/ 1102043 w 2681574"/>
                  <a:gd name="connsiteY28" fmla="*/ 86391 h 153447"/>
                  <a:gd name="connsiteX29" fmla="*/ 1102043 w 2681574"/>
                  <a:gd name="connsiteY29" fmla="*/ 92868 h 153447"/>
                  <a:gd name="connsiteX30" fmla="*/ 1118902 w 2681574"/>
                  <a:gd name="connsiteY30" fmla="*/ 92868 h 153447"/>
                  <a:gd name="connsiteX31" fmla="*/ 1118902 w 2681574"/>
                  <a:gd name="connsiteY31" fmla="*/ 99250 h 153447"/>
                  <a:gd name="connsiteX32" fmla="*/ 1236726 w 2681574"/>
                  <a:gd name="connsiteY32" fmla="*/ 99250 h 153447"/>
                  <a:gd name="connsiteX33" fmla="*/ 1236726 w 2681574"/>
                  <a:gd name="connsiteY33" fmla="*/ 105727 h 153447"/>
                  <a:gd name="connsiteX34" fmla="*/ 1329214 w 2681574"/>
                  <a:gd name="connsiteY34" fmla="*/ 105727 h 153447"/>
                  <a:gd name="connsiteX35" fmla="*/ 1329214 w 2681574"/>
                  <a:gd name="connsiteY35" fmla="*/ 112109 h 153447"/>
                  <a:gd name="connsiteX36" fmla="*/ 1348169 w 2681574"/>
                  <a:gd name="connsiteY36" fmla="*/ 112109 h 153447"/>
                  <a:gd name="connsiteX37" fmla="*/ 1348169 w 2681574"/>
                  <a:gd name="connsiteY37" fmla="*/ 118586 h 153447"/>
                  <a:gd name="connsiteX38" fmla="*/ 2201990 w 2681574"/>
                  <a:gd name="connsiteY38" fmla="*/ 118586 h 153447"/>
                  <a:gd name="connsiteX39" fmla="*/ 2201990 w 2681574"/>
                  <a:gd name="connsiteY39" fmla="*/ 153447 h 153447"/>
                  <a:gd name="connsiteX40" fmla="*/ 2681574 w 2681574"/>
                  <a:gd name="connsiteY40" fmla="*/ 153447 h 153447"/>
                  <a:gd name="connsiteX0" fmla="*/ 0 w 2681574"/>
                  <a:gd name="connsiteY0" fmla="*/ 0 h 147256"/>
                  <a:gd name="connsiteX1" fmla="*/ 52578 w 2681574"/>
                  <a:gd name="connsiteY1" fmla="*/ 0 h 147256"/>
                  <a:gd name="connsiteX2" fmla="*/ 52578 w 2681574"/>
                  <a:gd name="connsiteY2" fmla="*/ 6096 h 147256"/>
                  <a:gd name="connsiteX3" fmla="*/ 71533 w 2681574"/>
                  <a:gd name="connsiteY3" fmla="*/ 6096 h 147256"/>
                  <a:gd name="connsiteX4" fmla="*/ 71533 w 2681574"/>
                  <a:gd name="connsiteY4" fmla="*/ 12192 h 147256"/>
                  <a:gd name="connsiteX5" fmla="*/ 82011 w 2681574"/>
                  <a:gd name="connsiteY5" fmla="*/ 12192 h 147256"/>
                  <a:gd name="connsiteX6" fmla="*/ 82011 w 2681574"/>
                  <a:gd name="connsiteY6" fmla="*/ 18383 h 147256"/>
                  <a:gd name="connsiteX7" fmla="*/ 115729 w 2681574"/>
                  <a:gd name="connsiteY7" fmla="*/ 18383 h 147256"/>
                  <a:gd name="connsiteX8" fmla="*/ 115729 w 2681574"/>
                  <a:gd name="connsiteY8" fmla="*/ 24479 h 147256"/>
                  <a:gd name="connsiteX9" fmla="*/ 122016 w 2681574"/>
                  <a:gd name="connsiteY9" fmla="*/ 24479 h 147256"/>
                  <a:gd name="connsiteX10" fmla="*/ 122016 w 2681574"/>
                  <a:gd name="connsiteY10" fmla="*/ 30575 h 147256"/>
                  <a:gd name="connsiteX11" fmla="*/ 136684 w 2681574"/>
                  <a:gd name="connsiteY11" fmla="*/ 30575 h 147256"/>
                  <a:gd name="connsiteX12" fmla="*/ 136684 w 2681574"/>
                  <a:gd name="connsiteY12" fmla="*/ 36671 h 147256"/>
                  <a:gd name="connsiteX13" fmla="*/ 149352 w 2681574"/>
                  <a:gd name="connsiteY13" fmla="*/ 36671 h 147256"/>
                  <a:gd name="connsiteX14" fmla="*/ 149352 w 2681574"/>
                  <a:gd name="connsiteY14" fmla="*/ 42862 h 147256"/>
                  <a:gd name="connsiteX15" fmla="*/ 174594 w 2681574"/>
                  <a:gd name="connsiteY15" fmla="*/ 42862 h 147256"/>
                  <a:gd name="connsiteX16" fmla="*/ 174594 w 2681574"/>
                  <a:gd name="connsiteY16" fmla="*/ 48958 h 147256"/>
                  <a:gd name="connsiteX17" fmla="*/ 403860 w 2681574"/>
                  <a:gd name="connsiteY17" fmla="*/ 48958 h 147256"/>
                  <a:gd name="connsiteX18" fmla="*/ 403860 w 2681574"/>
                  <a:gd name="connsiteY18" fmla="*/ 55150 h 147256"/>
                  <a:gd name="connsiteX19" fmla="*/ 517398 w 2681574"/>
                  <a:gd name="connsiteY19" fmla="*/ 55150 h 147256"/>
                  <a:gd name="connsiteX20" fmla="*/ 517398 w 2681574"/>
                  <a:gd name="connsiteY20" fmla="*/ 61341 h 147256"/>
                  <a:gd name="connsiteX21" fmla="*/ 786575 w 2681574"/>
                  <a:gd name="connsiteY21" fmla="*/ 61341 h 147256"/>
                  <a:gd name="connsiteX22" fmla="*/ 786575 w 2681574"/>
                  <a:gd name="connsiteY22" fmla="*/ 67627 h 147256"/>
                  <a:gd name="connsiteX23" fmla="*/ 860203 w 2681574"/>
                  <a:gd name="connsiteY23" fmla="*/ 67627 h 147256"/>
                  <a:gd name="connsiteX24" fmla="*/ 860203 w 2681574"/>
                  <a:gd name="connsiteY24" fmla="*/ 73914 h 147256"/>
                  <a:gd name="connsiteX25" fmla="*/ 940118 w 2681574"/>
                  <a:gd name="connsiteY25" fmla="*/ 73914 h 147256"/>
                  <a:gd name="connsiteX26" fmla="*/ 940118 w 2681574"/>
                  <a:gd name="connsiteY26" fmla="*/ 80200 h 147256"/>
                  <a:gd name="connsiteX27" fmla="*/ 1102043 w 2681574"/>
                  <a:gd name="connsiteY27" fmla="*/ 80200 h 147256"/>
                  <a:gd name="connsiteX28" fmla="*/ 1102043 w 2681574"/>
                  <a:gd name="connsiteY28" fmla="*/ 86677 h 147256"/>
                  <a:gd name="connsiteX29" fmla="*/ 1118902 w 2681574"/>
                  <a:gd name="connsiteY29" fmla="*/ 86677 h 147256"/>
                  <a:gd name="connsiteX30" fmla="*/ 1118902 w 2681574"/>
                  <a:gd name="connsiteY30" fmla="*/ 93059 h 147256"/>
                  <a:gd name="connsiteX31" fmla="*/ 1236726 w 2681574"/>
                  <a:gd name="connsiteY31" fmla="*/ 93059 h 147256"/>
                  <a:gd name="connsiteX32" fmla="*/ 1236726 w 2681574"/>
                  <a:gd name="connsiteY32" fmla="*/ 99536 h 147256"/>
                  <a:gd name="connsiteX33" fmla="*/ 1329214 w 2681574"/>
                  <a:gd name="connsiteY33" fmla="*/ 99536 h 147256"/>
                  <a:gd name="connsiteX34" fmla="*/ 1329214 w 2681574"/>
                  <a:gd name="connsiteY34" fmla="*/ 105918 h 147256"/>
                  <a:gd name="connsiteX35" fmla="*/ 1348169 w 2681574"/>
                  <a:gd name="connsiteY35" fmla="*/ 105918 h 147256"/>
                  <a:gd name="connsiteX36" fmla="*/ 1348169 w 2681574"/>
                  <a:gd name="connsiteY36" fmla="*/ 112395 h 147256"/>
                  <a:gd name="connsiteX37" fmla="*/ 2201990 w 2681574"/>
                  <a:gd name="connsiteY37" fmla="*/ 112395 h 147256"/>
                  <a:gd name="connsiteX38" fmla="*/ 2201990 w 2681574"/>
                  <a:gd name="connsiteY38" fmla="*/ 147256 h 147256"/>
                  <a:gd name="connsiteX39" fmla="*/ 2681574 w 2681574"/>
                  <a:gd name="connsiteY39" fmla="*/ 147256 h 147256"/>
                  <a:gd name="connsiteX0" fmla="*/ 0 w 2628996"/>
                  <a:gd name="connsiteY0" fmla="*/ 0 h 147256"/>
                  <a:gd name="connsiteX1" fmla="*/ 0 w 2628996"/>
                  <a:gd name="connsiteY1" fmla="*/ 6096 h 147256"/>
                  <a:gd name="connsiteX2" fmla="*/ 18955 w 2628996"/>
                  <a:gd name="connsiteY2" fmla="*/ 6096 h 147256"/>
                  <a:gd name="connsiteX3" fmla="*/ 18955 w 2628996"/>
                  <a:gd name="connsiteY3" fmla="*/ 12192 h 147256"/>
                  <a:gd name="connsiteX4" fmla="*/ 29433 w 2628996"/>
                  <a:gd name="connsiteY4" fmla="*/ 12192 h 147256"/>
                  <a:gd name="connsiteX5" fmla="*/ 29433 w 2628996"/>
                  <a:gd name="connsiteY5" fmla="*/ 18383 h 147256"/>
                  <a:gd name="connsiteX6" fmla="*/ 63151 w 2628996"/>
                  <a:gd name="connsiteY6" fmla="*/ 18383 h 147256"/>
                  <a:gd name="connsiteX7" fmla="*/ 63151 w 2628996"/>
                  <a:gd name="connsiteY7" fmla="*/ 24479 h 147256"/>
                  <a:gd name="connsiteX8" fmla="*/ 69438 w 2628996"/>
                  <a:gd name="connsiteY8" fmla="*/ 24479 h 147256"/>
                  <a:gd name="connsiteX9" fmla="*/ 69438 w 2628996"/>
                  <a:gd name="connsiteY9" fmla="*/ 30575 h 147256"/>
                  <a:gd name="connsiteX10" fmla="*/ 84106 w 2628996"/>
                  <a:gd name="connsiteY10" fmla="*/ 30575 h 147256"/>
                  <a:gd name="connsiteX11" fmla="*/ 84106 w 2628996"/>
                  <a:gd name="connsiteY11" fmla="*/ 36671 h 147256"/>
                  <a:gd name="connsiteX12" fmla="*/ 96774 w 2628996"/>
                  <a:gd name="connsiteY12" fmla="*/ 36671 h 147256"/>
                  <a:gd name="connsiteX13" fmla="*/ 96774 w 2628996"/>
                  <a:gd name="connsiteY13" fmla="*/ 42862 h 147256"/>
                  <a:gd name="connsiteX14" fmla="*/ 122016 w 2628996"/>
                  <a:gd name="connsiteY14" fmla="*/ 42862 h 147256"/>
                  <a:gd name="connsiteX15" fmla="*/ 122016 w 2628996"/>
                  <a:gd name="connsiteY15" fmla="*/ 48958 h 147256"/>
                  <a:gd name="connsiteX16" fmla="*/ 351282 w 2628996"/>
                  <a:gd name="connsiteY16" fmla="*/ 48958 h 147256"/>
                  <a:gd name="connsiteX17" fmla="*/ 351282 w 2628996"/>
                  <a:gd name="connsiteY17" fmla="*/ 55150 h 147256"/>
                  <a:gd name="connsiteX18" fmla="*/ 464820 w 2628996"/>
                  <a:gd name="connsiteY18" fmla="*/ 55150 h 147256"/>
                  <a:gd name="connsiteX19" fmla="*/ 464820 w 2628996"/>
                  <a:gd name="connsiteY19" fmla="*/ 61341 h 147256"/>
                  <a:gd name="connsiteX20" fmla="*/ 733997 w 2628996"/>
                  <a:gd name="connsiteY20" fmla="*/ 61341 h 147256"/>
                  <a:gd name="connsiteX21" fmla="*/ 733997 w 2628996"/>
                  <a:gd name="connsiteY21" fmla="*/ 67627 h 147256"/>
                  <a:gd name="connsiteX22" fmla="*/ 807625 w 2628996"/>
                  <a:gd name="connsiteY22" fmla="*/ 67627 h 147256"/>
                  <a:gd name="connsiteX23" fmla="*/ 807625 w 2628996"/>
                  <a:gd name="connsiteY23" fmla="*/ 73914 h 147256"/>
                  <a:gd name="connsiteX24" fmla="*/ 887540 w 2628996"/>
                  <a:gd name="connsiteY24" fmla="*/ 73914 h 147256"/>
                  <a:gd name="connsiteX25" fmla="*/ 887540 w 2628996"/>
                  <a:gd name="connsiteY25" fmla="*/ 80200 h 147256"/>
                  <a:gd name="connsiteX26" fmla="*/ 1049465 w 2628996"/>
                  <a:gd name="connsiteY26" fmla="*/ 80200 h 147256"/>
                  <a:gd name="connsiteX27" fmla="*/ 1049465 w 2628996"/>
                  <a:gd name="connsiteY27" fmla="*/ 86677 h 147256"/>
                  <a:gd name="connsiteX28" fmla="*/ 1066324 w 2628996"/>
                  <a:gd name="connsiteY28" fmla="*/ 86677 h 147256"/>
                  <a:gd name="connsiteX29" fmla="*/ 1066324 w 2628996"/>
                  <a:gd name="connsiteY29" fmla="*/ 93059 h 147256"/>
                  <a:gd name="connsiteX30" fmla="*/ 1184148 w 2628996"/>
                  <a:gd name="connsiteY30" fmla="*/ 93059 h 147256"/>
                  <a:gd name="connsiteX31" fmla="*/ 1184148 w 2628996"/>
                  <a:gd name="connsiteY31" fmla="*/ 99536 h 147256"/>
                  <a:gd name="connsiteX32" fmla="*/ 1276636 w 2628996"/>
                  <a:gd name="connsiteY32" fmla="*/ 99536 h 147256"/>
                  <a:gd name="connsiteX33" fmla="*/ 1276636 w 2628996"/>
                  <a:gd name="connsiteY33" fmla="*/ 105918 h 147256"/>
                  <a:gd name="connsiteX34" fmla="*/ 1295591 w 2628996"/>
                  <a:gd name="connsiteY34" fmla="*/ 105918 h 147256"/>
                  <a:gd name="connsiteX35" fmla="*/ 1295591 w 2628996"/>
                  <a:gd name="connsiteY35" fmla="*/ 112395 h 147256"/>
                  <a:gd name="connsiteX36" fmla="*/ 2149412 w 2628996"/>
                  <a:gd name="connsiteY36" fmla="*/ 112395 h 147256"/>
                  <a:gd name="connsiteX37" fmla="*/ 2149412 w 2628996"/>
                  <a:gd name="connsiteY37" fmla="*/ 147256 h 147256"/>
                  <a:gd name="connsiteX38" fmla="*/ 2628996 w 2628996"/>
                  <a:gd name="connsiteY38" fmla="*/ 147256 h 147256"/>
                  <a:gd name="connsiteX0" fmla="*/ 0 w 2628996"/>
                  <a:gd name="connsiteY0" fmla="*/ 0 h 147256"/>
                  <a:gd name="connsiteX1" fmla="*/ 18955 w 2628996"/>
                  <a:gd name="connsiteY1" fmla="*/ 6096 h 147256"/>
                  <a:gd name="connsiteX2" fmla="*/ 18955 w 2628996"/>
                  <a:gd name="connsiteY2" fmla="*/ 12192 h 147256"/>
                  <a:gd name="connsiteX3" fmla="*/ 29433 w 2628996"/>
                  <a:gd name="connsiteY3" fmla="*/ 12192 h 147256"/>
                  <a:gd name="connsiteX4" fmla="*/ 29433 w 2628996"/>
                  <a:gd name="connsiteY4" fmla="*/ 18383 h 147256"/>
                  <a:gd name="connsiteX5" fmla="*/ 63151 w 2628996"/>
                  <a:gd name="connsiteY5" fmla="*/ 18383 h 147256"/>
                  <a:gd name="connsiteX6" fmla="*/ 63151 w 2628996"/>
                  <a:gd name="connsiteY6" fmla="*/ 24479 h 147256"/>
                  <a:gd name="connsiteX7" fmla="*/ 69438 w 2628996"/>
                  <a:gd name="connsiteY7" fmla="*/ 24479 h 147256"/>
                  <a:gd name="connsiteX8" fmla="*/ 69438 w 2628996"/>
                  <a:gd name="connsiteY8" fmla="*/ 30575 h 147256"/>
                  <a:gd name="connsiteX9" fmla="*/ 84106 w 2628996"/>
                  <a:gd name="connsiteY9" fmla="*/ 30575 h 147256"/>
                  <a:gd name="connsiteX10" fmla="*/ 84106 w 2628996"/>
                  <a:gd name="connsiteY10" fmla="*/ 36671 h 147256"/>
                  <a:gd name="connsiteX11" fmla="*/ 96774 w 2628996"/>
                  <a:gd name="connsiteY11" fmla="*/ 36671 h 147256"/>
                  <a:gd name="connsiteX12" fmla="*/ 96774 w 2628996"/>
                  <a:gd name="connsiteY12" fmla="*/ 42862 h 147256"/>
                  <a:gd name="connsiteX13" fmla="*/ 122016 w 2628996"/>
                  <a:gd name="connsiteY13" fmla="*/ 42862 h 147256"/>
                  <a:gd name="connsiteX14" fmla="*/ 122016 w 2628996"/>
                  <a:gd name="connsiteY14" fmla="*/ 48958 h 147256"/>
                  <a:gd name="connsiteX15" fmla="*/ 351282 w 2628996"/>
                  <a:gd name="connsiteY15" fmla="*/ 48958 h 147256"/>
                  <a:gd name="connsiteX16" fmla="*/ 351282 w 2628996"/>
                  <a:gd name="connsiteY16" fmla="*/ 55150 h 147256"/>
                  <a:gd name="connsiteX17" fmla="*/ 464820 w 2628996"/>
                  <a:gd name="connsiteY17" fmla="*/ 55150 h 147256"/>
                  <a:gd name="connsiteX18" fmla="*/ 464820 w 2628996"/>
                  <a:gd name="connsiteY18" fmla="*/ 61341 h 147256"/>
                  <a:gd name="connsiteX19" fmla="*/ 733997 w 2628996"/>
                  <a:gd name="connsiteY19" fmla="*/ 61341 h 147256"/>
                  <a:gd name="connsiteX20" fmla="*/ 733997 w 2628996"/>
                  <a:gd name="connsiteY20" fmla="*/ 67627 h 147256"/>
                  <a:gd name="connsiteX21" fmla="*/ 807625 w 2628996"/>
                  <a:gd name="connsiteY21" fmla="*/ 67627 h 147256"/>
                  <a:gd name="connsiteX22" fmla="*/ 807625 w 2628996"/>
                  <a:gd name="connsiteY22" fmla="*/ 73914 h 147256"/>
                  <a:gd name="connsiteX23" fmla="*/ 887540 w 2628996"/>
                  <a:gd name="connsiteY23" fmla="*/ 73914 h 147256"/>
                  <a:gd name="connsiteX24" fmla="*/ 887540 w 2628996"/>
                  <a:gd name="connsiteY24" fmla="*/ 80200 h 147256"/>
                  <a:gd name="connsiteX25" fmla="*/ 1049465 w 2628996"/>
                  <a:gd name="connsiteY25" fmla="*/ 80200 h 147256"/>
                  <a:gd name="connsiteX26" fmla="*/ 1049465 w 2628996"/>
                  <a:gd name="connsiteY26" fmla="*/ 86677 h 147256"/>
                  <a:gd name="connsiteX27" fmla="*/ 1066324 w 2628996"/>
                  <a:gd name="connsiteY27" fmla="*/ 86677 h 147256"/>
                  <a:gd name="connsiteX28" fmla="*/ 1066324 w 2628996"/>
                  <a:gd name="connsiteY28" fmla="*/ 93059 h 147256"/>
                  <a:gd name="connsiteX29" fmla="*/ 1184148 w 2628996"/>
                  <a:gd name="connsiteY29" fmla="*/ 93059 h 147256"/>
                  <a:gd name="connsiteX30" fmla="*/ 1184148 w 2628996"/>
                  <a:gd name="connsiteY30" fmla="*/ 99536 h 147256"/>
                  <a:gd name="connsiteX31" fmla="*/ 1276636 w 2628996"/>
                  <a:gd name="connsiteY31" fmla="*/ 99536 h 147256"/>
                  <a:gd name="connsiteX32" fmla="*/ 1276636 w 2628996"/>
                  <a:gd name="connsiteY32" fmla="*/ 105918 h 147256"/>
                  <a:gd name="connsiteX33" fmla="*/ 1295591 w 2628996"/>
                  <a:gd name="connsiteY33" fmla="*/ 105918 h 147256"/>
                  <a:gd name="connsiteX34" fmla="*/ 1295591 w 2628996"/>
                  <a:gd name="connsiteY34" fmla="*/ 112395 h 147256"/>
                  <a:gd name="connsiteX35" fmla="*/ 2149412 w 2628996"/>
                  <a:gd name="connsiteY35" fmla="*/ 112395 h 147256"/>
                  <a:gd name="connsiteX36" fmla="*/ 2149412 w 2628996"/>
                  <a:gd name="connsiteY36" fmla="*/ 147256 h 147256"/>
                  <a:gd name="connsiteX37" fmla="*/ 2628996 w 2628996"/>
                  <a:gd name="connsiteY37" fmla="*/ 147256 h 147256"/>
                  <a:gd name="connsiteX0" fmla="*/ 0 w 2610041"/>
                  <a:gd name="connsiteY0" fmla="*/ 0 h 141160"/>
                  <a:gd name="connsiteX1" fmla="*/ 0 w 2610041"/>
                  <a:gd name="connsiteY1" fmla="*/ 6096 h 141160"/>
                  <a:gd name="connsiteX2" fmla="*/ 10478 w 2610041"/>
                  <a:gd name="connsiteY2" fmla="*/ 6096 h 141160"/>
                  <a:gd name="connsiteX3" fmla="*/ 10478 w 2610041"/>
                  <a:gd name="connsiteY3" fmla="*/ 12287 h 141160"/>
                  <a:gd name="connsiteX4" fmla="*/ 44196 w 2610041"/>
                  <a:gd name="connsiteY4" fmla="*/ 12287 h 141160"/>
                  <a:gd name="connsiteX5" fmla="*/ 44196 w 2610041"/>
                  <a:gd name="connsiteY5" fmla="*/ 18383 h 141160"/>
                  <a:gd name="connsiteX6" fmla="*/ 50483 w 2610041"/>
                  <a:gd name="connsiteY6" fmla="*/ 18383 h 141160"/>
                  <a:gd name="connsiteX7" fmla="*/ 50483 w 2610041"/>
                  <a:gd name="connsiteY7" fmla="*/ 24479 h 141160"/>
                  <a:gd name="connsiteX8" fmla="*/ 65151 w 2610041"/>
                  <a:gd name="connsiteY8" fmla="*/ 24479 h 141160"/>
                  <a:gd name="connsiteX9" fmla="*/ 65151 w 2610041"/>
                  <a:gd name="connsiteY9" fmla="*/ 30575 h 141160"/>
                  <a:gd name="connsiteX10" fmla="*/ 77819 w 2610041"/>
                  <a:gd name="connsiteY10" fmla="*/ 30575 h 141160"/>
                  <a:gd name="connsiteX11" fmla="*/ 77819 w 2610041"/>
                  <a:gd name="connsiteY11" fmla="*/ 36766 h 141160"/>
                  <a:gd name="connsiteX12" fmla="*/ 103061 w 2610041"/>
                  <a:gd name="connsiteY12" fmla="*/ 36766 h 141160"/>
                  <a:gd name="connsiteX13" fmla="*/ 103061 w 2610041"/>
                  <a:gd name="connsiteY13" fmla="*/ 42862 h 141160"/>
                  <a:gd name="connsiteX14" fmla="*/ 332327 w 2610041"/>
                  <a:gd name="connsiteY14" fmla="*/ 42862 h 141160"/>
                  <a:gd name="connsiteX15" fmla="*/ 332327 w 2610041"/>
                  <a:gd name="connsiteY15" fmla="*/ 49054 h 141160"/>
                  <a:gd name="connsiteX16" fmla="*/ 445865 w 2610041"/>
                  <a:gd name="connsiteY16" fmla="*/ 49054 h 141160"/>
                  <a:gd name="connsiteX17" fmla="*/ 445865 w 2610041"/>
                  <a:gd name="connsiteY17" fmla="*/ 55245 h 141160"/>
                  <a:gd name="connsiteX18" fmla="*/ 715042 w 2610041"/>
                  <a:gd name="connsiteY18" fmla="*/ 55245 h 141160"/>
                  <a:gd name="connsiteX19" fmla="*/ 715042 w 2610041"/>
                  <a:gd name="connsiteY19" fmla="*/ 61531 h 141160"/>
                  <a:gd name="connsiteX20" fmla="*/ 788670 w 2610041"/>
                  <a:gd name="connsiteY20" fmla="*/ 61531 h 141160"/>
                  <a:gd name="connsiteX21" fmla="*/ 788670 w 2610041"/>
                  <a:gd name="connsiteY21" fmla="*/ 67818 h 141160"/>
                  <a:gd name="connsiteX22" fmla="*/ 868585 w 2610041"/>
                  <a:gd name="connsiteY22" fmla="*/ 67818 h 141160"/>
                  <a:gd name="connsiteX23" fmla="*/ 868585 w 2610041"/>
                  <a:gd name="connsiteY23" fmla="*/ 74104 h 141160"/>
                  <a:gd name="connsiteX24" fmla="*/ 1030510 w 2610041"/>
                  <a:gd name="connsiteY24" fmla="*/ 74104 h 141160"/>
                  <a:gd name="connsiteX25" fmla="*/ 1030510 w 2610041"/>
                  <a:gd name="connsiteY25" fmla="*/ 80581 h 141160"/>
                  <a:gd name="connsiteX26" fmla="*/ 1047369 w 2610041"/>
                  <a:gd name="connsiteY26" fmla="*/ 80581 h 141160"/>
                  <a:gd name="connsiteX27" fmla="*/ 1047369 w 2610041"/>
                  <a:gd name="connsiteY27" fmla="*/ 86963 h 141160"/>
                  <a:gd name="connsiteX28" fmla="*/ 1165193 w 2610041"/>
                  <a:gd name="connsiteY28" fmla="*/ 86963 h 141160"/>
                  <a:gd name="connsiteX29" fmla="*/ 1165193 w 2610041"/>
                  <a:gd name="connsiteY29" fmla="*/ 93440 h 141160"/>
                  <a:gd name="connsiteX30" fmla="*/ 1257681 w 2610041"/>
                  <a:gd name="connsiteY30" fmla="*/ 93440 h 141160"/>
                  <a:gd name="connsiteX31" fmla="*/ 1257681 w 2610041"/>
                  <a:gd name="connsiteY31" fmla="*/ 99822 h 141160"/>
                  <a:gd name="connsiteX32" fmla="*/ 1276636 w 2610041"/>
                  <a:gd name="connsiteY32" fmla="*/ 99822 h 141160"/>
                  <a:gd name="connsiteX33" fmla="*/ 1276636 w 2610041"/>
                  <a:gd name="connsiteY33" fmla="*/ 106299 h 141160"/>
                  <a:gd name="connsiteX34" fmla="*/ 2130457 w 2610041"/>
                  <a:gd name="connsiteY34" fmla="*/ 106299 h 141160"/>
                  <a:gd name="connsiteX35" fmla="*/ 2130457 w 2610041"/>
                  <a:gd name="connsiteY35" fmla="*/ 141160 h 141160"/>
                  <a:gd name="connsiteX36" fmla="*/ 2610041 w 2610041"/>
                  <a:gd name="connsiteY36" fmla="*/ 141160 h 141160"/>
                  <a:gd name="connsiteX0" fmla="*/ 0 w 2610041"/>
                  <a:gd name="connsiteY0" fmla="*/ 0 h 141160"/>
                  <a:gd name="connsiteX1" fmla="*/ 10478 w 2610041"/>
                  <a:gd name="connsiteY1" fmla="*/ 6096 h 141160"/>
                  <a:gd name="connsiteX2" fmla="*/ 10478 w 2610041"/>
                  <a:gd name="connsiteY2" fmla="*/ 12287 h 141160"/>
                  <a:gd name="connsiteX3" fmla="*/ 44196 w 2610041"/>
                  <a:gd name="connsiteY3" fmla="*/ 12287 h 141160"/>
                  <a:gd name="connsiteX4" fmla="*/ 44196 w 2610041"/>
                  <a:gd name="connsiteY4" fmla="*/ 18383 h 141160"/>
                  <a:gd name="connsiteX5" fmla="*/ 50483 w 2610041"/>
                  <a:gd name="connsiteY5" fmla="*/ 18383 h 141160"/>
                  <a:gd name="connsiteX6" fmla="*/ 50483 w 2610041"/>
                  <a:gd name="connsiteY6" fmla="*/ 24479 h 141160"/>
                  <a:gd name="connsiteX7" fmla="*/ 65151 w 2610041"/>
                  <a:gd name="connsiteY7" fmla="*/ 24479 h 141160"/>
                  <a:gd name="connsiteX8" fmla="*/ 65151 w 2610041"/>
                  <a:gd name="connsiteY8" fmla="*/ 30575 h 141160"/>
                  <a:gd name="connsiteX9" fmla="*/ 77819 w 2610041"/>
                  <a:gd name="connsiteY9" fmla="*/ 30575 h 141160"/>
                  <a:gd name="connsiteX10" fmla="*/ 77819 w 2610041"/>
                  <a:gd name="connsiteY10" fmla="*/ 36766 h 141160"/>
                  <a:gd name="connsiteX11" fmla="*/ 103061 w 2610041"/>
                  <a:gd name="connsiteY11" fmla="*/ 36766 h 141160"/>
                  <a:gd name="connsiteX12" fmla="*/ 103061 w 2610041"/>
                  <a:gd name="connsiteY12" fmla="*/ 42862 h 141160"/>
                  <a:gd name="connsiteX13" fmla="*/ 332327 w 2610041"/>
                  <a:gd name="connsiteY13" fmla="*/ 42862 h 141160"/>
                  <a:gd name="connsiteX14" fmla="*/ 332327 w 2610041"/>
                  <a:gd name="connsiteY14" fmla="*/ 49054 h 141160"/>
                  <a:gd name="connsiteX15" fmla="*/ 445865 w 2610041"/>
                  <a:gd name="connsiteY15" fmla="*/ 49054 h 141160"/>
                  <a:gd name="connsiteX16" fmla="*/ 445865 w 2610041"/>
                  <a:gd name="connsiteY16" fmla="*/ 55245 h 141160"/>
                  <a:gd name="connsiteX17" fmla="*/ 715042 w 2610041"/>
                  <a:gd name="connsiteY17" fmla="*/ 55245 h 141160"/>
                  <a:gd name="connsiteX18" fmla="*/ 715042 w 2610041"/>
                  <a:gd name="connsiteY18" fmla="*/ 61531 h 141160"/>
                  <a:gd name="connsiteX19" fmla="*/ 788670 w 2610041"/>
                  <a:gd name="connsiteY19" fmla="*/ 61531 h 141160"/>
                  <a:gd name="connsiteX20" fmla="*/ 788670 w 2610041"/>
                  <a:gd name="connsiteY20" fmla="*/ 67818 h 141160"/>
                  <a:gd name="connsiteX21" fmla="*/ 868585 w 2610041"/>
                  <a:gd name="connsiteY21" fmla="*/ 67818 h 141160"/>
                  <a:gd name="connsiteX22" fmla="*/ 868585 w 2610041"/>
                  <a:gd name="connsiteY22" fmla="*/ 74104 h 141160"/>
                  <a:gd name="connsiteX23" fmla="*/ 1030510 w 2610041"/>
                  <a:gd name="connsiteY23" fmla="*/ 74104 h 141160"/>
                  <a:gd name="connsiteX24" fmla="*/ 1030510 w 2610041"/>
                  <a:gd name="connsiteY24" fmla="*/ 80581 h 141160"/>
                  <a:gd name="connsiteX25" fmla="*/ 1047369 w 2610041"/>
                  <a:gd name="connsiteY25" fmla="*/ 80581 h 141160"/>
                  <a:gd name="connsiteX26" fmla="*/ 1047369 w 2610041"/>
                  <a:gd name="connsiteY26" fmla="*/ 86963 h 141160"/>
                  <a:gd name="connsiteX27" fmla="*/ 1165193 w 2610041"/>
                  <a:gd name="connsiteY27" fmla="*/ 86963 h 141160"/>
                  <a:gd name="connsiteX28" fmla="*/ 1165193 w 2610041"/>
                  <a:gd name="connsiteY28" fmla="*/ 93440 h 141160"/>
                  <a:gd name="connsiteX29" fmla="*/ 1257681 w 2610041"/>
                  <a:gd name="connsiteY29" fmla="*/ 93440 h 141160"/>
                  <a:gd name="connsiteX30" fmla="*/ 1257681 w 2610041"/>
                  <a:gd name="connsiteY30" fmla="*/ 99822 h 141160"/>
                  <a:gd name="connsiteX31" fmla="*/ 1276636 w 2610041"/>
                  <a:gd name="connsiteY31" fmla="*/ 99822 h 141160"/>
                  <a:gd name="connsiteX32" fmla="*/ 1276636 w 2610041"/>
                  <a:gd name="connsiteY32" fmla="*/ 106299 h 141160"/>
                  <a:gd name="connsiteX33" fmla="*/ 2130457 w 2610041"/>
                  <a:gd name="connsiteY33" fmla="*/ 106299 h 141160"/>
                  <a:gd name="connsiteX34" fmla="*/ 2130457 w 2610041"/>
                  <a:gd name="connsiteY34" fmla="*/ 141160 h 141160"/>
                  <a:gd name="connsiteX35" fmla="*/ 2610041 w 2610041"/>
                  <a:gd name="connsiteY35" fmla="*/ 141160 h 141160"/>
                  <a:gd name="connsiteX0" fmla="*/ 0 w 2599563"/>
                  <a:gd name="connsiteY0" fmla="*/ 0 h 135064"/>
                  <a:gd name="connsiteX1" fmla="*/ 0 w 2599563"/>
                  <a:gd name="connsiteY1" fmla="*/ 6191 h 135064"/>
                  <a:gd name="connsiteX2" fmla="*/ 33718 w 2599563"/>
                  <a:gd name="connsiteY2" fmla="*/ 6191 h 135064"/>
                  <a:gd name="connsiteX3" fmla="*/ 33718 w 2599563"/>
                  <a:gd name="connsiteY3" fmla="*/ 12287 h 135064"/>
                  <a:gd name="connsiteX4" fmla="*/ 40005 w 2599563"/>
                  <a:gd name="connsiteY4" fmla="*/ 12287 h 135064"/>
                  <a:gd name="connsiteX5" fmla="*/ 40005 w 2599563"/>
                  <a:gd name="connsiteY5" fmla="*/ 18383 h 135064"/>
                  <a:gd name="connsiteX6" fmla="*/ 54673 w 2599563"/>
                  <a:gd name="connsiteY6" fmla="*/ 18383 h 135064"/>
                  <a:gd name="connsiteX7" fmla="*/ 54673 w 2599563"/>
                  <a:gd name="connsiteY7" fmla="*/ 24479 h 135064"/>
                  <a:gd name="connsiteX8" fmla="*/ 67341 w 2599563"/>
                  <a:gd name="connsiteY8" fmla="*/ 24479 h 135064"/>
                  <a:gd name="connsiteX9" fmla="*/ 67341 w 2599563"/>
                  <a:gd name="connsiteY9" fmla="*/ 30670 h 135064"/>
                  <a:gd name="connsiteX10" fmla="*/ 92583 w 2599563"/>
                  <a:gd name="connsiteY10" fmla="*/ 30670 h 135064"/>
                  <a:gd name="connsiteX11" fmla="*/ 92583 w 2599563"/>
                  <a:gd name="connsiteY11" fmla="*/ 36766 h 135064"/>
                  <a:gd name="connsiteX12" fmla="*/ 321849 w 2599563"/>
                  <a:gd name="connsiteY12" fmla="*/ 36766 h 135064"/>
                  <a:gd name="connsiteX13" fmla="*/ 321849 w 2599563"/>
                  <a:gd name="connsiteY13" fmla="*/ 42958 h 135064"/>
                  <a:gd name="connsiteX14" fmla="*/ 435387 w 2599563"/>
                  <a:gd name="connsiteY14" fmla="*/ 42958 h 135064"/>
                  <a:gd name="connsiteX15" fmla="*/ 435387 w 2599563"/>
                  <a:gd name="connsiteY15" fmla="*/ 49149 h 135064"/>
                  <a:gd name="connsiteX16" fmla="*/ 704564 w 2599563"/>
                  <a:gd name="connsiteY16" fmla="*/ 49149 h 135064"/>
                  <a:gd name="connsiteX17" fmla="*/ 704564 w 2599563"/>
                  <a:gd name="connsiteY17" fmla="*/ 55435 h 135064"/>
                  <a:gd name="connsiteX18" fmla="*/ 778192 w 2599563"/>
                  <a:gd name="connsiteY18" fmla="*/ 55435 h 135064"/>
                  <a:gd name="connsiteX19" fmla="*/ 778192 w 2599563"/>
                  <a:gd name="connsiteY19" fmla="*/ 61722 h 135064"/>
                  <a:gd name="connsiteX20" fmla="*/ 858107 w 2599563"/>
                  <a:gd name="connsiteY20" fmla="*/ 61722 h 135064"/>
                  <a:gd name="connsiteX21" fmla="*/ 858107 w 2599563"/>
                  <a:gd name="connsiteY21" fmla="*/ 68008 h 135064"/>
                  <a:gd name="connsiteX22" fmla="*/ 1020032 w 2599563"/>
                  <a:gd name="connsiteY22" fmla="*/ 68008 h 135064"/>
                  <a:gd name="connsiteX23" fmla="*/ 1020032 w 2599563"/>
                  <a:gd name="connsiteY23" fmla="*/ 74485 h 135064"/>
                  <a:gd name="connsiteX24" fmla="*/ 1036891 w 2599563"/>
                  <a:gd name="connsiteY24" fmla="*/ 74485 h 135064"/>
                  <a:gd name="connsiteX25" fmla="*/ 1036891 w 2599563"/>
                  <a:gd name="connsiteY25" fmla="*/ 80867 h 135064"/>
                  <a:gd name="connsiteX26" fmla="*/ 1154715 w 2599563"/>
                  <a:gd name="connsiteY26" fmla="*/ 80867 h 135064"/>
                  <a:gd name="connsiteX27" fmla="*/ 1154715 w 2599563"/>
                  <a:gd name="connsiteY27" fmla="*/ 87344 h 135064"/>
                  <a:gd name="connsiteX28" fmla="*/ 1247203 w 2599563"/>
                  <a:gd name="connsiteY28" fmla="*/ 87344 h 135064"/>
                  <a:gd name="connsiteX29" fmla="*/ 1247203 w 2599563"/>
                  <a:gd name="connsiteY29" fmla="*/ 93726 h 135064"/>
                  <a:gd name="connsiteX30" fmla="*/ 1266158 w 2599563"/>
                  <a:gd name="connsiteY30" fmla="*/ 93726 h 135064"/>
                  <a:gd name="connsiteX31" fmla="*/ 1266158 w 2599563"/>
                  <a:gd name="connsiteY31" fmla="*/ 100203 h 135064"/>
                  <a:gd name="connsiteX32" fmla="*/ 2119979 w 2599563"/>
                  <a:gd name="connsiteY32" fmla="*/ 100203 h 135064"/>
                  <a:gd name="connsiteX33" fmla="*/ 2119979 w 2599563"/>
                  <a:gd name="connsiteY33" fmla="*/ 135064 h 135064"/>
                  <a:gd name="connsiteX34" fmla="*/ 2599563 w 2599563"/>
                  <a:gd name="connsiteY34" fmla="*/ 135064 h 135064"/>
                  <a:gd name="connsiteX0" fmla="*/ 0 w 2599563"/>
                  <a:gd name="connsiteY0" fmla="*/ 0 h 135064"/>
                  <a:gd name="connsiteX1" fmla="*/ 33718 w 2599563"/>
                  <a:gd name="connsiteY1" fmla="*/ 6191 h 135064"/>
                  <a:gd name="connsiteX2" fmla="*/ 33718 w 2599563"/>
                  <a:gd name="connsiteY2" fmla="*/ 12287 h 135064"/>
                  <a:gd name="connsiteX3" fmla="*/ 40005 w 2599563"/>
                  <a:gd name="connsiteY3" fmla="*/ 12287 h 135064"/>
                  <a:gd name="connsiteX4" fmla="*/ 40005 w 2599563"/>
                  <a:gd name="connsiteY4" fmla="*/ 18383 h 135064"/>
                  <a:gd name="connsiteX5" fmla="*/ 54673 w 2599563"/>
                  <a:gd name="connsiteY5" fmla="*/ 18383 h 135064"/>
                  <a:gd name="connsiteX6" fmla="*/ 54673 w 2599563"/>
                  <a:gd name="connsiteY6" fmla="*/ 24479 h 135064"/>
                  <a:gd name="connsiteX7" fmla="*/ 67341 w 2599563"/>
                  <a:gd name="connsiteY7" fmla="*/ 24479 h 135064"/>
                  <a:gd name="connsiteX8" fmla="*/ 67341 w 2599563"/>
                  <a:gd name="connsiteY8" fmla="*/ 30670 h 135064"/>
                  <a:gd name="connsiteX9" fmla="*/ 92583 w 2599563"/>
                  <a:gd name="connsiteY9" fmla="*/ 30670 h 135064"/>
                  <a:gd name="connsiteX10" fmla="*/ 92583 w 2599563"/>
                  <a:gd name="connsiteY10" fmla="*/ 36766 h 135064"/>
                  <a:gd name="connsiteX11" fmla="*/ 321849 w 2599563"/>
                  <a:gd name="connsiteY11" fmla="*/ 36766 h 135064"/>
                  <a:gd name="connsiteX12" fmla="*/ 321849 w 2599563"/>
                  <a:gd name="connsiteY12" fmla="*/ 42958 h 135064"/>
                  <a:gd name="connsiteX13" fmla="*/ 435387 w 2599563"/>
                  <a:gd name="connsiteY13" fmla="*/ 42958 h 135064"/>
                  <a:gd name="connsiteX14" fmla="*/ 435387 w 2599563"/>
                  <a:gd name="connsiteY14" fmla="*/ 49149 h 135064"/>
                  <a:gd name="connsiteX15" fmla="*/ 704564 w 2599563"/>
                  <a:gd name="connsiteY15" fmla="*/ 49149 h 135064"/>
                  <a:gd name="connsiteX16" fmla="*/ 704564 w 2599563"/>
                  <a:gd name="connsiteY16" fmla="*/ 55435 h 135064"/>
                  <a:gd name="connsiteX17" fmla="*/ 778192 w 2599563"/>
                  <a:gd name="connsiteY17" fmla="*/ 55435 h 135064"/>
                  <a:gd name="connsiteX18" fmla="*/ 778192 w 2599563"/>
                  <a:gd name="connsiteY18" fmla="*/ 61722 h 135064"/>
                  <a:gd name="connsiteX19" fmla="*/ 858107 w 2599563"/>
                  <a:gd name="connsiteY19" fmla="*/ 61722 h 135064"/>
                  <a:gd name="connsiteX20" fmla="*/ 858107 w 2599563"/>
                  <a:gd name="connsiteY20" fmla="*/ 68008 h 135064"/>
                  <a:gd name="connsiteX21" fmla="*/ 1020032 w 2599563"/>
                  <a:gd name="connsiteY21" fmla="*/ 68008 h 135064"/>
                  <a:gd name="connsiteX22" fmla="*/ 1020032 w 2599563"/>
                  <a:gd name="connsiteY22" fmla="*/ 74485 h 135064"/>
                  <a:gd name="connsiteX23" fmla="*/ 1036891 w 2599563"/>
                  <a:gd name="connsiteY23" fmla="*/ 74485 h 135064"/>
                  <a:gd name="connsiteX24" fmla="*/ 1036891 w 2599563"/>
                  <a:gd name="connsiteY24" fmla="*/ 80867 h 135064"/>
                  <a:gd name="connsiteX25" fmla="*/ 1154715 w 2599563"/>
                  <a:gd name="connsiteY25" fmla="*/ 80867 h 135064"/>
                  <a:gd name="connsiteX26" fmla="*/ 1154715 w 2599563"/>
                  <a:gd name="connsiteY26" fmla="*/ 87344 h 135064"/>
                  <a:gd name="connsiteX27" fmla="*/ 1247203 w 2599563"/>
                  <a:gd name="connsiteY27" fmla="*/ 87344 h 135064"/>
                  <a:gd name="connsiteX28" fmla="*/ 1247203 w 2599563"/>
                  <a:gd name="connsiteY28" fmla="*/ 93726 h 135064"/>
                  <a:gd name="connsiteX29" fmla="*/ 1266158 w 2599563"/>
                  <a:gd name="connsiteY29" fmla="*/ 93726 h 135064"/>
                  <a:gd name="connsiteX30" fmla="*/ 1266158 w 2599563"/>
                  <a:gd name="connsiteY30" fmla="*/ 100203 h 135064"/>
                  <a:gd name="connsiteX31" fmla="*/ 2119979 w 2599563"/>
                  <a:gd name="connsiteY31" fmla="*/ 100203 h 135064"/>
                  <a:gd name="connsiteX32" fmla="*/ 2119979 w 2599563"/>
                  <a:gd name="connsiteY32" fmla="*/ 135064 h 135064"/>
                  <a:gd name="connsiteX33" fmla="*/ 2599563 w 2599563"/>
                  <a:gd name="connsiteY33" fmla="*/ 135064 h 135064"/>
                  <a:gd name="connsiteX0" fmla="*/ 0 w 2565845"/>
                  <a:gd name="connsiteY0" fmla="*/ 0 h 128873"/>
                  <a:gd name="connsiteX1" fmla="*/ 0 w 2565845"/>
                  <a:gd name="connsiteY1" fmla="*/ 6096 h 128873"/>
                  <a:gd name="connsiteX2" fmla="*/ 6287 w 2565845"/>
                  <a:gd name="connsiteY2" fmla="*/ 6096 h 128873"/>
                  <a:gd name="connsiteX3" fmla="*/ 6287 w 2565845"/>
                  <a:gd name="connsiteY3" fmla="*/ 12192 h 128873"/>
                  <a:gd name="connsiteX4" fmla="*/ 20955 w 2565845"/>
                  <a:gd name="connsiteY4" fmla="*/ 12192 h 128873"/>
                  <a:gd name="connsiteX5" fmla="*/ 20955 w 2565845"/>
                  <a:gd name="connsiteY5" fmla="*/ 18288 h 128873"/>
                  <a:gd name="connsiteX6" fmla="*/ 33623 w 2565845"/>
                  <a:gd name="connsiteY6" fmla="*/ 18288 h 128873"/>
                  <a:gd name="connsiteX7" fmla="*/ 33623 w 2565845"/>
                  <a:gd name="connsiteY7" fmla="*/ 24479 h 128873"/>
                  <a:gd name="connsiteX8" fmla="*/ 58865 w 2565845"/>
                  <a:gd name="connsiteY8" fmla="*/ 24479 h 128873"/>
                  <a:gd name="connsiteX9" fmla="*/ 58865 w 2565845"/>
                  <a:gd name="connsiteY9" fmla="*/ 30575 h 128873"/>
                  <a:gd name="connsiteX10" fmla="*/ 288131 w 2565845"/>
                  <a:gd name="connsiteY10" fmla="*/ 30575 h 128873"/>
                  <a:gd name="connsiteX11" fmla="*/ 288131 w 2565845"/>
                  <a:gd name="connsiteY11" fmla="*/ 36767 h 128873"/>
                  <a:gd name="connsiteX12" fmla="*/ 401669 w 2565845"/>
                  <a:gd name="connsiteY12" fmla="*/ 36767 h 128873"/>
                  <a:gd name="connsiteX13" fmla="*/ 401669 w 2565845"/>
                  <a:gd name="connsiteY13" fmla="*/ 42958 h 128873"/>
                  <a:gd name="connsiteX14" fmla="*/ 670846 w 2565845"/>
                  <a:gd name="connsiteY14" fmla="*/ 42958 h 128873"/>
                  <a:gd name="connsiteX15" fmla="*/ 670846 w 2565845"/>
                  <a:gd name="connsiteY15" fmla="*/ 49244 h 128873"/>
                  <a:gd name="connsiteX16" fmla="*/ 744474 w 2565845"/>
                  <a:gd name="connsiteY16" fmla="*/ 49244 h 128873"/>
                  <a:gd name="connsiteX17" fmla="*/ 744474 w 2565845"/>
                  <a:gd name="connsiteY17" fmla="*/ 55531 h 128873"/>
                  <a:gd name="connsiteX18" fmla="*/ 824389 w 2565845"/>
                  <a:gd name="connsiteY18" fmla="*/ 55531 h 128873"/>
                  <a:gd name="connsiteX19" fmla="*/ 824389 w 2565845"/>
                  <a:gd name="connsiteY19" fmla="*/ 61817 h 128873"/>
                  <a:gd name="connsiteX20" fmla="*/ 986314 w 2565845"/>
                  <a:gd name="connsiteY20" fmla="*/ 61817 h 128873"/>
                  <a:gd name="connsiteX21" fmla="*/ 986314 w 2565845"/>
                  <a:gd name="connsiteY21" fmla="*/ 68294 h 128873"/>
                  <a:gd name="connsiteX22" fmla="*/ 1003173 w 2565845"/>
                  <a:gd name="connsiteY22" fmla="*/ 68294 h 128873"/>
                  <a:gd name="connsiteX23" fmla="*/ 1003173 w 2565845"/>
                  <a:gd name="connsiteY23" fmla="*/ 74676 h 128873"/>
                  <a:gd name="connsiteX24" fmla="*/ 1120997 w 2565845"/>
                  <a:gd name="connsiteY24" fmla="*/ 74676 h 128873"/>
                  <a:gd name="connsiteX25" fmla="*/ 1120997 w 2565845"/>
                  <a:gd name="connsiteY25" fmla="*/ 81153 h 128873"/>
                  <a:gd name="connsiteX26" fmla="*/ 1213485 w 2565845"/>
                  <a:gd name="connsiteY26" fmla="*/ 81153 h 128873"/>
                  <a:gd name="connsiteX27" fmla="*/ 1213485 w 2565845"/>
                  <a:gd name="connsiteY27" fmla="*/ 87535 h 128873"/>
                  <a:gd name="connsiteX28" fmla="*/ 1232440 w 2565845"/>
                  <a:gd name="connsiteY28" fmla="*/ 87535 h 128873"/>
                  <a:gd name="connsiteX29" fmla="*/ 1232440 w 2565845"/>
                  <a:gd name="connsiteY29" fmla="*/ 94012 h 128873"/>
                  <a:gd name="connsiteX30" fmla="*/ 2086261 w 2565845"/>
                  <a:gd name="connsiteY30" fmla="*/ 94012 h 128873"/>
                  <a:gd name="connsiteX31" fmla="*/ 2086261 w 2565845"/>
                  <a:gd name="connsiteY31" fmla="*/ 128873 h 128873"/>
                  <a:gd name="connsiteX32" fmla="*/ 2565845 w 2565845"/>
                  <a:gd name="connsiteY32" fmla="*/ 128873 h 128873"/>
                  <a:gd name="connsiteX0" fmla="*/ 0 w 2565845"/>
                  <a:gd name="connsiteY0" fmla="*/ 0 h 128873"/>
                  <a:gd name="connsiteX1" fmla="*/ 6287 w 2565845"/>
                  <a:gd name="connsiteY1" fmla="*/ 6096 h 128873"/>
                  <a:gd name="connsiteX2" fmla="*/ 6287 w 2565845"/>
                  <a:gd name="connsiteY2" fmla="*/ 12192 h 128873"/>
                  <a:gd name="connsiteX3" fmla="*/ 20955 w 2565845"/>
                  <a:gd name="connsiteY3" fmla="*/ 12192 h 128873"/>
                  <a:gd name="connsiteX4" fmla="*/ 20955 w 2565845"/>
                  <a:gd name="connsiteY4" fmla="*/ 18288 h 128873"/>
                  <a:gd name="connsiteX5" fmla="*/ 33623 w 2565845"/>
                  <a:gd name="connsiteY5" fmla="*/ 18288 h 128873"/>
                  <a:gd name="connsiteX6" fmla="*/ 33623 w 2565845"/>
                  <a:gd name="connsiteY6" fmla="*/ 24479 h 128873"/>
                  <a:gd name="connsiteX7" fmla="*/ 58865 w 2565845"/>
                  <a:gd name="connsiteY7" fmla="*/ 24479 h 128873"/>
                  <a:gd name="connsiteX8" fmla="*/ 58865 w 2565845"/>
                  <a:gd name="connsiteY8" fmla="*/ 30575 h 128873"/>
                  <a:gd name="connsiteX9" fmla="*/ 288131 w 2565845"/>
                  <a:gd name="connsiteY9" fmla="*/ 30575 h 128873"/>
                  <a:gd name="connsiteX10" fmla="*/ 288131 w 2565845"/>
                  <a:gd name="connsiteY10" fmla="*/ 36767 h 128873"/>
                  <a:gd name="connsiteX11" fmla="*/ 401669 w 2565845"/>
                  <a:gd name="connsiteY11" fmla="*/ 36767 h 128873"/>
                  <a:gd name="connsiteX12" fmla="*/ 401669 w 2565845"/>
                  <a:gd name="connsiteY12" fmla="*/ 42958 h 128873"/>
                  <a:gd name="connsiteX13" fmla="*/ 670846 w 2565845"/>
                  <a:gd name="connsiteY13" fmla="*/ 42958 h 128873"/>
                  <a:gd name="connsiteX14" fmla="*/ 670846 w 2565845"/>
                  <a:gd name="connsiteY14" fmla="*/ 49244 h 128873"/>
                  <a:gd name="connsiteX15" fmla="*/ 744474 w 2565845"/>
                  <a:gd name="connsiteY15" fmla="*/ 49244 h 128873"/>
                  <a:gd name="connsiteX16" fmla="*/ 744474 w 2565845"/>
                  <a:gd name="connsiteY16" fmla="*/ 55531 h 128873"/>
                  <a:gd name="connsiteX17" fmla="*/ 824389 w 2565845"/>
                  <a:gd name="connsiteY17" fmla="*/ 55531 h 128873"/>
                  <a:gd name="connsiteX18" fmla="*/ 824389 w 2565845"/>
                  <a:gd name="connsiteY18" fmla="*/ 61817 h 128873"/>
                  <a:gd name="connsiteX19" fmla="*/ 986314 w 2565845"/>
                  <a:gd name="connsiteY19" fmla="*/ 61817 h 128873"/>
                  <a:gd name="connsiteX20" fmla="*/ 986314 w 2565845"/>
                  <a:gd name="connsiteY20" fmla="*/ 68294 h 128873"/>
                  <a:gd name="connsiteX21" fmla="*/ 1003173 w 2565845"/>
                  <a:gd name="connsiteY21" fmla="*/ 68294 h 128873"/>
                  <a:gd name="connsiteX22" fmla="*/ 1003173 w 2565845"/>
                  <a:gd name="connsiteY22" fmla="*/ 74676 h 128873"/>
                  <a:gd name="connsiteX23" fmla="*/ 1120997 w 2565845"/>
                  <a:gd name="connsiteY23" fmla="*/ 74676 h 128873"/>
                  <a:gd name="connsiteX24" fmla="*/ 1120997 w 2565845"/>
                  <a:gd name="connsiteY24" fmla="*/ 81153 h 128873"/>
                  <a:gd name="connsiteX25" fmla="*/ 1213485 w 2565845"/>
                  <a:gd name="connsiteY25" fmla="*/ 81153 h 128873"/>
                  <a:gd name="connsiteX26" fmla="*/ 1213485 w 2565845"/>
                  <a:gd name="connsiteY26" fmla="*/ 87535 h 128873"/>
                  <a:gd name="connsiteX27" fmla="*/ 1232440 w 2565845"/>
                  <a:gd name="connsiteY27" fmla="*/ 87535 h 128873"/>
                  <a:gd name="connsiteX28" fmla="*/ 1232440 w 2565845"/>
                  <a:gd name="connsiteY28" fmla="*/ 94012 h 128873"/>
                  <a:gd name="connsiteX29" fmla="*/ 2086261 w 2565845"/>
                  <a:gd name="connsiteY29" fmla="*/ 94012 h 128873"/>
                  <a:gd name="connsiteX30" fmla="*/ 2086261 w 2565845"/>
                  <a:gd name="connsiteY30" fmla="*/ 128873 h 128873"/>
                  <a:gd name="connsiteX31" fmla="*/ 2565845 w 2565845"/>
                  <a:gd name="connsiteY31" fmla="*/ 128873 h 128873"/>
                  <a:gd name="connsiteX0" fmla="*/ 0 w 2565845"/>
                  <a:gd name="connsiteY0" fmla="*/ 0 h 128873"/>
                  <a:gd name="connsiteX1" fmla="*/ 6287 w 2565845"/>
                  <a:gd name="connsiteY1" fmla="*/ 12192 h 128873"/>
                  <a:gd name="connsiteX2" fmla="*/ 20955 w 2565845"/>
                  <a:gd name="connsiteY2" fmla="*/ 12192 h 128873"/>
                  <a:gd name="connsiteX3" fmla="*/ 20955 w 2565845"/>
                  <a:gd name="connsiteY3" fmla="*/ 18288 h 128873"/>
                  <a:gd name="connsiteX4" fmla="*/ 33623 w 2565845"/>
                  <a:gd name="connsiteY4" fmla="*/ 18288 h 128873"/>
                  <a:gd name="connsiteX5" fmla="*/ 33623 w 2565845"/>
                  <a:gd name="connsiteY5" fmla="*/ 24479 h 128873"/>
                  <a:gd name="connsiteX6" fmla="*/ 58865 w 2565845"/>
                  <a:gd name="connsiteY6" fmla="*/ 24479 h 128873"/>
                  <a:gd name="connsiteX7" fmla="*/ 58865 w 2565845"/>
                  <a:gd name="connsiteY7" fmla="*/ 30575 h 128873"/>
                  <a:gd name="connsiteX8" fmla="*/ 288131 w 2565845"/>
                  <a:gd name="connsiteY8" fmla="*/ 30575 h 128873"/>
                  <a:gd name="connsiteX9" fmla="*/ 288131 w 2565845"/>
                  <a:gd name="connsiteY9" fmla="*/ 36767 h 128873"/>
                  <a:gd name="connsiteX10" fmla="*/ 401669 w 2565845"/>
                  <a:gd name="connsiteY10" fmla="*/ 36767 h 128873"/>
                  <a:gd name="connsiteX11" fmla="*/ 401669 w 2565845"/>
                  <a:gd name="connsiteY11" fmla="*/ 42958 h 128873"/>
                  <a:gd name="connsiteX12" fmla="*/ 670846 w 2565845"/>
                  <a:gd name="connsiteY12" fmla="*/ 42958 h 128873"/>
                  <a:gd name="connsiteX13" fmla="*/ 670846 w 2565845"/>
                  <a:gd name="connsiteY13" fmla="*/ 49244 h 128873"/>
                  <a:gd name="connsiteX14" fmla="*/ 744474 w 2565845"/>
                  <a:gd name="connsiteY14" fmla="*/ 49244 h 128873"/>
                  <a:gd name="connsiteX15" fmla="*/ 744474 w 2565845"/>
                  <a:gd name="connsiteY15" fmla="*/ 55531 h 128873"/>
                  <a:gd name="connsiteX16" fmla="*/ 824389 w 2565845"/>
                  <a:gd name="connsiteY16" fmla="*/ 55531 h 128873"/>
                  <a:gd name="connsiteX17" fmla="*/ 824389 w 2565845"/>
                  <a:gd name="connsiteY17" fmla="*/ 61817 h 128873"/>
                  <a:gd name="connsiteX18" fmla="*/ 986314 w 2565845"/>
                  <a:gd name="connsiteY18" fmla="*/ 61817 h 128873"/>
                  <a:gd name="connsiteX19" fmla="*/ 986314 w 2565845"/>
                  <a:gd name="connsiteY19" fmla="*/ 68294 h 128873"/>
                  <a:gd name="connsiteX20" fmla="*/ 1003173 w 2565845"/>
                  <a:gd name="connsiteY20" fmla="*/ 68294 h 128873"/>
                  <a:gd name="connsiteX21" fmla="*/ 1003173 w 2565845"/>
                  <a:gd name="connsiteY21" fmla="*/ 74676 h 128873"/>
                  <a:gd name="connsiteX22" fmla="*/ 1120997 w 2565845"/>
                  <a:gd name="connsiteY22" fmla="*/ 74676 h 128873"/>
                  <a:gd name="connsiteX23" fmla="*/ 1120997 w 2565845"/>
                  <a:gd name="connsiteY23" fmla="*/ 81153 h 128873"/>
                  <a:gd name="connsiteX24" fmla="*/ 1213485 w 2565845"/>
                  <a:gd name="connsiteY24" fmla="*/ 81153 h 128873"/>
                  <a:gd name="connsiteX25" fmla="*/ 1213485 w 2565845"/>
                  <a:gd name="connsiteY25" fmla="*/ 87535 h 128873"/>
                  <a:gd name="connsiteX26" fmla="*/ 1232440 w 2565845"/>
                  <a:gd name="connsiteY26" fmla="*/ 87535 h 128873"/>
                  <a:gd name="connsiteX27" fmla="*/ 1232440 w 2565845"/>
                  <a:gd name="connsiteY27" fmla="*/ 94012 h 128873"/>
                  <a:gd name="connsiteX28" fmla="*/ 2086261 w 2565845"/>
                  <a:gd name="connsiteY28" fmla="*/ 94012 h 128873"/>
                  <a:gd name="connsiteX29" fmla="*/ 2086261 w 2565845"/>
                  <a:gd name="connsiteY29" fmla="*/ 128873 h 128873"/>
                  <a:gd name="connsiteX30" fmla="*/ 2565845 w 2565845"/>
                  <a:gd name="connsiteY30" fmla="*/ 128873 h 128873"/>
                  <a:gd name="connsiteX0" fmla="*/ 0 w 2559558"/>
                  <a:gd name="connsiteY0" fmla="*/ 0 h 116681"/>
                  <a:gd name="connsiteX1" fmla="*/ 14668 w 2559558"/>
                  <a:gd name="connsiteY1" fmla="*/ 0 h 116681"/>
                  <a:gd name="connsiteX2" fmla="*/ 14668 w 2559558"/>
                  <a:gd name="connsiteY2" fmla="*/ 6096 h 116681"/>
                  <a:gd name="connsiteX3" fmla="*/ 27336 w 2559558"/>
                  <a:gd name="connsiteY3" fmla="*/ 6096 h 116681"/>
                  <a:gd name="connsiteX4" fmla="*/ 27336 w 2559558"/>
                  <a:gd name="connsiteY4" fmla="*/ 12287 h 116681"/>
                  <a:gd name="connsiteX5" fmla="*/ 52578 w 2559558"/>
                  <a:gd name="connsiteY5" fmla="*/ 12287 h 116681"/>
                  <a:gd name="connsiteX6" fmla="*/ 52578 w 2559558"/>
                  <a:gd name="connsiteY6" fmla="*/ 18383 h 116681"/>
                  <a:gd name="connsiteX7" fmla="*/ 281844 w 2559558"/>
                  <a:gd name="connsiteY7" fmla="*/ 18383 h 116681"/>
                  <a:gd name="connsiteX8" fmla="*/ 281844 w 2559558"/>
                  <a:gd name="connsiteY8" fmla="*/ 24575 h 116681"/>
                  <a:gd name="connsiteX9" fmla="*/ 395382 w 2559558"/>
                  <a:gd name="connsiteY9" fmla="*/ 24575 h 116681"/>
                  <a:gd name="connsiteX10" fmla="*/ 395382 w 2559558"/>
                  <a:gd name="connsiteY10" fmla="*/ 30766 h 116681"/>
                  <a:gd name="connsiteX11" fmla="*/ 664559 w 2559558"/>
                  <a:gd name="connsiteY11" fmla="*/ 30766 h 116681"/>
                  <a:gd name="connsiteX12" fmla="*/ 664559 w 2559558"/>
                  <a:gd name="connsiteY12" fmla="*/ 37052 h 116681"/>
                  <a:gd name="connsiteX13" fmla="*/ 738187 w 2559558"/>
                  <a:gd name="connsiteY13" fmla="*/ 37052 h 116681"/>
                  <a:gd name="connsiteX14" fmla="*/ 738187 w 2559558"/>
                  <a:gd name="connsiteY14" fmla="*/ 43339 h 116681"/>
                  <a:gd name="connsiteX15" fmla="*/ 818102 w 2559558"/>
                  <a:gd name="connsiteY15" fmla="*/ 43339 h 116681"/>
                  <a:gd name="connsiteX16" fmla="*/ 818102 w 2559558"/>
                  <a:gd name="connsiteY16" fmla="*/ 49625 h 116681"/>
                  <a:gd name="connsiteX17" fmla="*/ 980027 w 2559558"/>
                  <a:gd name="connsiteY17" fmla="*/ 49625 h 116681"/>
                  <a:gd name="connsiteX18" fmla="*/ 980027 w 2559558"/>
                  <a:gd name="connsiteY18" fmla="*/ 56102 h 116681"/>
                  <a:gd name="connsiteX19" fmla="*/ 996886 w 2559558"/>
                  <a:gd name="connsiteY19" fmla="*/ 56102 h 116681"/>
                  <a:gd name="connsiteX20" fmla="*/ 996886 w 2559558"/>
                  <a:gd name="connsiteY20" fmla="*/ 62484 h 116681"/>
                  <a:gd name="connsiteX21" fmla="*/ 1114710 w 2559558"/>
                  <a:gd name="connsiteY21" fmla="*/ 62484 h 116681"/>
                  <a:gd name="connsiteX22" fmla="*/ 1114710 w 2559558"/>
                  <a:gd name="connsiteY22" fmla="*/ 68961 h 116681"/>
                  <a:gd name="connsiteX23" fmla="*/ 1207198 w 2559558"/>
                  <a:gd name="connsiteY23" fmla="*/ 68961 h 116681"/>
                  <a:gd name="connsiteX24" fmla="*/ 1207198 w 2559558"/>
                  <a:gd name="connsiteY24" fmla="*/ 75343 h 116681"/>
                  <a:gd name="connsiteX25" fmla="*/ 1226153 w 2559558"/>
                  <a:gd name="connsiteY25" fmla="*/ 75343 h 116681"/>
                  <a:gd name="connsiteX26" fmla="*/ 1226153 w 2559558"/>
                  <a:gd name="connsiteY26" fmla="*/ 81820 h 116681"/>
                  <a:gd name="connsiteX27" fmla="*/ 2079974 w 2559558"/>
                  <a:gd name="connsiteY27" fmla="*/ 81820 h 116681"/>
                  <a:gd name="connsiteX28" fmla="*/ 2079974 w 2559558"/>
                  <a:gd name="connsiteY28" fmla="*/ 116681 h 116681"/>
                  <a:gd name="connsiteX29" fmla="*/ 2559558 w 2559558"/>
                  <a:gd name="connsiteY29" fmla="*/ 116681 h 116681"/>
                  <a:gd name="connsiteX0" fmla="*/ 0 w 2544890"/>
                  <a:gd name="connsiteY0" fmla="*/ 0 h 116681"/>
                  <a:gd name="connsiteX1" fmla="*/ 0 w 2544890"/>
                  <a:gd name="connsiteY1" fmla="*/ 6096 h 116681"/>
                  <a:gd name="connsiteX2" fmla="*/ 12668 w 2544890"/>
                  <a:gd name="connsiteY2" fmla="*/ 6096 h 116681"/>
                  <a:gd name="connsiteX3" fmla="*/ 12668 w 2544890"/>
                  <a:gd name="connsiteY3" fmla="*/ 12287 h 116681"/>
                  <a:gd name="connsiteX4" fmla="*/ 37910 w 2544890"/>
                  <a:gd name="connsiteY4" fmla="*/ 12287 h 116681"/>
                  <a:gd name="connsiteX5" fmla="*/ 37910 w 2544890"/>
                  <a:gd name="connsiteY5" fmla="*/ 18383 h 116681"/>
                  <a:gd name="connsiteX6" fmla="*/ 267176 w 2544890"/>
                  <a:gd name="connsiteY6" fmla="*/ 18383 h 116681"/>
                  <a:gd name="connsiteX7" fmla="*/ 267176 w 2544890"/>
                  <a:gd name="connsiteY7" fmla="*/ 24575 h 116681"/>
                  <a:gd name="connsiteX8" fmla="*/ 380714 w 2544890"/>
                  <a:gd name="connsiteY8" fmla="*/ 24575 h 116681"/>
                  <a:gd name="connsiteX9" fmla="*/ 380714 w 2544890"/>
                  <a:gd name="connsiteY9" fmla="*/ 30766 h 116681"/>
                  <a:gd name="connsiteX10" fmla="*/ 649891 w 2544890"/>
                  <a:gd name="connsiteY10" fmla="*/ 30766 h 116681"/>
                  <a:gd name="connsiteX11" fmla="*/ 649891 w 2544890"/>
                  <a:gd name="connsiteY11" fmla="*/ 37052 h 116681"/>
                  <a:gd name="connsiteX12" fmla="*/ 723519 w 2544890"/>
                  <a:gd name="connsiteY12" fmla="*/ 37052 h 116681"/>
                  <a:gd name="connsiteX13" fmla="*/ 723519 w 2544890"/>
                  <a:gd name="connsiteY13" fmla="*/ 43339 h 116681"/>
                  <a:gd name="connsiteX14" fmla="*/ 803434 w 2544890"/>
                  <a:gd name="connsiteY14" fmla="*/ 43339 h 116681"/>
                  <a:gd name="connsiteX15" fmla="*/ 803434 w 2544890"/>
                  <a:gd name="connsiteY15" fmla="*/ 49625 h 116681"/>
                  <a:gd name="connsiteX16" fmla="*/ 965359 w 2544890"/>
                  <a:gd name="connsiteY16" fmla="*/ 49625 h 116681"/>
                  <a:gd name="connsiteX17" fmla="*/ 965359 w 2544890"/>
                  <a:gd name="connsiteY17" fmla="*/ 56102 h 116681"/>
                  <a:gd name="connsiteX18" fmla="*/ 982218 w 2544890"/>
                  <a:gd name="connsiteY18" fmla="*/ 56102 h 116681"/>
                  <a:gd name="connsiteX19" fmla="*/ 982218 w 2544890"/>
                  <a:gd name="connsiteY19" fmla="*/ 62484 h 116681"/>
                  <a:gd name="connsiteX20" fmla="*/ 1100042 w 2544890"/>
                  <a:gd name="connsiteY20" fmla="*/ 62484 h 116681"/>
                  <a:gd name="connsiteX21" fmla="*/ 1100042 w 2544890"/>
                  <a:gd name="connsiteY21" fmla="*/ 68961 h 116681"/>
                  <a:gd name="connsiteX22" fmla="*/ 1192530 w 2544890"/>
                  <a:gd name="connsiteY22" fmla="*/ 68961 h 116681"/>
                  <a:gd name="connsiteX23" fmla="*/ 1192530 w 2544890"/>
                  <a:gd name="connsiteY23" fmla="*/ 75343 h 116681"/>
                  <a:gd name="connsiteX24" fmla="*/ 1211485 w 2544890"/>
                  <a:gd name="connsiteY24" fmla="*/ 75343 h 116681"/>
                  <a:gd name="connsiteX25" fmla="*/ 1211485 w 2544890"/>
                  <a:gd name="connsiteY25" fmla="*/ 81820 h 116681"/>
                  <a:gd name="connsiteX26" fmla="*/ 2065306 w 2544890"/>
                  <a:gd name="connsiteY26" fmla="*/ 81820 h 116681"/>
                  <a:gd name="connsiteX27" fmla="*/ 2065306 w 2544890"/>
                  <a:gd name="connsiteY27" fmla="*/ 116681 h 116681"/>
                  <a:gd name="connsiteX28" fmla="*/ 2544890 w 2544890"/>
                  <a:gd name="connsiteY28" fmla="*/ 116681 h 116681"/>
                  <a:gd name="connsiteX0" fmla="*/ 0 w 2544890"/>
                  <a:gd name="connsiteY0" fmla="*/ 0 h 110585"/>
                  <a:gd name="connsiteX1" fmla="*/ 12668 w 2544890"/>
                  <a:gd name="connsiteY1" fmla="*/ 0 h 110585"/>
                  <a:gd name="connsiteX2" fmla="*/ 12668 w 2544890"/>
                  <a:gd name="connsiteY2" fmla="*/ 6191 h 110585"/>
                  <a:gd name="connsiteX3" fmla="*/ 37910 w 2544890"/>
                  <a:gd name="connsiteY3" fmla="*/ 6191 h 110585"/>
                  <a:gd name="connsiteX4" fmla="*/ 37910 w 2544890"/>
                  <a:gd name="connsiteY4" fmla="*/ 12287 h 110585"/>
                  <a:gd name="connsiteX5" fmla="*/ 267176 w 2544890"/>
                  <a:gd name="connsiteY5" fmla="*/ 12287 h 110585"/>
                  <a:gd name="connsiteX6" fmla="*/ 267176 w 2544890"/>
                  <a:gd name="connsiteY6" fmla="*/ 18479 h 110585"/>
                  <a:gd name="connsiteX7" fmla="*/ 380714 w 2544890"/>
                  <a:gd name="connsiteY7" fmla="*/ 18479 h 110585"/>
                  <a:gd name="connsiteX8" fmla="*/ 380714 w 2544890"/>
                  <a:gd name="connsiteY8" fmla="*/ 24670 h 110585"/>
                  <a:gd name="connsiteX9" fmla="*/ 649891 w 2544890"/>
                  <a:gd name="connsiteY9" fmla="*/ 24670 h 110585"/>
                  <a:gd name="connsiteX10" fmla="*/ 649891 w 2544890"/>
                  <a:gd name="connsiteY10" fmla="*/ 30956 h 110585"/>
                  <a:gd name="connsiteX11" fmla="*/ 723519 w 2544890"/>
                  <a:gd name="connsiteY11" fmla="*/ 30956 h 110585"/>
                  <a:gd name="connsiteX12" fmla="*/ 723519 w 2544890"/>
                  <a:gd name="connsiteY12" fmla="*/ 37243 h 110585"/>
                  <a:gd name="connsiteX13" fmla="*/ 803434 w 2544890"/>
                  <a:gd name="connsiteY13" fmla="*/ 37243 h 110585"/>
                  <a:gd name="connsiteX14" fmla="*/ 803434 w 2544890"/>
                  <a:gd name="connsiteY14" fmla="*/ 43529 h 110585"/>
                  <a:gd name="connsiteX15" fmla="*/ 965359 w 2544890"/>
                  <a:gd name="connsiteY15" fmla="*/ 43529 h 110585"/>
                  <a:gd name="connsiteX16" fmla="*/ 965359 w 2544890"/>
                  <a:gd name="connsiteY16" fmla="*/ 50006 h 110585"/>
                  <a:gd name="connsiteX17" fmla="*/ 982218 w 2544890"/>
                  <a:gd name="connsiteY17" fmla="*/ 50006 h 110585"/>
                  <a:gd name="connsiteX18" fmla="*/ 982218 w 2544890"/>
                  <a:gd name="connsiteY18" fmla="*/ 56388 h 110585"/>
                  <a:gd name="connsiteX19" fmla="*/ 1100042 w 2544890"/>
                  <a:gd name="connsiteY19" fmla="*/ 56388 h 110585"/>
                  <a:gd name="connsiteX20" fmla="*/ 1100042 w 2544890"/>
                  <a:gd name="connsiteY20" fmla="*/ 62865 h 110585"/>
                  <a:gd name="connsiteX21" fmla="*/ 1192530 w 2544890"/>
                  <a:gd name="connsiteY21" fmla="*/ 62865 h 110585"/>
                  <a:gd name="connsiteX22" fmla="*/ 1192530 w 2544890"/>
                  <a:gd name="connsiteY22" fmla="*/ 69247 h 110585"/>
                  <a:gd name="connsiteX23" fmla="*/ 1211485 w 2544890"/>
                  <a:gd name="connsiteY23" fmla="*/ 69247 h 110585"/>
                  <a:gd name="connsiteX24" fmla="*/ 1211485 w 2544890"/>
                  <a:gd name="connsiteY24" fmla="*/ 75724 h 110585"/>
                  <a:gd name="connsiteX25" fmla="*/ 2065306 w 2544890"/>
                  <a:gd name="connsiteY25" fmla="*/ 75724 h 110585"/>
                  <a:gd name="connsiteX26" fmla="*/ 2065306 w 2544890"/>
                  <a:gd name="connsiteY26" fmla="*/ 110585 h 110585"/>
                  <a:gd name="connsiteX27" fmla="*/ 2544890 w 2544890"/>
                  <a:gd name="connsiteY27" fmla="*/ 110585 h 110585"/>
                  <a:gd name="connsiteX0" fmla="*/ 0 w 2532222"/>
                  <a:gd name="connsiteY0" fmla="*/ 0 h 110585"/>
                  <a:gd name="connsiteX1" fmla="*/ 0 w 2532222"/>
                  <a:gd name="connsiteY1" fmla="*/ 6191 h 110585"/>
                  <a:gd name="connsiteX2" fmla="*/ 25242 w 2532222"/>
                  <a:gd name="connsiteY2" fmla="*/ 6191 h 110585"/>
                  <a:gd name="connsiteX3" fmla="*/ 25242 w 2532222"/>
                  <a:gd name="connsiteY3" fmla="*/ 12287 h 110585"/>
                  <a:gd name="connsiteX4" fmla="*/ 254508 w 2532222"/>
                  <a:gd name="connsiteY4" fmla="*/ 12287 h 110585"/>
                  <a:gd name="connsiteX5" fmla="*/ 254508 w 2532222"/>
                  <a:gd name="connsiteY5" fmla="*/ 18479 h 110585"/>
                  <a:gd name="connsiteX6" fmla="*/ 368046 w 2532222"/>
                  <a:gd name="connsiteY6" fmla="*/ 18479 h 110585"/>
                  <a:gd name="connsiteX7" fmla="*/ 368046 w 2532222"/>
                  <a:gd name="connsiteY7" fmla="*/ 24670 h 110585"/>
                  <a:gd name="connsiteX8" fmla="*/ 637223 w 2532222"/>
                  <a:gd name="connsiteY8" fmla="*/ 24670 h 110585"/>
                  <a:gd name="connsiteX9" fmla="*/ 637223 w 2532222"/>
                  <a:gd name="connsiteY9" fmla="*/ 30956 h 110585"/>
                  <a:gd name="connsiteX10" fmla="*/ 710851 w 2532222"/>
                  <a:gd name="connsiteY10" fmla="*/ 30956 h 110585"/>
                  <a:gd name="connsiteX11" fmla="*/ 710851 w 2532222"/>
                  <a:gd name="connsiteY11" fmla="*/ 37243 h 110585"/>
                  <a:gd name="connsiteX12" fmla="*/ 790766 w 2532222"/>
                  <a:gd name="connsiteY12" fmla="*/ 37243 h 110585"/>
                  <a:gd name="connsiteX13" fmla="*/ 790766 w 2532222"/>
                  <a:gd name="connsiteY13" fmla="*/ 43529 h 110585"/>
                  <a:gd name="connsiteX14" fmla="*/ 952691 w 2532222"/>
                  <a:gd name="connsiteY14" fmla="*/ 43529 h 110585"/>
                  <a:gd name="connsiteX15" fmla="*/ 952691 w 2532222"/>
                  <a:gd name="connsiteY15" fmla="*/ 50006 h 110585"/>
                  <a:gd name="connsiteX16" fmla="*/ 969550 w 2532222"/>
                  <a:gd name="connsiteY16" fmla="*/ 50006 h 110585"/>
                  <a:gd name="connsiteX17" fmla="*/ 969550 w 2532222"/>
                  <a:gd name="connsiteY17" fmla="*/ 56388 h 110585"/>
                  <a:gd name="connsiteX18" fmla="*/ 1087374 w 2532222"/>
                  <a:gd name="connsiteY18" fmla="*/ 56388 h 110585"/>
                  <a:gd name="connsiteX19" fmla="*/ 1087374 w 2532222"/>
                  <a:gd name="connsiteY19" fmla="*/ 62865 h 110585"/>
                  <a:gd name="connsiteX20" fmla="*/ 1179862 w 2532222"/>
                  <a:gd name="connsiteY20" fmla="*/ 62865 h 110585"/>
                  <a:gd name="connsiteX21" fmla="*/ 1179862 w 2532222"/>
                  <a:gd name="connsiteY21" fmla="*/ 69247 h 110585"/>
                  <a:gd name="connsiteX22" fmla="*/ 1198817 w 2532222"/>
                  <a:gd name="connsiteY22" fmla="*/ 69247 h 110585"/>
                  <a:gd name="connsiteX23" fmla="*/ 1198817 w 2532222"/>
                  <a:gd name="connsiteY23" fmla="*/ 75724 h 110585"/>
                  <a:gd name="connsiteX24" fmla="*/ 2052638 w 2532222"/>
                  <a:gd name="connsiteY24" fmla="*/ 75724 h 110585"/>
                  <a:gd name="connsiteX25" fmla="*/ 2052638 w 2532222"/>
                  <a:gd name="connsiteY25" fmla="*/ 110585 h 110585"/>
                  <a:gd name="connsiteX26" fmla="*/ 2532222 w 2532222"/>
                  <a:gd name="connsiteY26" fmla="*/ 110585 h 110585"/>
                  <a:gd name="connsiteX0" fmla="*/ 0 w 2532222"/>
                  <a:gd name="connsiteY0" fmla="*/ 0 h 110585"/>
                  <a:gd name="connsiteX1" fmla="*/ 25242 w 2532222"/>
                  <a:gd name="connsiteY1" fmla="*/ 6191 h 110585"/>
                  <a:gd name="connsiteX2" fmla="*/ 25242 w 2532222"/>
                  <a:gd name="connsiteY2" fmla="*/ 12287 h 110585"/>
                  <a:gd name="connsiteX3" fmla="*/ 254508 w 2532222"/>
                  <a:gd name="connsiteY3" fmla="*/ 12287 h 110585"/>
                  <a:gd name="connsiteX4" fmla="*/ 254508 w 2532222"/>
                  <a:gd name="connsiteY4" fmla="*/ 18479 h 110585"/>
                  <a:gd name="connsiteX5" fmla="*/ 368046 w 2532222"/>
                  <a:gd name="connsiteY5" fmla="*/ 18479 h 110585"/>
                  <a:gd name="connsiteX6" fmla="*/ 368046 w 2532222"/>
                  <a:gd name="connsiteY6" fmla="*/ 24670 h 110585"/>
                  <a:gd name="connsiteX7" fmla="*/ 637223 w 2532222"/>
                  <a:gd name="connsiteY7" fmla="*/ 24670 h 110585"/>
                  <a:gd name="connsiteX8" fmla="*/ 637223 w 2532222"/>
                  <a:gd name="connsiteY8" fmla="*/ 30956 h 110585"/>
                  <a:gd name="connsiteX9" fmla="*/ 710851 w 2532222"/>
                  <a:gd name="connsiteY9" fmla="*/ 30956 h 110585"/>
                  <a:gd name="connsiteX10" fmla="*/ 710851 w 2532222"/>
                  <a:gd name="connsiteY10" fmla="*/ 37243 h 110585"/>
                  <a:gd name="connsiteX11" fmla="*/ 790766 w 2532222"/>
                  <a:gd name="connsiteY11" fmla="*/ 37243 h 110585"/>
                  <a:gd name="connsiteX12" fmla="*/ 790766 w 2532222"/>
                  <a:gd name="connsiteY12" fmla="*/ 43529 h 110585"/>
                  <a:gd name="connsiteX13" fmla="*/ 952691 w 2532222"/>
                  <a:gd name="connsiteY13" fmla="*/ 43529 h 110585"/>
                  <a:gd name="connsiteX14" fmla="*/ 952691 w 2532222"/>
                  <a:gd name="connsiteY14" fmla="*/ 50006 h 110585"/>
                  <a:gd name="connsiteX15" fmla="*/ 969550 w 2532222"/>
                  <a:gd name="connsiteY15" fmla="*/ 50006 h 110585"/>
                  <a:gd name="connsiteX16" fmla="*/ 969550 w 2532222"/>
                  <a:gd name="connsiteY16" fmla="*/ 56388 h 110585"/>
                  <a:gd name="connsiteX17" fmla="*/ 1087374 w 2532222"/>
                  <a:gd name="connsiteY17" fmla="*/ 56388 h 110585"/>
                  <a:gd name="connsiteX18" fmla="*/ 1087374 w 2532222"/>
                  <a:gd name="connsiteY18" fmla="*/ 62865 h 110585"/>
                  <a:gd name="connsiteX19" fmla="*/ 1179862 w 2532222"/>
                  <a:gd name="connsiteY19" fmla="*/ 62865 h 110585"/>
                  <a:gd name="connsiteX20" fmla="*/ 1179862 w 2532222"/>
                  <a:gd name="connsiteY20" fmla="*/ 69247 h 110585"/>
                  <a:gd name="connsiteX21" fmla="*/ 1198817 w 2532222"/>
                  <a:gd name="connsiteY21" fmla="*/ 69247 h 110585"/>
                  <a:gd name="connsiteX22" fmla="*/ 1198817 w 2532222"/>
                  <a:gd name="connsiteY22" fmla="*/ 75724 h 110585"/>
                  <a:gd name="connsiteX23" fmla="*/ 2052638 w 2532222"/>
                  <a:gd name="connsiteY23" fmla="*/ 75724 h 110585"/>
                  <a:gd name="connsiteX24" fmla="*/ 2052638 w 2532222"/>
                  <a:gd name="connsiteY24" fmla="*/ 110585 h 110585"/>
                  <a:gd name="connsiteX25" fmla="*/ 2532222 w 2532222"/>
                  <a:gd name="connsiteY25" fmla="*/ 110585 h 110585"/>
                  <a:gd name="connsiteX0" fmla="*/ 0 w 2506980"/>
                  <a:gd name="connsiteY0" fmla="*/ 0 h 104394"/>
                  <a:gd name="connsiteX1" fmla="*/ 0 w 2506980"/>
                  <a:gd name="connsiteY1" fmla="*/ 6096 h 104394"/>
                  <a:gd name="connsiteX2" fmla="*/ 229266 w 2506980"/>
                  <a:gd name="connsiteY2" fmla="*/ 6096 h 104394"/>
                  <a:gd name="connsiteX3" fmla="*/ 229266 w 2506980"/>
                  <a:gd name="connsiteY3" fmla="*/ 12288 h 104394"/>
                  <a:gd name="connsiteX4" fmla="*/ 342804 w 2506980"/>
                  <a:gd name="connsiteY4" fmla="*/ 12288 h 104394"/>
                  <a:gd name="connsiteX5" fmla="*/ 342804 w 2506980"/>
                  <a:gd name="connsiteY5" fmla="*/ 18479 h 104394"/>
                  <a:gd name="connsiteX6" fmla="*/ 611981 w 2506980"/>
                  <a:gd name="connsiteY6" fmla="*/ 18479 h 104394"/>
                  <a:gd name="connsiteX7" fmla="*/ 611981 w 2506980"/>
                  <a:gd name="connsiteY7" fmla="*/ 24765 h 104394"/>
                  <a:gd name="connsiteX8" fmla="*/ 685609 w 2506980"/>
                  <a:gd name="connsiteY8" fmla="*/ 24765 h 104394"/>
                  <a:gd name="connsiteX9" fmla="*/ 685609 w 2506980"/>
                  <a:gd name="connsiteY9" fmla="*/ 31052 h 104394"/>
                  <a:gd name="connsiteX10" fmla="*/ 765524 w 2506980"/>
                  <a:gd name="connsiteY10" fmla="*/ 31052 h 104394"/>
                  <a:gd name="connsiteX11" fmla="*/ 765524 w 2506980"/>
                  <a:gd name="connsiteY11" fmla="*/ 37338 h 104394"/>
                  <a:gd name="connsiteX12" fmla="*/ 927449 w 2506980"/>
                  <a:gd name="connsiteY12" fmla="*/ 37338 h 104394"/>
                  <a:gd name="connsiteX13" fmla="*/ 927449 w 2506980"/>
                  <a:gd name="connsiteY13" fmla="*/ 43815 h 104394"/>
                  <a:gd name="connsiteX14" fmla="*/ 944308 w 2506980"/>
                  <a:gd name="connsiteY14" fmla="*/ 43815 h 104394"/>
                  <a:gd name="connsiteX15" fmla="*/ 944308 w 2506980"/>
                  <a:gd name="connsiteY15" fmla="*/ 50197 h 104394"/>
                  <a:gd name="connsiteX16" fmla="*/ 1062132 w 2506980"/>
                  <a:gd name="connsiteY16" fmla="*/ 50197 h 104394"/>
                  <a:gd name="connsiteX17" fmla="*/ 1062132 w 2506980"/>
                  <a:gd name="connsiteY17" fmla="*/ 56674 h 104394"/>
                  <a:gd name="connsiteX18" fmla="*/ 1154620 w 2506980"/>
                  <a:gd name="connsiteY18" fmla="*/ 56674 h 104394"/>
                  <a:gd name="connsiteX19" fmla="*/ 1154620 w 2506980"/>
                  <a:gd name="connsiteY19" fmla="*/ 63056 h 104394"/>
                  <a:gd name="connsiteX20" fmla="*/ 1173575 w 2506980"/>
                  <a:gd name="connsiteY20" fmla="*/ 63056 h 104394"/>
                  <a:gd name="connsiteX21" fmla="*/ 1173575 w 2506980"/>
                  <a:gd name="connsiteY21" fmla="*/ 69533 h 104394"/>
                  <a:gd name="connsiteX22" fmla="*/ 2027396 w 2506980"/>
                  <a:gd name="connsiteY22" fmla="*/ 69533 h 104394"/>
                  <a:gd name="connsiteX23" fmla="*/ 2027396 w 2506980"/>
                  <a:gd name="connsiteY23" fmla="*/ 104394 h 104394"/>
                  <a:gd name="connsiteX24" fmla="*/ 2506980 w 2506980"/>
                  <a:gd name="connsiteY24" fmla="*/ 104394 h 104394"/>
                  <a:gd name="connsiteX0" fmla="*/ 0 w 2506980"/>
                  <a:gd name="connsiteY0" fmla="*/ 0 h 104394"/>
                  <a:gd name="connsiteX1" fmla="*/ 229266 w 2506980"/>
                  <a:gd name="connsiteY1" fmla="*/ 6096 h 104394"/>
                  <a:gd name="connsiteX2" fmla="*/ 229266 w 2506980"/>
                  <a:gd name="connsiteY2" fmla="*/ 12288 h 104394"/>
                  <a:gd name="connsiteX3" fmla="*/ 342804 w 2506980"/>
                  <a:gd name="connsiteY3" fmla="*/ 12288 h 104394"/>
                  <a:gd name="connsiteX4" fmla="*/ 342804 w 2506980"/>
                  <a:gd name="connsiteY4" fmla="*/ 18479 h 104394"/>
                  <a:gd name="connsiteX5" fmla="*/ 611981 w 2506980"/>
                  <a:gd name="connsiteY5" fmla="*/ 18479 h 104394"/>
                  <a:gd name="connsiteX6" fmla="*/ 611981 w 2506980"/>
                  <a:gd name="connsiteY6" fmla="*/ 24765 h 104394"/>
                  <a:gd name="connsiteX7" fmla="*/ 685609 w 2506980"/>
                  <a:gd name="connsiteY7" fmla="*/ 24765 h 104394"/>
                  <a:gd name="connsiteX8" fmla="*/ 685609 w 2506980"/>
                  <a:gd name="connsiteY8" fmla="*/ 31052 h 104394"/>
                  <a:gd name="connsiteX9" fmla="*/ 765524 w 2506980"/>
                  <a:gd name="connsiteY9" fmla="*/ 31052 h 104394"/>
                  <a:gd name="connsiteX10" fmla="*/ 765524 w 2506980"/>
                  <a:gd name="connsiteY10" fmla="*/ 37338 h 104394"/>
                  <a:gd name="connsiteX11" fmla="*/ 927449 w 2506980"/>
                  <a:gd name="connsiteY11" fmla="*/ 37338 h 104394"/>
                  <a:gd name="connsiteX12" fmla="*/ 927449 w 2506980"/>
                  <a:gd name="connsiteY12" fmla="*/ 43815 h 104394"/>
                  <a:gd name="connsiteX13" fmla="*/ 944308 w 2506980"/>
                  <a:gd name="connsiteY13" fmla="*/ 43815 h 104394"/>
                  <a:gd name="connsiteX14" fmla="*/ 944308 w 2506980"/>
                  <a:gd name="connsiteY14" fmla="*/ 50197 h 104394"/>
                  <a:gd name="connsiteX15" fmla="*/ 1062132 w 2506980"/>
                  <a:gd name="connsiteY15" fmla="*/ 50197 h 104394"/>
                  <a:gd name="connsiteX16" fmla="*/ 1062132 w 2506980"/>
                  <a:gd name="connsiteY16" fmla="*/ 56674 h 104394"/>
                  <a:gd name="connsiteX17" fmla="*/ 1154620 w 2506980"/>
                  <a:gd name="connsiteY17" fmla="*/ 56674 h 104394"/>
                  <a:gd name="connsiteX18" fmla="*/ 1154620 w 2506980"/>
                  <a:gd name="connsiteY18" fmla="*/ 63056 h 104394"/>
                  <a:gd name="connsiteX19" fmla="*/ 1173575 w 2506980"/>
                  <a:gd name="connsiteY19" fmla="*/ 63056 h 104394"/>
                  <a:gd name="connsiteX20" fmla="*/ 1173575 w 2506980"/>
                  <a:gd name="connsiteY20" fmla="*/ 69533 h 104394"/>
                  <a:gd name="connsiteX21" fmla="*/ 2027396 w 2506980"/>
                  <a:gd name="connsiteY21" fmla="*/ 69533 h 104394"/>
                  <a:gd name="connsiteX22" fmla="*/ 2027396 w 2506980"/>
                  <a:gd name="connsiteY22" fmla="*/ 104394 h 104394"/>
                  <a:gd name="connsiteX23" fmla="*/ 2506980 w 2506980"/>
                  <a:gd name="connsiteY23" fmla="*/ 104394 h 104394"/>
                  <a:gd name="connsiteX0" fmla="*/ 0 w 2277714"/>
                  <a:gd name="connsiteY0" fmla="*/ 0 h 98298"/>
                  <a:gd name="connsiteX1" fmla="*/ 0 w 2277714"/>
                  <a:gd name="connsiteY1" fmla="*/ 6192 h 98298"/>
                  <a:gd name="connsiteX2" fmla="*/ 113538 w 2277714"/>
                  <a:gd name="connsiteY2" fmla="*/ 6192 h 98298"/>
                  <a:gd name="connsiteX3" fmla="*/ 113538 w 2277714"/>
                  <a:gd name="connsiteY3" fmla="*/ 12383 h 98298"/>
                  <a:gd name="connsiteX4" fmla="*/ 382715 w 2277714"/>
                  <a:gd name="connsiteY4" fmla="*/ 12383 h 98298"/>
                  <a:gd name="connsiteX5" fmla="*/ 382715 w 2277714"/>
                  <a:gd name="connsiteY5" fmla="*/ 18669 h 98298"/>
                  <a:gd name="connsiteX6" fmla="*/ 456343 w 2277714"/>
                  <a:gd name="connsiteY6" fmla="*/ 18669 h 98298"/>
                  <a:gd name="connsiteX7" fmla="*/ 456343 w 2277714"/>
                  <a:gd name="connsiteY7" fmla="*/ 24956 h 98298"/>
                  <a:gd name="connsiteX8" fmla="*/ 536258 w 2277714"/>
                  <a:gd name="connsiteY8" fmla="*/ 24956 h 98298"/>
                  <a:gd name="connsiteX9" fmla="*/ 536258 w 2277714"/>
                  <a:gd name="connsiteY9" fmla="*/ 31242 h 98298"/>
                  <a:gd name="connsiteX10" fmla="*/ 698183 w 2277714"/>
                  <a:gd name="connsiteY10" fmla="*/ 31242 h 98298"/>
                  <a:gd name="connsiteX11" fmla="*/ 698183 w 2277714"/>
                  <a:gd name="connsiteY11" fmla="*/ 37719 h 98298"/>
                  <a:gd name="connsiteX12" fmla="*/ 715042 w 2277714"/>
                  <a:gd name="connsiteY12" fmla="*/ 37719 h 98298"/>
                  <a:gd name="connsiteX13" fmla="*/ 715042 w 2277714"/>
                  <a:gd name="connsiteY13" fmla="*/ 44101 h 98298"/>
                  <a:gd name="connsiteX14" fmla="*/ 832866 w 2277714"/>
                  <a:gd name="connsiteY14" fmla="*/ 44101 h 98298"/>
                  <a:gd name="connsiteX15" fmla="*/ 832866 w 2277714"/>
                  <a:gd name="connsiteY15" fmla="*/ 50578 h 98298"/>
                  <a:gd name="connsiteX16" fmla="*/ 925354 w 2277714"/>
                  <a:gd name="connsiteY16" fmla="*/ 50578 h 98298"/>
                  <a:gd name="connsiteX17" fmla="*/ 925354 w 2277714"/>
                  <a:gd name="connsiteY17" fmla="*/ 56960 h 98298"/>
                  <a:gd name="connsiteX18" fmla="*/ 944309 w 2277714"/>
                  <a:gd name="connsiteY18" fmla="*/ 56960 h 98298"/>
                  <a:gd name="connsiteX19" fmla="*/ 944309 w 2277714"/>
                  <a:gd name="connsiteY19" fmla="*/ 63437 h 98298"/>
                  <a:gd name="connsiteX20" fmla="*/ 1798130 w 2277714"/>
                  <a:gd name="connsiteY20" fmla="*/ 63437 h 98298"/>
                  <a:gd name="connsiteX21" fmla="*/ 1798130 w 2277714"/>
                  <a:gd name="connsiteY21" fmla="*/ 98298 h 98298"/>
                  <a:gd name="connsiteX22" fmla="*/ 2277714 w 2277714"/>
                  <a:gd name="connsiteY22" fmla="*/ 98298 h 98298"/>
                  <a:gd name="connsiteX0" fmla="*/ 0 w 2277714"/>
                  <a:gd name="connsiteY0" fmla="*/ 0 h 98298"/>
                  <a:gd name="connsiteX1" fmla="*/ 113538 w 2277714"/>
                  <a:gd name="connsiteY1" fmla="*/ 6192 h 98298"/>
                  <a:gd name="connsiteX2" fmla="*/ 113538 w 2277714"/>
                  <a:gd name="connsiteY2" fmla="*/ 12383 h 98298"/>
                  <a:gd name="connsiteX3" fmla="*/ 382715 w 2277714"/>
                  <a:gd name="connsiteY3" fmla="*/ 12383 h 98298"/>
                  <a:gd name="connsiteX4" fmla="*/ 382715 w 2277714"/>
                  <a:gd name="connsiteY4" fmla="*/ 18669 h 98298"/>
                  <a:gd name="connsiteX5" fmla="*/ 456343 w 2277714"/>
                  <a:gd name="connsiteY5" fmla="*/ 18669 h 98298"/>
                  <a:gd name="connsiteX6" fmla="*/ 456343 w 2277714"/>
                  <a:gd name="connsiteY6" fmla="*/ 24956 h 98298"/>
                  <a:gd name="connsiteX7" fmla="*/ 536258 w 2277714"/>
                  <a:gd name="connsiteY7" fmla="*/ 24956 h 98298"/>
                  <a:gd name="connsiteX8" fmla="*/ 536258 w 2277714"/>
                  <a:gd name="connsiteY8" fmla="*/ 31242 h 98298"/>
                  <a:gd name="connsiteX9" fmla="*/ 698183 w 2277714"/>
                  <a:gd name="connsiteY9" fmla="*/ 31242 h 98298"/>
                  <a:gd name="connsiteX10" fmla="*/ 698183 w 2277714"/>
                  <a:gd name="connsiteY10" fmla="*/ 37719 h 98298"/>
                  <a:gd name="connsiteX11" fmla="*/ 715042 w 2277714"/>
                  <a:gd name="connsiteY11" fmla="*/ 37719 h 98298"/>
                  <a:gd name="connsiteX12" fmla="*/ 715042 w 2277714"/>
                  <a:gd name="connsiteY12" fmla="*/ 44101 h 98298"/>
                  <a:gd name="connsiteX13" fmla="*/ 832866 w 2277714"/>
                  <a:gd name="connsiteY13" fmla="*/ 44101 h 98298"/>
                  <a:gd name="connsiteX14" fmla="*/ 832866 w 2277714"/>
                  <a:gd name="connsiteY14" fmla="*/ 50578 h 98298"/>
                  <a:gd name="connsiteX15" fmla="*/ 925354 w 2277714"/>
                  <a:gd name="connsiteY15" fmla="*/ 50578 h 98298"/>
                  <a:gd name="connsiteX16" fmla="*/ 925354 w 2277714"/>
                  <a:gd name="connsiteY16" fmla="*/ 56960 h 98298"/>
                  <a:gd name="connsiteX17" fmla="*/ 944309 w 2277714"/>
                  <a:gd name="connsiteY17" fmla="*/ 56960 h 98298"/>
                  <a:gd name="connsiteX18" fmla="*/ 944309 w 2277714"/>
                  <a:gd name="connsiteY18" fmla="*/ 63437 h 98298"/>
                  <a:gd name="connsiteX19" fmla="*/ 1798130 w 2277714"/>
                  <a:gd name="connsiteY19" fmla="*/ 63437 h 98298"/>
                  <a:gd name="connsiteX20" fmla="*/ 1798130 w 2277714"/>
                  <a:gd name="connsiteY20" fmla="*/ 98298 h 98298"/>
                  <a:gd name="connsiteX21" fmla="*/ 2277714 w 2277714"/>
                  <a:gd name="connsiteY21" fmla="*/ 98298 h 98298"/>
                  <a:gd name="connsiteX0" fmla="*/ 0 w 2164176"/>
                  <a:gd name="connsiteY0" fmla="*/ 0 h 92106"/>
                  <a:gd name="connsiteX1" fmla="*/ 0 w 2164176"/>
                  <a:gd name="connsiteY1" fmla="*/ 6191 h 92106"/>
                  <a:gd name="connsiteX2" fmla="*/ 269177 w 2164176"/>
                  <a:gd name="connsiteY2" fmla="*/ 6191 h 92106"/>
                  <a:gd name="connsiteX3" fmla="*/ 269177 w 2164176"/>
                  <a:gd name="connsiteY3" fmla="*/ 12477 h 92106"/>
                  <a:gd name="connsiteX4" fmla="*/ 342805 w 2164176"/>
                  <a:gd name="connsiteY4" fmla="*/ 12477 h 92106"/>
                  <a:gd name="connsiteX5" fmla="*/ 342805 w 2164176"/>
                  <a:gd name="connsiteY5" fmla="*/ 18764 h 92106"/>
                  <a:gd name="connsiteX6" fmla="*/ 422720 w 2164176"/>
                  <a:gd name="connsiteY6" fmla="*/ 18764 h 92106"/>
                  <a:gd name="connsiteX7" fmla="*/ 422720 w 2164176"/>
                  <a:gd name="connsiteY7" fmla="*/ 25050 h 92106"/>
                  <a:gd name="connsiteX8" fmla="*/ 584645 w 2164176"/>
                  <a:gd name="connsiteY8" fmla="*/ 25050 h 92106"/>
                  <a:gd name="connsiteX9" fmla="*/ 584645 w 2164176"/>
                  <a:gd name="connsiteY9" fmla="*/ 31527 h 92106"/>
                  <a:gd name="connsiteX10" fmla="*/ 601504 w 2164176"/>
                  <a:gd name="connsiteY10" fmla="*/ 31527 h 92106"/>
                  <a:gd name="connsiteX11" fmla="*/ 601504 w 2164176"/>
                  <a:gd name="connsiteY11" fmla="*/ 37909 h 92106"/>
                  <a:gd name="connsiteX12" fmla="*/ 719328 w 2164176"/>
                  <a:gd name="connsiteY12" fmla="*/ 37909 h 92106"/>
                  <a:gd name="connsiteX13" fmla="*/ 719328 w 2164176"/>
                  <a:gd name="connsiteY13" fmla="*/ 44386 h 92106"/>
                  <a:gd name="connsiteX14" fmla="*/ 811816 w 2164176"/>
                  <a:gd name="connsiteY14" fmla="*/ 44386 h 92106"/>
                  <a:gd name="connsiteX15" fmla="*/ 811816 w 2164176"/>
                  <a:gd name="connsiteY15" fmla="*/ 50768 h 92106"/>
                  <a:gd name="connsiteX16" fmla="*/ 830771 w 2164176"/>
                  <a:gd name="connsiteY16" fmla="*/ 50768 h 92106"/>
                  <a:gd name="connsiteX17" fmla="*/ 830771 w 2164176"/>
                  <a:gd name="connsiteY17" fmla="*/ 57245 h 92106"/>
                  <a:gd name="connsiteX18" fmla="*/ 1684592 w 2164176"/>
                  <a:gd name="connsiteY18" fmla="*/ 57245 h 92106"/>
                  <a:gd name="connsiteX19" fmla="*/ 1684592 w 2164176"/>
                  <a:gd name="connsiteY19" fmla="*/ 92106 h 92106"/>
                  <a:gd name="connsiteX20" fmla="*/ 2164176 w 2164176"/>
                  <a:gd name="connsiteY20" fmla="*/ 92106 h 92106"/>
                  <a:gd name="connsiteX0" fmla="*/ 0 w 2164176"/>
                  <a:gd name="connsiteY0" fmla="*/ 0 h 92106"/>
                  <a:gd name="connsiteX1" fmla="*/ 269177 w 2164176"/>
                  <a:gd name="connsiteY1" fmla="*/ 6191 h 92106"/>
                  <a:gd name="connsiteX2" fmla="*/ 269177 w 2164176"/>
                  <a:gd name="connsiteY2" fmla="*/ 12477 h 92106"/>
                  <a:gd name="connsiteX3" fmla="*/ 342805 w 2164176"/>
                  <a:gd name="connsiteY3" fmla="*/ 12477 h 92106"/>
                  <a:gd name="connsiteX4" fmla="*/ 342805 w 2164176"/>
                  <a:gd name="connsiteY4" fmla="*/ 18764 h 92106"/>
                  <a:gd name="connsiteX5" fmla="*/ 422720 w 2164176"/>
                  <a:gd name="connsiteY5" fmla="*/ 18764 h 92106"/>
                  <a:gd name="connsiteX6" fmla="*/ 422720 w 2164176"/>
                  <a:gd name="connsiteY6" fmla="*/ 25050 h 92106"/>
                  <a:gd name="connsiteX7" fmla="*/ 584645 w 2164176"/>
                  <a:gd name="connsiteY7" fmla="*/ 25050 h 92106"/>
                  <a:gd name="connsiteX8" fmla="*/ 584645 w 2164176"/>
                  <a:gd name="connsiteY8" fmla="*/ 31527 h 92106"/>
                  <a:gd name="connsiteX9" fmla="*/ 601504 w 2164176"/>
                  <a:gd name="connsiteY9" fmla="*/ 31527 h 92106"/>
                  <a:gd name="connsiteX10" fmla="*/ 601504 w 2164176"/>
                  <a:gd name="connsiteY10" fmla="*/ 37909 h 92106"/>
                  <a:gd name="connsiteX11" fmla="*/ 719328 w 2164176"/>
                  <a:gd name="connsiteY11" fmla="*/ 37909 h 92106"/>
                  <a:gd name="connsiteX12" fmla="*/ 719328 w 2164176"/>
                  <a:gd name="connsiteY12" fmla="*/ 44386 h 92106"/>
                  <a:gd name="connsiteX13" fmla="*/ 811816 w 2164176"/>
                  <a:gd name="connsiteY13" fmla="*/ 44386 h 92106"/>
                  <a:gd name="connsiteX14" fmla="*/ 811816 w 2164176"/>
                  <a:gd name="connsiteY14" fmla="*/ 50768 h 92106"/>
                  <a:gd name="connsiteX15" fmla="*/ 830771 w 2164176"/>
                  <a:gd name="connsiteY15" fmla="*/ 50768 h 92106"/>
                  <a:gd name="connsiteX16" fmla="*/ 830771 w 2164176"/>
                  <a:gd name="connsiteY16" fmla="*/ 57245 h 92106"/>
                  <a:gd name="connsiteX17" fmla="*/ 1684592 w 2164176"/>
                  <a:gd name="connsiteY17" fmla="*/ 57245 h 92106"/>
                  <a:gd name="connsiteX18" fmla="*/ 1684592 w 2164176"/>
                  <a:gd name="connsiteY18" fmla="*/ 92106 h 92106"/>
                  <a:gd name="connsiteX19" fmla="*/ 2164176 w 2164176"/>
                  <a:gd name="connsiteY19" fmla="*/ 92106 h 92106"/>
                  <a:gd name="connsiteX0" fmla="*/ 0 w 1894999"/>
                  <a:gd name="connsiteY0" fmla="*/ 0 h 85915"/>
                  <a:gd name="connsiteX1" fmla="*/ 0 w 1894999"/>
                  <a:gd name="connsiteY1" fmla="*/ 6286 h 85915"/>
                  <a:gd name="connsiteX2" fmla="*/ 73628 w 1894999"/>
                  <a:gd name="connsiteY2" fmla="*/ 6286 h 85915"/>
                  <a:gd name="connsiteX3" fmla="*/ 73628 w 1894999"/>
                  <a:gd name="connsiteY3" fmla="*/ 12573 h 85915"/>
                  <a:gd name="connsiteX4" fmla="*/ 153543 w 1894999"/>
                  <a:gd name="connsiteY4" fmla="*/ 12573 h 85915"/>
                  <a:gd name="connsiteX5" fmla="*/ 153543 w 1894999"/>
                  <a:gd name="connsiteY5" fmla="*/ 18859 h 85915"/>
                  <a:gd name="connsiteX6" fmla="*/ 315468 w 1894999"/>
                  <a:gd name="connsiteY6" fmla="*/ 18859 h 85915"/>
                  <a:gd name="connsiteX7" fmla="*/ 315468 w 1894999"/>
                  <a:gd name="connsiteY7" fmla="*/ 25336 h 85915"/>
                  <a:gd name="connsiteX8" fmla="*/ 332327 w 1894999"/>
                  <a:gd name="connsiteY8" fmla="*/ 25336 h 85915"/>
                  <a:gd name="connsiteX9" fmla="*/ 332327 w 1894999"/>
                  <a:gd name="connsiteY9" fmla="*/ 31718 h 85915"/>
                  <a:gd name="connsiteX10" fmla="*/ 450151 w 1894999"/>
                  <a:gd name="connsiteY10" fmla="*/ 31718 h 85915"/>
                  <a:gd name="connsiteX11" fmla="*/ 450151 w 1894999"/>
                  <a:gd name="connsiteY11" fmla="*/ 38195 h 85915"/>
                  <a:gd name="connsiteX12" fmla="*/ 542639 w 1894999"/>
                  <a:gd name="connsiteY12" fmla="*/ 38195 h 85915"/>
                  <a:gd name="connsiteX13" fmla="*/ 542639 w 1894999"/>
                  <a:gd name="connsiteY13" fmla="*/ 44577 h 85915"/>
                  <a:gd name="connsiteX14" fmla="*/ 561594 w 1894999"/>
                  <a:gd name="connsiteY14" fmla="*/ 44577 h 85915"/>
                  <a:gd name="connsiteX15" fmla="*/ 561594 w 1894999"/>
                  <a:gd name="connsiteY15" fmla="*/ 51054 h 85915"/>
                  <a:gd name="connsiteX16" fmla="*/ 1415415 w 1894999"/>
                  <a:gd name="connsiteY16" fmla="*/ 51054 h 85915"/>
                  <a:gd name="connsiteX17" fmla="*/ 1415415 w 1894999"/>
                  <a:gd name="connsiteY17" fmla="*/ 85915 h 85915"/>
                  <a:gd name="connsiteX18" fmla="*/ 1894999 w 1894999"/>
                  <a:gd name="connsiteY18" fmla="*/ 85915 h 85915"/>
                  <a:gd name="connsiteX0" fmla="*/ 0 w 1894999"/>
                  <a:gd name="connsiteY0" fmla="*/ 0 h 85915"/>
                  <a:gd name="connsiteX1" fmla="*/ 73628 w 1894999"/>
                  <a:gd name="connsiteY1" fmla="*/ 6286 h 85915"/>
                  <a:gd name="connsiteX2" fmla="*/ 73628 w 1894999"/>
                  <a:gd name="connsiteY2" fmla="*/ 12573 h 85915"/>
                  <a:gd name="connsiteX3" fmla="*/ 153543 w 1894999"/>
                  <a:gd name="connsiteY3" fmla="*/ 12573 h 85915"/>
                  <a:gd name="connsiteX4" fmla="*/ 153543 w 1894999"/>
                  <a:gd name="connsiteY4" fmla="*/ 18859 h 85915"/>
                  <a:gd name="connsiteX5" fmla="*/ 315468 w 1894999"/>
                  <a:gd name="connsiteY5" fmla="*/ 18859 h 85915"/>
                  <a:gd name="connsiteX6" fmla="*/ 315468 w 1894999"/>
                  <a:gd name="connsiteY6" fmla="*/ 25336 h 85915"/>
                  <a:gd name="connsiteX7" fmla="*/ 332327 w 1894999"/>
                  <a:gd name="connsiteY7" fmla="*/ 25336 h 85915"/>
                  <a:gd name="connsiteX8" fmla="*/ 332327 w 1894999"/>
                  <a:gd name="connsiteY8" fmla="*/ 31718 h 85915"/>
                  <a:gd name="connsiteX9" fmla="*/ 450151 w 1894999"/>
                  <a:gd name="connsiteY9" fmla="*/ 31718 h 85915"/>
                  <a:gd name="connsiteX10" fmla="*/ 450151 w 1894999"/>
                  <a:gd name="connsiteY10" fmla="*/ 38195 h 85915"/>
                  <a:gd name="connsiteX11" fmla="*/ 542639 w 1894999"/>
                  <a:gd name="connsiteY11" fmla="*/ 38195 h 85915"/>
                  <a:gd name="connsiteX12" fmla="*/ 542639 w 1894999"/>
                  <a:gd name="connsiteY12" fmla="*/ 44577 h 85915"/>
                  <a:gd name="connsiteX13" fmla="*/ 561594 w 1894999"/>
                  <a:gd name="connsiteY13" fmla="*/ 44577 h 85915"/>
                  <a:gd name="connsiteX14" fmla="*/ 561594 w 1894999"/>
                  <a:gd name="connsiteY14" fmla="*/ 51054 h 85915"/>
                  <a:gd name="connsiteX15" fmla="*/ 1415415 w 1894999"/>
                  <a:gd name="connsiteY15" fmla="*/ 51054 h 85915"/>
                  <a:gd name="connsiteX16" fmla="*/ 1415415 w 1894999"/>
                  <a:gd name="connsiteY16" fmla="*/ 85915 h 85915"/>
                  <a:gd name="connsiteX17" fmla="*/ 1894999 w 1894999"/>
                  <a:gd name="connsiteY17" fmla="*/ 85915 h 85915"/>
                  <a:gd name="connsiteX0" fmla="*/ 0 w 1821371"/>
                  <a:gd name="connsiteY0" fmla="*/ 0 h 79629"/>
                  <a:gd name="connsiteX1" fmla="*/ 0 w 1821371"/>
                  <a:gd name="connsiteY1" fmla="*/ 6287 h 79629"/>
                  <a:gd name="connsiteX2" fmla="*/ 79915 w 1821371"/>
                  <a:gd name="connsiteY2" fmla="*/ 6287 h 79629"/>
                  <a:gd name="connsiteX3" fmla="*/ 79915 w 1821371"/>
                  <a:gd name="connsiteY3" fmla="*/ 12573 h 79629"/>
                  <a:gd name="connsiteX4" fmla="*/ 241840 w 1821371"/>
                  <a:gd name="connsiteY4" fmla="*/ 12573 h 79629"/>
                  <a:gd name="connsiteX5" fmla="*/ 241840 w 1821371"/>
                  <a:gd name="connsiteY5" fmla="*/ 19050 h 79629"/>
                  <a:gd name="connsiteX6" fmla="*/ 258699 w 1821371"/>
                  <a:gd name="connsiteY6" fmla="*/ 19050 h 79629"/>
                  <a:gd name="connsiteX7" fmla="*/ 258699 w 1821371"/>
                  <a:gd name="connsiteY7" fmla="*/ 25432 h 79629"/>
                  <a:gd name="connsiteX8" fmla="*/ 376523 w 1821371"/>
                  <a:gd name="connsiteY8" fmla="*/ 25432 h 79629"/>
                  <a:gd name="connsiteX9" fmla="*/ 376523 w 1821371"/>
                  <a:gd name="connsiteY9" fmla="*/ 31909 h 79629"/>
                  <a:gd name="connsiteX10" fmla="*/ 469011 w 1821371"/>
                  <a:gd name="connsiteY10" fmla="*/ 31909 h 79629"/>
                  <a:gd name="connsiteX11" fmla="*/ 469011 w 1821371"/>
                  <a:gd name="connsiteY11" fmla="*/ 38291 h 79629"/>
                  <a:gd name="connsiteX12" fmla="*/ 487966 w 1821371"/>
                  <a:gd name="connsiteY12" fmla="*/ 38291 h 79629"/>
                  <a:gd name="connsiteX13" fmla="*/ 487966 w 1821371"/>
                  <a:gd name="connsiteY13" fmla="*/ 44768 h 79629"/>
                  <a:gd name="connsiteX14" fmla="*/ 1341787 w 1821371"/>
                  <a:gd name="connsiteY14" fmla="*/ 44768 h 79629"/>
                  <a:gd name="connsiteX15" fmla="*/ 1341787 w 1821371"/>
                  <a:gd name="connsiteY15" fmla="*/ 79629 h 79629"/>
                  <a:gd name="connsiteX16" fmla="*/ 1821371 w 1821371"/>
                  <a:gd name="connsiteY16" fmla="*/ 79629 h 79629"/>
                  <a:gd name="connsiteX0" fmla="*/ 0 w 1821371"/>
                  <a:gd name="connsiteY0" fmla="*/ 0 h 79629"/>
                  <a:gd name="connsiteX1" fmla="*/ 79915 w 1821371"/>
                  <a:gd name="connsiteY1" fmla="*/ 6287 h 79629"/>
                  <a:gd name="connsiteX2" fmla="*/ 79915 w 1821371"/>
                  <a:gd name="connsiteY2" fmla="*/ 12573 h 79629"/>
                  <a:gd name="connsiteX3" fmla="*/ 241840 w 1821371"/>
                  <a:gd name="connsiteY3" fmla="*/ 12573 h 79629"/>
                  <a:gd name="connsiteX4" fmla="*/ 241840 w 1821371"/>
                  <a:gd name="connsiteY4" fmla="*/ 19050 h 79629"/>
                  <a:gd name="connsiteX5" fmla="*/ 258699 w 1821371"/>
                  <a:gd name="connsiteY5" fmla="*/ 19050 h 79629"/>
                  <a:gd name="connsiteX6" fmla="*/ 258699 w 1821371"/>
                  <a:gd name="connsiteY6" fmla="*/ 25432 h 79629"/>
                  <a:gd name="connsiteX7" fmla="*/ 376523 w 1821371"/>
                  <a:gd name="connsiteY7" fmla="*/ 25432 h 79629"/>
                  <a:gd name="connsiteX8" fmla="*/ 376523 w 1821371"/>
                  <a:gd name="connsiteY8" fmla="*/ 31909 h 79629"/>
                  <a:gd name="connsiteX9" fmla="*/ 469011 w 1821371"/>
                  <a:gd name="connsiteY9" fmla="*/ 31909 h 79629"/>
                  <a:gd name="connsiteX10" fmla="*/ 469011 w 1821371"/>
                  <a:gd name="connsiteY10" fmla="*/ 38291 h 79629"/>
                  <a:gd name="connsiteX11" fmla="*/ 487966 w 1821371"/>
                  <a:gd name="connsiteY11" fmla="*/ 38291 h 79629"/>
                  <a:gd name="connsiteX12" fmla="*/ 487966 w 1821371"/>
                  <a:gd name="connsiteY12" fmla="*/ 44768 h 79629"/>
                  <a:gd name="connsiteX13" fmla="*/ 1341787 w 1821371"/>
                  <a:gd name="connsiteY13" fmla="*/ 44768 h 79629"/>
                  <a:gd name="connsiteX14" fmla="*/ 1341787 w 1821371"/>
                  <a:gd name="connsiteY14" fmla="*/ 79629 h 79629"/>
                  <a:gd name="connsiteX15" fmla="*/ 1821371 w 1821371"/>
                  <a:gd name="connsiteY15" fmla="*/ 79629 h 79629"/>
                  <a:gd name="connsiteX0" fmla="*/ 0 w 1741456"/>
                  <a:gd name="connsiteY0" fmla="*/ 0 h 73342"/>
                  <a:gd name="connsiteX1" fmla="*/ 0 w 1741456"/>
                  <a:gd name="connsiteY1" fmla="*/ 6286 h 73342"/>
                  <a:gd name="connsiteX2" fmla="*/ 161925 w 1741456"/>
                  <a:gd name="connsiteY2" fmla="*/ 6286 h 73342"/>
                  <a:gd name="connsiteX3" fmla="*/ 161925 w 1741456"/>
                  <a:gd name="connsiteY3" fmla="*/ 12763 h 73342"/>
                  <a:gd name="connsiteX4" fmla="*/ 178784 w 1741456"/>
                  <a:gd name="connsiteY4" fmla="*/ 12763 h 73342"/>
                  <a:gd name="connsiteX5" fmla="*/ 178784 w 1741456"/>
                  <a:gd name="connsiteY5" fmla="*/ 19145 h 73342"/>
                  <a:gd name="connsiteX6" fmla="*/ 296608 w 1741456"/>
                  <a:gd name="connsiteY6" fmla="*/ 19145 h 73342"/>
                  <a:gd name="connsiteX7" fmla="*/ 296608 w 1741456"/>
                  <a:gd name="connsiteY7" fmla="*/ 25622 h 73342"/>
                  <a:gd name="connsiteX8" fmla="*/ 389096 w 1741456"/>
                  <a:gd name="connsiteY8" fmla="*/ 25622 h 73342"/>
                  <a:gd name="connsiteX9" fmla="*/ 389096 w 1741456"/>
                  <a:gd name="connsiteY9" fmla="*/ 32004 h 73342"/>
                  <a:gd name="connsiteX10" fmla="*/ 408051 w 1741456"/>
                  <a:gd name="connsiteY10" fmla="*/ 32004 h 73342"/>
                  <a:gd name="connsiteX11" fmla="*/ 408051 w 1741456"/>
                  <a:gd name="connsiteY11" fmla="*/ 38481 h 73342"/>
                  <a:gd name="connsiteX12" fmla="*/ 1261872 w 1741456"/>
                  <a:gd name="connsiteY12" fmla="*/ 38481 h 73342"/>
                  <a:gd name="connsiteX13" fmla="*/ 1261872 w 1741456"/>
                  <a:gd name="connsiteY13" fmla="*/ 73342 h 73342"/>
                  <a:gd name="connsiteX14" fmla="*/ 1741456 w 1741456"/>
                  <a:gd name="connsiteY14" fmla="*/ 73342 h 73342"/>
                  <a:gd name="connsiteX0" fmla="*/ 0 w 1741456"/>
                  <a:gd name="connsiteY0" fmla="*/ 0 h 73342"/>
                  <a:gd name="connsiteX1" fmla="*/ 161925 w 1741456"/>
                  <a:gd name="connsiteY1" fmla="*/ 6286 h 73342"/>
                  <a:gd name="connsiteX2" fmla="*/ 161925 w 1741456"/>
                  <a:gd name="connsiteY2" fmla="*/ 12763 h 73342"/>
                  <a:gd name="connsiteX3" fmla="*/ 178784 w 1741456"/>
                  <a:gd name="connsiteY3" fmla="*/ 12763 h 73342"/>
                  <a:gd name="connsiteX4" fmla="*/ 178784 w 1741456"/>
                  <a:gd name="connsiteY4" fmla="*/ 19145 h 73342"/>
                  <a:gd name="connsiteX5" fmla="*/ 296608 w 1741456"/>
                  <a:gd name="connsiteY5" fmla="*/ 19145 h 73342"/>
                  <a:gd name="connsiteX6" fmla="*/ 296608 w 1741456"/>
                  <a:gd name="connsiteY6" fmla="*/ 25622 h 73342"/>
                  <a:gd name="connsiteX7" fmla="*/ 389096 w 1741456"/>
                  <a:gd name="connsiteY7" fmla="*/ 25622 h 73342"/>
                  <a:gd name="connsiteX8" fmla="*/ 389096 w 1741456"/>
                  <a:gd name="connsiteY8" fmla="*/ 32004 h 73342"/>
                  <a:gd name="connsiteX9" fmla="*/ 408051 w 1741456"/>
                  <a:gd name="connsiteY9" fmla="*/ 32004 h 73342"/>
                  <a:gd name="connsiteX10" fmla="*/ 408051 w 1741456"/>
                  <a:gd name="connsiteY10" fmla="*/ 38481 h 73342"/>
                  <a:gd name="connsiteX11" fmla="*/ 1261872 w 1741456"/>
                  <a:gd name="connsiteY11" fmla="*/ 38481 h 73342"/>
                  <a:gd name="connsiteX12" fmla="*/ 1261872 w 1741456"/>
                  <a:gd name="connsiteY12" fmla="*/ 73342 h 73342"/>
                  <a:gd name="connsiteX13" fmla="*/ 1741456 w 1741456"/>
                  <a:gd name="connsiteY13" fmla="*/ 73342 h 73342"/>
                  <a:gd name="connsiteX0" fmla="*/ 0 w 1579531"/>
                  <a:gd name="connsiteY0" fmla="*/ 0 h 67056"/>
                  <a:gd name="connsiteX1" fmla="*/ 0 w 1579531"/>
                  <a:gd name="connsiteY1" fmla="*/ 6477 h 67056"/>
                  <a:gd name="connsiteX2" fmla="*/ 16859 w 1579531"/>
                  <a:gd name="connsiteY2" fmla="*/ 6477 h 67056"/>
                  <a:gd name="connsiteX3" fmla="*/ 16859 w 1579531"/>
                  <a:gd name="connsiteY3" fmla="*/ 12859 h 67056"/>
                  <a:gd name="connsiteX4" fmla="*/ 134683 w 1579531"/>
                  <a:gd name="connsiteY4" fmla="*/ 12859 h 67056"/>
                  <a:gd name="connsiteX5" fmla="*/ 134683 w 1579531"/>
                  <a:gd name="connsiteY5" fmla="*/ 19336 h 67056"/>
                  <a:gd name="connsiteX6" fmla="*/ 227171 w 1579531"/>
                  <a:gd name="connsiteY6" fmla="*/ 19336 h 67056"/>
                  <a:gd name="connsiteX7" fmla="*/ 227171 w 1579531"/>
                  <a:gd name="connsiteY7" fmla="*/ 25718 h 67056"/>
                  <a:gd name="connsiteX8" fmla="*/ 246126 w 1579531"/>
                  <a:gd name="connsiteY8" fmla="*/ 25718 h 67056"/>
                  <a:gd name="connsiteX9" fmla="*/ 246126 w 1579531"/>
                  <a:gd name="connsiteY9" fmla="*/ 32195 h 67056"/>
                  <a:gd name="connsiteX10" fmla="*/ 1099947 w 1579531"/>
                  <a:gd name="connsiteY10" fmla="*/ 32195 h 67056"/>
                  <a:gd name="connsiteX11" fmla="*/ 1099947 w 1579531"/>
                  <a:gd name="connsiteY11" fmla="*/ 67056 h 67056"/>
                  <a:gd name="connsiteX12" fmla="*/ 1579531 w 1579531"/>
                  <a:gd name="connsiteY12" fmla="*/ 67056 h 67056"/>
                  <a:gd name="connsiteX0" fmla="*/ 0 w 1579531"/>
                  <a:gd name="connsiteY0" fmla="*/ 0 h 60579"/>
                  <a:gd name="connsiteX1" fmla="*/ 16859 w 1579531"/>
                  <a:gd name="connsiteY1" fmla="*/ 0 h 60579"/>
                  <a:gd name="connsiteX2" fmla="*/ 16859 w 1579531"/>
                  <a:gd name="connsiteY2" fmla="*/ 6382 h 60579"/>
                  <a:gd name="connsiteX3" fmla="*/ 134683 w 1579531"/>
                  <a:gd name="connsiteY3" fmla="*/ 6382 h 60579"/>
                  <a:gd name="connsiteX4" fmla="*/ 134683 w 1579531"/>
                  <a:gd name="connsiteY4" fmla="*/ 12859 h 60579"/>
                  <a:gd name="connsiteX5" fmla="*/ 227171 w 1579531"/>
                  <a:gd name="connsiteY5" fmla="*/ 12859 h 60579"/>
                  <a:gd name="connsiteX6" fmla="*/ 227171 w 1579531"/>
                  <a:gd name="connsiteY6" fmla="*/ 19241 h 60579"/>
                  <a:gd name="connsiteX7" fmla="*/ 246126 w 1579531"/>
                  <a:gd name="connsiteY7" fmla="*/ 19241 h 60579"/>
                  <a:gd name="connsiteX8" fmla="*/ 246126 w 1579531"/>
                  <a:gd name="connsiteY8" fmla="*/ 25718 h 60579"/>
                  <a:gd name="connsiteX9" fmla="*/ 1099947 w 1579531"/>
                  <a:gd name="connsiteY9" fmla="*/ 25718 h 60579"/>
                  <a:gd name="connsiteX10" fmla="*/ 1099947 w 1579531"/>
                  <a:gd name="connsiteY10" fmla="*/ 60579 h 60579"/>
                  <a:gd name="connsiteX11" fmla="*/ 1579531 w 1579531"/>
                  <a:gd name="connsiteY11" fmla="*/ 60579 h 60579"/>
                  <a:gd name="connsiteX0" fmla="*/ 0 w 1562672"/>
                  <a:gd name="connsiteY0" fmla="*/ 0 h 60579"/>
                  <a:gd name="connsiteX1" fmla="*/ 0 w 1562672"/>
                  <a:gd name="connsiteY1" fmla="*/ 6382 h 60579"/>
                  <a:gd name="connsiteX2" fmla="*/ 117824 w 1562672"/>
                  <a:gd name="connsiteY2" fmla="*/ 6382 h 60579"/>
                  <a:gd name="connsiteX3" fmla="*/ 117824 w 1562672"/>
                  <a:gd name="connsiteY3" fmla="*/ 12859 h 60579"/>
                  <a:gd name="connsiteX4" fmla="*/ 210312 w 1562672"/>
                  <a:gd name="connsiteY4" fmla="*/ 12859 h 60579"/>
                  <a:gd name="connsiteX5" fmla="*/ 210312 w 1562672"/>
                  <a:gd name="connsiteY5" fmla="*/ 19241 h 60579"/>
                  <a:gd name="connsiteX6" fmla="*/ 229267 w 1562672"/>
                  <a:gd name="connsiteY6" fmla="*/ 19241 h 60579"/>
                  <a:gd name="connsiteX7" fmla="*/ 229267 w 1562672"/>
                  <a:gd name="connsiteY7" fmla="*/ 25718 h 60579"/>
                  <a:gd name="connsiteX8" fmla="*/ 1083088 w 1562672"/>
                  <a:gd name="connsiteY8" fmla="*/ 25718 h 60579"/>
                  <a:gd name="connsiteX9" fmla="*/ 1083088 w 1562672"/>
                  <a:gd name="connsiteY9" fmla="*/ 60579 h 60579"/>
                  <a:gd name="connsiteX10" fmla="*/ 1562672 w 1562672"/>
                  <a:gd name="connsiteY10" fmla="*/ 60579 h 60579"/>
                  <a:gd name="connsiteX0" fmla="*/ 0 w 1562672"/>
                  <a:gd name="connsiteY0" fmla="*/ 0 h 54197"/>
                  <a:gd name="connsiteX1" fmla="*/ 117824 w 1562672"/>
                  <a:gd name="connsiteY1" fmla="*/ 0 h 54197"/>
                  <a:gd name="connsiteX2" fmla="*/ 117824 w 1562672"/>
                  <a:gd name="connsiteY2" fmla="*/ 6477 h 54197"/>
                  <a:gd name="connsiteX3" fmla="*/ 210312 w 1562672"/>
                  <a:gd name="connsiteY3" fmla="*/ 6477 h 54197"/>
                  <a:gd name="connsiteX4" fmla="*/ 210312 w 1562672"/>
                  <a:gd name="connsiteY4" fmla="*/ 12859 h 54197"/>
                  <a:gd name="connsiteX5" fmla="*/ 229267 w 1562672"/>
                  <a:gd name="connsiteY5" fmla="*/ 12859 h 54197"/>
                  <a:gd name="connsiteX6" fmla="*/ 229267 w 1562672"/>
                  <a:gd name="connsiteY6" fmla="*/ 19336 h 54197"/>
                  <a:gd name="connsiteX7" fmla="*/ 1083088 w 1562672"/>
                  <a:gd name="connsiteY7" fmla="*/ 19336 h 54197"/>
                  <a:gd name="connsiteX8" fmla="*/ 1083088 w 1562672"/>
                  <a:gd name="connsiteY8" fmla="*/ 54197 h 54197"/>
                  <a:gd name="connsiteX9" fmla="*/ 1562672 w 1562672"/>
                  <a:gd name="connsiteY9" fmla="*/ 54197 h 54197"/>
                  <a:gd name="connsiteX0" fmla="*/ 0 w 1516791"/>
                  <a:gd name="connsiteY0" fmla="*/ 2526 h 54197"/>
                  <a:gd name="connsiteX1" fmla="*/ 71943 w 1516791"/>
                  <a:gd name="connsiteY1" fmla="*/ 0 h 54197"/>
                  <a:gd name="connsiteX2" fmla="*/ 71943 w 1516791"/>
                  <a:gd name="connsiteY2" fmla="*/ 6477 h 54197"/>
                  <a:gd name="connsiteX3" fmla="*/ 164431 w 1516791"/>
                  <a:gd name="connsiteY3" fmla="*/ 6477 h 54197"/>
                  <a:gd name="connsiteX4" fmla="*/ 164431 w 1516791"/>
                  <a:gd name="connsiteY4" fmla="*/ 12859 h 54197"/>
                  <a:gd name="connsiteX5" fmla="*/ 183386 w 1516791"/>
                  <a:gd name="connsiteY5" fmla="*/ 12859 h 54197"/>
                  <a:gd name="connsiteX6" fmla="*/ 183386 w 1516791"/>
                  <a:gd name="connsiteY6" fmla="*/ 19336 h 54197"/>
                  <a:gd name="connsiteX7" fmla="*/ 1037207 w 1516791"/>
                  <a:gd name="connsiteY7" fmla="*/ 19336 h 54197"/>
                  <a:gd name="connsiteX8" fmla="*/ 1037207 w 1516791"/>
                  <a:gd name="connsiteY8" fmla="*/ 54197 h 54197"/>
                  <a:gd name="connsiteX9" fmla="*/ 1516791 w 1516791"/>
                  <a:gd name="connsiteY9" fmla="*/ 54197 h 54197"/>
                  <a:gd name="connsiteX0" fmla="*/ 0 w 1506595"/>
                  <a:gd name="connsiteY0" fmla="*/ 1263 h 54197"/>
                  <a:gd name="connsiteX1" fmla="*/ 61747 w 1506595"/>
                  <a:gd name="connsiteY1" fmla="*/ 0 h 54197"/>
                  <a:gd name="connsiteX2" fmla="*/ 61747 w 1506595"/>
                  <a:gd name="connsiteY2" fmla="*/ 6477 h 54197"/>
                  <a:gd name="connsiteX3" fmla="*/ 154235 w 1506595"/>
                  <a:gd name="connsiteY3" fmla="*/ 6477 h 54197"/>
                  <a:gd name="connsiteX4" fmla="*/ 154235 w 1506595"/>
                  <a:gd name="connsiteY4" fmla="*/ 12859 h 54197"/>
                  <a:gd name="connsiteX5" fmla="*/ 173190 w 1506595"/>
                  <a:gd name="connsiteY5" fmla="*/ 12859 h 54197"/>
                  <a:gd name="connsiteX6" fmla="*/ 173190 w 1506595"/>
                  <a:gd name="connsiteY6" fmla="*/ 19336 h 54197"/>
                  <a:gd name="connsiteX7" fmla="*/ 1027011 w 1506595"/>
                  <a:gd name="connsiteY7" fmla="*/ 19336 h 54197"/>
                  <a:gd name="connsiteX8" fmla="*/ 1027011 w 1506595"/>
                  <a:gd name="connsiteY8" fmla="*/ 54197 h 54197"/>
                  <a:gd name="connsiteX9" fmla="*/ 1506595 w 1506595"/>
                  <a:gd name="connsiteY9" fmla="*/ 54197 h 54197"/>
                  <a:gd name="connsiteX0" fmla="*/ 0 w 1506595"/>
                  <a:gd name="connsiteY0" fmla="*/ 1263 h 54197"/>
                  <a:gd name="connsiteX1" fmla="*/ 61747 w 1506595"/>
                  <a:gd name="connsiteY1" fmla="*/ 0 h 54197"/>
                  <a:gd name="connsiteX2" fmla="*/ 61747 w 1506595"/>
                  <a:gd name="connsiteY2" fmla="*/ 6477 h 54197"/>
                  <a:gd name="connsiteX3" fmla="*/ 154235 w 1506595"/>
                  <a:gd name="connsiteY3" fmla="*/ 6477 h 54197"/>
                  <a:gd name="connsiteX4" fmla="*/ 154235 w 1506595"/>
                  <a:gd name="connsiteY4" fmla="*/ 12859 h 54197"/>
                  <a:gd name="connsiteX5" fmla="*/ 173190 w 1506595"/>
                  <a:gd name="connsiteY5" fmla="*/ 12859 h 54197"/>
                  <a:gd name="connsiteX6" fmla="*/ 173190 w 1506595"/>
                  <a:gd name="connsiteY6" fmla="*/ 19336 h 54197"/>
                  <a:gd name="connsiteX7" fmla="*/ 764763 w 1506595"/>
                  <a:gd name="connsiteY7" fmla="*/ 19311 h 54197"/>
                  <a:gd name="connsiteX8" fmla="*/ 1027011 w 1506595"/>
                  <a:gd name="connsiteY8" fmla="*/ 19336 h 54197"/>
                  <a:gd name="connsiteX9" fmla="*/ 1027011 w 1506595"/>
                  <a:gd name="connsiteY9" fmla="*/ 54197 h 54197"/>
                  <a:gd name="connsiteX10" fmla="*/ 1506595 w 1506595"/>
                  <a:gd name="connsiteY10" fmla="*/ 54197 h 54197"/>
                  <a:gd name="connsiteX0" fmla="*/ 0 w 1027011"/>
                  <a:gd name="connsiteY0" fmla="*/ 1263 h 54197"/>
                  <a:gd name="connsiteX1" fmla="*/ 61747 w 1027011"/>
                  <a:gd name="connsiteY1" fmla="*/ 0 h 54197"/>
                  <a:gd name="connsiteX2" fmla="*/ 61747 w 1027011"/>
                  <a:gd name="connsiteY2" fmla="*/ 6477 h 54197"/>
                  <a:gd name="connsiteX3" fmla="*/ 154235 w 1027011"/>
                  <a:gd name="connsiteY3" fmla="*/ 6477 h 54197"/>
                  <a:gd name="connsiteX4" fmla="*/ 154235 w 1027011"/>
                  <a:gd name="connsiteY4" fmla="*/ 12859 h 54197"/>
                  <a:gd name="connsiteX5" fmla="*/ 173190 w 1027011"/>
                  <a:gd name="connsiteY5" fmla="*/ 12859 h 54197"/>
                  <a:gd name="connsiteX6" fmla="*/ 173190 w 1027011"/>
                  <a:gd name="connsiteY6" fmla="*/ 19336 h 54197"/>
                  <a:gd name="connsiteX7" fmla="*/ 764763 w 1027011"/>
                  <a:gd name="connsiteY7" fmla="*/ 19311 h 54197"/>
                  <a:gd name="connsiteX8" fmla="*/ 1027011 w 1027011"/>
                  <a:gd name="connsiteY8" fmla="*/ 19336 h 54197"/>
                  <a:gd name="connsiteX9" fmla="*/ 1027011 w 1027011"/>
                  <a:gd name="connsiteY9" fmla="*/ 54197 h 54197"/>
                  <a:gd name="connsiteX0" fmla="*/ 0 w 1027011"/>
                  <a:gd name="connsiteY0" fmla="*/ 1263 h 19336"/>
                  <a:gd name="connsiteX1" fmla="*/ 61747 w 1027011"/>
                  <a:gd name="connsiteY1" fmla="*/ 0 h 19336"/>
                  <a:gd name="connsiteX2" fmla="*/ 61747 w 1027011"/>
                  <a:gd name="connsiteY2" fmla="*/ 6477 h 19336"/>
                  <a:gd name="connsiteX3" fmla="*/ 154235 w 1027011"/>
                  <a:gd name="connsiteY3" fmla="*/ 6477 h 19336"/>
                  <a:gd name="connsiteX4" fmla="*/ 154235 w 1027011"/>
                  <a:gd name="connsiteY4" fmla="*/ 12859 h 19336"/>
                  <a:gd name="connsiteX5" fmla="*/ 173190 w 1027011"/>
                  <a:gd name="connsiteY5" fmla="*/ 12859 h 19336"/>
                  <a:gd name="connsiteX6" fmla="*/ 173190 w 1027011"/>
                  <a:gd name="connsiteY6" fmla="*/ 19336 h 19336"/>
                  <a:gd name="connsiteX7" fmla="*/ 764763 w 1027011"/>
                  <a:gd name="connsiteY7" fmla="*/ 19311 h 19336"/>
                  <a:gd name="connsiteX8" fmla="*/ 1027011 w 1027011"/>
                  <a:gd name="connsiteY8" fmla="*/ 19336 h 19336"/>
                  <a:gd name="connsiteX0" fmla="*/ 0 w 764763"/>
                  <a:gd name="connsiteY0" fmla="*/ 1263 h 19336"/>
                  <a:gd name="connsiteX1" fmla="*/ 61747 w 764763"/>
                  <a:gd name="connsiteY1" fmla="*/ 0 h 19336"/>
                  <a:gd name="connsiteX2" fmla="*/ 61747 w 764763"/>
                  <a:gd name="connsiteY2" fmla="*/ 6477 h 19336"/>
                  <a:gd name="connsiteX3" fmla="*/ 154235 w 764763"/>
                  <a:gd name="connsiteY3" fmla="*/ 6477 h 19336"/>
                  <a:gd name="connsiteX4" fmla="*/ 154235 w 764763"/>
                  <a:gd name="connsiteY4" fmla="*/ 12859 h 19336"/>
                  <a:gd name="connsiteX5" fmla="*/ 173190 w 764763"/>
                  <a:gd name="connsiteY5" fmla="*/ 12859 h 19336"/>
                  <a:gd name="connsiteX6" fmla="*/ 173190 w 764763"/>
                  <a:gd name="connsiteY6" fmla="*/ 19336 h 19336"/>
                  <a:gd name="connsiteX7" fmla="*/ 764763 w 764763"/>
                  <a:gd name="connsiteY7" fmla="*/ 19311 h 1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4763" h="19336">
                    <a:moveTo>
                      <a:pt x="0" y="1263"/>
                    </a:moveTo>
                    <a:lnTo>
                      <a:pt x="61747" y="0"/>
                    </a:lnTo>
                    <a:lnTo>
                      <a:pt x="61747" y="6477"/>
                    </a:lnTo>
                    <a:lnTo>
                      <a:pt x="154235" y="6477"/>
                    </a:lnTo>
                    <a:lnTo>
                      <a:pt x="154235" y="12859"/>
                    </a:lnTo>
                    <a:lnTo>
                      <a:pt x="173190" y="12859"/>
                    </a:lnTo>
                    <a:lnTo>
                      <a:pt x="173190" y="19336"/>
                    </a:lnTo>
                    <a:lnTo>
                      <a:pt x="764763" y="19311"/>
                    </a:lnTo>
                  </a:path>
                </a:pathLst>
              </a:custGeom>
              <a:noFill/>
              <a:ln w="12700" cap="flat" cmpd="sng" algn="ctr">
                <a:solidFill>
                  <a:schemeClr val="tx1">
                    <a:lumMod val="50000"/>
                    <a:lumOff val="50000"/>
                  </a:schemeClr>
                </a:solidFill>
                <a:prstDash val="solid"/>
                <a:miter lim="800000"/>
              </a:ln>
              <a:effectLst/>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1173" name="Group 1172">
                <a:extLst>
                  <a:ext uri="{FF2B5EF4-FFF2-40B4-BE49-F238E27FC236}">
                    <a16:creationId xmlns:a16="http://schemas.microsoft.com/office/drawing/2014/main" id="{671F1018-0F2F-76AD-3F5C-3CDA459DC266}"/>
                  </a:ext>
                </a:extLst>
              </p:cNvPr>
              <p:cNvGrpSpPr/>
              <p:nvPr/>
            </p:nvGrpSpPr>
            <p:grpSpPr>
              <a:xfrm>
                <a:off x="7845373" y="2907839"/>
                <a:ext cx="1022379" cy="90004"/>
                <a:chOff x="7845373" y="1070482"/>
                <a:chExt cx="1022379" cy="90004"/>
              </a:xfrm>
            </p:grpSpPr>
            <p:grpSp>
              <p:nvGrpSpPr>
                <p:cNvPr id="1174" name="Group 1173">
                  <a:extLst>
                    <a:ext uri="{FF2B5EF4-FFF2-40B4-BE49-F238E27FC236}">
                      <a16:creationId xmlns:a16="http://schemas.microsoft.com/office/drawing/2014/main" id="{92414E43-FCE2-34A5-7F3A-BA1329C631EC}"/>
                    </a:ext>
                  </a:extLst>
                </p:cNvPr>
                <p:cNvGrpSpPr/>
                <p:nvPr/>
              </p:nvGrpSpPr>
              <p:grpSpPr>
                <a:xfrm>
                  <a:off x="7845373" y="1070482"/>
                  <a:ext cx="68895" cy="90004"/>
                  <a:chOff x="1773255" y="1810053"/>
                  <a:chExt cx="84653" cy="84653"/>
                </a:xfrm>
              </p:grpSpPr>
              <p:cxnSp>
                <p:nvCxnSpPr>
                  <p:cNvPr id="1259" name="Straight Connector 1258">
                    <a:extLst>
                      <a:ext uri="{FF2B5EF4-FFF2-40B4-BE49-F238E27FC236}">
                        <a16:creationId xmlns:a16="http://schemas.microsoft.com/office/drawing/2014/main" id="{240582C1-619D-159B-1625-968A82F08395}"/>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60" name="Straight Connector 1259">
                    <a:extLst>
                      <a:ext uri="{FF2B5EF4-FFF2-40B4-BE49-F238E27FC236}">
                        <a16:creationId xmlns:a16="http://schemas.microsoft.com/office/drawing/2014/main" id="{019E6638-2406-D323-FDB7-77F50558D33F}"/>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75" name="Group 1174">
                  <a:extLst>
                    <a:ext uri="{FF2B5EF4-FFF2-40B4-BE49-F238E27FC236}">
                      <a16:creationId xmlns:a16="http://schemas.microsoft.com/office/drawing/2014/main" id="{3A03E277-63C6-3C0B-0D7C-3F6C49322D0C}"/>
                    </a:ext>
                  </a:extLst>
                </p:cNvPr>
                <p:cNvGrpSpPr/>
                <p:nvPr/>
              </p:nvGrpSpPr>
              <p:grpSpPr>
                <a:xfrm>
                  <a:off x="7866691" y="1070482"/>
                  <a:ext cx="68895" cy="90004"/>
                  <a:chOff x="1773255" y="1810053"/>
                  <a:chExt cx="84653" cy="84653"/>
                </a:xfrm>
              </p:grpSpPr>
              <p:cxnSp>
                <p:nvCxnSpPr>
                  <p:cNvPr id="1257" name="Straight Connector 1256">
                    <a:extLst>
                      <a:ext uri="{FF2B5EF4-FFF2-40B4-BE49-F238E27FC236}">
                        <a16:creationId xmlns:a16="http://schemas.microsoft.com/office/drawing/2014/main" id="{072D2860-83C5-1CE5-BD48-8B4D8ABD0AB1}"/>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58" name="Straight Connector 1257">
                    <a:extLst>
                      <a:ext uri="{FF2B5EF4-FFF2-40B4-BE49-F238E27FC236}">
                        <a16:creationId xmlns:a16="http://schemas.microsoft.com/office/drawing/2014/main" id="{6133AE7A-23E1-5A2D-378A-716381A202EA}"/>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76" name="Group 1175">
                  <a:extLst>
                    <a:ext uri="{FF2B5EF4-FFF2-40B4-BE49-F238E27FC236}">
                      <a16:creationId xmlns:a16="http://schemas.microsoft.com/office/drawing/2014/main" id="{05F75DB1-33B7-6FF4-9B90-DE92E8B278DD}"/>
                    </a:ext>
                  </a:extLst>
                </p:cNvPr>
                <p:cNvGrpSpPr/>
                <p:nvPr/>
              </p:nvGrpSpPr>
              <p:grpSpPr>
                <a:xfrm>
                  <a:off x="7905450" y="1070482"/>
                  <a:ext cx="68895" cy="90004"/>
                  <a:chOff x="1773255" y="1810053"/>
                  <a:chExt cx="84653" cy="84653"/>
                </a:xfrm>
              </p:grpSpPr>
              <p:cxnSp>
                <p:nvCxnSpPr>
                  <p:cNvPr id="1255" name="Straight Connector 1254">
                    <a:extLst>
                      <a:ext uri="{FF2B5EF4-FFF2-40B4-BE49-F238E27FC236}">
                        <a16:creationId xmlns:a16="http://schemas.microsoft.com/office/drawing/2014/main" id="{173F53DC-70D8-B7EA-E19B-AAA3ABD62EA5}"/>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56" name="Straight Connector 1255">
                    <a:extLst>
                      <a:ext uri="{FF2B5EF4-FFF2-40B4-BE49-F238E27FC236}">
                        <a16:creationId xmlns:a16="http://schemas.microsoft.com/office/drawing/2014/main" id="{1B56B2AF-913C-27C0-490F-88EA2E7D8037}"/>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77" name="Group 1176">
                  <a:extLst>
                    <a:ext uri="{FF2B5EF4-FFF2-40B4-BE49-F238E27FC236}">
                      <a16:creationId xmlns:a16="http://schemas.microsoft.com/office/drawing/2014/main" id="{ECC0AC50-5920-E2A5-5D21-5E123F364076}"/>
                    </a:ext>
                  </a:extLst>
                </p:cNvPr>
                <p:cNvGrpSpPr/>
                <p:nvPr/>
              </p:nvGrpSpPr>
              <p:grpSpPr>
                <a:xfrm>
                  <a:off x="7924830" y="1070482"/>
                  <a:ext cx="68895" cy="90004"/>
                  <a:chOff x="1773255" y="1810053"/>
                  <a:chExt cx="84653" cy="84653"/>
                </a:xfrm>
              </p:grpSpPr>
              <p:cxnSp>
                <p:nvCxnSpPr>
                  <p:cNvPr id="1253" name="Straight Connector 1252">
                    <a:extLst>
                      <a:ext uri="{FF2B5EF4-FFF2-40B4-BE49-F238E27FC236}">
                        <a16:creationId xmlns:a16="http://schemas.microsoft.com/office/drawing/2014/main" id="{3BA3E556-5E7A-4D48-EBB2-8541B201512B}"/>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54" name="Straight Connector 1253">
                    <a:extLst>
                      <a:ext uri="{FF2B5EF4-FFF2-40B4-BE49-F238E27FC236}">
                        <a16:creationId xmlns:a16="http://schemas.microsoft.com/office/drawing/2014/main" id="{C742C607-1E5A-41C6-11D6-BF7610D72C73}"/>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78" name="Group 1177">
                  <a:extLst>
                    <a:ext uri="{FF2B5EF4-FFF2-40B4-BE49-F238E27FC236}">
                      <a16:creationId xmlns:a16="http://schemas.microsoft.com/office/drawing/2014/main" id="{C6AA8F66-AA53-F87A-BABB-43B3160DF69C}"/>
                    </a:ext>
                  </a:extLst>
                </p:cNvPr>
                <p:cNvGrpSpPr/>
                <p:nvPr/>
              </p:nvGrpSpPr>
              <p:grpSpPr>
                <a:xfrm>
                  <a:off x="7934519" y="1070482"/>
                  <a:ext cx="68895" cy="90004"/>
                  <a:chOff x="1773255" y="1810053"/>
                  <a:chExt cx="84653" cy="84653"/>
                </a:xfrm>
              </p:grpSpPr>
              <p:cxnSp>
                <p:nvCxnSpPr>
                  <p:cNvPr id="1251" name="Straight Connector 1250">
                    <a:extLst>
                      <a:ext uri="{FF2B5EF4-FFF2-40B4-BE49-F238E27FC236}">
                        <a16:creationId xmlns:a16="http://schemas.microsoft.com/office/drawing/2014/main" id="{0ADF6703-523D-E5EE-A317-14CA39627A16}"/>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52" name="Straight Connector 1251">
                    <a:extLst>
                      <a:ext uri="{FF2B5EF4-FFF2-40B4-BE49-F238E27FC236}">
                        <a16:creationId xmlns:a16="http://schemas.microsoft.com/office/drawing/2014/main" id="{711CCE80-1500-996A-9434-1915854E708D}"/>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79" name="Group 1178">
                  <a:extLst>
                    <a:ext uri="{FF2B5EF4-FFF2-40B4-BE49-F238E27FC236}">
                      <a16:creationId xmlns:a16="http://schemas.microsoft.com/office/drawing/2014/main" id="{DE3E50D4-920B-8BDF-E460-8CA8023927A4}"/>
                    </a:ext>
                  </a:extLst>
                </p:cNvPr>
                <p:cNvGrpSpPr/>
                <p:nvPr/>
              </p:nvGrpSpPr>
              <p:grpSpPr>
                <a:xfrm>
                  <a:off x="7963589" y="1070482"/>
                  <a:ext cx="68895" cy="90004"/>
                  <a:chOff x="1773255" y="1810053"/>
                  <a:chExt cx="84653" cy="84653"/>
                </a:xfrm>
              </p:grpSpPr>
              <p:cxnSp>
                <p:nvCxnSpPr>
                  <p:cNvPr id="1249" name="Straight Connector 1248">
                    <a:extLst>
                      <a:ext uri="{FF2B5EF4-FFF2-40B4-BE49-F238E27FC236}">
                        <a16:creationId xmlns:a16="http://schemas.microsoft.com/office/drawing/2014/main" id="{1F731E8D-D0E0-CD77-475B-3609C92C61CF}"/>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50" name="Straight Connector 1249">
                    <a:extLst>
                      <a:ext uri="{FF2B5EF4-FFF2-40B4-BE49-F238E27FC236}">
                        <a16:creationId xmlns:a16="http://schemas.microsoft.com/office/drawing/2014/main" id="{0B479B30-1708-00FB-28CF-2A3E4673944D}"/>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80" name="Group 1179">
                  <a:extLst>
                    <a:ext uri="{FF2B5EF4-FFF2-40B4-BE49-F238E27FC236}">
                      <a16:creationId xmlns:a16="http://schemas.microsoft.com/office/drawing/2014/main" id="{68D2B82C-FF8D-0DD7-19C5-348DB1DB2804}"/>
                    </a:ext>
                  </a:extLst>
                </p:cNvPr>
                <p:cNvGrpSpPr/>
                <p:nvPr/>
              </p:nvGrpSpPr>
              <p:grpSpPr>
                <a:xfrm>
                  <a:off x="7988783" y="1070482"/>
                  <a:ext cx="68895" cy="90004"/>
                  <a:chOff x="1773255" y="1810053"/>
                  <a:chExt cx="84653" cy="84653"/>
                </a:xfrm>
              </p:grpSpPr>
              <p:cxnSp>
                <p:nvCxnSpPr>
                  <p:cNvPr id="1247" name="Straight Connector 1246">
                    <a:extLst>
                      <a:ext uri="{FF2B5EF4-FFF2-40B4-BE49-F238E27FC236}">
                        <a16:creationId xmlns:a16="http://schemas.microsoft.com/office/drawing/2014/main" id="{C179C521-925D-9ABA-D9CA-BD9FF4DAC6E8}"/>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48" name="Straight Connector 1247">
                    <a:extLst>
                      <a:ext uri="{FF2B5EF4-FFF2-40B4-BE49-F238E27FC236}">
                        <a16:creationId xmlns:a16="http://schemas.microsoft.com/office/drawing/2014/main" id="{21211855-422F-FC53-5B43-9809C7D344AE}"/>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81" name="Group 1180">
                  <a:extLst>
                    <a:ext uri="{FF2B5EF4-FFF2-40B4-BE49-F238E27FC236}">
                      <a16:creationId xmlns:a16="http://schemas.microsoft.com/office/drawing/2014/main" id="{4C8F9746-CC9D-2C95-C77F-98794DAA8D50}"/>
                    </a:ext>
                  </a:extLst>
                </p:cNvPr>
                <p:cNvGrpSpPr/>
                <p:nvPr/>
              </p:nvGrpSpPr>
              <p:grpSpPr>
                <a:xfrm>
                  <a:off x="8043047" y="1070482"/>
                  <a:ext cx="68895" cy="90004"/>
                  <a:chOff x="1773255" y="1810053"/>
                  <a:chExt cx="84653" cy="84653"/>
                </a:xfrm>
              </p:grpSpPr>
              <p:cxnSp>
                <p:nvCxnSpPr>
                  <p:cNvPr id="1245" name="Straight Connector 1244">
                    <a:extLst>
                      <a:ext uri="{FF2B5EF4-FFF2-40B4-BE49-F238E27FC236}">
                        <a16:creationId xmlns:a16="http://schemas.microsoft.com/office/drawing/2014/main" id="{6B2E0BD5-CB3C-89AB-D1A6-7D7BDD260C3C}"/>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46" name="Straight Connector 1245">
                    <a:extLst>
                      <a:ext uri="{FF2B5EF4-FFF2-40B4-BE49-F238E27FC236}">
                        <a16:creationId xmlns:a16="http://schemas.microsoft.com/office/drawing/2014/main" id="{AD4AB1C4-ACA2-2713-59CB-35DE0DB60669}"/>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82" name="Group 1181">
                  <a:extLst>
                    <a:ext uri="{FF2B5EF4-FFF2-40B4-BE49-F238E27FC236}">
                      <a16:creationId xmlns:a16="http://schemas.microsoft.com/office/drawing/2014/main" id="{FDEB6A4B-ECBB-C0F7-74BA-FD0AD37540B3}"/>
                    </a:ext>
                  </a:extLst>
                </p:cNvPr>
                <p:cNvGrpSpPr/>
                <p:nvPr/>
              </p:nvGrpSpPr>
              <p:grpSpPr>
                <a:xfrm>
                  <a:off x="8087620" y="1070482"/>
                  <a:ext cx="68895" cy="90004"/>
                  <a:chOff x="1773255" y="1810053"/>
                  <a:chExt cx="84653" cy="84653"/>
                </a:xfrm>
              </p:grpSpPr>
              <p:cxnSp>
                <p:nvCxnSpPr>
                  <p:cNvPr id="1243" name="Straight Connector 1242">
                    <a:extLst>
                      <a:ext uri="{FF2B5EF4-FFF2-40B4-BE49-F238E27FC236}">
                        <a16:creationId xmlns:a16="http://schemas.microsoft.com/office/drawing/2014/main" id="{F93689F6-2761-C521-34B5-860CCF3EBB7B}"/>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44" name="Straight Connector 1243">
                    <a:extLst>
                      <a:ext uri="{FF2B5EF4-FFF2-40B4-BE49-F238E27FC236}">
                        <a16:creationId xmlns:a16="http://schemas.microsoft.com/office/drawing/2014/main" id="{570F4356-A9EF-547F-DF49-9951CBCB55F5}"/>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83" name="Group 1182">
                  <a:extLst>
                    <a:ext uri="{FF2B5EF4-FFF2-40B4-BE49-F238E27FC236}">
                      <a16:creationId xmlns:a16="http://schemas.microsoft.com/office/drawing/2014/main" id="{8C00EBB4-B4AA-70F5-2FE9-446A48D1AB54}"/>
                    </a:ext>
                  </a:extLst>
                </p:cNvPr>
                <p:cNvGrpSpPr/>
                <p:nvPr/>
              </p:nvGrpSpPr>
              <p:grpSpPr>
                <a:xfrm>
                  <a:off x="8128317" y="1070482"/>
                  <a:ext cx="68895" cy="90004"/>
                  <a:chOff x="1773255" y="1810053"/>
                  <a:chExt cx="84653" cy="84653"/>
                </a:xfrm>
              </p:grpSpPr>
              <p:cxnSp>
                <p:nvCxnSpPr>
                  <p:cNvPr id="1241" name="Straight Connector 1240">
                    <a:extLst>
                      <a:ext uri="{FF2B5EF4-FFF2-40B4-BE49-F238E27FC236}">
                        <a16:creationId xmlns:a16="http://schemas.microsoft.com/office/drawing/2014/main" id="{63A449D3-9AF4-FE65-5E31-28B64A3D7DFC}"/>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42" name="Straight Connector 1241">
                    <a:extLst>
                      <a:ext uri="{FF2B5EF4-FFF2-40B4-BE49-F238E27FC236}">
                        <a16:creationId xmlns:a16="http://schemas.microsoft.com/office/drawing/2014/main" id="{541A576D-AA5F-6B7B-EC3A-D46273685B26}"/>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84" name="Group 1183">
                  <a:extLst>
                    <a:ext uri="{FF2B5EF4-FFF2-40B4-BE49-F238E27FC236}">
                      <a16:creationId xmlns:a16="http://schemas.microsoft.com/office/drawing/2014/main" id="{1E120C5C-ECF2-C472-6A7E-E6B2F1B6808C}"/>
                    </a:ext>
                  </a:extLst>
                </p:cNvPr>
                <p:cNvGrpSpPr/>
                <p:nvPr/>
              </p:nvGrpSpPr>
              <p:grpSpPr>
                <a:xfrm>
                  <a:off x="8155449" y="1070482"/>
                  <a:ext cx="68895" cy="90004"/>
                  <a:chOff x="1773255" y="1810053"/>
                  <a:chExt cx="84653" cy="84653"/>
                </a:xfrm>
              </p:grpSpPr>
              <p:cxnSp>
                <p:nvCxnSpPr>
                  <p:cNvPr id="1239" name="Straight Connector 1238">
                    <a:extLst>
                      <a:ext uri="{FF2B5EF4-FFF2-40B4-BE49-F238E27FC236}">
                        <a16:creationId xmlns:a16="http://schemas.microsoft.com/office/drawing/2014/main" id="{522B07EA-983D-D5DE-2BEA-7AB2A234AD45}"/>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40" name="Straight Connector 1239">
                    <a:extLst>
                      <a:ext uri="{FF2B5EF4-FFF2-40B4-BE49-F238E27FC236}">
                        <a16:creationId xmlns:a16="http://schemas.microsoft.com/office/drawing/2014/main" id="{71A2AB8B-8419-18CB-CD07-1C791CA05E9F}"/>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85" name="Group 1184">
                  <a:extLst>
                    <a:ext uri="{FF2B5EF4-FFF2-40B4-BE49-F238E27FC236}">
                      <a16:creationId xmlns:a16="http://schemas.microsoft.com/office/drawing/2014/main" id="{54404C0F-7C56-A693-A994-67D1B77C3558}"/>
                    </a:ext>
                  </a:extLst>
                </p:cNvPr>
                <p:cNvGrpSpPr/>
                <p:nvPr/>
              </p:nvGrpSpPr>
              <p:grpSpPr>
                <a:xfrm>
                  <a:off x="8188395" y="1070482"/>
                  <a:ext cx="68895" cy="90004"/>
                  <a:chOff x="1773255" y="1810053"/>
                  <a:chExt cx="84653" cy="84653"/>
                </a:xfrm>
              </p:grpSpPr>
              <p:cxnSp>
                <p:nvCxnSpPr>
                  <p:cNvPr id="1237" name="Straight Connector 1236">
                    <a:extLst>
                      <a:ext uri="{FF2B5EF4-FFF2-40B4-BE49-F238E27FC236}">
                        <a16:creationId xmlns:a16="http://schemas.microsoft.com/office/drawing/2014/main" id="{C4265DC3-4ADB-FF7C-0650-5C06A813761D}"/>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38" name="Straight Connector 1237">
                    <a:extLst>
                      <a:ext uri="{FF2B5EF4-FFF2-40B4-BE49-F238E27FC236}">
                        <a16:creationId xmlns:a16="http://schemas.microsoft.com/office/drawing/2014/main" id="{59684DA4-BF26-5DA9-EDED-485B1140B17D}"/>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86" name="Group 1185">
                  <a:extLst>
                    <a:ext uri="{FF2B5EF4-FFF2-40B4-BE49-F238E27FC236}">
                      <a16:creationId xmlns:a16="http://schemas.microsoft.com/office/drawing/2014/main" id="{9A1892F5-8161-B2BC-D906-5450A6D939AF}"/>
                    </a:ext>
                  </a:extLst>
                </p:cNvPr>
                <p:cNvGrpSpPr/>
                <p:nvPr/>
              </p:nvGrpSpPr>
              <p:grpSpPr>
                <a:xfrm>
                  <a:off x="8221340" y="1070482"/>
                  <a:ext cx="68895" cy="90004"/>
                  <a:chOff x="1773255" y="1810053"/>
                  <a:chExt cx="84653" cy="84653"/>
                </a:xfrm>
              </p:grpSpPr>
              <p:cxnSp>
                <p:nvCxnSpPr>
                  <p:cNvPr id="1235" name="Straight Connector 1234">
                    <a:extLst>
                      <a:ext uri="{FF2B5EF4-FFF2-40B4-BE49-F238E27FC236}">
                        <a16:creationId xmlns:a16="http://schemas.microsoft.com/office/drawing/2014/main" id="{D93A0958-240F-BFE8-ED8F-8258FE14F90C}"/>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36" name="Straight Connector 1235">
                    <a:extLst>
                      <a:ext uri="{FF2B5EF4-FFF2-40B4-BE49-F238E27FC236}">
                        <a16:creationId xmlns:a16="http://schemas.microsoft.com/office/drawing/2014/main" id="{237235D9-1080-C358-F55C-1995A843E0F2}"/>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87" name="Group 1186">
                  <a:extLst>
                    <a:ext uri="{FF2B5EF4-FFF2-40B4-BE49-F238E27FC236}">
                      <a16:creationId xmlns:a16="http://schemas.microsoft.com/office/drawing/2014/main" id="{DB52EE51-5318-E746-4164-2B19BC169893}"/>
                    </a:ext>
                  </a:extLst>
                </p:cNvPr>
                <p:cNvGrpSpPr/>
                <p:nvPr/>
              </p:nvGrpSpPr>
              <p:grpSpPr>
                <a:xfrm>
                  <a:off x="8246534" y="1070482"/>
                  <a:ext cx="68895" cy="90004"/>
                  <a:chOff x="1773255" y="1810053"/>
                  <a:chExt cx="84653" cy="84653"/>
                </a:xfrm>
              </p:grpSpPr>
              <p:cxnSp>
                <p:nvCxnSpPr>
                  <p:cNvPr id="1233" name="Straight Connector 1232">
                    <a:extLst>
                      <a:ext uri="{FF2B5EF4-FFF2-40B4-BE49-F238E27FC236}">
                        <a16:creationId xmlns:a16="http://schemas.microsoft.com/office/drawing/2014/main" id="{9ECAEE5A-95B8-AE79-761E-6EF862B63F50}"/>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34" name="Straight Connector 1233">
                    <a:extLst>
                      <a:ext uri="{FF2B5EF4-FFF2-40B4-BE49-F238E27FC236}">
                        <a16:creationId xmlns:a16="http://schemas.microsoft.com/office/drawing/2014/main" id="{4D917CDF-D27D-FB85-77DF-F2828B7E56D0}"/>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88" name="Group 1187">
                  <a:extLst>
                    <a:ext uri="{FF2B5EF4-FFF2-40B4-BE49-F238E27FC236}">
                      <a16:creationId xmlns:a16="http://schemas.microsoft.com/office/drawing/2014/main" id="{8F83B6B2-5CBD-8149-31E0-5A3CC0D103DD}"/>
                    </a:ext>
                  </a:extLst>
                </p:cNvPr>
                <p:cNvGrpSpPr/>
                <p:nvPr/>
              </p:nvGrpSpPr>
              <p:grpSpPr>
                <a:xfrm>
                  <a:off x="8265914" y="1070482"/>
                  <a:ext cx="68895" cy="90004"/>
                  <a:chOff x="1773255" y="1810053"/>
                  <a:chExt cx="84653" cy="84653"/>
                </a:xfrm>
              </p:grpSpPr>
              <p:cxnSp>
                <p:nvCxnSpPr>
                  <p:cNvPr id="1231" name="Straight Connector 1230">
                    <a:extLst>
                      <a:ext uri="{FF2B5EF4-FFF2-40B4-BE49-F238E27FC236}">
                        <a16:creationId xmlns:a16="http://schemas.microsoft.com/office/drawing/2014/main" id="{89C77155-7F17-9A3D-B7C8-D17BB5F3070B}"/>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32" name="Straight Connector 1231">
                    <a:extLst>
                      <a:ext uri="{FF2B5EF4-FFF2-40B4-BE49-F238E27FC236}">
                        <a16:creationId xmlns:a16="http://schemas.microsoft.com/office/drawing/2014/main" id="{5A4A4A34-06E3-876F-1923-AA1140EDE8B1}"/>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89" name="Group 1188">
                  <a:extLst>
                    <a:ext uri="{FF2B5EF4-FFF2-40B4-BE49-F238E27FC236}">
                      <a16:creationId xmlns:a16="http://schemas.microsoft.com/office/drawing/2014/main" id="{7FD1B561-FA2B-0B44-4613-B614814E1A2A}"/>
                    </a:ext>
                  </a:extLst>
                </p:cNvPr>
                <p:cNvGrpSpPr/>
                <p:nvPr/>
              </p:nvGrpSpPr>
              <p:grpSpPr>
                <a:xfrm>
                  <a:off x="8300798" y="1070482"/>
                  <a:ext cx="68895" cy="90004"/>
                  <a:chOff x="1773255" y="1810053"/>
                  <a:chExt cx="84653" cy="84653"/>
                </a:xfrm>
              </p:grpSpPr>
              <p:cxnSp>
                <p:nvCxnSpPr>
                  <p:cNvPr id="1229" name="Straight Connector 1228">
                    <a:extLst>
                      <a:ext uri="{FF2B5EF4-FFF2-40B4-BE49-F238E27FC236}">
                        <a16:creationId xmlns:a16="http://schemas.microsoft.com/office/drawing/2014/main" id="{35169287-8CD0-981D-AB04-3830C0CF2BED}"/>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30" name="Straight Connector 1229">
                    <a:extLst>
                      <a:ext uri="{FF2B5EF4-FFF2-40B4-BE49-F238E27FC236}">
                        <a16:creationId xmlns:a16="http://schemas.microsoft.com/office/drawing/2014/main" id="{ACB6B08D-FC43-D2F5-8CCF-A19C1D07E373}"/>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90" name="Group 1189">
                  <a:extLst>
                    <a:ext uri="{FF2B5EF4-FFF2-40B4-BE49-F238E27FC236}">
                      <a16:creationId xmlns:a16="http://schemas.microsoft.com/office/drawing/2014/main" id="{D17E0A46-9C04-523C-5A56-3CE91065847C}"/>
                    </a:ext>
                  </a:extLst>
                </p:cNvPr>
                <p:cNvGrpSpPr/>
                <p:nvPr/>
              </p:nvGrpSpPr>
              <p:grpSpPr>
                <a:xfrm>
                  <a:off x="8368627" y="1070482"/>
                  <a:ext cx="68895" cy="90004"/>
                  <a:chOff x="1773255" y="1810053"/>
                  <a:chExt cx="84653" cy="84653"/>
                </a:xfrm>
              </p:grpSpPr>
              <p:cxnSp>
                <p:nvCxnSpPr>
                  <p:cNvPr id="1227" name="Straight Connector 1226">
                    <a:extLst>
                      <a:ext uri="{FF2B5EF4-FFF2-40B4-BE49-F238E27FC236}">
                        <a16:creationId xmlns:a16="http://schemas.microsoft.com/office/drawing/2014/main" id="{8C633D4A-ECB0-E060-7030-99BBB7282EE6}"/>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28" name="Straight Connector 1227">
                    <a:extLst>
                      <a:ext uri="{FF2B5EF4-FFF2-40B4-BE49-F238E27FC236}">
                        <a16:creationId xmlns:a16="http://schemas.microsoft.com/office/drawing/2014/main" id="{EE1C0A89-DBD7-DBA5-3F5F-5621DAF7C42F}"/>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91" name="Group 1190">
                  <a:extLst>
                    <a:ext uri="{FF2B5EF4-FFF2-40B4-BE49-F238E27FC236}">
                      <a16:creationId xmlns:a16="http://schemas.microsoft.com/office/drawing/2014/main" id="{200BEF09-E212-EA44-98B4-4BD9F653212C}"/>
                    </a:ext>
                  </a:extLst>
                </p:cNvPr>
                <p:cNvGrpSpPr/>
                <p:nvPr/>
              </p:nvGrpSpPr>
              <p:grpSpPr>
                <a:xfrm>
                  <a:off x="8388007" y="1070482"/>
                  <a:ext cx="68895" cy="90004"/>
                  <a:chOff x="1773255" y="1810053"/>
                  <a:chExt cx="84653" cy="84653"/>
                </a:xfrm>
              </p:grpSpPr>
              <p:cxnSp>
                <p:nvCxnSpPr>
                  <p:cNvPr id="1225" name="Straight Connector 1224">
                    <a:extLst>
                      <a:ext uri="{FF2B5EF4-FFF2-40B4-BE49-F238E27FC236}">
                        <a16:creationId xmlns:a16="http://schemas.microsoft.com/office/drawing/2014/main" id="{CB25D94F-087C-6068-2E82-A46223519192}"/>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26" name="Straight Connector 1225">
                    <a:extLst>
                      <a:ext uri="{FF2B5EF4-FFF2-40B4-BE49-F238E27FC236}">
                        <a16:creationId xmlns:a16="http://schemas.microsoft.com/office/drawing/2014/main" id="{B604CA15-CD82-89E6-4F3C-FEF205FB06BE}"/>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92" name="Group 1191">
                  <a:extLst>
                    <a:ext uri="{FF2B5EF4-FFF2-40B4-BE49-F238E27FC236}">
                      <a16:creationId xmlns:a16="http://schemas.microsoft.com/office/drawing/2014/main" id="{EADEE871-C44D-C23F-DFB1-2CAFC7994C44}"/>
                    </a:ext>
                  </a:extLst>
                </p:cNvPr>
                <p:cNvGrpSpPr/>
                <p:nvPr/>
              </p:nvGrpSpPr>
              <p:grpSpPr>
                <a:xfrm>
                  <a:off x="8444208" y="1070482"/>
                  <a:ext cx="68895" cy="90004"/>
                  <a:chOff x="1773255" y="1810053"/>
                  <a:chExt cx="84653" cy="84653"/>
                </a:xfrm>
              </p:grpSpPr>
              <p:cxnSp>
                <p:nvCxnSpPr>
                  <p:cNvPr id="1223" name="Straight Connector 1222">
                    <a:extLst>
                      <a:ext uri="{FF2B5EF4-FFF2-40B4-BE49-F238E27FC236}">
                        <a16:creationId xmlns:a16="http://schemas.microsoft.com/office/drawing/2014/main" id="{E61B73BF-95C4-E384-6A3E-528C63CB5307}"/>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24" name="Straight Connector 1223">
                    <a:extLst>
                      <a:ext uri="{FF2B5EF4-FFF2-40B4-BE49-F238E27FC236}">
                        <a16:creationId xmlns:a16="http://schemas.microsoft.com/office/drawing/2014/main" id="{65DDEF7B-B8B9-0FBB-106D-8945552BD5C2}"/>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93" name="Group 1192">
                  <a:extLst>
                    <a:ext uri="{FF2B5EF4-FFF2-40B4-BE49-F238E27FC236}">
                      <a16:creationId xmlns:a16="http://schemas.microsoft.com/office/drawing/2014/main" id="{E442B6BB-5949-9001-A155-DB2004D313DD}"/>
                    </a:ext>
                  </a:extLst>
                </p:cNvPr>
                <p:cNvGrpSpPr/>
                <p:nvPr/>
              </p:nvGrpSpPr>
              <p:grpSpPr>
                <a:xfrm>
                  <a:off x="8473277" y="1070482"/>
                  <a:ext cx="68895" cy="90004"/>
                  <a:chOff x="1773255" y="1810053"/>
                  <a:chExt cx="84653" cy="84653"/>
                </a:xfrm>
              </p:grpSpPr>
              <p:cxnSp>
                <p:nvCxnSpPr>
                  <p:cNvPr id="1221" name="Straight Connector 1220">
                    <a:extLst>
                      <a:ext uri="{FF2B5EF4-FFF2-40B4-BE49-F238E27FC236}">
                        <a16:creationId xmlns:a16="http://schemas.microsoft.com/office/drawing/2014/main" id="{EB94DC18-08F7-401D-77EF-334902CB1ADA}"/>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22" name="Straight Connector 1221">
                    <a:extLst>
                      <a:ext uri="{FF2B5EF4-FFF2-40B4-BE49-F238E27FC236}">
                        <a16:creationId xmlns:a16="http://schemas.microsoft.com/office/drawing/2014/main" id="{272D5330-5F42-6650-D560-761D2B92197E}"/>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94" name="Group 1193">
                  <a:extLst>
                    <a:ext uri="{FF2B5EF4-FFF2-40B4-BE49-F238E27FC236}">
                      <a16:creationId xmlns:a16="http://schemas.microsoft.com/office/drawing/2014/main" id="{D164DD7A-5EE3-B4A8-A9A8-F6BA94BB3BA5}"/>
                    </a:ext>
                  </a:extLst>
                </p:cNvPr>
                <p:cNvGrpSpPr/>
                <p:nvPr/>
              </p:nvGrpSpPr>
              <p:grpSpPr>
                <a:xfrm>
                  <a:off x="8512037" y="1070482"/>
                  <a:ext cx="68895" cy="90004"/>
                  <a:chOff x="1773255" y="1810053"/>
                  <a:chExt cx="84653" cy="84653"/>
                </a:xfrm>
              </p:grpSpPr>
              <p:cxnSp>
                <p:nvCxnSpPr>
                  <p:cNvPr id="1219" name="Straight Connector 1218">
                    <a:extLst>
                      <a:ext uri="{FF2B5EF4-FFF2-40B4-BE49-F238E27FC236}">
                        <a16:creationId xmlns:a16="http://schemas.microsoft.com/office/drawing/2014/main" id="{4F8D843C-50D3-D9A4-9AE2-4A456613B1B1}"/>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20" name="Straight Connector 1219">
                    <a:extLst>
                      <a:ext uri="{FF2B5EF4-FFF2-40B4-BE49-F238E27FC236}">
                        <a16:creationId xmlns:a16="http://schemas.microsoft.com/office/drawing/2014/main" id="{8CA2388A-E842-CE24-4AD4-151CB2343F09}"/>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95" name="Group 1194">
                  <a:extLst>
                    <a:ext uri="{FF2B5EF4-FFF2-40B4-BE49-F238E27FC236}">
                      <a16:creationId xmlns:a16="http://schemas.microsoft.com/office/drawing/2014/main" id="{2BBA650B-3AB7-B377-89B2-14D7559052C9}"/>
                    </a:ext>
                  </a:extLst>
                </p:cNvPr>
                <p:cNvGrpSpPr/>
                <p:nvPr/>
              </p:nvGrpSpPr>
              <p:grpSpPr>
                <a:xfrm>
                  <a:off x="8527541" y="1070482"/>
                  <a:ext cx="68895" cy="90004"/>
                  <a:chOff x="1773255" y="1810053"/>
                  <a:chExt cx="84653" cy="84653"/>
                </a:xfrm>
              </p:grpSpPr>
              <p:cxnSp>
                <p:nvCxnSpPr>
                  <p:cNvPr id="1217" name="Straight Connector 1216">
                    <a:extLst>
                      <a:ext uri="{FF2B5EF4-FFF2-40B4-BE49-F238E27FC236}">
                        <a16:creationId xmlns:a16="http://schemas.microsoft.com/office/drawing/2014/main" id="{CCC81924-2593-3907-FBF4-CDDC145E3FD8}"/>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18" name="Straight Connector 1217">
                    <a:extLst>
                      <a:ext uri="{FF2B5EF4-FFF2-40B4-BE49-F238E27FC236}">
                        <a16:creationId xmlns:a16="http://schemas.microsoft.com/office/drawing/2014/main" id="{262FD016-06E2-55F8-9D68-1CB18F4CB147}"/>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96" name="Group 1195">
                  <a:extLst>
                    <a:ext uri="{FF2B5EF4-FFF2-40B4-BE49-F238E27FC236}">
                      <a16:creationId xmlns:a16="http://schemas.microsoft.com/office/drawing/2014/main" id="{49E0CF02-624C-7EBA-7E3C-FB14D6C1BAF2}"/>
                    </a:ext>
                  </a:extLst>
                </p:cNvPr>
                <p:cNvGrpSpPr/>
                <p:nvPr/>
              </p:nvGrpSpPr>
              <p:grpSpPr>
                <a:xfrm>
                  <a:off x="8564362" y="1070482"/>
                  <a:ext cx="68895" cy="90004"/>
                  <a:chOff x="1773255" y="1810053"/>
                  <a:chExt cx="84653" cy="84653"/>
                </a:xfrm>
              </p:grpSpPr>
              <p:cxnSp>
                <p:nvCxnSpPr>
                  <p:cNvPr id="1215" name="Straight Connector 1214">
                    <a:extLst>
                      <a:ext uri="{FF2B5EF4-FFF2-40B4-BE49-F238E27FC236}">
                        <a16:creationId xmlns:a16="http://schemas.microsoft.com/office/drawing/2014/main" id="{C16BE03E-41EF-842D-DBE5-786D928FB5EA}"/>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16" name="Straight Connector 1215">
                    <a:extLst>
                      <a:ext uri="{FF2B5EF4-FFF2-40B4-BE49-F238E27FC236}">
                        <a16:creationId xmlns:a16="http://schemas.microsoft.com/office/drawing/2014/main" id="{DC41216F-BF5E-527E-A90F-E0FB93B40410}"/>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97" name="Group 1196">
                  <a:extLst>
                    <a:ext uri="{FF2B5EF4-FFF2-40B4-BE49-F238E27FC236}">
                      <a16:creationId xmlns:a16="http://schemas.microsoft.com/office/drawing/2014/main" id="{9BE5D708-1742-FB11-7C66-4C922930FF68}"/>
                    </a:ext>
                  </a:extLst>
                </p:cNvPr>
                <p:cNvGrpSpPr/>
                <p:nvPr/>
              </p:nvGrpSpPr>
              <p:grpSpPr>
                <a:xfrm>
                  <a:off x="8638005" y="1070482"/>
                  <a:ext cx="68895" cy="90004"/>
                  <a:chOff x="1773255" y="1810053"/>
                  <a:chExt cx="84653" cy="84653"/>
                </a:xfrm>
              </p:grpSpPr>
              <p:cxnSp>
                <p:nvCxnSpPr>
                  <p:cNvPr id="1213" name="Straight Connector 1212">
                    <a:extLst>
                      <a:ext uri="{FF2B5EF4-FFF2-40B4-BE49-F238E27FC236}">
                        <a16:creationId xmlns:a16="http://schemas.microsoft.com/office/drawing/2014/main" id="{36BEC99C-E16F-F6D8-F4D5-613381E480DD}"/>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14" name="Straight Connector 1213">
                    <a:extLst>
                      <a:ext uri="{FF2B5EF4-FFF2-40B4-BE49-F238E27FC236}">
                        <a16:creationId xmlns:a16="http://schemas.microsoft.com/office/drawing/2014/main" id="{B28EDE79-4078-464F-9816-446AB3558AB0}"/>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98" name="Group 1197">
                  <a:extLst>
                    <a:ext uri="{FF2B5EF4-FFF2-40B4-BE49-F238E27FC236}">
                      <a16:creationId xmlns:a16="http://schemas.microsoft.com/office/drawing/2014/main" id="{A9380834-4136-408E-4880-2C9116588F50}"/>
                    </a:ext>
                  </a:extLst>
                </p:cNvPr>
                <p:cNvGrpSpPr/>
                <p:nvPr/>
              </p:nvGrpSpPr>
              <p:grpSpPr>
                <a:xfrm>
                  <a:off x="8667075" y="1070482"/>
                  <a:ext cx="68895" cy="90004"/>
                  <a:chOff x="1773255" y="1810053"/>
                  <a:chExt cx="84653" cy="84653"/>
                </a:xfrm>
              </p:grpSpPr>
              <p:cxnSp>
                <p:nvCxnSpPr>
                  <p:cNvPr id="1211" name="Straight Connector 1210">
                    <a:extLst>
                      <a:ext uri="{FF2B5EF4-FFF2-40B4-BE49-F238E27FC236}">
                        <a16:creationId xmlns:a16="http://schemas.microsoft.com/office/drawing/2014/main" id="{7EC9A79D-FA5F-6520-6B37-9297DC20A3D6}"/>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12" name="Straight Connector 1211">
                    <a:extLst>
                      <a:ext uri="{FF2B5EF4-FFF2-40B4-BE49-F238E27FC236}">
                        <a16:creationId xmlns:a16="http://schemas.microsoft.com/office/drawing/2014/main" id="{AE36CC4C-75B4-4E8F-0E72-DF774AFF813B}"/>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199" name="Group 1198">
                  <a:extLst>
                    <a:ext uri="{FF2B5EF4-FFF2-40B4-BE49-F238E27FC236}">
                      <a16:creationId xmlns:a16="http://schemas.microsoft.com/office/drawing/2014/main" id="{D841F51A-891B-BB55-072B-0C762F2249D6}"/>
                    </a:ext>
                  </a:extLst>
                </p:cNvPr>
                <p:cNvGrpSpPr/>
                <p:nvPr/>
              </p:nvGrpSpPr>
              <p:grpSpPr>
                <a:xfrm>
                  <a:off x="8688393" y="1070482"/>
                  <a:ext cx="68895" cy="90004"/>
                  <a:chOff x="1773255" y="1810053"/>
                  <a:chExt cx="84653" cy="84653"/>
                </a:xfrm>
              </p:grpSpPr>
              <p:cxnSp>
                <p:nvCxnSpPr>
                  <p:cNvPr id="1209" name="Straight Connector 1208">
                    <a:extLst>
                      <a:ext uri="{FF2B5EF4-FFF2-40B4-BE49-F238E27FC236}">
                        <a16:creationId xmlns:a16="http://schemas.microsoft.com/office/drawing/2014/main" id="{7C8423D2-E462-1A1C-E697-880B8F4A83BC}"/>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10" name="Straight Connector 1209">
                    <a:extLst>
                      <a:ext uri="{FF2B5EF4-FFF2-40B4-BE49-F238E27FC236}">
                        <a16:creationId xmlns:a16="http://schemas.microsoft.com/office/drawing/2014/main" id="{E6304F79-CEDD-045F-C989-D2142AB580A9}"/>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200" name="Group 1199">
                  <a:extLst>
                    <a:ext uri="{FF2B5EF4-FFF2-40B4-BE49-F238E27FC236}">
                      <a16:creationId xmlns:a16="http://schemas.microsoft.com/office/drawing/2014/main" id="{3D885FA3-4A37-56FC-C9AC-C6F79A4CE91E}"/>
                    </a:ext>
                  </a:extLst>
                </p:cNvPr>
                <p:cNvGrpSpPr/>
                <p:nvPr/>
              </p:nvGrpSpPr>
              <p:grpSpPr>
                <a:xfrm>
                  <a:off x="8717463" y="1070482"/>
                  <a:ext cx="68895" cy="90004"/>
                  <a:chOff x="1773255" y="1810053"/>
                  <a:chExt cx="84653" cy="84653"/>
                </a:xfrm>
              </p:grpSpPr>
              <p:cxnSp>
                <p:nvCxnSpPr>
                  <p:cNvPr id="1207" name="Straight Connector 1206">
                    <a:extLst>
                      <a:ext uri="{FF2B5EF4-FFF2-40B4-BE49-F238E27FC236}">
                        <a16:creationId xmlns:a16="http://schemas.microsoft.com/office/drawing/2014/main" id="{E08D82C2-92F8-B692-6A66-73BCB570958C}"/>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08" name="Straight Connector 1207">
                    <a:extLst>
                      <a:ext uri="{FF2B5EF4-FFF2-40B4-BE49-F238E27FC236}">
                        <a16:creationId xmlns:a16="http://schemas.microsoft.com/office/drawing/2014/main" id="{205E11A9-B5A1-154A-29C8-3B979E0BAE87}"/>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201" name="Group 1200">
                  <a:extLst>
                    <a:ext uri="{FF2B5EF4-FFF2-40B4-BE49-F238E27FC236}">
                      <a16:creationId xmlns:a16="http://schemas.microsoft.com/office/drawing/2014/main" id="{1ECACFCC-0565-100E-085E-4A078F1269FA}"/>
                    </a:ext>
                  </a:extLst>
                </p:cNvPr>
                <p:cNvGrpSpPr/>
                <p:nvPr/>
              </p:nvGrpSpPr>
              <p:grpSpPr>
                <a:xfrm>
                  <a:off x="8748470" y="1070482"/>
                  <a:ext cx="68895" cy="90004"/>
                  <a:chOff x="1773255" y="1810053"/>
                  <a:chExt cx="84653" cy="84653"/>
                </a:xfrm>
              </p:grpSpPr>
              <p:cxnSp>
                <p:nvCxnSpPr>
                  <p:cNvPr id="1205" name="Straight Connector 1204">
                    <a:extLst>
                      <a:ext uri="{FF2B5EF4-FFF2-40B4-BE49-F238E27FC236}">
                        <a16:creationId xmlns:a16="http://schemas.microsoft.com/office/drawing/2014/main" id="{0CB14C3C-BA49-5F2C-4C0A-4A3F15C130DA}"/>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06" name="Straight Connector 1205">
                    <a:extLst>
                      <a:ext uri="{FF2B5EF4-FFF2-40B4-BE49-F238E27FC236}">
                        <a16:creationId xmlns:a16="http://schemas.microsoft.com/office/drawing/2014/main" id="{D21CF372-0722-D40A-5648-C3B0C5B3BDB0}"/>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nvGrpSpPr>
                <p:cNvPr id="1202" name="Group 1201">
                  <a:extLst>
                    <a:ext uri="{FF2B5EF4-FFF2-40B4-BE49-F238E27FC236}">
                      <a16:creationId xmlns:a16="http://schemas.microsoft.com/office/drawing/2014/main" id="{BFDA3E8D-072C-DCC2-E2D6-0D34334E342B}"/>
                    </a:ext>
                  </a:extLst>
                </p:cNvPr>
                <p:cNvGrpSpPr/>
                <p:nvPr/>
              </p:nvGrpSpPr>
              <p:grpSpPr>
                <a:xfrm>
                  <a:off x="8798857" y="1070482"/>
                  <a:ext cx="68895" cy="90004"/>
                  <a:chOff x="1773255" y="1810053"/>
                  <a:chExt cx="84653" cy="84653"/>
                </a:xfrm>
              </p:grpSpPr>
              <p:cxnSp>
                <p:nvCxnSpPr>
                  <p:cNvPr id="1203" name="Straight Connector 1202">
                    <a:extLst>
                      <a:ext uri="{FF2B5EF4-FFF2-40B4-BE49-F238E27FC236}">
                        <a16:creationId xmlns:a16="http://schemas.microsoft.com/office/drawing/2014/main" id="{647B9B2C-B78C-3464-8AEA-29CFA44103C4}"/>
                      </a:ext>
                    </a:extLst>
                  </p:cNvPr>
                  <p:cNvCxnSpPr>
                    <a:cxnSpLocks/>
                  </p:cNvCxnSpPr>
                  <p:nvPr/>
                </p:nvCxnSpPr>
                <p:spPr>
                  <a:xfrm>
                    <a:off x="1815582" y="1810053"/>
                    <a:ext cx="0" cy="84653"/>
                  </a:xfrm>
                  <a:prstGeom prst="line">
                    <a:avLst/>
                  </a:prstGeom>
                  <a:noFill/>
                  <a:ln w="12700" cap="flat" cmpd="sng" algn="ctr">
                    <a:solidFill>
                      <a:schemeClr val="tx1">
                        <a:lumMod val="50000"/>
                        <a:lumOff val="50000"/>
                      </a:schemeClr>
                    </a:solidFill>
                    <a:prstDash val="solid"/>
                    <a:miter lim="800000"/>
                  </a:ln>
                  <a:effectLst/>
                </p:spPr>
              </p:cxnSp>
              <p:cxnSp>
                <p:nvCxnSpPr>
                  <p:cNvPr id="1204" name="Straight Connector 1203">
                    <a:extLst>
                      <a:ext uri="{FF2B5EF4-FFF2-40B4-BE49-F238E27FC236}">
                        <a16:creationId xmlns:a16="http://schemas.microsoft.com/office/drawing/2014/main" id="{86444F76-4755-F3CF-7218-C94BF86C3A16}"/>
                      </a:ext>
                    </a:extLst>
                  </p:cNvPr>
                  <p:cNvCxnSpPr>
                    <a:cxnSpLocks/>
                  </p:cNvCxnSpPr>
                  <p:nvPr/>
                </p:nvCxnSpPr>
                <p:spPr>
                  <a:xfrm rot="16200000">
                    <a:off x="1815582" y="1810053"/>
                    <a:ext cx="0" cy="84653"/>
                  </a:xfrm>
                  <a:prstGeom prst="line">
                    <a:avLst/>
                  </a:prstGeom>
                  <a:noFill/>
                  <a:ln w="12700" cap="flat" cmpd="sng" algn="ctr">
                    <a:solidFill>
                      <a:schemeClr val="tx1">
                        <a:lumMod val="50000"/>
                        <a:lumOff val="50000"/>
                      </a:schemeClr>
                    </a:solidFill>
                    <a:prstDash val="solid"/>
                    <a:miter lim="800000"/>
                  </a:ln>
                  <a:effectLst/>
                </p:spPr>
              </p:cxnSp>
            </p:grpSp>
          </p:grpSp>
        </p:grpSp>
        <p:grpSp>
          <p:nvGrpSpPr>
            <p:cNvPr id="1528" name="Group 1527">
              <a:extLst>
                <a:ext uri="{FF2B5EF4-FFF2-40B4-BE49-F238E27FC236}">
                  <a16:creationId xmlns:a16="http://schemas.microsoft.com/office/drawing/2014/main" id="{9372A69F-DAEE-8860-A128-2B40032C9CE3}"/>
                </a:ext>
              </a:extLst>
            </p:cNvPr>
            <p:cNvGrpSpPr/>
            <p:nvPr/>
          </p:nvGrpSpPr>
          <p:grpSpPr>
            <a:xfrm>
              <a:off x="3529822" y="1802207"/>
              <a:ext cx="5047505" cy="1358211"/>
              <a:chOff x="3529822" y="1802985"/>
              <a:chExt cx="5047505" cy="1427147"/>
            </a:xfrm>
          </p:grpSpPr>
          <p:grpSp>
            <p:nvGrpSpPr>
              <p:cNvPr id="1162" name="Group 1161">
                <a:extLst>
                  <a:ext uri="{FF2B5EF4-FFF2-40B4-BE49-F238E27FC236}">
                    <a16:creationId xmlns:a16="http://schemas.microsoft.com/office/drawing/2014/main" id="{9B6C528C-8743-73CC-772C-6073C8ABD306}"/>
                  </a:ext>
                </a:extLst>
              </p:cNvPr>
              <p:cNvGrpSpPr/>
              <p:nvPr/>
            </p:nvGrpSpPr>
            <p:grpSpPr>
              <a:xfrm>
                <a:off x="7548686" y="3095043"/>
                <a:ext cx="1028641" cy="135089"/>
                <a:chOff x="8860224" y="2685399"/>
                <a:chExt cx="1475866" cy="125448"/>
              </a:xfrm>
            </p:grpSpPr>
            <p:grpSp>
              <p:nvGrpSpPr>
                <p:cNvPr id="1442" name="Group 1441">
                  <a:extLst>
                    <a:ext uri="{FF2B5EF4-FFF2-40B4-BE49-F238E27FC236}">
                      <a16:creationId xmlns:a16="http://schemas.microsoft.com/office/drawing/2014/main" id="{F12652BE-E48B-5407-E35B-350F15A16B76}"/>
                    </a:ext>
                  </a:extLst>
                </p:cNvPr>
                <p:cNvGrpSpPr/>
                <p:nvPr/>
              </p:nvGrpSpPr>
              <p:grpSpPr>
                <a:xfrm>
                  <a:off x="8860224" y="2685399"/>
                  <a:ext cx="1475866" cy="125448"/>
                  <a:chOff x="8860224" y="2740632"/>
                  <a:chExt cx="1475866" cy="125448"/>
                </a:xfrm>
              </p:grpSpPr>
              <p:grpSp>
                <p:nvGrpSpPr>
                  <p:cNvPr id="1444" name="Group 1443">
                    <a:extLst>
                      <a:ext uri="{FF2B5EF4-FFF2-40B4-BE49-F238E27FC236}">
                        <a16:creationId xmlns:a16="http://schemas.microsoft.com/office/drawing/2014/main" id="{E6E7F0CE-49A8-34FC-D64B-657351C88BA7}"/>
                      </a:ext>
                    </a:extLst>
                  </p:cNvPr>
                  <p:cNvGrpSpPr/>
                  <p:nvPr/>
                </p:nvGrpSpPr>
                <p:grpSpPr>
                  <a:xfrm>
                    <a:off x="8860224" y="2740632"/>
                    <a:ext cx="68895" cy="90004"/>
                    <a:chOff x="6128595" y="3199359"/>
                    <a:chExt cx="84653" cy="84653"/>
                  </a:xfrm>
                </p:grpSpPr>
                <p:cxnSp>
                  <p:nvCxnSpPr>
                    <p:cNvPr id="1511" name="Straight Connector 1510">
                      <a:extLst>
                        <a:ext uri="{FF2B5EF4-FFF2-40B4-BE49-F238E27FC236}">
                          <a16:creationId xmlns:a16="http://schemas.microsoft.com/office/drawing/2014/main" id="{862B25CC-182E-0BC1-A6B7-55E4060D8E0D}"/>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512" name="Straight Connector 1511">
                      <a:extLst>
                        <a:ext uri="{FF2B5EF4-FFF2-40B4-BE49-F238E27FC236}">
                          <a16:creationId xmlns:a16="http://schemas.microsoft.com/office/drawing/2014/main" id="{96B73F10-D0B1-CCA4-DF65-A3897AD19BD8}"/>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45" name="Group 1444">
                    <a:extLst>
                      <a:ext uri="{FF2B5EF4-FFF2-40B4-BE49-F238E27FC236}">
                        <a16:creationId xmlns:a16="http://schemas.microsoft.com/office/drawing/2014/main" id="{12D659D8-A650-D975-C81A-C451EB8BD060}"/>
                      </a:ext>
                    </a:extLst>
                  </p:cNvPr>
                  <p:cNvGrpSpPr/>
                  <p:nvPr/>
                </p:nvGrpSpPr>
                <p:grpSpPr>
                  <a:xfrm>
                    <a:off x="8910611" y="2776076"/>
                    <a:ext cx="68895" cy="90004"/>
                    <a:chOff x="6128595" y="3199359"/>
                    <a:chExt cx="84653" cy="84653"/>
                  </a:xfrm>
                </p:grpSpPr>
                <p:cxnSp>
                  <p:nvCxnSpPr>
                    <p:cNvPr id="1509" name="Straight Connector 1508">
                      <a:extLst>
                        <a:ext uri="{FF2B5EF4-FFF2-40B4-BE49-F238E27FC236}">
                          <a16:creationId xmlns:a16="http://schemas.microsoft.com/office/drawing/2014/main" id="{AE24977D-744F-ECD1-6DB3-9563C257A060}"/>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510" name="Straight Connector 1509">
                      <a:extLst>
                        <a:ext uri="{FF2B5EF4-FFF2-40B4-BE49-F238E27FC236}">
                          <a16:creationId xmlns:a16="http://schemas.microsoft.com/office/drawing/2014/main" id="{0550F2A6-CF2D-B4BA-05B5-616B032ADC3B}"/>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46" name="Group 1445">
                    <a:extLst>
                      <a:ext uri="{FF2B5EF4-FFF2-40B4-BE49-F238E27FC236}">
                        <a16:creationId xmlns:a16="http://schemas.microsoft.com/office/drawing/2014/main" id="{3EE610DF-A88B-1BA6-1213-DFCC02E58CD9}"/>
                      </a:ext>
                    </a:extLst>
                  </p:cNvPr>
                  <p:cNvGrpSpPr/>
                  <p:nvPr/>
                </p:nvGrpSpPr>
                <p:grpSpPr>
                  <a:xfrm>
                    <a:off x="8976502" y="2776076"/>
                    <a:ext cx="68895" cy="90004"/>
                    <a:chOff x="6128595" y="3199359"/>
                    <a:chExt cx="84653" cy="84653"/>
                  </a:xfrm>
                </p:grpSpPr>
                <p:cxnSp>
                  <p:nvCxnSpPr>
                    <p:cNvPr id="1507" name="Straight Connector 1506">
                      <a:extLst>
                        <a:ext uri="{FF2B5EF4-FFF2-40B4-BE49-F238E27FC236}">
                          <a16:creationId xmlns:a16="http://schemas.microsoft.com/office/drawing/2014/main" id="{34112DB8-F977-B430-5847-C755D2A6247B}"/>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508" name="Straight Connector 1507">
                      <a:extLst>
                        <a:ext uri="{FF2B5EF4-FFF2-40B4-BE49-F238E27FC236}">
                          <a16:creationId xmlns:a16="http://schemas.microsoft.com/office/drawing/2014/main" id="{C07E8356-0C1C-A928-BA35-D4077B13B597}"/>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47" name="Group 1446">
                    <a:extLst>
                      <a:ext uri="{FF2B5EF4-FFF2-40B4-BE49-F238E27FC236}">
                        <a16:creationId xmlns:a16="http://schemas.microsoft.com/office/drawing/2014/main" id="{CFC10008-DDF0-3CBD-6FA9-972F09ACEEAB}"/>
                      </a:ext>
                    </a:extLst>
                  </p:cNvPr>
                  <p:cNvGrpSpPr/>
                  <p:nvPr/>
                </p:nvGrpSpPr>
                <p:grpSpPr>
                  <a:xfrm>
                    <a:off x="9021075" y="2776076"/>
                    <a:ext cx="68895" cy="90004"/>
                    <a:chOff x="6128595" y="3199359"/>
                    <a:chExt cx="84653" cy="84653"/>
                  </a:xfrm>
                </p:grpSpPr>
                <p:cxnSp>
                  <p:nvCxnSpPr>
                    <p:cNvPr id="1505" name="Straight Connector 1504">
                      <a:extLst>
                        <a:ext uri="{FF2B5EF4-FFF2-40B4-BE49-F238E27FC236}">
                          <a16:creationId xmlns:a16="http://schemas.microsoft.com/office/drawing/2014/main" id="{466FE1E8-4928-5FEA-1FBB-918C7F307D9B}"/>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506" name="Straight Connector 1505">
                      <a:extLst>
                        <a:ext uri="{FF2B5EF4-FFF2-40B4-BE49-F238E27FC236}">
                          <a16:creationId xmlns:a16="http://schemas.microsoft.com/office/drawing/2014/main" id="{6DAD01F9-07D2-36EC-A05E-4FAF94FCCEA7}"/>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48" name="Group 1447">
                    <a:extLst>
                      <a:ext uri="{FF2B5EF4-FFF2-40B4-BE49-F238E27FC236}">
                        <a16:creationId xmlns:a16="http://schemas.microsoft.com/office/drawing/2014/main" id="{BF0EEAEC-9564-AC3F-71A4-D0C91875931A}"/>
                      </a:ext>
                    </a:extLst>
                  </p:cNvPr>
                  <p:cNvGrpSpPr/>
                  <p:nvPr/>
                </p:nvGrpSpPr>
                <p:grpSpPr>
                  <a:xfrm>
                    <a:off x="9048207" y="2776076"/>
                    <a:ext cx="68895" cy="90004"/>
                    <a:chOff x="6128595" y="3199359"/>
                    <a:chExt cx="84653" cy="84653"/>
                  </a:xfrm>
                </p:grpSpPr>
                <p:cxnSp>
                  <p:nvCxnSpPr>
                    <p:cNvPr id="1503" name="Straight Connector 1502">
                      <a:extLst>
                        <a:ext uri="{FF2B5EF4-FFF2-40B4-BE49-F238E27FC236}">
                          <a16:creationId xmlns:a16="http://schemas.microsoft.com/office/drawing/2014/main" id="{4E1A360C-A06B-4F15-348E-4DF8304342AB}"/>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504" name="Straight Connector 1503">
                      <a:extLst>
                        <a:ext uri="{FF2B5EF4-FFF2-40B4-BE49-F238E27FC236}">
                          <a16:creationId xmlns:a16="http://schemas.microsoft.com/office/drawing/2014/main" id="{395D46B5-ED90-B4D7-427C-0B9AA811122E}"/>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49" name="Group 1448">
                    <a:extLst>
                      <a:ext uri="{FF2B5EF4-FFF2-40B4-BE49-F238E27FC236}">
                        <a16:creationId xmlns:a16="http://schemas.microsoft.com/office/drawing/2014/main" id="{2CBA7882-BB5F-ED1D-7C9F-2A5C3C0E2D71}"/>
                      </a:ext>
                    </a:extLst>
                  </p:cNvPr>
                  <p:cNvGrpSpPr/>
                  <p:nvPr/>
                </p:nvGrpSpPr>
                <p:grpSpPr>
                  <a:xfrm>
                    <a:off x="9086966" y="2776076"/>
                    <a:ext cx="68895" cy="90004"/>
                    <a:chOff x="6128595" y="3199359"/>
                    <a:chExt cx="84653" cy="84653"/>
                  </a:xfrm>
                </p:grpSpPr>
                <p:cxnSp>
                  <p:nvCxnSpPr>
                    <p:cNvPr id="1501" name="Straight Connector 1500">
                      <a:extLst>
                        <a:ext uri="{FF2B5EF4-FFF2-40B4-BE49-F238E27FC236}">
                          <a16:creationId xmlns:a16="http://schemas.microsoft.com/office/drawing/2014/main" id="{E85E8B63-CBB6-F0BA-247F-ACE08601B22B}"/>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502" name="Straight Connector 1501">
                      <a:extLst>
                        <a:ext uri="{FF2B5EF4-FFF2-40B4-BE49-F238E27FC236}">
                          <a16:creationId xmlns:a16="http://schemas.microsoft.com/office/drawing/2014/main" id="{02750147-9797-0F4E-E2FD-7C85D3E7714E}"/>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50" name="Group 1449">
                    <a:extLst>
                      <a:ext uri="{FF2B5EF4-FFF2-40B4-BE49-F238E27FC236}">
                        <a16:creationId xmlns:a16="http://schemas.microsoft.com/office/drawing/2014/main" id="{0E0E51F7-3324-D1BF-7D79-917A006C1F94}"/>
                      </a:ext>
                    </a:extLst>
                  </p:cNvPr>
                  <p:cNvGrpSpPr/>
                  <p:nvPr/>
                </p:nvGrpSpPr>
                <p:grpSpPr>
                  <a:xfrm>
                    <a:off x="9133478" y="2776076"/>
                    <a:ext cx="68895" cy="90004"/>
                    <a:chOff x="6128595" y="3199359"/>
                    <a:chExt cx="84653" cy="84653"/>
                  </a:xfrm>
                </p:grpSpPr>
                <p:cxnSp>
                  <p:nvCxnSpPr>
                    <p:cNvPr id="1499" name="Straight Connector 1498">
                      <a:extLst>
                        <a:ext uri="{FF2B5EF4-FFF2-40B4-BE49-F238E27FC236}">
                          <a16:creationId xmlns:a16="http://schemas.microsoft.com/office/drawing/2014/main" id="{B4FB6504-7EE9-5801-DD7F-4E5B95BED4EE}"/>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500" name="Straight Connector 1499">
                      <a:extLst>
                        <a:ext uri="{FF2B5EF4-FFF2-40B4-BE49-F238E27FC236}">
                          <a16:creationId xmlns:a16="http://schemas.microsoft.com/office/drawing/2014/main" id="{0B3405E4-3BA7-0B0B-5B5F-BF1CC655BE3F}"/>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51" name="Group 1450">
                    <a:extLst>
                      <a:ext uri="{FF2B5EF4-FFF2-40B4-BE49-F238E27FC236}">
                        <a16:creationId xmlns:a16="http://schemas.microsoft.com/office/drawing/2014/main" id="{4DE571F4-EDC7-8B85-9E8B-748CF85761C6}"/>
                      </a:ext>
                    </a:extLst>
                  </p:cNvPr>
                  <p:cNvGrpSpPr/>
                  <p:nvPr/>
                </p:nvGrpSpPr>
                <p:grpSpPr>
                  <a:xfrm>
                    <a:off x="9255570" y="2776076"/>
                    <a:ext cx="68895" cy="90004"/>
                    <a:chOff x="6128595" y="3199359"/>
                    <a:chExt cx="84653" cy="84653"/>
                  </a:xfrm>
                </p:grpSpPr>
                <p:cxnSp>
                  <p:nvCxnSpPr>
                    <p:cNvPr id="1497" name="Straight Connector 1496">
                      <a:extLst>
                        <a:ext uri="{FF2B5EF4-FFF2-40B4-BE49-F238E27FC236}">
                          <a16:creationId xmlns:a16="http://schemas.microsoft.com/office/drawing/2014/main" id="{E30F2E4A-55AD-5F19-4EA5-FF65D47C9B05}"/>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98" name="Straight Connector 1497">
                      <a:extLst>
                        <a:ext uri="{FF2B5EF4-FFF2-40B4-BE49-F238E27FC236}">
                          <a16:creationId xmlns:a16="http://schemas.microsoft.com/office/drawing/2014/main" id="{CA11AEE2-8DB4-E288-EB77-F411BB60D878}"/>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52" name="Group 1451">
                    <a:extLst>
                      <a:ext uri="{FF2B5EF4-FFF2-40B4-BE49-F238E27FC236}">
                        <a16:creationId xmlns:a16="http://schemas.microsoft.com/office/drawing/2014/main" id="{94DA0E67-9340-05DE-9BF9-5A9E3F4C40E7}"/>
                      </a:ext>
                    </a:extLst>
                  </p:cNvPr>
                  <p:cNvGrpSpPr/>
                  <p:nvPr/>
                </p:nvGrpSpPr>
                <p:grpSpPr>
                  <a:xfrm>
                    <a:off x="9278826" y="2776076"/>
                    <a:ext cx="68895" cy="90004"/>
                    <a:chOff x="6128595" y="3199359"/>
                    <a:chExt cx="84653" cy="84653"/>
                  </a:xfrm>
                </p:grpSpPr>
                <p:cxnSp>
                  <p:nvCxnSpPr>
                    <p:cNvPr id="1495" name="Straight Connector 1494">
                      <a:extLst>
                        <a:ext uri="{FF2B5EF4-FFF2-40B4-BE49-F238E27FC236}">
                          <a16:creationId xmlns:a16="http://schemas.microsoft.com/office/drawing/2014/main" id="{9F18A30B-FD5A-80BF-C180-3FB3CBB702DB}"/>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96" name="Straight Connector 1495">
                      <a:extLst>
                        <a:ext uri="{FF2B5EF4-FFF2-40B4-BE49-F238E27FC236}">
                          <a16:creationId xmlns:a16="http://schemas.microsoft.com/office/drawing/2014/main" id="{E37E477D-6468-FCBF-333F-FB408328FCA8}"/>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53" name="Group 1452">
                    <a:extLst>
                      <a:ext uri="{FF2B5EF4-FFF2-40B4-BE49-F238E27FC236}">
                        <a16:creationId xmlns:a16="http://schemas.microsoft.com/office/drawing/2014/main" id="{699DDDEC-0A8C-3E7E-68F1-A4B659B2DD22}"/>
                      </a:ext>
                    </a:extLst>
                  </p:cNvPr>
                  <p:cNvGrpSpPr/>
                  <p:nvPr/>
                </p:nvGrpSpPr>
                <p:grpSpPr>
                  <a:xfrm>
                    <a:off x="9352470" y="2776076"/>
                    <a:ext cx="68895" cy="90004"/>
                    <a:chOff x="6128595" y="3199359"/>
                    <a:chExt cx="84653" cy="84653"/>
                  </a:xfrm>
                </p:grpSpPr>
                <p:cxnSp>
                  <p:nvCxnSpPr>
                    <p:cNvPr id="1493" name="Straight Connector 1492">
                      <a:extLst>
                        <a:ext uri="{FF2B5EF4-FFF2-40B4-BE49-F238E27FC236}">
                          <a16:creationId xmlns:a16="http://schemas.microsoft.com/office/drawing/2014/main" id="{97612EAB-B204-4210-57D6-8BCAAD0041B5}"/>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94" name="Straight Connector 1493">
                      <a:extLst>
                        <a:ext uri="{FF2B5EF4-FFF2-40B4-BE49-F238E27FC236}">
                          <a16:creationId xmlns:a16="http://schemas.microsoft.com/office/drawing/2014/main" id="{30E4A5F3-61C9-5E13-0D2A-A120AA8604C8}"/>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54" name="Group 1453">
                    <a:extLst>
                      <a:ext uri="{FF2B5EF4-FFF2-40B4-BE49-F238E27FC236}">
                        <a16:creationId xmlns:a16="http://schemas.microsoft.com/office/drawing/2014/main" id="{DE8BA39E-1FF0-9907-DC18-BC60722B8F1D}"/>
                      </a:ext>
                    </a:extLst>
                  </p:cNvPr>
                  <p:cNvGrpSpPr/>
                  <p:nvPr/>
                </p:nvGrpSpPr>
                <p:grpSpPr>
                  <a:xfrm>
                    <a:off x="9435803" y="2776076"/>
                    <a:ext cx="68895" cy="90004"/>
                    <a:chOff x="6128595" y="3199359"/>
                    <a:chExt cx="84653" cy="84653"/>
                  </a:xfrm>
                </p:grpSpPr>
                <p:cxnSp>
                  <p:nvCxnSpPr>
                    <p:cNvPr id="1491" name="Straight Connector 1490">
                      <a:extLst>
                        <a:ext uri="{FF2B5EF4-FFF2-40B4-BE49-F238E27FC236}">
                          <a16:creationId xmlns:a16="http://schemas.microsoft.com/office/drawing/2014/main" id="{05D70133-2C54-1959-776A-21999E2776B0}"/>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92" name="Straight Connector 1491">
                      <a:extLst>
                        <a:ext uri="{FF2B5EF4-FFF2-40B4-BE49-F238E27FC236}">
                          <a16:creationId xmlns:a16="http://schemas.microsoft.com/office/drawing/2014/main" id="{D631DF74-5B80-634E-DE32-A18A890FB2F8}"/>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55" name="Group 1454">
                    <a:extLst>
                      <a:ext uri="{FF2B5EF4-FFF2-40B4-BE49-F238E27FC236}">
                        <a16:creationId xmlns:a16="http://schemas.microsoft.com/office/drawing/2014/main" id="{9964439E-680C-2DC3-8240-1F422353B874}"/>
                      </a:ext>
                    </a:extLst>
                  </p:cNvPr>
                  <p:cNvGrpSpPr/>
                  <p:nvPr/>
                </p:nvGrpSpPr>
                <p:grpSpPr>
                  <a:xfrm>
                    <a:off x="9470686" y="2776076"/>
                    <a:ext cx="68895" cy="90004"/>
                    <a:chOff x="6128595" y="3199359"/>
                    <a:chExt cx="84653" cy="84653"/>
                  </a:xfrm>
                </p:grpSpPr>
                <p:cxnSp>
                  <p:nvCxnSpPr>
                    <p:cNvPr id="1489" name="Straight Connector 1488">
                      <a:extLst>
                        <a:ext uri="{FF2B5EF4-FFF2-40B4-BE49-F238E27FC236}">
                          <a16:creationId xmlns:a16="http://schemas.microsoft.com/office/drawing/2014/main" id="{0D40ECB3-41C1-B137-1C21-D3BC312217F4}"/>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90" name="Straight Connector 1489">
                      <a:extLst>
                        <a:ext uri="{FF2B5EF4-FFF2-40B4-BE49-F238E27FC236}">
                          <a16:creationId xmlns:a16="http://schemas.microsoft.com/office/drawing/2014/main" id="{BD69B06C-0D6B-7056-4824-1C7698CF0F96}"/>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56" name="Group 1455">
                    <a:extLst>
                      <a:ext uri="{FF2B5EF4-FFF2-40B4-BE49-F238E27FC236}">
                        <a16:creationId xmlns:a16="http://schemas.microsoft.com/office/drawing/2014/main" id="{61659A3D-6316-2C5E-0405-E40FD8FB1F20}"/>
                      </a:ext>
                    </a:extLst>
                  </p:cNvPr>
                  <p:cNvGrpSpPr/>
                  <p:nvPr/>
                </p:nvGrpSpPr>
                <p:grpSpPr>
                  <a:xfrm>
                    <a:off x="9519135" y="2776076"/>
                    <a:ext cx="68895" cy="90004"/>
                    <a:chOff x="6128595" y="3199359"/>
                    <a:chExt cx="84653" cy="84653"/>
                  </a:xfrm>
                </p:grpSpPr>
                <p:cxnSp>
                  <p:nvCxnSpPr>
                    <p:cNvPr id="1487" name="Straight Connector 1486">
                      <a:extLst>
                        <a:ext uri="{FF2B5EF4-FFF2-40B4-BE49-F238E27FC236}">
                          <a16:creationId xmlns:a16="http://schemas.microsoft.com/office/drawing/2014/main" id="{7A902871-55F4-BB89-C40E-90A2F6FAF8FC}"/>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88" name="Straight Connector 1487">
                      <a:extLst>
                        <a:ext uri="{FF2B5EF4-FFF2-40B4-BE49-F238E27FC236}">
                          <a16:creationId xmlns:a16="http://schemas.microsoft.com/office/drawing/2014/main" id="{FA0440BD-B2C5-BEFC-8178-DC51903A207B}"/>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57" name="Group 1456">
                    <a:extLst>
                      <a:ext uri="{FF2B5EF4-FFF2-40B4-BE49-F238E27FC236}">
                        <a16:creationId xmlns:a16="http://schemas.microsoft.com/office/drawing/2014/main" id="{9735BF6C-3C18-C2CE-F2AE-3FC1647893C1}"/>
                      </a:ext>
                    </a:extLst>
                  </p:cNvPr>
                  <p:cNvGrpSpPr/>
                  <p:nvPr/>
                </p:nvGrpSpPr>
                <p:grpSpPr>
                  <a:xfrm>
                    <a:off x="9579212" y="2776076"/>
                    <a:ext cx="68895" cy="90004"/>
                    <a:chOff x="6128595" y="3199359"/>
                    <a:chExt cx="84653" cy="84653"/>
                  </a:xfrm>
                </p:grpSpPr>
                <p:cxnSp>
                  <p:nvCxnSpPr>
                    <p:cNvPr id="1485" name="Straight Connector 1484">
                      <a:extLst>
                        <a:ext uri="{FF2B5EF4-FFF2-40B4-BE49-F238E27FC236}">
                          <a16:creationId xmlns:a16="http://schemas.microsoft.com/office/drawing/2014/main" id="{0259D78D-E4EE-1653-72BB-C25B1FDBE9C2}"/>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86" name="Straight Connector 1485">
                      <a:extLst>
                        <a:ext uri="{FF2B5EF4-FFF2-40B4-BE49-F238E27FC236}">
                          <a16:creationId xmlns:a16="http://schemas.microsoft.com/office/drawing/2014/main" id="{D4273A61-8855-3D89-E4DA-CB600BD45DFC}"/>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58" name="Group 1457">
                    <a:extLst>
                      <a:ext uri="{FF2B5EF4-FFF2-40B4-BE49-F238E27FC236}">
                        <a16:creationId xmlns:a16="http://schemas.microsoft.com/office/drawing/2014/main" id="{7F9480FD-70D3-C5EA-55C8-B30711C0B4EB}"/>
                      </a:ext>
                    </a:extLst>
                  </p:cNvPr>
                  <p:cNvGrpSpPr/>
                  <p:nvPr/>
                </p:nvGrpSpPr>
                <p:grpSpPr>
                  <a:xfrm>
                    <a:off x="9606345" y="2776076"/>
                    <a:ext cx="68895" cy="90004"/>
                    <a:chOff x="6128595" y="3199359"/>
                    <a:chExt cx="84653" cy="84653"/>
                  </a:xfrm>
                </p:grpSpPr>
                <p:cxnSp>
                  <p:nvCxnSpPr>
                    <p:cNvPr id="1483" name="Straight Connector 1482">
                      <a:extLst>
                        <a:ext uri="{FF2B5EF4-FFF2-40B4-BE49-F238E27FC236}">
                          <a16:creationId xmlns:a16="http://schemas.microsoft.com/office/drawing/2014/main" id="{DCE72817-F667-6975-7281-9A99BB495E1D}"/>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84" name="Straight Connector 1483">
                      <a:extLst>
                        <a:ext uri="{FF2B5EF4-FFF2-40B4-BE49-F238E27FC236}">
                          <a16:creationId xmlns:a16="http://schemas.microsoft.com/office/drawing/2014/main" id="{DB62DDEE-39F8-6771-F19D-AF47472F547E}"/>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59" name="Group 1458">
                    <a:extLst>
                      <a:ext uri="{FF2B5EF4-FFF2-40B4-BE49-F238E27FC236}">
                        <a16:creationId xmlns:a16="http://schemas.microsoft.com/office/drawing/2014/main" id="{30276B2A-4F18-CE76-6EA2-F1790CE38408}"/>
                      </a:ext>
                    </a:extLst>
                  </p:cNvPr>
                  <p:cNvGrpSpPr/>
                  <p:nvPr/>
                </p:nvGrpSpPr>
                <p:grpSpPr>
                  <a:xfrm>
                    <a:off x="9676112" y="2776076"/>
                    <a:ext cx="68895" cy="90004"/>
                    <a:chOff x="6128595" y="3199359"/>
                    <a:chExt cx="84653" cy="84653"/>
                  </a:xfrm>
                </p:grpSpPr>
                <p:cxnSp>
                  <p:nvCxnSpPr>
                    <p:cNvPr id="1481" name="Straight Connector 1480">
                      <a:extLst>
                        <a:ext uri="{FF2B5EF4-FFF2-40B4-BE49-F238E27FC236}">
                          <a16:creationId xmlns:a16="http://schemas.microsoft.com/office/drawing/2014/main" id="{3AF80B45-810E-C0FF-9B08-0A20289FC067}"/>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82" name="Straight Connector 1481">
                      <a:extLst>
                        <a:ext uri="{FF2B5EF4-FFF2-40B4-BE49-F238E27FC236}">
                          <a16:creationId xmlns:a16="http://schemas.microsoft.com/office/drawing/2014/main" id="{FA450453-0762-E06A-84E6-687F34CE7D32}"/>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60" name="Group 1459">
                    <a:extLst>
                      <a:ext uri="{FF2B5EF4-FFF2-40B4-BE49-F238E27FC236}">
                        <a16:creationId xmlns:a16="http://schemas.microsoft.com/office/drawing/2014/main" id="{59339B5A-337C-52F4-1965-6A3DD07D394E}"/>
                      </a:ext>
                    </a:extLst>
                  </p:cNvPr>
                  <p:cNvGrpSpPr/>
                  <p:nvPr/>
                </p:nvGrpSpPr>
                <p:grpSpPr>
                  <a:xfrm>
                    <a:off x="9681926" y="2776076"/>
                    <a:ext cx="68895" cy="90004"/>
                    <a:chOff x="6128595" y="3199359"/>
                    <a:chExt cx="84653" cy="84653"/>
                  </a:xfrm>
                </p:grpSpPr>
                <p:cxnSp>
                  <p:nvCxnSpPr>
                    <p:cNvPr id="1479" name="Straight Connector 1478">
                      <a:extLst>
                        <a:ext uri="{FF2B5EF4-FFF2-40B4-BE49-F238E27FC236}">
                          <a16:creationId xmlns:a16="http://schemas.microsoft.com/office/drawing/2014/main" id="{C5A4EA6D-0382-FE0E-A7B2-E23F6BC31ABC}"/>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80" name="Straight Connector 1479">
                      <a:extLst>
                        <a:ext uri="{FF2B5EF4-FFF2-40B4-BE49-F238E27FC236}">
                          <a16:creationId xmlns:a16="http://schemas.microsoft.com/office/drawing/2014/main" id="{770E14B1-250C-F07A-BB03-D109DB4065F5}"/>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61" name="Group 1460">
                    <a:extLst>
                      <a:ext uri="{FF2B5EF4-FFF2-40B4-BE49-F238E27FC236}">
                        <a16:creationId xmlns:a16="http://schemas.microsoft.com/office/drawing/2014/main" id="{80681003-6733-E836-1A1C-358EB6D1B212}"/>
                      </a:ext>
                    </a:extLst>
                  </p:cNvPr>
                  <p:cNvGrpSpPr/>
                  <p:nvPr/>
                </p:nvGrpSpPr>
                <p:grpSpPr>
                  <a:xfrm>
                    <a:off x="9716810" y="2776076"/>
                    <a:ext cx="68895" cy="90004"/>
                    <a:chOff x="6128595" y="3199359"/>
                    <a:chExt cx="84653" cy="84653"/>
                  </a:xfrm>
                </p:grpSpPr>
                <p:cxnSp>
                  <p:nvCxnSpPr>
                    <p:cNvPr id="1477" name="Straight Connector 1476">
                      <a:extLst>
                        <a:ext uri="{FF2B5EF4-FFF2-40B4-BE49-F238E27FC236}">
                          <a16:creationId xmlns:a16="http://schemas.microsoft.com/office/drawing/2014/main" id="{CDD1B039-E896-C9C0-956E-DBD694541C8E}"/>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78" name="Straight Connector 1477">
                      <a:extLst>
                        <a:ext uri="{FF2B5EF4-FFF2-40B4-BE49-F238E27FC236}">
                          <a16:creationId xmlns:a16="http://schemas.microsoft.com/office/drawing/2014/main" id="{A0676A7F-8F96-D2E1-DE59-6D0356255E49}"/>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62" name="Group 1461">
                    <a:extLst>
                      <a:ext uri="{FF2B5EF4-FFF2-40B4-BE49-F238E27FC236}">
                        <a16:creationId xmlns:a16="http://schemas.microsoft.com/office/drawing/2014/main" id="{4088316F-F522-5DC9-2567-98BD69695DBD}"/>
                      </a:ext>
                    </a:extLst>
                  </p:cNvPr>
                  <p:cNvGrpSpPr/>
                  <p:nvPr/>
                </p:nvGrpSpPr>
                <p:grpSpPr>
                  <a:xfrm>
                    <a:off x="9774949" y="2776076"/>
                    <a:ext cx="68895" cy="90004"/>
                    <a:chOff x="6128595" y="3199359"/>
                    <a:chExt cx="84653" cy="84653"/>
                  </a:xfrm>
                </p:grpSpPr>
                <p:cxnSp>
                  <p:nvCxnSpPr>
                    <p:cNvPr id="1475" name="Straight Connector 1474">
                      <a:extLst>
                        <a:ext uri="{FF2B5EF4-FFF2-40B4-BE49-F238E27FC236}">
                          <a16:creationId xmlns:a16="http://schemas.microsoft.com/office/drawing/2014/main" id="{7C0593BD-3CAB-29F7-17A5-573558C2830B}"/>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76" name="Straight Connector 1475">
                      <a:extLst>
                        <a:ext uri="{FF2B5EF4-FFF2-40B4-BE49-F238E27FC236}">
                          <a16:creationId xmlns:a16="http://schemas.microsoft.com/office/drawing/2014/main" id="{6CE40B08-723F-87BD-66CD-CCA45DE1355C}"/>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63" name="Group 1462">
                    <a:extLst>
                      <a:ext uri="{FF2B5EF4-FFF2-40B4-BE49-F238E27FC236}">
                        <a16:creationId xmlns:a16="http://schemas.microsoft.com/office/drawing/2014/main" id="{8AFECE3B-EB3A-FBC8-580F-4A74D1C6C98C}"/>
                      </a:ext>
                    </a:extLst>
                  </p:cNvPr>
                  <p:cNvGrpSpPr/>
                  <p:nvPr/>
                </p:nvGrpSpPr>
                <p:grpSpPr>
                  <a:xfrm>
                    <a:off x="9817585" y="2776076"/>
                    <a:ext cx="68895" cy="90004"/>
                    <a:chOff x="6128595" y="3199359"/>
                    <a:chExt cx="84653" cy="84653"/>
                  </a:xfrm>
                </p:grpSpPr>
                <p:cxnSp>
                  <p:nvCxnSpPr>
                    <p:cNvPr id="1473" name="Straight Connector 1472">
                      <a:extLst>
                        <a:ext uri="{FF2B5EF4-FFF2-40B4-BE49-F238E27FC236}">
                          <a16:creationId xmlns:a16="http://schemas.microsoft.com/office/drawing/2014/main" id="{08292409-3052-2971-CDC4-FC0F39A34E84}"/>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74" name="Straight Connector 1473">
                      <a:extLst>
                        <a:ext uri="{FF2B5EF4-FFF2-40B4-BE49-F238E27FC236}">
                          <a16:creationId xmlns:a16="http://schemas.microsoft.com/office/drawing/2014/main" id="{61429583-BADE-B9DD-107D-58C4330A46E8}"/>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64" name="Group 1463">
                    <a:extLst>
                      <a:ext uri="{FF2B5EF4-FFF2-40B4-BE49-F238E27FC236}">
                        <a16:creationId xmlns:a16="http://schemas.microsoft.com/office/drawing/2014/main" id="{1FC8BC5E-0D9B-4491-699D-F4BA61EA207E}"/>
                      </a:ext>
                    </a:extLst>
                  </p:cNvPr>
                  <p:cNvGrpSpPr/>
                  <p:nvPr/>
                </p:nvGrpSpPr>
                <p:grpSpPr>
                  <a:xfrm>
                    <a:off x="9931925" y="2776076"/>
                    <a:ext cx="68895" cy="90004"/>
                    <a:chOff x="6128595" y="3199359"/>
                    <a:chExt cx="84653" cy="84653"/>
                  </a:xfrm>
                </p:grpSpPr>
                <p:cxnSp>
                  <p:nvCxnSpPr>
                    <p:cNvPr id="1471" name="Straight Connector 1470">
                      <a:extLst>
                        <a:ext uri="{FF2B5EF4-FFF2-40B4-BE49-F238E27FC236}">
                          <a16:creationId xmlns:a16="http://schemas.microsoft.com/office/drawing/2014/main" id="{7466176E-7CDF-5AD2-F9E8-39CA7311F971}"/>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72" name="Straight Connector 1471">
                      <a:extLst>
                        <a:ext uri="{FF2B5EF4-FFF2-40B4-BE49-F238E27FC236}">
                          <a16:creationId xmlns:a16="http://schemas.microsoft.com/office/drawing/2014/main" id="{32D518D5-80FA-59BF-BE4E-142876752F78}"/>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65" name="Group 1464">
                    <a:extLst>
                      <a:ext uri="{FF2B5EF4-FFF2-40B4-BE49-F238E27FC236}">
                        <a16:creationId xmlns:a16="http://schemas.microsoft.com/office/drawing/2014/main" id="{4E3831DB-03C4-C70F-11F5-51710FA34AB5}"/>
                      </a:ext>
                    </a:extLst>
                  </p:cNvPr>
                  <p:cNvGrpSpPr/>
                  <p:nvPr/>
                </p:nvGrpSpPr>
                <p:grpSpPr>
                  <a:xfrm>
                    <a:off x="10150917" y="2776076"/>
                    <a:ext cx="68895" cy="90004"/>
                    <a:chOff x="6128595" y="3199359"/>
                    <a:chExt cx="84653" cy="84653"/>
                  </a:xfrm>
                </p:grpSpPr>
                <p:cxnSp>
                  <p:nvCxnSpPr>
                    <p:cNvPr id="1469" name="Straight Connector 1468">
                      <a:extLst>
                        <a:ext uri="{FF2B5EF4-FFF2-40B4-BE49-F238E27FC236}">
                          <a16:creationId xmlns:a16="http://schemas.microsoft.com/office/drawing/2014/main" id="{B7B9D70A-2A7B-805A-9949-849EF67F88AA}"/>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70" name="Straight Connector 1469">
                      <a:extLst>
                        <a:ext uri="{FF2B5EF4-FFF2-40B4-BE49-F238E27FC236}">
                          <a16:creationId xmlns:a16="http://schemas.microsoft.com/office/drawing/2014/main" id="{F4FEFBAF-E3A8-5500-2BFC-DAE474D3A5F7}"/>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466" name="Group 1465">
                    <a:extLst>
                      <a:ext uri="{FF2B5EF4-FFF2-40B4-BE49-F238E27FC236}">
                        <a16:creationId xmlns:a16="http://schemas.microsoft.com/office/drawing/2014/main" id="{16E85BD7-E487-2725-D1F8-C03C8EBFF946}"/>
                      </a:ext>
                    </a:extLst>
                  </p:cNvPr>
                  <p:cNvGrpSpPr/>
                  <p:nvPr/>
                </p:nvGrpSpPr>
                <p:grpSpPr>
                  <a:xfrm>
                    <a:off x="10267195" y="2776076"/>
                    <a:ext cx="68895" cy="90004"/>
                    <a:chOff x="6128595" y="3199359"/>
                    <a:chExt cx="84653" cy="84653"/>
                  </a:xfrm>
                </p:grpSpPr>
                <p:cxnSp>
                  <p:nvCxnSpPr>
                    <p:cNvPr id="1467" name="Straight Connector 1466">
                      <a:extLst>
                        <a:ext uri="{FF2B5EF4-FFF2-40B4-BE49-F238E27FC236}">
                          <a16:creationId xmlns:a16="http://schemas.microsoft.com/office/drawing/2014/main" id="{FD36A709-D937-DE07-CFB3-4BAF360BEDB2}"/>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468" name="Straight Connector 1467">
                      <a:extLst>
                        <a:ext uri="{FF2B5EF4-FFF2-40B4-BE49-F238E27FC236}">
                          <a16:creationId xmlns:a16="http://schemas.microsoft.com/office/drawing/2014/main" id="{E42ACAC2-D4EF-2F6D-85D1-6DB5DE269FA5}"/>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pic>
              <p:nvPicPr>
                <p:cNvPr id="1443" name="Graphic 1442">
                  <a:extLst>
                    <a:ext uri="{FF2B5EF4-FFF2-40B4-BE49-F238E27FC236}">
                      <a16:creationId xmlns:a16="http://schemas.microsoft.com/office/drawing/2014/main" id="{B6933038-F0A4-0075-DCA1-C3693468A0AC}"/>
                    </a:ext>
                  </a:extLst>
                </p:cNvPr>
                <p:cNvPicPr>
                  <a:picLocks/>
                </p:cNvPicPr>
                <p:nvPr/>
              </p:nvPicPr>
              <p:blipFill>
                <a:blip>
                  <a:extLst>
                    <a:ext uri="{96DAC541-7B7A-43D3-8B79-37D633B846F1}">
                      <asvg:svgBlip xmlns:asvg="http://schemas.microsoft.com/office/drawing/2016/SVG/main" r:embed="rId3"/>
                    </a:ext>
                  </a:extLst>
                </a:blip>
                <a:stretch>
                  <a:fillRect/>
                </a:stretch>
              </p:blipFill>
              <p:spPr>
                <a:xfrm>
                  <a:off x="8862440" y="2717931"/>
                  <a:ext cx="1440000" cy="64800"/>
                </a:xfrm>
                <a:prstGeom prst="rect">
                  <a:avLst/>
                </a:prstGeom>
              </p:spPr>
            </p:pic>
          </p:grpSp>
          <p:grpSp>
            <p:nvGrpSpPr>
              <p:cNvPr id="1164" name="Group 1163">
                <a:extLst>
                  <a:ext uri="{FF2B5EF4-FFF2-40B4-BE49-F238E27FC236}">
                    <a16:creationId xmlns:a16="http://schemas.microsoft.com/office/drawing/2014/main" id="{D8B1DFBA-3BFF-57EC-6A9B-38D757D18D03}"/>
                  </a:ext>
                </a:extLst>
              </p:cNvPr>
              <p:cNvGrpSpPr/>
              <p:nvPr/>
            </p:nvGrpSpPr>
            <p:grpSpPr>
              <a:xfrm>
                <a:off x="6504896" y="3053578"/>
                <a:ext cx="1083934" cy="140543"/>
                <a:chOff x="7362622" y="2644891"/>
                <a:chExt cx="1555200" cy="130512"/>
              </a:xfrm>
            </p:grpSpPr>
            <p:grpSp>
              <p:nvGrpSpPr>
                <p:cNvPr id="1290" name="Group 1289">
                  <a:extLst>
                    <a:ext uri="{FF2B5EF4-FFF2-40B4-BE49-F238E27FC236}">
                      <a16:creationId xmlns:a16="http://schemas.microsoft.com/office/drawing/2014/main" id="{00075515-5728-2BB2-4D1D-06B2D6028DC2}"/>
                    </a:ext>
                  </a:extLst>
                </p:cNvPr>
                <p:cNvGrpSpPr/>
                <p:nvPr/>
              </p:nvGrpSpPr>
              <p:grpSpPr>
                <a:xfrm>
                  <a:off x="7765270" y="2644891"/>
                  <a:ext cx="1090205" cy="130512"/>
                  <a:chOff x="7765270" y="2700124"/>
                  <a:chExt cx="1090205" cy="130512"/>
                </a:xfrm>
              </p:grpSpPr>
              <p:grpSp>
                <p:nvGrpSpPr>
                  <p:cNvPr id="1292" name="Group 1291">
                    <a:extLst>
                      <a:ext uri="{FF2B5EF4-FFF2-40B4-BE49-F238E27FC236}">
                        <a16:creationId xmlns:a16="http://schemas.microsoft.com/office/drawing/2014/main" id="{B28EA191-13F8-3D3C-BEDA-E65BA4AE4DB7}"/>
                      </a:ext>
                    </a:extLst>
                  </p:cNvPr>
                  <p:cNvGrpSpPr/>
                  <p:nvPr/>
                </p:nvGrpSpPr>
                <p:grpSpPr>
                  <a:xfrm>
                    <a:off x="7765270" y="2700124"/>
                    <a:ext cx="68895" cy="90004"/>
                    <a:chOff x="6128595" y="3199359"/>
                    <a:chExt cx="84653" cy="84653"/>
                  </a:xfrm>
                </p:grpSpPr>
                <p:cxnSp>
                  <p:nvCxnSpPr>
                    <p:cNvPr id="1372" name="Straight Connector 1371">
                      <a:extLst>
                        <a:ext uri="{FF2B5EF4-FFF2-40B4-BE49-F238E27FC236}">
                          <a16:creationId xmlns:a16="http://schemas.microsoft.com/office/drawing/2014/main" id="{50DEB38B-261F-D77C-6B49-8506578025AE}"/>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73" name="Straight Connector 1372">
                      <a:extLst>
                        <a:ext uri="{FF2B5EF4-FFF2-40B4-BE49-F238E27FC236}">
                          <a16:creationId xmlns:a16="http://schemas.microsoft.com/office/drawing/2014/main" id="{F2261D96-DA71-5E3D-3B35-F6C551213D38}"/>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293" name="Group 1292">
                    <a:extLst>
                      <a:ext uri="{FF2B5EF4-FFF2-40B4-BE49-F238E27FC236}">
                        <a16:creationId xmlns:a16="http://schemas.microsoft.com/office/drawing/2014/main" id="{4998D088-6D3A-FEA8-2219-36D555698814}"/>
                      </a:ext>
                    </a:extLst>
                  </p:cNvPr>
                  <p:cNvGrpSpPr/>
                  <p:nvPr/>
                </p:nvGrpSpPr>
                <p:grpSpPr>
                  <a:xfrm>
                    <a:off x="7846665" y="2700124"/>
                    <a:ext cx="68895" cy="90004"/>
                    <a:chOff x="6128595" y="3199359"/>
                    <a:chExt cx="84653" cy="84653"/>
                  </a:xfrm>
                </p:grpSpPr>
                <p:cxnSp>
                  <p:nvCxnSpPr>
                    <p:cNvPr id="1370" name="Straight Connector 1369">
                      <a:extLst>
                        <a:ext uri="{FF2B5EF4-FFF2-40B4-BE49-F238E27FC236}">
                          <a16:creationId xmlns:a16="http://schemas.microsoft.com/office/drawing/2014/main" id="{F421E71E-67DA-D963-EC54-0A9FB8099FBF}"/>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71" name="Straight Connector 1370">
                      <a:extLst>
                        <a:ext uri="{FF2B5EF4-FFF2-40B4-BE49-F238E27FC236}">
                          <a16:creationId xmlns:a16="http://schemas.microsoft.com/office/drawing/2014/main" id="{D82B0B65-77B1-9C81-02DB-B498D5AFB279}"/>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294" name="Group 1293">
                    <a:extLst>
                      <a:ext uri="{FF2B5EF4-FFF2-40B4-BE49-F238E27FC236}">
                        <a16:creationId xmlns:a16="http://schemas.microsoft.com/office/drawing/2014/main" id="{C868B7F5-E642-1F36-2416-E219849830B2}"/>
                      </a:ext>
                    </a:extLst>
                  </p:cNvPr>
                  <p:cNvGrpSpPr/>
                  <p:nvPr/>
                </p:nvGrpSpPr>
                <p:grpSpPr>
                  <a:xfrm>
                    <a:off x="7922245" y="2717847"/>
                    <a:ext cx="68895" cy="90004"/>
                    <a:chOff x="6128595" y="3199359"/>
                    <a:chExt cx="84653" cy="84653"/>
                  </a:xfrm>
                </p:grpSpPr>
                <p:cxnSp>
                  <p:nvCxnSpPr>
                    <p:cNvPr id="1368" name="Straight Connector 1367">
                      <a:extLst>
                        <a:ext uri="{FF2B5EF4-FFF2-40B4-BE49-F238E27FC236}">
                          <a16:creationId xmlns:a16="http://schemas.microsoft.com/office/drawing/2014/main" id="{DAFB8470-65D4-3D0F-EF75-5DC870EF1C6C}"/>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69" name="Straight Connector 1368">
                      <a:extLst>
                        <a:ext uri="{FF2B5EF4-FFF2-40B4-BE49-F238E27FC236}">
                          <a16:creationId xmlns:a16="http://schemas.microsoft.com/office/drawing/2014/main" id="{E234F672-1EDC-43BF-E197-3007FEAE7E52}"/>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295" name="Group 1294">
                    <a:extLst>
                      <a:ext uri="{FF2B5EF4-FFF2-40B4-BE49-F238E27FC236}">
                        <a16:creationId xmlns:a16="http://schemas.microsoft.com/office/drawing/2014/main" id="{24D28612-DE3B-BDC7-EE4E-5AAEA646B10C}"/>
                      </a:ext>
                    </a:extLst>
                  </p:cNvPr>
                  <p:cNvGrpSpPr/>
                  <p:nvPr/>
                </p:nvGrpSpPr>
                <p:grpSpPr>
                  <a:xfrm>
                    <a:off x="7945501" y="2717847"/>
                    <a:ext cx="68895" cy="90004"/>
                    <a:chOff x="6128595" y="3199359"/>
                    <a:chExt cx="84653" cy="84653"/>
                  </a:xfrm>
                </p:grpSpPr>
                <p:cxnSp>
                  <p:nvCxnSpPr>
                    <p:cNvPr id="1366" name="Straight Connector 1365">
                      <a:extLst>
                        <a:ext uri="{FF2B5EF4-FFF2-40B4-BE49-F238E27FC236}">
                          <a16:creationId xmlns:a16="http://schemas.microsoft.com/office/drawing/2014/main" id="{4C45DCF3-F4C6-4A8B-7135-CAF7AD8949B9}"/>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67" name="Straight Connector 1366">
                      <a:extLst>
                        <a:ext uri="{FF2B5EF4-FFF2-40B4-BE49-F238E27FC236}">
                          <a16:creationId xmlns:a16="http://schemas.microsoft.com/office/drawing/2014/main" id="{61085790-07E9-34FF-716A-F6A62DA39545}"/>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296" name="Group 1295">
                    <a:extLst>
                      <a:ext uri="{FF2B5EF4-FFF2-40B4-BE49-F238E27FC236}">
                        <a16:creationId xmlns:a16="http://schemas.microsoft.com/office/drawing/2014/main" id="{C6E5C03E-B848-2124-DC0A-55746ED70D8F}"/>
                      </a:ext>
                    </a:extLst>
                  </p:cNvPr>
                  <p:cNvGrpSpPr/>
                  <p:nvPr/>
                </p:nvGrpSpPr>
                <p:grpSpPr>
                  <a:xfrm>
                    <a:off x="7968757" y="2717847"/>
                    <a:ext cx="68895" cy="90004"/>
                    <a:chOff x="6128595" y="3199359"/>
                    <a:chExt cx="84653" cy="84653"/>
                  </a:xfrm>
                </p:grpSpPr>
                <p:cxnSp>
                  <p:nvCxnSpPr>
                    <p:cNvPr id="1364" name="Straight Connector 1363">
                      <a:extLst>
                        <a:ext uri="{FF2B5EF4-FFF2-40B4-BE49-F238E27FC236}">
                          <a16:creationId xmlns:a16="http://schemas.microsoft.com/office/drawing/2014/main" id="{29E25DD4-7B45-9BDB-8A90-8415B40C298B}"/>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65" name="Straight Connector 1364">
                      <a:extLst>
                        <a:ext uri="{FF2B5EF4-FFF2-40B4-BE49-F238E27FC236}">
                          <a16:creationId xmlns:a16="http://schemas.microsoft.com/office/drawing/2014/main" id="{C6014C74-90F7-A83D-D693-635996787D1C}"/>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297" name="Group 1296">
                    <a:extLst>
                      <a:ext uri="{FF2B5EF4-FFF2-40B4-BE49-F238E27FC236}">
                        <a16:creationId xmlns:a16="http://schemas.microsoft.com/office/drawing/2014/main" id="{46F8BA95-DD8B-03D8-894F-501099C1BA07}"/>
                      </a:ext>
                    </a:extLst>
                  </p:cNvPr>
                  <p:cNvGrpSpPr/>
                  <p:nvPr/>
                </p:nvGrpSpPr>
                <p:grpSpPr>
                  <a:xfrm>
                    <a:off x="7984261" y="2717847"/>
                    <a:ext cx="68895" cy="90004"/>
                    <a:chOff x="6128595" y="3199359"/>
                    <a:chExt cx="84653" cy="84653"/>
                  </a:xfrm>
                </p:grpSpPr>
                <p:cxnSp>
                  <p:nvCxnSpPr>
                    <p:cNvPr id="1362" name="Straight Connector 1361">
                      <a:extLst>
                        <a:ext uri="{FF2B5EF4-FFF2-40B4-BE49-F238E27FC236}">
                          <a16:creationId xmlns:a16="http://schemas.microsoft.com/office/drawing/2014/main" id="{72F7C97B-3D10-7AC2-2FD1-120F01D58B77}"/>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63" name="Straight Connector 1362">
                      <a:extLst>
                        <a:ext uri="{FF2B5EF4-FFF2-40B4-BE49-F238E27FC236}">
                          <a16:creationId xmlns:a16="http://schemas.microsoft.com/office/drawing/2014/main" id="{C65FDC27-2A6F-F62B-5AEA-D5BAE5B91CA0}"/>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298" name="Group 1297">
                    <a:extLst>
                      <a:ext uri="{FF2B5EF4-FFF2-40B4-BE49-F238E27FC236}">
                        <a16:creationId xmlns:a16="http://schemas.microsoft.com/office/drawing/2014/main" id="{67449016-CAE2-2E15-2D62-E2A8B56ABE4B}"/>
                      </a:ext>
                    </a:extLst>
                  </p:cNvPr>
                  <p:cNvGrpSpPr/>
                  <p:nvPr/>
                </p:nvGrpSpPr>
                <p:grpSpPr>
                  <a:xfrm>
                    <a:off x="7997826" y="2717847"/>
                    <a:ext cx="68895" cy="90004"/>
                    <a:chOff x="6128595" y="3199359"/>
                    <a:chExt cx="84653" cy="84653"/>
                  </a:xfrm>
                </p:grpSpPr>
                <p:cxnSp>
                  <p:nvCxnSpPr>
                    <p:cNvPr id="1360" name="Straight Connector 1359">
                      <a:extLst>
                        <a:ext uri="{FF2B5EF4-FFF2-40B4-BE49-F238E27FC236}">
                          <a16:creationId xmlns:a16="http://schemas.microsoft.com/office/drawing/2014/main" id="{CE010F9E-EEBC-F7F3-F7D9-6E79ABB61E6E}"/>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61" name="Straight Connector 1360">
                      <a:extLst>
                        <a:ext uri="{FF2B5EF4-FFF2-40B4-BE49-F238E27FC236}">
                          <a16:creationId xmlns:a16="http://schemas.microsoft.com/office/drawing/2014/main" id="{8C9557AB-EFE9-174F-860A-750ED9F4D831}"/>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299" name="Group 1298">
                    <a:extLst>
                      <a:ext uri="{FF2B5EF4-FFF2-40B4-BE49-F238E27FC236}">
                        <a16:creationId xmlns:a16="http://schemas.microsoft.com/office/drawing/2014/main" id="{329DA49B-F656-C92A-A627-3F8DABB0E7A0}"/>
                      </a:ext>
                    </a:extLst>
                  </p:cNvPr>
                  <p:cNvGrpSpPr/>
                  <p:nvPr/>
                </p:nvGrpSpPr>
                <p:grpSpPr>
                  <a:xfrm>
                    <a:off x="8021082" y="2717847"/>
                    <a:ext cx="68895" cy="90004"/>
                    <a:chOff x="6128595" y="3199359"/>
                    <a:chExt cx="84653" cy="84653"/>
                  </a:xfrm>
                </p:grpSpPr>
                <p:cxnSp>
                  <p:nvCxnSpPr>
                    <p:cNvPr id="1358" name="Straight Connector 1357">
                      <a:extLst>
                        <a:ext uri="{FF2B5EF4-FFF2-40B4-BE49-F238E27FC236}">
                          <a16:creationId xmlns:a16="http://schemas.microsoft.com/office/drawing/2014/main" id="{741F08CB-9750-DC34-5E78-7965D0076ACF}"/>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59" name="Straight Connector 1358">
                      <a:extLst>
                        <a:ext uri="{FF2B5EF4-FFF2-40B4-BE49-F238E27FC236}">
                          <a16:creationId xmlns:a16="http://schemas.microsoft.com/office/drawing/2014/main" id="{C7B75084-F500-D824-3615-783006C97B40}"/>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00" name="Group 1299">
                    <a:extLst>
                      <a:ext uri="{FF2B5EF4-FFF2-40B4-BE49-F238E27FC236}">
                        <a16:creationId xmlns:a16="http://schemas.microsoft.com/office/drawing/2014/main" id="{26FE8656-2190-BA3D-2712-8F0000C55435}"/>
                      </a:ext>
                    </a:extLst>
                  </p:cNvPr>
                  <p:cNvGrpSpPr/>
                  <p:nvPr/>
                </p:nvGrpSpPr>
                <p:grpSpPr>
                  <a:xfrm>
                    <a:off x="8038523" y="2717847"/>
                    <a:ext cx="68895" cy="90004"/>
                    <a:chOff x="6128595" y="3199359"/>
                    <a:chExt cx="84653" cy="84653"/>
                  </a:xfrm>
                </p:grpSpPr>
                <p:cxnSp>
                  <p:nvCxnSpPr>
                    <p:cNvPr id="1356" name="Straight Connector 1355">
                      <a:extLst>
                        <a:ext uri="{FF2B5EF4-FFF2-40B4-BE49-F238E27FC236}">
                          <a16:creationId xmlns:a16="http://schemas.microsoft.com/office/drawing/2014/main" id="{92061707-4661-9EBD-A104-C3821F2CDB7F}"/>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57" name="Straight Connector 1356">
                      <a:extLst>
                        <a:ext uri="{FF2B5EF4-FFF2-40B4-BE49-F238E27FC236}">
                          <a16:creationId xmlns:a16="http://schemas.microsoft.com/office/drawing/2014/main" id="{98FAD0A3-E5D8-EC35-9F45-A1C0BAEA37A3}"/>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01" name="Group 1300">
                    <a:extLst>
                      <a:ext uri="{FF2B5EF4-FFF2-40B4-BE49-F238E27FC236}">
                        <a16:creationId xmlns:a16="http://schemas.microsoft.com/office/drawing/2014/main" id="{92518EA4-7958-C1AE-2126-0947AA81EE55}"/>
                      </a:ext>
                    </a:extLst>
                  </p:cNvPr>
                  <p:cNvGrpSpPr/>
                  <p:nvPr/>
                </p:nvGrpSpPr>
                <p:grpSpPr>
                  <a:xfrm>
                    <a:off x="8059841" y="2717847"/>
                    <a:ext cx="68895" cy="90004"/>
                    <a:chOff x="6128595" y="3199359"/>
                    <a:chExt cx="84653" cy="84653"/>
                  </a:xfrm>
                </p:grpSpPr>
                <p:cxnSp>
                  <p:nvCxnSpPr>
                    <p:cNvPr id="1354" name="Straight Connector 1353">
                      <a:extLst>
                        <a:ext uri="{FF2B5EF4-FFF2-40B4-BE49-F238E27FC236}">
                          <a16:creationId xmlns:a16="http://schemas.microsoft.com/office/drawing/2014/main" id="{00FD4B2F-99C5-80D6-C40A-445B8A29F647}"/>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55" name="Straight Connector 1354">
                      <a:extLst>
                        <a:ext uri="{FF2B5EF4-FFF2-40B4-BE49-F238E27FC236}">
                          <a16:creationId xmlns:a16="http://schemas.microsoft.com/office/drawing/2014/main" id="{0C54B27A-B018-A4A6-938E-8B4DD65C4F5F}"/>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02" name="Group 1301">
                    <a:extLst>
                      <a:ext uri="{FF2B5EF4-FFF2-40B4-BE49-F238E27FC236}">
                        <a16:creationId xmlns:a16="http://schemas.microsoft.com/office/drawing/2014/main" id="{9ECD1555-F9AB-5E99-4BF1-A683B6358A66}"/>
                      </a:ext>
                    </a:extLst>
                  </p:cNvPr>
                  <p:cNvGrpSpPr/>
                  <p:nvPr/>
                </p:nvGrpSpPr>
                <p:grpSpPr>
                  <a:xfrm>
                    <a:off x="8079220" y="2717847"/>
                    <a:ext cx="68895" cy="90004"/>
                    <a:chOff x="6128595" y="3199359"/>
                    <a:chExt cx="84653" cy="84653"/>
                  </a:xfrm>
                </p:grpSpPr>
                <p:cxnSp>
                  <p:nvCxnSpPr>
                    <p:cNvPr id="1352" name="Straight Connector 1351">
                      <a:extLst>
                        <a:ext uri="{FF2B5EF4-FFF2-40B4-BE49-F238E27FC236}">
                          <a16:creationId xmlns:a16="http://schemas.microsoft.com/office/drawing/2014/main" id="{8F294F1E-C594-1EC2-BA9B-2D12B13BFFE0}"/>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53" name="Straight Connector 1352">
                      <a:extLst>
                        <a:ext uri="{FF2B5EF4-FFF2-40B4-BE49-F238E27FC236}">
                          <a16:creationId xmlns:a16="http://schemas.microsoft.com/office/drawing/2014/main" id="{AD452D67-E559-B704-A2CE-F7872DB031C7}"/>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03" name="Group 1302">
                    <a:extLst>
                      <a:ext uri="{FF2B5EF4-FFF2-40B4-BE49-F238E27FC236}">
                        <a16:creationId xmlns:a16="http://schemas.microsoft.com/office/drawing/2014/main" id="{4415E959-0110-EBA7-8880-46CEBFE1FA6F}"/>
                      </a:ext>
                    </a:extLst>
                  </p:cNvPr>
                  <p:cNvGrpSpPr/>
                  <p:nvPr/>
                </p:nvGrpSpPr>
                <p:grpSpPr>
                  <a:xfrm>
                    <a:off x="8148987" y="2717847"/>
                    <a:ext cx="68895" cy="90004"/>
                    <a:chOff x="6128595" y="3199359"/>
                    <a:chExt cx="84653" cy="84653"/>
                  </a:xfrm>
                </p:grpSpPr>
                <p:cxnSp>
                  <p:nvCxnSpPr>
                    <p:cNvPr id="1350" name="Straight Connector 1349">
                      <a:extLst>
                        <a:ext uri="{FF2B5EF4-FFF2-40B4-BE49-F238E27FC236}">
                          <a16:creationId xmlns:a16="http://schemas.microsoft.com/office/drawing/2014/main" id="{631B76DA-4288-76F8-9C76-EF49F2CAA0F6}"/>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51" name="Straight Connector 1350">
                      <a:extLst>
                        <a:ext uri="{FF2B5EF4-FFF2-40B4-BE49-F238E27FC236}">
                          <a16:creationId xmlns:a16="http://schemas.microsoft.com/office/drawing/2014/main" id="{6444B1F7-2248-C37C-87AA-A5AD16CD5BEC}"/>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04" name="Group 1303">
                    <a:extLst>
                      <a:ext uri="{FF2B5EF4-FFF2-40B4-BE49-F238E27FC236}">
                        <a16:creationId xmlns:a16="http://schemas.microsoft.com/office/drawing/2014/main" id="{2B3AEB47-F177-92AF-ED3E-D3618920D5C5}"/>
                      </a:ext>
                    </a:extLst>
                  </p:cNvPr>
                  <p:cNvGrpSpPr/>
                  <p:nvPr/>
                </p:nvGrpSpPr>
                <p:grpSpPr>
                  <a:xfrm>
                    <a:off x="8205189" y="2717847"/>
                    <a:ext cx="68895" cy="90004"/>
                    <a:chOff x="6128595" y="3199359"/>
                    <a:chExt cx="84653" cy="84653"/>
                  </a:xfrm>
                </p:grpSpPr>
                <p:cxnSp>
                  <p:nvCxnSpPr>
                    <p:cNvPr id="1348" name="Straight Connector 1347">
                      <a:extLst>
                        <a:ext uri="{FF2B5EF4-FFF2-40B4-BE49-F238E27FC236}">
                          <a16:creationId xmlns:a16="http://schemas.microsoft.com/office/drawing/2014/main" id="{EC6258D1-ED71-A7C7-AD90-142AE7B5817D}"/>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49" name="Straight Connector 1348">
                      <a:extLst>
                        <a:ext uri="{FF2B5EF4-FFF2-40B4-BE49-F238E27FC236}">
                          <a16:creationId xmlns:a16="http://schemas.microsoft.com/office/drawing/2014/main" id="{7746CBBD-39A0-13D9-918E-00BD05EDF0AD}"/>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05" name="Group 1304">
                    <a:extLst>
                      <a:ext uri="{FF2B5EF4-FFF2-40B4-BE49-F238E27FC236}">
                        <a16:creationId xmlns:a16="http://schemas.microsoft.com/office/drawing/2014/main" id="{FFF4431C-873D-528A-6611-76BDF446FC24}"/>
                      </a:ext>
                    </a:extLst>
                  </p:cNvPr>
                  <p:cNvGrpSpPr/>
                  <p:nvPr/>
                </p:nvGrpSpPr>
                <p:grpSpPr>
                  <a:xfrm>
                    <a:off x="8232320" y="2717847"/>
                    <a:ext cx="68895" cy="90004"/>
                    <a:chOff x="6128595" y="3199359"/>
                    <a:chExt cx="84653" cy="84653"/>
                  </a:xfrm>
                </p:grpSpPr>
                <p:cxnSp>
                  <p:nvCxnSpPr>
                    <p:cNvPr id="1346" name="Straight Connector 1345">
                      <a:extLst>
                        <a:ext uri="{FF2B5EF4-FFF2-40B4-BE49-F238E27FC236}">
                          <a16:creationId xmlns:a16="http://schemas.microsoft.com/office/drawing/2014/main" id="{5028801D-4D53-8A16-49AA-1D0CBF439A18}"/>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47" name="Straight Connector 1346">
                      <a:extLst>
                        <a:ext uri="{FF2B5EF4-FFF2-40B4-BE49-F238E27FC236}">
                          <a16:creationId xmlns:a16="http://schemas.microsoft.com/office/drawing/2014/main" id="{6FBF688E-0878-3265-96BB-5F6718CCE6E7}"/>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06" name="Group 1305">
                    <a:extLst>
                      <a:ext uri="{FF2B5EF4-FFF2-40B4-BE49-F238E27FC236}">
                        <a16:creationId xmlns:a16="http://schemas.microsoft.com/office/drawing/2014/main" id="{B224B0E0-3069-4415-CB08-88003ED6FE67}"/>
                      </a:ext>
                    </a:extLst>
                  </p:cNvPr>
                  <p:cNvGrpSpPr/>
                  <p:nvPr/>
                </p:nvGrpSpPr>
                <p:grpSpPr>
                  <a:xfrm>
                    <a:off x="8265265" y="2717847"/>
                    <a:ext cx="68895" cy="90004"/>
                    <a:chOff x="6128595" y="3199359"/>
                    <a:chExt cx="84653" cy="84653"/>
                  </a:xfrm>
                </p:grpSpPr>
                <p:cxnSp>
                  <p:nvCxnSpPr>
                    <p:cNvPr id="1344" name="Straight Connector 1343">
                      <a:extLst>
                        <a:ext uri="{FF2B5EF4-FFF2-40B4-BE49-F238E27FC236}">
                          <a16:creationId xmlns:a16="http://schemas.microsoft.com/office/drawing/2014/main" id="{5ED0225F-FE69-FBBD-8138-FF5CA83DA411}"/>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45" name="Straight Connector 1344">
                      <a:extLst>
                        <a:ext uri="{FF2B5EF4-FFF2-40B4-BE49-F238E27FC236}">
                          <a16:creationId xmlns:a16="http://schemas.microsoft.com/office/drawing/2014/main" id="{709377AF-C469-5747-8B55-F97B444EB9CD}"/>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07" name="Group 1306">
                    <a:extLst>
                      <a:ext uri="{FF2B5EF4-FFF2-40B4-BE49-F238E27FC236}">
                        <a16:creationId xmlns:a16="http://schemas.microsoft.com/office/drawing/2014/main" id="{FE3DC20E-4E30-B215-E312-3C83D8594A52}"/>
                      </a:ext>
                    </a:extLst>
                  </p:cNvPr>
                  <p:cNvGrpSpPr/>
                  <p:nvPr/>
                </p:nvGrpSpPr>
                <p:grpSpPr>
                  <a:xfrm>
                    <a:off x="8319528" y="2740632"/>
                    <a:ext cx="68895" cy="90004"/>
                    <a:chOff x="6128595" y="3199359"/>
                    <a:chExt cx="84653" cy="84653"/>
                  </a:xfrm>
                </p:grpSpPr>
                <p:cxnSp>
                  <p:nvCxnSpPr>
                    <p:cNvPr id="1342" name="Straight Connector 1341">
                      <a:extLst>
                        <a:ext uri="{FF2B5EF4-FFF2-40B4-BE49-F238E27FC236}">
                          <a16:creationId xmlns:a16="http://schemas.microsoft.com/office/drawing/2014/main" id="{4555DD22-FC37-4EF0-90BF-19111F27ED5F}"/>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43" name="Straight Connector 1342">
                      <a:extLst>
                        <a:ext uri="{FF2B5EF4-FFF2-40B4-BE49-F238E27FC236}">
                          <a16:creationId xmlns:a16="http://schemas.microsoft.com/office/drawing/2014/main" id="{994C3ED4-8CAD-6A30-6E8E-BBFC4ACE4B09}"/>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08" name="Group 1307">
                    <a:extLst>
                      <a:ext uri="{FF2B5EF4-FFF2-40B4-BE49-F238E27FC236}">
                        <a16:creationId xmlns:a16="http://schemas.microsoft.com/office/drawing/2014/main" id="{20004A4D-178B-3100-70F3-74D243B3DAA6}"/>
                      </a:ext>
                    </a:extLst>
                  </p:cNvPr>
                  <p:cNvGrpSpPr/>
                  <p:nvPr/>
                </p:nvGrpSpPr>
                <p:grpSpPr>
                  <a:xfrm>
                    <a:off x="8346660" y="2740632"/>
                    <a:ext cx="68895" cy="90004"/>
                    <a:chOff x="6128595" y="3199359"/>
                    <a:chExt cx="84653" cy="84653"/>
                  </a:xfrm>
                </p:grpSpPr>
                <p:cxnSp>
                  <p:nvCxnSpPr>
                    <p:cNvPr id="1340" name="Straight Connector 1339">
                      <a:extLst>
                        <a:ext uri="{FF2B5EF4-FFF2-40B4-BE49-F238E27FC236}">
                          <a16:creationId xmlns:a16="http://schemas.microsoft.com/office/drawing/2014/main" id="{7090BC87-EC5D-4E69-4FDE-159334942233}"/>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41" name="Straight Connector 1340">
                      <a:extLst>
                        <a:ext uri="{FF2B5EF4-FFF2-40B4-BE49-F238E27FC236}">
                          <a16:creationId xmlns:a16="http://schemas.microsoft.com/office/drawing/2014/main" id="{BC6281D1-B17B-1B72-CB87-33A638D62F36}"/>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09" name="Group 1308">
                    <a:extLst>
                      <a:ext uri="{FF2B5EF4-FFF2-40B4-BE49-F238E27FC236}">
                        <a16:creationId xmlns:a16="http://schemas.microsoft.com/office/drawing/2014/main" id="{D575E542-C200-B686-88F2-D93147594EE8}"/>
                      </a:ext>
                    </a:extLst>
                  </p:cNvPr>
                  <p:cNvGrpSpPr/>
                  <p:nvPr/>
                </p:nvGrpSpPr>
                <p:grpSpPr>
                  <a:xfrm>
                    <a:off x="8373792" y="2740632"/>
                    <a:ext cx="68895" cy="90004"/>
                    <a:chOff x="6128595" y="3199359"/>
                    <a:chExt cx="84653" cy="84653"/>
                  </a:xfrm>
                </p:grpSpPr>
                <p:cxnSp>
                  <p:nvCxnSpPr>
                    <p:cNvPr id="1338" name="Straight Connector 1337">
                      <a:extLst>
                        <a:ext uri="{FF2B5EF4-FFF2-40B4-BE49-F238E27FC236}">
                          <a16:creationId xmlns:a16="http://schemas.microsoft.com/office/drawing/2014/main" id="{B281E031-544F-F408-A05B-0B6EF5B5B2BF}"/>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39" name="Straight Connector 1338">
                      <a:extLst>
                        <a:ext uri="{FF2B5EF4-FFF2-40B4-BE49-F238E27FC236}">
                          <a16:creationId xmlns:a16="http://schemas.microsoft.com/office/drawing/2014/main" id="{30AD8C5D-66AD-12B6-55BE-4B0B6DE9CA75}"/>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10" name="Group 1309">
                    <a:extLst>
                      <a:ext uri="{FF2B5EF4-FFF2-40B4-BE49-F238E27FC236}">
                        <a16:creationId xmlns:a16="http://schemas.microsoft.com/office/drawing/2014/main" id="{470D4FA6-581C-98A3-2968-D573C974DFC2}"/>
                      </a:ext>
                    </a:extLst>
                  </p:cNvPr>
                  <p:cNvGrpSpPr/>
                  <p:nvPr/>
                </p:nvGrpSpPr>
                <p:grpSpPr>
                  <a:xfrm>
                    <a:off x="8422249" y="2740632"/>
                    <a:ext cx="421798" cy="90004"/>
                    <a:chOff x="6128595" y="3199359"/>
                    <a:chExt cx="518273" cy="84653"/>
                  </a:xfrm>
                </p:grpSpPr>
                <p:cxnSp>
                  <p:nvCxnSpPr>
                    <p:cNvPr id="1335" name="Straight Connector 1334">
                      <a:extLst>
                        <a:ext uri="{FF2B5EF4-FFF2-40B4-BE49-F238E27FC236}">
                          <a16:creationId xmlns:a16="http://schemas.microsoft.com/office/drawing/2014/main" id="{4DD49BF4-F6C3-3746-84D3-10722366788F}"/>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36" name="Straight Connector 1335">
                      <a:extLst>
                        <a:ext uri="{FF2B5EF4-FFF2-40B4-BE49-F238E27FC236}">
                          <a16:creationId xmlns:a16="http://schemas.microsoft.com/office/drawing/2014/main" id="{35E7F8B1-5280-18DC-3D93-C4F3F12CD844}"/>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cxnSp>
                  <p:nvCxnSpPr>
                    <p:cNvPr id="1337" name="Straight Connector 1336">
                      <a:extLst>
                        <a:ext uri="{FF2B5EF4-FFF2-40B4-BE49-F238E27FC236}">
                          <a16:creationId xmlns:a16="http://schemas.microsoft.com/office/drawing/2014/main" id="{30B7CB9E-9FF2-49A3-36D9-D102F2249615}"/>
                        </a:ext>
                      </a:extLst>
                    </p:cNvPr>
                    <p:cNvCxnSpPr>
                      <a:cxnSpLocks/>
                    </p:cNvCxnSpPr>
                    <p:nvPr/>
                  </p:nvCxnSpPr>
                  <p:spPr>
                    <a:xfrm>
                      <a:off x="6646868" y="3199359"/>
                      <a:ext cx="0" cy="84653"/>
                    </a:xfrm>
                    <a:prstGeom prst="line">
                      <a:avLst/>
                    </a:prstGeom>
                    <a:noFill/>
                    <a:ln w="12700" cap="flat" cmpd="sng" algn="ctr">
                      <a:solidFill>
                        <a:srgbClr val="458A6F"/>
                      </a:solidFill>
                      <a:prstDash val="solid"/>
                      <a:miter lim="800000"/>
                    </a:ln>
                    <a:effectLst/>
                  </p:spPr>
                </p:cxnSp>
              </p:grpSp>
              <p:grpSp>
                <p:nvGrpSpPr>
                  <p:cNvPr id="1311" name="Group 1310">
                    <a:extLst>
                      <a:ext uri="{FF2B5EF4-FFF2-40B4-BE49-F238E27FC236}">
                        <a16:creationId xmlns:a16="http://schemas.microsoft.com/office/drawing/2014/main" id="{90FB4714-DD38-F6A1-B18A-537A7F9A06D2}"/>
                      </a:ext>
                    </a:extLst>
                  </p:cNvPr>
                  <p:cNvGrpSpPr/>
                  <p:nvPr/>
                </p:nvGrpSpPr>
                <p:grpSpPr>
                  <a:xfrm>
                    <a:off x="8515264" y="2740632"/>
                    <a:ext cx="68895" cy="90004"/>
                    <a:chOff x="6128595" y="3199359"/>
                    <a:chExt cx="84653" cy="84653"/>
                  </a:xfrm>
                </p:grpSpPr>
                <p:cxnSp>
                  <p:nvCxnSpPr>
                    <p:cNvPr id="1333" name="Straight Connector 1332">
                      <a:extLst>
                        <a:ext uri="{FF2B5EF4-FFF2-40B4-BE49-F238E27FC236}">
                          <a16:creationId xmlns:a16="http://schemas.microsoft.com/office/drawing/2014/main" id="{F1A7B5E6-551B-1A58-7E60-F293629DF954}"/>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34" name="Straight Connector 1333">
                      <a:extLst>
                        <a:ext uri="{FF2B5EF4-FFF2-40B4-BE49-F238E27FC236}">
                          <a16:creationId xmlns:a16="http://schemas.microsoft.com/office/drawing/2014/main" id="{B0E63666-832A-14A2-E08C-A4B1EAF70194}"/>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12" name="Group 1311">
                    <a:extLst>
                      <a:ext uri="{FF2B5EF4-FFF2-40B4-BE49-F238E27FC236}">
                        <a16:creationId xmlns:a16="http://schemas.microsoft.com/office/drawing/2014/main" id="{A761A71D-8039-6168-0064-C02A3600C398}"/>
                      </a:ext>
                    </a:extLst>
                  </p:cNvPr>
                  <p:cNvGrpSpPr/>
                  <p:nvPr/>
                </p:nvGrpSpPr>
                <p:grpSpPr>
                  <a:xfrm>
                    <a:off x="8540458" y="2740632"/>
                    <a:ext cx="68895" cy="90004"/>
                    <a:chOff x="6128595" y="3199359"/>
                    <a:chExt cx="84653" cy="84653"/>
                  </a:xfrm>
                </p:grpSpPr>
                <p:cxnSp>
                  <p:nvCxnSpPr>
                    <p:cNvPr id="1331" name="Straight Connector 1330">
                      <a:extLst>
                        <a:ext uri="{FF2B5EF4-FFF2-40B4-BE49-F238E27FC236}">
                          <a16:creationId xmlns:a16="http://schemas.microsoft.com/office/drawing/2014/main" id="{5BB7290C-BE88-637F-6577-857CACA1188D}"/>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32" name="Straight Connector 1331">
                      <a:extLst>
                        <a:ext uri="{FF2B5EF4-FFF2-40B4-BE49-F238E27FC236}">
                          <a16:creationId xmlns:a16="http://schemas.microsoft.com/office/drawing/2014/main" id="{02AB53D1-27DC-125A-85EA-9DC6D9DC48D6}"/>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13" name="Group 1312">
                    <a:extLst>
                      <a:ext uri="{FF2B5EF4-FFF2-40B4-BE49-F238E27FC236}">
                        <a16:creationId xmlns:a16="http://schemas.microsoft.com/office/drawing/2014/main" id="{979FF430-4667-0080-09B9-E95F6CE43A5B}"/>
                      </a:ext>
                    </a:extLst>
                  </p:cNvPr>
                  <p:cNvGrpSpPr/>
                  <p:nvPr/>
                </p:nvGrpSpPr>
                <p:grpSpPr>
                  <a:xfrm>
                    <a:off x="8565651" y="2740632"/>
                    <a:ext cx="68895" cy="90004"/>
                    <a:chOff x="6128595" y="3199359"/>
                    <a:chExt cx="84653" cy="84653"/>
                  </a:xfrm>
                </p:grpSpPr>
                <p:cxnSp>
                  <p:nvCxnSpPr>
                    <p:cNvPr id="1329" name="Straight Connector 1328">
                      <a:extLst>
                        <a:ext uri="{FF2B5EF4-FFF2-40B4-BE49-F238E27FC236}">
                          <a16:creationId xmlns:a16="http://schemas.microsoft.com/office/drawing/2014/main" id="{CE03CCAD-DEC8-3107-3B67-723920A31066}"/>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30" name="Straight Connector 1329">
                      <a:extLst>
                        <a:ext uri="{FF2B5EF4-FFF2-40B4-BE49-F238E27FC236}">
                          <a16:creationId xmlns:a16="http://schemas.microsoft.com/office/drawing/2014/main" id="{C2152843-BE76-DA3E-F8FA-215FA3A59F90}"/>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14" name="Group 1313">
                    <a:extLst>
                      <a:ext uri="{FF2B5EF4-FFF2-40B4-BE49-F238E27FC236}">
                        <a16:creationId xmlns:a16="http://schemas.microsoft.com/office/drawing/2014/main" id="{ED6B45FC-AF18-ACAC-956B-4EA9B425568C}"/>
                      </a:ext>
                    </a:extLst>
                  </p:cNvPr>
                  <p:cNvGrpSpPr/>
                  <p:nvPr/>
                </p:nvGrpSpPr>
                <p:grpSpPr>
                  <a:xfrm>
                    <a:off x="8647046" y="2740632"/>
                    <a:ext cx="68895" cy="90004"/>
                    <a:chOff x="6128595" y="3199359"/>
                    <a:chExt cx="84653" cy="84653"/>
                  </a:xfrm>
                </p:grpSpPr>
                <p:cxnSp>
                  <p:nvCxnSpPr>
                    <p:cNvPr id="1327" name="Straight Connector 1326">
                      <a:extLst>
                        <a:ext uri="{FF2B5EF4-FFF2-40B4-BE49-F238E27FC236}">
                          <a16:creationId xmlns:a16="http://schemas.microsoft.com/office/drawing/2014/main" id="{63F1A9AF-33A4-557E-CBA9-2732817E775C}"/>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28" name="Straight Connector 1327">
                      <a:extLst>
                        <a:ext uri="{FF2B5EF4-FFF2-40B4-BE49-F238E27FC236}">
                          <a16:creationId xmlns:a16="http://schemas.microsoft.com/office/drawing/2014/main" id="{8AAD5422-9DE6-0A2B-FD7B-79977FE652B1}"/>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15" name="Group 1314">
                    <a:extLst>
                      <a:ext uri="{FF2B5EF4-FFF2-40B4-BE49-F238E27FC236}">
                        <a16:creationId xmlns:a16="http://schemas.microsoft.com/office/drawing/2014/main" id="{D9D037E9-9561-20EB-2EDE-E14BED02F6E7}"/>
                      </a:ext>
                    </a:extLst>
                  </p:cNvPr>
                  <p:cNvGrpSpPr/>
                  <p:nvPr/>
                </p:nvGrpSpPr>
                <p:grpSpPr>
                  <a:xfrm>
                    <a:off x="8691620" y="2740632"/>
                    <a:ext cx="68895" cy="90004"/>
                    <a:chOff x="6128595" y="3199359"/>
                    <a:chExt cx="84653" cy="84653"/>
                  </a:xfrm>
                </p:grpSpPr>
                <p:cxnSp>
                  <p:nvCxnSpPr>
                    <p:cNvPr id="1325" name="Straight Connector 1324">
                      <a:extLst>
                        <a:ext uri="{FF2B5EF4-FFF2-40B4-BE49-F238E27FC236}">
                          <a16:creationId xmlns:a16="http://schemas.microsoft.com/office/drawing/2014/main" id="{BF7BA784-58B7-5194-3A73-4754F38731C4}"/>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26" name="Straight Connector 1325">
                      <a:extLst>
                        <a:ext uri="{FF2B5EF4-FFF2-40B4-BE49-F238E27FC236}">
                          <a16:creationId xmlns:a16="http://schemas.microsoft.com/office/drawing/2014/main" id="{4636A240-D594-7C66-80BB-5F5D20ECA35B}"/>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16" name="Group 1315">
                    <a:extLst>
                      <a:ext uri="{FF2B5EF4-FFF2-40B4-BE49-F238E27FC236}">
                        <a16:creationId xmlns:a16="http://schemas.microsoft.com/office/drawing/2014/main" id="{3442C7DE-581E-EBD3-A2DC-680A82DF4E7B}"/>
                      </a:ext>
                    </a:extLst>
                  </p:cNvPr>
                  <p:cNvGrpSpPr/>
                  <p:nvPr/>
                </p:nvGrpSpPr>
                <p:grpSpPr>
                  <a:xfrm>
                    <a:off x="8730379" y="2740632"/>
                    <a:ext cx="68895" cy="90004"/>
                    <a:chOff x="6128595" y="3199359"/>
                    <a:chExt cx="84653" cy="84653"/>
                  </a:xfrm>
                </p:grpSpPr>
                <p:cxnSp>
                  <p:nvCxnSpPr>
                    <p:cNvPr id="1323" name="Straight Connector 1322">
                      <a:extLst>
                        <a:ext uri="{FF2B5EF4-FFF2-40B4-BE49-F238E27FC236}">
                          <a16:creationId xmlns:a16="http://schemas.microsoft.com/office/drawing/2014/main" id="{C473F0DA-06A0-729D-E5BC-D4CC8EB818D1}"/>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24" name="Straight Connector 1323">
                      <a:extLst>
                        <a:ext uri="{FF2B5EF4-FFF2-40B4-BE49-F238E27FC236}">
                          <a16:creationId xmlns:a16="http://schemas.microsoft.com/office/drawing/2014/main" id="{EC9EF451-C132-E3C1-A7E1-39D49193FAFC}"/>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17" name="Group 1316">
                    <a:extLst>
                      <a:ext uri="{FF2B5EF4-FFF2-40B4-BE49-F238E27FC236}">
                        <a16:creationId xmlns:a16="http://schemas.microsoft.com/office/drawing/2014/main" id="{51536290-60F7-9EB2-1754-04E0919B725C}"/>
                      </a:ext>
                    </a:extLst>
                  </p:cNvPr>
                  <p:cNvGrpSpPr/>
                  <p:nvPr/>
                </p:nvGrpSpPr>
                <p:grpSpPr>
                  <a:xfrm>
                    <a:off x="8763324" y="2740632"/>
                    <a:ext cx="68895" cy="90004"/>
                    <a:chOff x="6128595" y="3199359"/>
                    <a:chExt cx="84653" cy="84653"/>
                  </a:xfrm>
                </p:grpSpPr>
                <p:cxnSp>
                  <p:nvCxnSpPr>
                    <p:cNvPr id="1321" name="Straight Connector 1320">
                      <a:extLst>
                        <a:ext uri="{FF2B5EF4-FFF2-40B4-BE49-F238E27FC236}">
                          <a16:creationId xmlns:a16="http://schemas.microsoft.com/office/drawing/2014/main" id="{FBDED2E7-FC8F-9490-BDD6-0093F2616EA7}"/>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22" name="Straight Connector 1321">
                      <a:extLst>
                        <a:ext uri="{FF2B5EF4-FFF2-40B4-BE49-F238E27FC236}">
                          <a16:creationId xmlns:a16="http://schemas.microsoft.com/office/drawing/2014/main" id="{F2D1E015-D94C-7D83-31D3-55847D2ACD45}"/>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nvGrpSpPr>
                  <p:cNvPr id="1318" name="Group 1317">
                    <a:extLst>
                      <a:ext uri="{FF2B5EF4-FFF2-40B4-BE49-F238E27FC236}">
                        <a16:creationId xmlns:a16="http://schemas.microsoft.com/office/drawing/2014/main" id="{B5013546-452E-39B9-4CA1-094F3C32C47C}"/>
                      </a:ext>
                    </a:extLst>
                  </p:cNvPr>
                  <p:cNvGrpSpPr/>
                  <p:nvPr/>
                </p:nvGrpSpPr>
                <p:grpSpPr>
                  <a:xfrm>
                    <a:off x="8786580" y="2740632"/>
                    <a:ext cx="68895" cy="90004"/>
                    <a:chOff x="6128595" y="3199359"/>
                    <a:chExt cx="84653" cy="84653"/>
                  </a:xfrm>
                </p:grpSpPr>
                <p:cxnSp>
                  <p:nvCxnSpPr>
                    <p:cNvPr id="1319" name="Straight Connector 1318">
                      <a:extLst>
                        <a:ext uri="{FF2B5EF4-FFF2-40B4-BE49-F238E27FC236}">
                          <a16:creationId xmlns:a16="http://schemas.microsoft.com/office/drawing/2014/main" id="{DB96015A-4827-3CE3-15CD-370EED4C943B}"/>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320" name="Straight Connector 1319">
                      <a:extLst>
                        <a:ext uri="{FF2B5EF4-FFF2-40B4-BE49-F238E27FC236}">
                          <a16:creationId xmlns:a16="http://schemas.microsoft.com/office/drawing/2014/main" id="{5C54F04D-CFEC-2ED6-2EB5-398D141092AC}"/>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grpSp>
            <p:pic>
              <p:nvPicPr>
                <p:cNvPr id="1291" name="Graphic 1290">
                  <a:extLst>
                    <a:ext uri="{FF2B5EF4-FFF2-40B4-BE49-F238E27FC236}">
                      <a16:creationId xmlns:a16="http://schemas.microsoft.com/office/drawing/2014/main" id="{8F957540-E21F-7945-C94D-36868FA772E4}"/>
                    </a:ext>
                  </a:extLst>
                </p:cNvPr>
                <p:cNvPicPr>
                  <a:picLocks/>
                </p:cNvPicPr>
                <p:nvPr/>
              </p:nvPicPr>
              <p:blipFill>
                <a:blip>
                  <a:extLst>
                    <a:ext uri="{96DAC541-7B7A-43D3-8B79-37D633B846F1}">
                      <asvg:svgBlip xmlns:asvg="http://schemas.microsoft.com/office/drawing/2016/SVG/main" r:embed="rId4"/>
                    </a:ext>
                  </a:extLst>
                </a:blip>
                <a:stretch>
                  <a:fillRect/>
                </a:stretch>
              </p:blipFill>
              <p:spPr>
                <a:xfrm>
                  <a:off x="7362622" y="2680011"/>
                  <a:ext cx="1555200" cy="56388"/>
                </a:xfrm>
                <a:prstGeom prst="rect">
                  <a:avLst/>
                </a:prstGeom>
              </p:spPr>
            </p:pic>
          </p:grpSp>
          <p:grpSp>
            <p:nvGrpSpPr>
              <p:cNvPr id="1167" name="Group 1166">
                <a:extLst>
                  <a:ext uri="{FF2B5EF4-FFF2-40B4-BE49-F238E27FC236}">
                    <a16:creationId xmlns:a16="http://schemas.microsoft.com/office/drawing/2014/main" id="{818A96BC-5142-6E88-ECA4-DC93A6700849}"/>
                  </a:ext>
                </a:extLst>
              </p:cNvPr>
              <p:cNvGrpSpPr/>
              <p:nvPr/>
            </p:nvGrpSpPr>
            <p:grpSpPr>
              <a:xfrm>
                <a:off x="3529822" y="1802985"/>
                <a:ext cx="3014442" cy="1310317"/>
                <a:chOff x="3094064" y="1485556"/>
                <a:chExt cx="4325042" cy="1216799"/>
              </a:xfrm>
            </p:grpSpPr>
            <p:grpSp>
              <p:nvGrpSpPr>
                <p:cNvPr id="1168" name="Group 1167">
                  <a:extLst>
                    <a:ext uri="{FF2B5EF4-FFF2-40B4-BE49-F238E27FC236}">
                      <a16:creationId xmlns:a16="http://schemas.microsoft.com/office/drawing/2014/main" id="{DE17601E-DD4F-A349-1ADB-F1C84A0E4CB3}"/>
                    </a:ext>
                  </a:extLst>
                </p:cNvPr>
                <p:cNvGrpSpPr/>
                <p:nvPr/>
              </p:nvGrpSpPr>
              <p:grpSpPr>
                <a:xfrm>
                  <a:off x="3787254" y="1730924"/>
                  <a:ext cx="68895" cy="90004"/>
                  <a:chOff x="6128595" y="3199359"/>
                  <a:chExt cx="84653" cy="84653"/>
                </a:xfrm>
              </p:grpSpPr>
              <p:cxnSp>
                <p:nvCxnSpPr>
                  <p:cNvPr id="1170" name="Straight Connector 1169">
                    <a:extLst>
                      <a:ext uri="{FF2B5EF4-FFF2-40B4-BE49-F238E27FC236}">
                        <a16:creationId xmlns:a16="http://schemas.microsoft.com/office/drawing/2014/main" id="{A1987878-2B5D-A5DA-6E40-118CE8EC530E}"/>
                      </a:ext>
                    </a:extLst>
                  </p:cNvPr>
                  <p:cNvCxnSpPr>
                    <a:cxnSpLocks/>
                  </p:cNvCxnSpPr>
                  <p:nvPr/>
                </p:nvCxnSpPr>
                <p:spPr>
                  <a:xfrm>
                    <a:off x="6170922" y="3199359"/>
                    <a:ext cx="0" cy="84653"/>
                  </a:xfrm>
                  <a:prstGeom prst="line">
                    <a:avLst/>
                  </a:prstGeom>
                  <a:noFill/>
                  <a:ln w="12700" cap="flat" cmpd="sng" algn="ctr">
                    <a:solidFill>
                      <a:srgbClr val="458A6F"/>
                    </a:solidFill>
                    <a:prstDash val="solid"/>
                    <a:miter lim="800000"/>
                  </a:ln>
                  <a:effectLst/>
                </p:spPr>
              </p:cxnSp>
              <p:cxnSp>
                <p:nvCxnSpPr>
                  <p:cNvPr id="1171" name="Straight Connector 1170">
                    <a:extLst>
                      <a:ext uri="{FF2B5EF4-FFF2-40B4-BE49-F238E27FC236}">
                        <a16:creationId xmlns:a16="http://schemas.microsoft.com/office/drawing/2014/main" id="{A2CA294C-5A6B-7D8A-D8BA-5EB9EAC9DD70}"/>
                      </a:ext>
                    </a:extLst>
                  </p:cNvPr>
                  <p:cNvCxnSpPr>
                    <a:cxnSpLocks/>
                  </p:cNvCxnSpPr>
                  <p:nvPr/>
                </p:nvCxnSpPr>
                <p:spPr>
                  <a:xfrm rot="16200000">
                    <a:off x="6170922" y="3199359"/>
                    <a:ext cx="0" cy="84653"/>
                  </a:xfrm>
                  <a:prstGeom prst="line">
                    <a:avLst/>
                  </a:prstGeom>
                  <a:noFill/>
                  <a:ln w="12700" cap="flat" cmpd="sng" algn="ctr">
                    <a:solidFill>
                      <a:srgbClr val="458A6F"/>
                    </a:solidFill>
                    <a:prstDash val="solid"/>
                    <a:miter lim="800000"/>
                  </a:ln>
                  <a:effectLst/>
                </p:spPr>
              </p:cxnSp>
            </p:grpSp>
            <p:pic>
              <p:nvPicPr>
                <p:cNvPr id="1169" name="Graphic 1168">
                  <a:extLst>
                    <a:ext uri="{FF2B5EF4-FFF2-40B4-BE49-F238E27FC236}">
                      <a16:creationId xmlns:a16="http://schemas.microsoft.com/office/drawing/2014/main" id="{9CD9F58B-ABCE-9539-060A-9B2972404719}"/>
                    </a:ext>
                  </a:extLst>
                </p:cNvPr>
                <p:cNvPicPr>
                  <a:picLocks/>
                </p:cNvPicPr>
                <p:nvPr/>
              </p:nvPicPr>
              <p:blipFill>
                <a:blip>
                  <a:extLst>
                    <a:ext uri="{96DAC541-7B7A-43D3-8B79-37D633B846F1}">
                      <asvg:svgBlip xmlns:asvg="http://schemas.microsoft.com/office/drawing/2016/SVG/main" r:embed="rId5"/>
                    </a:ext>
                  </a:extLst>
                </a:blip>
                <a:stretch>
                  <a:fillRect/>
                </a:stretch>
              </p:blipFill>
              <p:spPr>
                <a:xfrm>
                  <a:off x="3094064" y="1485556"/>
                  <a:ext cx="4325042" cy="1216799"/>
                </a:xfrm>
                <a:prstGeom prst="rect">
                  <a:avLst/>
                </a:prstGeom>
              </p:spPr>
            </p:pic>
          </p:grpSp>
        </p:grpSp>
        <p:grpSp>
          <p:nvGrpSpPr>
            <p:cNvPr id="1527" name="Group 1526">
              <a:extLst>
                <a:ext uri="{FF2B5EF4-FFF2-40B4-BE49-F238E27FC236}">
                  <a16:creationId xmlns:a16="http://schemas.microsoft.com/office/drawing/2014/main" id="{AF46E1F9-5D52-8A34-B39A-53901CB88C8A}"/>
                </a:ext>
              </a:extLst>
            </p:cNvPr>
            <p:cNvGrpSpPr/>
            <p:nvPr/>
          </p:nvGrpSpPr>
          <p:grpSpPr>
            <a:xfrm>
              <a:off x="7866145" y="4602518"/>
              <a:ext cx="224074" cy="295502"/>
              <a:chOff x="8052901" y="4602518"/>
              <a:chExt cx="224074" cy="295502"/>
            </a:xfrm>
          </p:grpSpPr>
          <p:sp>
            <p:nvSpPr>
              <p:cNvPr id="1515" name="TextBox 1514">
                <a:extLst>
                  <a:ext uri="{FF2B5EF4-FFF2-40B4-BE49-F238E27FC236}">
                    <a16:creationId xmlns:a16="http://schemas.microsoft.com/office/drawing/2014/main" id="{A16D51D1-61AB-1B33-A5D9-5858416436D5}"/>
                  </a:ext>
                </a:extLst>
              </p:cNvPr>
              <p:cNvSpPr txBox="1"/>
              <p:nvPr/>
            </p:nvSpPr>
            <p:spPr>
              <a:xfrm>
                <a:off x="8052901" y="4740460"/>
                <a:ext cx="22407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srgbClr val="595454"/>
                    </a:solidFill>
                    <a:effectLst/>
                    <a:uLnTx/>
                    <a:uFillTx/>
                    <a:latin typeface="Arial" panose="020B0604020202020204" pitchFamily="34" charset="0"/>
                    <a:ea typeface="+mn-ea"/>
                    <a:cs typeface="Arial" panose="020B0604020202020204" pitchFamily="34" charset="0"/>
                    <a:sym typeface="Arial"/>
                    <a:rtl val="0"/>
                  </a:rPr>
                  <a:t>54</a:t>
                </a:r>
              </a:p>
            </p:txBody>
          </p:sp>
          <p:sp>
            <p:nvSpPr>
              <p:cNvPr id="1516" name="Freeform: Shape 38">
                <a:extLst>
                  <a:ext uri="{FF2B5EF4-FFF2-40B4-BE49-F238E27FC236}">
                    <a16:creationId xmlns:a16="http://schemas.microsoft.com/office/drawing/2014/main" id="{1425441C-1825-142A-DEE9-02386EB88B9F}"/>
                  </a:ext>
                </a:extLst>
              </p:cNvPr>
              <p:cNvSpPr/>
              <p:nvPr/>
            </p:nvSpPr>
            <p:spPr>
              <a:xfrm>
                <a:off x="8142942" y="4602518"/>
                <a:ext cx="867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grpSp>
        <p:sp>
          <p:nvSpPr>
            <p:cNvPr id="1532" name="Speech Bubble: Rectangle 890">
              <a:extLst>
                <a:ext uri="{FF2B5EF4-FFF2-40B4-BE49-F238E27FC236}">
                  <a16:creationId xmlns:a16="http://schemas.microsoft.com/office/drawing/2014/main" id="{4F61B143-6E6B-D9D5-989D-8E1188FA1EE3}"/>
                </a:ext>
              </a:extLst>
            </p:cNvPr>
            <p:cNvSpPr/>
            <p:nvPr/>
          </p:nvSpPr>
          <p:spPr>
            <a:xfrm>
              <a:off x="7043676" y="1927076"/>
              <a:ext cx="1252800" cy="530127"/>
            </a:xfrm>
            <a:prstGeom prst="wedgeRectCallout">
              <a:avLst>
                <a:gd name="adj1" fmla="val 2520"/>
                <a:gd name="adj2" fmla="val 90237"/>
              </a:avLst>
            </a:prstGeom>
            <a:solidFill>
              <a:schemeClr val="accent6">
                <a:lumMod val="20000"/>
                <a:lumOff val="80000"/>
              </a:schemeClr>
            </a:solidFill>
            <a:ln w="25400" cap="flat" cmpd="sng" algn="ctr">
              <a:noFill/>
              <a:prstDash val="solid"/>
            </a:ln>
            <a:effectLst/>
          </p:spPr>
          <p:txBody>
            <a:bodyPr wrap="square" lIns="81000" tIns="54000" rIns="54000" bIns="54000" rtlCol="0" anchor="ctr">
              <a:spAutoFit/>
            </a:bodyPr>
            <a:lstStyle/>
            <a:p>
              <a:pPr marL="0" marR="0" lvl="0" indent="0" algn="l" defTabSz="685800" rtl="0" eaLnBrk="1" fontAlgn="ctr"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R</a:t>
              </a:r>
            </a:p>
            <a:p>
              <a:pPr marL="0" marR="0" lvl="0" indent="0" algn="l" defTabSz="685800" rtl="0" eaLnBrk="1" fontAlgn="ctr" latinLnBrk="0" hangingPunct="1">
                <a:lnSpc>
                  <a:spcPct val="100000"/>
                </a:lnSpc>
                <a:spcBef>
                  <a:spcPts val="0"/>
                </a:spcBef>
                <a:spcAft>
                  <a:spcPts val="0"/>
                </a:spcAft>
                <a:buClrTx/>
                <a:buSzTx/>
                <a:buFontTx/>
                <a:buNone/>
                <a:tabLst/>
                <a:defRPr/>
              </a:pPr>
              <a:r>
                <a:rPr kumimoji="0" lang="en-GB" sz="825"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edian OS</a:t>
              </a:r>
              <a:endParaRPr kumimoji="0" lang="en-GB" sz="675"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2" name="TextBox 41">
              <a:extLst>
                <a:ext uri="{FF2B5EF4-FFF2-40B4-BE49-F238E27FC236}">
                  <a16:creationId xmlns:a16="http://schemas.microsoft.com/office/drawing/2014/main" id="{4348971C-E405-9226-9DBE-146435B3E4AD}"/>
                </a:ext>
              </a:extLst>
            </p:cNvPr>
            <p:cNvSpPr txBox="1"/>
            <p:nvPr/>
          </p:nvSpPr>
          <p:spPr>
            <a:xfrm>
              <a:off x="5476274" y="4131477"/>
              <a:ext cx="3084409" cy="677108"/>
            </a:xfrm>
            <a:prstGeom prst="rect">
              <a:avLst/>
            </a:prstGeom>
            <a:noFill/>
          </p:spPr>
          <p:txBody>
            <a:bodyPr wrap="square">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57% of patients received 3L cellular </a:t>
              </a:r>
              <a:br>
                <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br>
              <a:r>
                <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mmunotherapy crossover in the SOC arm</a:t>
              </a:r>
              <a:endParaRPr kumimoji="0" lang="en-GB"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43" name="TextBox 42">
            <a:extLst>
              <a:ext uri="{FF2B5EF4-FFF2-40B4-BE49-F238E27FC236}">
                <a16:creationId xmlns:a16="http://schemas.microsoft.com/office/drawing/2014/main" id="{26DC08B6-A8E1-7BA9-06D4-4D0A54CBC79A}"/>
              </a:ext>
            </a:extLst>
          </p:cNvPr>
          <p:cNvSpPr txBox="1"/>
          <p:nvPr/>
        </p:nvSpPr>
        <p:spPr>
          <a:xfrm>
            <a:off x="1624684" y="3946212"/>
            <a:ext cx="1709122" cy="253916"/>
          </a:xfrm>
          <a:prstGeom prst="rect">
            <a:avLst/>
          </a:prstGeom>
          <a:noFill/>
        </p:spPr>
        <p:txBody>
          <a:bodyPr wrap="non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imary refractory: </a:t>
            </a:r>
            <a:r>
              <a:rPr kumimoji="0" lang="en-US" sz="1050" b="1" i="0" u="none" strike="noStrike" kern="1200" cap="none" spc="0" normalizeH="0" baseline="0" noProof="0">
                <a:ln>
                  <a:noFill/>
                </a:ln>
                <a:solidFill>
                  <a:srgbClr val="458A6F"/>
                </a:solidFill>
                <a:effectLst/>
                <a:uLnTx/>
                <a:uFillTx/>
                <a:latin typeface="Arial" panose="020B0604020202020204" pitchFamily="34" charset="0"/>
                <a:ea typeface="+mn-ea"/>
                <a:cs typeface="Arial" panose="020B0604020202020204" pitchFamily="34" charset="0"/>
              </a:rPr>
              <a:t>74%</a:t>
            </a:r>
          </a:p>
        </p:txBody>
      </p:sp>
      <p:sp>
        <p:nvSpPr>
          <p:cNvPr id="44" name="TextBox 43">
            <a:extLst>
              <a:ext uri="{FF2B5EF4-FFF2-40B4-BE49-F238E27FC236}">
                <a16:creationId xmlns:a16="http://schemas.microsoft.com/office/drawing/2014/main" id="{0918FB9E-C467-AB8E-12CE-AD6D0F9E0999}"/>
              </a:ext>
            </a:extLst>
          </p:cNvPr>
          <p:cNvSpPr txBox="1"/>
          <p:nvPr/>
        </p:nvSpPr>
        <p:spPr>
          <a:xfrm>
            <a:off x="1922844" y="4175011"/>
            <a:ext cx="1112805" cy="253916"/>
          </a:xfrm>
          <a:prstGeom prst="rect">
            <a:avLst/>
          </a:prstGeom>
          <a:noFill/>
        </p:spPr>
        <p:txBody>
          <a:bodyPr wrap="non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HL/THL: </a:t>
            </a:r>
            <a:r>
              <a:rPr kumimoji="0" lang="en-US" sz="1050" b="1" i="0" u="none" strike="noStrike" kern="1200" cap="none" spc="0" normalizeH="0" baseline="0" noProof="0">
                <a:ln>
                  <a:noFill/>
                </a:ln>
                <a:solidFill>
                  <a:srgbClr val="458A6F"/>
                </a:solidFill>
                <a:effectLst/>
                <a:uLnTx/>
                <a:uFillTx/>
                <a:latin typeface="Arial" panose="020B0604020202020204" pitchFamily="34" charset="0"/>
                <a:ea typeface="+mn-ea"/>
                <a:cs typeface="Arial" panose="020B0604020202020204" pitchFamily="34" charset="0"/>
              </a:rPr>
              <a:t>17%</a:t>
            </a:r>
            <a:endParaRPr kumimoji="0" lang="en-GB" sz="1050" b="0" i="0" u="none" strike="noStrike" kern="1200" cap="none" spc="0" normalizeH="0" baseline="0" noProof="0">
              <a:ln>
                <a:noFill/>
              </a:ln>
              <a:solidFill>
                <a:srgbClr val="458A6F"/>
              </a:solidFill>
              <a:effectLst/>
              <a:uLnTx/>
              <a:uFillTx/>
              <a:latin typeface="Arial" panose="020B0604020202020204" pitchFamily="34" charset="0"/>
              <a:ea typeface="+mn-ea"/>
              <a:cs typeface="Arial" panose="020B0604020202020204" pitchFamily="34" charset="0"/>
            </a:endParaRPr>
          </a:p>
        </p:txBody>
      </p:sp>
      <p:sp>
        <p:nvSpPr>
          <p:cNvPr id="45" name="TextBox 44">
            <a:extLst>
              <a:ext uri="{FF2B5EF4-FFF2-40B4-BE49-F238E27FC236}">
                <a16:creationId xmlns:a16="http://schemas.microsoft.com/office/drawing/2014/main" id="{7A099AC9-6362-71EE-6BA5-4B9A32DBF00B}"/>
              </a:ext>
            </a:extLst>
          </p:cNvPr>
          <p:cNvSpPr txBox="1"/>
          <p:nvPr/>
        </p:nvSpPr>
        <p:spPr>
          <a:xfrm>
            <a:off x="2165700" y="3717413"/>
            <a:ext cx="627096" cy="253916"/>
          </a:xfrm>
          <a:prstGeom prst="rect">
            <a:avLst/>
          </a:prstGeom>
          <a:noFill/>
        </p:spPr>
        <p:txBody>
          <a:bodyPr wrap="non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err="1">
                <a:ln>
                  <a:noFill/>
                </a:ln>
                <a:solidFill>
                  <a:srgbClr val="458A6F"/>
                </a:solidFill>
                <a:effectLst/>
                <a:uLnTx/>
                <a:uFillTx/>
                <a:latin typeface="Arial" panose="020B0604020202020204" pitchFamily="34" charset="0"/>
                <a:ea typeface="+mn-ea"/>
                <a:cs typeface="Arial" panose="020B0604020202020204" pitchFamily="34" charset="0"/>
              </a:rPr>
              <a:t>Axi</a:t>
            </a:r>
            <a:r>
              <a:rPr kumimoji="0" lang="en-US" sz="1050" b="1" i="0" u="none" strike="noStrike" kern="1200" cap="none" spc="0" normalizeH="0" baseline="0" noProof="0">
                <a:ln>
                  <a:noFill/>
                </a:ln>
                <a:solidFill>
                  <a:srgbClr val="458A6F"/>
                </a:solidFill>
                <a:effectLst/>
                <a:uLnTx/>
                <a:uFillTx/>
                <a:latin typeface="Arial" panose="020B0604020202020204" pitchFamily="34" charset="0"/>
                <a:ea typeface="+mn-ea"/>
                <a:cs typeface="Arial" panose="020B0604020202020204" pitchFamily="34" charset="0"/>
              </a:rPr>
              <a:t>-cel</a:t>
            </a:r>
          </a:p>
        </p:txBody>
      </p:sp>
      <p:sp>
        <p:nvSpPr>
          <p:cNvPr id="15" name="TextBox 14">
            <a:extLst>
              <a:ext uri="{FF2B5EF4-FFF2-40B4-BE49-F238E27FC236}">
                <a16:creationId xmlns:a16="http://schemas.microsoft.com/office/drawing/2014/main" id="{8064643A-986A-CD7C-213B-3865D5CA4D36}"/>
              </a:ext>
            </a:extLst>
          </p:cNvPr>
          <p:cNvSpPr txBox="1"/>
          <p:nvPr/>
        </p:nvSpPr>
        <p:spPr>
          <a:xfrm>
            <a:off x="8932935" y="4342971"/>
            <a:ext cx="237566" cy="207749"/>
          </a:xfrm>
          <a:prstGeom prst="rect">
            <a:avLst/>
          </a:prstGeom>
          <a:noFill/>
        </p:spPr>
        <p:txBody>
          <a:bodyPr wrap="non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en-GB" sz="75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24" name="Group 23">
            <a:extLst>
              <a:ext uri="{FF2B5EF4-FFF2-40B4-BE49-F238E27FC236}">
                <a16:creationId xmlns:a16="http://schemas.microsoft.com/office/drawing/2014/main" id="{0B1B53CD-3B27-2BFC-35D6-150C25FF6741}"/>
              </a:ext>
            </a:extLst>
          </p:cNvPr>
          <p:cNvGrpSpPr/>
          <p:nvPr/>
        </p:nvGrpSpPr>
        <p:grpSpPr>
          <a:xfrm>
            <a:off x="9093121" y="4332602"/>
            <a:ext cx="1309499" cy="69253"/>
            <a:chOff x="9919129" y="4665930"/>
            <a:chExt cx="1414860" cy="46936"/>
          </a:xfrm>
        </p:grpSpPr>
        <p:cxnSp>
          <p:nvCxnSpPr>
            <p:cNvPr id="29" name="Straight Connector 28">
              <a:extLst>
                <a:ext uri="{FF2B5EF4-FFF2-40B4-BE49-F238E27FC236}">
                  <a16:creationId xmlns:a16="http://schemas.microsoft.com/office/drawing/2014/main" id="{79100C63-DA76-6D2C-182B-0CD865DC38B8}"/>
                </a:ext>
              </a:extLst>
            </p:cNvPr>
            <p:cNvCxnSpPr>
              <a:cxnSpLocks/>
            </p:cNvCxnSpPr>
            <p:nvPr/>
          </p:nvCxnSpPr>
          <p:spPr>
            <a:xfrm flipV="1">
              <a:off x="9919129" y="4665930"/>
              <a:ext cx="14148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3EDC253F-3A33-A2C5-B118-67D79F508620}"/>
                </a:ext>
              </a:extLst>
            </p:cNvPr>
            <p:cNvGrpSpPr/>
            <p:nvPr/>
          </p:nvGrpSpPr>
          <p:grpSpPr>
            <a:xfrm>
              <a:off x="9919655" y="4665930"/>
              <a:ext cx="1414334" cy="46936"/>
              <a:chOff x="9919655" y="4665930"/>
              <a:chExt cx="1414334" cy="46936"/>
            </a:xfrm>
          </p:grpSpPr>
          <p:cxnSp>
            <p:nvCxnSpPr>
              <p:cNvPr id="41" name="Straight Connector 40">
                <a:extLst>
                  <a:ext uri="{FF2B5EF4-FFF2-40B4-BE49-F238E27FC236}">
                    <a16:creationId xmlns:a16="http://schemas.microsoft.com/office/drawing/2014/main" id="{726EBDD0-8EF7-1B13-090D-98F8E66EC005}"/>
                  </a:ext>
                </a:extLst>
              </p:cNvPr>
              <p:cNvCxnSpPr>
                <a:cxnSpLocks/>
              </p:cNvCxnSpPr>
              <p:nvPr/>
            </p:nvCxnSpPr>
            <p:spPr>
              <a:xfrm>
                <a:off x="9919655"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47CBFD4-37BF-85CD-0AC5-59C231B12052}"/>
                  </a:ext>
                </a:extLst>
              </p:cNvPr>
              <p:cNvCxnSpPr>
                <a:cxnSpLocks/>
              </p:cNvCxnSpPr>
              <p:nvPr/>
            </p:nvCxnSpPr>
            <p:spPr>
              <a:xfrm>
                <a:off x="10202522"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2BB9DBA-9E92-E638-73BE-D3115D513C4B}"/>
                  </a:ext>
                </a:extLst>
              </p:cNvPr>
              <p:cNvCxnSpPr>
                <a:cxnSpLocks/>
              </p:cNvCxnSpPr>
              <p:nvPr/>
            </p:nvCxnSpPr>
            <p:spPr>
              <a:xfrm>
                <a:off x="10485389"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7EFF15C-CD58-945E-AB89-EABF20186F8B}"/>
                  </a:ext>
                </a:extLst>
              </p:cNvPr>
              <p:cNvCxnSpPr>
                <a:cxnSpLocks/>
              </p:cNvCxnSpPr>
              <p:nvPr/>
            </p:nvCxnSpPr>
            <p:spPr>
              <a:xfrm>
                <a:off x="10768256"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57F2A23-F808-3357-4DE7-FD5C7179E19A}"/>
                  </a:ext>
                </a:extLst>
              </p:cNvPr>
              <p:cNvCxnSpPr>
                <a:cxnSpLocks/>
              </p:cNvCxnSpPr>
              <p:nvPr/>
            </p:nvCxnSpPr>
            <p:spPr>
              <a:xfrm>
                <a:off x="11051123"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A988F78-3AB5-45C9-E783-A9A6D091C928}"/>
                  </a:ext>
                </a:extLst>
              </p:cNvPr>
              <p:cNvCxnSpPr>
                <a:cxnSpLocks/>
              </p:cNvCxnSpPr>
              <p:nvPr/>
            </p:nvCxnSpPr>
            <p:spPr>
              <a:xfrm>
                <a:off x="11333989"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51" name="TextBox 50">
            <a:extLst>
              <a:ext uri="{FF2B5EF4-FFF2-40B4-BE49-F238E27FC236}">
                <a16:creationId xmlns:a16="http://schemas.microsoft.com/office/drawing/2014/main" id="{5C3AA66A-22F4-8F99-8501-339742171168}"/>
              </a:ext>
            </a:extLst>
          </p:cNvPr>
          <p:cNvSpPr txBox="1"/>
          <p:nvPr/>
        </p:nvSpPr>
        <p:spPr>
          <a:xfrm>
            <a:off x="10274377" y="4336261"/>
            <a:ext cx="343364" cy="207749"/>
          </a:xfrm>
          <a:prstGeom prst="rect">
            <a:avLst/>
          </a:prstGeom>
          <a:noFill/>
        </p:spPr>
        <p:txBody>
          <a:bodyPr wrap="non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00</a:t>
            </a:r>
            <a:endParaRPr kumimoji="0" lang="en-GB" sz="75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FC5D9489-030E-2C05-D3F9-045409EB4769}"/>
              </a:ext>
            </a:extLst>
          </p:cNvPr>
          <p:cNvSpPr txBox="1"/>
          <p:nvPr/>
        </p:nvSpPr>
        <p:spPr>
          <a:xfrm rot="16200000">
            <a:off x="3525814" y="3140607"/>
            <a:ext cx="478310" cy="180557"/>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OS, %</a:t>
            </a:r>
          </a:p>
        </p:txBody>
      </p:sp>
    </p:spTree>
    <p:extLst>
      <p:ext uri="{BB962C8B-B14F-4D97-AF65-F5344CB8AC3E}">
        <p14:creationId xmlns:p14="http://schemas.microsoft.com/office/powerpoint/2010/main" val="8019053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24670C-6CB3-1392-28FB-75E272D3DCA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7D98EDE-1BC4-CE25-6ABC-E8919073FADF}"/>
              </a:ext>
            </a:extLst>
          </p:cNvPr>
          <p:cNvSpPr>
            <a:spLocks noGrp="1"/>
          </p:cNvSpPr>
          <p:nvPr>
            <p:ph type="title"/>
          </p:nvPr>
        </p:nvSpPr>
        <p:spPr/>
        <p:txBody>
          <a:bodyPr>
            <a:noAutofit/>
          </a:bodyPr>
          <a:lstStyle/>
          <a:p>
            <a:r>
              <a:rPr lang="en-US" dirty="0">
                <a:latin typeface="Arial" panose="020B0604020202020204" pitchFamily="34" charset="0"/>
                <a:cs typeface="Arial" panose="020B0604020202020204" pitchFamily="34" charset="0"/>
              </a:rPr>
              <a:t>Liso-cel continued to demonstrate higher rates of survival at ≈ 3 and 4 years of follow-up</a:t>
            </a:r>
            <a:endParaRPr lang="en-GB" dirty="0">
              <a:latin typeface="Arial" panose="020B0604020202020204" pitchFamily="34" charset="0"/>
              <a:cs typeface="Arial" panose="020B0604020202020204" pitchFamily="34" charset="0"/>
            </a:endParaRPr>
          </a:p>
        </p:txBody>
      </p:sp>
      <p:grpSp>
        <p:nvGrpSpPr>
          <p:cNvPr id="3" name="Group 2">
            <a:extLst>
              <a:ext uri="{FF2B5EF4-FFF2-40B4-BE49-F238E27FC236}">
                <a16:creationId xmlns:a16="http://schemas.microsoft.com/office/drawing/2014/main" id="{F1217661-A17A-1C2C-7643-8E15ED962A38}"/>
              </a:ext>
            </a:extLst>
          </p:cNvPr>
          <p:cNvGrpSpPr/>
          <p:nvPr/>
        </p:nvGrpSpPr>
        <p:grpSpPr>
          <a:xfrm>
            <a:off x="816970" y="1044632"/>
            <a:ext cx="11241597" cy="5132763"/>
            <a:chOff x="1602598" y="1359877"/>
            <a:chExt cx="9150179" cy="5132763"/>
          </a:xfrm>
        </p:grpSpPr>
        <p:sp>
          <p:nvSpPr>
            <p:cNvPr id="13" name="Flowchart: Process 12">
              <a:extLst>
                <a:ext uri="{FF2B5EF4-FFF2-40B4-BE49-F238E27FC236}">
                  <a16:creationId xmlns:a16="http://schemas.microsoft.com/office/drawing/2014/main" id="{E62240E9-4110-97EB-A24D-7AB482B3F320}"/>
                </a:ext>
              </a:extLst>
            </p:cNvPr>
            <p:cNvSpPr/>
            <p:nvPr/>
          </p:nvSpPr>
          <p:spPr>
            <a:xfrm>
              <a:off x="1602598" y="5123699"/>
              <a:ext cx="9144000" cy="746616"/>
            </a:xfrm>
            <a:prstGeom prst="flowChartProcess">
              <a:avLst/>
            </a:prstGeom>
            <a:solidFill>
              <a:schemeClr val="accent1"/>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62% of patients crossed over from the SOC arm to receive liso-cel</a:t>
              </a:r>
              <a:r>
                <a:rPr kumimoji="0" lang="en-US" sz="16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1,2</a:t>
              </a:r>
            </a:p>
          </p:txBody>
        </p:sp>
        <p:sp>
          <p:nvSpPr>
            <p:cNvPr id="60" name="Flowchart: Process 59">
              <a:extLst>
                <a:ext uri="{FF2B5EF4-FFF2-40B4-BE49-F238E27FC236}">
                  <a16:creationId xmlns:a16="http://schemas.microsoft.com/office/drawing/2014/main" id="{D8AFD701-322A-F57B-1C7C-CB55410CF1FD}"/>
                </a:ext>
              </a:extLst>
            </p:cNvPr>
            <p:cNvSpPr/>
            <p:nvPr/>
          </p:nvSpPr>
          <p:spPr>
            <a:xfrm>
              <a:off x="1626360" y="1822337"/>
              <a:ext cx="1706880" cy="2672129"/>
            </a:xfrm>
            <a:prstGeom prst="flowChartProcess">
              <a:avLst/>
            </a:prstGeom>
            <a:solidFill>
              <a:sysClr val="window" lastClr="FFFFFF"/>
            </a:solidFill>
            <a:ln>
              <a:noFill/>
            </a:ln>
            <a:effectLst>
              <a:outerShdw blurRad="50800" dist="38100" algn="l" rotWithShape="0">
                <a:prstClr val="black">
                  <a:alpha val="40000"/>
                </a:prstClr>
              </a:out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1" name="Flowchart: Process 60">
              <a:extLst>
                <a:ext uri="{FF2B5EF4-FFF2-40B4-BE49-F238E27FC236}">
                  <a16:creationId xmlns:a16="http://schemas.microsoft.com/office/drawing/2014/main" id="{3F9F7439-AC9F-9F13-7E59-BB67BC68D8B3}"/>
                </a:ext>
              </a:extLst>
            </p:cNvPr>
            <p:cNvSpPr/>
            <p:nvPr/>
          </p:nvSpPr>
          <p:spPr>
            <a:xfrm>
              <a:off x="1708781" y="1880785"/>
              <a:ext cx="1542040" cy="306710"/>
            </a:xfrm>
            <a:prstGeom prst="flowChartProcess">
              <a:avLst/>
            </a:prstGeom>
            <a:solidFill>
              <a:schemeClr val="accent1"/>
            </a:solidFill>
            <a:ln>
              <a:noFill/>
            </a:ln>
            <a:effectLst/>
          </p:spPr>
          <p:txBody>
            <a:bodyPr lIns="27000" r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RANSFORM</a:t>
              </a:r>
              <a:r>
                <a:rPr kumimoji="0" lang="en-US" sz="1050" b="1" i="0" u="none" strike="noStrike" kern="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rPr>
                <a:t>1,2</a:t>
              </a:r>
              <a:endParaRPr kumimoji="0" lang="en-GB" sz="105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2" name="TextBox 61">
              <a:extLst>
                <a:ext uri="{FF2B5EF4-FFF2-40B4-BE49-F238E27FC236}">
                  <a16:creationId xmlns:a16="http://schemas.microsoft.com/office/drawing/2014/main" id="{94E4FF1D-B9E6-F26F-7FD7-450C6BD6C15A}"/>
                </a:ext>
              </a:extLst>
            </p:cNvPr>
            <p:cNvSpPr txBox="1"/>
            <p:nvPr/>
          </p:nvSpPr>
          <p:spPr>
            <a:xfrm>
              <a:off x="1708781" y="2239924"/>
              <a:ext cx="1584683" cy="1487587"/>
            </a:xfrm>
            <a:prstGeom prst="rect">
              <a:avLst/>
            </a:prstGeom>
            <a:noFill/>
          </p:spPr>
          <p:txBody>
            <a:bodyPr wrap="square">
              <a:spAutoFit/>
            </a:bodyPr>
            <a:lstStyle/>
            <a:p>
              <a:pPr marL="0" marR="0" lvl="0" indent="0" algn="ctr" defTabSz="685800" rtl="0" eaLnBrk="1" fontAlgn="auto" latinLnBrk="0" hangingPunct="1">
                <a:lnSpc>
                  <a:spcPct val="100000"/>
                </a:lnSpc>
                <a:spcBef>
                  <a:spcPts val="375"/>
                </a:spcBef>
                <a:spcAft>
                  <a:spcPts val="0"/>
                </a:spcAft>
                <a:buClr>
                  <a:srgbClr val="C30F3B"/>
                </a:buClr>
                <a:buSzPct val="120000"/>
                <a:buFontTx/>
                <a:buNone/>
                <a:tabLst/>
                <a:defRPr/>
              </a:pPr>
              <a:r>
                <a:rPr kumimoji="0" lang="en-GB" sz="1050" b="1" i="0" u="none" strike="noStrike" kern="0" cap="none" spc="0" normalizeH="0" baseline="0" noProof="0" dirty="0" err="1">
                  <a:ln>
                    <a:noFill/>
                  </a:ln>
                  <a:solidFill>
                    <a:srgbClr val="4472C4"/>
                  </a:solidFill>
                  <a:effectLst/>
                  <a:uLnTx/>
                  <a:uFillTx/>
                  <a:latin typeface="Arial" panose="020B0604020202020204" pitchFamily="34" charset="0"/>
                  <a:ea typeface="+mn-ea"/>
                  <a:cs typeface="Arial" panose="020B0604020202020204" pitchFamily="34" charset="0"/>
                </a:rPr>
                <a:t>mFU</a:t>
              </a:r>
              <a:r>
                <a:rPr kumimoji="0" lang="en-GB" sz="1050" b="1" i="0" u="none" strike="noStrike" kern="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 33.9 months</a:t>
              </a:r>
            </a:p>
            <a:p>
              <a:pPr marL="0" marR="0" lvl="0" indent="0" algn="ctr" defTabSz="685800" rtl="0" eaLnBrk="1" fontAlgn="auto" latinLnBrk="0" hangingPunct="1">
                <a:lnSpc>
                  <a:spcPct val="100000"/>
                </a:lnSpc>
                <a:spcBef>
                  <a:spcPts val="375"/>
                </a:spcBef>
                <a:spcAft>
                  <a:spcPts val="0"/>
                </a:spcAft>
                <a:buClr>
                  <a:srgbClr val="C30F3B"/>
                </a:buClr>
                <a:buSzPct val="120000"/>
                <a:buFontTx/>
                <a:buNone/>
                <a:tabLst/>
                <a:defRPr/>
              </a:pPr>
              <a:r>
                <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hase 3, randomized  trial of </a:t>
              </a:r>
              <a:r>
                <a:rPr kumimoji="0" lang="en-US" sz="1050" b="1" i="0" u="none" strike="noStrike" kern="0" cap="none" spc="0" normalizeH="0" baseline="0" noProof="0" dirty="0" err="1">
                  <a:ln>
                    <a:noFill/>
                  </a:ln>
                  <a:solidFill>
                    <a:srgbClr val="4472C4"/>
                  </a:solidFill>
                  <a:effectLst/>
                  <a:uLnTx/>
                  <a:uFillTx/>
                  <a:latin typeface="Arial" panose="020B0604020202020204" pitchFamily="34" charset="0"/>
                  <a:ea typeface="+mn-ea"/>
                  <a:cs typeface="Arial" panose="020B0604020202020204" pitchFamily="34" charset="0"/>
                </a:rPr>
                <a:t>liso</a:t>
              </a:r>
              <a:r>
                <a:rPr kumimoji="0" lang="en-US" sz="1050" b="1" i="0" u="none" strike="noStrike" kern="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cel </a:t>
              </a:r>
              <a:r>
                <a:rPr kumimoji="0" lang="en-US" sz="1050" b="0" i="0" u="none" strike="noStrike" kern="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n = 92) </a:t>
              </a:r>
              <a:r>
                <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s. </a:t>
              </a:r>
              <a:r>
                <a:rPr kumimoji="0" lang="en-US" sz="105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C </a:t>
              </a:r>
              <a:r>
                <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SCT, n = 92) as 2L treatment in patients with R/R LBCL </a:t>
              </a:r>
              <a:br>
                <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 184)</a:t>
              </a:r>
            </a:p>
            <a:p>
              <a:pPr marL="0" marR="0" lvl="0" indent="0" algn="l" defTabSz="685800" rtl="0" eaLnBrk="1" fontAlgn="auto" latinLnBrk="0" hangingPunct="1">
                <a:lnSpc>
                  <a:spcPct val="100000"/>
                </a:lnSpc>
                <a:spcBef>
                  <a:spcPts val="375"/>
                </a:spcBef>
                <a:spcAft>
                  <a:spcPts val="0"/>
                </a:spcAft>
                <a:buClr>
                  <a:srgbClr val="C30F3B"/>
                </a:buClr>
                <a:buSzPct val="120000"/>
                <a:buFontTx/>
                <a:buNone/>
                <a:tabLst/>
                <a:defRPr/>
              </a:pPr>
              <a:endParaRPr kumimoji="0" lang="en-GB" sz="1050" b="1" i="0" u="none" strike="noStrike" kern="0" cap="none" spc="0" normalizeH="0" baseline="0" noProof="0" dirty="0">
                <a:ln>
                  <a:noFill/>
                </a:ln>
                <a:solidFill>
                  <a:srgbClr val="BE2BBB"/>
                </a:solidFill>
                <a:effectLst/>
                <a:uLnTx/>
                <a:uFillTx/>
                <a:latin typeface="Arial" panose="020B0604020202020204" pitchFamily="34" charset="0"/>
                <a:ea typeface="+mn-ea"/>
                <a:cs typeface="Arial" panose="020B0604020202020204" pitchFamily="34" charset="0"/>
              </a:endParaRPr>
            </a:p>
          </p:txBody>
        </p:sp>
        <p:cxnSp>
          <p:nvCxnSpPr>
            <p:cNvPr id="63" name="Straight Connector 62">
              <a:extLst>
                <a:ext uri="{FF2B5EF4-FFF2-40B4-BE49-F238E27FC236}">
                  <a16:creationId xmlns:a16="http://schemas.microsoft.com/office/drawing/2014/main" id="{9DEEC764-5149-268B-AB36-FBF58DF660F4}"/>
                </a:ext>
              </a:extLst>
            </p:cNvPr>
            <p:cNvCxnSpPr>
              <a:cxnSpLocks/>
            </p:cNvCxnSpPr>
            <p:nvPr/>
          </p:nvCxnSpPr>
          <p:spPr>
            <a:xfrm>
              <a:off x="1988073" y="4402057"/>
              <a:ext cx="983456" cy="0"/>
            </a:xfrm>
            <a:prstGeom prst="line">
              <a:avLst/>
            </a:prstGeom>
            <a:ln/>
          </p:spPr>
          <p:style>
            <a:lnRef idx="1">
              <a:schemeClr val="accent1"/>
            </a:lnRef>
            <a:fillRef idx="0">
              <a:schemeClr val="accent1"/>
            </a:fillRef>
            <a:effectRef idx="0">
              <a:schemeClr val="accent1"/>
            </a:effectRef>
            <a:fontRef idx="minor">
              <a:schemeClr val="tx1"/>
            </a:fontRef>
          </p:style>
        </p:cxnSp>
        <p:sp>
          <p:nvSpPr>
            <p:cNvPr id="472" name="TextBox 471">
              <a:extLst>
                <a:ext uri="{FF2B5EF4-FFF2-40B4-BE49-F238E27FC236}">
                  <a16:creationId xmlns:a16="http://schemas.microsoft.com/office/drawing/2014/main" id="{C3ACDA86-AE00-4833-3DCD-178EA52627B2}"/>
                </a:ext>
              </a:extLst>
            </p:cNvPr>
            <p:cNvSpPr txBox="1"/>
            <p:nvPr/>
          </p:nvSpPr>
          <p:spPr>
            <a:xfrm>
              <a:off x="4166727" y="1807847"/>
              <a:ext cx="3119899" cy="276999"/>
            </a:xfrm>
            <a:prstGeom prst="rect">
              <a:avLst/>
            </a:prstGeom>
            <a:no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S (N = 184)</a:t>
              </a:r>
              <a:r>
                <a:rPr kumimoji="0" lang="en-US" sz="1200" b="1"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2</a:t>
              </a:r>
              <a:endParaRPr kumimoji="0" lang="en-GB" sz="1200" b="1"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 name="Rectangle 57">
              <a:extLst>
                <a:ext uri="{FF2B5EF4-FFF2-40B4-BE49-F238E27FC236}">
                  <a16:creationId xmlns:a16="http://schemas.microsoft.com/office/drawing/2014/main" id="{ACA7061A-4853-9C53-7AF6-684A77D0E882}"/>
                </a:ext>
              </a:extLst>
            </p:cNvPr>
            <p:cNvSpPr/>
            <p:nvPr/>
          </p:nvSpPr>
          <p:spPr>
            <a:xfrm>
              <a:off x="8162681" y="1853089"/>
              <a:ext cx="2553283" cy="296182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59" name="Straight Connector 58">
              <a:extLst>
                <a:ext uri="{FF2B5EF4-FFF2-40B4-BE49-F238E27FC236}">
                  <a16:creationId xmlns:a16="http://schemas.microsoft.com/office/drawing/2014/main" id="{F3834EF8-B46A-D20B-EB18-BB18CBCDC771}"/>
                </a:ext>
              </a:extLst>
            </p:cNvPr>
            <p:cNvCxnSpPr>
              <a:cxnSpLocks/>
            </p:cNvCxnSpPr>
            <p:nvPr/>
          </p:nvCxnSpPr>
          <p:spPr>
            <a:xfrm>
              <a:off x="8124373" y="1853089"/>
              <a:ext cx="0" cy="2961900"/>
            </a:xfrm>
            <a:prstGeom prst="line">
              <a:avLst/>
            </a:prstGeom>
            <a:ln w="28575" cap="rnd">
              <a:solidFill>
                <a:schemeClr val="accent1"/>
              </a:solidFill>
            </a:ln>
          </p:spPr>
          <p:style>
            <a:lnRef idx="1">
              <a:srgbClr val="BE2BBB"/>
            </a:lnRef>
            <a:fillRef idx="0">
              <a:schemeClr val="accent1"/>
            </a:fillRef>
            <a:effectRef idx="0">
              <a:srgbClr val="000000"/>
            </a:effectRef>
            <a:fontRef idx="minor">
              <a:schemeClr val="lt1"/>
            </a:fontRef>
          </p:style>
        </p:cxnSp>
        <p:sp>
          <p:nvSpPr>
            <p:cNvPr id="448" name="TextBox 447">
              <a:extLst>
                <a:ext uri="{FF2B5EF4-FFF2-40B4-BE49-F238E27FC236}">
                  <a16:creationId xmlns:a16="http://schemas.microsoft.com/office/drawing/2014/main" id="{5801C0F2-1343-41EC-41FC-473D0402912F}"/>
                </a:ext>
              </a:extLst>
            </p:cNvPr>
            <p:cNvSpPr txBox="1"/>
            <p:nvPr/>
          </p:nvSpPr>
          <p:spPr>
            <a:xfrm>
              <a:off x="8114719" y="1871981"/>
              <a:ext cx="2313307" cy="253916"/>
            </a:xfrm>
            <a:prstGeom prst="rect">
              <a:avLst/>
            </a:prstGeom>
            <a:noFill/>
          </p:spPr>
          <p:txBody>
            <a:bodyPr wrap="square" rtlCol="0">
              <a:spAutoFit/>
            </a:bodyPr>
            <a:lstStyle/>
            <a:p>
              <a:pPr marL="0" marR="0" lvl="0" indent="0" algn="ctr" defTabSz="914378" rtl="0" eaLnBrk="0" fontAlgn="base" latinLnBrk="0" hangingPunct="0">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Liso-cel efficacy (n = 92)</a:t>
              </a:r>
              <a:r>
                <a:rPr kumimoji="0" lang="en-GB" sz="1050" b="1" i="0" u="none" strike="noStrike" kern="1200" cap="none" spc="0" normalizeH="0" baseline="30000" noProof="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1,2</a:t>
              </a:r>
            </a:p>
          </p:txBody>
        </p:sp>
        <p:grpSp>
          <p:nvGrpSpPr>
            <p:cNvPr id="449" name="Group 448">
              <a:extLst>
                <a:ext uri="{FF2B5EF4-FFF2-40B4-BE49-F238E27FC236}">
                  <a16:creationId xmlns:a16="http://schemas.microsoft.com/office/drawing/2014/main" id="{226CF585-F428-693C-CDB8-207E3C0DC0B6}"/>
                </a:ext>
              </a:extLst>
            </p:cNvPr>
            <p:cNvGrpSpPr/>
            <p:nvPr/>
          </p:nvGrpSpPr>
          <p:grpSpPr>
            <a:xfrm>
              <a:off x="8206442" y="3330911"/>
              <a:ext cx="2000087" cy="253916"/>
              <a:chOff x="8909922" y="2283022"/>
              <a:chExt cx="2666782" cy="338555"/>
            </a:xfrm>
          </p:grpSpPr>
          <p:sp>
            <p:nvSpPr>
              <p:cNvPr id="450" name="TextBox 449">
                <a:extLst>
                  <a:ext uri="{FF2B5EF4-FFF2-40B4-BE49-F238E27FC236}">
                    <a16:creationId xmlns:a16="http://schemas.microsoft.com/office/drawing/2014/main" id="{44E14CC0-7AAA-F7D4-EB5A-809744E077B4}"/>
                  </a:ext>
                </a:extLst>
              </p:cNvPr>
              <p:cNvSpPr txBox="1"/>
              <p:nvPr/>
            </p:nvSpPr>
            <p:spPr bwMode="auto">
              <a:xfrm>
                <a:off x="8909922" y="2298057"/>
                <a:ext cx="1044000" cy="289753"/>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825" b="1" i="0" u="none" strike="noStrike" kern="0" cap="none" spc="0" normalizeH="0" baseline="0" noProof="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Median EFS</a:t>
                </a:r>
              </a:p>
            </p:txBody>
          </p:sp>
          <p:sp>
            <p:nvSpPr>
              <p:cNvPr id="452" name="TextBox 451">
                <a:extLst>
                  <a:ext uri="{FF2B5EF4-FFF2-40B4-BE49-F238E27FC236}">
                    <a16:creationId xmlns:a16="http://schemas.microsoft.com/office/drawing/2014/main" id="{9CAE3D6E-B59F-9D1B-0B9C-86796DE5A5DC}"/>
                  </a:ext>
                </a:extLst>
              </p:cNvPr>
              <p:cNvSpPr txBox="1"/>
              <p:nvPr/>
            </p:nvSpPr>
            <p:spPr>
              <a:xfrm>
                <a:off x="10432802" y="2283022"/>
                <a:ext cx="1143902" cy="338555"/>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30 months</a:t>
                </a:r>
                <a:endParaRPr kumimoji="0" lang="en-GB" sz="1050" b="1" i="0" u="none" strike="noStrike" kern="1200" cap="none" spc="0" normalizeH="0" baseline="30000" noProof="0">
                  <a:ln>
                    <a:noFill/>
                  </a:ln>
                  <a:solidFill>
                    <a:srgbClr val="4472C4"/>
                  </a:solidFill>
                  <a:effectLst/>
                  <a:uLnTx/>
                  <a:uFillTx/>
                  <a:latin typeface="Arial" panose="020B0604020202020204" pitchFamily="34" charset="0"/>
                  <a:ea typeface="+mn-ea"/>
                  <a:cs typeface="Arial" panose="020B0604020202020204" pitchFamily="34" charset="0"/>
                </a:endParaRPr>
              </a:p>
            </p:txBody>
          </p:sp>
        </p:grpSp>
        <p:grpSp>
          <p:nvGrpSpPr>
            <p:cNvPr id="453" name="Group 452">
              <a:extLst>
                <a:ext uri="{FF2B5EF4-FFF2-40B4-BE49-F238E27FC236}">
                  <a16:creationId xmlns:a16="http://schemas.microsoft.com/office/drawing/2014/main" id="{BD882BA1-AF40-F6EE-37B5-2C8E95FD2FFD}"/>
                </a:ext>
              </a:extLst>
            </p:cNvPr>
            <p:cNvGrpSpPr/>
            <p:nvPr/>
          </p:nvGrpSpPr>
          <p:grpSpPr>
            <a:xfrm>
              <a:off x="8206442" y="2959991"/>
              <a:ext cx="1807797" cy="263754"/>
              <a:chOff x="8909922" y="1815192"/>
              <a:chExt cx="2410396" cy="351672"/>
            </a:xfrm>
          </p:grpSpPr>
          <p:sp>
            <p:nvSpPr>
              <p:cNvPr id="454" name="TextBox 453">
                <a:extLst>
                  <a:ext uri="{FF2B5EF4-FFF2-40B4-BE49-F238E27FC236}">
                    <a16:creationId xmlns:a16="http://schemas.microsoft.com/office/drawing/2014/main" id="{41275289-7D77-036E-B93D-C379EB5FEDBE}"/>
                  </a:ext>
                </a:extLst>
              </p:cNvPr>
              <p:cNvSpPr txBox="1"/>
              <p:nvPr/>
            </p:nvSpPr>
            <p:spPr bwMode="auto">
              <a:xfrm>
                <a:off x="8909922" y="1848916"/>
                <a:ext cx="1044000" cy="289753"/>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825" b="1" i="0" u="none" strike="noStrike" kern="0" cap="none" spc="0" normalizeH="0" baseline="0" noProof="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36-mo EFS, %</a:t>
                </a:r>
              </a:p>
            </p:txBody>
          </p:sp>
          <p:sp>
            <p:nvSpPr>
              <p:cNvPr id="458" name="Rectangle 457">
                <a:extLst>
                  <a:ext uri="{FF2B5EF4-FFF2-40B4-BE49-F238E27FC236}">
                    <a16:creationId xmlns:a16="http://schemas.microsoft.com/office/drawing/2014/main" id="{ACD7C921-3C60-1EED-ED60-27921A09F8CE}"/>
                  </a:ext>
                </a:extLst>
              </p:cNvPr>
              <p:cNvSpPr/>
              <p:nvPr/>
            </p:nvSpPr>
            <p:spPr>
              <a:xfrm>
                <a:off x="10092159" y="1815192"/>
                <a:ext cx="802800" cy="327600"/>
              </a:xfrm>
              <a:prstGeom prst="rect">
                <a:avLst/>
              </a:prstGeom>
              <a:solidFill>
                <a:schemeClr val="accent1"/>
              </a:solidFill>
              <a:ln w="952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GB" sz="105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59" name="TextBox 458">
                <a:extLst>
                  <a:ext uri="{FF2B5EF4-FFF2-40B4-BE49-F238E27FC236}">
                    <a16:creationId xmlns:a16="http://schemas.microsoft.com/office/drawing/2014/main" id="{785C5D3B-6E44-8E96-41F6-B0734D350FAF}"/>
                  </a:ext>
                </a:extLst>
              </p:cNvPr>
              <p:cNvSpPr txBox="1"/>
              <p:nvPr/>
            </p:nvSpPr>
            <p:spPr>
              <a:xfrm>
                <a:off x="10873187" y="1828309"/>
                <a:ext cx="447131" cy="338555"/>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rPr>
                  <a:t>46</a:t>
                </a:r>
                <a:endParaRPr kumimoji="0" lang="en-GB" sz="1050" b="1" i="0" u="none" strike="noStrike" kern="1200" cap="none" spc="0" normalizeH="0" baseline="30000" noProof="0">
                  <a:ln>
                    <a:noFill/>
                  </a:ln>
                  <a:solidFill>
                    <a:srgbClr val="595454"/>
                  </a:solidFill>
                  <a:effectLst/>
                  <a:uLnTx/>
                  <a:uFillTx/>
                  <a:latin typeface="Arial" panose="020B0604020202020204" pitchFamily="34" charset="0"/>
                  <a:ea typeface="+mn-ea"/>
                  <a:cs typeface="Arial" panose="020B0604020202020204" pitchFamily="34" charset="0"/>
                </a:endParaRPr>
              </a:p>
            </p:txBody>
          </p:sp>
        </p:grpSp>
        <p:grpSp>
          <p:nvGrpSpPr>
            <p:cNvPr id="460" name="Group 459">
              <a:extLst>
                <a:ext uri="{FF2B5EF4-FFF2-40B4-BE49-F238E27FC236}">
                  <a16:creationId xmlns:a16="http://schemas.microsoft.com/office/drawing/2014/main" id="{BADF8D3A-6DC2-348E-7526-6B06128F9F6E}"/>
                </a:ext>
              </a:extLst>
            </p:cNvPr>
            <p:cNvGrpSpPr/>
            <p:nvPr/>
          </p:nvGrpSpPr>
          <p:grpSpPr>
            <a:xfrm>
              <a:off x="8206445" y="4041349"/>
              <a:ext cx="2060327" cy="253916"/>
              <a:chOff x="8909922" y="2260968"/>
              <a:chExt cx="2747102" cy="338554"/>
            </a:xfrm>
          </p:grpSpPr>
          <p:sp>
            <p:nvSpPr>
              <p:cNvPr id="461" name="TextBox 460">
                <a:extLst>
                  <a:ext uri="{FF2B5EF4-FFF2-40B4-BE49-F238E27FC236}">
                    <a16:creationId xmlns:a16="http://schemas.microsoft.com/office/drawing/2014/main" id="{33C454D1-E050-C18C-87A8-EFA169A466B2}"/>
                  </a:ext>
                </a:extLst>
              </p:cNvPr>
              <p:cNvSpPr txBox="1"/>
              <p:nvPr/>
            </p:nvSpPr>
            <p:spPr bwMode="auto">
              <a:xfrm>
                <a:off x="8909922" y="2298057"/>
                <a:ext cx="1044000" cy="289753"/>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825"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Median PFS</a:t>
                </a:r>
              </a:p>
            </p:txBody>
          </p:sp>
          <p:sp>
            <p:nvSpPr>
              <p:cNvPr id="463" name="TextBox 462">
                <a:extLst>
                  <a:ext uri="{FF2B5EF4-FFF2-40B4-BE49-F238E27FC236}">
                    <a16:creationId xmlns:a16="http://schemas.microsoft.com/office/drawing/2014/main" id="{5D23C0F1-A4B7-E117-5251-47DF74C0BF0A}"/>
                  </a:ext>
                </a:extLst>
              </p:cNvPr>
              <p:cNvSpPr txBox="1"/>
              <p:nvPr/>
            </p:nvSpPr>
            <p:spPr>
              <a:xfrm>
                <a:off x="10372057" y="2260968"/>
                <a:ext cx="1284967" cy="338554"/>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Not reached</a:t>
                </a:r>
                <a:endParaRPr kumimoji="0" lang="en-GB" sz="1050" b="1" i="0" u="none" strike="noStrike" kern="1200" cap="none" spc="0" normalizeH="0" baseline="30000" noProof="0">
                  <a:ln>
                    <a:noFill/>
                  </a:ln>
                  <a:solidFill>
                    <a:srgbClr val="4472C4"/>
                  </a:solidFill>
                  <a:effectLst/>
                  <a:uLnTx/>
                  <a:uFillTx/>
                  <a:latin typeface="Arial" panose="020B0604020202020204" pitchFamily="34" charset="0"/>
                  <a:ea typeface="+mn-ea"/>
                  <a:cs typeface="Arial" panose="020B0604020202020204" pitchFamily="34" charset="0"/>
                </a:endParaRPr>
              </a:p>
            </p:txBody>
          </p:sp>
        </p:grpSp>
        <p:grpSp>
          <p:nvGrpSpPr>
            <p:cNvPr id="464" name="Group 463">
              <a:extLst>
                <a:ext uri="{FF2B5EF4-FFF2-40B4-BE49-F238E27FC236}">
                  <a16:creationId xmlns:a16="http://schemas.microsoft.com/office/drawing/2014/main" id="{8C675EF6-B258-B072-BAC3-DD672DDA190B}"/>
                </a:ext>
              </a:extLst>
            </p:cNvPr>
            <p:cNvGrpSpPr/>
            <p:nvPr/>
          </p:nvGrpSpPr>
          <p:grpSpPr>
            <a:xfrm>
              <a:off x="8206441" y="3686969"/>
              <a:ext cx="1877221" cy="256220"/>
              <a:chOff x="8909922" y="2273110"/>
              <a:chExt cx="2502961" cy="341626"/>
            </a:xfrm>
          </p:grpSpPr>
          <p:sp>
            <p:nvSpPr>
              <p:cNvPr id="465" name="TextBox 464">
                <a:extLst>
                  <a:ext uri="{FF2B5EF4-FFF2-40B4-BE49-F238E27FC236}">
                    <a16:creationId xmlns:a16="http://schemas.microsoft.com/office/drawing/2014/main" id="{9A413506-1A90-F7C2-7B76-550B85F68D38}"/>
                  </a:ext>
                </a:extLst>
              </p:cNvPr>
              <p:cNvSpPr txBox="1"/>
              <p:nvPr/>
            </p:nvSpPr>
            <p:spPr bwMode="auto">
              <a:xfrm>
                <a:off x="8909922" y="2298057"/>
                <a:ext cx="1044000" cy="289753"/>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825" b="1" i="0" u="none" strike="noStrike" kern="0" cap="none" spc="0" normalizeH="0" baseline="0" noProof="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36-mo PFS, %</a:t>
                </a:r>
              </a:p>
            </p:txBody>
          </p:sp>
          <p:sp>
            <p:nvSpPr>
              <p:cNvPr id="467" name="Rectangle 466">
                <a:extLst>
                  <a:ext uri="{FF2B5EF4-FFF2-40B4-BE49-F238E27FC236}">
                    <a16:creationId xmlns:a16="http://schemas.microsoft.com/office/drawing/2014/main" id="{1ED0BB02-D238-DECA-2E84-924EDF792A3B}"/>
                  </a:ext>
                </a:extLst>
              </p:cNvPr>
              <p:cNvSpPr/>
              <p:nvPr/>
            </p:nvSpPr>
            <p:spPr>
              <a:xfrm>
                <a:off x="10092159" y="2273110"/>
                <a:ext cx="889200" cy="327600"/>
              </a:xfrm>
              <a:prstGeom prst="rect">
                <a:avLst/>
              </a:prstGeom>
              <a:solidFill>
                <a:schemeClr val="accent1"/>
              </a:solidFill>
              <a:ln w="1587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GB" sz="105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68" name="TextBox 467">
                <a:extLst>
                  <a:ext uri="{FF2B5EF4-FFF2-40B4-BE49-F238E27FC236}">
                    <a16:creationId xmlns:a16="http://schemas.microsoft.com/office/drawing/2014/main" id="{B6214381-CA8B-9642-CB9C-CE38EAB1A94A}"/>
                  </a:ext>
                </a:extLst>
              </p:cNvPr>
              <p:cNvSpPr txBox="1"/>
              <p:nvPr/>
            </p:nvSpPr>
            <p:spPr>
              <a:xfrm>
                <a:off x="10965752" y="2276181"/>
                <a:ext cx="447131" cy="338555"/>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rPr>
                  <a:t>51</a:t>
                </a:r>
                <a:endParaRPr kumimoji="0" lang="en-GB" sz="1050" b="1" i="0" u="none" strike="noStrike" kern="1200" cap="none" spc="0" normalizeH="0" baseline="30000" noProof="0">
                  <a:ln>
                    <a:noFill/>
                  </a:ln>
                  <a:solidFill>
                    <a:srgbClr val="595454"/>
                  </a:solidFill>
                  <a:effectLst/>
                  <a:uLnTx/>
                  <a:uFillTx/>
                  <a:latin typeface="Arial" panose="020B0604020202020204" pitchFamily="34" charset="0"/>
                  <a:ea typeface="+mn-ea"/>
                  <a:cs typeface="Arial" panose="020B0604020202020204" pitchFamily="34" charset="0"/>
                </a:endParaRPr>
              </a:p>
            </p:txBody>
          </p:sp>
        </p:grpSp>
        <p:grpSp>
          <p:nvGrpSpPr>
            <p:cNvPr id="469" name="Group 468">
              <a:extLst>
                <a:ext uri="{FF2B5EF4-FFF2-40B4-BE49-F238E27FC236}">
                  <a16:creationId xmlns:a16="http://schemas.microsoft.com/office/drawing/2014/main" id="{6F9F6A8C-DFE4-BF0C-FFA9-8B5E5D1BEA89}"/>
                </a:ext>
              </a:extLst>
            </p:cNvPr>
            <p:cNvGrpSpPr/>
            <p:nvPr/>
          </p:nvGrpSpPr>
          <p:grpSpPr>
            <a:xfrm>
              <a:off x="8206442" y="2596507"/>
              <a:ext cx="2161755" cy="256220"/>
              <a:chOff x="8909922" y="2273110"/>
              <a:chExt cx="2882340" cy="341626"/>
            </a:xfrm>
          </p:grpSpPr>
          <p:sp>
            <p:nvSpPr>
              <p:cNvPr id="470" name="TextBox 469">
                <a:extLst>
                  <a:ext uri="{FF2B5EF4-FFF2-40B4-BE49-F238E27FC236}">
                    <a16:creationId xmlns:a16="http://schemas.microsoft.com/office/drawing/2014/main" id="{58CC2BB8-D7E0-9E29-1BC4-E9F808D35CAE}"/>
                  </a:ext>
                </a:extLst>
              </p:cNvPr>
              <p:cNvSpPr txBox="1"/>
              <p:nvPr/>
            </p:nvSpPr>
            <p:spPr bwMode="auto">
              <a:xfrm>
                <a:off x="8909922" y="2298057"/>
                <a:ext cx="1044000" cy="289753"/>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825" b="1" i="0" u="none" strike="noStrike" kern="0" cap="none" spc="0" normalizeH="0" baseline="0" noProof="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CRR, %</a:t>
                </a:r>
              </a:p>
            </p:txBody>
          </p:sp>
          <p:sp>
            <p:nvSpPr>
              <p:cNvPr id="473" name="Rectangle 472">
                <a:extLst>
                  <a:ext uri="{FF2B5EF4-FFF2-40B4-BE49-F238E27FC236}">
                    <a16:creationId xmlns:a16="http://schemas.microsoft.com/office/drawing/2014/main" id="{844C5489-FFD8-BEF2-FB8E-481AD32909F6}"/>
                  </a:ext>
                </a:extLst>
              </p:cNvPr>
              <p:cNvSpPr/>
              <p:nvPr/>
            </p:nvSpPr>
            <p:spPr>
              <a:xfrm>
                <a:off x="10092159" y="2273110"/>
                <a:ext cx="1292400" cy="327600"/>
              </a:xfrm>
              <a:prstGeom prst="rect">
                <a:avLst/>
              </a:prstGeom>
              <a:solidFill>
                <a:schemeClr val="accent1"/>
              </a:solidFill>
              <a:ln w="1587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GB" sz="105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74" name="TextBox 473">
                <a:extLst>
                  <a:ext uri="{FF2B5EF4-FFF2-40B4-BE49-F238E27FC236}">
                    <a16:creationId xmlns:a16="http://schemas.microsoft.com/office/drawing/2014/main" id="{1673C227-7D39-0697-6F22-A97F706C8EE1}"/>
                  </a:ext>
                </a:extLst>
              </p:cNvPr>
              <p:cNvSpPr txBox="1"/>
              <p:nvPr/>
            </p:nvSpPr>
            <p:spPr>
              <a:xfrm>
                <a:off x="11345131" y="2276181"/>
                <a:ext cx="447131" cy="338555"/>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rPr>
                  <a:t>74</a:t>
                </a:r>
                <a:endParaRPr kumimoji="0" lang="en-GB" sz="1050" b="1" i="0" u="none" strike="noStrike" kern="1200" cap="none" spc="0" normalizeH="0" baseline="30000" noProof="0">
                  <a:ln>
                    <a:noFill/>
                  </a:ln>
                  <a:solidFill>
                    <a:srgbClr val="595454"/>
                  </a:solidFill>
                  <a:effectLst/>
                  <a:uLnTx/>
                  <a:uFillTx/>
                  <a:latin typeface="Arial" panose="020B0604020202020204" pitchFamily="34" charset="0"/>
                  <a:ea typeface="+mn-ea"/>
                  <a:cs typeface="Arial" panose="020B0604020202020204" pitchFamily="34" charset="0"/>
                </a:endParaRPr>
              </a:p>
            </p:txBody>
          </p:sp>
        </p:grpSp>
        <p:grpSp>
          <p:nvGrpSpPr>
            <p:cNvPr id="475" name="Group 474">
              <a:extLst>
                <a:ext uri="{FF2B5EF4-FFF2-40B4-BE49-F238E27FC236}">
                  <a16:creationId xmlns:a16="http://schemas.microsoft.com/office/drawing/2014/main" id="{C2C7C386-5733-D0FB-6270-8D255FD8229A}"/>
                </a:ext>
              </a:extLst>
            </p:cNvPr>
            <p:cNvGrpSpPr/>
            <p:nvPr/>
          </p:nvGrpSpPr>
          <p:grpSpPr>
            <a:xfrm>
              <a:off x="8206442" y="2233016"/>
              <a:ext cx="2325795" cy="263754"/>
              <a:chOff x="8909922" y="1815192"/>
              <a:chExt cx="3101060" cy="351672"/>
            </a:xfrm>
          </p:grpSpPr>
          <p:sp>
            <p:nvSpPr>
              <p:cNvPr id="476" name="TextBox 475">
                <a:extLst>
                  <a:ext uri="{FF2B5EF4-FFF2-40B4-BE49-F238E27FC236}">
                    <a16:creationId xmlns:a16="http://schemas.microsoft.com/office/drawing/2014/main" id="{6609B6CB-D29A-9534-B346-B1B5E9760057}"/>
                  </a:ext>
                </a:extLst>
              </p:cNvPr>
              <p:cNvSpPr txBox="1"/>
              <p:nvPr/>
            </p:nvSpPr>
            <p:spPr bwMode="auto">
              <a:xfrm>
                <a:off x="8909922" y="1848916"/>
                <a:ext cx="1044000" cy="289753"/>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825" b="1" i="0" u="none" strike="noStrike" kern="0" cap="none" spc="0" normalizeH="0" baseline="0" noProof="0">
                    <a:ln>
                      <a:noFill/>
                    </a:ln>
                    <a:solidFill>
                      <a:srgbClr val="000000">
                        <a:lumMod val="75000"/>
                        <a:lumOff val="25000"/>
                      </a:srgbClr>
                    </a:solidFill>
                    <a:effectLst/>
                    <a:uLnTx/>
                    <a:uFillTx/>
                    <a:latin typeface="Arial" panose="020B0604020202020204" pitchFamily="34" charset="0"/>
                    <a:ea typeface="MS PGothic" panose="020B0600070205080204" pitchFamily="34" charset="-128"/>
                    <a:cs typeface="Arial" panose="020B0604020202020204" pitchFamily="34" charset="0"/>
                  </a:rPr>
                  <a:t>ORR, %</a:t>
                </a:r>
              </a:p>
            </p:txBody>
          </p:sp>
          <p:sp>
            <p:nvSpPr>
              <p:cNvPr id="478" name="Rectangle 477">
                <a:extLst>
                  <a:ext uri="{FF2B5EF4-FFF2-40B4-BE49-F238E27FC236}">
                    <a16:creationId xmlns:a16="http://schemas.microsoft.com/office/drawing/2014/main" id="{7CB523B0-2F4C-8E31-4493-27BD539FFF34}"/>
                  </a:ext>
                </a:extLst>
              </p:cNvPr>
              <p:cNvSpPr/>
              <p:nvPr/>
            </p:nvSpPr>
            <p:spPr>
              <a:xfrm>
                <a:off x="10092159" y="1815192"/>
                <a:ext cx="1519200" cy="327600"/>
              </a:xfrm>
              <a:prstGeom prst="rect">
                <a:avLst/>
              </a:prstGeom>
              <a:solidFill>
                <a:schemeClr val="accent1"/>
              </a:solidFill>
              <a:ln w="952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GB" sz="105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79" name="TextBox 478">
                <a:extLst>
                  <a:ext uri="{FF2B5EF4-FFF2-40B4-BE49-F238E27FC236}">
                    <a16:creationId xmlns:a16="http://schemas.microsoft.com/office/drawing/2014/main" id="{77405456-9BDD-78B3-A754-004C45A8D63C}"/>
                  </a:ext>
                </a:extLst>
              </p:cNvPr>
              <p:cNvSpPr txBox="1"/>
              <p:nvPr/>
            </p:nvSpPr>
            <p:spPr>
              <a:xfrm>
                <a:off x="11563851" y="1828309"/>
                <a:ext cx="447131" cy="338555"/>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rPr>
                  <a:t>87</a:t>
                </a:r>
                <a:endParaRPr kumimoji="0" lang="en-GB" sz="1050" b="1" i="0" u="none" strike="noStrike" kern="1200" cap="none" spc="0" normalizeH="0" baseline="30000" noProof="0">
                  <a:ln>
                    <a:noFill/>
                  </a:ln>
                  <a:solidFill>
                    <a:srgbClr val="595454"/>
                  </a:solidFill>
                  <a:effectLst/>
                  <a:uLnTx/>
                  <a:uFillTx/>
                  <a:latin typeface="Arial" panose="020B0604020202020204" pitchFamily="34" charset="0"/>
                  <a:ea typeface="+mn-ea"/>
                  <a:cs typeface="Arial" panose="020B0604020202020204" pitchFamily="34" charset="0"/>
                </a:endParaRPr>
              </a:p>
            </p:txBody>
          </p:sp>
        </p:grpSp>
        <p:sp>
          <p:nvSpPr>
            <p:cNvPr id="480" name="Shape 935">
              <a:extLst>
                <a:ext uri="{FF2B5EF4-FFF2-40B4-BE49-F238E27FC236}">
                  <a16:creationId xmlns:a16="http://schemas.microsoft.com/office/drawing/2014/main" id="{4E4CA808-3188-81F1-5C7D-9F9CD6D46513}"/>
                </a:ext>
              </a:extLst>
            </p:cNvPr>
            <p:cNvSpPr>
              <a:spLocks noChangeArrowheads="1"/>
            </p:cNvSpPr>
            <p:nvPr/>
          </p:nvSpPr>
          <p:spPr bwMode="auto">
            <a:xfrm>
              <a:off x="8510896" y="4534323"/>
              <a:ext cx="135000" cy="135000"/>
            </a:xfrm>
            <a:prstGeom prst="rect">
              <a:avLst/>
            </a:prstGeom>
            <a:solidFill>
              <a:schemeClr val="accent1"/>
            </a:solidFill>
            <a:ln>
              <a:noFill/>
            </a:ln>
          </p:spPr>
          <p:txBody>
            <a:bodyPr lIns="34289" tIns="34289" rIns="34289" bIns="34289"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altLang="en-US" sz="825"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81" name="TextBox 480">
              <a:extLst>
                <a:ext uri="{FF2B5EF4-FFF2-40B4-BE49-F238E27FC236}">
                  <a16:creationId xmlns:a16="http://schemas.microsoft.com/office/drawing/2014/main" id="{CD9930EE-8538-C3C9-E282-C5C908D4C3ED}"/>
                </a:ext>
              </a:extLst>
            </p:cNvPr>
            <p:cNvSpPr txBox="1"/>
            <p:nvPr/>
          </p:nvSpPr>
          <p:spPr bwMode="auto">
            <a:xfrm>
              <a:off x="8748825" y="4514116"/>
              <a:ext cx="1323000" cy="230833"/>
            </a:xfrm>
            <a:prstGeom prst="rect">
              <a:avLst/>
            </a:prstGeom>
            <a:noFill/>
          </p:spPr>
          <p:txBody>
            <a:bodyPr lIns="0" tIns="0" rIns="0" bIns="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Significant improvement with liso-cel vs. SOC</a:t>
              </a:r>
            </a:p>
          </p:txBody>
        </p:sp>
        <p:sp>
          <p:nvSpPr>
            <p:cNvPr id="482" name="TextBox 481">
              <a:extLst>
                <a:ext uri="{FF2B5EF4-FFF2-40B4-BE49-F238E27FC236}">
                  <a16:creationId xmlns:a16="http://schemas.microsoft.com/office/drawing/2014/main" id="{EAA116B7-7AA1-486E-8F56-C60A04A02A19}"/>
                </a:ext>
              </a:extLst>
            </p:cNvPr>
            <p:cNvSpPr txBox="1"/>
            <p:nvPr/>
          </p:nvSpPr>
          <p:spPr>
            <a:xfrm>
              <a:off x="1625256" y="3830342"/>
              <a:ext cx="1709122" cy="253916"/>
            </a:xfrm>
            <a:prstGeom prst="rect">
              <a:avLst/>
            </a:prstGeom>
            <a:noFill/>
          </p:spPr>
          <p:txBody>
            <a:bodyPr wrap="non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imary refractory: </a:t>
              </a:r>
              <a:r>
                <a:rPr kumimoji="0" lang="en-US" sz="105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73%</a:t>
              </a:r>
            </a:p>
          </p:txBody>
        </p:sp>
        <p:sp>
          <p:nvSpPr>
            <p:cNvPr id="483" name="TextBox 482">
              <a:extLst>
                <a:ext uri="{FF2B5EF4-FFF2-40B4-BE49-F238E27FC236}">
                  <a16:creationId xmlns:a16="http://schemas.microsoft.com/office/drawing/2014/main" id="{4028494D-C8B3-E28B-0D16-13647A50B96C}"/>
                </a:ext>
              </a:extLst>
            </p:cNvPr>
            <p:cNvSpPr txBox="1"/>
            <p:nvPr/>
          </p:nvSpPr>
          <p:spPr>
            <a:xfrm>
              <a:off x="1923416" y="4059140"/>
              <a:ext cx="1112805" cy="253916"/>
            </a:xfrm>
            <a:prstGeom prst="rect">
              <a:avLst/>
            </a:prstGeom>
            <a:noFill/>
          </p:spPr>
          <p:txBody>
            <a:bodyPr wrap="non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HL/THL: </a:t>
              </a:r>
              <a:r>
                <a:rPr kumimoji="0" lang="en-US" sz="1050" b="1" i="0" u="none" strike="noStrike" kern="120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24%</a:t>
              </a:r>
              <a:endParaRPr kumimoji="0" lang="en-GB" sz="1050" b="0" i="0" u="none" strike="noStrike" kern="120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endParaRPr>
            </a:p>
          </p:txBody>
        </p:sp>
        <p:sp>
          <p:nvSpPr>
            <p:cNvPr id="484" name="TextBox 483">
              <a:extLst>
                <a:ext uri="{FF2B5EF4-FFF2-40B4-BE49-F238E27FC236}">
                  <a16:creationId xmlns:a16="http://schemas.microsoft.com/office/drawing/2014/main" id="{AAD29141-59DF-39D8-A805-A84964A7CAE1}"/>
                </a:ext>
              </a:extLst>
            </p:cNvPr>
            <p:cNvSpPr txBox="1"/>
            <p:nvPr/>
          </p:nvSpPr>
          <p:spPr>
            <a:xfrm>
              <a:off x="2133410" y="3601543"/>
              <a:ext cx="692818" cy="253916"/>
            </a:xfrm>
            <a:prstGeom prst="rect">
              <a:avLst/>
            </a:prstGeom>
            <a:noFill/>
          </p:spPr>
          <p:txBody>
            <a:bodyPr wrap="non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Liso-cel</a:t>
              </a:r>
            </a:p>
          </p:txBody>
        </p:sp>
        <p:sp>
          <p:nvSpPr>
            <p:cNvPr id="4" name="Speech Bubble: Rectangle 890">
              <a:extLst>
                <a:ext uri="{FF2B5EF4-FFF2-40B4-BE49-F238E27FC236}">
                  <a16:creationId xmlns:a16="http://schemas.microsoft.com/office/drawing/2014/main" id="{7DEF8EB1-D04E-4F4E-EBAA-C9BF63D311CA}"/>
                </a:ext>
              </a:extLst>
            </p:cNvPr>
            <p:cNvSpPr/>
            <p:nvPr/>
          </p:nvSpPr>
          <p:spPr>
            <a:xfrm>
              <a:off x="4910600" y="2130288"/>
              <a:ext cx="939600" cy="432220"/>
            </a:xfrm>
            <a:prstGeom prst="wedgeRectCallout">
              <a:avLst>
                <a:gd name="adj1" fmla="val 22960"/>
                <a:gd name="adj2" fmla="val 65294"/>
              </a:avLst>
            </a:prstGeom>
            <a:solidFill>
              <a:schemeClr val="accent1">
                <a:lumMod val="20000"/>
                <a:lumOff val="80000"/>
              </a:schemeClr>
            </a:solidFill>
            <a:ln w="25400" cap="flat" cmpd="sng" algn="ctr">
              <a:noFill/>
              <a:prstDash val="solid"/>
            </a:ln>
            <a:effectLst/>
          </p:spPr>
          <p:txBody>
            <a:bodyPr wrap="square" lIns="81000" tIns="54000" rIns="54000" bIns="54000" rtlCol="0" anchor="ctr">
              <a:spAutoFit/>
            </a:bodyPr>
            <a:lstStyle/>
            <a:p>
              <a:pPr marL="0" marR="0" lvl="0" indent="0" algn="l" defTabSz="342900" rtl="0" eaLnBrk="1" fontAlgn="ctr"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NR</a:t>
              </a:r>
            </a:p>
            <a:p>
              <a:pPr marL="0" marR="0" lvl="0" indent="0" algn="l" defTabSz="342900" rtl="0" eaLnBrk="1" fontAlgn="ctr" latinLnBrk="0" hangingPunct="1">
                <a:lnSpc>
                  <a:spcPct val="100000"/>
                </a:lnSpc>
                <a:spcBef>
                  <a:spcPct val="0"/>
                </a:spcBef>
                <a:spcAft>
                  <a:spcPct val="0"/>
                </a:spcAft>
                <a:buClrTx/>
                <a:buSzTx/>
                <a:buFontTx/>
                <a:buNone/>
                <a:tabLst/>
                <a:defRPr/>
              </a:pPr>
              <a:r>
                <a:rPr kumimoji="0" lang="en-GB" sz="900" b="0" i="0" u="none" strike="noStrike" kern="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Median OS</a:t>
              </a:r>
            </a:p>
          </p:txBody>
        </p:sp>
        <p:sp>
          <p:nvSpPr>
            <p:cNvPr id="485" name="Speech Bubble: Rectangle 890">
              <a:extLst>
                <a:ext uri="{FF2B5EF4-FFF2-40B4-BE49-F238E27FC236}">
                  <a16:creationId xmlns:a16="http://schemas.microsoft.com/office/drawing/2014/main" id="{2A401823-48A7-208F-F325-A1BA39D00017}"/>
                </a:ext>
              </a:extLst>
            </p:cNvPr>
            <p:cNvSpPr/>
            <p:nvPr/>
          </p:nvSpPr>
          <p:spPr>
            <a:xfrm>
              <a:off x="6370500" y="2243130"/>
              <a:ext cx="970628" cy="432220"/>
            </a:xfrm>
            <a:prstGeom prst="wedgeRectCallout">
              <a:avLst>
                <a:gd name="adj1" fmla="val -45680"/>
                <a:gd name="adj2" fmla="val 92093"/>
              </a:avLst>
            </a:prstGeom>
            <a:solidFill>
              <a:schemeClr val="accent1">
                <a:lumMod val="20000"/>
                <a:lumOff val="80000"/>
              </a:schemeClr>
            </a:solidFill>
            <a:ln w="25400" cap="flat" cmpd="sng" algn="ctr">
              <a:noFill/>
              <a:prstDash val="solid"/>
            </a:ln>
            <a:effectLst/>
          </p:spPr>
          <p:txBody>
            <a:bodyPr wrap="square" lIns="81000" tIns="54000" rIns="54000" bIns="54000" rtlCol="0" anchor="ctr">
              <a:spAutoFit/>
            </a:bodyPr>
            <a:lstStyle/>
            <a:p>
              <a:pPr marL="0" marR="0" lvl="0" indent="0" algn="l" defTabSz="342900" rtl="0" eaLnBrk="1" fontAlgn="ctr"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62.8%</a:t>
              </a:r>
            </a:p>
            <a:p>
              <a:pPr marL="0" marR="0" lvl="0" indent="0" algn="l" defTabSz="342900" rtl="0" eaLnBrk="1" fontAlgn="ctr" latinLnBrk="0" hangingPunct="1">
                <a:lnSpc>
                  <a:spcPct val="100000"/>
                </a:lnSpc>
                <a:spcBef>
                  <a:spcPct val="0"/>
                </a:spcBef>
                <a:spcAft>
                  <a:spcPct val="0"/>
                </a:spcAft>
                <a:buClrTx/>
                <a:buSzTx/>
                <a:buFontTx/>
                <a:buNone/>
                <a:tabLst/>
                <a:defRPr/>
              </a:pPr>
              <a:r>
                <a:rPr kumimoji="0" lang="en-GB" sz="900" b="0" i="0" u="none" strike="noStrike" kern="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36-Month OS </a:t>
              </a:r>
            </a:p>
          </p:txBody>
        </p:sp>
        <p:sp>
          <p:nvSpPr>
            <p:cNvPr id="486" name="Speech Bubble: Rectangle 890">
              <a:extLst>
                <a:ext uri="{FF2B5EF4-FFF2-40B4-BE49-F238E27FC236}">
                  <a16:creationId xmlns:a16="http://schemas.microsoft.com/office/drawing/2014/main" id="{6E96BE6D-E60F-51CD-926C-372DC486BD45}"/>
                </a:ext>
              </a:extLst>
            </p:cNvPr>
            <p:cNvSpPr/>
            <p:nvPr/>
          </p:nvSpPr>
          <p:spPr>
            <a:xfrm>
              <a:off x="4751693" y="3308162"/>
              <a:ext cx="939600" cy="432220"/>
            </a:xfrm>
            <a:prstGeom prst="wedgeRectCallout">
              <a:avLst>
                <a:gd name="adj1" fmla="val 35733"/>
                <a:gd name="adj2" fmla="val -71597"/>
              </a:avLst>
            </a:prstGeom>
            <a:solidFill>
              <a:sysClr val="window" lastClr="FFFFFF">
                <a:lumMod val="95000"/>
              </a:sysClr>
            </a:solidFill>
            <a:ln w="25400" cap="flat" cmpd="sng" algn="ctr">
              <a:noFill/>
              <a:prstDash val="solid"/>
            </a:ln>
            <a:effectLst/>
          </p:spPr>
          <p:txBody>
            <a:bodyPr wrap="square" lIns="81000" tIns="54000" rIns="54000" bIns="54000" rtlCol="0" anchor="ctr">
              <a:spAutoFit/>
            </a:bodyPr>
            <a:lstStyle/>
            <a:p>
              <a:pPr marL="0" marR="0" lvl="0" indent="0" algn="l" defTabSz="685800" rtl="0" eaLnBrk="1" fontAlgn="ctr"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R</a:t>
              </a:r>
            </a:p>
            <a:p>
              <a:pPr marL="0" marR="0" lvl="0" indent="0" algn="l" defTabSz="685800" rtl="0" eaLnBrk="1" fontAlgn="ctr"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edian OS</a:t>
              </a:r>
            </a:p>
          </p:txBody>
        </p:sp>
        <p:sp>
          <p:nvSpPr>
            <p:cNvPr id="487" name="Speech Bubble: Rectangle 890">
              <a:extLst>
                <a:ext uri="{FF2B5EF4-FFF2-40B4-BE49-F238E27FC236}">
                  <a16:creationId xmlns:a16="http://schemas.microsoft.com/office/drawing/2014/main" id="{8E2A60A3-2944-69B1-8DB0-B879605C3927}"/>
                </a:ext>
              </a:extLst>
            </p:cNvPr>
            <p:cNvSpPr/>
            <p:nvPr/>
          </p:nvSpPr>
          <p:spPr>
            <a:xfrm>
              <a:off x="6298603" y="3417398"/>
              <a:ext cx="939600" cy="432220"/>
            </a:xfrm>
            <a:prstGeom prst="wedgeRectCallout">
              <a:avLst>
                <a:gd name="adj1" fmla="val -37243"/>
                <a:gd name="adj2" fmla="val -96205"/>
              </a:avLst>
            </a:prstGeom>
            <a:solidFill>
              <a:sysClr val="window" lastClr="FFFFFF">
                <a:lumMod val="95000"/>
              </a:sysClr>
            </a:solidFill>
            <a:ln w="25400" cap="flat" cmpd="sng" algn="ctr">
              <a:noFill/>
              <a:prstDash val="solid"/>
            </a:ln>
            <a:effectLst/>
          </p:spPr>
          <p:txBody>
            <a:bodyPr wrap="square" lIns="81000" tIns="54000" rIns="54000" bIns="54000" rtlCol="0" anchor="ctr">
              <a:spAutoFit/>
            </a:bodyPr>
            <a:lstStyle/>
            <a:p>
              <a:pPr marL="0" marR="0" lvl="0" indent="0" algn="l" defTabSz="685800" rtl="0" eaLnBrk="1" fontAlgn="ctr"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51.8%</a:t>
              </a:r>
            </a:p>
            <a:p>
              <a:pPr marL="0" marR="0" lvl="0" indent="0" algn="l" defTabSz="685800" rtl="0" eaLnBrk="1" fontAlgn="ctr"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36-Month OS </a:t>
              </a:r>
            </a:p>
          </p:txBody>
        </p:sp>
        <p:sp>
          <p:nvSpPr>
            <p:cNvPr id="488" name="TextBox 487">
              <a:extLst>
                <a:ext uri="{FF2B5EF4-FFF2-40B4-BE49-F238E27FC236}">
                  <a16:creationId xmlns:a16="http://schemas.microsoft.com/office/drawing/2014/main" id="{2264C187-A29F-44C8-C157-F453176128C4}"/>
                </a:ext>
              </a:extLst>
            </p:cNvPr>
            <p:cNvSpPr txBox="1"/>
            <p:nvPr/>
          </p:nvSpPr>
          <p:spPr>
            <a:xfrm>
              <a:off x="3610986" y="2045732"/>
              <a:ext cx="241379" cy="180557"/>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100</a:t>
              </a:r>
            </a:p>
          </p:txBody>
        </p:sp>
        <p:sp>
          <p:nvSpPr>
            <p:cNvPr id="489" name="TextBox 488">
              <a:extLst>
                <a:ext uri="{FF2B5EF4-FFF2-40B4-BE49-F238E27FC236}">
                  <a16:creationId xmlns:a16="http://schemas.microsoft.com/office/drawing/2014/main" id="{156ADF64-2831-675A-D5AC-98364B117EC2}"/>
                </a:ext>
              </a:extLst>
            </p:cNvPr>
            <p:cNvSpPr txBox="1"/>
            <p:nvPr/>
          </p:nvSpPr>
          <p:spPr>
            <a:xfrm>
              <a:off x="3702002" y="4123850"/>
              <a:ext cx="150362" cy="180557"/>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0</a:t>
              </a:r>
            </a:p>
          </p:txBody>
        </p:sp>
        <p:sp>
          <p:nvSpPr>
            <p:cNvPr id="490" name="TextBox 489">
              <a:extLst>
                <a:ext uri="{FF2B5EF4-FFF2-40B4-BE49-F238E27FC236}">
                  <a16:creationId xmlns:a16="http://schemas.microsoft.com/office/drawing/2014/main" id="{EBCA854F-539D-759B-E5AE-4B1B4B822C2D}"/>
                </a:ext>
              </a:extLst>
            </p:cNvPr>
            <p:cNvSpPr txBox="1"/>
            <p:nvPr/>
          </p:nvSpPr>
          <p:spPr>
            <a:xfrm>
              <a:off x="3656494" y="3708228"/>
              <a:ext cx="195872" cy="180557"/>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20</a:t>
              </a:r>
            </a:p>
          </p:txBody>
        </p:sp>
        <p:sp>
          <p:nvSpPr>
            <p:cNvPr id="491" name="TextBox 490">
              <a:extLst>
                <a:ext uri="{FF2B5EF4-FFF2-40B4-BE49-F238E27FC236}">
                  <a16:creationId xmlns:a16="http://schemas.microsoft.com/office/drawing/2014/main" id="{86C20A74-258B-3CDD-E669-1C4662AD19DF}"/>
                </a:ext>
              </a:extLst>
            </p:cNvPr>
            <p:cNvSpPr txBox="1"/>
            <p:nvPr/>
          </p:nvSpPr>
          <p:spPr>
            <a:xfrm>
              <a:off x="3656494" y="3292604"/>
              <a:ext cx="195872" cy="180557"/>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40</a:t>
              </a:r>
            </a:p>
          </p:txBody>
        </p:sp>
        <p:sp>
          <p:nvSpPr>
            <p:cNvPr id="492" name="TextBox 491">
              <a:extLst>
                <a:ext uri="{FF2B5EF4-FFF2-40B4-BE49-F238E27FC236}">
                  <a16:creationId xmlns:a16="http://schemas.microsoft.com/office/drawing/2014/main" id="{6BC68F4B-4E8B-3D40-9158-395A184604B4}"/>
                </a:ext>
              </a:extLst>
            </p:cNvPr>
            <p:cNvSpPr txBox="1"/>
            <p:nvPr/>
          </p:nvSpPr>
          <p:spPr>
            <a:xfrm>
              <a:off x="3656494" y="2461356"/>
              <a:ext cx="195872" cy="180557"/>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80</a:t>
              </a:r>
            </a:p>
          </p:txBody>
        </p:sp>
        <p:sp>
          <p:nvSpPr>
            <p:cNvPr id="493" name="TextBox 492">
              <a:extLst>
                <a:ext uri="{FF2B5EF4-FFF2-40B4-BE49-F238E27FC236}">
                  <a16:creationId xmlns:a16="http://schemas.microsoft.com/office/drawing/2014/main" id="{910B5A37-5153-920B-16F4-8AB6601BD499}"/>
                </a:ext>
              </a:extLst>
            </p:cNvPr>
            <p:cNvSpPr txBox="1"/>
            <p:nvPr/>
          </p:nvSpPr>
          <p:spPr>
            <a:xfrm>
              <a:off x="3656494" y="2876980"/>
              <a:ext cx="195872" cy="180557"/>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60</a:t>
              </a:r>
            </a:p>
          </p:txBody>
        </p:sp>
        <p:sp>
          <p:nvSpPr>
            <p:cNvPr id="494" name="TextBox 493">
              <a:extLst>
                <a:ext uri="{FF2B5EF4-FFF2-40B4-BE49-F238E27FC236}">
                  <a16:creationId xmlns:a16="http://schemas.microsoft.com/office/drawing/2014/main" id="{AE63CC95-AFEE-E13D-E62C-068680B254BD}"/>
                </a:ext>
              </a:extLst>
            </p:cNvPr>
            <p:cNvSpPr txBox="1"/>
            <p:nvPr/>
          </p:nvSpPr>
          <p:spPr>
            <a:xfrm>
              <a:off x="3874845" y="4461603"/>
              <a:ext cx="3807759" cy="253916"/>
            </a:xfrm>
            <a:prstGeom prst="rect">
              <a:avLst/>
            </a:prstGeom>
            <a:noFill/>
          </p:spPr>
          <p:txBody>
            <a:bodyPr wrap="square" rtlCol="0" anchor="ctr">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Time, months</a:t>
              </a:r>
            </a:p>
          </p:txBody>
        </p:sp>
        <p:sp>
          <p:nvSpPr>
            <p:cNvPr id="495" name="Freeform: Shape 30">
              <a:extLst>
                <a:ext uri="{FF2B5EF4-FFF2-40B4-BE49-F238E27FC236}">
                  <a16:creationId xmlns:a16="http://schemas.microsoft.com/office/drawing/2014/main" id="{69DB5AEB-00A6-4187-E765-A5B1ABC219D9}"/>
                </a:ext>
              </a:extLst>
            </p:cNvPr>
            <p:cNvSpPr/>
            <p:nvPr/>
          </p:nvSpPr>
          <p:spPr>
            <a:xfrm>
              <a:off x="3951633" y="2137727"/>
              <a:ext cx="6903" cy="2087958"/>
            </a:xfrm>
            <a:custGeom>
              <a:avLst/>
              <a:gdLst>
                <a:gd name="connsiteX0" fmla="*/ 0 w 12157"/>
                <a:gd name="connsiteY0" fmla="*/ 0 h 3203210"/>
                <a:gd name="connsiteX1" fmla="*/ 0 w 12157"/>
                <a:gd name="connsiteY1" fmla="*/ 3203211 h 3203210"/>
              </a:gdLst>
              <a:ahLst/>
              <a:cxnLst>
                <a:cxn ang="0">
                  <a:pos x="connsiteX0" y="connsiteY0"/>
                </a:cxn>
                <a:cxn ang="0">
                  <a:pos x="connsiteX1" y="connsiteY1"/>
                </a:cxn>
              </a:cxnLst>
              <a:rect l="l" t="t" r="r" b="b"/>
              <a:pathLst>
                <a:path w="12157" h="3203210">
                  <a:moveTo>
                    <a:pt x="0" y="0"/>
                  </a:moveTo>
                  <a:lnTo>
                    <a:pt x="0" y="3203211"/>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6" name="Freeform: Shape 45">
              <a:extLst>
                <a:ext uri="{FF2B5EF4-FFF2-40B4-BE49-F238E27FC236}">
                  <a16:creationId xmlns:a16="http://schemas.microsoft.com/office/drawing/2014/main" id="{7FBB3D53-23C1-5ABA-AF2B-BB3527F94FBE}"/>
                </a:ext>
              </a:extLst>
            </p:cNvPr>
            <p:cNvSpPr/>
            <p:nvPr/>
          </p:nvSpPr>
          <p:spPr>
            <a:xfrm>
              <a:off x="3894745" y="4217762"/>
              <a:ext cx="47597" cy="7925"/>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7" name="Freeform: Shape 47">
              <a:extLst>
                <a:ext uri="{FF2B5EF4-FFF2-40B4-BE49-F238E27FC236}">
                  <a16:creationId xmlns:a16="http://schemas.microsoft.com/office/drawing/2014/main" id="{C46BC0B7-84A7-50A2-4271-FAFA1CB11520}"/>
                </a:ext>
              </a:extLst>
            </p:cNvPr>
            <p:cNvSpPr/>
            <p:nvPr/>
          </p:nvSpPr>
          <p:spPr>
            <a:xfrm>
              <a:off x="3894745" y="3801755"/>
              <a:ext cx="47597" cy="7925"/>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8" name="Freeform: Shape 49">
              <a:extLst>
                <a:ext uri="{FF2B5EF4-FFF2-40B4-BE49-F238E27FC236}">
                  <a16:creationId xmlns:a16="http://schemas.microsoft.com/office/drawing/2014/main" id="{26F08735-DA7D-C3C5-D35B-90A833552FD3}"/>
                </a:ext>
              </a:extLst>
            </p:cNvPr>
            <p:cNvSpPr/>
            <p:nvPr/>
          </p:nvSpPr>
          <p:spPr>
            <a:xfrm>
              <a:off x="3894745" y="3385748"/>
              <a:ext cx="47597" cy="7925"/>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9" name="Freeform: Shape 51">
              <a:extLst>
                <a:ext uri="{FF2B5EF4-FFF2-40B4-BE49-F238E27FC236}">
                  <a16:creationId xmlns:a16="http://schemas.microsoft.com/office/drawing/2014/main" id="{8E56B4B1-CAE2-4754-A158-9C1CCA093127}"/>
                </a:ext>
              </a:extLst>
            </p:cNvPr>
            <p:cNvSpPr/>
            <p:nvPr/>
          </p:nvSpPr>
          <p:spPr>
            <a:xfrm>
              <a:off x="3894745" y="2969742"/>
              <a:ext cx="47597" cy="7925"/>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0" name="Freeform: Shape 53">
              <a:extLst>
                <a:ext uri="{FF2B5EF4-FFF2-40B4-BE49-F238E27FC236}">
                  <a16:creationId xmlns:a16="http://schemas.microsoft.com/office/drawing/2014/main" id="{92BAB93A-0FDF-3896-74C9-C984A574D383}"/>
                </a:ext>
              </a:extLst>
            </p:cNvPr>
            <p:cNvSpPr/>
            <p:nvPr/>
          </p:nvSpPr>
          <p:spPr>
            <a:xfrm>
              <a:off x="3894745" y="2553735"/>
              <a:ext cx="47597" cy="7925"/>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1" name="Freeform: Shape 55">
              <a:extLst>
                <a:ext uri="{FF2B5EF4-FFF2-40B4-BE49-F238E27FC236}">
                  <a16:creationId xmlns:a16="http://schemas.microsoft.com/office/drawing/2014/main" id="{D4A44251-62B6-16AC-D0F1-AF47DBE4F300}"/>
                </a:ext>
              </a:extLst>
            </p:cNvPr>
            <p:cNvSpPr/>
            <p:nvPr/>
          </p:nvSpPr>
          <p:spPr>
            <a:xfrm>
              <a:off x="3894745" y="2137728"/>
              <a:ext cx="47597" cy="7925"/>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2" name="TextBox 501">
              <a:extLst>
                <a:ext uri="{FF2B5EF4-FFF2-40B4-BE49-F238E27FC236}">
                  <a16:creationId xmlns:a16="http://schemas.microsoft.com/office/drawing/2014/main" id="{73CF490B-67B6-779A-50E1-38DD2BC6E24B}"/>
                </a:ext>
              </a:extLst>
            </p:cNvPr>
            <p:cNvSpPr txBox="1"/>
            <p:nvPr/>
          </p:nvSpPr>
          <p:spPr>
            <a:xfrm rot="16200000">
              <a:off x="3329878" y="3057711"/>
              <a:ext cx="478310" cy="180557"/>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OS, %</a:t>
              </a:r>
            </a:p>
          </p:txBody>
        </p:sp>
        <p:cxnSp>
          <p:nvCxnSpPr>
            <p:cNvPr id="503" name="Straight Connector 502">
              <a:extLst>
                <a:ext uri="{FF2B5EF4-FFF2-40B4-BE49-F238E27FC236}">
                  <a16:creationId xmlns:a16="http://schemas.microsoft.com/office/drawing/2014/main" id="{9FB8D9F4-194A-5DBD-3C35-6882378A7DA0}"/>
                </a:ext>
              </a:extLst>
            </p:cNvPr>
            <p:cNvCxnSpPr>
              <a:cxnSpLocks/>
            </p:cNvCxnSpPr>
            <p:nvPr/>
          </p:nvCxnSpPr>
          <p:spPr>
            <a:xfrm>
              <a:off x="3966751" y="3181706"/>
              <a:ext cx="3675545" cy="0"/>
            </a:xfrm>
            <a:prstGeom prst="line">
              <a:avLst/>
            </a:prstGeom>
            <a:noFill/>
            <a:ln w="12700" cap="flat" cmpd="sng" algn="ctr">
              <a:solidFill>
                <a:srgbClr val="595454">
                  <a:lumMod val="40000"/>
                  <a:lumOff val="60000"/>
                </a:srgbClr>
              </a:solidFill>
              <a:prstDash val="dash"/>
            </a:ln>
            <a:effectLst/>
          </p:spPr>
        </p:cxnSp>
        <p:grpSp>
          <p:nvGrpSpPr>
            <p:cNvPr id="504" name="Group 503">
              <a:extLst>
                <a:ext uri="{FF2B5EF4-FFF2-40B4-BE49-F238E27FC236}">
                  <a16:creationId xmlns:a16="http://schemas.microsoft.com/office/drawing/2014/main" id="{4B29ABA8-E0DF-03F4-94DC-3D3E91ED4544}"/>
                </a:ext>
              </a:extLst>
            </p:cNvPr>
            <p:cNvGrpSpPr/>
            <p:nvPr/>
          </p:nvGrpSpPr>
          <p:grpSpPr>
            <a:xfrm>
              <a:off x="3869346" y="4225687"/>
              <a:ext cx="3807759" cy="221627"/>
              <a:chOff x="3402208" y="4602518"/>
              <a:chExt cx="5618480" cy="295502"/>
            </a:xfrm>
          </p:grpSpPr>
          <p:sp>
            <p:nvSpPr>
              <p:cNvPr id="505" name="Freeform: Shape 32">
                <a:extLst>
                  <a:ext uri="{FF2B5EF4-FFF2-40B4-BE49-F238E27FC236}">
                    <a16:creationId xmlns:a16="http://schemas.microsoft.com/office/drawing/2014/main" id="{DE736809-A085-AF05-BD2F-7503099FDB72}"/>
                  </a:ext>
                </a:extLst>
              </p:cNvPr>
              <p:cNvSpPr/>
              <p:nvPr/>
            </p:nvSpPr>
            <p:spPr>
              <a:xfrm>
                <a:off x="4120175" y="4602518"/>
                <a:ext cx="9398"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6" name="Freeform: Shape 34">
                <a:extLst>
                  <a:ext uri="{FF2B5EF4-FFF2-40B4-BE49-F238E27FC236}">
                    <a16:creationId xmlns:a16="http://schemas.microsoft.com/office/drawing/2014/main" id="{1A36A496-07C2-99A1-CBB8-9912760C7BB7}"/>
                  </a:ext>
                </a:extLst>
              </p:cNvPr>
              <p:cNvSpPr/>
              <p:nvPr/>
            </p:nvSpPr>
            <p:spPr>
              <a:xfrm>
                <a:off x="4714931" y="4602518"/>
                <a:ext cx="9398"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7" name="Freeform: Shape 36">
                <a:extLst>
                  <a:ext uri="{FF2B5EF4-FFF2-40B4-BE49-F238E27FC236}">
                    <a16:creationId xmlns:a16="http://schemas.microsoft.com/office/drawing/2014/main" id="{229265CC-FF95-791B-88F3-96BE0806A23D}"/>
                  </a:ext>
                </a:extLst>
              </p:cNvPr>
              <p:cNvSpPr/>
              <p:nvPr/>
            </p:nvSpPr>
            <p:spPr>
              <a:xfrm>
                <a:off x="5309687" y="4602518"/>
                <a:ext cx="9398"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8" name="Freeform: Shape 38">
                <a:extLst>
                  <a:ext uri="{FF2B5EF4-FFF2-40B4-BE49-F238E27FC236}">
                    <a16:creationId xmlns:a16="http://schemas.microsoft.com/office/drawing/2014/main" id="{C49C066E-35F2-F39D-BEBD-1C468F2877CD}"/>
                  </a:ext>
                </a:extLst>
              </p:cNvPr>
              <p:cNvSpPr/>
              <p:nvPr/>
            </p:nvSpPr>
            <p:spPr>
              <a:xfrm>
                <a:off x="5904443" y="4602518"/>
                <a:ext cx="9398"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9" name="Freeform: Shape 44">
                <a:extLst>
                  <a:ext uri="{FF2B5EF4-FFF2-40B4-BE49-F238E27FC236}">
                    <a16:creationId xmlns:a16="http://schemas.microsoft.com/office/drawing/2014/main" id="{77D9FAC6-C072-3FA7-3E44-29BBEE079440}"/>
                  </a:ext>
                </a:extLst>
              </p:cNvPr>
              <p:cNvSpPr/>
              <p:nvPr/>
            </p:nvSpPr>
            <p:spPr>
              <a:xfrm>
                <a:off x="3514237" y="4602518"/>
                <a:ext cx="5364000" cy="0"/>
              </a:xfrm>
              <a:custGeom>
                <a:avLst/>
                <a:gdLst>
                  <a:gd name="connsiteX0" fmla="*/ 7181115 w 7181114"/>
                  <a:gd name="connsiteY0" fmla="*/ 0 h 12157"/>
                  <a:gd name="connsiteX1" fmla="*/ 0 w 7181114"/>
                  <a:gd name="connsiteY1" fmla="*/ 0 h 12157"/>
                </a:gdLst>
                <a:ahLst/>
                <a:cxnLst>
                  <a:cxn ang="0">
                    <a:pos x="connsiteX0" y="connsiteY0"/>
                  </a:cxn>
                  <a:cxn ang="0">
                    <a:pos x="connsiteX1" y="connsiteY1"/>
                  </a:cxn>
                </a:cxnLst>
                <a:rect l="l" t="t" r="r" b="b"/>
                <a:pathLst>
                  <a:path w="7181114" h="12157">
                    <a:moveTo>
                      <a:pt x="7181115" y="0"/>
                    </a:moveTo>
                    <a:lnTo>
                      <a:pt x="0" y="0"/>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0" name="TextBox 509">
                <a:extLst>
                  <a:ext uri="{FF2B5EF4-FFF2-40B4-BE49-F238E27FC236}">
                    <a16:creationId xmlns:a16="http://schemas.microsoft.com/office/drawing/2014/main" id="{8E0CC8DC-FEE5-0306-8118-369F11DEFEB2}"/>
                  </a:ext>
                </a:extLst>
              </p:cNvPr>
              <p:cNvSpPr txBox="1"/>
              <p:nvPr/>
            </p:nvSpPr>
            <p:spPr>
              <a:xfrm>
                <a:off x="3402208" y="4740460"/>
                <a:ext cx="24285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0</a:t>
                </a:r>
              </a:p>
            </p:txBody>
          </p:sp>
          <p:sp>
            <p:nvSpPr>
              <p:cNvPr id="511" name="Freeform: Shape 32">
                <a:extLst>
                  <a:ext uri="{FF2B5EF4-FFF2-40B4-BE49-F238E27FC236}">
                    <a16:creationId xmlns:a16="http://schemas.microsoft.com/office/drawing/2014/main" id="{F6B8FA5E-6AFB-CED0-3D29-C202C50D0C82}"/>
                  </a:ext>
                </a:extLst>
              </p:cNvPr>
              <p:cNvSpPr/>
              <p:nvPr/>
            </p:nvSpPr>
            <p:spPr>
              <a:xfrm>
                <a:off x="3525419" y="4602518"/>
                <a:ext cx="9398"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0" name="Freeform: Shape 38">
                <a:extLst>
                  <a:ext uri="{FF2B5EF4-FFF2-40B4-BE49-F238E27FC236}">
                    <a16:creationId xmlns:a16="http://schemas.microsoft.com/office/drawing/2014/main" id="{4E344187-FB4C-19D3-F6A5-74C80F07133D}"/>
                  </a:ext>
                </a:extLst>
              </p:cNvPr>
              <p:cNvSpPr/>
              <p:nvPr/>
            </p:nvSpPr>
            <p:spPr>
              <a:xfrm>
                <a:off x="7093953" y="4602518"/>
                <a:ext cx="9398"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1" name="Freeform: Shape 38">
                <a:extLst>
                  <a:ext uri="{FF2B5EF4-FFF2-40B4-BE49-F238E27FC236}">
                    <a16:creationId xmlns:a16="http://schemas.microsoft.com/office/drawing/2014/main" id="{AFFEB0EB-509B-7B46-74C5-15BDB1F71BC3}"/>
                  </a:ext>
                </a:extLst>
              </p:cNvPr>
              <p:cNvSpPr/>
              <p:nvPr/>
            </p:nvSpPr>
            <p:spPr>
              <a:xfrm>
                <a:off x="6499199" y="4602518"/>
                <a:ext cx="9398"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2" name="TextBox 961">
                <a:extLst>
                  <a:ext uri="{FF2B5EF4-FFF2-40B4-BE49-F238E27FC236}">
                    <a16:creationId xmlns:a16="http://schemas.microsoft.com/office/drawing/2014/main" id="{1E550F41-1AA6-1DBF-5108-16BE678F63B4}"/>
                  </a:ext>
                </a:extLst>
              </p:cNvPr>
              <p:cNvSpPr txBox="1"/>
              <p:nvPr/>
            </p:nvSpPr>
            <p:spPr>
              <a:xfrm>
                <a:off x="3998241" y="4740460"/>
                <a:ext cx="24285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6</a:t>
                </a:r>
              </a:p>
            </p:txBody>
          </p:sp>
          <p:sp>
            <p:nvSpPr>
              <p:cNvPr id="963" name="TextBox 962">
                <a:extLst>
                  <a:ext uri="{FF2B5EF4-FFF2-40B4-BE49-F238E27FC236}">
                    <a16:creationId xmlns:a16="http://schemas.microsoft.com/office/drawing/2014/main" id="{5A4D9128-5387-4A36-88EE-8073D993177C}"/>
                  </a:ext>
                </a:extLst>
              </p:cNvPr>
              <p:cNvSpPr txBox="1"/>
              <p:nvPr/>
            </p:nvSpPr>
            <p:spPr>
              <a:xfrm>
                <a:off x="4594274" y="4740460"/>
                <a:ext cx="24285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12</a:t>
                </a:r>
              </a:p>
            </p:txBody>
          </p:sp>
          <p:sp>
            <p:nvSpPr>
              <p:cNvPr id="964" name="TextBox 963">
                <a:extLst>
                  <a:ext uri="{FF2B5EF4-FFF2-40B4-BE49-F238E27FC236}">
                    <a16:creationId xmlns:a16="http://schemas.microsoft.com/office/drawing/2014/main" id="{A5F3A537-AABA-A1F3-6548-D008320299F7}"/>
                  </a:ext>
                </a:extLst>
              </p:cNvPr>
              <p:cNvSpPr txBox="1"/>
              <p:nvPr/>
            </p:nvSpPr>
            <p:spPr>
              <a:xfrm>
                <a:off x="5190307" y="4740460"/>
                <a:ext cx="24285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18</a:t>
                </a:r>
              </a:p>
            </p:txBody>
          </p:sp>
          <p:sp>
            <p:nvSpPr>
              <p:cNvPr id="965" name="TextBox 964">
                <a:extLst>
                  <a:ext uri="{FF2B5EF4-FFF2-40B4-BE49-F238E27FC236}">
                    <a16:creationId xmlns:a16="http://schemas.microsoft.com/office/drawing/2014/main" id="{FA2A2B48-7BBB-B858-D53A-E6AA4F50D5A9}"/>
                  </a:ext>
                </a:extLst>
              </p:cNvPr>
              <p:cNvSpPr txBox="1"/>
              <p:nvPr/>
            </p:nvSpPr>
            <p:spPr>
              <a:xfrm>
                <a:off x="5786340" y="4740460"/>
                <a:ext cx="24285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24</a:t>
                </a:r>
              </a:p>
            </p:txBody>
          </p:sp>
          <p:sp>
            <p:nvSpPr>
              <p:cNvPr id="966" name="TextBox 965">
                <a:extLst>
                  <a:ext uri="{FF2B5EF4-FFF2-40B4-BE49-F238E27FC236}">
                    <a16:creationId xmlns:a16="http://schemas.microsoft.com/office/drawing/2014/main" id="{F3997CBA-5856-8B8B-DCA6-1C9EF6045437}"/>
                  </a:ext>
                </a:extLst>
              </p:cNvPr>
              <p:cNvSpPr txBox="1"/>
              <p:nvPr/>
            </p:nvSpPr>
            <p:spPr>
              <a:xfrm>
                <a:off x="6382373" y="4740460"/>
                <a:ext cx="24285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30</a:t>
                </a:r>
              </a:p>
            </p:txBody>
          </p:sp>
          <p:sp>
            <p:nvSpPr>
              <p:cNvPr id="967" name="TextBox 966">
                <a:extLst>
                  <a:ext uri="{FF2B5EF4-FFF2-40B4-BE49-F238E27FC236}">
                    <a16:creationId xmlns:a16="http://schemas.microsoft.com/office/drawing/2014/main" id="{4B1486EC-369F-2EC8-612F-B85C573CA6E9}"/>
                  </a:ext>
                </a:extLst>
              </p:cNvPr>
              <p:cNvSpPr txBox="1"/>
              <p:nvPr/>
            </p:nvSpPr>
            <p:spPr>
              <a:xfrm>
                <a:off x="6978408" y="4740460"/>
                <a:ext cx="24285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36</a:t>
                </a:r>
              </a:p>
            </p:txBody>
          </p:sp>
          <p:sp>
            <p:nvSpPr>
              <p:cNvPr id="968" name="TextBox 967">
                <a:extLst>
                  <a:ext uri="{FF2B5EF4-FFF2-40B4-BE49-F238E27FC236}">
                    <a16:creationId xmlns:a16="http://schemas.microsoft.com/office/drawing/2014/main" id="{E120A1D6-95A8-FDEF-3552-1E71F8A1EA8D}"/>
                  </a:ext>
                </a:extLst>
              </p:cNvPr>
              <p:cNvSpPr txBox="1"/>
              <p:nvPr/>
            </p:nvSpPr>
            <p:spPr>
              <a:xfrm>
                <a:off x="7582286" y="4740460"/>
                <a:ext cx="24285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42</a:t>
                </a:r>
              </a:p>
            </p:txBody>
          </p:sp>
          <p:sp>
            <p:nvSpPr>
              <p:cNvPr id="969" name="TextBox 968">
                <a:extLst>
                  <a:ext uri="{FF2B5EF4-FFF2-40B4-BE49-F238E27FC236}">
                    <a16:creationId xmlns:a16="http://schemas.microsoft.com/office/drawing/2014/main" id="{678266E1-FD05-03C8-2C9B-985A305AA9D1}"/>
                  </a:ext>
                </a:extLst>
              </p:cNvPr>
              <p:cNvSpPr txBox="1"/>
              <p:nvPr/>
            </p:nvSpPr>
            <p:spPr>
              <a:xfrm>
                <a:off x="8184029" y="4740460"/>
                <a:ext cx="24285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48</a:t>
                </a:r>
              </a:p>
            </p:txBody>
          </p:sp>
          <p:sp>
            <p:nvSpPr>
              <p:cNvPr id="970" name="Freeform: Shape 38">
                <a:extLst>
                  <a:ext uri="{FF2B5EF4-FFF2-40B4-BE49-F238E27FC236}">
                    <a16:creationId xmlns:a16="http://schemas.microsoft.com/office/drawing/2014/main" id="{D606EC80-69E9-A1A0-1D50-949FA8FB6623}"/>
                  </a:ext>
                </a:extLst>
              </p:cNvPr>
              <p:cNvSpPr/>
              <p:nvPr/>
            </p:nvSpPr>
            <p:spPr>
              <a:xfrm>
                <a:off x="8281616" y="4602518"/>
                <a:ext cx="9398"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1" name="Freeform: Shape 38">
                <a:extLst>
                  <a:ext uri="{FF2B5EF4-FFF2-40B4-BE49-F238E27FC236}">
                    <a16:creationId xmlns:a16="http://schemas.microsoft.com/office/drawing/2014/main" id="{87A76F34-D889-7B0D-C36F-B29EE6DF034C}"/>
                  </a:ext>
                </a:extLst>
              </p:cNvPr>
              <p:cNvSpPr/>
              <p:nvPr/>
            </p:nvSpPr>
            <p:spPr>
              <a:xfrm>
                <a:off x="7686862" y="4602518"/>
                <a:ext cx="9398"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2" name="TextBox 971">
                <a:extLst>
                  <a:ext uri="{FF2B5EF4-FFF2-40B4-BE49-F238E27FC236}">
                    <a16:creationId xmlns:a16="http://schemas.microsoft.com/office/drawing/2014/main" id="{56702591-8F4E-4A30-652E-1223DABB7221}"/>
                  </a:ext>
                </a:extLst>
              </p:cNvPr>
              <p:cNvSpPr txBox="1"/>
              <p:nvPr/>
            </p:nvSpPr>
            <p:spPr>
              <a:xfrm>
                <a:off x="8777834" y="4740460"/>
                <a:ext cx="242854" cy="157560"/>
              </a:xfrm>
              <a:prstGeom prst="rect">
                <a:avLst/>
              </a:prstGeom>
              <a:noFill/>
            </p:spPr>
            <p:txBody>
              <a:bodyPr wrap="none" lIns="0" tIns="0" rIns="0" bIns="0" rtlCol="0" anchor="ctr">
                <a:no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54</a:t>
                </a:r>
              </a:p>
            </p:txBody>
          </p:sp>
          <p:sp>
            <p:nvSpPr>
              <p:cNvPr id="973" name="Freeform: Shape 38">
                <a:extLst>
                  <a:ext uri="{FF2B5EF4-FFF2-40B4-BE49-F238E27FC236}">
                    <a16:creationId xmlns:a16="http://schemas.microsoft.com/office/drawing/2014/main" id="{CDDC55AF-FBA1-81FB-7407-6554BF3285EB}"/>
                  </a:ext>
                </a:extLst>
              </p:cNvPr>
              <p:cNvSpPr/>
              <p:nvPr/>
            </p:nvSpPr>
            <p:spPr>
              <a:xfrm>
                <a:off x="8875421" y="4602518"/>
                <a:ext cx="9398"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rgbClr val="595454"/>
                </a:solid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974" name="AutoShape 3">
              <a:extLst>
                <a:ext uri="{FF2B5EF4-FFF2-40B4-BE49-F238E27FC236}">
                  <a16:creationId xmlns:a16="http://schemas.microsoft.com/office/drawing/2014/main" id="{FB14AD6F-567C-7B8F-B9D7-8A2B02E18E98}"/>
                </a:ext>
              </a:extLst>
            </p:cNvPr>
            <p:cNvSpPr>
              <a:spLocks noChangeAspect="1" noTextEdit="1"/>
            </p:cNvSpPr>
            <p:nvPr/>
          </p:nvSpPr>
          <p:spPr bwMode="auto">
            <a:xfrm>
              <a:off x="4002421" y="2105741"/>
              <a:ext cx="3456470" cy="1058387"/>
            </a:xfrm>
            <a:prstGeom prst="rect">
              <a:avLst/>
            </a:prstGeom>
            <a:noFill/>
            <a:ln w="9525" cap="flat" cmpd="sng" algn="ctr">
              <a:solidFill>
                <a:srgbClr val="A69F9F">
                  <a:alpha val="0"/>
                </a:srgb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595454"/>
                </a:solidFill>
                <a:effectLst/>
                <a:uLnTx/>
                <a:uFillTx/>
                <a:latin typeface="Trebuchet MS" panose="020B0603020202020204"/>
                <a:ea typeface="+mn-ea"/>
                <a:cs typeface="+mn-cs"/>
              </a:endParaRPr>
            </a:p>
          </p:txBody>
        </p:sp>
        <p:sp>
          <p:nvSpPr>
            <p:cNvPr id="975" name="Line 15">
              <a:extLst>
                <a:ext uri="{FF2B5EF4-FFF2-40B4-BE49-F238E27FC236}">
                  <a16:creationId xmlns:a16="http://schemas.microsoft.com/office/drawing/2014/main" id="{A336C611-76CC-C280-F765-81BF5D5A2E91}"/>
                </a:ext>
              </a:extLst>
            </p:cNvPr>
            <p:cNvSpPr>
              <a:spLocks noChangeShapeType="1"/>
            </p:cNvSpPr>
            <p:nvPr/>
          </p:nvSpPr>
          <p:spPr bwMode="auto">
            <a:xfrm>
              <a:off x="5125865" y="2865564"/>
              <a:ext cx="0" cy="43271"/>
            </a:xfrm>
            <a:prstGeom prst="line">
              <a:avLst/>
            </a:prstGeom>
            <a:noFill/>
            <a:ln w="12700" cap="flat">
              <a:solidFill>
                <a:srgbClr val="A69F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6" name="Line 16">
              <a:extLst>
                <a:ext uri="{FF2B5EF4-FFF2-40B4-BE49-F238E27FC236}">
                  <a16:creationId xmlns:a16="http://schemas.microsoft.com/office/drawing/2014/main" id="{A1F83DFA-EB33-955C-49CC-572BE3F32227}"/>
                </a:ext>
              </a:extLst>
            </p:cNvPr>
            <p:cNvSpPr>
              <a:spLocks noChangeShapeType="1"/>
            </p:cNvSpPr>
            <p:nvPr/>
          </p:nvSpPr>
          <p:spPr bwMode="auto">
            <a:xfrm>
              <a:off x="5111408" y="2886332"/>
              <a:ext cx="28915" cy="0"/>
            </a:xfrm>
            <a:prstGeom prst="line">
              <a:avLst/>
            </a:prstGeom>
            <a:noFill/>
            <a:ln w="12700" cap="flat">
              <a:solidFill>
                <a:srgbClr val="A69F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977" name="Group 976">
              <a:extLst>
                <a:ext uri="{FF2B5EF4-FFF2-40B4-BE49-F238E27FC236}">
                  <a16:creationId xmlns:a16="http://schemas.microsoft.com/office/drawing/2014/main" id="{3D1DF752-6A8C-ACF8-CFBF-942A5469D926}"/>
                </a:ext>
              </a:extLst>
            </p:cNvPr>
            <p:cNvGrpSpPr/>
            <p:nvPr/>
          </p:nvGrpSpPr>
          <p:grpSpPr>
            <a:xfrm>
              <a:off x="4002422" y="2107472"/>
              <a:ext cx="3404897" cy="1041454"/>
              <a:chOff x="3583382" y="1778232"/>
              <a:chExt cx="4705744" cy="1411181"/>
            </a:xfrm>
          </p:grpSpPr>
          <p:sp>
            <p:nvSpPr>
              <p:cNvPr id="978" name="Line 5">
                <a:extLst>
                  <a:ext uri="{FF2B5EF4-FFF2-40B4-BE49-F238E27FC236}">
                    <a16:creationId xmlns:a16="http://schemas.microsoft.com/office/drawing/2014/main" id="{280879AD-84C7-C549-E343-139C9A587536}"/>
                  </a:ext>
                </a:extLst>
              </p:cNvPr>
              <p:cNvSpPr>
                <a:spLocks noChangeShapeType="1"/>
              </p:cNvSpPr>
              <p:nvPr/>
            </p:nvSpPr>
            <p:spPr bwMode="auto">
              <a:xfrm>
                <a:off x="3603064" y="1778232"/>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9" name="Line 6">
                <a:extLst>
                  <a:ext uri="{FF2B5EF4-FFF2-40B4-BE49-F238E27FC236}">
                    <a16:creationId xmlns:a16="http://schemas.microsoft.com/office/drawing/2014/main" id="{D3159F5E-E66B-88D0-E458-005BA94C4E7B}"/>
                  </a:ext>
                </a:extLst>
              </p:cNvPr>
              <p:cNvSpPr>
                <a:spLocks noChangeShapeType="1"/>
              </p:cNvSpPr>
              <p:nvPr/>
            </p:nvSpPr>
            <p:spPr bwMode="auto">
              <a:xfrm>
                <a:off x="3583382" y="1803617"/>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0" name="Line 7">
                <a:extLst>
                  <a:ext uri="{FF2B5EF4-FFF2-40B4-BE49-F238E27FC236}">
                    <a16:creationId xmlns:a16="http://schemas.microsoft.com/office/drawing/2014/main" id="{53A7FA92-025E-C95C-5DA1-3C7D45523054}"/>
                  </a:ext>
                </a:extLst>
              </p:cNvPr>
              <p:cNvSpPr>
                <a:spLocks noChangeShapeType="1"/>
              </p:cNvSpPr>
              <p:nvPr/>
            </p:nvSpPr>
            <p:spPr bwMode="auto">
              <a:xfrm>
                <a:off x="3665393" y="1835925"/>
                <a:ext cx="0" cy="58848"/>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1" name="Line 8">
                <a:extLst>
                  <a:ext uri="{FF2B5EF4-FFF2-40B4-BE49-F238E27FC236}">
                    <a16:creationId xmlns:a16="http://schemas.microsoft.com/office/drawing/2014/main" id="{AE4173BF-3DC0-5C82-48B6-F519F63CC8FD}"/>
                  </a:ext>
                </a:extLst>
              </p:cNvPr>
              <p:cNvSpPr>
                <a:spLocks noChangeShapeType="1"/>
              </p:cNvSpPr>
              <p:nvPr/>
            </p:nvSpPr>
            <p:spPr bwMode="auto">
              <a:xfrm>
                <a:off x="3645709" y="1863618"/>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2" name="Line 9">
                <a:extLst>
                  <a:ext uri="{FF2B5EF4-FFF2-40B4-BE49-F238E27FC236}">
                    <a16:creationId xmlns:a16="http://schemas.microsoft.com/office/drawing/2014/main" id="{4E794328-A63A-3645-3B3B-4B4126BE46B8}"/>
                  </a:ext>
                </a:extLst>
              </p:cNvPr>
              <p:cNvSpPr>
                <a:spLocks noChangeShapeType="1"/>
              </p:cNvSpPr>
              <p:nvPr/>
            </p:nvSpPr>
            <p:spPr bwMode="auto">
              <a:xfrm>
                <a:off x="3685075" y="1835925"/>
                <a:ext cx="0" cy="58848"/>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3" name="Line 10">
                <a:extLst>
                  <a:ext uri="{FF2B5EF4-FFF2-40B4-BE49-F238E27FC236}">
                    <a16:creationId xmlns:a16="http://schemas.microsoft.com/office/drawing/2014/main" id="{2E2732A4-9191-2801-7335-EA3CBB60335D}"/>
                  </a:ext>
                </a:extLst>
              </p:cNvPr>
              <p:cNvSpPr>
                <a:spLocks noChangeShapeType="1"/>
              </p:cNvSpPr>
              <p:nvPr/>
            </p:nvSpPr>
            <p:spPr bwMode="auto">
              <a:xfrm>
                <a:off x="3665393" y="1863618"/>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4" name="Line 11">
                <a:extLst>
                  <a:ext uri="{FF2B5EF4-FFF2-40B4-BE49-F238E27FC236}">
                    <a16:creationId xmlns:a16="http://schemas.microsoft.com/office/drawing/2014/main" id="{702491DA-7393-28AC-BB02-3E6FAE728005}"/>
                  </a:ext>
                </a:extLst>
              </p:cNvPr>
              <p:cNvSpPr>
                <a:spLocks noChangeShapeType="1"/>
              </p:cNvSpPr>
              <p:nvPr/>
            </p:nvSpPr>
            <p:spPr bwMode="auto">
              <a:xfrm>
                <a:off x="3860576" y="2026314"/>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5" name="Line 12">
                <a:extLst>
                  <a:ext uri="{FF2B5EF4-FFF2-40B4-BE49-F238E27FC236}">
                    <a16:creationId xmlns:a16="http://schemas.microsoft.com/office/drawing/2014/main" id="{9B1FA627-6F66-5139-8EB8-78E87079DC53}"/>
                  </a:ext>
                </a:extLst>
              </p:cNvPr>
              <p:cNvSpPr>
                <a:spLocks noChangeShapeType="1"/>
              </p:cNvSpPr>
              <p:nvPr/>
            </p:nvSpPr>
            <p:spPr bwMode="auto">
              <a:xfrm>
                <a:off x="3840894" y="2054007"/>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6" name="Line 13">
                <a:extLst>
                  <a:ext uri="{FF2B5EF4-FFF2-40B4-BE49-F238E27FC236}">
                    <a16:creationId xmlns:a16="http://schemas.microsoft.com/office/drawing/2014/main" id="{C5B86ABE-7D80-1EFD-749E-6D8CBE3B8B95}"/>
                  </a:ext>
                </a:extLst>
              </p:cNvPr>
              <p:cNvSpPr>
                <a:spLocks noChangeShapeType="1"/>
              </p:cNvSpPr>
              <p:nvPr/>
            </p:nvSpPr>
            <p:spPr bwMode="auto">
              <a:xfrm>
                <a:off x="4493695" y="2531708"/>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7" name="Line 14">
                <a:extLst>
                  <a:ext uri="{FF2B5EF4-FFF2-40B4-BE49-F238E27FC236}">
                    <a16:creationId xmlns:a16="http://schemas.microsoft.com/office/drawing/2014/main" id="{B6FC8208-C002-75A2-F2D3-09818BBFE6EA}"/>
                  </a:ext>
                </a:extLst>
              </p:cNvPr>
              <p:cNvSpPr>
                <a:spLocks noChangeShapeType="1"/>
              </p:cNvSpPr>
              <p:nvPr/>
            </p:nvSpPr>
            <p:spPr bwMode="auto">
              <a:xfrm>
                <a:off x="4474013" y="2559401"/>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988" name="Group 987">
                <a:extLst>
                  <a:ext uri="{FF2B5EF4-FFF2-40B4-BE49-F238E27FC236}">
                    <a16:creationId xmlns:a16="http://schemas.microsoft.com/office/drawing/2014/main" id="{DED43353-B498-03FA-E8B8-3808935048F7}"/>
                  </a:ext>
                </a:extLst>
              </p:cNvPr>
              <p:cNvGrpSpPr/>
              <p:nvPr/>
            </p:nvGrpSpPr>
            <p:grpSpPr>
              <a:xfrm>
                <a:off x="3599784" y="1803617"/>
                <a:ext cx="4689342" cy="1385796"/>
                <a:chOff x="3599784" y="1803617"/>
                <a:chExt cx="4689342" cy="1385796"/>
              </a:xfrm>
            </p:grpSpPr>
            <p:sp>
              <p:nvSpPr>
                <p:cNvPr id="989" name="Line 17">
                  <a:extLst>
                    <a:ext uri="{FF2B5EF4-FFF2-40B4-BE49-F238E27FC236}">
                      <a16:creationId xmlns:a16="http://schemas.microsoft.com/office/drawing/2014/main" id="{66D09453-B2E8-B91D-62DF-F45F502332D3}"/>
                    </a:ext>
                  </a:extLst>
                </p:cNvPr>
                <p:cNvSpPr>
                  <a:spLocks noChangeShapeType="1"/>
                </p:cNvSpPr>
                <p:nvPr/>
              </p:nvSpPr>
              <p:spPr bwMode="auto">
                <a:xfrm>
                  <a:off x="6551331" y="3048642"/>
                  <a:ext cx="0" cy="57694"/>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1" name="Line 18">
                  <a:extLst>
                    <a:ext uri="{FF2B5EF4-FFF2-40B4-BE49-F238E27FC236}">
                      <a16:creationId xmlns:a16="http://schemas.microsoft.com/office/drawing/2014/main" id="{3042AF22-D22E-3D5B-1611-0330DC68F4E9}"/>
                    </a:ext>
                  </a:extLst>
                </p:cNvPr>
                <p:cNvSpPr>
                  <a:spLocks noChangeShapeType="1"/>
                </p:cNvSpPr>
                <p:nvPr/>
              </p:nvSpPr>
              <p:spPr bwMode="auto">
                <a:xfrm>
                  <a:off x="6531648" y="3076334"/>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2" name="Line 19">
                  <a:extLst>
                    <a:ext uri="{FF2B5EF4-FFF2-40B4-BE49-F238E27FC236}">
                      <a16:creationId xmlns:a16="http://schemas.microsoft.com/office/drawing/2014/main" id="{9F8889D5-5F18-F31C-5B3E-99E61B20EC81}"/>
                    </a:ext>
                  </a:extLst>
                </p:cNvPr>
                <p:cNvSpPr>
                  <a:spLocks noChangeShapeType="1"/>
                </p:cNvSpPr>
                <p:nvPr/>
              </p:nvSpPr>
              <p:spPr bwMode="auto">
                <a:xfrm>
                  <a:off x="6616939" y="3048642"/>
                  <a:ext cx="0" cy="57694"/>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3" name="Line 20">
                  <a:extLst>
                    <a:ext uri="{FF2B5EF4-FFF2-40B4-BE49-F238E27FC236}">
                      <a16:creationId xmlns:a16="http://schemas.microsoft.com/office/drawing/2014/main" id="{210B256D-BDE0-01BD-2CC2-10CB476A3997}"/>
                    </a:ext>
                  </a:extLst>
                </p:cNvPr>
                <p:cNvSpPr>
                  <a:spLocks noChangeShapeType="1"/>
                </p:cNvSpPr>
                <p:nvPr/>
              </p:nvSpPr>
              <p:spPr bwMode="auto">
                <a:xfrm>
                  <a:off x="6597256" y="3076334"/>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4" name="Line 21">
                  <a:extLst>
                    <a:ext uri="{FF2B5EF4-FFF2-40B4-BE49-F238E27FC236}">
                      <a16:creationId xmlns:a16="http://schemas.microsoft.com/office/drawing/2014/main" id="{92D8AE60-5C70-CE47-A157-09E438FC27F2}"/>
                    </a:ext>
                  </a:extLst>
                </p:cNvPr>
                <p:cNvSpPr>
                  <a:spLocks noChangeShapeType="1"/>
                </p:cNvSpPr>
                <p:nvPr/>
              </p:nvSpPr>
              <p:spPr bwMode="auto">
                <a:xfrm>
                  <a:off x="6621859" y="3048642"/>
                  <a:ext cx="0" cy="57694"/>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7" name="Line 22">
                  <a:extLst>
                    <a:ext uri="{FF2B5EF4-FFF2-40B4-BE49-F238E27FC236}">
                      <a16:creationId xmlns:a16="http://schemas.microsoft.com/office/drawing/2014/main" id="{8A124129-13BA-4EE1-CB65-C595E14E29DB}"/>
                    </a:ext>
                  </a:extLst>
                </p:cNvPr>
                <p:cNvSpPr>
                  <a:spLocks noChangeShapeType="1"/>
                </p:cNvSpPr>
                <p:nvPr/>
              </p:nvSpPr>
              <p:spPr bwMode="auto">
                <a:xfrm>
                  <a:off x="6602177" y="3076334"/>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8" name="Line 23">
                  <a:extLst>
                    <a:ext uri="{FF2B5EF4-FFF2-40B4-BE49-F238E27FC236}">
                      <a16:creationId xmlns:a16="http://schemas.microsoft.com/office/drawing/2014/main" id="{EDECEC5F-4469-5063-36DD-E7D47BB40639}"/>
                    </a:ext>
                  </a:extLst>
                </p:cNvPr>
                <p:cNvSpPr>
                  <a:spLocks noChangeShapeType="1"/>
                </p:cNvSpPr>
                <p:nvPr/>
              </p:nvSpPr>
              <p:spPr bwMode="auto">
                <a:xfrm>
                  <a:off x="6648102" y="3048642"/>
                  <a:ext cx="0" cy="57694"/>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9" name="Line 24">
                  <a:extLst>
                    <a:ext uri="{FF2B5EF4-FFF2-40B4-BE49-F238E27FC236}">
                      <a16:creationId xmlns:a16="http://schemas.microsoft.com/office/drawing/2014/main" id="{6E37C607-AA13-63FF-1736-A7AD930FF456}"/>
                    </a:ext>
                  </a:extLst>
                </p:cNvPr>
                <p:cNvSpPr>
                  <a:spLocks noChangeShapeType="1"/>
                </p:cNvSpPr>
                <p:nvPr/>
              </p:nvSpPr>
              <p:spPr bwMode="auto">
                <a:xfrm>
                  <a:off x="6628420" y="3076334"/>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0" name="Line 25">
                  <a:extLst>
                    <a:ext uri="{FF2B5EF4-FFF2-40B4-BE49-F238E27FC236}">
                      <a16:creationId xmlns:a16="http://schemas.microsoft.com/office/drawing/2014/main" id="{E87E4157-1938-D4ED-1E3B-EFEC600AD0C5}"/>
                    </a:ext>
                  </a:extLst>
                </p:cNvPr>
                <p:cNvSpPr>
                  <a:spLocks noChangeShapeType="1"/>
                </p:cNvSpPr>
                <p:nvPr/>
              </p:nvSpPr>
              <p:spPr bwMode="auto">
                <a:xfrm>
                  <a:off x="6654663" y="3048642"/>
                  <a:ext cx="0" cy="57694"/>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1" name="Line 26">
                  <a:extLst>
                    <a:ext uri="{FF2B5EF4-FFF2-40B4-BE49-F238E27FC236}">
                      <a16:creationId xmlns:a16="http://schemas.microsoft.com/office/drawing/2014/main" id="{BE0D9987-2911-AA97-2426-7B019260D823}"/>
                    </a:ext>
                  </a:extLst>
                </p:cNvPr>
                <p:cNvSpPr>
                  <a:spLocks noChangeShapeType="1"/>
                </p:cNvSpPr>
                <p:nvPr/>
              </p:nvSpPr>
              <p:spPr bwMode="auto">
                <a:xfrm>
                  <a:off x="6634981" y="3076334"/>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2" name="Line 27">
                  <a:extLst>
                    <a:ext uri="{FF2B5EF4-FFF2-40B4-BE49-F238E27FC236}">
                      <a16:creationId xmlns:a16="http://schemas.microsoft.com/office/drawing/2014/main" id="{F6A643DA-4D1F-D510-0160-1694CE2604AA}"/>
                    </a:ext>
                  </a:extLst>
                </p:cNvPr>
                <p:cNvSpPr>
                  <a:spLocks noChangeShapeType="1"/>
                </p:cNvSpPr>
                <p:nvPr/>
              </p:nvSpPr>
              <p:spPr bwMode="auto">
                <a:xfrm>
                  <a:off x="6661225" y="3085565"/>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3" name="Line 28">
                  <a:extLst>
                    <a:ext uri="{FF2B5EF4-FFF2-40B4-BE49-F238E27FC236}">
                      <a16:creationId xmlns:a16="http://schemas.microsoft.com/office/drawing/2014/main" id="{5D13393E-6672-4330-0C70-C1BE3752A71D}"/>
                    </a:ext>
                  </a:extLst>
                </p:cNvPr>
                <p:cNvSpPr>
                  <a:spLocks noChangeShapeType="1"/>
                </p:cNvSpPr>
                <p:nvPr/>
              </p:nvSpPr>
              <p:spPr bwMode="auto">
                <a:xfrm>
                  <a:off x="6641541" y="311095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4" name="Line 29">
                  <a:extLst>
                    <a:ext uri="{FF2B5EF4-FFF2-40B4-BE49-F238E27FC236}">
                      <a16:creationId xmlns:a16="http://schemas.microsoft.com/office/drawing/2014/main" id="{1DD599E6-791D-F489-FAF7-73067B3D0157}"/>
                    </a:ext>
                  </a:extLst>
                </p:cNvPr>
                <p:cNvSpPr>
                  <a:spLocks noChangeShapeType="1"/>
                </p:cNvSpPr>
                <p:nvPr/>
              </p:nvSpPr>
              <p:spPr bwMode="auto">
                <a:xfrm>
                  <a:off x="6667785" y="3085565"/>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5" name="Line 30">
                  <a:extLst>
                    <a:ext uri="{FF2B5EF4-FFF2-40B4-BE49-F238E27FC236}">
                      <a16:creationId xmlns:a16="http://schemas.microsoft.com/office/drawing/2014/main" id="{4B85609F-6F53-67E7-F57F-306D508B4630}"/>
                    </a:ext>
                  </a:extLst>
                </p:cNvPr>
                <p:cNvSpPr>
                  <a:spLocks noChangeShapeType="1"/>
                </p:cNvSpPr>
                <p:nvPr/>
              </p:nvSpPr>
              <p:spPr bwMode="auto">
                <a:xfrm>
                  <a:off x="6648102" y="311095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6" name="Line 31">
                  <a:extLst>
                    <a:ext uri="{FF2B5EF4-FFF2-40B4-BE49-F238E27FC236}">
                      <a16:creationId xmlns:a16="http://schemas.microsoft.com/office/drawing/2014/main" id="{A18873BE-1591-D77F-73EA-D1179981BC15}"/>
                    </a:ext>
                  </a:extLst>
                </p:cNvPr>
                <p:cNvSpPr>
                  <a:spLocks noChangeShapeType="1"/>
                </p:cNvSpPr>
                <p:nvPr/>
              </p:nvSpPr>
              <p:spPr bwMode="auto">
                <a:xfrm>
                  <a:off x="6728472" y="3085565"/>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7" name="Line 32">
                  <a:extLst>
                    <a:ext uri="{FF2B5EF4-FFF2-40B4-BE49-F238E27FC236}">
                      <a16:creationId xmlns:a16="http://schemas.microsoft.com/office/drawing/2014/main" id="{1FBA7CCA-1047-875D-F336-48730784E512}"/>
                    </a:ext>
                  </a:extLst>
                </p:cNvPr>
                <p:cNvSpPr>
                  <a:spLocks noChangeShapeType="1"/>
                </p:cNvSpPr>
                <p:nvPr/>
              </p:nvSpPr>
              <p:spPr bwMode="auto">
                <a:xfrm>
                  <a:off x="6708790" y="311095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8" name="Line 33">
                  <a:extLst>
                    <a:ext uri="{FF2B5EF4-FFF2-40B4-BE49-F238E27FC236}">
                      <a16:creationId xmlns:a16="http://schemas.microsoft.com/office/drawing/2014/main" id="{0E393392-A6EC-0CA9-3D45-99E197B5D3F4}"/>
                    </a:ext>
                  </a:extLst>
                </p:cNvPr>
                <p:cNvSpPr>
                  <a:spLocks noChangeShapeType="1"/>
                </p:cNvSpPr>
                <p:nvPr/>
              </p:nvSpPr>
              <p:spPr bwMode="auto">
                <a:xfrm>
                  <a:off x="6735033" y="3085565"/>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9" name="Line 34">
                  <a:extLst>
                    <a:ext uri="{FF2B5EF4-FFF2-40B4-BE49-F238E27FC236}">
                      <a16:creationId xmlns:a16="http://schemas.microsoft.com/office/drawing/2014/main" id="{3287C583-654D-EBE7-C613-2A16E9EC6B78}"/>
                    </a:ext>
                  </a:extLst>
                </p:cNvPr>
                <p:cNvSpPr>
                  <a:spLocks noChangeShapeType="1"/>
                </p:cNvSpPr>
                <p:nvPr/>
              </p:nvSpPr>
              <p:spPr bwMode="auto">
                <a:xfrm>
                  <a:off x="6713710" y="3110950"/>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0" name="Line 35">
                  <a:extLst>
                    <a:ext uri="{FF2B5EF4-FFF2-40B4-BE49-F238E27FC236}">
                      <a16:creationId xmlns:a16="http://schemas.microsoft.com/office/drawing/2014/main" id="{1DD398F4-6A3D-4DB0-2F63-8ED4FE129AF2}"/>
                    </a:ext>
                  </a:extLst>
                </p:cNvPr>
                <p:cNvSpPr>
                  <a:spLocks noChangeShapeType="1"/>
                </p:cNvSpPr>
                <p:nvPr/>
              </p:nvSpPr>
              <p:spPr bwMode="auto">
                <a:xfrm>
                  <a:off x="6741594" y="3085565"/>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1" name="Line 36">
                  <a:extLst>
                    <a:ext uri="{FF2B5EF4-FFF2-40B4-BE49-F238E27FC236}">
                      <a16:creationId xmlns:a16="http://schemas.microsoft.com/office/drawing/2014/main" id="{16C97806-3B02-D3E5-DEDE-5FD5B6C1989F}"/>
                    </a:ext>
                  </a:extLst>
                </p:cNvPr>
                <p:cNvSpPr>
                  <a:spLocks noChangeShapeType="1"/>
                </p:cNvSpPr>
                <p:nvPr/>
              </p:nvSpPr>
              <p:spPr bwMode="auto">
                <a:xfrm>
                  <a:off x="6721912" y="311095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2" name="Line 37">
                  <a:extLst>
                    <a:ext uri="{FF2B5EF4-FFF2-40B4-BE49-F238E27FC236}">
                      <a16:creationId xmlns:a16="http://schemas.microsoft.com/office/drawing/2014/main" id="{A2790287-6371-5F89-55C4-69130CE40580}"/>
                    </a:ext>
                  </a:extLst>
                </p:cNvPr>
                <p:cNvSpPr>
                  <a:spLocks noChangeShapeType="1"/>
                </p:cNvSpPr>
                <p:nvPr/>
              </p:nvSpPr>
              <p:spPr bwMode="auto">
                <a:xfrm>
                  <a:off x="6776039" y="3085565"/>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3" name="Line 38">
                  <a:extLst>
                    <a:ext uri="{FF2B5EF4-FFF2-40B4-BE49-F238E27FC236}">
                      <a16:creationId xmlns:a16="http://schemas.microsoft.com/office/drawing/2014/main" id="{7A4B0C1B-13FB-D830-865A-DA0C1E4BC678}"/>
                    </a:ext>
                  </a:extLst>
                </p:cNvPr>
                <p:cNvSpPr>
                  <a:spLocks noChangeShapeType="1"/>
                </p:cNvSpPr>
                <p:nvPr/>
              </p:nvSpPr>
              <p:spPr bwMode="auto">
                <a:xfrm>
                  <a:off x="6754716" y="3110950"/>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4" name="Line 39">
                  <a:extLst>
                    <a:ext uri="{FF2B5EF4-FFF2-40B4-BE49-F238E27FC236}">
                      <a16:creationId xmlns:a16="http://schemas.microsoft.com/office/drawing/2014/main" id="{A6AEDF1A-41C5-A74B-04CC-1D81D176604C}"/>
                    </a:ext>
                  </a:extLst>
                </p:cNvPr>
                <p:cNvSpPr>
                  <a:spLocks noChangeShapeType="1"/>
                </p:cNvSpPr>
                <p:nvPr/>
              </p:nvSpPr>
              <p:spPr bwMode="auto">
                <a:xfrm>
                  <a:off x="6799001" y="3085565"/>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5" name="Line 40">
                  <a:extLst>
                    <a:ext uri="{FF2B5EF4-FFF2-40B4-BE49-F238E27FC236}">
                      <a16:creationId xmlns:a16="http://schemas.microsoft.com/office/drawing/2014/main" id="{0D6C1871-FC62-DF84-8547-88A701503D7F}"/>
                    </a:ext>
                  </a:extLst>
                </p:cNvPr>
                <p:cNvSpPr>
                  <a:spLocks noChangeShapeType="1"/>
                </p:cNvSpPr>
                <p:nvPr/>
              </p:nvSpPr>
              <p:spPr bwMode="auto">
                <a:xfrm>
                  <a:off x="6779319" y="3110950"/>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6" name="Line 41">
                  <a:extLst>
                    <a:ext uri="{FF2B5EF4-FFF2-40B4-BE49-F238E27FC236}">
                      <a16:creationId xmlns:a16="http://schemas.microsoft.com/office/drawing/2014/main" id="{26D2A0C7-42FF-9736-4054-0F3A6A2D88CB}"/>
                    </a:ext>
                  </a:extLst>
                </p:cNvPr>
                <p:cNvSpPr>
                  <a:spLocks noChangeShapeType="1"/>
                </p:cNvSpPr>
                <p:nvPr/>
              </p:nvSpPr>
              <p:spPr bwMode="auto">
                <a:xfrm>
                  <a:off x="6846567"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7" name="Line 42">
                  <a:extLst>
                    <a:ext uri="{FF2B5EF4-FFF2-40B4-BE49-F238E27FC236}">
                      <a16:creationId xmlns:a16="http://schemas.microsoft.com/office/drawing/2014/main" id="{798E87FB-750F-66F0-0FEE-6DCB55F8F2D7}"/>
                    </a:ext>
                  </a:extLst>
                </p:cNvPr>
                <p:cNvSpPr>
                  <a:spLocks noChangeShapeType="1"/>
                </p:cNvSpPr>
                <p:nvPr/>
              </p:nvSpPr>
              <p:spPr bwMode="auto">
                <a:xfrm>
                  <a:off x="6826884"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8" name="Line 43">
                  <a:extLst>
                    <a:ext uri="{FF2B5EF4-FFF2-40B4-BE49-F238E27FC236}">
                      <a16:creationId xmlns:a16="http://schemas.microsoft.com/office/drawing/2014/main" id="{74CFBE2C-2549-81D1-D2EB-457B954101AA}"/>
                    </a:ext>
                  </a:extLst>
                </p:cNvPr>
                <p:cNvSpPr>
                  <a:spLocks noChangeShapeType="1"/>
                </p:cNvSpPr>
                <p:nvPr/>
              </p:nvSpPr>
              <p:spPr bwMode="auto">
                <a:xfrm>
                  <a:off x="6866250"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9" name="Line 44">
                  <a:extLst>
                    <a:ext uri="{FF2B5EF4-FFF2-40B4-BE49-F238E27FC236}">
                      <a16:creationId xmlns:a16="http://schemas.microsoft.com/office/drawing/2014/main" id="{95339ACC-C5EE-F6A2-CEEB-27A610FAAD07}"/>
                    </a:ext>
                  </a:extLst>
                </p:cNvPr>
                <p:cNvSpPr>
                  <a:spLocks noChangeShapeType="1"/>
                </p:cNvSpPr>
                <p:nvPr/>
              </p:nvSpPr>
              <p:spPr bwMode="auto">
                <a:xfrm>
                  <a:off x="6846567"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0" name="Line 45">
                  <a:extLst>
                    <a:ext uri="{FF2B5EF4-FFF2-40B4-BE49-F238E27FC236}">
                      <a16:creationId xmlns:a16="http://schemas.microsoft.com/office/drawing/2014/main" id="{AB78883F-B5C7-4271-B9A8-6106BD1BC8B2}"/>
                    </a:ext>
                  </a:extLst>
                </p:cNvPr>
                <p:cNvSpPr>
                  <a:spLocks noChangeShapeType="1"/>
                </p:cNvSpPr>
                <p:nvPr/>
              </p:nvSpPr>
              <p:spPr bwMode="auto">
                <a:xfrm>
                  <a:off x="6872810"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1" name="Line 46">
                  <a:extLst>
                    <a:ext uri="{FF2B5EF4-FFF2-40B4-BE49-F238E27FC236}">
                      <a16:creationId xmlns:a16="http://schemas.microsoft.com/office/drawing/2014/main" id="{6FE9E44C-1769-75F4-7F2F-8C2776FEB05F}"/>
                    </a:ext>
                  </a:extLst>
                </p:cNvPr>
                <p:cNvSpPr>
                  <a:spLocks noChangeShapeType="1"/>
                </p:cNvSpPr>
                <p:nvPr/>
              </p:nvSpPr>
              <p:spPr bwMode="auto">
                <a:xfrm>
                  <a:off x="6853128"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2" name="Line 47">
                  <a:extLst>
                    <a:ext uri="{FF2B5EF4-FFF2-40B4-BE49-F238E27FC236}">
                      <a16:creationId xmlns:a16="http://schemas.microsoft.com/office/drawing/2014/main" id="{9F79E3CA-ABC7-2B19-9343-CA844EEBE82A}"/>
                    </a:ext>
                  </a:extLst>
                </p:cNvPr>
                <p:cNvSpPr>
                  <a:spLocks noChangeShapeType="1"/>
                </p:cNvSpPr>
                <p:nvPr/>
              </p:nvSpPr>
              <p:spPr bwMode="auto">
                <a:xfrm>
                  <a:off x="6877731"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3" name="Line 48">
                  <a:extLst>
                    <a:ext uri="{FF2B5EF4-FFF2-40B4-BE49-F238E27FC236}">
                      <a16:creationId xmlns:a16="http://schemas.microsoft.com/office/drawing/2014/main" id="{6DC07139-1F68-DB0E-674B-6A170A2A13B4}"/>
                    </a:ext>
                  </a:extLst>
                </p:cNvPr>
                <p:cNvSpPr>
                  <a:spLocks noChangeShapeType="1"/>
                </p:cNvSpPr>
                <p:nvPr/>
              </p:nvSpPr>
              <p:spPr bwMode="auto">
                <a:xfrm>
                  <a:off x="6858048"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 name="Line 49">
                  <a:extLst>
                    <a:ext uri="{FF2B5EF4-FFF2-40B4-BE49-F238E27FC236}">
                      <a16:creationId xmlns:a16="http://schemas.microsoft.com/office/drawing/2014/main" id="{1DB2D171-76AB-252B-15EE-134C93026F56}"/>
                    </a:ext>
                  </a:extLst>
                </p:cNvPr>
                <p:cNvSpPr>
                  <a:spLocks noChangeShapeType="1"/>
                </p:cNvSpPr>
                <p:nvPr/>
              </p:nvSpPr>
              <p:spPr bwMode="auto">
                <a:xfrm>
                  <a:off x="6949900"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1" name="Line 50">
                  <a:extLst>
                    <a:ext uri="{FF2B5EF4-FFF2-40B4-BE49-F238E27FC236}">
                      <a16:creationId xmlns:a16="http://schemas.microsoft.com/office/drawing/2014/main" id="{2C0F6712-0C2D-F0FD-6241-FDD34955BE5C}"/>
                    </a:ext>
                  </a:extLst>
                </p:cNvPr>
                <p:cNvSpPr>
                  <a:spLocks noChangeShapeType="1"/>
                </p:cNvSpPr>
                <p:nvPr/>
              </p:nvSpPr>
              <p:spPr bwMode="auto">
                <a:xfrm>
                  <a:off x="6930217" y="3161720"/>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2" name="Line 51">
                  <a:extLst>
                    <a:ext uri="{FF2B5EF4-FFF2-40B4-BE49-F238E27FC236}">
                      <a16:creationId xmlns:a16="http://schemas.microsoft.com/office/drawing/2014/main" id="{23BD837D-8ABA-D957-2D6A-5F91C63A179E}"/>
                    </a:ext>
                  </a:extLst>
                </p:cNvPr>
                <p:cNvSpPr>
                  <a:spLocks noChangeShapeType="1"/>
                </p:cNvSpPr>
                <p:nvPr/>
              </p:nvSpPr>
              <p:spPr bwMode="auto">
                <a:xfrm>
                  <a:off x="6974503"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3" name="Line 52">
                  <a:extLst>
                    <a:ext uri="{FF2B5EF4-FFF2-40B4-BE49-F238E27FC236}">
                      <a16:creationId xmlns:a16="http://schemas.microsoft.com/office/drawing/2014/main" id="{FF946230-F130-0CB2-938C-59E97CA4E3DF}"/>
                    </a:ext>
                  </a:extLst>
                </p:cNvPr>
                <p:cNvSpPr>
                  <a:spLocks noChangeShapeType="1"/>
                </p:cNvSpPr>
                <p:nvPr/>
              </p:nvSpPr>
              <p:spPr bwMode="auto">
                <a:xfrm>
                  <a:off x="6954821"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4" name="Line 53">
                  <a:extLst>
                    <a:ext uri="{FF2B5EF4-FFF2-40B4-BE49-F238E27FC236}">
                      <a16:creationId xmlns:a16="http://schemas.microsoft.com/office/drawing/2014/main" id="{35D77844-2F08-EE0F-D772-6865E96454B5}"/>
                    </a:ext>
                  </a:extLst>
                </p:cNvPr>
                <p:cNvSpPr>
                  <a:spLocks noChangeShapeType="1"/>
                </p:cNvSpPr>
                <p:nvPr/>
              </p:nvSpPr>
              <p:spPr bwMode="auto">
                <a:xfrm>
                  <a:off x="7007307"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5" name="Line 54">
                  <a:extLst>
                    <a:ext uri="{FF2B5EF4-FFF2-40B4-BE49-F238E27FC236}">
                      <a16:creationId xmlns:a16="http://schemas.microsoft.com/office/drawing/2014/main" id="{32AC65A3-BF11-146A-EE56-5B2F3A2CE363}"/>
                    </a:ext>
                  </a:extLst>
                </p:cNvPr>
                <p:cNvSpPr>
                  <a:spLocks noChangeShapeType="1"/>
                </p:cNvSpPr>
                <p:nvPr/>
              </p:nvSpPr>
              <p:spPr bwMode="auto">
                <a:xfrm>
                  <a:off x="6987625" y="3161720"/>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6" name="Line 55">
                  <a:extLst>
                    <a:ext uri="{FF2B5EF4-FFF2-40B4-BE49-F238E27FC236}">
                      <a16:creationId xmlns:a16="http://schemas.microsoft.com/office/drawing/2014/main" id="{62BDF159-AA43-4A41-E77F-A99906FFB099}"/>
                    </a:ext>
                  </a:extLst>
                </p:cNvPr>
                <p:cNvSpPr>
                  <a:spLocks noChangeShapeType="1"/>
                </p:cNvSpPr>
                <p:nvPr/>
              </p:nvSpPr>
              <p:spPr bwMode="auto">
                <a:xfrm>
                  <a:off x="7015508"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7" name="Line 56">
                  <a:extLst>
                    <a:ext uri="{FF2B5EF4-FFF2-40B4-BE49-F238E27FC236}">
                      <a16:creationId xmlns:a16="http://schemas.microsoft.com/office/drawing/2014/main" id="{D16A581C-59B1-4B85-D282-44A0303B416A}"/>
                    </a:ext>
                  </a:extLst>
                </p:cNvPr>
                <p:cNvSpPr>
                  <a:spLocks noChangeShapeType="1"/>
                </p:cNvSpPr>
                <p:nvPr/>
              </p:nvSpPr>
              <p:spPr bwMode="auto">
                <a:xfrm>
                  <a:off x="6995826"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8" name="Line 57">
                  <a:extLst>
                    <a:ext uri="{FF2B5EF4-FFF2-40B4-BE49-F238E27FC236}">
                      <a16:creationId xmlns:a16="http://schemas.microsoft.com/office/drawing/2014/main" id="{9E3A9802-3247-A5C2-E64F-0E3A2577254D}"/>
                    </a:ext>
                  </a:extLst>
                </p:cNvPr>
                <p:cNvSpPr>
                  <a:spLocks noChangeShapeType="1"/>
                </p:cNvSpPr>
                <p:nvPr/>
              </p:nvSpPr>
              <p:spPr bwMode="auto">
                <a:xfrm>
                  <a:off x="7035190"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9" name="Line 58">
                  <a:extLst>
                    <a:ext uri="{FF2B5EF4-FFF2-40B4-BE49-F238E27FC236}">
                      <a16:creationId xmlns:a16="http://schemas.microsoft.com/office/drawing/2014/main" id="{E284308C-73EF-C710-DDCA-9911211473A6}"/>
                    </a:ext>
                  </a:extLst>
                </p:cNvPr>
                <p:cNvSpPr>
                  <a:spLocks noChangeShapeType="1"/>
                </p:cNvSpPr>
                <p:nvPr/>
              </p:nvSpPr>
              <p:spPr bwMode="auto">
                <a:xfrm>
                  <a:off x="7015508" y="3161720"/>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0" name="Line 59">
                  <a:extLst>
                    <a:ext uri="{FF2B5EF4-FFF2-40B4-BE49-F238E27FC236}">
                      <a16:creationId xmlns:a16="http://schemas.microsoft.com/office/drawing/2014/main" id="{5636BB52-5BDB-5088-F847-A12263FA0D42}"/>
                    </a:ext>
                  </a:extLst>
                </p:cNvPr>
                <p:cNvSpPr>
                  <a:spLocks noChangeShapeType="1"/>
                </p:cNvSpPr>
                <p:nvPr/>
              </p:nvSpPr>
              <p:spPr bwMode="auto">
                <a:xfrm>
                  <a:off x="7090137"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1" name="Line 60">
                  <a:extLst>
                    <a:ext uri="{FF2B5EF4-FFF2-40B4-BE49-F238E27FC236}">
                      <a16:creationId xmlns:a16="http://schemas.microsoft.com/office/drawing/2014/main" id="{6F689523-DE91-D1F0-96D0-93AAE4680188}"/>
                    </a:ext>
                  </a:extLst>
                </p:cNvPr>
                <p:cNvSpPr>
                  <a:spLocks noChangeShapeType="1"/>
                </p:cNvSpPr>
                <p:nvPr/>
              </p:nvSpPr>
              <p:spPr bwMode="auto">
                <a:xfrm>
                  <a:off x="7067995" y="3161720"/>
                  <a:ext cx="4182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2" name="Line 61">
                  <a:extLst>
                    <a:ext uri="{FF2B5EF4-FFF2-40B4-BE49-F238E27FC236}">
                      <a16:creationId xmlns:a16="http://schemas.microsoft.com/office/drawing/2014/main" id="{58BE7DB3-6061-C8BE-F531-E0C57125B6FC}"/>
                    </a:ext>
                  </a:extLst>
                </p:cNvPr>
                <p:cNvSpPr>
                  <a:spLocks noChangeShapeType="1"/>
                </p:cNvSpPr>
                <p:nvPr/>
              </p:nvSpPr>
              <p:spPr bwMode="auto">
                <a:xfrm>
                  <a:off x="7132782"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3" name="Line 62">
                  <a:extLst>
                    <a:ext uri="{FF2B5EF4-FFF2-40B4-BE49-F238E27FC236}">
                      <a16:creationId xmlns:a16="http://schemas.microsoft.com/office/drawing/2014/main" id="{7B1F7DBF-8CA7-5554-4553-5829555C5E12}"/>
                    </a:ext>
                  </a:extLst>
                </p:cNvPr>
                <p:cNvSpPr>
                  <a:spLocks noChangeShapeType="1"/>
                </p:cNvSpPr>
                <p:nvPr/>
              </p:nvSpPr>
              <p:spPr bwMode="auto">
                <a:xfrm>
                  <a:off x="7113100"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4" name="Line 63">
                  <a:extLst>
                    <a:ext uri="{FF2B5EF4-FFF2-40B4-BE49-F238E27FC236}">
                      <a16:creationId xmlns:a16="http://schemas.microsoft.com/office/drawing/2014/main" id="{3B5A99B1-D393-F63F-F154-52F7F67D5854}"/>
                    </a:ext>
                  </a:extLst>
                </p:cNvPr>
                <p:cNvSpPr>
                  <a:spLocks noChangeShapeType="1"/>
                </p:cNvSpPr>
                <p:nvPr/>
              </p:nvSpPr>
              <p:spPr bwMode="auto">
                <a:xfrm>
                  <a:off x="7142623"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5" name="Line 64">
                  <a:extLst>
                    <a:ext uri="{FF2B5EF4-FFF2-40B4-BE49-F238E27FC236}">
                      <a16:creationId xmlns:a16="http://schemas.microsoft.com/office/drawing/2014/main" id="{84B9B42A-E272-C66C-C846-C0F31D468975}"/>
                    </a:ext>
                  </a:extLst>
                </p:cNvPr>
                <p:cNvSpPr>
                  <a:spLocks noChangeShapeType="1"/>
                </p:cNvSpPr>
                <p:nvPr/>
              </p:nvSpPr>
              <p:spPr bwMode="auto">
                <a:xfrm>
                  <a:off x="7121301" y="3161720"/>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6" name="Line 65">
                  <a:extLst>
                    <a:ext uri="{FF2B5EF4-FFF2-40B4-BE49-F238E27FC236}">
                      <a16:creationId xmlns:a16="http://schemas.microsoft.com/office/drawing/2014/main" id="{7962E0E0-DA6B-DDA4-282D-ED887DAC54C4}"/>
                    </a:ext>
                  </a:extLst>
                </p:cNvPr>
                <p:cNvSpPr>
                  <a:spLocks noChangeShapeType="1"/>
                </p:cNvSpPr>
                <p:nvPr/>
              </p:nvSpPr>
              <p:spPr bwMode="auto">
                <a:xfrm>
                  <a:off x="7226274"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7" name="Line 66">
                  <a:extLst>
                    <a:ext uri="{FF2B5EF4-FFF2-40B4-BE49-F238E27FC236}">
                      <a16:creationId xmlns:a16="http://schemas.microsoft.com/office/drawing/2014/main" id="{C83E33A3-D0EC-06E4-463A-DB86671ADA70}"/>
                    </a:ext>
                  </a:extLst>
                </p:cNvPr>
                <p:cNvSpPr>
                  <a:spLocks noChangeShapeType="1"/>
                </p:cNvSpPr>
                <p:nvPr/>
              </p:nvSpPr>
              <p:spPr bwMode="auto">
                <a:xfrm>
                  <a:off x="7206591" y="3161720"/>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8" name="Line 67">
                  <a:extLst>
                    <a:ext uri="{FF2B5EF4-FFF2-40B4-BE49-F238E27FC236}">
                      <a16:creationId xmlns:a16="http://schemas.microsoft.com/office/drawing/2014/main" id="{DD3335EC-B08E-9B8B-8604-556EDF27678E}"/>
                    </a:ext>
                  </a:extLst>
                </p:cNvPr>
                <p:cNvSpPr>
                  <a:spLocks noChangeShapeType="1"/>
                </p:cNvSpPr>
                <p:nvPr/>
              </p:nvSpPr>
              <p:spPr bwMode="auto">
                <a:xfrm>
                  <a:off x="7300083"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9" name="Line 68">
                  <a:extLst>
                    <a:ext uri="{FF2B5EF4-FFF2-40B4-BE49-F238E27FC236}">
                      <a16:creationId xmlns:a16="http://schemas.microsoft.com/office/drawing/2014/main" id="{7AD652D9-1201-655E-77BB-88513655A5A7}"/>
                    </a:ext>
                  </a:extLst>
                </p:cNvPr>
                <p:cNvSpPr>
                  <a:spLocks noChangeShapeType="1"/>
                </p:cNvSpPr>
                <p:nvPr/>
              </p:nvSpPr>
              <p:spPr bwMode="auto">
                <a:xfrm>
                  <a:off x="7280401" y="3161720"/>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 name="Line 69">
                  <a:extLst>
                    <a:ext uri="{FF2B5EF4-FFF2-40B4-BE49-F238E27FC236}">
                      <a16:creationId xmlns:a16="http://schemas.microsoft.com/office/drawing/2014/main" id="{F64D3E46-3116-979B-7361-02ED55AE1744}"/>
                    </a:ext>
                  </a:extLst>
                </p:cNvPr>
                <p:cNvSpPr>
                  <a:spLocks noChangeShapeType="1"/>
                </p:cNvSpPr>
                <p:nvPr/>
              </p:nvSpPr>
              <p:spPr bwMode="auto">
                <a:xfrm>
                  <a:off x="7408337"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8" name="Line 70">
                  <a:extLst>
                    <a:ext uri="{FF2B5EF4-FFF2-40B4-BE49-F238E27FC236}">
                      <a16:creationId xmlns:a16="http://schemas.microsoft.com/office/drawing/2014/main" id="{4EFBFBA4-3AB3-0FD8-B5AA-29E38E326E32}"/>
                    </a:ext>
                  </a:extLst>
                </p:cNvPr>
                <p:cNvSpPr>
                  <a:spLocks noChangeShapeType="1"/>
                </p:cNvSpPr>
                <p:nvPr/>
              </p:nvSpPr>
              <p:spPr bwMode="auto">
                <a:xfrm>
                  <a:off x="7388654"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9" name="Line 71">
                  <a:extLst>
                    <a:ext uri="{FF2B5EF4-FFF2-40B4-BE49-F238E27FC236}">
                      <a16:creationId xmlns:a16="http://schemas.microsoft.com/office/drawing/2014/main" id="{FA103860-F136-6F49-F974-01C8001D1F54}"/>
                    </a:ext>
                  </a:extLst>
                </p:cNvPr>
                <p:cNvSpPr>
                  <a:spLocks noChangeShapeType="1"/>
                </p:cNvSpPr>
                <p:nvPr/>
              </p:nvSpPr>
              <p:spPr bwMode="auto">
                <a:xfrm>
                  <a:off x="7487066"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0" name="Line 72">
                  <a:extLst>
                    <a:ext uri="{FF2B5EF4-FFF2-40B4-BE49-F238E27FC236}">
                      <a16:creationId xmlns:a16="http://schemas.microsoft.com/office/drawing/2014/main" id="{5EB6E58C-7431-DE39-7994-77034F4178A9}"/>
                    </a:ext>
                  </a:extLst>
                </p:cNvPr>
                <p:cNvSpPr>
                  <a:spLocks noChangeShapeType="1"/>
                </p:cNvSpPr>
                <p:nvPr/>
              </p:nvSpPr>
              <p:spPr bwMode="auto">
                <a:xfrm>
                  <a:off x="7467384"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1" name="Line 73">
                  <a:extLst>
                    <a:ext uri="{FF2B5EF4-FFF2-40B4-BE49-F238E27FC236}">
                      <a16:creationId xmlns:a16="http://schemas.microsoft.com/office/drawing/2014/main" id="{29C2BE5F-85A9-0760-50DB-F053FA2FFEAB}"/>
                    </a:ext>
                  </a:extLst>
                </p:cNvPr>
                <p:cNvSpPr>
                  <a:spLocks noChangeShapeType="1"/>
                </p:cNvSpPr>
                <p:nvPr/>
              </p:nvSpPr>
              <p:spPr bwMode="auto">
                <a:xfrm>
                  <a:off x="7518231"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2" name="Line 74">
                  <a:extLst>
                    <a:ext uri="{FF2B5EF4-FFF2-40B4-BE49-F238E27FC236}">
                      <a16:creationId xmlns:a16="http://schemas.microsoft.com/office/drawing/2014/main" id="{99BA2A99-8F8F-0E21-BAE2-4E1C88252267}"/>
                    </a:ext>
                  </a:extLst>
                </p:cNvPr>
                <p:cNvSpPr>
                  <a:spLocks noChangeShapeType="1"/>
                </p:cNvSpPr>
                <p:nvPr/>
              </p:nvSpPr>
              <p:spPr bwMode="auto">
                <a:xfrm>
                  <a:off x="7498547"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3" name="Line 75">
                  <a:extLst>
                    <a:ext uri="{FF2B5EF4-FFF2-40B4-BE49-F238E27FC236}">
                      <a16:creationId xmlns:a16="http://schemas.microsoft.com/office/drawing/2014/main" id="{796745C2-BC51-B5A6-08A2-CDB7A4C1A6DC}"/>
                    </a:ext>
                  </a:extLst>
                </p:cNvPr>
                <p:cNvSpPr>
                  <a:spLocks noChangeShapeType="1"/>
                </p:cNvSpPr>
                <p:nvPr/>
              </p:nvSpPr>
              <p:spPr bwMode="auto">
                <a:xfrm>
                  <a:off x="7595320"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4" name="Line 76">
                  <a:extLst>
                    <a:ext uri="{FF2B5EF4-FFF2-40B4-BE49-F238E27FC236}">
                      <a16:creationId xmlns:a16="http://schemas.microsoft.com/office/drawing/2014/main" id="{E2123C76-B8E2-F89F-CC69-A849B61A2F5C}"/>
                    </a:ext>
                  </a:extLst>
                </p:cNvPr>
                <p:cNvSpPr>
                  <a:spLocks noChangeShapeType="1"/>
                </p:cNvSpPr>
                <p:nvPr/>
              </p:nvSpPr>
              <p:spPr bwMode="auto">
                <a:xfrm>
                  <a:off x="7575638"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5" name="Line 77">
                  <a:extLst>
                    <a:ext uri="{FF2B5EF4-FFF2-40B4-BE49-F238E27FC236}">
                      <a16:creationId xmlns:a16="http://schemas.microsoft.com/office/drawing/2014/main" id="{7F346879-2866-99F9-62A9-A7230AA3C76D}"/>
                    </a:ext>
                  </a:extLst>
                </p:cNvPr>
                <p:cNvSpPr>
                  <a:spLocks noChangeShapeType="1"/>
                </p:cNvSpPr>
                <p:nvPr/>
              </p:nvSpPr>
              <p:spPr bwMode="auto">
                <a:xfrm>
                  <a:off x="7606801"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6" name="Line 78">
                  <a:extLst>
                    <a:ext uri="{FF2B5EF4-FFF2-40B4-BE49-F238E27FC236}">
                      <a16:creationId xmlns:a16="http://schemas.microsoft.com/office/drawing/2014/main" id="{E15E5608-5E71-3AFF-5085-55486F56DF0B}"/>
                    </a:ext>
                  </a:extLst>
                </p:cNvPr>
                <p:cNvSpPr>
                  <a:spLocks noChangeShapeType="1"/>
                </p:cNvSpPr>
                <p:nvPr/>
              </p:nvSpPr>
              <p:spPr bwMode="auto">
                <a:xfrm>
                  <a:off x="7587119" y="3161720"/>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7" name="Line 79">
                  <a:extLst>
                    <a:ext uri="{FF2B5EF4-FFF2-40B4-BE49-F238E27FC236}">
                      <a16:creationId xmlns:a16="http://schemas.microsoft.com/office/drawing/2014/main" id="{71AC6F83-F39F-6F08-3475-3BDDC528AC1A}"/>
                    </a:ext>
                  </a:extLst>
                </p:cNvPr>
                <p:cNvSpPr>
                  <a:spLocks noChangeShapeType="1"/>
                </p:cNvSpPr>
                <p:nvPr/>
              </p:nvSpPr>
              <p:spPr bwMode="auto">
                <a:xfrm>
                  <a:off x="7854472"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8" name="Line 80">
                  <a:extLst>
                    <a:ext uri="{FF2B5EF4-FFF2-40B4-BE49-F238E27FC236}">
                      <a16:creationId xmlns:a16="http://schemas.microsoft.com/office/drawing/2014/main" id="{D6C53159-BB30-4E64-A8D8-59A039F06BB4}"/>
                    </a:ext>
                  </a:extLst>
                </p:cNvPr>
                <p:cNvSpPr>
                  <a:spLocks noChangeShapeType="1"/>
                </p:cNvSpPr>
                <p:nvPr/>
              </p:nvSpPr>
              <p:spPr bwMode="auto">
                <a:xfrm>
                  <a:off x="7834789"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1" name="Line 81">
                  <a:extLst>
                    <a:ext uri="{FF2B5EF4-FFF2-40B4-BE49-F238E27FC236}">
                      <a16:creationId xmlns:a16="http://schemas.microsoft.com/office/drawing/2014/main" id="{67582A39-DFAE-2850-3910-D6642232E75D}"/>
                    </a:ext>
                  </a:extLst>
                </p:cNvPr>
                <p:cNvSpPr>
                  <a:spLocks noChangeShapeType="1"/>
                </p:cNvSpPr>
                <p:nvPr/>
              </p:nvSpPr>
              <p:spPr bwMode="auto">
                <a:xfrm>
                  <a:off x="7870873"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2" name="Line 82">
                  <a:extLst>
                    <a:ext uri="{FF2B5EF4-FFF2-40B4-BE49-F238E27FC236}">
                      <a16:creationId xmlns:a16="http://schemas.microsoft.com/office/drawing/2014/main" id="{6215E93C-5718-C91D-B357-59517036793B}"/>
                    </a:ext>
                  </a:extLst>
                </p:cNvPr>
                <p:cNvSpPr>
                  <a:spLocks noChangeShapeType="1"/>
                </p:cNvSpPr>
                <p:nvPr/>
              </p:nvSpPr>
              <p:spPr bwMode="auto">
                <a:xfrm>
                  <a:off x="7851191"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3" name="Line 83">
                  <a:extLst>
                    <a:ext uri="{FF2B5EF4-FFF2-40B4-BE49-F238E27FC236}">
                      <a16:creationId xmlns:a16="http://schemas.microsoft.com/office/drawing/2014/main" id="{8F836C91-EE71-4BD8-4BAB-430432729171}"/>
                    </a:ext>
                  </a:extLst>
                </p:cNvPr>
                <p:cNvSpPr>
                  <a:spLocks noChangeShapeType="1"/>
                </p:cNvSpPr>
                <p:nvPr/>
              </p:nvSpPr>
              <p:spPr bwMode="auto">
                <a:xfrm>
                  <a:off x="7882356"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5" name="Line 84">
                  <a:extLst>
                    <a:ext uri="{FF2B5EF4-FFF2-40B4-BE49-F238E27FC236}">
                      <a16:creationId xmlns:a16="http://schemas.microsoft.com/office/drawing/2014/main" id="{51C50F36-0A74-E564-D020-C280A60FC62A}"/>
                    </a:ext>
                  </a:extLst>
                </p:cNvPr>
                <p:cNvSpPr>
                  <a:spLocks noChangeShapeType="1"/>
                </p:cNvSpPr>
                <p:nvPr/>
              </p:nvSpPr>
              <p:spPr bwMode="auto">
                <a:xfrm>
                  <a:off x="7862673" y="3161720"/>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9" name="Line 85">
                  <a:extLst>
                    <a:ext uri="{FF2B5EF4-FFF2-40B4-BE49-F238E27FC236}">
                      <a16:creationId xmlns:a16="http://schemas.microsoft.com/office/drawing/2014/main" id="{2588C0A7-44AA-9AE4-5A09-63A2AE5010CF}"/>
                    </a:ext>
                  </a:extLst>
                </p:cNvPr>
                <p:cNvSpPr>
                  <a:spLocks noChangeShapeType="1"/>
                </p:cNvSpPr>
                <p:nvPr/>
              </p:nvSpPr>
              <p:spPr bwMode="auto">
                <a:xfrm>
                  <a:off x="7911879"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2" name="Line 86">
                  <a:extLst>
                    <a:ext uri="{FF2B5EF4-FFF2-40B4-BE49-F238E27FC236}">
                      <a16:creationId xmlns:a16="http://schemas.microsoft.com/office/drawing/2014/main" id="{8714947E-680C-3F85-C906-4B24EF33D7DC}"/>
                    </a:ext>
                  </a:extLst>
                </p:cNvPr>
                <p:cNvSpPr>
                  <a:spLocks noChangeShapeType="1"/>
                </p:cNvSpPr>
                <p:nvPr/>
              </p:nvSpPr>
              <p:spPr bwMode="auto">
                <a:xfrm>
                  <a:off x="7892196" y="3161720"/>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4" name="Line 87">
                  <a:extLst>
                    <a:ext uri="{FF2B5EF4-FFF2-40B4-BE49-F238E27FC236}">
                      <a16:creationId xmlns:a16="http://schemas.microsoft.com/office/drawing/2014/main" id="{495E190D-F712-D7A3-7D6A-1C194C3409F5}"/>
                    </a:ext>
                  </a:extLst>
                </p:cNvPr>
                <p:cNvSpPr>
                  <a:spLocks noChangeShapeType="1"/>
                </p:cNvSpPr>
                <p:nvPr/>
              </p:nvSpPr>
              <p:spPr bwMode="auto">
                <a:xfrm>
                  <a:off x="7944683"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5" name="Line 88">
                  <a:extLst>
                    <a:ext uri="{FF2B5EF4-FFF2-40B4-BE49-F238E27FC236}">
                      <a16:creationId xmlns:a16="http://schemas.microsoft.com/office/drawing/2014/main" id="{16F4CC15-449C-EDF6-39CD-5BFBD2DFA7D1}"/>
                    </a:ext>
                  </a:extLst>
                </p:cNvPr>
                <p:cNvSpPr>
                  <a:spLocks noChangeShapeType="1"/>
                </p:cNvSpPr>
                <p:nvPr/>
              </p:nvSpPr>
              <p:spPr bwMode="auto">
                <a:xfrm>
                  <a:off x="7925001"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6" name="Line 89">
                  <a:extLst>
                    <a:ext uri="{FF2B5EF4-FFF2-40B4-BE49-F238E27FC236}">
                      <a16:creationId xmlns:a16="http://schemas.microsoft.com/office/drawing/2014/main" id="{780A2114-6159-0B9E-4A63-851C72E4AC6B}"/>
                    </a:ext>
                  </a:extLst>
                </p:cNvPr>
                <p:cNvSpPr>
                  <a:spLocks noChangeShapeType="1"/>
                </p:cNvSpPr>
                <p:nvPr/>
              </p:nvSpPr>
              <p:spPr bwMode="auto">
                <a:xfrm>
                  <a:off x="7949603"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7" name="Line 90">
                  <a:extLst>
                    <a:ext uri="{FF2B5EF4-FFF2-40B4-BE49-F238E27FC236}">
                      <a16:creationId xmlns:a16="http://schemas.microsoft.com/office/drawing/2014/main" id="{29CEA3D2-97CD-D576-F92E-C6EF97D01AFB}"/>
                    </a:ext>
                  </a:extLst>
                </p:cNvPr>
                <p:cNvSpPr>
                  <a:spLocks noChangeShapeType="1"/>
                </p:cNvSpPr>
                <p:nvPr/>
              </p:nvSpPr>
              <p:spPr bwMode="auto">
                <a:xfrm>
                  <a:off x="7929921"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8" name="Line 91">
                  <a:extLst>
                    <a:ext uri="{FF2B5EF4-FFF2-40B4-BE49-F238E27FC236}">
                      <a16:creationId xmlns:a16="http://schemas.microsoft.com/office/drawing/2014/main" id="{4A209888-4857-7780-303F-3E64C8793BB2}"/>
                    </a:ext>
                  </a:extLst>
                </p:cNvPr>
                <p:cNvSpPr>
                  <a:spLocks noChangeShapeType="1"/>
                </p:cNvSpPr>
                <p:nvPr/>
              </p:nvSpPr>
              <p:spPr bwMode="auto">
                <a:xfrm>
                  <a:off x="8033254"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9" name="Line 92">
                  <a:extLst>
                    <a:ext uri="{FF2B5EF4-FFF2-40B4-BE49-F238E27FC236}">
                      <a16:creationId xmlns:a16="http://schemas.microsoft.com/office/drawing/2014/main" id="{1F640A37-92AD-CEF1-0806-C15E94E6D422}"/>
                    </a:ext>
                  </a:extLst>
                </p:cNvPr>
                <p:cNvSpPr>
                  <a:spLocks noChangeShapeType="1"/>
                </p:cNvSpPr>
                <p:nvPr/>
              </p:nvSpPr>
              <p:spPr bwMode="auto">
                <a:xfrm>
                  <a:off x="8013572"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0" name="Line 93">
                  <a:extLst>
                    <a:ext uri="{FF2B5EF4-FFF2-40B4-BE49-F238E27FC236}">
                      <a16:creationId xmlns:a16="http://schemas.microsoft.com/office/drawing/2014/main" id="{8F2AB4DF-A541-3EEE-050A-53094FA0AB03}"/>
                    </a:ext>
                  </a:extLst>
                </p:cNvPr>
                <p:cNvSpPr>
                  <a:spLocks noChangeShapeType="1"/>
                </p:cNvSpPr>
                <p:nvPr/>
              </p:nvSpPr>
              <p:spPr bwMode="auto">
                <a:xfrm>
                  <a:off x="8046376"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1" name="Line 94">
                  <a:extLst>
                    <a:ext uri="{FF2B5EF4-FFF2-40B4-BE49-F238E27FC236}">
                      <a16:creationId xmlns:a16="http://schemas.microsoft.com/office/drawing/2014/main" id="{FF12CB88-B9EC-740A-8D4C-F713E95DD956}"/>
                    </a:ext>
                  </a:extLst>
                </p:cNvPr>
                <p:cNvSpPr>
                  <a:spLocks noChangeShapeType="1"/>
                </p:cNvSpPr>
                <p:nvPr/>
              </p:nvSpPr>
              <p:spPr bwMode="auto">
                <a:xfrm>
                  <a:off x="8026694"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2" name="Line 95">
                  <a:extLst>
                    <a:ext uri="{FF2B5EF4-FFF2-40B4-BE49-F238E27FC236}">
                      <a16:creationId xmlns:a16="http://schemas.microsoft.com/office/drawing/2014/main" id="{2F521033-DA5B-4241-7E85-347B071A028B}"/>
                    </a:ext>
                  </a:extLst>
                </p:cNvPr>
                <p:cNvSpPr>
                  <a:spLocks noChangeShapeType="1"/>
                </p:cNvSpPr>
                <p:nvPr/>
              </p:nvSpPr>
              <p:spPr bwMode="auto">
                <a:xfrm>
                  <a:off x="8166110"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3" name="Line 96">
                  <a:extLst>
                    <a:ext uri="{FF2B5EF4-FFF2-40B4-BE49-F238E27FC236}">
                      <a16:creationId xmlns:a16="http://schemas.microsoft.com/office/drawing/2014/main" id="{97B78D67-192A-A604-69A2-612E021C46F2}"/>
                    </a:ext>
                  </a:extLst>
                </p:cNvPr>
                <p:cNvSpPr>
                  <a:spLocks noChangeShapeType="1"/>
                </p:cNvSpPr>
                <p:nvPr/>
              </p:nvSpPr>
              <p:spPr bwMode="auto">
                <a:xfrm>
                  <a:off x="8146428" y="3161720"/>
                  <a:ext cx="3936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4" name="Line 97">
                  <a:extLst>
                    <a:ext uri="{FF2B5EF4-FFF2-40B4-BE49-F238E27FC236}">
                      <a16:creationId xmlns:a16="http://schemas.microsoft.com/office/drawing/2014/main" id="{3FF8EDE7-F5A0-C884-60C1-B1E86FA12D51}"/>
                    </a:ext>
                  </a:extLst>
                </p:cNvPr>
                <p:cNvSpPr>
                  <a:spLocks noChangeShapeType="1"/>
                </p:cNvSpPr>
                <p:nvPr/>
              </p:nvSpPr>
              <p:spPr bwMode="auto">
                <a:xfrm>
                  <a:off x="8269444" y="3134027"/>
                  <a:ext cx="0" cy="55386"/>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5" name="Line 98">
                  <a:extLst>
                    <a:ext uri="{FF2B5EF4-FFF2-40B4-BE49-F238E27FC236}">
                      <a16:creationId xmlns:a16="http://schemas.microsoft.com/office/drawing/2014/main" id="{9743BB01-8A00-7BA4-98C7-D0D0105E1040}"/>
                    </a:ext>
                  </a:extLst>
                </p:cNvPr>
                <p:cNvSpPr>
                  <a:spLocks noChangeShapeType="1"/>
                </p:cNvSpPr>
                <p:nvPr/>
              </p:nvSpPr>
              <p:spPr bwMode="auto">
                <a:xfrm>
                  <a:off x="8248121" y="3161720"/>
                  <a:ext cx="41005" cy="0"/>
                </a:xfrm>
                <a:prstGeom prst="line">
                  <a:avLst/>
                </a:prstGeom>
                <a:noFill/>
                <a:ln w="12700" cap="flat">
                  <a:solidFill>
                    <a:srgbClr val="595454"/>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6" name="Freeform 99">
                  <a:extLst>
                    <a:ext uri="{FF2B5EF4-FFF2-40B4-BE49-F238E27FC236}">
                      <a16:creationId xmlns:a16="http://schemas.microsoft.com/office/drawing/2014/main" id="{2D71168B-F06B-5F95-E832-B20B4C88B829}"/>
                    </a:ext>
                  </a:extLst>
                </p:cNvPr>
                <p:cNvSpPr>
                  <a:spLocks/>
                </p:cNvSpPr>
                <p:nvPr/>
              </p:nvSpPr>
              <p:spPr bwMode="auto">
                <a:xfrm>
                  <a:off x="3599784" y="1803617"/>
                  <a:ext cx="4669659" cy="1358103"/>
                </a:xfrm>
                <a:custGeom>
                  <a:avLst/>
                  <a:gdLst>
                    <a:gd name="T0" fmla="*/ 78 w 5694"/>
                    <a:gd name="T1" fmla="*/ 0 h 1177"/>
                    <a:gd name="T2" fmla="*/ 88 w 5694"/>
                    <a:gd name="T3" fmla="*/ 26 h 1177"/>
                    <a:gd name="T4" fmla="*/ 132 w 5694"/>
                    <a:gd name="T5" fmla="*/ 54 h 1177"/>
                    <a:gd name="T6" fmla="*/ 182 w 5694"/>
                    <a:gd name="T7" fmla="*/ 79 h 1177"/>
                    <a:gd name="T8" fmla="*/ 244 w 5694"/>
                    <a:gd name="T9" fmla="*/ 107 h 1177"/>
                    <a:gd name="T10" fmla="*/ 256 w 5694"/>
                    <a:gd name="T11" fmla="*/ 133 h 1177"/>
                    <a:gd name="T12" fmla="*/ 292 w 5694"/>
                    <a:gd name="T13" fmla="*/ 159 h 1177"/>
                    <a:gd name="T14" fmla="*/ 308 w 5694"/>
                    <a:gd name="T15" fmla="*/ 185 h 1177"/>
                    <a:gd name="T16" fmla="*/ 446 w 5694"/>
                    <a:gd name="T17" fmla="*/ 217 h 1177"/>
                    <a:gd name="T18" fmla="*/ 498 w 5694"/>
                    <a:gd name="T19" fmla="*/ 241 h 1177"/>
                    <a:gd name="T20" fmla="*/ 578 w 5694"/>
                    <a:gd name="T21" fmla="*/ 271 h 1177"/>
                    <a:gd name="T22" fmla="*/ 600 w 5694"/>
                    <a:gd name="T23" fmla="*/ 295 h 1177"/>
                    <a:gd name="T24" fmla="*/ 652 w 5694"/>
                    <a:gd name="T25" fmla="*/ 322 h 1177"/>
                    <a:gd name="T26" fmla="*/ 708 w 5694"/>
                    <a:gd name="T27" fmla="*/ 354 h 1177"/>
                    <a:gd name="T28" fmla="*/ 762 w 5694"/>
                    <a:gd name="T29" fmla="*/ 380 h 1177"/>
                    <a:gd name="T30" fmla="*/ 822 w 5694"/>
                    <a:gd name="T31" fmla="*/ 406 h 1177"/>
                    <a:gd name="T32" fmla="*/ 836 w 5694"/>
                    <a:gd name="T33" fmla="*/ 434 h 1177"/>
                    <a:gd name="T34" fmla="*/ 910 w 5694"/>
                    <a:gd name="T35" fmla="*/ 464 h 1177"/>
                    <a:gd name="T36" fmla="*/ 946 w 5694"/>
                    <a:gd name="T37" fmla="*/ 490 h 1177"/>
                    <a:gd name="T38" fmla="*/ 984 w 5694"/>
                    <a:gd name="T39" fmla="*/ 516 h 1177"/>
                    <a:gd name="T40" fmla="*/ 998 w 5694"/>
                    <a:gd name="T41" fmla="*/ 542 h 1177"/>
                    <a:gd name="T42" fmla="*/ 1008 w 5694"/>
                    <a:gd name="T43" fmla="*/ 601 h 1177"/>
                    <a:gd name="T44" fmla="*/ 1094 w 5694"/>
                    <a:gd name="T45" fmla="*/ 629 h 1177"/>
                    <a:gd name="T46" fmla="*/ 1144 w 5694"/>
                    <a:gd name="T47" fmla="*/ 653 h 1177"/>
                    <a:gd name="T48" fmla="*/ 1439 w 5694"/>
                    <a:gd name="T49" fmla="*/ 679 h 1177"/>
                    <a:gd name="T50" fmla="*/ 1461 w 5694"/>
                    <a:gd name="T51" fmla="*/ 711 h 1177"/>
                    <a:gd name="T52" fmla="*/ 1619 w 5694"/>
                    <a:gd name="T53" fmla="*/ 737 h 1177"/>
                    <a:gd name="T54" fmla="*/ 1739 w 5694"/>
                    <a:gd name="T55" fmla="*/ 765 h 1177"/>
                    <a:gd name="T56" fmla="*/ 1757 w 5694"/>
                    <a:gd name="T57" fmla="*/ 793 h 1177"/>
                    <a:gd name="T58" fmla="*/ 1791 w 5694"/>
                    <a:gd name="T59" fmla="*/ 822 h 1177"/>
                    <a:gd name="T60" fmla="*/ 1829 w 5694"/>
                    <a:gd name="T61" fmla="*/ 846 h 1177"/>
                    <a:gd name="T62" fmla="*/ 1913 w 5694"/>
                    <a:gd name="T63" fmla="*/ 880 h 1177"/>
                    <a:gd name="T64" fmla="*/ 1925 w 5694"/>
                    <a:gd name="T65" fmla="*/ 906 h 1177"/>
                    <a:gd name="T66" fmla="*/ 1961 w 5694"/>
                    <a:gd name="T67" fmla="*/ 932 h 1177"/>
                    <a:gd name="T68" fmla="*/ 2013 w 5694"/>
                    <a:gd name="T69" fmla="*/ 962 h 1177"/>
                    <a:gd name="T70" fmla="*/ 2271 w 5694"/>
                    <a:gd name="T71" fmla="*/ 988 h 1177"/>
                    <a:gd name="T72" fmla="*/ 3021 w 5694"/>
                    <a:gd name="T73" fmla="*/ 1020 h 1177"/>
                    <a:gd name="T74" fmla="*/ 3281 w 5694"/>
                    <a:gd name="T75" fmla="*/ 1048 h 1177"/>
                    <a:gd name="T76" fmla="*/ 3377 w 5694"/>
                    <a:gd name="T77" fmla="*/ 1077 h 1177"/>
                    <a:gd name="T78" fmla="*/ 3739 w 5694"/>
                    <a:gd name="T79" fmla="*/ 1103 h 1177"/>
                    <a:gd name="T80" fmla="*/ 3917 w 5694"/>
                    <a:gd name="T81" fmla="*/ 1137 h 1177"/>
                    <a:gd name="T82" fmla="*/ 5694 w 5694"/>
                    <a:gd name="T83" fmla="*/ 1177 h 1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94" h="1177">
                      <a:moveTo>
                        <a:pt x="0" y="0"/>
                      </a:moveTo>
                      <a:lnTo>
                        <a:pt x="78" y="0"/>
                      </a:lnTo>
                      <a:lnTo>
                        <a:pt x="78" y="26"/>
                      </a:lnTo>
                      <a:lnTo>
                        <a:pt x="88" y="26"/>
                      </a:lnTo>
                      <a:lnTo>
                        <a:pt x="88" y="54"/>
                      </a:lnTo>
                      <a:lnTo>
                        <a:pt x="132" y="54"/>
                      </a:lnTo>
                      <a:lnTo>
                        <a:pt x="132" y="79"/>
                      </a:lnTo>
                      <a:lnTo>
                        <a:pt x="182" y="79"/>
                      </a:lnTo>
                      <a:lnTo>
                        <a:pt x="182" y="107"/>
                      </a:lnTo>
                      <a:lnTo>
                        <a:pt x="244" y="107"/>
                      </a:lnTo>
                      <a:lnTo>
                        <a:pt x="244" y="133"/>
                      </a:lnTo>
                      <a:lnTo>
                        <a:pt x="256" y="133"/>
                      </a:lnTo>
                      <a:lnTo>
                        <a:pt x="256" y="159"/>
                      </a:lnTo>
                      <a:lnTo>
                        <a:pt x="292" y="159"/>
                      </a:lnTo>
                      <a:lnTo>
                        <a:pt x="292" y="185"/>
                      </a:lnTo>
                      <a:lnTo>
                        <a:pt x="308" y="185"/>
                      </a:lnTo>
                      <a:lnTo>
                        <a:pt x="308" y="217"/>
                      </a:lnTo>
                      <a:lnTo>
                        <a:pt x="446" y="217"/>
                      </a:lnTo>
                      <a:lnTo>
                        <a:pt x="446" y="241"/>
                      </a:lnTo>
                      <a:lnTo>
                        <a:pt x="498" y="241"/>
                      </a:lnTo>
                      <a:lnTo>
                        <a:pt x="498" y="271"/>
                      </a:lnTo>
                      <a:lnTo>
                        <a:pt x="578" y="271"/>
                      </a:lnTo>
                      <a:lnTo>
                        <a:pt x="578" y="295"/>
                      </a:lnTo>
                      <a:lnTo>
                        <a:pt x="600" y="295"/>
                      </a:lnTo>
                      <a:lnTo>
                        <a:pt x="600" y="322"/>
                      </a:lnTo>
                      <a:lnTo>
                        <a:pt x="652" y="322"/>
                      </a:lnTo>
                      <a:lnTo>
                        <a:pt x="652" y="354"/>
                      </a:lnTo>
                      <a:lnTo>
                        <a:pt x="708" y="354"/>
                      </a:lnTo>
                      <a:lnTo>
                        <a:pt x="708" y="380"/>
                      </a:lnTo>
                      <a:lnTo>
                        <a:pt x="762" y="380"/>
                      </a:lnTo>
                      <a:lnTo>
                        <a:pt x="762" y="406"/>
                      </a:lnTo>
                      <a:lnTo>
                        <a:pt x="822" y="406"/>
                      </a:lnTo>
                      <a:lnTo>
                        <a:pt x="822" y="434"/>
                      </a:lnTo>
                      <a:lnTo>
                        <a:pt x="836" y="434"/>
                      </a:lnTo>
                      <a:lnTo>
                        <a:pt x="836" y="464"/>
                      </a:lnTo>
                      <a:lnTo>
                        <a:pt x="910" y="464"/>
                      </a:lnTo>
                      <a:lnTo>
                        <a:pt x="910" y="490"/>
                      </a:lnTo>
                      <a:lnTo>
                        <a:pt x="946" y="490"/>
                      </a:lnTo>
                      <a:lnTo>
                        <a:pt x="946" y="516"/>
                      </a:lnTo>
                      <a:lnTo>
                        <a:pt x="984" y="516"/>
                      </a:lnTo>
                      <a:lnTo>
                        <a:pt x="984" y="542"/>
                      </a:lnTo>
                      <a:lnTo>
                        <a:pt x="998" y="542"/>
                      </a:lnTo>
                      <a:lnTo>
                        <a:pt x="998" y="601"/>
                      </a:lnTo>
                      <a:lnTo>
                        <a:pt x="1008" y="601"/>
                      </a:lnTo>
                      <a:lnTo>
                        <a:pt x="1008" y="629"/>
                      </a:lnTo>
                      <a:lnTo>
                        <a:pt x="1094" y="629"/>
                      </a:lnTo>
                      <a:lnTo>
                        <a:pt x="1094" y="653"/>
                      </a:lnTo>
                      <a:lnTo>
                        <a:pt x="1144" y="653"/>
                      </a:lnTo>
                      <a:lnTo>
                        <a:pt x="1144" y="679"/>
                      </a:lnTo>
                      <a:lnTo>
                        <a:pt x="1439" y="679"/>
                      </a:lnTo>
                      <a:lnTo>
                        <a:pt x="1439" y="711"/>
                      </a:lnTo>
                      <a:lnTo>
                        <a:pt x="1461" y="711"/>
                      </a:lnTo>
                      <a:lnTo>
                        <a:pt x="1461" y="737"/>
                      </a:lnTo>
                      <a:lnTo>
                        <a:pt x="1619" y="737"/>
                      </a:lnTo>
                      <a:lnTo>
                        <a:pt x="1619" y="765"/>
                      </a:lnTo>
                      <a:lnTo>
                        <a:pt x="1739" y="765"/>
                      </a:lnTo>
                      <a:lnTo>
                        <a:pt x="1739" y="793"/>
                      </a:lnTo>
                      <a:lnTo>
                        <a:pt x="1757" y="793"/>
                      </a:lnTo>
                      <a:lnTo>
                        <a:pt x="1757" y="822"/>
                      </a:lnTo>
                      <a:lnTo>
                        <a:pt x="1791" y="822"/>
                      </a:lnTo>
                      <a:lnTo>
                        <a:pt x="1791" y="846"/>
                      </a:lnTo>
                      <a:lnTo>
                        <a:pt x="1829" y="846"/>
                      </a:lnTo>
                      <a:lnTo>
                        <a:pt x="1829" y="880"/>
                      </a:lnTo>
                      <a:lnTo>
                        <a:pt x="1913" y="880"/>
                      </a:lnTo>
                      <a:lnTo>
                        <a:pt x="1913" y="906"/>
                      </a:lnTo>
                      <a:lnTo>
                        <a:pt x="1925" y="906"/>
                      </a:lnTo>
                      <a:lnTo>
                        <a:pt x="1925" y="932"/>
                      </a:lnTo>
                      <a:lnTo>
                        <a:pt x="1961" y="932"/>
                      </a:lnTo>
                      <a:lnTo>
                        <a:pt x="1961" y="962"/>
                      </a:lnTo>
                      <a:lnTo>
                        <a:pt x="2013" y="962"/>
                      </a:lnTo>
                      <a:lnTo>
                        <a:pt x="2013" y="988"/>
                      </a:lnTo>
                      <a:lnTo>
                        <a:pt x="2271" y="988"/>
                      </a:lnTo>
                      <a:lnTo>
                        <a:pt x="2271" y="1020"/>
                      </a:lnTo>
                      <a:lnTo>
                        <a:pt x="3021" y="1020"/>
                      </a:lnTo>
                      <a:lnTo>
                        <a:pt x="3021" y="1048"/>
                      </a:lnTo>
                      <a:lnTo>
                        <a:pt x="3281" y="1048"/>
                      </a:lnTo>
                      <a:lnTo>
                        <a:pt x="3281" y="1077"/>
                      </a:lnTo>
                      <a:lnTo>
                        <a:pt x="3377" y="1077"/>
                      </a:lnTo>
                      <a:lnTo>
                        <a:pt x="3377" y="1103"/>
                      </a:lnTo>
                      <a:lnTo>
                        <a:pt x="3739" y="1103"/>
                      </a:lnTo>
                      <a:lnTo>
                        <a:pt x="3739" y="1137"/>
                      </a:lnTo>
                      <a:lnTo>
                        <a:pt x="3917" y="1137"/>
                      </a:lnTo>
                      <a:lnTo>
                        <a:pt x="3917" y="1177"/>
                      </a:lnTo>
                      <a:lnTo>
                        <a:pt x="5694" y="1177"/>
                      </a:lnTo>
                    </a:path>
                  </a:pathLst>
                </a:custGeom>
                <a:noFill/>
                <a:ln w="12700" cap="flat">
                  <a:solidFill>
                    <a:srgbClr val="59545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sp>
          <p:nvSpPr>
            <p:cNvPr id="217" name="TextBox 216">
              <a:extLst>
                <a:ext uri="{FF2B5EF4-FFF2-40B4-BE49-F238E27FC236}">
                  <a16:creationId xmlns:a16="http://schemas.microsoft.com/office/drawing/2014/main" id="{54F95FB7-EF6F-8E50-6722-86326DC504C5}"/>
                </a:ext>
              </a:extLst>
            </p:cNvPr>
            <p:cNvSpPr txBox="1"/>
            <p:nvPr/>
          </p:nvSpPr>
          <p:spPr>
            <a:xfrm>
              <a:off x="6921142" y="2664215"/>
              <a:ext cx="742109" cy="253916"/>
            </a:xfrm>
            <a:prstGeom prst="rect">
              <a:avLst/>
            </a:prstGeom>
            <a:no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Liso-cel</a:t>
              </a:r>
              <a:endParaRPr kumimoji="0" lang="en-GB" sz="1050" b="1" i="0" u="none" strike="noStrike" kern="120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endParaRPr>
            </a:p>
          </p:txBody>
        </p:sp>
        <p:sp>
          <p:nvSpPr>
            <p:cNvPr id="218" name="TextBox 217">
              <a:extLst>
                <a:ext uri="{FF2B5EF4-FFF2-40B4-BE49-F238E27FC236}">
                  <a16:creationId xmlns:a16="http://schemas.microsoft.com/office/drawing/2014/main" id="{5B5B5FE8-87C0-919B-1CFB-CDD3781FB9C0}"/>
                </a:ext>
              </a:extLst>
            </p:cNvPr>
            <p:cNvSpPr txBox="1"/>
            <p:nvPr/>
          </p:nvSpPr>
          <p:spPr>
            <a:xfrm>
              <a:off x="6960189" y="3214490"/>
              <a:ext cx="742109" cy="276999"/>
            </a:xfrm>
            <a:prstGeom prst="rect">
              <a:avLst/>
            </a:prstGeom>
            <a:no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OC</a:t>
              </a:r>
              <a:endParaRPr kumimoji="0" lang="en-GB"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9" name="TextBox 218">
              <a:extLst>
                <a:ext uri="{FF2B5EF4-FFF2-40B4-BE49-F238E27FC236}">
                  <a16:creationId xmlns:a16="http://schemas.microsoft.com/office/drawing/2014/main" id="{5AB8901D-8D31-5355-EC7F-67BC2BF7D44A}"/>
                </a:ext>
              </a:extLst>
            </p:cNvPr>
            <p:cNvSpPr txBox="1"/>
            <p:nvPr/>
          </p:nvSpPr>
          <p:spPr>
            <a:xfrm>
              <a:off x="3942583" y="3932750"/>
              <a:ext cx="1923482" cy="253916"/>
            </a:xfrm>
            <a:prstGeom prst="rect">
              <a:avLst/>
            </a:prstGeom>
            <a:no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R= 0.757</a:t>
              </a:r>
              <a:endParaRPr kumimoji="0" lang="en-GB" sz="1050" b="0" i="0" u="none" strike="noStrike" kern="1200" cap="none" spc="0" normalizeH="0" baseline="0" noProof="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endParaRPr>
            </a:p>
          </p:txBody>
        </p:sp>
        <p:grpSp>
          <p:nvGrpSpPr>
            <p:cNvPr id="220" name="Group 219">
              <a:extLst>
                <a:ext uri="{FF2B5EF4-FFF2-40B4-BE49-F238E27FC236}">
                  <a16:creationId xmlns:a16="http://schemas.microsoft.com/office/drawing/2014/main" id="{51DD9BE7-093E-8393-2667-691D520417D3}"/>
                </a:ext>
              </a:extLst>
            </p:cNvPr>
            <p:cNvGrpSpPr/>
            <p:nvPr/>
          </p:nvGrpSpPr>
          <p:grpSpPr>
            <a:xfrm>
              <a:off x="3953629" y="2129972"/>
              <a:ext cx="3540257" cy="847225"/>
              <a:chOff x="3516953" y="1808232"/>
              <a:chExt cx="4936193" cy="1150408"/>
            </a:xfrm>
          </p:grpSpPr>
          <p:sp>
            <p:nvSpPr>
              <p:cNvPr id="221" name="Freeform 10">
                <a:extLst>
                  <a:ext uri="{FF2B5EF4-FFF2-40B4-BE49-F238E27FC236}">
                    <a16:creationId xmlns:a16="http://schemas.microsoft.com/office/drawing/2014/main" id="{D89391E8-491F-6A19-2015-A6CF743EE37C}"/>
                  </a:ext>
                </a:extLst>
              </p:cNvPr>
              <p:cNvSpPr>
                <a:spLocks/>
              </p:cNvSpPr>
              <p:nvPr/>
            </p:nvSpPr>
            <p:spPr bwMode="auto">
              <a:xfrm>
                <a:off x="3516953" y="1808232"/>
                <a:ext cx="1084995" cy="433855"/>
              </a:xfrm>
              <a:custGeom>
                <a:avLst/>
                <a:gdLst>
                  <a:gd name="T0" fmla="*/ 0 w 1323"/>
                  <a:gd name="T1" fmla="*/ 0 h 376"/>
                  <a:gd name="T2" fmla="*/ 252 w 1323"/>
                  <a:gd name="T3" fmla="*/ 0 h 376"/>
                  <a:gd name="T4" fmla="*/ 252 w 1323"/>
                  <a:gd name="T5" fmla="*/ 24 h 376"/>
                  <a:gd name="T6" fmla="*/ 296 w 1323"/>
                  <a:gd name="T7" fmla="*/ 24 h 376"/>
                  <a:gd name="T8" fmla="*/ 296 w 1323"/>
                  <a:gd name="T9" fmla="*/ 54 h 376"/>
                  <a:gd name="T10" fmla="*/ 364 w 1323"/>
                  <a:gd name="T11" fmla="*/ 54 h 376"/>
                  <a:gd name="T12" fmla="*/ 364 w 1323"/>
                  <a:gd name="T13" fmla="*/ 78 h 376"/>
                  <a:gd name="T14" fmla="*/ 560 w 1323"/>
                  <a:gd name="T15" fmla="*/ 78 h 376"/>
                  <a:gd name="T16" fmla="*/ 560 w 1323"/>
                  <a:gd name="T17" fmla="*/ 105 h 376"/>
                  <a:gd name="T18" fmla="*/ 658 w 1323"/>
                  <a:gd name="T19" fmla="*/ 105 h 376"/>
                  <a:gd name="T20" fmla="*/ 658 w 1323"/>
                  <a:gd name="T21" fmla="*/ 133 h 376"/>
                  <a:gd name="T22" fmla="*/ 674 w 1323"/>
                  <a:gd name="T23" fmla="*/ 133 h 376"/>
                  <a:gd name="T24" fmla="*/ 674 w 1323"/>
                  <a:gd name="T25" fmla="*/ 159 h 376"/>
                  <a:gd name="T26" fmla="*/ 776 w 1323"/>
                  <a:gd name="T27" fmla="*/ 159 h 376"/>
                  <a:gd name="T28" fmla="*/ 776 w 1323"/>
                  <a:gd name="T29" fmla="*/ 185 h 376"/>
                  <a:gd name="T30" fmla="*/ 798 w 1323"/>
                  <a:gd name="T31" fmla="*/ 185 h 376"/>
                  <a:gd name="T32" fmla="*/ 798 w 1323"/>
                  <a:gd name="T33" fmla="*/ 211 h 376"/>
                  <a:gd name="T34" fmla="*/ 892 w 1323"/>
                  <a:gd name="T35" fmla="*/ 211 h 376"/>
                  <a:gd name="T36" fmla="*/ 892 w 1323"/>
                  <a:gd name="T37" fmla="*/ 237 h 376"/>
                  <a:gd name="T38" fmla="*/ 952 w 1323"/>
                  <a:gd name="T39" fmla="*/ 237 h 376"/>
                  <a:gd name="T40" fmla="*/ 952 w 1323"/>
                  <a:gd name="T41" fmla="*/ 265 h 376"/>
                  <a:gd name="T42" fmla="*/ 1059 w 1323"/>
                  <a:gd name="T43" fmla="*/ 265 h 376"/>
                  <a:gd name="T44" fmla="*/ 1059 w 1323"/>
                  <a:gd name="T45" fmla="*/ 291 h 376"/>
                  <a:gd name="T46" fmla="*/ 1097 w 1323"/>
                  <a:gd name="T47" fmla="*/ 291 h 376"/>
                  <a:gd name="T48" fmla="*/ 1097 w 1323"/>
                  <a:gd name="T49" fmla="*/ 318 h 376"/>
                  <a:gd name="T50" fmla="*/ 1163 w 1323"/>
                  <a:gd name="T51" fmla="*/ 318 h 376"/>
                  <a:gd name="T52" fmla="*/ 1163 w 1323"/>
                  <a:gd name="T53" fmla="*/ 354 h 376"/>
                  <a:gd name="T54" fmla="*/ 1253 w 1323"/>
                  <a:gd name="T55" fmla="*/ 354 h 376"/>
                  <a:gd name="T56" fmla="*/ 1253 w 1323"/>
                  <a:gd name="T57" fmla="*/ 376 h 376"/>
                  <a:gd name="T58" fmla="*/ 1323 w 1323"/>
                  <a:gd name="T59" fmla="*/ 376 h 376"/>
                  <a:gd name="T60" fmla="*/ 1275 w 1323"/>
                  <a:gd name="T61" fmla="*/ 37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23" h="376">
                    <a:moveTo>
                      <a:pt x="0" y="0"/>
                    </a:moveTo>
                    <a:lnTo>
                      <a:pt x="252" y="0"/>
                    </a:lnTo>
                    <a:lnTo>
                      <a:pt x="252" y="24"/>
                    </a:lnTo>
                    <a:lnTo>
                      <a:pt x="296" y="24"/>
                    </a:lnTo>
                    <a:lnTo>
                      <a:pt x="296" y="54"/>
                    </a:lnTo>
                    <a:lnTo>
                      <a:pt x="364" y="54"/>
                    </a:lnTo>
                    <a:lnTo>
                      <a:pt x="364" y="78"/>
                    </a:lnTo>
                    <a:lnTo>
                      <a:pt x="560" y="78"/>
                    </a:lnTo>
                    <a:lnTo>
                      <a:pt x="560" y="105"/>
                    </a:lnTo>
                    <a:lnTo>
                      <a:pt x="658" y="105"/>
                    </a:lnTo>
                    <a:lnTo>
                      <a:pt x="658" y="133"/>
                    </a:lnTo>
                    <a:lnTo>
                      <a:pt x="674" y="133"/>
                    </a:lnTo>
                    <a:lnTo>
                      <a:pt x="674" y="159"/>
                    </a:lnTo>
                    <a:lnTo>
                      <a:pt x="776" y="159"/>
                    </a:lnTo>
                    <a:lnTo>
                      <a:pt x="776" y="185"/>
                    </a:lnTo>
                    <a:lnTo>
                      <a:pt x="798" y="185"/>
                    </a:lnTo>
                    <a:lnTo>
                      <a:pt x="798" y="211"/>
                    </a:lnTo>
                    <a:lnTo>
                      <a:pt x="892" y="211"/>
                    </a:lnTo>
                    <a:lnTo>
                      <a:pt x="892" y="237"/>
                    </a:lnTo>
                    <a:lnTo>
                      <a:pt x="952" y="237"/>
                    </a:lnTo>
                    <a:lnTo>
                      <a:pt x="952" y="265"/>
                    </a:lnTo>
                    <a:lnTo>
                      <a:pt x="1059" y="265"/>
                    </a:lnTo>
                    <a:lnTo>
                      <a:pt x="1059" y="291"/>
                    </a:lnTo>
                    <a:lnTo>
                      <a:pt x="1097" y="291"/>
                    </a:lnTo>
                    <a:lnTo>
                      <a:pt x="1097" y="318"/>
                    </a:lnTo>
                    <a:lnTo>
                      <a:pt x="1163" y="318"/>
                    </a:lnTo>
                    <a:lnTo>
                      <a:pt x="1163" y="354"/>
                    </a:lnTo>
                    <a:lnTo>
                      <a:pt x="1253" y="354"/>
                    </a:lnTo>
                    <a:lnTo>
                      <a:pt x="1253" y="376"/>
                    </a:lnTo>
                    <a:lnTo>
                      <a:pt x="1323" y="376"/>
                    </a:lnTo>
                    <a:lnTo>
                      <a:pt x="1275" y="376"/>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2" name="Freeform 106">
                <a:extLst>
                  <a:ext uri="{FF2B5EF4-FFF2-40B4-BE49-F238E27FC236}">
                    <a16:creationId xmlns:a16="http://schemas.microsoft.com/office/drawing/2014/main" id="{2C8DD554-FA8C-120E-9259-B4A93AA04A49}"/>
                  </a:ext>
                </a:extLst>
              </p:cNvPr>
              <p:cNvSpPr>
                <a:spLocks/>
              </p:cNvSpPr>
              <p:nvPr/>
            </p:nvSpPr>
            <p:spPr bwMode="auto">
              <a:xfrm>
                <a:off x="4601949" y="2272087"/>
                <a:ext cx="3831515" cy="658860"/>
              </a:xfrm>
              <a:custGeom>
                <a:avLst/>
                <a:gdLst>
                  <a:gd name="T0" fmla="*/ 0 w 4672"/>
                  <a:gd name="T1" fmla="*/ 0 h 571"/>
                  <a:gd name="T2" fmla="*/ 42 w 4672"/>
                  <a:gd name="T3" fmla="*/ 0 h 571"/>
                  <a:gd name="T4" fmla="*/ 42 w 4672"/>
                  <a:gd name="T5" fmla="*/ 28 h 571"/>
                  <a:gd name="T6" fmla="*/ 94 w 4672"/>
                  <a:gd name="T7" fmla="*/ 28 h 571"/>
                  <a:gd name="T8" fmla="*/ 94 w 4672"/>
                  <a:gd name="T9" fmla="*/ 84 h 571"/>
                  <a:gd name="T10" fmla="*/ 182 w 4672"/>
                  <a:gd name="T11" fmla="*/ 84 h 571"/>
                  <a:gd name="T12" fmla="*/ 182 w 4672"/>
                  <a:gd name="T13" fmla="*/ 115 h 571"/>
                  <a:gd name="T14" fmla="*/ 194 w 4672"/>
                  <a:gd name="T15" fmla="*/ 115 h 571"/>
                  <a:gd name="T16" fmla="*/ 194 w 4672"/>
                  <a:gd name="T17" fmla="*/ 137 h 571"/>
                  <a:gd name="T18" fmla="*/ 290 w 4672"/>
                  <a:gd name="T19" fmla="*/ 137 h 571"/>
                  <a:gd name="T20" fmla="*/ 290 w 4672"/>
                  <a:gd name="T21" fmla="*/ 191 h 571"/>
                  <a:gd name="T22" fmla="*/ 380 w 4672"/>
                  <a:gd name="T23" fmla="*/ 191 h 571"/>
                  <a:gd name="T24" fmla="*/ 380 w 4672"/>
                  <a:gd name="T25" fmla="*/ 221 h 571"/>
                  <a:gd name="T26" fmla="*/ 472 w 4672"/>
                  <a:gd name="T27" fmla="*/ 221 h 571"/>
                  <a:gd name="T28" fmla="*/ 472 w 4672"/>
                  <a:gd name="T29" fmla="*/ 247 h 571"/>
                  <a:gd name="T30" fmla="*/ 1058 w 4672"/>
                  <a:gd name="T31" fmla="*/ 247 h 571"/>
                  <a:gd name="T32" fmla="*/ 1058 w 4672"/>
                  <a:gd name="T33" fmla="*/ 271 h 571"/>
                  <a:gd name="T34" fmla="*/ 1192 w 4672"/>
                  <a:gd name="T35" fmla="*/ 271 h 571"/>
                  <a:gd name="T36" fmla="*/ 1192 w 4672"/>
                  <a:gd name="T37" fmla="*/ 306 h 571"/>
                  <a:gd name="T38" fmla="*/ 1230 w 4672"/>
                  <a:gd name="T39" fmla="*/ 306 h 571"/>
                  <a:gd name="T40" fmla="*/ 1230 w 4672"/>
                  <a:gd name="T41" fmla="*/ 332 h 571"/>
                  <a:gd name="T42" fmla="*/ 1262 w 4672"/>
                  <a:gd name="T43" fmla="*/ 332 h 571"/>
                  <a:gd name="T44" fmla="*/ 1262 w 4672"/>
                  <a:gd name="T45" fmla="*/ 364 h 571"/>
                  <a:gd name="T46" fmla="*/ 1282 w 4672"/>
                  <a:gd name="T47" fmla="*/ 364 h 571"/>
                  <a:gd name="T48" fmla="*/ 1282 w 4672"/>
                  <a:gd name="T49" fmla="*/ 390 h 571"/>
                  <a:gd name="T50" fmla="*/ 2017 w 4672"/>
                  <a:gd name="T51" fmla="*/ 390 h 571"/>
                  <a:gd name="T52" fmla="*/ 2017 w 4672"/>
                  <a:gd name="T53" fmla="*/ 424 h 571"/>
                  <a:gd name="T54" fmla="*/ 2031 w 4672"/>
                  <a:gd name="T55" fmla="*/ 424 h 571"/>
                  <a:gd name="T56" fmla="*/ 2031 w 4672"/>
                  <a:gd name="T57" fmla="*/ 450 h 571"/>
                  <a:gd name="T58" fmla="*/ 2351 w 4672"/>
                  <a:gd name="T59" fmla="*/ 450 h 571"/>
                  <a:gd name="T60" fmla="*/ 2351 w 4672"/>
                  <a:gd name="T61" fmla="*/ 474 h 571"/>
                  <a:gd name="T62" fmla="*/ 2435 w 4672"/>
                  <a:gd name="T63" fmla="*/ 474 h 571"/>
                  <a:gd name="T64" fmla="*/ 2435 w 4672"/>
                  <a:gd name="T65" fmla="*/ 507 h 571"/>
                  <a:gd name="T66" fmla="*/ 3531 w 4672"/>
                  <a:gd name="T67" fmla="*/ 507 h 571"/>
                  <a:gd name="T68" fmla="*/ 3531 w 4672"/>
                  <a:gd name="T69" fmla="*/ 571 h 571"/>
                  <a:gd name="T70" fmla="*/ 4672 w 4672"/>
                  <a:gd name="T71" fmla="*/ 57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72" h="571">
                    <a:moveTo>
                      <a:pt x="0" y="0"/>
                    </a:moveTo>
                    <a:lnTo>
                      <a:pt x="42" y="0"/>
                    </a:lnTo>
                    <a:lnTo>
                      <a:pt x="42" y="28"/>
                    </a:lnTo>
                    <a:lnTo>
                      <a:pt x="94" y="28"/>
                    </a:lnTo>
                    <a:lnTo>
                      <a:pt x="94" y="84"/>
                    </a:lnTo>
                    <a:lnTo>
                      <a:pt x="182" y="84"/>
                    </a:lnTo>
                    <a:lnTo>
                      <a:pt x="182" y="115"/>
                    </a:lnTo>
                    <a:lnTo>
                      <a:pt x="194" y="115"/>
                    </a:lnTo>
                    <a:lnTo>
                      <a:pt x="194" y="137"/>
                    </a:lnTo>
                    <a:lnTo>
                      <a:pt x="290" y="137"/>
                    </a:lnTo>
                    <a:lnTo>
                      <a:pt x="290" y="191"/>
                    </a:lnTo>
                    <a:lnTo>
                      <a:pt x="380" y="191"/>
                    </a:lnTo>
                    <a:lnTo>
                      <a:pt x="380" y="221"/>
                    </a:lnTo>
                    <a:lnTo>
                      <a:pt x="472" y="221"/>
                    </a:lnTo>
                    <a:lnTo>
                      <a:pt x="472" y="247"/>
                    </a:lnTo>
                    <a:lnTo>
                      <a:pt x="1058" y="247"/>
                    </a:lnTo>
                    <a:lnTo>
                      <a:pt x="1058" y="271"/>
                    </a:lnTo>
                    <a:lnTo>
                      <a:pt x="1192" y="271"/>
                    </a:lnTo>
                    <a:lnTo>
                      <a:pt x="1192" y="306"/>
                    </a:lnTo>
                    <a:lnTo>
                      <a:pt x="1230" y="306"/>
                    </a:lnTo>
                    <a:lnTo>
                      <a:pt x="1230" y="332"/>
                    </a:lnTo>
                    <a:lnTo>
                      <a:pt x="1262" y="332"/>
                    </a:lnTo>
                    <a:lnTo>
                      <a:pt x="1262" y="364"/>
                    </a:lnTo>
                    <a:lnTo>
                      <a:pt x="1282" y="364"/>
                    </a:lnTo>
                    <a:lnTo>
                      <a:pt x="1282" y="390"/>
                    </a:lnTo>
                    <a:lnTo>
                      <a:pt x="2017" y="390"/>
                    </a:lnTo>
                    <a:lnTo>
                      <a:pt x="2017" y="424"/>
                    </a:lnTo>
                    <a:lnTo>
                      <a:pt x="2031" y="424"/>
                    </a:lnTo>
                    <a:lnTo>
                      <a:pt x="2031" y="450"/>
                    </a:lnTo>
                    <a:lnTo>
                      <a:pt x="2351" y="450"/>
                    </a:lnTo>
                    <a:lnTo>
                      <a:pt x="2351" y="474"/>
                    </a:lnTo>
                    <a:lnTo>
                      <a:pt x="2435" y="474"/>
                    </a:lnTo>
                    <a:lnTo>
                      <a:pt x="2435" y="507"/>
                    </a:lnTo>
                    <a:lnTo>
                      <a:pt x="3531" y="507"/>
                    </a:lnTo>
                    <a:lnTo>
                      <a:pt x="3531" y="571"/>
                    </a:lnTo>
                    <a:lnTo>
                      <a:pt x="4672" y="571"/>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3" name="Line 5">
                <a:extLst>
                  <a:ext uri="{FF2B5EF4-FFF2-40B4-BE49-F238E27FC236}">
                    <a16:creationId xmlns:a16="http://schemas.microsoft.com/office/drawing/2014/main" id="{DE7DDF82-B2BF-1C56-A92A-C15A3D04FF03}"/>
                  </a:ext>
                </a:extLst>
              </p:cNvPr>
              <p:cNvSpPr>
                <a:spLocks noChangeShapeType="1"/>
              </p:cNvSpPr>
              <p:nvPr/>
            </p:nvSpPr>
            <p:spPr bwMode="auto">
              <a:xfrm>
                <a:off x="3863037" y="187054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4" name="Line 6">
                <a:extLst>
                  <a:ext uri="{FF2B5EF4-FFF2-40B4-BE49-F238E27FC236}">
                    <a16:creationId xmlns:a16="http://schemas.microsoft.com/office/drawing/2014/main" id="{0B67BF1D-A24E-2CF5-F29C-EFBF9FA7E8D9}"/>
                  </a:ext>
                </a:extLst>
              </p:cNvPr>
              <p:cNvSpPr>
                <a:spLocks noChangeShapeType="1"/>
              </p:cNvSpPr>
              <p:nvPr/>
            </p:nvSpPr>
            <p:spPr bwMode="auto">
              <a:xfrm>
                <a:off x="3841714" y="1898234"/>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5" name="Line 7">
                <a:extLst>
                  <a:ext uri="{FF2B5EF4-FFF2-40B4-BE49-F238E27FC236}">
                    <a16:creationId xmlns:a16="http://schemas.microsoft.com/office/drawing/2014/main" id="{9F81D27C-34B3-4649-79CD-ADB29AEAE381}"/>
                  </a:ext>
                </a:extLst>
              </p:cNvPr>
              <p:cNvSpPr>
                <a:spLocks noChangeShapeType="1"/>
              </p:cNvSpPr>
              <p:nvPr/>
            </p:nvSpPr>
            <p:spPr bwMode="auto">
              <a:xfrm>
                <a:off x="4374780" y="2086315"/>
                <a:ext cx="0" cy="57694"/>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6" name="Line 8">
                <a:extLst>
                  <a:ext uri="{FF2B5EF4-FFF2-40B4-BE49-F238E27FC236}">
                    <a16:creationId xmlns:a16="http://schemas.microsoft.com/office/drawing/2014/main" id="{F4432332-3AD8-86AE-EB59-3847475DBC38}"/>
                  </a:ext>
                </a:extLst>
              </p:cNvPr>
              <p:cNvSpPr>
                <a:spLocks noChangeShapeType="1"/>
              </p:cNvSpPr>
              <p:nvPr/>
            </p:nvSpPr>
            <p:spPr bwMode="auto">
              <a:xfrm>
                <a:off x="4355097" y="2114008"/>
                <a:ext cx="4018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7" name="Line 9">
                <a:extLst>
                  <a:ext uri="{FF2B5EF4-FFF2-40B4-BE49-F238E27FC236}">
                    <a16:creationId xmlns:a16="http://schemas.microsoft.com/office/drawing/2014/main" id="{CB8BE963-40BF-B9A8-2887-FD59BE099274}"/>
                  </a:ext>
                </a:extLst>
              </p:cNvPr>
              <p:cNvSpPr>
                <a:spLocks noChangeShapeType="1"/>
              </p:cNvSpPr>
              <p:nvPr/>
            </p:nvSpPr>
            <p:spPr bwMode="auto">
              <a:xfrm>
                <a:off x="4582266" y="2216702"/>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8" name="Line 11">
                <a:extLst>
                  <a:ext uri="{FF2B5EF4-FFF2-40B4-BE49-F238E27FC236}">
                    <a16:creationId xmlns:a16="http://schemas.microsoft.com/office/drawing/2014/main" id="{802DAE81-6A49-E3E3-5B1A-5C8E04668CE5}"/>
                  </a:ext>
                </a:extLst>
              </p:cNvPr>
              <p:cNvSpPr>
                <a:spLocks noChangeShapeType="1"/>
              </p:cNvSpPr>
              <p:nvPr/>
            </p:nvSpPr>
            <p:spPr bwMode="auto">
              <a:xfrm>
                <a:off x="5243268" y="2527093"/>
                <a:ext cx="0" cy="57694"/>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9" name="Line 12">
                <a:extLst>
                  <a:ext uri="{FF2B5EF4-FFF2-40B4-BE49-F238E27FC236}">
                    <a16:creationId xmlns:a16="http://schemas.microsoft.com/office/drawing/2014/main" id="{6C004A6A-F172-4D56-0B6A-553E38AD2820}"/>
                  </a:ext>
                </a:extLst>
              </p:cNvPr>
              <p:cNvSpPr>
                <a:spLocks noChangeShapeType="1"/>
              </p:cNvSpPr>
              <p:nvPr/>
            </p:nvSpPr>
            <p:spPr bwMode="auto">
              <a:xfrm>
                <a:off x="5223585" y="2554786"/>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0" name="Line 13">
                <a:extLst>
                  <a:ext uri="{FF2B5EF4-FFF2-40B4-BE49-F238E27FC236}">
                    <a16:creationId xmlns:a16="http://schemas.microsoft.com/office/drawing/2014/main" id="{1588A8C2-5B41-743A-83EA-F392E1832203}"/>
                  </a:ext>
                </a:extLst>
              </p:cNvPr>
              <p:cNvSpPr>
                <a:spLocks noChangeShapeType="1"/>
              </p:cNvSpPr>
              <p:nvPr/>
            </p:nvSpPr>
            <p:spPr bwMode="auto">
              <a:xfrm>
                <a:off x="5358082" y="2527093"/>
                <a:ext cx="0" cy="57694"/>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1" name="Line 14">
                <a:extLst>
                  <a:ext uri="{FF2B5EF4-FFF2-40B4-BE49-F238E27FC236}">
                    <a16:creationId xmlns:a16="http://schemas.microsoft.com/office/drawing/2014/main" id="{10D35878-6B5F-0A93-0DC9-23A9958D38B0}"/>
                  </a:ext>
                </a:extLst>
              </p:cNvPr>
              <p:cNvSpPr>
                <a:spLocks noChangeShapeType="1"/>
              </p:cNvSpPr>
              <p:nvPr/>
            </p:nvSpPr>
            <p:spPr bwMode="auto">
              <a:xfrm>
                <a:off x="5338400" y="2554786"/>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2" name="Line 15">
                <a:extLst>
                  <a:ext uri="{FF2B5EF4-FFF2-40B4-BE49-F238E27FC236}">
                    <a16:creationId xmlns:a16="http://schemas.microsoft.com/office/drawing/2014/main" id="{DC0BA25C-3D1E-F571-678F-2A22C6A93BF0}"/>
                  </a:ext>
                </a:extLst>
              </p:cNvPr>
              <p:cNvSpPr>
                <a:spLocks noChangeShapeType="1"/>
              </p:cNvSpPr>
              <p:nvPr/>
            </p:nvSpPr>
            <p:spPr bwMode="auto">
              <a:xfrm>
                <a:off x="6564452" y="2791329"/>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3" name="Line 16">
                <a:extLst>
                  <a:ext uri="{FF2B5EF4-FFF2-40B4-BE49-F238E27FC236}">
                    <a16:creationId xmlns:a16="http://schemas.microsoft.com/office/drawing/2014/main" id="{69A291EE-5CDB-2E56-FE1A-6EBF2DBDAA43}"/>
                  </a:ext>
                </a:extLst>
              </p:cNvPr>
              <p:cNvSpPr>
                <a:spLocks noChangeShapeType="1"/>
              </p:cNvSpPr>
              <p:nvPr/>
            </p:nvSpPr>
            <p:spPr bwMode="auto">
              <a:xfrm>
                <a:off x="6544769" y="2819021"/>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4" name="Line 17">
                <a:extLst>
                  <a:ext uri="{FF2B5EF4-FFF2-40B4-BE49-F238E27FC236}">
                    <a16:creationId xmlns:a16="http://schemas.microsoft.com/office/drawing/2014/main" id="{8BE07030-B312-3725-83EF-C5B7B45E4B02}"/>
                  </a:ext>
                </a:extLst>
              </p:cNvPr>
              <p:cNvSpPr>
                <a:spLocks noChangeShapeType="1"/>
              </p:cNvSpPr>
              <p:nvPr/>
            </p:nvSpPr>
            <p:spPr bwMode="auto">
              <a:xfrm>
                <a:off x="6593975" y="2791329"/>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5" name="Line 18">
                <a:extLst>
                  <a:ext uri="{FF2B5EF4-FFF2-40B4-BE49-F238E27FC236}">
                    <a16:creationId xmlns:a16="http://schemas.microsoft.com/office/drawing/2014/main" id="{3C9A7B36-C145-7FA3-73CD-2652E7401F45}"/>
                  </a:ext>
                </a:extLst>
              </p:cNvPr>
              <p:cNvSpPr>
                <a:spLocks noChangeShapeType="1"/>
              </p:cNvSpPr>
              <p:nvPr/>
            </p:nvSpPr>
            <p:spPr bwMode="auto">
              <a:xfrm>
                <a:off x="6572652" y="2819021"/>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6" name="Line 19">
                <a:extLst>
                  <a:ext uri="{FF2B5EF4-FFF2-40B4-BE49-F238E27FC236}">
                    <a16:creationId xmlns:a16="http://schemas.microsoft.com/office/drawing/2014/main" id="{4304E761-1567-86A9-3263-D8DAB7C91070}"/>
                  </a:ext>
                </a:extLst>
              </p:cNvPr>
              <p:cNvSpPr>
                <a:spLocks noChangeShapeType="1"/>
              </p:cNvSpPr>
              <p:nvPr/>
            </p:nvSpPr>
            <p:spPr bwMode="auto">
              <a:xfrm>
                <a:off x="6625139"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7" name="Line 20">
                <a:extLst>
                  <a:ext uri="{FF2B5EF4-FFF2-40B4-BE49-F238E27FC236}">
                    <a16:creationId xmlns:a16="http://schemas.microsoft.com/office/drawing/2014/main" id="{E8F51D13-71DD-E08B-D261-7EFB670FACB8}"/>
                  </a:ext>
                </a:extLst>
              </p:cNvPr>
              <p:cNvSpPr>
                <a:spLocks noChangeShapeType="1"/>
              </p:cNvSpPr>
              <p:nvPr/>
            </p:nvSpPr>
            <p:spPr bwMode="auto">
              <a:xfrm>
                <a:off x="6603816"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8" name="Line 21">
                <a:extLst>
                  <a:ext uri="{FF2B5EF4-FFF2-40B4-BE49-F238E27FC236}">
                    <a16:creationId xmlns:a16="http://schemas.microsoft.com/office/drawing/2014/main" id="{08C1B70F-DE40-3BFF-5628-7C7A697B0974}"/>
                  </a:ext>
                </a:extLst>
              </p:cNvPr>
              <p:cNvSpPr>
                <a:spLocks noChangeShapeType="1"/>
              </p:cNvSpPr>
              <p:nvPr/>
            </p:nvSpPr>
            <p:spPr bwMode="auto">
              <a:xfrm>
                <a:off x="6726832"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9" name="Line 22">
                <a:extLst>
                  <a:ext uri="{FF2B5EF4-FFF2-40B4-BE49-F238E27FC236}">
                    <a16:creationId xmlns:a16="http://schemas.microsoft.com/office/drawing/2014/main" id="{3EBAA4A0-159F-FB06-951F-7C9319CFD11C}"/>
                  </a:ext>
                </a:extLst>
              </p:cNvPr>
              <p:cNvSpPr>
                <a:spLocks noChangeShapeType="1"/>
              </p:cNvSpPr>
              <p:nvPr/>
            </p:nvSpPr>
            <p:spPr bwMode="auto">
              <a:xfrm>
                <a:off x="6705509"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0" name="Line 23">
                <a:extLst>
                  <a:ext uri="{FF2B5EF4-FFF2-40B4-BE49-F238E27FC236}">
                    <a16:creationId xmlns:a16="http://schemas.microsoft.com/office/drawing/2014/main" id="{D354CF2A-61A5-66C9-1437-F1E4D61E7CCA}"/>
                  </a:ext>
                </a:extLst>
              </p:cNvPr>
              <p:cNvSpPr>
                <a:spLocks noChangeShapeType="1"/>
              </p:cNvSpPr>
              <p:nvPr/>
            </p:nvSpPr>
            <p:spPr bwMode="auto">
              <a:xfrm>
                <a:off x="6738313"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1" name="Line 24">
                <a:extLst>
                  <a:ext uri="{FF2B5EF4-FFF2-40B4-BE49-F238E27FC236}">
                    <a16:creationId xmlns:a16="http://schemas.microsoft.com/office/drawing/2014/main" id="{5A281326-1423-80DF-9C80-0A34129F6AF1}"/>
                  </a:ext>
                </a:extLst>
              </p:cNvPr>
              <p:cNvSpPr>
                <a:spLocks noChangeShapeType="1"/>
              </p:cNvSpPr>
              <p:nvPr/>
            </p:nvSpPr>
            <p:spPr bwMode="auto">
              <a:xfrm>
                <a:off x="6716990"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2" name="Line 25">
                <a:extLst>
                  <a:ext uri="{FF2B5EF4-FFF2-40B4-BE49-F238E27FC236}">
                    <a16:creationId xmlns:a16="http://schemas.microsoft.com/office/drawing/2014/main" id="{1EACC581-27ED-4BD3-2471-C38C37F3A0F3}"/>
                  </a:ext>
                </a:extLst>
              </p:cNvPr>
              <p:cNvSpPr>
                <a:spLocks noChangeShapeType="1"/>
              </p:cNvSpPr>
              <p:nvPr/>
            </p:nvSpPr>
            <p:spPr bwMode="auto">
              <a:xfrm>
                <a:off x="6757996"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3" name="Line 26">
                <a:extLst>
                  <a:ext uri="{FF2B5EF4-FFF2-40B4-BE49-F238E27FC236}">
                    <a16:creationId xmlns:a16="http://schemas.microsoft.com/office/drawing/2014/main" id="{082D61B4-E4D4-9078-4856-D9EA8CB83482}"/>
                  </a:ext>
                </a:extLst>
              </p:cNvPr>
              <p:cNvSpPr>
                <a:spLocks noChangeShapeType="1"/>
              </p:cNvSpPr>
              <p:nvPr/>
            </p:nvSpPr>
            <p:spPr bwMode="auto">
              <a:xfrm>
                <a:off x="6738313" y="2857099"/>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4" name="Line 27">
                <a:extLst>
                  <a:ext uri="{FF2B5EF4-FFF2-40B4-BE49-F238E27FC236}">
                    <a16:creationId xmlns:a16="http://schemas.microsoft.com/office/drawing/2014/main" id="{A18A9A5F-885D-3BB6-2E3A-E20D1BE6BCB7}"/>
                  </a:ext>
                </a:extLst>
              </p:cNvPr>
              <p:cNvSpPr>
                <a:spLocks noChangeShapeType="1"/>
              </p:cNvSpPr>
              <p:nvPr/>
            </p:nvSpPr>
            <p:spPr bwMode="auto">
              <a:xfrm>
                <a:off x="6777678"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5" name="Line 28">
                <a:extLst>
                  <a:ext uri="{FF2B5EF4-FFF2-40B4-BE49-F238E27FC236}">
                    <a16:creationId xmlns:a16="http://schemas.microsoft.com/office/drawing/2014/main" id="{D603369B-1DF8-F9E8-8E7A-AEADFAEAFFDB}"/>
                  </a:ext>
                </a:extLst>
              </p:cNvPr>
              <p:cNvSpPr>
                <a:spLocks noChangeShapeType="1"/>
              </p:cNvSpPr>
              <p:nvPr/>
            </p:nvSpPr>
            <p:spPr bwMode="auto">
              <a:xfrm>
                <a:off x="6757996" y="2857099"/>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6" name="Line 29">
                <a:extLst>
                  <a:ext uri="{FF2B5EF4-FFF2-40B4-BE49-F238E27FC236}">
                    <a16:creationId xmlns:a16="http://schemas.microsoft.com/office/drawing/2014/main" id="{4EBFC16A-72B1-5ABB-90AE-D20E186A61A5}"/>
                  </a:ext>
                </a:extLst>
              </p:cNvPr>
              <p:cNvSpPr>
                <a:spLocks noChangeShapeType="1"/>
              </p:cNvSpPr>
              <p:nvPr/>
            </p:nvSpPr>
            <p:spPr bwMode="auto">
              <a:xfrm>
                <a:off x="6784239"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7" name="Line 30">
                <a:extLst>
                  <a:ext uri="{FF2B5EF4-FFF2-40B4-BE49-F238E27FC236}">
                    <a16:creationId xmlns:a16="http://schemas.microsoft.com/office/drawing/2014/main" id="{D8C8D439-7590-4970-6C04-DB4E97FA51D6}"/>
                  </a:ext>
                </a:extLst>
              </p:cNvPr>
              <p:cNvSpPr>
                <a:spLocks noChangeShapeType="1"/>
              </p:cNvSpPr>
              <p:nvPr/>
            </p:nvSpPr>
            <p:spPr bwMode="auto">
              <a:xfrm>
                <a:off x="6764557"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8" name="Line 31">
                <a:extLst>
                  <a:ext uri="{FF2B5EF4-FFF2-40B4-BE49-F238E27FC236}">
                    <a16:creationId xmlns:a16="http://schemas.microsoft.com/office/drawing/2014/main" id="{CF4C2681-73FA-7255-6CCC-50895BC1C96F}"/>
                  </a:ext>
                </a:extLst>
              </p:cNvPr>
              <p:cNvSpPr>
                <a:spLocks noChangeShapeType="1"/>
              </p:cNvSpPr>
              <p:nvPr/>
            </p:nvSpPr>
            <p:spPr bwMode="auto">
              <a:xfrm>
                <a:off x="6797360"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9" name="Line 32">
                <a:extLst>
                  <a:ext uri="{FF2B5EF4-FFF2-40B4-BE49-F238E27FC236}">
                    <a16:creationId xmlns:a16="http://schemas.microsoft.com/office/drawing/2014/main" id="{FA01E92B-D488-6561-1E51-EBEA4CEC355D}"/>
                  </a:ext>
                </a:extLst>
              </p:cNvPr>
              <p:cNvSpPr>
                <a:spLocks noChangeShapeType="1"/>
              </p:cNvSpPr>
              <p:nvPr/>
            </p:nvSpPr>
            <p:spPr bwMode="auto">
              <a:xfrm>
                <a:off x="6777678"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0" name="Line 33">
                <a:extLst>
                  <a:ext uri="{FF2B5EF4-FFF2-40B4-BE49-F238E27FC236}">
                    <a16:creationId xmlns:a16="http://schemas.microsoft.com/office/drawing/2014/main" id="{5DA3F830-C91F-5E49-8FF8-70484AD6725C}"/>
                  </a:ext>
                </a:extLst>
              </p:cNvPr>
              <p:cNvSpPr>
                <a:spLocks noChangeShapeType="1"/>
              </p:cNvSpPr>
              <p:nvPr/>
            </p:nvSpPr>
            <p:spPr bwMode="auto">
              <a:xfrm>
                <a:off x="6805562"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1" name="Line 34">
                <a:extLst>
                  <a:ext uri="{FF2B5EF4-FFF2-40B4-BE49-F238E27FC236}">
                    <a16:creationId xmlns:a16="http://schemas.microsoft.com/office/drawing/2014/main" id="{CBFE3B28-6D1B-0353-29E7-84A6BD1FF099}"/>
                  </a:ext>
                </a:extLst>
              </p:cNvPr>
              <p:cNvSpPr>
                <a:spLocks noChangeShapeType="1"/>
              </p:cNvSpPr>
              <p:nvPr/>
            </p:nvSpPr>
            <p:spPr bwMode="auto">
              <a:xfrm>
                <a:off x="6784239"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2" name="Line 35">
                <a:extLst>
                  <a:ext uri="{FF2B5EF4-FFF2-40B4-BE49-F238E27FC236}">
                    <a16:creationId xmlns:a16="http://schemas.microsoft.com/office/drawing/2014/main" id="{EEA708F1-2954-E445-C7DA-15E647166CB7}"/>
                  </a:ext>
                </a:extLst>
              </p:cNvPr>
              <p:cNvSpPr>
                <a:spLocks noChangeShapeType="1"/>
              </p:cNvSpPr>
              <p:nvPr/>
            </p:nvSpPr>
            <p:spPr bwMode="auto">
              <a:xfrm>
                <a:off x="6812122"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3" name="Line 36">
                <a:extLst>
                  <a:ext uri="{FF2B5EF4-FFF2-40B4-BE49-F238E27FC236}">
                    <a16:creationId xmlns:a16="http://schemas.microsoft.com/office/drawing/2014/main" id="{6F91BEDB-917F-71CB-BE9E-5B7623AA3A9F}"/>
                  </a:ext>
                </a:extLst>
              </p:cNvPr>
              <p:cNvSpPr>
                <a:spLocks noChangeShapeType="1"/>
              </p:cNvSpPr>
              <p:nvPr/>
            </p:nvSpPr>
            <p:spPr bwMode="auto">
              <a:xfrm>
                <a:off x="6792440" y="2857099"/>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4" name="Line 37">
                <a:extLst>
                  <a:ext uri="{FF2B5EF4-FFF2-40B4-BE49-F238E27FC236}">
                    <a16:creationId xmlns:a16="http://schemas.microsoft.com/office/drawing/2014/main" id="{603BA433-F46D-AF63-5C9E-D09778FB59AE}"/>
                  </a:ext>
                </a:extLst>
              </p:cNvPr>
              <p:cNvSpPr>
                <a:spLocks noChangeShapeType="1"/>
              </p:cNvSpPr>
              <p:nvPr/>
            </p:nvSpPr>
            <p:spPr bwMode="auto">
              <a:xfrm>
                <a:off x="6831804"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5" name="Line 38">
                <a:extLst>
                  <a:ext uri="{FF2B5EF4-FFF2-40B4-BE49-F238E27FC236}">
                    <a16:creationId xmlns:a16="http://schemas.microsoft.com/office/drawing/2014/main" id="{73EDA521-9D3B-150A-B268-7060B409B6C6}"/>
                  </a:ext>
                </a:extLst>
              </p:cNvPr>
              <p:cNvSpPr>
                <a:spLocks noChangeShapeType="1"/>
              </p:cNvSpPr>
              <p:nvPr/>
            </p:nvSpPr>
            <p:spPr bwMode="auto">
              <a:xfrm>
                <a:off x="6812122"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68" name="Line 39">
                <a:extLst>
                  <a:ext uri="{FF2B5EF4-FFF2-40B4-BE49-F238E27FC236}">
                    <a16:creationId xmlns:a16="http://schemas.microsoft.com/office/drawing/2014/main" id="{C46A4DC5-62ED-8EE4-A66C-182DAC449EB0}"/>
                  </a:ext>
                </a:extLst>
              </p:cNvPr>
              <p:cNvSpPr>
                <a:spLocks noChangeShapeType="1"/>
              </p:cNvSpPr>
              <p:nvPr/>
            </p:nvSpPr>
            <p:spPr bwMode="auto">
              <a:xfrm>
                <a:off x="6853127"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69" name="Line 40">
                <a:extLst>
                  <a:ext uri="{FF2B5EF4-FFF2-40B4-BE49-F238E27FC236}">
                    <a16:creationId xmlns:a16="http://schemas.microsoft.com/office/drawing/2014/main" id="{07149186-8F9D-A56E-4352-C87045BE1132}"/>
                  </a:ext>
                </a:extLst>
              </p:cNvPr>
              <p:cNvSpPr>
                <a:spLocks noChangeShapeType="1"/>
              </p:cNvSpPr>
              <p:nvPr/>
            </p:nvSpPr>
            <p:spPr bwMode="auto">
              <a:xfrm>
                <a:off x="6831804"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0" name="Line 41">
                <a:extLst>
                  <a:ext uri="{FF2B5EF4-FFF2-40B4-BE49-F238E27FC236}">
                    <a16:creationId xmlns:a16="http://schemas.microsoft.com/office/drawing/2014/main" id="{38CE909E-F7AF-3C8B-2D08-0840449F6E2E}"/>
                  </a:ext>
                </a:extLst>
              </p:cNvPr>
              <p:cNvSpPr>
                <a:spLocks noChangeShapeType="1"/>
              </p:cNvSpPr>
              <p:nvPr/>
            </p:nvSpPr>
            <p:spPr bwMode="auto">
              <a:xfrm>
                <a:off x="6908894"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1" name="Line 42">
                <a:extLst>
                  <a:ext uri="{FF2B5EF4-FFF2-40B4-BE49-F238E27FC236}">
                    <a16:creationId xmlns:a16="http://schemas.microsoft.com/office/drawing/2014/main" id="{6D20D7BB-42C0-FAD6-5343-F489243F07E3}"/>
                  </a:ext>
                </a:extLst>
              </p:cNvPr>
              <p:cNvSpPr>
                <a:spLocks noChangeShapeType="1"/>
              </p:cNvSpPr>
              <p:nvPr/>
            </p:nvSpPr>
            <p:spPr bwMode="auto">
              <a:xfrm>
                <a:off x="6889212" y="2857099"/>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2" name="Line 43">
                <a:extLst>
                  <a:ext uri="{FF2B5EF4-FFF2-40B4-BE49-F238E27FC236}">
                    <a16:creationId xmlns:a16="http://schemas.microsoft.com/office/drawing/2014/main" id="{BD631CDE-4801-1D92-B42A-47663F4DAADF}"/>
                  </a:ext>
                </a:extLst>
              </p:cNvPr>
              <p:cNvSpPr>
                <a:spLocks noChangeShapeType="1"/>
              </p:cNvSpPr>
              <p:nvPr/>
            </p:nvSpPr>
            <p:spPr bwMode="auto">
              <a:xfrm>
                <a:off x="6948259"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3" name="Line 44">
                <a:extLst>
                  <a:ext uri="{FF2B5EF4-FFF2-40B4-BE49-F238E27FC236}">
                    <a16:creationId xmlns:a16="http://schemas.microsoft.com/office/drawing/2014/main" id="{6129A1B0-5B20-4483-F3D5-F263F46773E7}"/>
                  </a:ext>
                </a:extLst>
              </p:cNvPr>
              <p:cNvSpPr>
                <a:spLocks noChangeShapeType="1"/>
              </p:cNvSpPr>
              <p:nvPr/>
            </p:nvSpPr>
            <p:spPr bwMode="auto">
              <a:xfrm>
                <a:off x="6928577"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4" name="Line 45">
                <a:extLst>
                  <a:ext uri="{FF2B5EF4-FFF2-40B4-BE49-F238E27FC236}">
                    <a16:creationId xmlns:a16="http://schemas.microsoft.com/office/drawing/2014/main" id="{6E3F3ADF-02A5-6005-4226-DA12533D42CA}"/>
                  </a:ext>
                </a:extLst>
              </p:cNvPr>
              <p:cNvSpPr>
                <a:spLocks noChangeShapeType="1"/>
              </p:cNvSpPr>
              <p:nvPr/>
            </p:nvSpPr>
            <p:spPr bwMode="auto">
              <a:xfrm>
                <a:off x="6974502"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5" name="Line 46">
                <a:extLst>
                  <a:ext uri="{FF2B5EF4-FFF2-40B4-BE49-F238E27FC236}">
                    <a16:creationId xmlns:a16="http://schemas.microsoft.com/office/drawing/2014/main" id="{08AF9BEF-31B2-5F54-702B-A26B561D0AD7}"/>
                  </a:ext>
                </a:extLst>
              </p:cNvPr>
              <p:cNvSpPr>
                <a:spLocks noChangeShapeType="1"/>
              </p:cNvSpPr>
              <p:nvPr/>
            </p:nvSpPr>
            <p:spPr bwMode="auto">
              <a:xfrm>
                <a:off x="6953179"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6" name="Line 47">
                <a:extLst>
                  <a:ext uri="{FF2B5EF4-FFF2-40B4-BE49-F238E27FC236}">
                    <a16:creationId xmlns:a16="http://schemas.microsoft.com/office/drawing/2014/main" id="{30786B63-2467-A7B2-CDF9-EE1D0E92DFCC}"/>
                  </a:ext>
                </a:extLst>
              </p:cNvPr>
              <p:cNvSpPr>
                <a:spLocks noChangeShapeType="1"/>
              </p:cNvSpPr>
              <p:nvPr/>
            </p:nvSpPr>
            <p:spPr bwMode="auto">
              <a:xfrm>
                <a:off x="6994185"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7" name="Line 48">
                <a:extLst>
                  <a:ext uri="{FF2B5EF4-FFF2-40B4-BE49-F238E27FC236}">
                    <a16:creationId xmlns:a16="http://schemas.microsoft.com/office/drawing/2014/main" id="{FD3B5A8D-314F-3C2B-81BF-5BAD7B5DC7C3}"/>
                  </a:ext>
                </a:extLst>
              </p:cNvPr>
              <p:cNvSpPr>
                <a:spLocks noChangeShapeType="1"/>
              </p:cNvSpPr>
              <p:nvPr/>
            </p:nvSpPr>
            <p:spPr bwMode="auto">
              <a:xfrm>
                <a:off x="6974502" y="2857099"/>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8" name="Line 49">
                <a:extLst>
                  <a:ext uri="{FF2B5EF4-FFF2-40B4-BE49-F238E27FC236}">
                    <a16:creationId xmlns:a16="http://schemas.microsoft.com/office/drawing/2014/main" id="{0D774E20-B647-C265-BA87-326D74516C96}"/>
                  </a:ext>
                </a:extLst>
              </p:cNvPr>
              <p:cNvSpPr>
                <a:spLocks noChangeShapeType="1"/>
              </p:cNvSpPr>
              <p:nvPr/>
            </p:nvSpPr>
            <p:spPr bwMode="auto">
              <a:xfrm>
                <a:off x="7008947"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9" name="Line 50">
                <a:extLst>
                  <a:ext uri="{FF2B5EF4-FFF2-40B4-BE49-F238E27FC236}">
                    <a16:creationId xmlns:a16="http://schemas.microsoft.com/office/drawing/2014/main" id="{7EF848EA-923E-B4CC-6681-4B1FF40CD970}"/>
                  </a:ext>
                </a:extLst>
              </p:cNvPr>
              <p:cNvSpPr>
                <a:spLocks noChangeShapeType="1"/>
              </p:cNvSpPr>
              <p:nvPr/>
            </p:nvSpPr>
            <p:spPr bwMode="auto">
              <a:xfrm>
                <a:off x="6989264"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0" name="Line 51">
                <a:extLst>
                  <a:ext uri="{FF2B5EF4-FFF2-40B4-BE49-F238E27FC236}">
                    <a16:creationId xmlns:a16="http://schemas.microsoft.com/office/drawing/2014/main" id="{05CC6D93-48F3-037F-74FB-CD22EEA8C59A}"/>
                  </a:ext>
                </a:extLst>
              </p:cNvPr>
              <p:cNvSpPr>
                <a:spLocks noChangeShapeType="1"/>
              </p:cNvSpPr>
              <p:nvPr/>
            </p:nvSpPr>
            <p:spPr bwMode="auto">
              <a:xfrm>
                <a:off x="7035190"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1" name="Line 52">
                <a:extLst>
                  <a:ext uri="{FF2B5EF4-FFF2-40B4-BE49-F238E27FC236}">
                    <a16:creationId xmlns:a16="http://schemas.microsoft.com/office/drawing/2014/main" id="{ABE3E903-EEAE-1A98-C1C2-C5D7FB2BE854}"/>
                  </a:ext>
                </a:extLst>
              </p:cNvPr>
              <p:cNvSpPr>
                <a:spLocks noChangeShapeType="1"/>
              </p:cNvSpPr>
              <p:nvPr/>
            </p:nvSpPr>
            <p:spPr bwMode="auto">
              <a:xfrm>
                <a:off x="7013868"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2" name="Line 53">
                <a:extLst>
                  <a:ext uri="{FF2B5EF4-FFF2-40B4-BE49-F238E27FC236}">
                    <a16:creationId xmlns:a16="http://schemas.microsoft.com/office/drawing/2014/main" id="{C3714411-1746-01D1-0471-4D1A81C75AD8}"/>
                  </a:ext>
                </a:extLst>
              </p:cNvPr>
              <p:cNvSpPr>
                <a:spLocks noChangeShapeType="1"/>
              </p:cNvSpPr>
              <p:nvPr/>
            </p:nvSpPr>
            <p:spPr bwMode="auto">
              <a:xfrm>
                <a:off x="7046671"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3" name="Line 54">
                <a:extLst>
                  <a:ext uri="{FF2B5EF4-FFF2-40B4-BE49-F238E27FC236}">
                    <a16:creationId xmlns:a16="http://schemas.microsoft.com/office/drawing/2014/main" id="{1342DDF7-7724-CCDC-FC08-15897940AA28}"/>
                  </a:ext>
                </a:extLst>
              </p:cNvPr>
              <p:cNvSpPr>
                <a:spLocks noChangeShapeType="1"/>
              </p:cNvSpPr>
              <p:nvPr/>
            </p:nvSpPr>
            <p:spPr bwMode="auto">
              <a:xfrm>
                <a:off x="7026989"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4" name="Line 55">
                <a:extLst>
                  <a:ext uri="{FF2B5EF4-FFF2-40B4-BE49-F238E27FC236}">
                    <a16:creationId xmlns:a16="http://schemas.microsoft.com/office/drawing/2014/main" id="{48133ADC-A11B-F0DC-E31B-D3FADFE66E88}"/>
                  </a:ext>
                </a:extLst>
              </p:cNvPr>
              <p:cNvSpPr>
                <a:spLocks noChangeShapeType="1"/>
              </p:cNvSpPr>
              <p:nvPr/>
            </p:nvSpPr>
            <p:spPr bwMode="auto">
              <a:xfrm>
                <a:off x="7082756"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5" name="Line 56">
                <a:extLst>
                  <a:ext uri="{FF2B5EF4-FFF2-40B4-BE49-F238E27FC236}">
                    <a16:creationId xmlns:a16="http://schemas.microsoft.com/office/drawing/2014/main" id="{052D07BB-862B-ADA6-C976-B645EADBDB81}"/>
                  </a:ext>
                </a:extLst>
              </p:cNvPr>
              <p:cNvSpPr>
                <a:spLocks noChangeShapeType="1"/>
              </p:cNvSpPr>
              <p:nvPr/>
            </p:nvSpPr>
            <p:spPr bwMode="auto">
              <a:xfrm>
                <a:off x="7063073" y="2857099"/>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6" name="Line 57">
                <a:extLst>
                  <a:ext uri="{FF2B5EF4-FFF2-40B4-BE49-F238E27FC236}">
                    <a16:creationId xmlns:a16="http://schemas.microsoft.com/office/drawing/2014/main" id="{240CDD02-65EA-D997-889A-5DB4629C3535}"/>
                  </a:ext>
                </a:extLst>
              </p:cNvPr>
              <p:cNvSpPr>
                <a:spLocks noChangeShapeType="1"/>
              </p:cNvSpPr>
              <p:nvPr/>
            </p:nvSpPr>
            <p:spPr bwMode="auto">
              <a:xfrm>
                <a:off x="7107359"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7" name="Line 58">
                <a:extLst>
                  <a:ext uri="{FF2B5EF4-FFF2-40B4-BE49-F238E27FC236}">
                    <a16:creationId xmlns:a16="http://schemas.microsoft.com/office/drawing/2014/main" id="{5FDC9550-B113-CC83-E040-8705B7124007}"/>
                  </a:ext>
                </a:extLst>
              </p:cNvPr>
              <p:cNvSpPr>
                <a:spLocks noChangeShapeType="1"/>
              </p:cNvSpPr>
              <p:nvPr/>
            </p:nvSpPr>
            <p:spPr bwMode="auto">
              <a:xfrm>
                <a:off x="7087677"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8" name="Line 59">
                <a:extLst>
                  <a:ext uri="{FF2B5EF4-FFF2-40B4-BE49-F238E27FC236}">
                    <a16:creationId xmlns:a16="http://schemas.microsoft.com/office/drawing/2014/main" id="{6A3506B2-5711-252E-7DC8-6ED15789309D}"/>
                  </a:ext>
                </a:extLst>
              </p:cNvPr>
              <p:cNvSpPr>
                <a:spLocks noChangeShapeType="1"/>
              </p:cNvSpPr>
              <p:nvPr/>
            </p:nvSpPr>
            <p:spPr bwMode="auto">
              <a:xfrm>
                <a:off x="7172967"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9" name="Line 60">
                <a:extLst>
                  <a:ext uri="{FF2B5EF4-FFF2-40B4-BE49-F238E27FC236}">
                    <a16:creationId xmlns:a16="http://schemas.microsoft.com/office/drawing/2014/main" id="{E4539464-7BAD-5FCC-995B-624C25C57A3E}"/>
                  </a:ext>
                </a:extLst>
              </p:cNvPr>
              <p:cNvSpPr>
                <a:spLocks noChangeShapeType="1"/>
              </p:cNvSpPr>
              <p:nvPr/>
            </p:nvSpPr>
            <p:spPr bwMode="auto">
              <a:xfrm>
                <a:off x="7153284" y="2857099"/>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90" name="Line 61">
                <a:extLst>
                  <a:ext uri="{FF2B5EF4-FFF2-40B4-BE49-F238E27FC236}">
                    <a16:creationId xmlns:a16="http://schemas.microsoft.com/office/drawing/2014/main" id="{305BB6D3-D38A-549D-CC0A-059C742DA24F}"/>
                  </a:ext>
                </a:extLst>
              </p:cNvPr>
              <p:cNvSpPr>
                <a:spLocks noChangeShapeType="1"/>
              </p:cNvSpPr>
              <p:nvPr/>
            </p:nvSpPr>
            <p:spPr bwMode="auto">
              <a:xfrm>
                <a:off x="7187729"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94" name="Line 62">
                <a:extLst>
                  <a:ext uri="{FF2B5EF4-FFF2-40B4-BE49-F238E27FC236}">
                    <a16:creationId xmlns:a16="http://schemas.microsoft.com/office/drawing/2014/main" id="{560AE00E-3C08-EB2D-DB34-0D476967BCF7}"/>
                  </a:ext>
                </a:extLst>
              </p:cNvPr>
              <p:cNvSpPr>
                <a:spLocks noChangeShapeType="1"/>
              </p:cNvSpPr>
              <p:nvPr/>
            </p:nvSpPr>
            <p:spPr bwMode="auto">
              <a:xfrm>
                <a:off x="7168046"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95" name="Line 63">
                <a:extLst>
                  <a:ext uri="{FF2B5EF4-FFF2-40B4-BE49-F238E27FC236}">
                    <a16:creationId xmlns:a16="http://schemas.microsoft.com/office/drawing/2014/main" id="{34498450-5F76-E8A1-71BB-1BC2071E6080}"/>
                  </a:ext>
                </a:extLst>
              </p:cNvPr>
              <p:cNvSpPr>
                <a:spLocks noChangeShapeType="1"/>
              </p:cNvSpPr>
              <p:nvPr/>
            </p:nvSpPr>
            <p:spPr bwMode="auto">
              <a:xfrm>
                <a:off x="7484606" y="2828252"/>
                <a:ext cx="0" cy="58848"/>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4" name="Line 64">
                <a:extLst>
                  <a:ext uri="{FF2B5EF4-FFF2-40B4-BE49-F238E27FC236}">
                    <a16:creationId xmlns:a16="http://schemas.microsoft.com/office/drawing/2014/main" id="{D0061386-7724-F936-3476-218E453D0C7A}"/>
                  </a:ext>
                </a:extLst>
              </p:cNvPr>
              <p:cNvSpPr>
                <a:spLocks noChangeShapeType="1"/>
              </p:cNvSpPr>
              <p:nvPr/>
            </p:nvSpPr>
            <p:spPr bwMode="auto">
              <a:xfrm>
                <a:off x="7464923" y="2857099"/>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5" name="Line 65">
                <a:extLst>
                  <a:ext uri="{FF2B5EF4-FFF2-40B4-BE49-F238E27FC236}">
                    <a16:creationId xmlns:a16="http://schemas.microsoft.com/office/drawing/2014/main" id="{908434DE-B0A7-B51A-A0EB-51B75E634737}"/>
                  </a:ext>
                </a:extLst>
              </p:cNvPr>
              <p:cNvSpPr>
                <a:spLocks noChangeShapeType="1"/>
              </p:cNvSpPr>
              <p:nvPr/>
            </p:nvSpPr>
            <p:spPr bwMode="auto">
              <a:xfrm>
                <a:off x="7517410"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6" name="Line 66">
                <a:extLst>
                  <a:ext uri="{FF2B5EF4-FFF2-40B4-BE49-F238E27FC236}">
                    <a16:creationId xmlns:a16="http://schemas.microsoft.com/office/drawing/2014/main" id="{C38E9A75-F60F-7624-9708-A75ED7F5CE32}"/>
                  </a:ext>
                </a:extLst>
              </p:cNvPr>
              <p:cNvSpPr>
                <a:spLocks noChangeShapeType="1"/>
              </p:cNvSpPr>
              <p:nvPr/>
            </p:nvSpPr>
            <p:spPr bwMode="auto">
              <a:xfrm>
                <a:off x="7497727" y="2930947"/>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7" name="Line 67">
                <a:extLst>
                  <a:ext uri="{FF2B5EF4-FFF2-40B4-BE49-F238E27FC236}">
                    <a16:creationId xmlns:a16="http://schemas.microsoft.com/office/drawing/2014/main" id="{6207BB73-AAAF-1BDC-C12C-539A66FFF630}"/>
                  </a:ext>
                </a:extLst>
              </p:cNvPr>
              <p:cNvSpPr>
                <a:spLocks noChangeShapeType="1"/>
              </p:cNvSpPr>
              <p:nvPr/>
            </p:nvSpPr>
            <p:spPr bwMode="auto">
              <a:xfrm>
                <a:off x="7522331"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8" name="Line 68">
                <a:extLst>
                  <a:ext uri="{FF2B5EF4-FFF2-40B4-BE49-F238E27FC236}">
                    <a16:creationId xmlns:a16="http://schemas.microsoft.com/office/drawing/2014/main" id="{351C58D3-CC94-C617-B3FC-2744FDEA1DDE}"/>
                  </a:ext>
                </a:extLst>
              </p:cNvPr>
              <p:cNvSpPr>
                <a:spLocks noChangeShapeType="1"/>
              </p:cNvSpPr>
              <p:nvPr/>
            </p:nvSpPr>
            <p:spPr bwMode="auto">
              <a:xfrm>
                <a:off x="7502648" y="2930947"/>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9" name="Line 69">
                <a:extLst>
                  <a:ext uri="{FF2B5EF4-FFF2-40B4-BE49-F238E27FC236}">
                    <a16:creationId xmlns:a16="http://schemas.microsoft.com/office/drawing/2014/main" id="{24123D5B-8117-7AC4-A319-B0B85EAE3ACF}"/>
                  </a:ext>
                </a:extLst>
              </p:cNvPr>
              <p:cNvSpPr>
                <a:spLocks noChangeShapeType="1"/>
              </p:cNvSpPr>
              <p:nvPr/>
            </p:nvSpPr>
            <p:spPr bwMode="auto">
              <a:xfrm>
                <a:off x="7565796"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0" name="Line 70">
                <a:extLst>
                  <a:ext uri="{FF2B5EF4-FFF2-40B4-BE49-F238E27FC236}">
                    <a16:creationId xmlns:a16="http://schemas.microsoft.com/office/drawing/2014/main" id="{AE9AB621-DD5B-8A7C-BA72-966CABF7EE93}"/>
                  </a:ext>
                </a:extLst>
              </p:cNvPr>
              <p:cNvSpPr>
                <a:spLocks noChangeShapeType="1"/>
              </p:cNvSpPr>
              <p:nvPr/>
            </p:nvSpPr>
            <p:spPr bwMode="auto">
              <a:xfrm>
                <a:off x="7543653" y="2930947"/>
                <a:ext cx="4182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1" name="Line 71">
                <a:extLst>
                  <a:ext uri="{FF2B5EF4-FFF2-40B4-BE49-F238E27FC236}">
                    <a16:creationId xmlns:a16="http://schemas.microsoft.com/office/drawing/2014/main" id="{6C289F64-3E66-A8FB-EBDC-7F6DB9CBF322}"/>
                  </a:ext>
                </a:extLst>
              </p:cNvPr>
              <p:cNvSpPr>
                <a:spLocks noChangeShapeType="1"/>
              </p:cNvSpPr>
              <p:nvPr/>
            </p:nvSpPr>
            <p:spPr bwMode="auto">
              <a:xfrm>
                <a:off x="7577277"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2" name="Line 72">
                <a:extLst>
                  <a:ext uri="{FF2B5EF4-FFF2-40B4-BE49-F238E27FC236}">
                    <a16:creationId xmlns:a16="http://schemas.microsoft.com/office/drawing/2014/main" id="{BAE4F789-844E-656F-3FF5-89C2F3B86ADD}"/>
                  </a:ext>
                </a:extLst>
              </p:cNvPr>
              <p:cNvSpPr>
                <a:spLocks noChangeShapeType="1"/>
              </p:cNvSpPr>
              <p:nvPr/>
            </p:nvSpPr>
            <p:spPr bwMode="auto">
              <a:xfrm>
                <a:off x="7555134" y="2930947"/>
                <a:ext cx="4182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3" name="Line 73">
                <a:extLst>
                  <a:ext uri="{FF2B5EF4-FFF2-40B4-BE49-F238E27FC236}">
                    <a16:creationId xmlns:a16="http://schemas.microsoft.com/office/drawing/2014/main" id="{5B1D71C0-FAF6-DD09-AEB4-791EC23FB526}"/>
                  </a:ext>
                </a:extLst>
              </p:cNvPr>
              <p:cNvSpPr>
                <a:spLocks noChangeShapeType="1"/>
              </p:cNvSpPr>
              <p:nvPr/>
            </p:nvSpPr>
            <p:spPr bwMode="auto">
              <a:xfrm>
                <a:off x="7603521"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4" name="Line 74">
                <a:extLst>
                  <a:ext uri="{FF2B5EF4-FFF2-40B4-BE49-F238E27FC236}">
                    <a16:creationId xmlns:a16="http://schemas.microsoft.com/office/drawing/2014/main" id="{93147639-1BCC-0626-3DA0-F78A2015ABE4}"/>
                  </a:ext>
                </a:extLst>
              </p:cNvPr>
              <p:cNvSpPr>
                <a:spLocks noChangeShapeType="1"/>
              </p:cNvSpPr>
              <p:nvPr/>
            </p:nvSpPr>
            <p:spPr bwMode="auto">
              <a:xfrm>
                <a:off x="7582198" y="2930947"/>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5" name="Line 75">
                <a:extLst>
                  <a:ext uri="{FF2B5EF4-FFF2-40B4-BE49-F238E27FC236}">
                    <a16:creationId xmlns:a16="http://schemas.microsoft.com/office/drawing/2014/main" id="{592119AF-93FF-56DA-1274-5E86C2554936}"/>
                  </a:ext>
                </a:extLst>
              </p:cNvPr>
              <p:cNvSpPr>
                <a:spLocks noChangeShapeType="1"/>
              </p:cNvSpPr>
              <p:nvPr/>
            </p:nvSpPr>
            <p:spPr bwMode="auto">
              <a:xfrm>
                <a:off x="7716695"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6" name="Line 76">
                <a:extLst>
                  <a:ext uri="{FF2B5EF4-FFF2-40B4-BE49-F238E27FC236}">
                    <a16:creationId xmlns:a16="http://schemas.microsoft.com/office/drawing/2014/main" id="{8072EF5D-8979-BF8B-6116-6FCA86D62E1F}"/>
                  </a:ext>
                </a:extLst>
              </p:cNvPr>
              <p:cNvSpPr>
                <a:spLocks noChangeShapeType="1"/>
              </p:cNvSpPr>
              <p:nvPr/>
            </p:nvSpPr>
            <p:spPr bwMode="auto">
              <a:xfrm>
                <a:off x="7697013" y="2930947"/>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7" name="Line 77">
                <a:extLst>
                  <a:ext uri="{FF2B5EF4-FFF2-40B4-BE49-F238E27FC236}">
                    <a16:creationId xmlns:a16="http://schemas.microsoft.com/office/drawing/2014/main" id="{CFE264D1-7F7C-14CA-BB47-3B82A4BDECC1}"/>
                  </a:ext>
                </a:extLst>
              </p:cNvPr>
              <p:cNvSpPr>
                <a:spLocks noChangeShapeType="1"/>
              </p:cNvSpPr>
              <p:nvPr/>
            </p:nvSpPr>
            <p:spPr bwMode="auto">
              <a:xfrm>
                <a:off x="7941403"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8" name="Line 78">
                <a:extLst>
                  <a:ext uri="{FF2B5EF4-FFF2-40B4-BE49-F238E27FC236}">
                    <a16:creationId xmlns:a16="http://schemas.microsoft.com/office/drawing/2014/main" id="{8031AA8E-DCFB-2DBE-8101-19E8F3AA19B9}"/>
                  </a:ext>
                </a:extLst>
              </p:cNvPr>
              <p:cNvSpPr>
                <a:spLocks noChangeShapeType="1"/>
              </p:cNvSpPr>
              <p:nvPr/>
            </p:nvSpPr>
            <p:spPr bwMode="auto">
              <a:xfrm>
                <a:off x="7921720" y="2930947"/>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9" name="Line 79">
                <a:extLst>
                  <a:ext uri="{FF2B5EF4-FFF2-40B4-BE49-F238E27FC236}">
                    <a16:creationId xmlns:a16="http://schemas.microsoft.com/office/drawing/2014/main" id="{7F7F22CF-96DF-C68C-E93E-F0D8CCFBA65D}"/>
                  </a:ext>
                </a:extLst>
              </p:cNvPr>
              <p:cNvSpPr>
                <a:spLocks noChangeShapeType="1"/>
              </p:cNvSpPr>
              <p:nvPr/>
            </p:nvSpPr>
            <p:spPr bwMode="auto">
              <a:xfrm>
                <a:off x="7946323"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0" name="Line 80">
                <a:extLst>
                  <a:ext uri="{FF2B5EF4-FFF2-40B4-BE49-F238E27FC236}">
                    <a16:creationId xmlns:a16="http://schemas.microsoft.com/office/drawing/2014/main" id="{0971F966-299B-A2F4-BF31-19C2F67A82C6}"/>
                  </a:ext>
                </a:extLst>
              </p:cNvPr>
              <p:cNvSpPr>
                <a:spLocks noChangeShapeType="1"/>
              </p:cNvSpPr>
              <p:nvPr/>
            </p:nvSpPr>
            <p:spPr bwMode="auto">
              <a:xfrm>
                <a:off x="7926641" y="2930947"/>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1" name="Line 81">
                <a:extLst>
                  <a:ext uri="{FF2B5EF4-FFF2-40B4-BE49-F238E27FC236}">
                    <a16:creationId xmlns:a16="http://schemas.microsoft.com/office/drawing/2014/main" id="{745ECB27-4046-B91E-AC3A-042CD5776502}"/>
                  </a:ext>
                </a:extLst>
              </p:cNvPr>
              <p:cNvSpPr>
                <a:spLocks noChangeShapeType="1"/>
              </p:cNvSpPr>
              <p:nvPr/>
            </p:nvSpPr>
            <p:spPr bwMode="auto">
              <a:xfrm>
                <a:off x="7959445"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2" name="Line 82">
                <a:extLst>
                  <a:ext uri="{FF2B5EF4-FFF2-40B4-BE49-F238E27FC236}">
                    <a16:creationId xmlns:a16="http://schemas.microsoft.com/office/drawing/2014/main" id="{26E5E8CF-E364-1CCF-DB94-5430C9227EEC}"/>
                  </a:ext>
                </a:extLst>
              </p:cNvPr>
              <p:cNvSpPr>
                <a:spLocks noChangeShapeType="1"/>
              </p:cNvSpPr>
              <p:nvPr/>
            </p:nvSpPr>
            <p:spPr bwMode="auto">
              <a:xfrm>
                <a:off x="7939763" y="2930947"/>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3" name="Line 83">
                <a:extLst>
                  <a:ext uri="{FF2B5EF4-FFF2-40B4-BE49-F238E27FC236}">
                    <a16:creationId xmlns:a16="http://schemas.microsoft.com/office/drawing/2014/main" id="{44B37B4B-CB0F-D5D0-3244-0D1FE78B11EC}"/>
                  </a:ext>
                </a:extLst>
              </p:cNvPr>
              <p:cNvSpPr>
                <a:spLocks noChangeShapeType="1"/>
              </p:cNvSpPr>
              <p:nvPr/>
            </p:nvSpPr>
            <p:spPr bwMode="auto">
              <a:xfrm>
                <a:off x="7979127"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4" name="Line 84">
                <a:extLst>
                  <a:ext uri="{FF2B5EF4-FFF2-40B4-BE49-F238E27FC236}">
                    <a16:creationId xmlns:a16="http://schemas.microsoft.com/office/drawing/2014/main" id="{74D547A2-8BF4-F81C-D719-EA5D290A1DF7}"/>
                  </a:ext>
                </a:extLst>
              </p:cNvPr>
              <p:cNvSpPr>
                <a:spLocks noChangeShapeType="1"/>
              </p:cNvSpPr>
              <p:nvPr/>
            </p:nvSpPr>
            <p:spPr bwMode="auto">
              <a:xfrm>
                <a:off x="7959445" y="2930947"/>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5" name="Line 85">
                <a:extLst>
                  <a:ext uri="{FF2B5EF4-FFF2-40B4-BE49-F238E27FC236}">
                    <a16:creationId xmlns:a16="http://schemas.microsoft.com/office/drawing/2014/main" id="{AADDEDD4-ABF8-8E55-A44A-C0F0DD03FEDD}"/>
                  </a:ext>
                </a:extLst>
              </p:cNvPr>
              <p:cNvSpPr>
                <a:spLocks noChangeShapeType="1"/>
              </p:cNvSpPr>
              <p:nvPr/>
            </p:nvSpPr>
            <p:spPr bwMode="auto">
              <a:xfrm>
                <a:off x="8061138"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6" name="Line 86">
                <a:extLst>
                  <a:ext uri="{FF2B5EF4-FFF2-40B4-BE49-F238E27FC236}">
                    <a16:creationId xmlns:a16="http://schemas.microsoft.com/office/drawing/2014/main" id="{DD7AA318-3C53-8AE4-F487-7A7E264DB8DD}"/>
                  </a:ext>
                </a:extLst>
              </p:cNvPr>
              <p:cNvSpPr>
                <a:spLocks noChangeShapeType="1"/>
              </p:cNvSpPr>
              <p:nvPr/>
            </p:nvSpPr>
            <p:spPr bwMode="auto">
              <a:xfrm>
                <a:off x="8041455" y="2930947"/>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7" name="Line 87">
                <a:extLst>
                  <a:ext uri="{FF2B5EF4-FFF2-40B4-BE49-F238E27FC236}">
                    <a16:creationId xmlns:a16="http://schemas.microsoft.com/office/drawing/2014/main" id="{73DE5FC5-5864-C9E5-E1DA-CDE1C8CC402A}"/>
                  </a:ext>
                </a:extLst>
              </p:cNvPr>
              <p:cNvSpPr>
                <a:spLocks noChangeShapeType="1"/>
              </p:cNvSpPr>
              <p:nvPr/>
            </p:nvSpPr>
            <p:spPr bwMode="auto">
              <a:xfrm>
                <a:off x="8075900"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8" name="Line 88">
                <a:extLst>
                  <a:ext uri="{FF2B5EF4-FFF2-40B4-BE49-F238E27FC236}">
                    <a16:creationId xmlns:a16="http://schemas.microsoft.com/office/drawing/2014/main" id="{12A9A804-A2E9-A6D5-4365-43CF7D0E0FF8}"/>
                  </a:ext>
                </a:extLst>
              </p:cNvPr>
              <p:cNvSpPr>
                <a:spLocks noChangeShapeType="1"/>
              </p:cNvSpPr>
              <p:nvPr/>
            </p:nvSpPr>
            <p:spPr bwMode="auto">
              <a:xfrm>
                <a:off x="8054577" y="2930947"/>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9" name="Line 89">
                <a:extLst>
                  <a:ext uri="{FF2B5EF4-FFF2-40B4-BE49-F238E27FC236}">
                    <a16:creationId xmlns:a16="http://schemas.microsoft.com/office/drawing/2014/main" id="{3B9E7BD7-87D4-4D4D-9DCD-6922EF6545A6}"/>
                  </a:ext>
                </a:extLst>
              </p:cNvPr>
              <p:cNvSpPr>
                <a:spLocks noChangeShapeType="1"/>
              </p:cNvSpPr>
              <p:nvPr/>
            </p:nvSpPr>
            <p:spPr bwMode="auto">
              <a:xfrm>
                <a:off x="8162830"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0" name="Line 90">
                <a:extLst>
                  <a:ext uri="{FF2B5EF4-FFF2-40B4-BE49-F238E27FC236}">
                    <a16:creationId xmlns:a16="http://schemas.microsoft.com/office/drawing/2014/main" id="{858DACE9-3F98-86FA-7592-C7A667A6B4A5}"/>
                  </a:ext>
                </a:extLst>
              </p:cNvPr>
              <p:cNvSpPr>
                <a:spLocks noChangeShapeType="1"/>
              </p:cNvSpPr>
              <p:nvPr/>
            </p:nvSpPr>
            <p:spPr bwMode="auto">
              <a:xfrm>
                <a:off x="8143147" y="2930947"/>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1" name="Line 91">
                <a:extLst>
                  <a:ext uri="{FF2B5EF4-FFF2-40B4-BE49-F238E27FC236}">
                    <a16:creationId xmlns:a16="http://schemas.microsoft.com/office/drawing/2014/main" id="{4100F480-8DD9-E897-A1E6-3862181ECD17}"/>
                  </a:ext>
                </a:extLst>
              </p:cNvPr>
              <p:cNvSpPr>
                <a:spLocks noChangeShapeType="1"/>
              </p:cNvSpPr>
              <p:nvPr/>
            </p:nvSpPr>
            <p:spPr bwMode="auto">
              <a:xfrm>
                <a:off x="8171032"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2" name="Line 92">
                <a:extLst>
                  <a:ext uri="{FF2B5EF4-FFF2-40B4-BE49-F238E27FC236}">
                    <a16:creationId xmlns:a16="http://schemas.microsoft.com/office/drawing/2014/main" id="{70949F5B-0BD0-A915-D071-EA23A4477DF9}"/>
                  </a:ext>
                </a:extLst>
              </p:cNvPr>
              <p:cNvSpPr>
                <a:spLocks noChangeShapeType="1"/>
              </p:cNvSpPr>
              <p:nvPr/>
            </p:nvSpPr>
            <p:spPr bwMode="auto">
              <a:xfrm>
                <a:off x="8149709" y="2930947"/>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3" name="Line 93">
                <a:extLst>
                  <a:ext uri="{FF2B5EF4-FFF2-40B4-BE49-F238E27FC236}">
                    <a16:creationId xmlns:a16="http://schemas.microsoft.com/office/drawing/2014/main" id="{6ABE0856-63BA-D254-4590-648067E37788}"/>
                  </a:ext>
                </a:extLst>
              </p:cNvPr>
              <p:cNvSpPr>
                <a:spLocks noChangeShapeType="1"/>
              </p:cNvSpPr>
              <p:nvPr/>
            </p:nvSpPr>
            <p:spPr bwMode="auto">
              <a:xfrm>
                <a:off x="8223517"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4" name="Line 94">
                <a:extLst>
                  <a:ext uri="{FF2B5EF4-FFF2-40B4-BE49-F238E27FC236}">
                    <a16:creationId xmlns:a16="http://schemas.microsoft.com/office/drawing/2014/main" id="{308CCCEE-4CA2-4309-3A57-DA3A6B08472C}"/>
                  </a:ext>
                </a:extLst>
              </p:cNvPr>
              <p:cNvSpPr>
                <a:spLocks noChangeShapeType="1"/>
              </p:cNvSpPr>
              <p:nvPr/>
            </p:nvSpPr>
            <p:spPr bwMode="auto">
              <a:xfrm>
                <a:off x="8202195" y="2930947"/>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5" name="Line 95">
                <a:extLst>
                  <a:ext uri="{FF2B5EF4-FFF2-40B4-BE49-F238E27FC236}">
                    <a16:creationId xmlns:a16="http://schemas.microsoft.com/office/drawing/2014/main" id="{16BB6010-887B-6D5B-3BEA-E46D9AFEF11A}"/>
                  </a:ext>
                </a:extLst>
              </p:cNvPr>
              <p:cNvSpPr>
                <a:spLocks noChangeShapeType="1"/>
              </p:cNvSpPr>
              <p:nvPr/>
            </p:nvSpPr>
            <p:spPr bwMode="auto">
              <a:xfrm>
                <a:off x="8243200"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6" name="Line 96">
                <a:extLst>
                  <a:ext uri="{FF2B5EF4-FFF2-40B4-BE49-F238E27FC236}">
                    <a16:creationId xmlns:a16="http://schemas.microsoft.com/office/drawing/2014/main" id="{11246736-BB4F-D5A9-0B22-BFB99949B17C}"/>
                  </a:ext>
                </a:extLst>
              </p:cNvPr>
              <p:cNvSpPr>
                <a:spLocks noChangeShapeType="1"/>
              </p:cNvSpPr>
              <p:nvPr/>
            </p:nvSpPr>
            <p:spPr bwMode="auto">
              <a:xfrm>
                <a:off x="8223517" y="2930947"/>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7" name="Line 97">
                <a:extLst>
                  <a:ext uri="{FF2B5EF4-FFF2-40B4-BE49-F238E27FC236}">
                    <a16:creationId xmlns:a16="http://schemas.microsoft.com/office/drawing/2014/main" id="{D8A8E081-8880-BD0C-BC1B-846ADC55630F}"/>
                  </a:ext>
                </a:extLst>
              </p:cNvPr>
              <p:cNvSpPr>
                <a:spLocks noChangeShapeType="1"/>
              </p:cNvSpPr>
              <p:nvPr/>
            </p:nvSpPr>
            <p:spPr bwMode="auto">
              <a:xfrm>
                <a:off x="8253041"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8" name="Line 98">
                <a:extLst>
                  <a:ext uri="{FF2B5EF4-FFF2-40B4-BE49-F238E27FC236}">
                    <a16:creationId xmlns:a16="http://schemas.microsoft.com/office/drawing/2014/main" id="{0956568B-7A04-2D99-7EF9-7C8AE817FAC9}"/>
                  </a:ext>
                </a:extLst>
              </p:cNvPr>
              <p:cNvSpPr>
                <a:spLocks noChangeShapeType="1"/>
              </p:cNvSpPr>
              <p:nvPr/>
            </p:nvSpPr>
            <p:spPr bwMode="auto">
              <a:xfrm>
                <a:off x="8233359" y="2930947"/>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9" name="Line 99">
                <a:extLst>
                  <a:ext uri="{FF2B5EF4-FFF2-40B4-BE49-F238E27FC236}">
                    <a16:creationId xmlns:a16="http://schemas.microsoft.com/office/drawing/2014/main" id="{5F26C4DC-9885-83F7-077D-32D2924129BF}"/>
                  </a:ext>
                </a:extLst>
              </p:cNvPr>
              <p:cNvSpPr>
                <a:spLocks noChangeShapeType="1"/>
              </p:cNvSpPr>
              <p:nvPr/>
            </p:nvSpPr>
            <p:spPr bwMode="auto">
              <a:xfrm>
                <a:off x="8433464"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0" name="Line 100">
                <a:extLst>
                  <a:ext uri="{FF2B5EF4-FFF2-40B4-BE49-F238E27FC236}">
                    <a16:creationId xmlns:a16="http://schemas.microsoft.com/office/drawing/2014/main" id="{2EC21BA3-3ED4-1032-D2D1-5179AA1CBCDE}"/>
                  </a:ext>
                </a:extLst>
              </p:cNvPr>
              <p:cNvSpPr>
                <a:spLocks noChangeShapeType="1"/>
              </p:cNvSpPr>
              <p:nvPr/>
            </p:nvSpPr>
            <p:spPr bwMode="auto">
              <a:xfrm>
                <a:off x="8412141" y="2930947"/>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1" name="Line 101">
                <a:extLst>
                  <a:ext uri="{FF2B5EF4-FFF2-40B4-BE49-F238E27FC236}">
                    <a16:creationId xmlns:a16="http://schemas.microsoft.com/office/drawing/2014/main" id="{4A9E55FA-B3F8-38C0-FF35-E813AC5081B8}"/>
                  </a:ext>
                </a:extLst>
              </p:cNvPr>
              <p:cNvSpPr>
                <a:spLocks noChangeShapeType="1"/>
              </p:cNvSpPr>
              <p:nvPr/>
            </p:nvSpPr>
            <p:spPr bwMode="auto">
              <a:xfrm>
                <a:off x="8034895"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2" name="Line 102">
                <a:extLst>
                  <a:ext uri="{FF2B5EF4-FFF2-40B4-BE49-F238E27FC236}">
                    <a16:creationId xmlns:a16="http://schemas.microsoft.com/office/drawing/2014/main" id="{9A7D9E8E-4C56-A32F-4D56-08CBC2211EEF}"/>
                  </a:ext>
                </a:extLst>
              </p:cNvPr>
              <p:cNvSpPr>
                <a:spLocks noChangeShapeType="1"/>
              </p:cNvSpPr>
              <p:nvPr/>
            </p:nvSpPr>
            <p:spPr bwMode="auto">
              <a:xfrm>
                <a:off x="8015212" y="2930947"/>
                <a:ext cx="393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3" name="Line 103">
                <a:extLst>
                  <a:ext uri="{FF2B5EF4-FFF2-40B4-BE49-F238E27FC236}">
                    <a16:creationId xmlns:a16="http://schemas.microsoft.com/office/drawing/2014/main" id="{287EC2DF-8DE2-6A3D-41BC-04D71D1C07F7}"/>
                  </a:ext>
                </a:extLst>
              </p:cNvPr>
              <p:cNvSpPr>
                <a:spLocks noChangeShapeType="1"/>
              </p:cNvSpPr>
              <p:nvPr/>
            </p:nvSpPr>
            <p:spPr bwMode="auto">
              <a:xfrm>
                <a:off x="8041455"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4" name="Line 104">
                <a:extLst>
                  <a:ext uri="{FF2B5EF4-FFF2-40B4-BE49-F238E27FC236}">
                    <a16:creationId xmlns:a16="http://schemas.microsoft.com/office/drawing/2014/main" id="{039F0956-0CF2-FD14-ECC8-4771BAB810CB}"/>
                  </a:ext>
                </a:extLst>
              </p:cNvPr>
              <p:cNvSpPr>
                <a:spLocks noChangeShapeType="1"/>
              </p:cNvSpPr>
              <p:nvPr/>
            </p:nvSpPr>
            <p:spPr bwMode="auto">
              <a:xfrm>
                <a:off x="8046376" y="2903254"/>
                <a:ext cx="0" cy="5538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5" name="Line 105">
                <a:extLst>
                  <a:ext uri="{FF2B5EF4-FFF2-40B4-BE49-F238E27FC236}">
                    <a16:creationId xmlns:a16="http://schemas.microsoft.com/office/drawing/2014/main" id="{A452DB71-AC1F-6950-B43B-696E5140C1F4}"/>
                  </a:ext>
                </a:extLst>
              </p:cNvPr>
              <p:cNvSpPr>
                <a:spLocks noChangeShapeType="1"/>
              </p:cNvSpPr>
              <p:nvPr/>
            </p:nvSpPr>
            <p:spPr bwMode="auto">
              <a:xfrm>
                <a:off x="8021772" y="2930947"/>
                <a:ext cx="4100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1086" name="TextBox 1085">
              <a:extLst>
                <a:ext uri="{FF2B5EF4-FFF2-40B4-BE49-F238E27FC236}">
                  <a16:creationId xmlns:a16="http://schemas.microsoft.com/office/drawing/2014/main" id="{47705A2A-F752-1928-0723-1725C1C72263}"/>
                </a:ext>
              </a:extLst>
            </p:cNvPr>
            <p:cNvSpPr txBox="1"/>
            <p:nvPr/>
          </p:nvSpPr>
          <p:spPr>
            <a:xfrm>
              <a:off x="8932935" y="4342971"/>
              <a:ext cx="237566" cy="207749"/>
            </a:xfrm>
            <a:prstGeom prst="rect">
              <a:avLst/>
            </a:prstGeom>
            <a:noFill/>
          </p:spPr>
          <p:txBody>
            <a:bodyPr wrap="non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en-GB" sz="75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1087" name="Group 1086">
              <a:extLst>
                <a:ext uri="{FF2B5EF4-FFF2-40B4-BE49-F238E27FC236}">
                  <a16:creationId xmlns:a16="http://schemas.microsoft.com/office/drawing/2014/main" id="{1CEA380B-C140-8641-8DAF-9BF3EA26E285}"/>
                </a:ext>
              </a:extLst>
            </p:cNvPr>
            <p:cNvGrpSpPr/>
            <p:nvPr/>
          </p:nvGrpSpPr>
          <p:grpSpPr>
            <a:xfrm>
              <a:off x="9093121" y="4332602"/>
              <a:ext cx="1309499" cy="69253"/>
              <a:chOff x="9919129" y="4665930"/>
              <a:chExt cx="1414860" cy="46936"/>
            </a:xfrm>
          </p:grpSpPr>
          <p:cxnSp>
            <p:nvCxnSpPr>
              <p:cNvPr id="1088" name="Straight Connector 1087">
                <a:extLst>
                  <a:ext uri="{FF2B5EF4-FFF2-40B4-BE49-F238E27FC236}">
                    <a16:creationId xmlns:a16="http://schemas.microsoft.com/office/drawing/2014/main" id="{01ADB7F4-6C84-05E6-C2AC-F336F3B8EF6B}"/>
                  </a:ext>
                </a:extLst>
              </p:cNvPr>
              <p:cNvCxnSpPr>
                <a:cxnSpLocks/>
              </p:cNvCxnSpPr>
              <p:nvPr/>
            </p:nvCxnSpPr>
            <p:spPr>
              <a:xfrm flipV="1">
                <a:off x="9919129" y="4665930"/>
                <a:ext cx="14148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89" name="Group 1088">
                <a:extLst>
                  <a:ext uri="{FF2B5EF4-FFF2-40B4-BE49-F238E27FC236}">
                    <a16:creationId xmlns:a16="http://schemas.microsoft.com/office/drawing/2014/main" id="{D3814632-61B3-B646-31F6-04287E0FA42A}"/>
                  </a:ext>
                </a:extLst>
              </p:cNvPr>
              <p:cNvGrpSpPr/>
              <p:nvPr/>
            </p:nvGrpSpPr>
            <p:grpSpPr>
              <a:xfrm>
                <a:off x="9919655" y="4665930"/>
                <a:ext cx="1414334" cy="46936"/>
                <a:chOff x="9919655" y="4665930"/>
                <a:chExt cx="1414334" cy="46936"/>
              </a:xfrm>
            </p:grpSpPr>
            <p:cxnSp>
              <p:nvCxnSpPr>
                <p:cNvPr id="1090" name="Straight Connector 1089">
                  <a:extLst>
                    <a:ext uri="{FF2B5EF4-FFF2-40B4-BE49-F238E27FC236}">
                      <a16:creationId xmlns:a16="http://schemas.microsoft.com/office/drawing/2014/main" id="{1258F684-7D09-E403-61D3-7EDC2F1E6EEE}"/>
                    </a:ext>
                  </a:extLst>
                </p:cNvPr>
                <p:cNvCxnSpPr>
                  <a:cxnSpLocks/>
                </p:cNvCxnSpPr>
                <p:nvPr/>
              </p:nvCxnSpPr>
              <p:spPr>
                <a:xfrm>
                  <a:off x="9919655"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1" name="Straight Connector 1090">
                  <a:extLst>
                    <a:ext uri="{FF2B5EF4-FFF2-40B4-BE49-F238E27FC236}">
                      <a16:creationId xmlns:a16="http://schemas.microsoft.com/office/drawing/2014/main" id="{10CC9948-F67F-4264-7C50-CFA2AC2E3572}"/>
                    </a:ext>
                  </a:extLst>
                </p:cNvPr>
                <p:cNvCxnSpPr>
                  <a:cxnSpLocks/>
                </p:cNvCxnSpPr>
                <p:nvPr/>
              </p:nvCxnSpPr>
              <p:spPr>
                <a:xfrm>
                  <a:off x="10202522"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2" name="Straight Connector 1091">
                  <a:extLst>
                    <a:ext uri="{FF2B5EF4-FFF2-40B4-BE49-F238E27FC236}">
                      <a16:creationId xmlns:a16="http://schemas.microsoft.com/office/drawing/2014/main" id="{88FBAB86-4A9E-2692-2370-A2B5B0A2B3BA}"/>
                    </a:ext>
                  </a:extLst>
                </p:cNvPr>
                <p:cNvCxnSpPr>
                  <a:cxnSpLocks/>
                </p:cNvCxnSpPr>
                <p:nvPr/>
              </p:nvCxnSpPr>
              <p:spPr>
                <a:xfrm>
                  <a:off x="10485389"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3" name="Straight Connector 1092">
                  <a:extLst>
                    <a:ext uri="{FF2B5EF4-FFF2-40B4-BE49-F238E27FC236}">
                      <a16:creationId xmlns:a16="http://schemas.microsoft.com/office/drawing/2014/main" id="{7C386782-21F8-0583-B86B-17EF237596A7}"/>
                    </a:ext>
                  </a:extLst>
                </p:cNvPr>
                <p:cNvCxnSpPr>
                  <a:cxnSpLocks/>
                </p:cNvCxnSpPr>
                <p:nvPr/>
              </p:nvCxnSpPr>
              <p:spPr>
                <a:xfrm>
                  <a:off x="10768256"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4" name="Straight Connector 1093">
                  <a:extLst>
                    <a:ext uri="{FF2B5EF4-FFF2-40B4-BE49-F238E27FC236}">
                      <a16:creationId xmlns:a16="http://schemas.microsoft.com/office/drawing/2014/main" id="{5ACF310A-E3A6-D854-562F-E9C0D0E4E79B}"/>
                    </a:ext>
                  </a:extLst>
                </p:cNvPr>
                <p:cNvCxnSpPr>
                  <a:cxnSpLocks/>
                </p:cNvCxnSpPr>
                <p:nvPr/>
              </p:nvCxnSpPr>
              <p:spPr>
                <a:xfrm>
                  <a:off x="11051123"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5" name="Straight Connector 1094">
                  <a:extLst>
                    <a:ext uri="{FF2B5EF4-FFF2-40B4-BE49-F238E27FC236}">
                      <a16:creationId xmlns:a16="http://schemas.microsoft.com/office/drawing/2014/main" id="{3AAE2A58-2B87-AA96-1185-87C43A7A9292}"/>
                    </a:ext>
                  </a:extLst>
                </p:cNvPr>
                <p:cNvCxnSpPr>
                  <a:cxnSpLocks/>
                </p:cNvCxnSpPr>
                <p:nvPr/>
              </p:nvCxnSpPr>
              <p:spPr>
                <a:xfrm>
                  <a:off x="11333989" y="4665930"/>
                  <a:ext cx="0" cy="4693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096" name="TextBox 1095">
              <a:extLst>
                <a:ext uri="{FF2B5EF4-FFF2-40B4-BE49-F238E27FC236}">
                  <a16:creationId xmlns:a16="http://schemas.microsoft.com/office/drawing/2014/main" id="{C3C36D91-DC77-F721-F4FC-7DB4329BA3F3}"/>
                </a:ext>
              </a:extLst>
            </p:cNvPr>
            <p:cNvSpPr txBox="1"/>
            <p:nvPr/>
          </p:nvSpPr>
          <p:spPr>
            <a:xfrm>
              <a:off x="10274377" y="4336261"/>
              <a:ext cx="343364" cy="207749"/>
            </a:xfrm>
            <a:prstGeom prst="rect">
              <a:avLst/>
            </a:prstGeom>
            <a:noFill/>
          </p:spPr>
          <p:txBody>
            <a:bodyPr wrap="non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00</a:t>
              </a:r>
              <a:endParaRPr kumimoji="0" lang="en-GB" sz="75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Flowchart: Process 12">
              <a:extLst>
                <a:ext uri="{FF2B5EF4-FFF2-40B4-BE49-F238E27FC236}">
                  <a16:creationId xmlns:a16="http://schemas.microsoft.com/office/drawing/2014/main" id="{67BBF9AD-1DF7-CBBE-8079-54F8AB324F28}"/>
                </a:ext>
              </a:extLst>
            </p:cNvPr>
            <p:cNvSpPr/>
            <p:nvPr/>
          </p:nvSpPr>
          <p:spPr>
            <a:xfrm>
              <a:off x="1608777" y="5882301"/>
              <a:ext cx="9144000" cy="610339"/>
            </a:xfrm>
            <a:prstGeom prst="flowChartProcess">
              <a:avLst/>
            </a:prstGeom>
            <a:solidFill>
              <a:schemeClr val="accent1"/>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Liso-cel provided a 43% reduction in risk of death vs. SOC in a prespecified analysis adjusted for crossover</a:t>
              </a:r>
              <a:r>
                <a:rPr kumimoji="0" lang="en-US" sz="16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1,2,a</a:t>
              </a:r>
              <a:endPar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8" name="Picture 7" descr="A graph of a patient's progress&#10;&#10;AI-generated content may be incorrect.">
              <a:extLst>
                <a:ext uri="{FF2B5EF4-FFF2-40B4-BE49-F238E27FC236}">
                  <a16:creationId xmlns:a16="http://schemas.microsoft.com/office/drawing/2014/main" id="{4D2123AF-12CB-9F1F-2046-8AC43708FE9E}"/>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3238773" y="1359877"/>
              <a:ext cx="4885600" cy="3657994"/>
            </a:xfrm>
            <a:prstGeom prst="rect">
              <a:avLst/>
            </a:prstGeom>
          </p:spPr>
        </p:pic>
      </p:grpSp>
      <p:sp>
        <p:nvSpPr>
          <p:cNvPr id="5" name="TextBox 4">
            <a:extLst>
              <a:ext uri="{FF2B5EF4-FFF2-40B4-BE49-F238E27FC236}">
                <a16:creationId xmlns:a16="http://schemas.microsoft.com/office/drawing/2014/main" id="{B5A4B061-E40A-2CA4-8A77-312287DB6EBE}"/>
              </a:ext>
            </a:extLst>
          </p:cNvPr>
          <p:cNvSpPr txBox="1"/>
          <p:nvPr/>
        </p:nvSpPr>
        <p:spPr>
          <a:xfrm>
            <a:off x="2578270" y="6485021"/>
            <a:ext cx="9472706" cy="307777"/>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aramond" pitchFamily="18" charset="0"/>
                <a:ea typeface="+mn-ea"/>
                <a:cs typeface="+mn-cs"/>
              </a:rPr>
              <a:t>Kamdar et al. ASH 2025; Kamdar et al. J Clin Oncol. 2025;43:2671-2678</a:t>
            </a:r>
          </a:p>
        </p:txBody>
      </p:sp>
    </p:spTree>
    <p:extLst>
      <p:ext uri="{BB962C8B-B14F-4D97-AF65-F5344CB8AC3E}">
        <p14:creationId xmlns:p14="http://schemas.microsoft.com/office/powerpoint/2010/main" val="686033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01502F-C2CA-FAD3-A158-F33436F2ED73}"/>
            </a:ext>
          </a:extLst>
        </p:cNvPr>
        <p:cNvGrpSpPr/>
        <p:nvPr/>
      </p:nvGrpSpPr>
      <p:grpSpPr>
        <a:xfrm>
          <a:off x="0" y="0"/>
          <a:ext cx="0" cy="0"/>
          <a:chOff x="0" y="0"/>
          <a:chExt cx="0" cy="0"/>
        </a:xfrm>
      </p:grpSpPr>
      <p:graphicFrame>
        <p:nvGraphicFramePr>
          <p:cNvPr id="178" name="Shape1_20260318_112737">
            <a:extLst>
              <a:ext uri="{FF2B5EF4-FFF2-40B4-BE49-F238E27FC236}">
                <a16:creationId xmlns:a16="http://schemas.microsoft.com/office/drawing/2014/main" id="{0DDDCC23-0EAA-AB5C-8891-CDCFEF7CE09D}"/>
              </a:ext>
            </a:extLst>
          </p:cNvPr>
          <p:cNvGraphicFramePr>
            <a:graphicFrameLocks/>
          </p:cNvGraphicFramePr>
          <p:nvPr/>
        </p:nvGraphicFramePr>
        <p:xfrm>
          <a:off x="1749820" y="1884818"/>
          <a:ext cx="8720060" cy="151589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81C43F56-9043-4186-A954-AFA3A94754BA}"/>
              </a:ext>
            </a:extLst>
          </p:cNvPr>
          <p:cNvSpPr>
            <a:spLocks noGrp="1"/>
          </p:cNvSpPr>
          <p:nvPr>
            <p:ph type="title"/>
          </p:nvPr>
        </p:nvSpPr>
        <p:spPr>
          <a:xfrm>
            <a:off x="1878780" y="316082"/>
            <a:ext cx="8462654" cy="412918"/>
          </a:xfrm>
        </p:spPr>
        <p:txBody>
          <a:bodyPr>
            <a:noAutofit/>
          </a:bodyPr>
          <a:lstStyle/>
          <a:p>
            <a:r>
              <a:rPr lang="en-US" sz="2400" dirty="0">
                <a:effectLst>
                  <a:glow>
                    <a:srgbClr val="000000"/>
                  </a:glow>
                </a:effectLst>
                <a:latin typeface="Arial" panose="020B0604020202020204" pitchFamily="34" charset="0"/>
                <a:cs typeface="Arial" panose="020B0604020202020204" pitchFamily="34" charset="0"/>
              </a:rPr>
              <a:t>Receiving CAR-T in 2L versus 3L impacts outcomes</a:t>
            </a:r>
          </a:p>
        </p:txBody>
      </p:sp>
      <p:sp>
        <p:nvSpPr>
          <p:cNvPr id="7" name="TextBox 6">
            <a:extLst>
              <a:ext uri="{FF2B5EF4-FFF2-40B4-BE49-F238E27FC236}">
                <a16:creationId xmlns:a16="http://schemas.microsoft.com/office/drawing/2014/main" id="{4226CD54-48B4-3D88-32C7-4C4CA08C442F}"/>
              </a:ext>
            </a:extLst>
          </p:cNvPr>
          <p:cNvSpPr txBox="1"/>
          <p:nvPr/>
        </p:nvSpPr>
        <p:spPr>
          <a:xfrm>
            <a:off x="1756567" y="5740000"/>
            <a:ext cx="7716125" cy="92333"/>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glow>
                    <a:srgbClr val="000000"/>
                  </a:glow>
                </a:effectLst>
                <a:uLnTx/>
                <a:uFillTx/>
                <a:latin typeface="Krub"/>
                <a:ea typeface="+mn-ea"/>
                <a:cs typeface="+mn-cs"/>
              </a:rPr>
              <a:t>Kamdar et. al. ASCO 2024. Oral Presentation</a:t>
            </a:r>
          </a:p>
        </p:txBody>
      </p:sp>
      <p:sp>
        <p:nvSpPr>
          <p:cNvPr id="9" name="Flowchart: Process 8">
            <a:extLst>
              <a:ext uri="{FF2B5EF4-FFF2-40B4-BE49-F238E27FC236}">
                <a16:creationId xmlns:a16="http://schemas.microsoft.com/office/drawing/2014/main" id="{61C883A1-39AD-623C-45E2-825775181C4E}"/>
              </a:ext>
            </a:extLst>
          </p:cNvPr>
          <p:cNvSpPr>
            <a:spLocks/>
          </p:cNvSpPr>
          <p:nvPr/>
        </p:nvSpPr>
        <p:spPr>
          <a:xfrm>
            <a:off x="1809424" y="1517258"/>
            <a:ext cx="8720060" cy="245169"/>
          </a:xfrm>
          <a:prstGeom prst="flowChartProcess">
            <a:avLst/>
          </a:prstGeom>
          <a:noFill/>
          <a:ln>
            <a:noFill/>
          </a:ln>
        </p:spPr>
        <p:style>
          <a:lnRef idx="0">
            <a:schemeClr val="accent1"/>
          </a:lnRef>
          <a:fillRef idx="1">
            <a:schemeClr val="accent1"/>
          </a:fillRef>
          <a:effectRef idx="0">
            <a:srgbClr val="000000"/>
          </a:effectRef>
          <a:fontRef idx="minor">
            <a:schemeClr val="lt1"/>
          </a:fontRef>
        </p:style>
        <p:txBody>
          <a:bodyPr lIns="0" tIns="0" rIns="0" bIns="0" rtlCol="0" anchor="ctr">
            <a:noAutofit/>
          </a:bodyPr>
          <a:lstStyle/>
          <a:p>
            <a:pPr marL="0" marR="0" lvl="0" indent="0" algn="l" defTabSz="51435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prstClr val="black"/>
                </a:solidFill>
                <a:effectLst>
                  <a:glow>
                    <a:srgbClr val="000000"/>
                  </a:glow>
                </a:effectLst>
                <a:uLnTx/>
                <a:uFillTx/>
                <a:latin typeface="Calibri" panose="020F0502020204030204"/>
                <a:ea typeface="+mn-ea"/>
                <a:cs typeface="Arial" panose="020B0604020202020204" pitchFamily="34" charset="0"/>
              </a:rPr>
              <a:t>Figure 5. OS in </a:t>
            </a:r>
            <a:r>
              <a:rPr kumimoji="0" lang="en-US" sz="1050" b="1" i="0" u="none" strike="noStrike" kern="1200" cap="none" spc="0" normalizeH="0" baseline="0" noProof="0" dirty="0" err="1">
                <a:ln>
                  <a:noFill/>
                </a:ln>
                <a:solidFill>
                  <a:prstClr val="black"/>
                </a:solidFill>
                <a:effectLst>
                  <a:glow>
                    <a:srgbClr val="000000"/>
                  </a:glow>
                </a:effectLst>
                <a:uLnTx/>
                <a:uFillTx/>
                <a:latin typeface="Calibri" panose="020F0502020204030204"/>
                <a:ea typeface="+mn-ea"/>
                <a:cs typeface="Arial" panose="020B0604020202020204" pitchFamily="34" charset="0"/>
              </a:rPr>
              <a:t>liso</a:t>
            </a:r>
            <a:r>
              <a:rPr kumimoji="0" lang="en-US" sz="1050" b="1" i="0" u="none" strike="noStrike" kern="1200" cap="none" spc="0" normalizeH="0" baseline="0" noProof="0" dirty="0">
                <a:ln>
                  <a:noFill/>
                </a:ln>
                <a:solidFill>
                  <a:prstClr val="black"/>
                </a:solidFill>
                <a:effectLst>
                  <a:glow>
                    <a:srgbClr val="000000"/>
                  </a:glow>
                </a:effectLst>
                <a:uLnTx/>
                <a:uFillTx/>
                <a:latin typeface="Calibri" panose="020F0502020204030204"/>
                <a:ea typeface="+mn-ea"/>
                <a:cs typeface="Arial" panose="020B0604020202020204" pitchFamily="34" charset="0"/>
              </a:rPr>
              <a:t>-cel 2L (A) and </a:t>
            </a:r>
            <a:r>
              <a:rPr kumimoji="0" lang="en-US" sz="1050" b="1" i="0" u="none" strike="noStrike" kern="1200" cap="none" spc="0" normalizeH="0" baseline="0" noProof="0" dirty="0" err="1">
                <a:ln>
                  <a:noFill/>
                </a:ln>
                <a:solidFill>
                  <a:prstClr val="black"/>
                </a:solidFill>
                <a:effectLst>
                  <a:glow>
                    <a:srgbClr val="000000"/>
                  </a:glow>
                </a:effectLst>
                <a:uLnTx/>
                <a:uFillTx/>
                <a:latin typeface="Calibri" panose="020F0502020204030204"/>
                <a:ea typeface="+mn-ea"/>
                <a:cs typeface="Arial" panose="020B0604020202020204" pitchFamily="34" charset="0"/>
              </a:rPr>
              <a:t>liso</a:t>
            </a:r>
            <a:r>
              <a:rPr kumimoji="0" lang="en-US" sz="1050" b="1" i="0" u="none" strike="noStrike" kern="1200" cap="none" spc="0" normalizeH="0" baseline="0" noProof="0" dirty="0">
                <a:ln>
                  <a:noFill/>
                </a:ln>
                <a:solidFill>
                  <a:prstClr val="black"/>
                </a:solidFill>
                <a:effectLst>
                  <a:glow>
                    <a:srgbClr val="000000"/>
                  </a:glow>
                </a:effectLst>
                <a:uLnTx/>
                <a:uFillTx/>
                <a:latin typeface="Calibri" panose="020F0502020204030204"/>
                <a:ea typeface="+mn-ea"/>
                <a:cs typeface="Arial" panose="020B0604020202020204" pitchFamily="34" charset="0"/>
              </a:rPr>
              <a:t>-cel 3L (B) patients in the LTFU </a:t>
            </a:r>
            <a:endParaRPr kumimoji="0" lang="en-US" sz="900" b="0" i="0" u="none" strike="noStrike" kern="1200" cap="none" spc="0" normalizeH="0" baseline="0" noProof="0" dirty="0">
              <a:ln>
                <a:noFill/>
              </a:ln>
              <a:solidFill>
                <a:prstClr val="black"/>
              </a:solidFill>
              <a:effectLst>
                <a:glow>
                  <a:srgbClr val="000000"/>
                </a:glow>
              </a:effectLst>
              <a:uLnTx/>
              <a:uFillTx/>
              <a:latin typeface="Calibri" panose="020F0502020204030204"/>
              <a:ea typeface="+mn-ea"/>
              <a:cs typeface="Arial" panose="020B0604020202020204" pitchFamily="34" charset="0"/>
            </a:endParaRPr>
          </a:p>
        </p:txBody>
      </p:sp>
      <p:graphicFrame>
        <p:nvGraphicFramePr>
          <p:cNvPr id="8" name="Table 185">
            <a:extLst>
              <a:ext uri="{FF2B5EF4-FFF2-40B4-BE49-F238E27FC236}">
                <a16:creationId xmlns:a16="http://schemas.microsoft.com/office/drawing/2014/main" id="{5F097ADE-7902-8B55-26D9-7AA6394C8DFB}"/>
              </a:ext>
            </a:extLst>
          </p:cNvPr>
          <p:cNvGraphicFramePr>
            <a:graphicFrameLocks noGrp="1"/>
          </p:cNvGraphicFramePr>
          <p:nvPr/>
        </p:nvGraphicFramePr>
        <p:xfrm>
          <a:off x="7053403" y="2239969"/>
          <a:ext cx="3288030" cy="720804"/>
        </p:xfrm>
        <a:graphic>
          <a:graphicData uri="http://schemas.openxmlformats.org/drawingml/2006/table">
            <a:tbl>
              <a:tblPr firstRow="1" bandRow="1">
                <a:tableStyleId>{5C22544A-7EE6-4342-B048-85BDC9FD1C3A}</a:tableStyleId>
              </a:tblPr>
              <a:tblGrid>
                <a:gridCol w="1851660">
                  <a:extLst>
                    <a:ext uri="{9D8B030D-6E8A-4147-A177-3AD203B41FA5}">
                      <a16:colId xmlns:a16="http://schemas.microsoft.com/office/drawing/2014/main" val="498251772"/>
                    </a:ext>
                  </a:extLst>
                </a:gridCol>
                <a:gridCol w="1436370">
                  <a:extLst>
                    <a:ext uri="{9D8B030D-6E8A-4147-A177-3AD203B41FA5}">
                      <a16:colId xmlns:a16="http://schemas.microsoft.com/office/drawing/2014/main" val="575635547"/>
                    </a:ext>
                  </a:extLst>
                </a:gridCol>
              </a:tblGrid>
              <a:tr h="288884">
                <a:tc>
                  <a:txBody>
                    <a:bodyPr/>
                    <a:lstStyle/>
                    <a:p>
                      <a:pPr algn="ctr"/>
                      <a:endParaRPr lang="en-US" sz="800" b="1" dirty="0">
                        <a:solidFill>
                          <a:schemeClr val="accent5"/>
                        </a:solidFill>
                      </a:endParaRPr>
                    </a:p>
                  </a:txBody>
                  <a:tcPr marL="30142" marR="30142" marT="30142" marB="3014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1" cap="none" dirty="0">
                          <a:solidFill>
                            <a:schemeClr val="bg1"/>
                          </a:solidFill>
                          <a:effectLst>
                            <a:glow>
                              <a:srgbClr val="000000"/>
                            </a:glow>
                          </a:effectLst>
                        </a:rPr>
                        <a:t>Liso-cel 2L</a:t>
                      </a:r>
                      <a:br>
                        <a:rPr lang="en-US" sz="800" b="1" cap="none" dirty="0">
                          <a:solidFill>
                            <a:schemeClr val="bg1"/>
                          </a:solidFill>
                        </a:rPr>
                      </a:br>
                      <a:r>
                        <a:rPr lang="en-US" sz="800" b="1" cap="none" dirty="0">
                          <a:solidFill>
                            <a:schemeClr val="bg1"/>
                          </a:solidFill>
                          <a:effectLst>
                            <a:glow>
                              <a:srgbClr val="000000"/>
                            </a:glow>
                          </a:effectLst>
                        </a:rPr>
                        <a:t>(</a:t>
                      </a:r>
                      <a:r>
                        <a:rPr lang="en-US" sz="800" b="1" cap="none" dirty="0" err="1">
                          <a:solidFill>
                            <a:schemeClr val="bg1"/>
                          </a:solidFill>
                          <a:effectLst>
                            <a:glow>
                              <a:srgbClr val="000000"/>
                            </a:glow>
                          </a:effectLst>
                        </a:rPr>
                        <a:t>liso</a:t>
                      </a:r>
                      <a:r>
                        <a:rPr lang="en-US" sz="800" b="1" cap="none" dirty="0">
                          <a:solidFill>
                            <a:schemeClr val="bg1"/>
                          </a:solidFill>
                          <a:effectLst>
                            <a:glow>
                              <a:srgbClr val="000000"/>
                            </a:glow>
                          </a:effectLst>
                        </a:rPr>
                        <a:t>-cel arm; n=43)</a:t>
                      </a:r>
                    </a:p>
                  </a:txBody>
                  <a:tcPr marL="30142" marR="30142" marT="30142" marB="3014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88D29"/>
                    </a:solidFill>
                  </a:tcPr>
                </a:tc>
                <a:extLst>
                  <a:ext uri="{0D108BD9-81ED-4DB2-BD59-A6C34878D82A}">
                    <a16:rowId xmlns:a16="http://schemas.microsoft.com/office/drawing/2014/main" val="3697699394"/>
                  </a:ext>
                </a:extLst>
              </a:tr>
              <a:tr h="208340">
                <a:tc>
                  <a:txBody>
                    <a:bodyPr/>
                    <a:lstStyle/>
                    <a:p>
                      <a:pPr algn="l"/>
                      <a:r>
                        <a:rPr lang="en-US" sz="800" b="1" cap="none" dirty="0">
                          <a:solidFill>
                            <a:schemeClr val="tx1"/>
                          </a:solidFill>
                          <a:effectLst>
                            <a:glow>
                              <a:srgbClr val="000000"/>
                            </a:glow>
                          </a:effectLst>
                        </a:rPr>
                        <a:t>24-month rate (95% CI)</a:t>
                      </a:r>
                    </a:p>
                  </a:txBody>
                  <a:tcPr marL="30142" marR="30142" marT="30142" marB="3014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1" cap="none" dirty="0">
                          <a:solidFill>
                            <a:schemeClr val="accent5"/>
                          </a:solidFill>
                          <a:effectLst>
                            <a:glow>
                              <a:srgbClr val="000000"/>
                            </a:glow>
                          </a:effectLst>
                        </a:rPr>
                        <a:t>95.1% </a:t>
                      </a:r>
                      <a:r>
                        <a:rPr lang="en-US" sz="800" cap="none" dirty="0">
                          <a:solidFill>
                            <a:schemeClr val="tx1"/>
                          </a:solidFill>
                          <a:effectLst>
                            <a:glow>
                              <a:srgbClr val="000000"/>
                            </a:glow>
                          </a:effectLst>
                        </a:rPr>
                        <a:t>(88.4-100.0)</a:t>
                      </a:r>
                    </a:p>
                  </a:txBody>
                  <a:tcPr marL="30142" marR="30142" marT="30142" marB="3014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07504522"/>
                  </a:ext>
                </a:extLst>
              </a:tr>
              <a:tr h="20834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800" b="1" cap="none" dirty="0">
                          <a:solidFill>
                            <a:schemeClr val="tx1"/>
                          </a:solidFill>
                          <a:effectLst>
                            <a:glow>
                              <a:srgbClr val="000000"/>
                            </a:glow>
                          </a:effectLst>
                        </a:rPr>
                        <a:t>Median (95% CI) follow-up in the LTFU</a:t>
                      </a:r>
                    </a:p>
                  </a:txBody>
                  <a:tcPr marL="30142" marR="30142" marT="30142" marB="3014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i="0" u="none" strike="noStrike" cap="none" dirty="0">
                          <a:solidFill>
                            <a:schemeClr val="tx1"/>
                          </a:solidFill>
                          <a:effectLst>
                            <a:glow>
                              <a:srgbClr val="000000"/>
                            </a:glow>
                          </a:effectLst>
                          <a:latin typeface="+mn-lt"/>
                          <a:ea typeface="+mn-ea"/>
                          <a:cs typeface="+mn-cs"/>
                          <a:sym typeface="Arial"/>
                        </a:rPr>
                        <a:t>17.1 months </a:t>
                      </a:r>
                      <a:r>
                        <a:rPr lang="en-US" sz="800" cap="none" dirty="0">
                          <a:solidFill>
                            <a:schemeClr val="tx1"/>
                          </a:solidFill>
                          <a:effectLst>
                            <a:glow>
                              <a:srgbClr val="000000"/>
                            </a:glow>
                          </a:effectLst>
                        </a:rPr>
                        <a:t>(16.1-21.9)</a:t>
                      </a:r>
                    </a:p>
                  </a:txBody>
                  <a:tcPr marL="30142" marR="30142" marT="30142" marB="3014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54761151"/>
                  </a:ext>
                </a:extLst>
              </a:tr>
            </a:tbl>
          </a:graphicData>
        </a:graphic>
      </p:graphicFrame>
      <p:sp>
        <p:nvSpPr>
          <p:cNvPr id="11" name="Speech Bubble: Rectangle 890">
            <a:extLst>
              <a:ext uri="{FF2B5EF4-FFF2-40B4-BE49-F238E27FC236}">
                <a16:creationId xmlns:a16="http://schemas.microsoft.com/office/drawing/2014/main" id="{450E0633-84A6-1E16-68E3-6C6DD2B0823A}"/>
              </a:ext>
            </a:extLst>
          </p:cNvPr>
          <p:cNvSpPr/>
          <p:nvPr/>
        </p:nvSpPr>
        <p:spPr>
          <a:xfrm>
            <a:off x="6036402" y="2118935"/>
            <a:ext cx="806953" cy="208749"/>
          </a:xfrm>
          <a:prstGeom prst="wedgeRectCallout">
            <a:avLst>
              <a:gd name="adj1" fmla="val -23666"/>
              <a:gd name="adj2" fmla="val -79862"/>
            </a:avLst>
          </a:prstGeom>
          <a:solidFill>
            <a:schemeClr val="accent5">
              <a:lumMod val="20000"/>
              <a:lumOff val="80000"/>
            </a:schemeClr>
          </a:solidFill>
          <a:ln w="25400" cap="flat" cmpd="sng" algn="ctr">
            <a:noFill/>
            <a:prstDash val="solid"/>
          </a:ln>
          <a:effectLst/>
        </p:spPr>
        <p:txBody>
          <a:bodyPr wrap="square" lIns="60750" tIns="40500" rIns="40500" bIns="40500" rtlCol="0" anchor="ctr">
            <a:spAutoFit/>
          </a:bodyPr>
          <a:lstStyle/>
          <a:p>
            <a:pPr marL="0" marR="0" lvl="0" indent="0" algn="ctr" defTabSz="257175" rtl="0" eaLnBrk="1" fontAlgn="ctr" latinLnBrk="0" hangingPunct="1">
              <a:lnSpc>
                <a:spcPct val="100000"/>
              </a:lnSpc>
              <a:spcBef>
                <a:spcPct val="0"/>
              </a:spcBef>
              <a:spcAft>
                <a:spcPct val="0"/>
              </a:spcAft>
              <a:buClrTx/>
              <a:buSzTx/>
              <a:buFontTx/>
              <a:buNone/>
              <a:tabLst/>
              <a:defRPr/>
            </a:pPr>
            <a:r>
              <a:rPr kumimoji="0" lang="en-GB" sz="825" b="1" i="0" u="none" strike="noStrike" kern="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rPr>
              <a:t>NR (NR-NR)</a:t>
            </a:r>
            <a:endParaRPr kumimoji="0" lang="en-GB" sz="825" b="0" i="0" u="none" strike="noStrike" kern="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endParaRPr>
          </a:p>
        </p:txBody>
      </p:sp>
      <p:sp>
        <p:nvSpPr>
          <p:cNvPr id="13" name="TextBox 12">
            <a:extLst>
              <a:ext uri="{FF2B5EF4-FFF2-40B4-BE49-F238E27FC236}">
                <a16:creationId xmlns:a16="http://schemas.microsoft.com/office/drawing/2014/main" id="{3A86CEA5-2397-C9A9-8169-20DB86A92B01}"/>
              </a:ext>
            </a:extLst>
          </p:cNvPr>
          <p:cNvSpPr txBox="1"/>
          <p:nvPr/>
        </p:nvSpPr>
        <p:spPr>
          <a:xfrm>
            <a:off x="2784072" y="2828412"/>
            <a:ext cx="586909" cy="126958"/>
          </a:xfrm>
          <a:prstGeom prst="rect">
            <a:avLst/>
          </a:prstGeom>
          <a:noFill/>
        </p:spPr>
        <p:txBody>
          <a:bodyPr wrap="square" lIns="0" tIns="0" rIns="0" bIns="0" rtlCol="0">
            <a:spAutoFit/>
          </a:bodyPr>
          <a:lstStyle/>
          <a:p>
            <a:pPr marL="0" marR="0" lvl="0" indent="0" algn="l" defTabSz="257175" rtl="0" eaLnBrk="1" fontAlgn="base" latinLnBrk="0" hangingPunct="1">
              <a:lnSpc>
                <a:spcPct val="100000"/>
              </a:lnSpc>
              <a:spcBef>
                <a:spcPct val="0"/>
              </a:spcBef>
              <a:spcAft>
                <a:spcPct val="0"/>
              </a:spcAft>
              <a:buClrTx/>
              <a:buSzTx/>
              <a:buFontTx/>
              <a:buNone/>
              <a:tabLst/>
              <a:defRPr/>
            </a:pPr>
            <a:r>
              <a:rPr kumimoji="0" lang="en-US" sz="825" b="1" i="0" u="none" strike="noStrike" kern="120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rPr>
              <a:t>Liso-cel 2L</a:t>
            </a:r>
            <a:endParaRPr kumimoji="0" lang="en-GB" sz="825" b="1" i="0" u="none" strike="noStrike" kern="120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9D45118F-9CF0-2267-3CD6-794D4722DAE7}"/>
              </a:ext>
            </a:extLst>
          </p:cNvPr>
          <p:cNvCxnSpPr>
            <a:cxnSpLocks/>
          </p:cNvCxnSpPr>
          <p:nvPr/>
        </p:nvCxnSpPr>
        <p:spPr>
          <a:xfrm>
            <a:off x="2631926" y="2891891"/>
            <a:ext cx="122456"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DAA7513-A053-2110-AF13-F1A0BF37508A}"/>
              </a:ext>
            </a:extLst>
          </p:cNvPr>
          <p:cNvSpPr txBox="1"/>
          <p:nvPr/>
        </p:nvSpPr>
        <p:spPr>
          <a:xfrm>
            <a:off x="3605005" y="2828412"/>
            <a:ext cx="567923" cy="126958"/>
          </a:xfrm>
          <a:prstGeom prst="rect">
            <a:avLst/>
          </a:prstGeom>
          <a:noFill/>
        </p:spPr>
        <p:txBody>
          <a:bodyPr wrap="square" lIns="0" tIns="0" rIns="0" bIns="0" rtlCol="0">
            <a:spAutoFit/>
          </a:bodyPr>
          <a:lstStyle/>
          <a:p>
            <a:pPr marL="0" marR="0" lvl="0" indent="0" algn="l" defTabSz="257175" rtl="0" eaLnBrk="1" fontAlgn="base" latinLnBrk="0" hangingPunct="1">
              <a:lnSpc>
                <a:spcPct val="100000"/>
              </a:lnSpc>
              <a:spcBef>
                <a:spcPct val="0"/>
              </a:spcBef>
              <a:spcAft>
                <a:spcPct val="0"/>
              </a:spcAft>
              <a:buClrTx/>
              <a:buSzTx/>
              <a:buFontTx/>
              <a:buNone/>
              <a:tabLst/>
              <a:defRPr/>
            </a:pPr>
            <a:r>
              <a:rPr kumimoji="0" lang="en-US" sz="825" b="1" i="0" u="none" strike="noStrike" kern="120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rPr>
              <a:t>Censored</a:t>
            </a:r>
            <a:endParaRPr kumimoji="0" lang="en-GB" sz="825" b="1" i="0" u="none" strike="noStrike" kern="120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endParaRPr>
          </a:p>
        </p:txBody>
      </p:sp>
      <p:grpSp>
        <p:nvGrpSpPr>
          <p:cNvPr id="18" name="Group 17">
            <a:extLst>
              <a:ext uri="{FF2B5EF4-FFF2-40B4-BE49-F238E27FC236}">
                <a16:creationId xmlns:a16="http://schemas.microsoft.com/office/drawing/2014/main" id="{9F6F5FDE-7608-E98D-52DC-2027E1F993FA}"/>
              </a:ext>
            </a:extLst>
          </p:cNvPr>
          <p:cNvGrpSpPr/>
          <p:nvPr/>
        </p:nvGrpSpPr>
        <p:grpSpPr>
          <a:xfrm>
            <a:off x="3433355" y="2830663"/>
            <a:ext cx="122456" cy="122456"/>
            <a:chOff x="5044699" y="3834360"/>
            <a:chExt cx="163275" cy="163275"/>
          </a:xfrm>
        </p:grpSpPr>
        <p:cxnSp>
          <p:nvCxnSpPr>
            <p:cNvPr id="19" name="Straight Connector 18">
              <a:extLst>
                <a:ext uri="{FF2B5EF4-FFF2-40B4-BE49-F238E27FC236}">
                  <a16:creationId xmlns:a16="http://schemas.microsoft.com/office/drawing/2014/main" id="{40F9CADC-C311-4166-775D-6BC76F44D905}"/>
                </a:ext>
              </a:extLst>
            </p:cNvPr>
            <p:cNvCxnSpPr>
              <a:cxnSpLocks/>
            </p:cNvCxnSpPr>
            <p:nvPr/>
          </p:nvCxnSpPr>
          <p:spPr>
            <a:xfrm>
              <a:off x="5044699" y="3915998"/>
              <a:ext cx="163275"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712135C-2E7E-2E5F-041F-394651D35F93}"/>
                </a:ext>
              </a:extLst>
            </p:cNvPr>
            <p:cNvCxnSpPr>
              <a:cxnSpLocks/>
            </p:cNvCxnSpPr>
            <p:nvPr/>
          </p:nvCxnSpPr>
          <p:spPr>
            <a:xfrm rot="5400000">
              <a:off x="5044699" y="3915998"/>
              <a:ext cx="163275"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aphicFrame>
        <p:nvGraphicFramePr>
          <p:cNvPr id="21" name="Table 185">
            <a:extLst>
              <a:ext uri="{FF2B5EF4-FFF2-40B4-BE49-F238E27FC236}">
                <a16:creationId xmlns:a16="http://schemas.microsoft.com/office/drawing/2014/main" id="{C10A3427-1177-C9E0-4D68-019F6AB9BB66}"/>
              </a:ext>
            </a:extLst>
          </p:cNvPr>
          <p:cNvGraphicFramePr>
            <a:graphicFrameLocks noGrp="1"/>
          </p:cNvGraphicFramePr>
          <p:nvPr/>
        </p:nvGraphicFramePr>
        <p:xfrm>
          <a:off x="1722118" y="3407353"/>
          <a:ext cx="8892552" cy="321512"/>
        </p:xfrm>
        <a:graphic>
          <a:graphicData uri="http://schemas.openxmlformats.org/drawingml/2006/table">
            <a:tbl>
              <a:tblPr firstRow="1" bandRow="1">
                <a:tableStyleId>{5C22544A-7EE6-4342-B048-85BDC9FD1C3A}</a:tableStyleId>
              </a:tblPr>
              <a:tblGrid>
                <a:gridCol w="562040">
                  <a:extLst>
                    <a:ext uri="{9D8B030D-6E8A-4147-A177-3AD203B41FA5}">
                      <a16:colId xmlns:a16="http://schemas.microsoft.com/office/drawing/2014/main" val="575635547"/>
                    </a:ext>
                  </a:extLst>
                </a:gridCol>
                <a:gridCol w="438448">
                  <a:extLst>
                    <a:ext uri="{9D8B030D-6E8A-4147-A177-3AD203B41FA5}">
                      <a16:colId xmlns:a16="http://schemas.microsoft.com/office/drawing/2014/main" val="1479506557"/>
                    </a:ext>
                  </a:extLst>
                </a:gridCol>
                <a:gridCol w="438448">
                  <a:extLst>
                    <a:ext uri="{9D8B030D-6E8A-4147-A177-3AD203B41FA5}">
                      <a16:colId xmlns:a16="http://schemas.microsoft.com/office/drawing/2014/main" val="897148143"/>
                    </a:ext>
                  </a:extLst>
                </a:gridCol>
                <a:gridCol w="438448">
                  <a:extLst>
                    <a:ext uri="{9D8B030D-6E8A-4147-A177-3AD203B41FA5}">
                      <a16:colId xmlns:a16="http://schemas.microsoft.com/office/drawing/2014/main" val="71934370"/>
                    </a:ext>
                  </a:extLst>
                </a:gridCol>
                <a:gridCol w="438448">
                  <a:extLst>
                    <a:ext uri="{9D8B030D-6E8A-4147-A177-3AD203B41FA5}">
                      <a16:colId xmlns:a16="http://schemas.microsoft.com/office/drawing/2014/main" val="1211061683"/>
                    </a:ext>
                  </a:extLst>
                </a:gridCol>
                <a:gridCol w="438448">
                  <a:extLst>
                    <a:ext uri="{9D8B030D-6E8A-4147-A177-3AD203B41FA5}">
                      <a16:colId xmlns:a16="http://schemas.microsoft.com/office/drawing/2014/main" val="4217103663"/>
                    </a:ext>
                  </a:extLst>
                </a:gridCol>
                <a:gridCol w="438448">
                  <a:extLst>
                    <a:ext uri="{9D8B030D-6E8A-4147-A177-3AD203B41FA5}">
                      <a16:colId xmlns:a16="http://schemas.microsoft.com/office/drawing/2014/main" val="3375530119"/>
                    </a:ext>
                  </a:extLst>
                </a:gridCol>
                <a:gridCol w="438448">
                  <a:extLst>
                    <a:ext uri="{9D8B030D-6E8A-4147-A177-3AD203B41FA5}">
                      <a16:colId xmlns:a16="http://schemas.microsoft.com/office/drawing/2014/main" val="1177430376"/>
                    </a:ext>
                  </a:extLst>
                </a:gridCol>
                <a:gridCol w="438448">
                  <a:extLst>
                    <a:ext uri="{9D8B030D-6E8A-4147-A177-3AD203B41FA5}">
                      <a16:colId xmlns:a16="http://schemas.microsoft.com/office/drawing/2014/main" val="3398547222"/>
                    </a:ext>
                  </a:extLst>
                </a:gridCol>
                <a:gridCol w="438448">
                  <a:extLst>
                    <a:ext uri="{9D8B030D-6E8A-4147-A177-3AD203B41FA5}">
                      <a16:colId xmlns:a16="http://schemas.microsoft.com/office/drawing/2014/main" val="3652118034"/>
                    </a:ext>
                  </a:extLst>
                </a:gridCol>
                <a:gridCol w="438448">
                  <a:extLst>
                    <a:ext uri="{9D8B030D-6E8A-4147-A177-3AD203B41FA5}">
                      <a16:colId xmlns:a16="http://schemas.microsoft.com/office/drawing/2014/main" val="2199375419"/>
                    </a:ext>
                  </a:extLst>
                </a:gridCol>
                <a:gridCol w="438448">
                  <a:extLst>
                    <a:ext uri="{9D8B030D-6E8A-4147-A177-3AD203B41FA5}">
                      <a16:colId xmlns:a16="http://schemas.microsoft.com/office/drawing/2014/main" val="842717510"/>
                    </a:ext>
                  </a:extLst>
                </a:gridCol>
                <a:gridCol w="438448">
                  <a:extLst>
                    <a:ext uri="{9D8B030D-6E8A-4147-A177-3AD203B41FA5}">
                      <a16:colId xmlns:a16="http://schemas.microsoft.com/office/drawing/2014/main" val="2128636549"/>
                    </a:ext>
                  </a:extLst>
                </a:gridCol>
                <a:gridCol w="438448">
                  <a:extLst>
                    <a:ext uri="{9D8B030D-6E8A-4147-A177-3AD203B41FA5}">
                      <a16:colId xmlns:a16="http://schemas.microsoft.com/office/drawing/2014/main" val="1869469487"/>
                    </a:ext>
                  </a:extLst>
                </a:gridCol>
                <a:gridCol w="438448">
                  <a:extLst>
                    <a:ext uri="{9D8B030D-6E8A-4147-A177-3AD203B41FA5}">
                      <a16:colId xmlns:a16="http://schemas.microsoft.com/office/drawing/2014/main" val="2257663961"/>
                    </a:ext>
                  </a:extLst>
                </a:gridCol>
                <a:gridCol w="438448">
                  <a:extLst>
                    <a:ext uri="{9D8B030D-6E8A-4147-A177-3AD203B41FA5}">
                      <a16:colId xmlns:a16="http://schemas.microsoft.com/office/drawing/2014/main" val="2161244561"/>
                    </a:ext>
                  </a:extLst>
                </a:gridCol>
                <a:gridCol w="438448">
                  <a:extLst>
                    <a:ext uri="{9D8B030D-6E8A-4147-A177-3AD203B41FA5}">
                      <a16:colId xmlns:a16="http://schemas.microsoft.com/office/drawing/2014/main" val="998249543"/>
                    </a:ext>
                  </a:extLst>
                </a:gridCol>
                <a:gridCol w="438448">
                  <a:extLst>
                    <a:ext uri="{9D8B030D-6E8A-4147-A177-3AD203B41FA5}">
                      <a16:colId xmlns:a16="http://schemas.microsoft.com/office/drawing/2014/main" val="562638259"/>
                    </a:ext>
                  </a:extLst>
                </a:gridCol>
                <a:gridCol w="438448">
                  <a:extLst>
                    <a:ext uri="{9D8B030D-6E8A-4147-A177-3AD203B41FA5}">
                      <a16:colId xmlns:a16="http://schemas.microsoft.com/office/drawing/2014/main" val="3142732389"/>
                    </a:ext>
                  </a:extLst>
                </a:gridCol>
                <a:gridCol w="438448">
                  <a:extLst>
                    <a:ext uri="{9D8B030D-6E8A-4147-A177-3AD203B41FA5}">
                      <a16:colId xmlns:a16="http://schemas.microsoft.com/office/drawing/2014/main" val="121085567"/>
                    </a:ext>
                  </a:extLst>
                </a:gridCol>
              </a:tblGrid>
              <a:tr h="160756">
                <a:tc gridSpan="20">
                  <a:txBody>
                    <a:bodyPr/>
                    <a:lstStyle/>
                    <a:p>
                      <a:r>
                        <a:rPr lang="en-US" sz="800" cap="none" dirty="0">
                          <a:solidFill>
                            <a:schemeClr val="tx1"/>
                          </a:solidFill>
                          <a:effectLst>
                            <a:glow>
                              <a:srgbClr val="000000"/>
                            </a:glow>
                          </a:effectLst>
                        </a:rPr>
                        <a:t>No. at risk</a:t>
                      </a:r>
                    </a:p>
                  </a:txBody>
                  <a:tcPr marL="0" marR="0"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6124150"/>
                  </a:ext>
                </a:extLst>
              </a:tr>
              <a:tr h="160756">
                <a:tc>
                  <a:txBody>
                    <a:bodyPr/>
                    <a:lstStyle/>
                    <a:p>
                      <a:r>
                        <a:rPr lang="en-US" sz="800" b="1" cap="none" dirty="0">
                          <a:solidFill>
                            <a:schemeClr val="accent5"/>
                          </a:solidFill>
                          <a:effectLst>
                            <a:glow>
                              <a:srgbClr val="000000"/>
                            </a:glow>
                          </a:effectLst>
                        </a:rPr>
                        <a:t>Liso-cel 2L</a:t>
                      </a:r>
                    </a:p>
                  </a:txBody>
                  <a:tcPr marL="0" marR="0"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chemeClr val="accent5"/>
                          </a:solidFill>
                          <a:effectLst>
                            <a:glow>
                              <a:srgbClr val="000000"/>
                            </a:glow>
                          </a:effectLst>
                        </a:rPr>
                        <a:t>43</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chemeClr val="accent5"/>
                          </a:solidFill>
                          <a:effectLst>
                            <a:glow>
                              <a:srgbClr val="000000"/>
                            </a:glow>
                          </a:effectLst>
                        </a:rPr>
                        <a:t>40</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chemeClr val="accent5"/>
                          </a:solidFill>
                          <a:effectLst>
                            <a:glow>
                              <a:srgbClr val="000000"/>
                            </a:glow>
                          </a:effectLst>
                        </a:rPr>
                        <a:t>40</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chemeClr val="accent5"/>
                          </a:solidFill>
                          <a:effectLst>
                            <a:glow>
                              <a:srgbClr val="000000"/>
                            </a:glow>
                          </a:effectLst>
                        </a:rPr>
                        <a:t>40</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chemeClr val="accent5"/>
                          </a:solidFill>
                          <a:effectLst>
                            <a:glow>
                              <a:srgbClr val="000000"/>
                            </a:glow>
                          </a:effectLst>
                        </a:rPr>
                        <a:t>37</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chemeClr val="accent5"/>
                          </a:solidFill>
                          <a:effectLst>
                            <a:glow>
                              <a:srgbClr val="000000"/>
                            </a:glow>
                          </a:effectLst>
                        </a:rPr>
                        <a:t>35</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chemeClr val="accent5"/>
                          </a:solidFill>
                          <a:effectLst>
                            <a:glow>
                              <a:srgbClr val="000000"/>
                            </a:glow>
                          </a:effectLst>
                        </a:rPr>
                        <a:t>19</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chemeClr val="accent5"/>
                          </a:solidFill>
                          <a:effectLst>
                            <a:glow>
                              <a:srgbClr val="000000"/>
                            </a:glow>
                          </a:effectLst>
                        </a:rPr>
                        <a:t>16</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chemeClr val="accent5"/>
                          </a:solidFill>
                          <a:effectLst>
                            <a:glow>
                              <a:srgbClr val="000000"/>
                            </a:glow>
                          </a:effectLst>
                        </a:rPr>
                        <a:t>8</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chemeClr val="accent5"/>
                          </a:solidFill>
                          <a:effectLst>
                            <a:glow>
                              <a:srgbClr val="000000"/>
                            </a:glow>
                          </a:effectLst>
                        </a:rPr>
                        <a:t>6</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chemeClr val="accent5"/>
                          </a:solidFill>
                          <a:effectLst>
                            <a:glow>
                              <a:srgbClr val="000000"/>
                            </a:glow>
                          </a:effectLst>
                        </a:rPr>
                        <a:t>0</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solidFill>
                          <a:schemeClr val="accent5"/>
                        </a:solidFill>
                      </a:endParaRP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solidFill>
                          <a:schemeClr val="accent5"/>
                        </a:solidFill>
                      </a:endParaRP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solidFill>
                          <a:schemeClr val="accent5"/>
                        </a:solidFill>
                      </a:endParaRP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solidFill>
                          <a:schemeClr val="accent5"/>
                        </a:solidFill>
                      </a:endParaRP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solidFill>
                          <a:schemeClr val="accent5"/>
                        </a:solidFill>
                      </a:endParaRP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solidFill>
                          <a:schemeClr val="accent5"/>
                        </a:solidFill>
                      </a:endParaRP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solidFill>
                          <a:schemeClr val="accent5"/>
                        </a:solidFill>
                      </a:endParaRP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solidFill>
                          <a:schemeClr val="accent5"/>
                        </a:solidFill>
                      </a:endParaRP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7699394"/>
                  </a:ext>
                </a:extLst>
              </a:tr>
            </a:tbl>
          </a:graphicData>
        </a:graphic>
      </p:graphicFrame>
      <p:graphicFrame>
        <p:nvGraphicFramePr>
          <p:cNvPr id="192" name="Shape1_20260318_112737">
            <a:extLst>
              <a:ext uri="{FF2B5EF4-FFF2-40B4-BE49-F238E27FC236}">
                <a16:creationId xmlns:a16="http://schemas.microsoft.com/office/drawing/2014/main" id="{89C914F2-8D14-C114-A4DF-4D4477AB9023}"/>
              </a:ext>
            </a:extLst>
          </p:cNvPr>
          <p:cNvGraphicFramePr>
            <a:graphicFrameLocks/>
          </p:cNvGraphicFramePr>
          <p:nvPr/>
        </p:nvGraphicFramePr>
        <p:xfrm>
          <a:off x="1749820" y="3782845"/>
          <a:ext cx="8720060" cy="1515890"/>
        </p:xfrm>
        <a:graphic>
          <a:graphicData uri="http://schemas.openxmlformats.org/drawingml/2006/chart">
            <c:chart xmlns:c="http://schemas.openxmlformats.org/drawingml/2006/chart" xmlns:r="http://schemas.openxmlformats.org/officeDocument/2006/relationships" r:id="rId4"/>
          </a:graphicData>
        </a:graphic>
      </p:graphicFrame>
      <p:sp>
        <p:nvSpPr>
          <p:cNvPr id="195" name="TextBox 194">
            <a:extLst>
              <a:ext uri="{FF2B5EF4-FFF2-40B4-BE49-F238E27FC236}">
                <a16:creationId xmlns:a16="http://schemas.microsoft.com/office/drawing/2014/main" id="{31808086-57F2-8024-F8E5-AE0A3C290680}"/>
              </a:ext>
            </a:extLst>
          </p:cNvPr>
          <p:cNvSpPr txBox="1"/>
          <p:nvPr/>
        </p:nvSpPr>
        <p:spPr>
          <a:xfrm>
            <a:off x="2784072" y="4726439"/>
            <a:ext cx="586909" cy="126958"/>
          </a:xfrm>
          <a:prstGeom prst="rect">
            <a:avLst/>
          </a:prstGeom>
          <a:noFill/>
        </p:spPr>
        <p:txBody>
          <a:bodyPr wrap="square" lIns="0" tIns="0" rIns="0" bIns="0" rtlCol="0">
            <a:spAutoFit/>
          </a:bodyPr>
          <a:lstStyle/>
          <a:p>
            <a:pPr marL="0" marR="0" lvl="0" indent="0" algn="l" defTabSz="257175" rtl="0" eaLnBrk="1" fontAlgn="base" latinLnBrk="0" hangingPunct="1">
              <a:lnSpc>
                <a:spcPct val="100000"/>
              </a:lnSpc>
              <a:spcBef>
                <a:spcPct val="0"/>
              </a:spcBef>
              <a:spcAft>
                <a:spcPct val="0"/>
              </a:spcAft>
              <a:buClrTx/>
              <a:buSzTx/>
              <a:buFontTx/>
              <a:buNone/>
              <a:tabLst/>
              <a:defRPr/>
            </a:pPr>
            <a:r>
              <a:rPr kumimoji="0" lang="en-US" sz="825" b="1" i="0" u="none" strike="noStrike" kern="120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rPr>
              <a:t>Liso-cel 3L</a:t>
            </a:r>
            <a:endParaRPr kumimoji="0" lang="en-GB" sz="825" b="1" i="0" u="none" strike="noStrike" kern="120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endParaRPr>
          </a:p>
        </p:txBody>
      </p:sp>
      <p:cxnSp>
        <p:nvCxnSpPr>
          <p:cNvPr id="196" name="Straight Connector 195">
            <a:extLst>
              <a:ext uri="{FF2B5EF4-FFF2-40B4-BE49-F238E27FC236}">
                <a16:creationId xmlns:a16="http://schemas.microsoft.com/office/drawing/2014/main" id="{55A3EE1C-30EA-B280-A12D-FF0B35775FD9}"/>
              </a:ext>
            </a:extLst>
          </p:cNvPr>
          <p:cNvCxnSpPr>
            <a:cxnSpLocks/>
          </p:cNvCxnSpPr>
          <p:nvPr/>
        </p:nvCxnSpPr>
        <p:spPr>
          <a:xfrm>
            <a:off x="2631926" y="4789918"/>
            <a:ext cx="122456" cy="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sp>
        <p:nvSpPr>
          <p:cNvPr id="197" name="TextBox 196">
            <a:extLst>
              <a:ext uri="{FF2B5EF4-FFF2-40B4-BE49-F238E27FC236}">
                <a16:creationId xmlns:a16="http://schemas.microsoft.com/office/drawing/2014/main" id="{D570792F-98E9-F1F7-6CE8-862C73BBA314}"/>
              </a:ext>
            </a:extLst>
          </p:cNvPr>
          <p:cNvSpPr txBox="1"/>
          <p:nvPr/>
        </p:nvSpPr>
        <p:spPr>
          <a:xfrm>
            <a:off x="3605005" y="4726439"/>
            <a:ext cx="567923" cy="126958"/>
          </a:xfrm>
          <a:prstGeom prst="rect">
            <a:avLst/>
          </a:prstGeom>
          <a:noFill/>
        </p:spPr>
        <p:txBody>
          <a:bodyPr wrap="square" lIns="0" tIns="0" rIns="0" bIns="0" rtlCol="0">
            <a:spAutoFit/>
          </a:bodyPr>
          <a:lstStyle/>
          <a:p>
            <a:pPr marL="0" marR="0" lvl="0" indent="0" algn="l" defTabSz="257175" rtl="0" eaLnBrk="1" fontAlgn="base" latinLnBrk="0" hangingPunct="1">
              <a:lnSpc>
                <a:spcPct val="100000"/>
              </a:lnSpc>
              <a:spcBef>
                <a:spcPct val="0"/>
              </a:spcBef>
              <a:spcAft>
                <a:spcPct val="0"/>
              </a:spcAft>
              <a:buClrTx/>
              <a:buSzTx/>
              <a:buFontTx/>
              <a:buNone/>
              <a:tabLst/>
              <a:defRPr/>
            </a:pPr>
            <a:r>
              <a:rPr kumimoji="0" lang="en-US" sz="825" b="1" i="0" u="none" strike="noStrike" kern="120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rPr>
              <a:t>Censored</a:t>
            </a:r>
            <a:endParaRPr kumimoji="0" lang="en-GB" sz="825" b="1" i="0" u="none" strike="noStrike" kern="120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endParaRPr>
          </a:p>
        </p:txBody>
      </p:sp>
      <p:grpSp>
        <p:nvGrpSpPr>
          <p:cNvPr id="198" name="Group 197">
            <a:extLst>
              <a:ext uri="{FF2B5EF4-FFF2-40B4-BE49-F238E27FC236}">
                <a16:creationId xmlns:a16="http://schemas.microsoft.com/office/drawing/2014/main" id="{E97B831F-C3C9-4F7E-1343-A7DB6326CFE1}"/>
              </a:ext>
            </a:extLst>
          </p:cNvPr>
          <p:cNvGrpSpPr/>
          <p:nvPr/>
        </p:nvGrpSpPr>
        <p:grpSpPr>
          <a:xfrm>
            <a:off x="3433355" y="4728691"/>
            <a:ext cx="122456" cy="122456"/>
            <a:chOff x="5044699" y="3834360"/>
            <a:chExt cx="163275" cy="163275"/>
          </a:xfrm>
        </p:grpSpPr>
        <p:cxnSp>
          <p:nvCxnSpPr>
            <p:cNvPr id="199" name="Straight Connector 198">
              <a:extLst>
                <a:ext uri="{FF2B5EF4-FFF2-40B4-BE49-F238E27FC236}">
                  <a16:creationId xmlns:a16="http://schemas.microsoft.com/office/drawing/2014/main" id="{ECA8BB1C-F521-2E6F-4517-22EB55A5238E}"/>
                </a:ext>
              </a:extLst>
            </p:cNvPr>
            <p:cNvCxnSpPr>
              <a:cxnSpLocks/>
            </p:cNvCxnSpPr>
            <p:nvPr/>
          </p:nvCxnSpPr>
          <p:spPr>
            <a:xfrm>
              <a:off x="5044699" y="3915998"/>
              <a:ext cx="163275"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85AD5FD9-E96A-32B3-8E59-1CF62BE73760}"/>
                </a:ext>
              </a:extLst>
            </p:cNvPr>
            <p:cNvCxnSpPr>
              <a:cxnSpLocks/>
            </p:cNvCxnSpPr>
            <p:nvPr/>
          </p:nvCxnSpPr>
          <p:spPr>
            <a:xfrm rot="5400000">
              <a:off x="5044699" y="3915998"/>
              <a:ext cx="163275"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aphicFrame>
        <p:nvGraphicFramePr>
          <p:cNvPr id="201" name="Table 185">
            <a:extLst>
              <a:ext uri="{FF2B5EF4-FFF2-40B4-BE49-F238E27FC236}">
                <a16:creationId xmlns:a16="http://schemas.microsoft.com/office/drawing/2014/main" id="{11045C5A-0E48-D845-ACC5-97E6A4C6ED02}"/>
              </a:ext>
            </a:extLst>
          </p:cNvPr>
          <p:cNvGraphicFramePr>
            <a:graphicFrameLocks noGrp="1"/>
          </p:cNvGraphicFramePr>
          <p:nvPr/>
        </p:nvGraphicFramePr>
        <p:xfrm>
          <a:off x="1722118" y="5305380"/>
          <a:ext cx="8892552" cy="321512"/>
        </p:xfrm>
        <a:graphic>
          <a:graphicData uri="http://schemas.openxmlformats.org/drawingml/2006/table">
            <a:tbl>
              <a:tblPr firstRow="1" bandRow="1">
                <a:tableStyleId>{5C22544A-7EE6-4342-B048-85BDC9FD1C3A}</a:tableStyleId>
              </a:tblPr>
              <a:tblGrid>
                <a:gridCol w="562040">
                  <a:extLst>
                    <a:ext uri="{9D8B030D-6E8A-4147-A177-3AD203B41FA5}">
                      <a16:colId xmlns:a16="http://schemas.microsoft.com/office/drawing/2014/main" val="575635547"/>
                    </a:ext>
                  </a:extLst>
                </a:gridCol>
                <a:gridCol w="438448">
                  <a:extLst>
                    <a:ext uri="{9D8B030D-6E8A-4147-A177-3AD203B41FA5}">
                      <a16:colId xmlns:a16="http://schemas.microsoft.com/office/drawing/2014/main" val="1479506557"/>
                    </a:ext>
                  </a:extLst>
                </a:gridCol>
                <a:gridCol w="438448">
                  <a:extLst>
                    <a:ext uri="{9D8B030D-6E8A-4147-A177-3AD203B41FA5}">
                      <a16:colId xmlns:a16="http://schemas.microsoft.com/office/drawing/2014/main" val="897148143"/>
                    </a:ext>
                  </a:extLst>
                </a:gridCol>
                <a:gridCol w="438448">
                  <a:extLst>
                    <a:ext uri="{9D8B030D-6E8A-4147-A177-3AD203B41FA5}">
                      <a16:colId xmlns:a16="http://schemas.microsoft.com/office/drawing/2014/main" val="71934370"/>
                    </a:ext>
                  </a:extLst>
                </a:gridCol>
                <a:gridCol w="438448">
                  <a:extLst>
                    <a:ext uri="{9D8B030D-6E8A-4147-A177-3AD203B41FA5}">
                      <a16:colId xmlns:a16="http://schemas.microsoft.com/office/drawing/2014/main" val="1211061683"/>
                    </a:ext>
                  </a:extLst>
                </a:gridCol>
                <a:gridCol w="438448">
                  <a:extLst>
                    <a:ext uri="{9D8B030D-6E8A-4147-A177-3AD203B41FA5}">
                      <a16:colId xmlns:a16="http://schemas.microsoft.com/office/drawing/2014/main" val="4217103663"/>
                    </a:ext>
                  </a:extLst>
                </a:gridCol>
                <a:gridCol w="438448">
                  <a:extLst>
                    <a:ext uri="{9D8B030D-6E8A-4147-A177-3AD203B41FA5}">
                      <a16:colId xmlns:a16="http://schemas.microsoft.com/office/drawing/2014/main" val="3375530119"/>
                    </a:ext>
                  </a:extLst>
                </a:gridCol>
                <a:gridCol w="438448">
                  <a:extLst>
                    <a:ext uri="{9D8B030D-6E8A-4147-A177-3AD203B41FA5}">
                      <a16:colId xmlns:a16="http://schemas.microsoft.com/office/drawing/2014/main" val="1177430376"/>
                    </a:ext>
                  </a:extLst>
                </a:gridCol>
                <a:gridCol w="438448">
                  <a:extLst>
                    <a:ext uri="{9D8B030D-6E8A-4147-A177-3AD203B41FA5}">
                      <a16:colId xmlns:a16="http://schemas.microsoft.com/office/drawing/2014/main" val="3398547222"/>
                    </a:ext>
                  </a:extLst>
                </a:gridCol>
                <a:gridCol w="438448">
                  <a:extLst>
                    <a:ext uri="{9D8B030D-6E8A-4147-A177-3AD203B41FA5}">
                      <a16:colId xmlns:a16="http://schemas.microsoft.com/office/drawing/2014/main" val="3652118034"/>
                    </a:ext>
                  </a:extLst>
                </a:gridCol>
                <a:gridCol w="438448">
                  <a:extLst>
                    <a:ext uri="{9D8B030D-6E8A-4147-A177-3AD203B41FA5}">
                      <a16:colId xmlns:a16="http://schemas.microsoft.com/office/drawing/2014/main" val="2199375419"/>
                    </a:ext>
                  </a:extLst>
                </a:gridCol>
                <a:gridCol w="438448">
                  <a:extLst>
                    <a:ext uri="{9D8B030D-6E8A-4147-A177-3AD203B41FA5}">
                      <a16:colId xmlns:a16="http://schemas.microsoft.com/office/drawing/2014/main" val="842717510"/>
                    </a:ext>
                  </a:extLst>
                </a:gridCol>
                <a:gridCol w="438448">
                  <a:extLst>
                    <a:ext uri="{9D8B030D-6E8A-4147-A177-3AD203B41FA5}">
                      <a16:colId xmlns:a16="http://schemas.microsoft.com/office/drawing/2014/main" val="2128636549"/>
                    </a:ext>
                  </a:extLst>
                </a:gridCol>
                <a:gridCol w="438448">
                  <a:extLst>
                    <a:ext uri="{9D8B030D-6E8A-4147-A177-3AD203B41FA5}">
                      <a16:colId xmlns:a16="http://schemas.microsoft.com/office/drawing/2014/main" val="1869469487"/>
                    </a:ext>
                  </a:extLst>
                </a:gridCol>
                <a:gridCol w="438448">
                  <a:extLst>
                    <a:ext uri="{9D8B030D-6E8A-4147-A177-3AD203B41FA5}">
                      <a16:colId xmlns:a16="http://schemas.microsoft.com/office/drawing/2014/main" val="2257663961"/>
                    </a:ext>
                  </a:extLst>
                </a:gridCol>
                <a:gridCol w="438448">
                  <a:extLst>
                    <a:ext uri="{9D8B030D-6E8A-4147-A177-3AD203B41FA5}">
                      <a16:colId xmlns:a16="http://schemas.microsoft.com/office/drawing/2014/main" val="2161244561"/>
                    </a:ext>
                  </a:extLst>
                </a:gridCol>
                <a:gridCol w="438448">
                  <a:extLst>
                    <a:ext uri="{9D8B030D-6E8A-4147-A177-3AD203B41FA5}">
                      <a16:colId xmlns:a16="http://schemas.microsoft.com/office/drawing/2014/main" val="998249543"/>
                    </a:ext>
                  </a:extLst>
                </a:gridCol>
                <a:gridCol w="438448">
                  <a:extLst>
                    <a:ext uri="{9D8B030D-6E8A-4147-A177-3AD203B41FA5}">
                      <a16:colId xmlns:a16="http://schemas.microsoft.com/office/drawing/2014/main" val="562638259"/>
                    </a:ext>
                  </a:extLst>
                </a:gridCol>
                <a:gridCol w="438448">
                  <a:extLst>
                    <a:ext uri="{9D8B030D-6E8A-4147-A177-3AD203B41FA5}">
                      <a16:colId xmlns:a16="http://schemas.microsoft.com/office/drawing/2014/main" val="3142732389"/>
                    </a:ext>
                  </a:extLst>
                </a:gridCol>
                <a:gridCol w="438448">
                  <a:extLst>
                    <a:ext uri="{9D8B030D-6E8A-4147-A177-3AD203B41FA5}">
                      <a16:colId xmlns:a16="http://schemas.microsoft.com/office/drawing/2014/main" val="121085567"/>
                    </a:ext>
                  </a:extLst>
                </a:gridCol>
              </a:tblGrid>
              <a:tr h="160756">
                <a:tc gridSpan="20">
                  <a:txBody>
                    <a:bodyPr/>
                    <a:lstStyle/>
                    <a:p>
                      <a:r>
                        <a:rPr lang="en-US" sz="800" cap="none" dirty="0">
                          <a:solidFill>
                            <a:schemeClr val="tx1"/>
                          </a:solidFill>
                          <a:effectLst>
                            <a:glow>
                              <a:srgbClr val="000000"/>
                            </a:glow>
                          </a:effectLst>
                        </a:rPr>
                        <a:t>No. at risk</a:t>
                      </a:r>
                    </a:p>
                  </a:txBody>
                  <a:tcPr marL="0" marR="0"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a:solidFill>
                          <a:schemeClr val="tx1"/>
                        </a:solidFill>
                      </a:endParaRPr>
                    </a:p>
                  </a:txBody>
                  <a:tcPr marL="20094" marR="20094" marT="20094" marB="2009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6124150"/>
                  </a:ext>
                </a:extLst>
              </a:tr>
              <a:tr h="160756">
                <a:tc>
                  <a:txBody>
                    <a:bodyPr/>
                    <a:lstStyle/>
                    <a:p>
                      <a:r>
                        <a:rPr lang="en-US" sz="800" b="1" cap="none" dirty="0">
                          <a:solidFill>
                            <a:srgbClr val="F88D29"/>
                          </a:solidFill>
                          <a:effectLst>
                            <a:glow>
                              <a:srgbClr val="000000"/>
                            </a:glow>
                          </a:effectLst>
                        </a:rPr>
                        <a:t>Liso-cel 3L</a:t>
                      </a:r>
                    </a:p>
                  </a:txBody>
                  <a:tcPr marL="0" marR="0"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24</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23</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21</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21</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20</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18</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F88D29"/>
                          </a:solidFill>
                          <a:effectLst>
                            <a:glow>
                              <a:srgbClr val="000000"/>
                            </a:glow>
                          </a:effectLst>
                          <a:uLnTx/>
                          <a:uFillTx/>
                          <a:latin typeface="Krub"/>
                          <a:ea typeface="+mn-ea"/>
                          <a:cs typeface="+mn-cs"/>
                          <a:sym typeface="Arial"/>
                        </a:rPr>
                        <a:t>18</a:t>
                      </a:r>
                      <a:endParaRPr kumimoji="0" lang="en-US" sz="800" b="0" i="0" u="none" strike="noStrike" kern="0" cap="none" spc="0" normalizeH="0" baseline="0" noProof="0" dirty="0">
                        <a:ln>
                          <a:noFill/>
                        </a:ln>
                        <a:solidFill>
                          <a:srgbClr val="F88D29"/>
                        </a:solidFill>
                        <a:effectLst>
                          <a:glow>
                            <a:srgbClr val="000000"/>
                          </a:glow>
                        </a:effectLst>
                        <a:uLnTx/>
                        <a:uFillTx/>
                        <a:latin typeface="Krub"/>
                        <a:ea typeface="+mn-ea"/>
                        <a:cs typeface="+mn-cs"/>
                        <a:sym typeface="Arial"/>
                      </a:endParaRP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F88D29"/>
                          </a:solidFill>
                          <a:effectLst>
                            <a:glow>
                              <a:srgbClr val="000000"/>
                            </a:glow>
                          </a:effectLst>
                          <a:uLnTx/>
                          <a:uFillTx/>
                          <a:latin typeface="Krub"/>
                          <a:ea typeface="+mn-ea"/>
                          <a:cs typeface="+mn-cs"/>
                          <a:sym typeface="Arial"/>
                        </a:rPr>
                        <a:t>18</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17</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15</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12</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10</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7</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5</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3</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2</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cap="none" dirty="0">
                          <a:solidFill>
                            <a:srgbClr val="F88D29"/>
                          </a:solidFill>
                          <a:effectLst>
                            <a:glow>
                              <a:srgbClr val="000000"/>
                            </a:glow>
                          </a:effectLst>
                        </a:rPr>
                        <a:t>0</a:t>
                      </a: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solidFill>
                          <a:schemeClr val="accent5"/>
                        </a:solidFill>
                      </a:endParaRP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solidFill>
                          <a:schemeClr val="accent5"/>
                        </a:solidFill>
                      </a:endParaRPr>
                    </a:p>
                  </a:txBody>
                  <a:tcPr marL="15071" marR="15071" marT="15071" marB="1507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7699394"/>
                  </a:ext>
                </a:extLst>
              </a:tr>
            </a:tbl>
          </a:graphicData>
        </a:graphic>
      </p:graphicFrame>
      <p:sp>
        <p:nvSpPr>
          <p:cNvPr id="321" name="Graphic 18">
            <a:extLst>
              <a:ext uri="{FF2B5EF4-FFF2-40B4-BE49-F238E27FC236}">
                <a16:creationId xmlns:a16="http://schemas.microsoft.com/office/drawing/2014/main" id="{C25BFEC2-60CF-65D5-0D38-EA598E7A319D}"/>
              </a:ext>
            </a:extLst>
          </p:cNvPr>
          <p:cNvSpPr/>
          <p:nvPr/>
        </p:nvSpPr>
        <p:spPr>
          <a:xfrm>
            <a:off x="2493234" y="1953880"/>
            <a:ext cx="4335182" cy="46083"/>
          </a:xfrm>
          <a:custGeom>
            <a:avLst/>
            <a:gdLst>
              <a:gd name="csX0" fmla="*/ 0 w 2388467"/>
              <a:gd name="csY0" fmla="*/ 0 h 60388"/>
              <a:gd name="csX1" fmla="*/ 232451 w 2388467"/>
              <a:gd name="csY1" fmla="*/ 0 h 60388"/>
              <a:gd name="csX2" fmla="*/ 232451 w 2388467"/>
              <a:gd name="csY2" fmla="*/ 31242 h 60388"/>
              <a:gd name="csX3" fmla="*/ 755532 w 2388467"/>
              <a:gd name="csY3" fmla="*/ 31242 h 60388"/>
              <a:gd name="csX4" fmla="*/ 755532 w 2388467"/>
              <a:gd name="csY4" fmla="*/ 60389 h 60388"/>
              <a:gd name="csX5" fmla="*/ 2388468 w 2388467"/>
              <a:gd name="csY5" fmla="*/ 60389 h 60388"/>
            </a:gdLst>
            <a:ahLst/>
            <a:cxnLst>
              <a:cxn ang="0">
                <a:pos x="csX0" y="csY0"/>
              </a:cxn>
              <a:cxn ang="0">
                <a:pos x="csX1" y="csY1"/>
              </a:cxn>
              <a:cxn ang="0">
                <a:pos x="csX2" y="csY2"/>
              </a:cxn>
              <a:cxn ang="0">
                <a:pos x="csX3" y="csY3"/>
              </a:cxn>
              <a:cxn ang="0">
                <a:pos x="csX4" y="csY4"/>
              </a:cxn>
              <a:cxn ang="0">
                <a:pos x="csX5" y="csY5"/>
              </a:cxn>
            </a:cxnLst>
            <a:rect l="l" t="t" r="r" b="b"/>
            <a:pathLst>
              <a:path w="2388467" h="60388">
                <a:moveTo>
                  <a:pt x="0" y="0"/>
                </a:moveTo>
                <a:lnTo>
                  <a:pt x="232451" y="0"/>
                </a:lnTo>
                <a:lnTo>
                  <a:pt x="232451" y="31242"/>
                </a:lnTo>
                <a:lnTo>
                  <a:pt x="755532" y="31242"/>
                </a:lnTo>
                <a:lnTo>
                  <a:pt x="755532" y="60389"/>
                </a:lnTo>
                <a:lnTo>
                  <a:pt x="2388468" y="60389"/>
                </a:lnTo>
              </a:path>
            </a:pathLst>
          </a:custGeom>
          <a:noFill/>
          <a:ln w="19050" cap="flat">
            <a:solidFill>
              <a:srgbClr val="F88D29"/>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Garamond" pitchFamily="18" charset="0"/>
              <a:ea typeface="+mn-ea"/>
              <a:cs typeface="+mn-cs"/>
            </a:endParaRPr>
          </a:p>
        </p:txBody>
      </p:sp>
      <p:grpSp>
        <p:nvGrpSpPr>
          <p:cNvPr id="322" name="Group 321">
            <a:extLst>
              <a:ext uri="{FF2B5EF4-FFF2-40B4-BE49-F238E27FC236}">
                <a16:creationId xmlns:a16="http://schemas.microsoft.com/office/drawing/2014/main" id="{04CE35B1-CA85-E067-77D5-3028E108511A}"/>
              </a:ext>
            </a:extLst>
          </p:cNvPr>
          <p:cNvGrpSpPr/>
          <p:nvPr/>
        </p:nvGrpSpPr>
        <p:grpSpPr>
          <a:xfrm>
            <a:off x="2598352" y="1931991"/>
            <a:ext cx="135835" cy="45179"/>
            <a:chOff x="22867620" y="6131560"/>
            <a:chExt cx="137160" cy="137160"/>
          </a:xfrm>
        </p:grpSpPr>
        <p:cxnSp>
          <p:nvCxnSpPr>
            <p:cNvPr id="392" name="Straight Connector 391">
              <a:extLst>
                <a:ext uri="{FF2B5EF4-FFF2-40B4-BE49-F238E27FC236}">
                  <a16:creationId xmlns:a16="http://schemas.microsoft.com/office/drawing/2014/main" id="{831996B5-A369-4199-1593-F1F739F8BA6A}"/>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93" name="Straight Connector 392">
              <a:extLst>
                <a:ext uri="{FF2B5EF4-FFF2-40B4-BE49-F238E27FC236}">
                  <a16:creationId xmlns:a16="http://schemas.microsoft.com/office/drawing/2014/main" id="{993CD77B-2B81-FC35-8A1C-654EE5919621}"/>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23" name="Group 322">
            <a:extLst>
              <a:ext uri="{FF2B5EF4-FFF2-40B4-BE49-F238E27FC236}">
                <a16:creationId xmlns:a16="http://schemas.microsoft.com/office/drawing/2014/main" id="{5FA900B9-9A36-D584-99FF-E9ED33422FD8}"/>
              </a:ext>
            </a:extLst>
          </p:cNvPr>
          <p:cNvGrpSpPr/>
          <p:nvPr/>
        </p:nvGrpSpPr>
        <p:grpSpPr>
          <a:xfrm>
            <a:off x="2673486" y="1931991"/>
            <a:ext cx="135835" cy="45179"/>
            <a:chOff x="22867620" y="6131560"/>
            <a:chExt cx="137160" cy="137160"/>
          </a:xfrm>
        </p:grpSpPr>
        <p:cxnSp>
          <p:nvCxnSpPr>
            <p:cNvPr id="390" name="Straight Connector 389">
              <a:extLst>
                <a:ext uri="{FF2B5EF4-FFF2-40B4-BE49-F238E27FC236}">
                  <a16:creationId xmlns:a16="http://schemas.microsoft.com/office/drawing/2014/main" id="{EE69BCE3-F1A4-F5DE-404F-315862360268}"/>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91" name="Straight Connector 390">
              <a:extLst>
                <a:ext uri="{FF2B5EF4-FFF2-40B4-BE49-F238E27FC236}">
                  <a16:creationId xmlns:a16="http://schemas.microsoft.com/office/drawing/2014/main" id="{C492D7C1-A376-367C-3ABA-54215F1C208F}"/>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24" name="Group 323">
            <a:extLst>
              <a:ext uri="{FF2B5EF4-FFF2-40B4-BE49-F238E27FC236}">
                <a16:creationId xmlns:a16="http://schemas.microsoft.com/office/drawing/2014/main" id="{79F78156-E67D-9046-06AB-14988B0CD527}"/>
              </a:ext>
            </a:extLst>
          </p:cNvPr>
          <p:cNvGrpSpPr/>
          <p:nvPr/>
        </p:nvGrpSpPr>
        <p:grpSpPr>
          <a:xfrm>
            <a:off x="3771742" y="1954784"/>
            <a:ext cx="135835" cy="45179"/>
            <a:chOff x="22867620" y="6131560"/>
            <a:chExt cx="137160" cy="137160"/>
          </a:xfrm>
        </p:grpSpPr>
        <p:cxnSp>
          <p:nvCxnSpPr>
            <p:cNvPr id="388" name="Straight Connector 387">
              <a:extLst>
                <a:ext uri="{FF2B5EF4-FFF2-40B4-BE49-F238E27FC236}">
                  <a16:creationId xmlns:a16="http://schemas.microsoft.com/office/drawing/2014/main" id="{B8503DCF-F940-9CFE-7EAF-E02EEFCC2B6E}"/>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a16="http://schemas.microsoft.com/office/drawing/2014/main" id="{2C628021-EC74-A806-EF74-ABFC4F4A53E6}"/>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25" name="Group 324">
            <a:extLst>
              <a:ext uri="{FF2B5EF4-FFF2-40B4-BE49-F238E27FC236}">
                <a16:creationId xmlns:a16="http://schemas.microsoft.com/office/drawing/2014/main" id="{FDCA2F3B-0D68-AFA6-49C5-498C222BB20D}"/>
              </a:ext>
            </a:extLst>
          </p:cNvPr>
          <p:cNvGrpSpPr/>
          <p:nvPr/>
        </p:nvGrpSpPr>
        <p:grpSpPr>
          <a:xfrm>
            <a:off x="3857550" y="1981685"/>
            <a:ext cx="135835" cy="45179"/>
            <a:chOff x="22867620" y="6131560"/>
            <a:chExt cx="137160" cy="137160"/>
          </a:xfrm>
        </p:grpSpPr>
        <p:cxnSp>
          <p:nvCxnSpPr>
            <p:cNvPr id="386" name="Straight Connector 385">
              <a:extLst>
                <a:ext uri="{FF2B5EF4-FFF2-40B4-BE49-F238E27FC236}">
                  <a16:creationId xmlns:a16="http://schemas.microsoft.com/office/drawing/2014/main" id="{0B4F3C7A-1E01-B0B6-1D2F-6E222122244A}"/>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a16="http://schemas.microsoft.com/office/drawing/2014/main" id="{0D9A4E55-2856-68DA-4EFA-0E02DC141719}"/>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26" name="Group 325">
            <a:extLst>
              <a:ext uri="{FF2B5EF4-FFF2-40B4-BE49-F238E27FC236}">
                <a16:creationId xmlns:a16="http://schemas.microsoft.com/office/drawing/2014/main" id="{0A998DBE-F912-CF94-FA0F-4A0D2B7FF5CC}"/>
              </a:ext>
            </a:extLst>
          </p:cNvPr>
          <p:cNvGrpSpPr/>
          <p:nvPr/>
        </p:nvGrpSpPr>
        <p:grpSpPr>
          <a:xfrm>
            <a:off x="4205664" y="1981685"/>
            <a:ext cx="135835" cy="45179"/>
            <a:chOff x="22867620" y="6131560"/>
            <a:chExt cx="137160" cy="137160"/>
          </a:xfrm>
        </p:grpSpPr>
        <p:cxnSp>
          <p:nvCxnSpPr>
            <p:cNvPr id="384" name="Straight Connector 383">
              <a:extLst>
                <a:ext uri="{FF2B5EF4-FFF2-40B4-BE49-F238E27FC236}">
                  <a16:creationId xmlns:a16="http://schemas.microsoft.com/office/drawing/2014/main" id="{43C5DA9D-1153-DE7F-701E-835F345CEA72}"/>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ECD58B8B-E998-C1FA-CF58-A5608E5A4919}"/>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27" name="Group 326">
            <a:extLst>
              <a:ext uri="{FF2B5EF4-FFF2-40B4-BE49-F238E27FC236}">
                <a16:creationId xmlns:a16="http://schemas.microsoft.com/office/drawing/2014/main" id="{B9F77743-1509-ED81-CA63-84C02E78DD4A}"/>
              </a:ext>
            </a:extLst>
          </p:cNvPr>
          <p:cNvGrpSpPr/>
          <p:nvPr/>
        </p:nvGrpSpPr>
        <p:grpSpPr>
          <a:xfrm>
            <a:off x="4660825" y="1981685"/>
            <a:ext cx="135835" cy="45179"/>
            <a:chOff x="22867620" y="6131560"/>
            <a:chExt cx="137160" cy="137160"/>
          </a:xfrm>
        </p:grpSpPr>
        <p:cxnSp>
          <p:nvCxnSpPr>
            <p:cNvPr id="382" name="Straight Connector 381">
              <a:extLst>
                <a:ext uri="{FF2B5EF4-FFF2-40B4-BE49-F238E27FC236}">
                  <a16:creationId xmlns:a16="http://schemas.microsoft.com/office/drawing/2014/main" id="{6E9B0C75-A0F5-DFCB-8B72-66A47123D708}"/>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970C0136-60B9-1AD9-22E4-B76BE41A45F2}"/>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28" name="Group 327">
            <a:extLst>
              <a:ext uri="{FF2B5EF4-FFF2-40B4-BE49-F238E27FC236}">
                <a16:creationId xmlns:a16="http://schemas.microsoft.com/office/drawing/2014/main" id="{0D031014-BB29-0B8B-717C-CC4CC9780989}"/>
              </a:ext>
            </a:extLst>
          </p:cNvPr>
          <p:cNvGrpSpPr/>
          <p:nvPr/>
        </p:nvGrpSpPr>
        <p:grpSpPr>
          <a:xfrm>
            <a:off x="4734166" y="1981685"/>
            <a:ext cx="135835" cy="45179"/>
            <a:chOff x="22867620" y="6131560"/>
            <a:chExt cx="137160" cy="137160"/>
          </a:xfrm>
        </p:grpSpPr>
        <p:cxnSp>
          <p:nvCxnSpPr>
            <p:cNvPr id="380" name="Straight Connector 379">
              <a:extLst>
                <a:ext uri="{FF2B5EF4-FFF2-40B4-BE49-F238E27FC236}">
                  <a16:creationId xmlns:a16="http://schemas.microsoft.com/office/drawing/2014/main" id="{D1E06A94-3F59-D849-D0A0-8F4AEFC6AD88}"/>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21BDAEAF-16EE-0999-48F7-003F01E9C441}"/>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29" name="Group 328">
            <a:extLst>
              <a:ext uri="{FF2B5EF4-FFF2-40B4-BE49-F238E27FC236}">
                <a16:creationId xmlns:a16="http://schemas.microsoft.com/office/drawing/2014/main" id="{A0716FA8-6C50-C735-98C2-965354D00B81}"/>
              </a:ext>
            </a:extLst>
          </p:cNvPr>
          <p:cNvGrpSpPr/>
          <p:nvPr/>
        </p:nvGrpSpPr>
        <p:grpSpPr>
          <a:xfrm>
            <a:off x="4771553" y="1981685"/>
            <a:ext cx="135835" cy="45179"/>
            <a:chOff x="22867620" y="6131560"/>
            <a:chExt cx="137160" cy="137160"/>
          </a:xfrm>
        </p:grpSpPr>
        <p:cxnSp>
          <p:nvCxnSpPr>
            <p:cNvPr id="378" name="Straight Connector 377">
              <a:extLst>
                <a:ext uri="{FF2B5EF4-FFF2-40B4-BE49-F238E27FC236}">
                  <a16:creationId xmlns:a16="http://schemas.microsoft.com/office/drawing/2014/main" id="{65366A3D-A75E-5F2F-BCEC-79AE7CE79D97}"/>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CBEA6C90-1063-6DAF-8194-666EAD9E45A6}"/>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30" name="Group 329">
            <a:extLst>
              <a:ext uri="{FF2B5EF4-FFF2-40B4-BE49-F238E27FC236}">
                <a16:creationId xmlns:a16="http://schemas.microsoft.com/office/drawing/2014/main" id="{E8849D4C-D693-34A3-21D2-2357E4ACA8F3}"/>
              </a:ext>
            </a:extLst>
          </p:cNvPr>
          <p:cNvGrpSpPr/>
          <p:nvPr/>
        </p:nvGrpSpPr>
        <p:grpSpPr>
          <a:xfrm>
            <a:off x="4802082" y="1981685"/>
            <a:ext cx="135835" cy="45179"/>
            <a:chOff x="22867620" y="6131560"/>
            <a:chExt cx="137160" cy="137160"/>
          </a:xfrm>
        </p:grpSpPr>
        <p:cxnSp>
          <p:nvCxnSpPr>
            <p:cNvPr id="376" name="Straight Connector 375">
              <a:extLst>
                <a:ext uri="{FF2B5EF4-FFF2-40B4-BE49-F238E27FC236}">
                  <a16:creationId xmlns:a16="http://schemas.microsoft.com/office/drawing/2014/main" id="{82D3185D-E10B-8C06-A5EA-417D922EDF33}"/>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947D2275-4D5D-E845-974C-0D9A2E9998BB}"/>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31" name="Group 330">
            <a:extLst>
              <a:ext uri="{FF2B5EF4-FFF2-40B4-BE49-F238E27FC236}">
                <a16:creationId xmlns:a16="http://schemas.microsoft.com/office/drawing/2014/main" id="{09A29541-5B47-0D9B-57A1-930D4F10A6A7}"/>
              </a:ext>
            </a:extLst>
          </p:cNvPr>
          <p:cNvGrpSpPr/>
          <p:nvPr/>
        </p:nvGrpSpPr>
        <p:grpSpPr>
          <a:xfrm>
            <a:off x="4864580" y="1981685"/>
            <a:ext cx="135835" cy="45179"/>
            <a:chOff x="22867620" y="6131560"/>
            <a:chExt cx="137160" cy="137160"/>
          </a:xfrm>
        </p:grpSpPr>
        <p:cxnSp>
          <p:nvCxnSpPr>
            <p:cNvPr id="374" name="Straight Connector 373">
              <a:extLst>
                <a:ext uri="{FF2B5EF4-FFF2-40B4-BE49-F238E27FC236}">
                  <a16:creationId xmlns:a16="http://schemas.microsoft.com/office/drawing/2014/main" id="{63F9FAB7-E627-2B84-113A-A7FB9D31023D}"/>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5D1979B5-28F1-ACA5-7D3A-752BC4741CDB}"/>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32" name="Group 331">
            <a:extLst>
              <a:ext uri="{FF2B5EF4-FFF2-40B4-BE49-F238E27FC236}">
                <a16:creationId xmlns:a16="http://schemas.microsoft.com/office/drawing/2014/main" id="{8607C8A0-E2DB-1E93-D560-3BB608AC71B8}"/>
              </a:ext>
            </a:extLst>
          </p:cNvPr>
          <p:cNvGrpSpPr/>
          <p:nvPr/>
        </p:nvGrpSpPr>
        <p:grpSpPr>
          <a:xfrm>
            <a:off x="4900528" y="1981685"/>
            <a:ext cx="135835" cy="45179"/>
            <a:chOff x="22867620" y="6131560"/>
            <a:chExt cx="137160" cy="137160"/>
          </a:xfrm>
        </p:grpSpPr>
        <p:cxnSp>
          <p:nvCxnSpPr>
            <p:cNvPr id="372" name="Straight Connector 371">
              <a:extLst>
                <a:ext uri="{FF2B5EF4-FFF2-40B4-BE49-F238E27FC236}">
                  <a16:creationId xmlns:a16="http://schemas.microsoft.com/office/drawing/2014/main" id="{218A2290-342A-AE33-F5E6-476A4F5DC49D}"/>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3" name="Straight Connector 372">
              <a:extLst>
                <a:ext uri="{FF2B5EF4-FFF2-40B4-BE49-F238E27FC236}">
                  <a16:creationId xmlns:a16="http://schemas.microsoft.com/office/drawing/2014/main" id="{A28FD6CD-8B03-4E15-DE8D-7FCEEE4BA863}"/>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33" name="Group 332">
            <a:extLst>
              <a:ext uri="{FF2B5EF4-FFF2-40B4-BE49-F238E27FC236}">
                <a16:creationId xmlns:a16="http://schemas.microsoft.com/office/drawing/2014/main" id="{F1250443-3DCB-D888-3961-753065B59BE0}"/>
              </a:ext>
            </a:extLst>
          </p:cNvPr>
          <p:cNvGrpSpPr/>
          <p:nvPr/>
        </p:nvGrpSpPr>
        <p:grpSpPr>
          <a:xfrm>
            <a:off x="5251822" y="1981685"/>
            <a:ext cx="135835" cy="45179"/>
            <a:chOff x="22867620" y="6131560"/>
            <a:chExt cx="137160" cy="137160"/>
          </a:xfrm>
        </p:grpSpPr>
        <p:cxnSp>
          <p:nvCxnSpPr>
            <p:cNvPr id="370" name="Straight Connector 369">
              <a:extLst>
                <a:ext uri="{FF2B5EF4-FFF2-40B4-BE49-F238E27FC236}">
                  <a16:creationId xmlns:a16="http://schemas.microsoft.com/office/drawing/2014/main" id="{95BCDC04-2CE1-94C7-1BF4-C058B5576229}"/>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842A333A-E813-9592-B60A-F0061D9B7B4E}"/>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34" name="Group 333">
            <a:extLst>
              <a:ext uri="{FF2B5EF4-FFF2-40B4-BE49-F238E27FC236}">
                <a16:creationId xmlns:a16="http://schemas.microsoft.com/office/drawing/2014/main" id="{8C03B4C2-D125-49DC-06AE-E3AF25D657DF}"/>
              </a:ext>
            </a:extLst>
          </p:cNvPr>
          <p:cNvGrpSpPr/>
          <p:nvPr/>
        </p:nvGrpSpPr>
        <p:grpSpPr>
          <a:xfrm>
            <a:off x="5415163" y="1981685"/>
            <a:ext cx="135835" cy="45179"/>
            <a:chOff x="22867620" y="6131560"/>
            <a:chExt cx="137160" cy="137160"/>
          </a:xfrm>
        </p:grpSpPr>
        <p:cxnSp>
          <p:nvCxnSpPr>
            <p:cNvPr id="368" name="Straight Connector 367">
              <a:extLst>
                <a:ext uri="{FF2B5EF4-FFF2-40B4-BE49-F238E27FC236}">
                  <a16:creationId xmlns:a16="http://schemas.microsoft.com/office/drawing/2014/main" id="{928ECF6E-4CE9-5F73-FA2F-1E5985CF7C69}"/>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69" name="Straight Connector 368">
              <a:extLst>
                <a:ext uri="{FF2B5EF4-FFF2-40B4-BE49-F238E27FC236}">
                  <a16:creationId xmlns:a16="http://schemas.microsoft.com/office/drawing/2014/main" id="{9E31ABA8-258C-98F9-6D25-FF1551AFA86A}"/>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35" name="Group 334">
            <a:extLst>
              <a:ext uri="{FF2B5EF4-FFF2-40B4-BE49-F238E27FC236}">
                <a16:creationId xmlns:a16="http://schemas.microsoft.com/office/drawing/2014/main" id="{D85B0F61-2838-81EC-4088-B9C1F1B57C59}"/>
              </a:ext>
            </a:extLst>
          </p:cNvPr>
          <p:cNvGrpSpPr/>
          <p:nvPr/>
        </p:nvGrpSpPr>
        <p:grpSpPr>
          <a:xfrm>
            <a:off x="5467281" y="1981685"/>
            <a:ext cx="135835" cy="45179"/>
            <a:chOff x="22867620" y="6131560"/>
            <a:chExt cx="137160" cy="137160"/>
          </a:xfrm>
        </p:grpSpPr>
        <p:cxnSp>
          <p:nvCxnSpPr>
            <p:cNvPr id="366" name="Straight Connector 365">
              <a:extLst>
                <a:ext uri="{FF2B5EF4-FFF2-40B4-BE49-F238E27FC236}">
                  <a16:creationId xmlns:a16="http://schemas.microsoft.com/office/drawing/2014/main" id="{4324FA85-8FC5-F076-498D-E435A4DB8E13}"/>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67" name="Straight Connector 366">
              <a:extLst>
                <a:ext uri="{FF2B5EF4-FFF2-40B4-BE49-F238E27FC236}">
                  <a16:creationId xmlns:a16="http://schemas.microsoft.com/office/drawing/2014/main" id="{10D122DF-3B72-08EA-AFCF-BD9151C88F39}"/>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36" name="Group 335">
            <a:extLst>
              <a:ext uri="{FF2B5EF4-FFF2-40B4-BE49-F238E27FC236}">
                <a16:creationId xmlns:a16="http://schemas.microsoft.com/office/drawing/2014/main" id="{55E95B45-E17C-5F90-6919-DB45B5D92DAE}"/>
              </a:ext>
            </a:extLst>
          </p:cNvPr>
          <p:cNvGrpSpPr/>
          <p:nvPr/>
        </p:nvGrpSpPr>
        <p:grpSpPr>
          <a:xfrm>
            <a:off x="5603116" y="1981685"/>
            <a:ext cx="135835" cy="45179"/>
            <a:chOff x="22867620" y="6131560"/>
            <a:chExt cx="137160" cy="137160"/>
          </a:xfrm>
        </p:grpSpPr>
        <p:cxnSp>
          <p:nvCxnSpPr>
            <p:cNvPr id="364" name="Straight Connector 363">
              <a:extLst>
                <a:ext uri="{FF2B5EF4-FFF2-40B4-BE49-F238E27FC236}">
                  <a16:creationId xmlns:a16="http://schemas.microsoft.com/office/drawing/2014/main" id="{D447AEBF-D1DD-6CDB-84D8-ED5EA8769B0E}"/>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a16="http://schemas.microsoft.com/office/drawing/2014/main" id="{DE9A40B7-BBFB-7103-3930-510A0B66356D}"/>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37" name="Group 336">
            <a:extLst>
              <a:ext uri="{FF2B5EF4-FFF2-40B4-BE49-F238E27FC236}">
                <a16:creationId xmlns:a16="http://schemas.microsoft.com/office/drawing/2014/main" id="{DD1CA3E1-5A01-BA4E-7B93-354D8894F96C}"/>
              </a:ext>
            </a:extLst>
          </p:cNvPr>
          <p:cNvGrpSpPr/>
          <p:nvPr/>
        </p:nvGrpSpPr>
        <p:grpSpPr>
          <a:xfrm>
            <a:off x="5698539" y="1981685"/>
            <a:ext cx="135835" cy="45179"/>
            <a:chOff x="22867620" y="6131560"/>
            <a:chExt cx="137160" cy="137160"/>
          </a:xfrm>
        </p:grpSpPr>
        <p:cxnSp>
          <p:nvCxnSpPr>
            <p:cNvPr id="362" name="Straight Connector 361">
              <a:extLst>
                <a:ext uri="{FF2B5EF4-FFF2-40B4-BE49-F238E27FC236}">
                  <a16:creationId xmlns:a16="http://schemas.microsoft.com/office/drawing/2014/main" id="{248FF9FA-34B9-B137-4295-F0F24AE35B8D}"/>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63" name="Straight Connector 362">
              <a:extLst>
                <a:ext uri="{FF2B5EF4-FFF2-40B4-BE49-F238E27FC236}">
                  <a16:creationId xmlns:a16="http://schemas.microsoft.com/office/drawing/2014/main" id="{A1CB3C3D-65AE-1C84-DB29-34DEC4A71B8C}"/>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38" name="Group 337">
            <a:extLst>
              <a:ext uri="{FF2B5EF4-FFF2-40B4-BE49-F238E27FC236}">
                <a16:creationId xmlns:a16="http://schemas.microsoft.com/office/drawing/2014/main" id="{30726F96-FC21-50C4-BA71-534F32B9D3D3}"/>
              </a:ext>
            </a:extLst>
          </p:cNvPr>
          <p:cNvGrpSpPr/>
          <p:nvPr/>
        </p:nvGrpSpPr>
        <p:grpSpPr>
          <a:xfrm>
            <a:off x="5655235" y="1981685"/>
            <a:ext cx="135835" cy="45179"/>
            <a:chOff x="22867620" y="6131560"/>
            <a:chExt cx="137160" cy="137160"/>
          </a:xfrm>
        </p:grpSpPr>
        <p:cxnSp>
          <p:nvCxnSpPr>
            <p:cNvPr id="360" name="Straight Connector 359">
              <a:extLst>
                <a:ext uri="{FF2B5EF4-FFF2-40B4-BE49-F238E27FC236}">
                  <a16:creationId xmlns:a16="http://schemas.microsoft.com/office/drawing/2014/main" id="{DE8D2151-89E2-7975-6065-07D7EFF2D9F9}"/>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61" name="Straight Connector 360">
              <a:extLst>
                <a:ext uri="{FF2B5EF4-FFF2-40B4-BE49-F238E27FC236}">
                  <a16:creationId xmlns:a16="http://schemas.microsoft.com/office/drawing/2014/main" id="{A2FF2EBA-4A6B-8C37-B39A-3C80D3ADD2D1}"/>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39" name="Group 338">
            <a:extLst>
              <a:ext uri="{FF2B5EF4-FFF2-40B4-BE49-F238E27FC236}">
                <a16:creationId xmlns:a16="http://schemas.microsoft.com/office/drawing/2014/main" id="{85BA614E-F5C0-1E95-3A7B-8037AD89B977}"/>
              </a:ext>
            </a:extLst>
          </p:cNvPr>
          <p:cNvGrpSpPr/>
          <p:nvPr/>
        </p:nvGrpSpPr>
        <p:grpSpPr>
          <a:xfrm>
            <a:off x="5856769" y="1981685"/>
            <a:ext cx="135835" cy="45179"/>
            <a:chOff x="22867620" y="6131560"/>
            <a:chExt cx="137160" cy="137160"/>
          </a:xfrm>
        </p:grpSpPr>
        <p:cxnSp>
          <p:nvCxnSpPr>
            <p:cNvPr id="358" name="Straight Connector 357">
              <a:extLst>
                <a:ext uri="{FF2B5EF4-FFF2-40B4-BE49-F238E27FC236}">
                  <a16:creationId xmlns:a16="http://schemas.microsoft.com/office/drawing/2014/main" id="{22A8E812-43F4-7B04-1385-38593D95A5CE}"/>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59" name="Straight Connector 358">
              <a:extLst>
                <a:ext uri="{FF2B5EF4-FFF2-40B4-BE49-F238E27FC236}">
                  <a16:creationId xmlns:a16="http://schemas.microsoft.com/office/drawing/2014/main" id="{F7781D3B-3BFC-36F2-E984-7250F0C99C82}"/>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40" name="Group 339">
            <a:extLst>
              <a:ext uri="{FF2B5EF4-FFF2-40B4-BE49-F238E27FC236}">
                <a16:creationId xmlns:a16="http://schemas.microsoft.com/office/drawing/2014/main" id="{058BE171-C3F7-9A28-EC71-ABF3DD5A7FB2}"/>
              </a:ext>
            </a:extLst>
          </p:cNvPr>
          <p:cNvGrpSpPr/>
          <p:nvPr/>
        </p:nvGrpSpPr>
        <p:grpSpPr>
          <a:xfrm>
            <a:off x="5930344" y="1981685"/>
            <a:ext cx="135835" cy="45179"/>
            <a:chOff x="22867620" y="6131560"/>
            <a:chExt cx="137160" cy="137160"/>
          </a:xfrm>
        </p:grpSpPr>
        <p:cxnSp>
          <p:nvCxnSpPr>
            <p:cNvPr id="356" name="Straight Connector 355">
              <a:extLst>
                <a:ext uri="{FF2B5EF4-FFF2-40B4-BE49-F238E27FC236}">
                  <a16:creationId xmlns:a16="http://schemas.microsoft.com/office/drawing/2014/main" id="{1CEE987B-AAA3-87B8-E186-E2C946448F91}"/>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57" name="Straight Connector 356">
              <a:extLst>
                <a:ext uri="{FF2B5EF4-FFF2-40B4-BE49-F238E27FC236}">
                  <a16:creationId xmlns:a16="http://schemas.microsoft.com/office/drawing/2014/main" id="{A08DEA2F-373A-D383-5351-E24FE6FF9B1B}"/>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41" name="Group 340">
            <a:extLst>
              <a:ext uri="{FF2B5EF4-FFF2-40B4-BE49-F238E27FC236}">
                <a16:creationId xmlns:a16="http://schemas.microsoft.com/office/drawing/2014/main" id="{C52145BD-3EA3-E7E6-AECE-AC1E5ED6CB2C}"/>
              </a:ext>
            </a:extLst>
          </p:cNvPr>
          <p:cNvGrpSpPr/>
          <p:nvPr/>
        </p:nvGrpSpPr>
        <p:grpSpPr>
          <a:xfrm>
            <a:off x="6307409" y="1981685"/>
            <a:ext cx="135835" cy="45179"/>
            <a:chOff x="22867620" y="6131560"/>
            <a:chExt cx="137160" cy="137160"/>
          </a:xfrm>
        </p:grpSpPr>
        <p:cxnSp>
          <p:nvCxnSpPr>
            <p:cNvPr id="354" name="Straight Connector 353">
              <a:extLst>
                <a:ext uri="{FF2B5EF4-FFF2-40B4-BE49-F238E27FC236}">
                  <a16:creationId xmlns:a16="http://schemas.microsoft.com/office/drawing/2014/main" id="{636E9958-5A2A-BAAD-4F02-A73ACF4E4950}"/>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55" name="Straight Connector 354">
              <a:extLst>
                <a:ext uri="{FF2B5EF4-FFF2-40B4-BE49-F238E27FC236}">
                  <a16:creationId xmlns:a16="http://schemas.microsoft.com/office/drawing/2014/main" id="{1A3245DB-F326-F55F-42A9-FCF982E21CAD}"/>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42" name="Group 341">
            <a:extLst>
              <a:ext uri="{FF2B5EF4-FFF2-40B4-BE49-F238E27FC236}">
                <a16:creationId xmlns:a16="http://schemas.microsoft.com/office/drawing/2014/main" id="{3DD4440E-7982-2190-9C41-EBB5B77EB78B}"/>
              </a:ext>
            </a:extLst>
          </p:cNvPr>
          <p:cNvGrpSpPr/>
          <p:nvPr/>
        </p:nvGrpSpPr>
        <p:grpSpPr>
          <a:xfrm>
            <a:off x="6395254" y="1981685"/>
            <a:ext cx="135835" cy="45179"/>
            <a:chOff x="22867620" y="6131560"/>
            <a:chExt cx="137160" cy="137160"/>
          </a:xfrm>
        </p:grpSpPr>
        <p:cxnSp>
          <p:nvCxnSpPr>
            <p:cNvPr id="352" name="Straight Connector 351">
              <a:extLst>
                <a:ext uri="{FF2B5EF4-FFF2-40B4-BE49-F238E27FC236}">
                  <a16:creationId xmlns:a16="http://schemas.microsoft.com/office/drawing/2014/main" id="{0CDEEC8B-A545-F7A9-6173-AAA8B3427127}"/>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53" name="Straight Connector 352">
              <a:extLst>
                <a:ext uri="{FF2B5EF4-FFF2-40B4-BE49-F238E27FC236}">
                  <a16:creationId xmlns:a16="http://schemas.microsoft.com/office/drawing/2014/main" id="{4728F492-0846-8276-D057-7630259FB6B4}"/>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43" name="Group 342">
            <a:extLst>
              <a:ext uri="{FF2B5EF4-FFF2-40B4-BE49-F238E27FC236}">
                <a16:creationId xmlns:a16="http://schemas.microsoft.com/office/drawing/2014/main" id="{5E1C50AD-86B9-4B2D-8FFC-3316B8EDC700}"/>
              </a:ext>
            </a:extLst>
          </p:cNvPr>
          <p:cNvGrpSpPr/>
          <p:nvPr/>
        </p:nvGrpSpPr>
        <p:grpSpPr>
          <a:xfrm>
            <a:off x="6520637" y="1981685"/>
            <a:ext cx="135835" cy="45179"/>
            <a:chOff x="22867620" y="6131560"/>
            <a:chExt cx="137160" cy="137160"/>
          </a:xfrm>
        </p:grpSpPr>
        <p:cxnSp>
          <p:nvCxnSpPr>
            <p:cNvPr id="350" name="Straight Connector 349">
              <a:extLst>
                <a:ext uri="{FF2B5EF4-FFF2-40B4-BE49-F238E27FC236}">
                  <a16:creationId xmlns:a16="http://schemas.microsoft.com/office/drawing/2014/main" id="{5B04F889-FAD9-1FCC-09F9-62C0140763ED}"/>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51" name="Straight Connector 350">
              <a:extLst>
                <a:ext uri="{FF2B5EF4-FFF2-40B4-BE49-F238E27FC236}">
                  <a16:creationId xmlns:a16="http://schemas.microsoft.com/office/drawing/2014/main" id="{BBB552C9-552C-A8CD-3E92-F485769A218B}"/>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44" name="Group 343">
            <a:extLst>
              <a:ext uri="{FF2B5EF4-FFF2-40B4-BE49-F238E27FC236}">
                <a16:creationId xmlns:a16="http://schemas.microsoft.com/office/drawing/2014/main" id="{18F43664-F333-BA59-86F3-1C22A5B836FC}"/>
              </a:ext>
            </a:extLst>
          </p:cNvPr>
          <p:cNvGrpSpPr/>
          <p:nvPr/>
        </p:nvGrpSpPr>
        <p:grpSpPr>
          <a:xfrm>
            <a:off x="6588553" y="1981685"/>
            <a:ext cx="135835" cy="45179"/>
            <a:chOff x="22867620" y="6131560"/>
            <a:chExt cx="137160" cy="137160"/>
          </a:xfrm>
        </p:grpSpPr>
        <p:cxnSp>
          <p:nvCxnSpPr>
            <p:cNvPr id="348" name="Straight Connector 347">
              <a:extLst>
                <a:ext uri="{FF2B5EF4-FFF2-40B4-BE49-F238E27FC236}">
                  <a16:creationId xmlns:a16="http://schemas.microsoft.com/office/drawing/2014/main" id="{730D6F7D-9A35-7DD3-5B52-D1BF1A5A6EF7}"/>
                </a:ext>
              </a:extLst>
            </p:cNvPr>
            <p:cNvCxnSpPr/>
            <p:nvPr/>
          </p:nvCxnSpPr>
          <p:spPr>
            <a:xfrm>
              <a:off x="22936200" y="613156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49" name="Straight Connector 348">
              <a:extLst>
                <a:ext uri="{FF2B5EF4-FFF2-40B4-BE49-F238E27FC236}">
                  <a16:creationId xmlns:a16="http://schemas.microsoft.com/office/drawing/2014/main" id="{D265AB7B-568E-9AA1-CCBA-1D94DC0FD2FC}"/>
                </a:ext>
              </a:extLst>
            </p:cNvPr>
            <p:cNvCxnSpPr>
              <a:cxnSpLocks/>
            </p:cNvCxnSpPr>
            <p:nvPr/>
          </p:nvCxnSpPr>
          <p:spPr>
            <a:xfrm rot="5400000">
              <a:off x="22936200" y="6129020"/>
              <a:ext cx="0" cy="13716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57ECBFCC-85B7-32DE-5D20-6C527D66CA17}"/>
              </a:ext>
            </a:extLst>
          </p:cNvPr>
          <p:cNvGrpSpPr/>
          <p:nvPr/>
        </p:nvGrpSpPr>
        <p:grpSpPr>
          <a:xfrm>
            <a:off x="6821088" y="1981685"/>
            <a:ext cx="135835" cy="45179"/>
            <a:chOff x="6972551" y="1499244"/>
            <a:chExt cx="181113" cy="60239"/>
          </a:xfrm>
        </p:grpSpPr>
        <p:cxnSp>
          <p:nvCxnSpPr>
            <p:cNvPr id="346" name="Straight Connector 345">
              <a:extLst>
                <a:ext uri="{FF2B5EF4-FFF2-40B4-BE49-F238E27FC236}">
                  <a16:creationId xmlns:a16="http://schemas.microsoft.com/office/drawing/2014/main" id="{6D39DAF8-B8D2-329E-C234-6973A2DADCA0}"/>
                </a:ext>
              </a:extLst>
            </p:cNvPr>
            <p:cNvCxnSpPr/>
            <p:nvPr/>
          </p:nvCxnSpPr>
          <p:spPr>
            <a:xfrm>
              <a:off x="7063108" y="1499244"/>
              <a:ext cx="0" cy="60239"/>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D975DA15-DC9A-FF75-AF82-EDF941B21F17}"/>
                </a:ext>
              </a:extLst>
            </p:cNvPr>
            <p:cNvCxnSpPr>
              <a:cxnSpLocks/>
            </p:cNvCxnSpPr>
            <p:nvPr/>
          </p:nvCxnSpPr>
          <p:spPr>
            <a:xfrm rot="5400000">
              <a:off x="7063108" y="1437691"/>
              <a:ext cx="0" cy="181113"/>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D325E7DF-5F14-4861-8AB8-21CC0D82107A}"/>
              </a:ext>
            </a:extLst>
          </p:cNvPr>
          <p:cNvGrpSpPr/>
          <p:nvPr/>
        </p:nvGrpSpPr>
        <p:grpSpPr>
          <a:xfrm>
            <a:off x="2493234" y="3829529"/>
            <a:ext cx="6979456" cy="238865"/>
            <a:chOff x="1292312" y="3963038"/>
            <a:chExt cx="9305941" cy="318486"/>
          </a:xfrm>
        </p:grpSpPr>
        <p:sp>
          <p:nvSpPr>
            <p:cNvPr id="10" name="Graphic 396">
              <a:extLst>
                <a:ext uri="{FF2B5EF4-FFF2-40B4-BE49-F238E27FC236}">
                  <a16:creationId xmlns:a16="http://schemas.microsoft.com/office/drawing/2014/main" id="{01E917D8-6661-E3E3-59BF-E77EE3CC5BFD}"/>
                </a:ext>
              </a:extLst>
            </p:cNvPr>
            <p:cNvSpPr/>
            <p:nvPr/>
          </p:nvSpPr>
          <p:spPr>
            <a:xfrm>
              <a:off x="1316666" y="3982975"/>
              <a:ext cx="9246288" cy="266116"/>
            </a:xfrm>
            <a:custGeom>
              <a:avLst/>
              <a:gdLst>
                <a:gd name="connsiteX0" fmla="*/ 0 w 9246288"/>
                <a:gd name="connsiteY0" fmla="*/ 0 h 266116"/>
                <a:gd name="connsiteX1" fmla="*/ 724197 w 9246288"/>
                <a:gd name="connsiteY1" fmla="*/ 0 h 266116"/>
                <a:gd name="connsiteX2" fmla="*/ 724197 w 9246288"/>
                <a:gd name="connsiteY2" fmla="*/ 54070 h 266116"/>
                <a:gd name="connsiteX3" fmla="*/ 1091534 w 9246288"/>
                <a:gd name="connsiteY3" fmla="*/ 54070 h 266116"/>
                <a:gd name="connsiteX4" fmla="*/ 1091534 w 9246288"/>
                <a:gd name="connsiteY4" fmla="*/ 104025 h 266116"/>
                <a:gd name="connsiteX5" fmla="*/ 1794141 w 9246288"/>
                <a:gd name="connsiteY5" fmla="*/ 104025 h 266116"/>
                <a:gd name="connsiteX6" fmla="*/ 1794141 w 9246288"/>
                <a:gd name="connsiteY6" fmla="*/ 166088 h 266116"/>
                <a:gd name="connsiteX7" fmla="*/ 2448173 w 9246288"/>
                <a:gd name="connsiteY7" fmla="*/ 166088 h 266116"/>
                <a:gd name="connsiteX8" fmla="*/ 2448173 w 9246288"/>
                <a:gd name="connsiteY8" fmla="*/ 206052 h 266116"/>
                <a:gd name="connsiteX9" fmla="*/ 2842496 w 9246288"/>
                <a:gd name="connsiteY9" fmla="*/ 206052 h 266116"/>
                <a:gd name="connsiteX10" fmla="*/ 2842496 w 9246288"/>
                <a:gd name="connsiteY10" fmla="*/ 266116 h 266116"/>
                <a:gd name="connsiteX11" fmla="*/ 9246289 w 9246288"/>
                <a:gd name="connsiteY11" fmla="*/ 266116 h 266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46288" h="266116">
                  <a:moveTo>
                    <a:pt x="0" y="0"/>
                  </a:moveTo>
                  <a:lnTo>
                    <a:pt x="724197" y="0"/>
                  </a:lnTo>
                  <a:lnTo>
                    <a:pt x="724197" y="54070"/>
                  </a:lnTo>
                  <a:lnTo>
                    <a:pt x="1091534" y="54070"/>
                  </a:lnTo>
                  <a:lnTo>
                    <a:pt x="1091534" y="104025"/>
                  </a:lnTo>
                  <a:lnTo>
                    <a:pt x="1794141" y="104025"/>
                  </a:lnTo>
                  <a:lnTo>
                    <a:pt x="1794141" y="166088"/>
                  </a:lnTo>
                  <a:lnTo>
                    <a:pt x="2448173" y="166088"/>
                  </a:lnTo>
                  <a:lnTo>
                    <a:pt x="2448173" y="206052"/>
                  </a:lnTo>
                  <a:lnTo>
                    <a:pt x="2842496" y="206052"/>
                  </a:lnTo>
                  <a:lnTo>
                    <a:pt x="2842496" y="266116"/>
                  </a:lnTo>
                  <a:lnTo>
                    <a:pt x="9246289" y="266116"/>
                  </a:lnTo>
                </a:path>
              </a:pathLst>
            </a:custGeom>
            <a:noFill/>
            <a:ln w="12700" cap="flat">
              <a:solidFill>
                <a:srgbClr val="F88D29"/>
              </a:solid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Garamond" pitchFamily="18" charset="0"/>
                <a:ea typeface="+mn-ea"/>
                <a:cs typeface="+mn-cs"/>
              </a:endParaRPr>
            </a:p>
          </p:txBody>
        </p:sp>
        <p:grpSp>
          <p:nvGrpSpPr>
            <p:cNvPr id="398" name="Group 397">
              <a:extLst>
                <a:ext uri="{FF2B5EF4-FFF2-40B4-BE49-F238E27FC236}">
                  <a16:creationId xmlns:a16="http://schemas.microsoft.com/office/drawing/2014/main" id="{1C0F9905-0B69-10D3-A9AC-6899BF76F80A}"/>
                </a:ext>
              </a:extLst>
            </p:cNvPr>
            <p:cNvGrpSpPr/>
            <p:nvPr/>
          </p:nvGrpSpPr>
          <p:grpSpPr>
            <a:xfrm>
              <a:off x="1292312" y="3963038"/>
              <a:ext cx="81107" cy="56331"/>
              <a:chOff x="22867620" y="6131560"/>
              <a:chExt cx="137160" cy="137160"/>
            </a:xfrm>
          </p:grpSpPr>
          <p:cxnSp>
            <p:nvCxnSpPr>
              <p:cNvPr id="453" name="Straight Connector 452">
                <a:extLst>
                  <a:ext uri="{FF2B5EF4-FFF2-40B4-BE49-F238E27FC236}">
                    <a16:creationId xmlns:a16="http://schemas.microsoft.com/office/drawing/2014/main" id="{285223CF-D862-7256-AFE4-2F6189CCDAF0}"/>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54" name="Straight Connector 453">
                <a:extLst>
                  <a:ext uri="{FF2B5EF4-FFF2-40B4-BE49-F238E27FC236}">
                    <a16:creationId xmlns:a16="http://schemas.microsoft.com/office/drawing/2014/main" id="{5A50394F-C82E-C09A-18E6-A50B268DB978}"/>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399" name="Group 398">
              <a:extLst>
                <a:ext uri="{FF2B5EF4-FFF2-40B4-BE49-F238E27FC236}">
                  <a16:creationId xmlns:a16="http://schemas.microsoft.com/office/drawing/2014/main" id="{C83FFA2D-1C50-C115-1260-B02BC8DF23FD}"/>
                </a:ext>
              </a:extLst>
            </p:cNvPr>
            <p:cNvGrpSpPr/>
            <p:nvPr/>
          </p:nvGrpSpPr>
          <p:grpSpPr>
            <a:xfrm>
              <a:off x="5771726" y="4225187"/>
              <a:ext cx="81107" cy="56331"/>
              <a:chOff x="22867620" y="6131560"/>
              <a:chExt cx="137160" cy="137160"/>
            </a:xfrm>
          </p:grpSpPr>
          <p:cxnSp>
            <p:nvCxnSpPr>
              <p:cNvPr id="451" name="Straight Connector 450">
                <a:extLst>
                  <a:ext uri="{FF2B5EF4-FFF2-40B4-BE49-F238E27FC236}">
                    <a16:creationId xmlns:a16="http://schemas.microsoft.com/office/drawing/2014/main" id="{11324108-660B-AD1D-155A-2E19CCB4F748}"/>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52" name="Straight Connector 451">
                <a:extLst>
                  <a:ext uri="{FF2B5EF4-FFF2-40B4-BE49-F238E27FC236}">
                    <a16:creationId xmlns:a16="http://schemas.microsoft.com/office/drawing/2014/main" id="{E5B33362-0140-C801-77D7-F0DE713B21CE}"/>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00" name="Group 399">
              <a:extLst>
                <a:ext uri="{FF2B5EF4-FFF2-40B4-BE49-F238E27FC236}">
                  <a16:creationId xmlns:a16="http://schemas.microsoft.com/office/drawing/2014/main" id="{1959C28F-9A6B-D63D-FEDF-E5D43036C3D5}"/>
                </a:ext>
              </a:extLst>
            </p:cNvPr>
            <p:cNvGrpSpPr/>
            <p:nvPr/>
          </p:nvGrpSpPr>
          <p:grpSpPr>
            <a:xfrm>
              <a:off x="6013194" y="4225187"/>
              <a:ext cx="81107" cy="56331"/>
              <a:chOff x="22867620" y="6131560"/>
              <a:chExt cx="137160" cy="137160"/>
            </a:xfrm>
          </p:grpSpPr>
          <p:cxnSp>
            <p:nvCxnSpPr>
              <p:cNvPr id="449" name="Straight Connector 448">
                <a:extLst>
                  <a:ext uri="{FF2B5EF4-FFF2-40B4-BE49-F238E27FC236}">
                    <a16:creationId xmlns:a16="http://schemas.microsoft.com/office/drawing/2014/main" id="{3D7E16C8-42DB-2123-8FE1-D543AED75CD7}"/>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50" name="Straight Connector 449">
                <a:extLst>
                  <a:ext uri="{FF2B5EF4-FFF2-40B4-BE49-F238E27FC236}">
                    <a16:creationId xmlns:a16="http://schemas.microsoft.com/office/drawing/2014/main" id="{859B6DD5-1763-89CD-577B-C80459DF6CD8}"/>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01" name="Group 400">
              <a:extLst>
                <a:ext uri="{FF2B5EF4-FFF2-40B4-BE49-F238E27FC236}">
                  <a16:creationId xmlns:a16="http://schemas.microsoft.com/office/drawing/2014/main" id="{F8A0B855-0C8C-524D-418D-9277914CB06C}"/>
                </a:ext>
              </a:extLst>
            </p:cNvPr>
            <p:cNvGrpSpPr/>
            <p:nvPr/>
          </p:nvGrpSpPr>
          <p:grpSpPr>
            <a:xfrm>
              <a:off x="6336749" y="4225187"/>
              <a:ext cx="81107" cy="56331"/>
              <a:chOff x="22867620" y="6131560"/>
              <a:chExt cx="137160" cy="137160"/>
            </a:xfrm>
          </p:grpSpPr>
          <p:cxnSp>
            <p:nvCxnSpPr>
              <p:cNvPr id="447" name="Straight Connector 446">
                <a:extLst>
                  <a:ext uri="{FF2B5EF4-FFF2-40B4-BE49-F238E27FC236}">
                    <a16:creationId xmlns:a16="http://schemas.microsoft.com/office/drawing/2014/main" id="{0DC31F35-F874-A36C-384E-DA6B996732BA}"/>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48" name="Straight Connector 447">
                <a:extLst>
                  <a:ext uri="{FF2B5EF4-FFF2-40B4-BE49-F238E27FC236}">
                    <a16:creationId xmlns:a16="http://schemas.microsoft.com/office/drawing/2014/main" id="{A31B481D-E75D-15F2-9C21-8F1A5A7EB014}"/>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02" name="Group 401">
              <a:extLst>
                <a:ext uri="{FF2B5EF4-FFF2-40B4-BE49-F238E27FC236}">
                  <a16:creationId xmlns:a16="http://schemas.microsoft.com/office/drawing/2014/main" id="{017389B7-CC10-5C8E-3D5B-530ED1896809}"/>
                </a:ext>
              </a:extLst>
            </p:cNvPr>
            <p:cNvGrpSpPr/>
            <p:nvPr/>
          </p:nvGrpSpPr>
          <p:grpSpPr>
            <a:xfrm>
              <a:off x="6875147" y="4225187"/>
              <a:ext cx="81107" cy="56331"/>
              <a:chOff x="22867620" y="6131560"/>
              <a:chExt cx="137160" cy="137160"/>
            </a:xfrm>
          </p:grpSpPr>
          <p:cxnSp>
            <p:nvCxnSpPr>
              <p:cNvPr id="445" name="Straight Connector 444">
                <a:extLst>
                  <a:ext uri="{FF2B5EF4-FFF2-40B4-BE49-F238E27FC236}">
                    <a16:creationId xmlns:a16="http://schemas.microsoft.com/office/drawing/2014/main" id="{5CABEB2A-C56E-64FA-707C-F5495CB97110}"/>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46" name="Straight Connector 445">
                <a:extLst>
                  <a:ext uri="{FF2B5EF4-FFF2-40B4-BE49-F238E27FC236}">
                    <a16:creationId xmlns:a16="http://schemas.microsoft.com/office/drawing/2014/main" id="{9DCF2031-5D6A-977C-B358-D53C79CA4078}"/>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03" name="Group 402">
              <a:extLst>
                <a:ext uri="{FF2B5EF4-FFF2-40B4-BE49-F238E27FC236}">
                  <a16:creationId xmlns:a16="http://schemas.microsoft.com/office/drawing/2014/main" id="{23AE70C8-330E-DFD4-A4BE-055BD267512A}"/>
                </a:ext>
              </a:extLst>
            </p:cNvPr>
            <p:cNvGrpSpPr/>
            <p:nvPr/>
          </p:nvGrpSpPr>
          <p:grpSpPr>
            <a:xfrm>
              <a:off x="6993116" y="4225187"/>
              <a:ext cx="81107" cy="56331"/>
              <a:chOff x="22867620" y="6131560"/>
              <a:chExt cx="137160" cy="137160"/>
            </a:xfrm>
          </p:grpSpPr>
          <p:cxnSp>
            <p:nvCxnSpPr>
              <p:cNvPr id="443" name="Straight Connector 442">
                <a:extLst>
                  <a:ext uri="{FF2B5EF4-FFF2-40B4-BE49-F238E27FC236}">
                    <a16:creationId xmlns:a16="http://schemas.microsoft.com/office/drawing/2014/main" id="{706DE6CA-D92A-41CD-B077-903E59536824}"/>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44" name="Straight Connector 443">
                <a:extLst>
                  <a:ext uri="{FF2B5EF4-FFF2-40B4-BE49-F238E27FC236}">
                    <a16:creationId xmlns:a16="http://schemas.microsoft.com/office/drawing/2014/main" id="{8CB2F304-1232-5C5F-AA57-DFCCC195E3AD}"/>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04" name="Group 403">
              <a:extLst>
                <a:ext uri="{FF2B5EF4-FFF2-40B4-BE49-F238E27FC236}">
                  <a16:creationId xmlns:a16="http://schemas.microsoft.com/office/drawing/2014/main" id="{CDE19EC5-AFBE-D8CD-DCD1-8C6877530067}"/>
                </a:ext>
              </a:extLst>
            </p:cNvPr>
            <p:cNvGrpSpPr/>
            <p:nvPr/>
          </p:nvGrpSpPr>
          <p:grpSpPr>
            <a:xfrm>
              <a:off x="7016541" y="4225187"/>
              <a:ext cx="81107" cy="56331"/>
              <a:chOff x="22867620" y="6131560"/>
              <a:chExt cx="137160" cy="137160"/>
            </a:xfrm>
          </p:grpSpPr>
          <p:cxnSp>
            <p:nvCxnSpPr>
              <p:cNvPr id="441" name="Straight Connector 440">
                <a:extLst>
                  <a:ext uri="{FF2B5EF4-FFF2-40B4-BE49-F238E27FC236}">
                    <a16:creationId xmlns:a16="http://schemas.microsoft.com/office/drawing/2014/main" id="{452EB68E-459C-D1B1-F75C-58BDE8992A1B}"/>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42" name="Straight Connector 441">
                <a:extLst>
                  <a:ext uri="{FF2B5EF4-FFF2-40B4-BE49-F238E27FC236}">
                    <a16:creationId xmlns:a16="http://schemas.microsoft.com/office/drawing/2014/main" id="{4E235034-F32F-D945-54F7-5BBD6BBEF790}"/>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05" name="Group 404">
              <a:extLst>
                <a:ext uri="{FF2B5EF4-FFF2-40B4-BE49-F238E27FC236}">
                  <a16:creationId xmlns:a16="http://schemas.microsoft.com/office/drawing/2014/main" id="{9A3EC92A-2D38-40E3-238F-CC86D8252531}"/>
                </a:ext>
              </a:extLst>
            </p:cNvPr>
            <p:cNvGrpSpPr/>
            <p:nvPr/>
          </p:nvGrpSpPr>
          <p:grpSpPr>
            <a:xfrm>
              <a:off x="7244352" y="4225187"/>
              <a:ext cx="81107" cy="56331"/>
              <a:chOff x="22867620" y="6131560"/>
              <a:chExt cx="137160" cy="137160"/>
            </a:xfrm>
          </p:grpSpPr>
          <p:cxnSp>
            <p:nvCxnSpPr>
              <p:cNvPr id="439" name="Straight Connector 438">
                <a:extLst>
                  <a:ext uri="{FF2B5EF4-FFF2-40B4-BE49-F238E27FC236}">
                    <a16:creationId xmlns:a16="http://schemas.microsoft.com/office/drawing/2014/main" id="{C37D60FD-E1DC-2C6D-1CAE-DBB94AEF4E20}"/>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40" name="Straight Connector 439">
                <a:extLst>
                  <a:ext uri="{FF2B5EF4-FFF2-40B4-BE49-F238E27FC236}">
                    <a16:creationId xmlns:a16="http://schemas.microsoft.com/office/drawing/2014/main" id="{FC19E018-06A0-D755-4F54-ED4737BB6D33}"/>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06" name="Group 405">
              <a:extLst>
                <a:ext uri="{FF2B5EF4-FFF2-40B4-BE49-F238E27FC236}">
                  <a16:creationId xmlns:a16="http://schemas.microsoft.com/office/drawing/2014/main" id="{78BFB894-B3DB-013E-C8A7-D41E6FA02627}"/>
                </a:ext>
              </a:extLst>
            </p:cNvPr>
            <p:cNvGrpSpPr/>
            <p:nvPr/>
          </p:nvGrpSpPr>
          <p:grpSpPr>
            <a:xfrm>
              <a:off x="7342212" y="4225187"/>
              <a:ext cx="81107" cy="56331"/>
              <a:chOff x="22867620" y="6131560"/>
              <a:chExt cx="137160" cy="137160"/>
            </a:xfrm>
          </p:grpSpPr>
          <p:cxnSp>
            <p:nvCxnSpPr>
              <p:cNvPr id="437" name="Straight Connector 436">
                <a:extLst>
                  <a:ext uri="{FF2B5EF4-FFF2-40B4-BE49-F238E27FC236}">
                    <a16:creationId xmlns:a16="http://schemas.microsoft.com/office/drawing/2014/main" id="{8DC8EB62-1262-2894-9FD2-7B7F3F8B0E1F}"/>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38" name="Straight Connector 437">
                <a:extLst>
                  <a:ext uri="{FF2B5EF4-FFF2-40B4-BE49-F238E27FC236}">
                    <a16:creationId xmlns:a16="http://schemas.microsoft.com/office/drawing/2014/main" id="{F521CB14-930A-E7F0-E3F5-8D09004C054A}"/>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07" name="Group 406">
              <a:extLst>
                <a:ext uri="{FF2B5EF4-FFF2-40B4-BE49-F238E27FC236}">
                  <a16:creationId xmlns:a16="http://schemas.microsoft.com/office/drawing/2014/main" id="{AF46808D-E723-2C08-8A0D-0FFC16B9E709}"/>
                </a:ext>
              </a:extLst>
            </p:cNvPr>
            <p:cNvGrpSpPr/>
            <p:nvPr/>
          </p:nvGrpSpPr>
          <p:grpSpPr>
            <a:xfrm>
              <a:off x="8041703" y="4225187"/>
              <a:ext cx="81107" cy="56331"/>
              <a:chOff x="22867620" y="6131560"/>
              <a:chExt cx="137160" cy="137160"/>
            </a:xfrm>
          </p:grpSpPr>
          <p:cxnSp>
            <p:nvCxnSpPr>
              <p:cNvPr id="435" name="Straight Connector 434">
                <a:extLst>
                  <a:ext uri="{FF2B5EF4-FFF2-40B4-BE49-F238E27FC236}">
                    <a16:creationId xmlns:a16="http://schemas.microsoft.com/office/drawing/2014/main" id="{2F653AF4-7A29-E1C8-036C-4811315C6094}"/>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36" name="Straight Connector 435">
                <a:extLst>
                  <a:ext uri="{FF2B5EF4-FFF2-40B4-BE49-F238E27FC236}">
                    <a16:creationId xmlns:a16="http://schemas.microsoft.com/office/drawing/2014/main" id="{C09CADE8-E23E-8CA0-F528-C8A6908A22C8}"/>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08" name="Group 407">
              <a:extLst>
                <a:ext uri="{FF2B5EF4-FFF2-40B4-BE49-F238E27FC236}">
                  <a16:creationId xmlns:a16="http://schemas.microsoft.com/office/drawing/2014/main" id="{E78EF552-7E99-CA5E-A5C1-041CD641DFDB}"/>
                </a:ext>
              </a:extLst>
            </p:cNvPr>
            <p:cNvGrpSpPr/>
            <p:nvPr/>
          </p:nvGrpSpPr>
          <p:grpSpPr>
            <a:xfrm>
              <a:off x="8117486" y="4225187"/>
              <a:ext cx="81107" cy="56331"/>
              <a:chOff x="22867620" y="6131560"/>
              <a:chExt cx="137160" cy="137160"/>
            </a:xfrm>
          </p:grpSpPr>
          <p:cxnSp>
            <p:nvCxnSpPr>
              <p:cNvPr id="433" name="Straight Connector 432">
                <a:extLst>
                  <a:ext uri="{FF2B5EF4-FFF2-40B4-BE49-F238E27FC236}">
                    <a16:creationId xmlns:a16="http://schemas.microsoft.com/office/drawing/2014/main" id="{C33D1C98-FC6D-B501-1248-DA6DB3D7477A}"/>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34" name="Straight Connector 433">
                <a:extLst>
                  <a:ext uri="{FF2B5EF4-FFF2-40B4-BE49-F238E27FC236}">
                    <a16:creationId xmlns:a16="http://schemas.microsoft.com/office/drawing/2014/main" id="{722BBC49-941A-2650-0297-18FDCFAAA27F}"/>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09" name="Group 408">
              <a:extLst>
                <a:ext uri="{FF2B5EF4-FFF2-40B4-BE49-F238E27FC236}">
                  <a16:creationId xmlns:a16="http://schemas.microsoft.com/office/drawing/2014/main" id="{BA99570E-F3DD-A788-4476-AB358D913265}"/>
                </a:ext>
              </a:extLst>
            </p:cNvPr>
            <p:cNvGrpSpPr/>
            <p:nvPr/>
          </p:nvGrpSpPr>
          <p:grpSpPr>
            <a:xfrm>
              <a:off x="8232963" y="4225187"/>
              <a:ext cx="81107" cy="56331"/>
              <a:chOff x="22867620" y="6131560"/>
              <a:chExt cx="137160" cy="137160"/>
            </a:xfrm>
          </p:grpSpPr>
          <p:cxnSp>
            <p:nvCxnSpPr>
              <p:cNvPr id="431" name="Straight Connector 430">
                <a:extLst>
                  <a:ext uri="{FF2B5EF4-FFF2-40B4-BE49-F238E27FC236}">
                    <a16:creationId xmlns:a16="http://schemas.microsoft.com/office/drawing/2014/main" id="{C77D3131-6869-9F75-9B26-F4843967ED46}"/>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940EC4A3-59E2-2182-3201-13792977AB69}"/>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10" name="Group 409">
              <a:extLst>
                <a:ext uri="{FF2B5EF4-FFF2-40B4-BE49-F238E27FC236}">
                  <a16:creationId xmlns:a16="http://schemas.microsoft.com/office/drawing/2014/main" id="{F14078E6-3BFC-83DA-26CA-32E606234C4F}"/>
                </a:ext>
              </a:extLst>
            </p:cNvPr>
            <p:cNvGrpSpPr/>
            <p:nvPr/>
          </p:nvGrpSpPr>
          <p:grpSpPr>
            <a:xfrm>
              <a:off x="8298387" y="4225187"/>
              <a:ext cx="81107" cy="56331"/>
              <a:chOff x="22867620" y="6131560"/>
              <a:chExt cx="137160" cy="137160"/>
            </a:xfrm>
          </p:grpSpPr>
          <p:cxnSp>
            <p:nvCxnSpPr>
              <p:cNvPr id="429" name="Straight Connector 428">
                <a:extLst>
                  <a:ext uri="{FF2B5EF4-FFF2-40B4-BE49-F238E27FC236}">
                    <a16:creationId xmlns:a16="http://schemas.microsoft.com/office/drawing/2014/main" id="{FA0179C7-1FCD-72EB-7092-80B111451619}"/>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30" name="Straight Connector 429">
                <a:extLst>
                  <a:ext uri="{FF2B5EF4-FFF2-40B4-BE49-F238E27FC236}">
                    <a16:creationId xmlns:a16="http://schemas.microsoft.com/office/drawing/2014/main" id="{1936E624-6089-1AA7-BE5C-72D8BB910A95}"/>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11" name="Group 410">
              <a:extLst>
                <a:ext uri="{FF2B5EF4-FFF2-40B4-BE49-F238E27FC236}">
                  <a16:creationId xmlns:a16="http://schemas.microsoft.com/office/drawing/2014/main" id="{6DD83C21-E0AD-AACF-D50C-EE1CDB277651}"/>
                </a:ext>
              </a:extLst>
            </p:cNvPr>
            <p:cNvGrpSpPr/>
            <p:nvPr/>
          </p:nvGrpSpPr>
          <p:grpSpPr>
            <a:xfrm>
              <a:off x="8507956" y="4225193"/>
              <a:ext cx="81107" cy="56331"/>
              <a:chOff x="22867620" y="6131560"/>
              <a:chExt cx="137160" cy="137160"/>
            </a:xfrm>
          </p:grpSpPr>
          <p:cxnSp>
            <p:nvCxnSpPr>
              <p:cNvPr id="427" name="Straight Connector 426">
                <a:extLst>
                  <a:ext uri="{FF2B5EF4-FFF2-40B4-BE49-F238E27FC236}">
                    <a16:creationId xmlns:a16="http://schemas.microsoft.com/office/drawing/2014/main" id="{197F81A5-4537-814D-CC80-39F2CCC1376B}"/>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28" name="Straight Connector 427">
                <a:extLst>
                  <a:ext uri="{FF2B5EF4-FFF2-40B4-BE49-F238E27FC236}">
                    <a16:creationId xmlns:a16="http://schemas.microsoft.com/office/drawing/2014/main" id="{E99F8EB7-E88E-120E-5B54-4BA37FAAA53B}"/>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12" name="Group 411">
              <a:extLst>
                <a:ext uri="{FF2B5EF4-FFF2-40B4-BE49-F238E27FC236}">
                  <a16:creationId xmlns:a16="http://schemas.microsoft.com/office/drawing/2014/main" id="{B26ACA39-BD1A-9C31-484B-346C8B369B16}"/>
                </a:ext>
              </a:extLst>
            </p:cNvPr>
            <p:cNvGrpSpPr/>
            <p:nvPr/>
          </p:nvGrpSpPr>
          <p:grpSpPr>
            <a:xfrm>
              <a:off x="9233725" y="4225185"/>
              <a:ext cx="81107" cy="56331"/>
              <a:chOff x="22867620" y="6131560"/>
              <a:chExt cx="137160" cy="137160"/>
            </a:xfrm>
          </p:grpSpPr>
          <p:cxnSp>
            <p:nvCxnSpPr>
              <p:cNvPr id="425" name="Straight Connector 424">
                <a:extLst>
                  <a:ext uri="{FF2B5EF4-FFF2-40B4-BE49-F238E27FC236}">
                    <a16:creationId xmlns:a16="http://schemas.microsoft.com/office/drawing/2014/main" id="{DEA54642-1EB0-3AC5-99AB-395313E8F97C}"/>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26" name="Straight Connector 425">
                <a:extLst>
                  <a:ext uri="{FF2B5EF4-FFF2-40B4-BE49-F238E27FC236}">
                    <a16:creationId xmlns:a16="http://schemas.microsoft.com/office/drawing/2014/main" id="{9A260084-D8E2-6F9F-4F1A-CB558872562E}"/>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13" name="Group 412">
              <a:extLst>
                <a:ext uri="{FF2B5EF4-FFF2-40B4-BE49-F238E27FC236}">
                  <a16:creationId xmlns:a16="http://schemas.microsoft.com/office/drawing/2014/main" id="{C3C2BDF6-8AB8-73F6-A55B-44A511FBFE34}"/>
                </a:ext>
              </a:extLst>
            </p:cNvPr>
            <p:cNvGrpSpPr/>
            <p:nvPr/>
          </p:nvGrpSpPr>
          <p:grpSpPr>
            <a:xfrm>
              <a:off x="9323638" y="4225169"/>
              <a:ext cx="81107" cy="56331"/>
              <a:chOff x="22867620" y="6131560"/>
              <a:chExt cx="137160" cy="137160"/>
            </a:xfrm>
          </p:grpSpPr>
          <p:cxnSp>
            <p:nvCxnSpPr>
              <p:cNvPr id="423" name="Straight Connector 422">
                <a:extLst>
                  <a:ext uri="{FF2B5EF4-FFF2-40B4-BE49-F238E27FC236}">
                    <a16:creationId xmlns:a16="http://schemas.microsoft.com/office/drawing/2014/main" id="{2BA832C6-3630-F101-8167-187DB93C8DCB}"/>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24" name="Straight Connector 423">
                <a:extLst>
                  <a:ext uri="{FF2B5EF4-FFF2-40B4-BE49-F238E27FC236}">
                    <a16:creationId xmlns:a16="http://schemas.microsoft.com/office/drawing/2014/main" id="{F3A78A1B-D94B-3899-05C9-97D23D492219}"/>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14" name="Group 413">
              <a:extLst>
                <a:ext uri="{FF2B5EF4-FFF2-40B4-BE49-F238E27FC236}">
                  <a16:creationId xmlns:a16="http://schemas.microsoft.com/office/drawing/2014/main" id="{276948A1-3121-839A-A81E-8A10BC4E2F9C}"/>
                </a:ext>
              </a:extLst>
            </p:cNvPr>
            <p:cNvGrpSpPr/>
            <p:nvPr/>
          </p:nvGrpSpPr>
          <p:grpSpPr>
            <a:xfrm>
              <a:off x="9479934" y="4225151"/>
              <a:ext cx="81107" cy="56331"/>
              <a:chOff x="22867620" y="6131560"/>
              <a:chExt cx="137160" cy="137160"/>
            </a:xfrm>
          </p:grpSpPr>
          <p:cxnSp>
            <p:nvCxnSpPr>
              <p:cNvPr id="421" name="Straight Connector 420">
                <a:extLst>
                  <a:ext uri="{FF2B5EF4-FFF2-40B4-BE49-F238E27FC236}">
                    <a16:creationId xmlns:a16="http://schemas.microsoft.com/office/drawing/2014/main" id="{E5E06B30-7340-007D-B091-6652B85B2D73}"/>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22" name="Straight Connector 421">
                <a:extLst>
                  <a:ext uri="{FF2B5EF4-FFF2-40B4-BE49-F238E27FC236}">
                    <a16:creationId xmlns:a16="http://schemas.microsoft.com/office/drawing/2014/main" id="{B90A5D8B-A56D-82D6-5A79-B567EA05F972}"/>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15" name="Group 414">
              <a:extLst>
                <a:ext uri="{FF2B5EF4-FFF2-40B4-BE49-F238E27FC236}">
                  <a16:creationId xmlns:a16="http://schemas.microsoft.com/office/drawing/2014/main" id="{C883D712-A407-A97F-D641-5B65DEBFC5D4}"/>
                </a:ext>
              </a:extLst>
            </p:cNvPr>
            <p:cNvGrpSpPr/>
            <p:nvPr/>
          </p:nvGrpSpPr>
          <p:grpSpPr>
            <a:xfrm>
              <a:off x="10417720" y="4225136"/>
              <a:ext cx="81107" cy="56331"/>
              <a:chOff x="22867620" y="6131560"/>
              <a:chExt cx="137160" cy="137160"/>
            </a:xfrm>
          </p:grpSpPr>
          <p:cxnSp>
            <p:nvCxnSpPr>
              <p:cNvPr id="419" name="Straight Connector 418">
                <a:extLst>
                  <a:ext uri="{FF2B5EF4-FFF2-40B4-BE49-F238E27FC236}">
                    <a16:creationId xmlns:a16="http://schemas.microsoft.com/office/drawing/2014/main" id="{41E45BA6-134C-4573-2154-C241D908C8C6}"/>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20" name="Straight Connector 419">
                <a:extLst>
                  <a:ext uri="{FF2B5EF4-FFF2-40B4-BE49-F238E27FC236}">
                    <a16:creationId xmlns:a16="http://schemas.microsoft.com/office/drawing/2014/main" id="{B3304DE1-6037-F951-B331-3D7195540338}"/>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416" name="Group 415">
              <a:extLst>
                <a:ext uri="{FF2B5EF4-FFF2-40B4-BE49-F238E27FC236}">
                  <a16:creationId xmlns:a16="http://schemas.microsoft.com/office/drawing/2014/main" id="{B8405DBB-EBEF-DB67-4718-F63B10E5B48E}"/>
                </a:ext>
              </a:extLst>
            </p:cNvPr>
            <p:cNvGrpSpPr/>
            <p:nvPr/>
          </p:nvGrpSpPr>
          <p:grpSpPr>
            <a:xfrm>
              <a:off x="10517146" y="4225117"/>
              <a:ext cx="81107" cy="56331"/>
              <a:chOff x="22867620" y="6131560"/>
              <a:chExt cx="137160" cy="137160"/>
            </a:xfrm>
          </p:grpSpPr>
          <p:cxnSp>
            <p:nvCxnSpPr>
              <p:cNvPr id="417" name="Straight Connector 416">
                <a:extLst>
                  <a:ext uri="{FF2B5EF4-FFF2-40B4-BE49-F238E27FC236}">
                    <a16:creationId xmlns:a16="http://schemas.microsoft.com/office/drawing/2014/main" id="{0A41A591-8928-A120-BF49-6BBE97AA67D3}"/>
                  </a:ext>
                </a:extLst>
              </p:cNvPr>
              <p:cNvCxnSpPr/>
              <p:nvPr/>
            </p:nvCxnSpPr>
            <p:spPr>
              <a:xfrm>
                <a:off x="22936200" y="613156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18" name="Straight Connector 417">
                <a:extLst>
                  <a:ext uri="{FF2B5EF4-FFF2-40B4-BE49-F238E27FC236}">
                    <a16:creationId xmlns:a16="http://schemas.microsoft.com/office/drawing/2014/main" id="{12854E68-02C1-3195-97F0-C0202901496C}"/>
                  </a:ext>
                </a:extLst>
              </p:cNvPr>
              <p:cNvCxnSpPr>
                <a:cxnSpLocks/>
              </p:cNvCxnSpPr>
              <p:nvPr/>
            </p:nvCxnSpPr>
            <p:spPr>
              <a:xfrm rot="5400000">
                <a:off x="22936200" y="6129020"/>
                <a:ext cx="0" cy="13716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grpSp>
      </p:grpSp>
      <p:sp>
        <p:nvSpPr>
          <p:cNvPr id="459" name="Speech Bubble: Rectangle 890">
            <a:extLst>
              <a:ext uri="{FF2B5EF4-FFF2-40B4-BE49-F238E27FC236}">
                <a16:creationId xmlns:a16="http://schemas.microsoft.com/office/drawing/2014/main" id="{FECCC62E-6B32-DA12-317C-477FC6ADCC39}"/>
              </a:ext>
            </a:extLst>
          </p:cNvPr>
          <p:cNvSpPr/>
          <p:nvPr/>
        </p:nvSpPr>
        <p:spPr>
          <a:xfrm>
            <a:off x="5315716" y="4224425"/>
            <a:ext cx="806953" cy="208749"/>
          </a:xfrm>
          <a:prstGeom prst="wedgeRectCallout">
            <a:avLst>
              <a:gd name="adj1" fmla="val -23666"/>
              <a:gd name="adj2" fmla="val -79862"/>
            </a:avLst>
          </a:prstGeom>
          <a:solidFill>
            <a:schemeClr val="accent6">
              <a:lumMod val="20000"/>
              <a:lumOff val="80000"/>
            </a:schemeClr>
          </a:solidFill>
          <a:ln w="25400" cap="flat" cmpd="sng" algn="ctr">
            <a:noFill/>
            <a:prstDash val="solid"/>
          </a:ln>
          <a:effectLst/>
        </p:spPr>
        <p:txBody>
          <a:bodyPr wrap="square" lIns="60750" tIns="40500" rIns="40500" bIns="40500" rtlCol="0" anchor="ctr">
            <a:spAutoFit/>
          </a:bodyPr>
          <a:lstStyle/>
          <a:p>
            <a:pPr marL="0" marR="0" lvl="0" indent="0" algn="ctr" defTabSz="257175" rtl="0" eaLnBrk="1" fontAlgn="ctr" latinLnBrk="0" hangingPunct="1">
              <a:lnSpc>
                <a:spcPct val="100000"/>
              </a:lnSpc>
              <a:spcBef>
                <a:spcPct val="0"/>
              </a:spcBef>
              <a:spcAft>
                <a:spcPct val="0"/>
              </a:spcAft>
              <a:buClrTx/>
              <a:buSzTx/>
              <a:buFontTx/>
              <a:buNone/>
              <a:tabLst/>
              <a:defRPr/>
            </a:pPr>
            <a:r>
              <a:rPr kumimoji="0" lang="en-GB" sz="825" b="1" i="0" u="none" strike="noStrike" kern="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rPr>
              <a:t>NR (NR-NR)</a:t>
            </a:r>
            <a:endParaRPr kumimoji="0" lang="en-GB" sz="825" b="0" i="0" u="none" strike="noStrike" kern="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endParaRPr>
          </a:p>
        </p:txBody>
      </p:sp>
      <p:graphicFrame>
        <p:nvGraphicFramePr>
          <p:cNvPr id="461" name="Table 185">
            <a:extLst>
              <a:ext uri="{FF2B5EF4-FFF2-40B4-BE49-F238E27FC236}">
                <a16:creationId xmlns:a16="http://schemas.microsoft.com/office/drawing/2014/main" id="{F27A9A6E-CDC6-B26C-78A4-395F3B8784EB}"/>
              </a:ext>
            </a:extLst>
          </p:cNvPr>
          <p:cNvGraphicFramePr>
            <a:graphicFrameLocks noGrp="1"/>
          </p:cNvGraphicFramePr>
          <p:nvPr/>
        </p:nvGraphicFramePr>
        <p:xfrm>
          <a:off x="7053403" y="4169266"/>
          <a:ext cx="3288030" cy="720804"/>
        </p:xfrm>
        <a:graphic>
          <a:graphicData uri="http://schemas.openxmlformats.org/drawingml/2006/table">
            <a:tbl>
              <a:tblPr firstRow="1" bandRow="1">
                <a:tableStyleId>{5C22544A-7EE6-4342-B048-85BDC9FD1C3A}</a:tableStyleId>
              </a:tblPr>
              <a:tblGrid>
                <a:gridCol w="1851660">
                  <a:extLst>
                    <a:ext uri="{9D8B030D-6E8A-4147-A177-3AD203B41FA5}">
                      <a16:colId xmlns:a16="http://schemas.microsoft.com/office/drawing/2014/main" val="498251772"/>
                    </a:ext>
                  </a:extLst>
                </a:gridCol>
                <a:gridCol w="1436370">
                  <a:extLst>
                    <a:ext uri="{9D8B030D-6E8A-4147-A177-3AD203B41FA5}">
                      <a16:colId xmlns:a16="http://schemas.microsoft.com/office/drawing/2014/main" val="575635547"/>
                    </a:ext>
                  </a:extLst>
                </a:gridCol>
              </a:tblGrid>
              <a:tr h="288884">
                <a:tc>
                  <a:txBody>
                    <a:bodyPr/>
                    <a:lstStyle/>
                    <a:p>
                      <a:pPr algn="ctr"/>
                      <a:endParaRPr lang="en-US" sz="800" b="1" dirty="0">
                        <a:solidFill>
                          <a:schemeClr val="accent5"/>
                        </a:solidFill>
                      </a:endParaRPr>
                    </a:p>
                  </a:txBody>
                  <a:tcPr marL="30142" marR="30142" marT="30142" marB="3014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1" cap="none" dirty="0">
                          <a:solidFill>
                            <a:schemeClr val="bg1"/>
                          </a:solidFill>
                          <a:effectLst>
                            <a:glow>
                              <a:srgbClr val="000000"/>
                            </a:glow>
                          </a:effectLst>
                        </a:rPr>
                        <a:t>Liso-cel 3L</a:t>
                      </a:r>
                      <a:br>
                        <a:rPr lang="en-US" sz="800" b="1" cap="none" dirty="0">
                          <a:solidFill>
                            <a:schemeClr val="bg1"/>
                          </a:solidFill>
                        </a:rPr>
                      </a:br>
                      <a:r>
                        <a:rPr lang="en-US" sz="800" b="1" cap="none" dirty="0">
                          <a:solidFill>
                            <a:schemeClr val="bg1"/>
                          </a:solidFill>
                          <a:effectLst>
                            <a:glow>
                              <a:srgbClr val="000000"/>
                            </a:glow>
                          </a:effectLst>
                        </a:rPr>
                        <a:t>(SOC crossover;  n=24)</a:t>
                      </a:r>
                    </a:p>
                  </a:txBody>
                  <a:tcPr marL="30142" marR="30142" marT="30142" marB="3014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697699394"/>
                  </a:ext>
                </a:extLst>
              </a:tr>
              <a:tr h="208340">
                <a:tc>
                  <a:txBody>
                    <a:bodyPr/>
                    <a:lstStyle/>
                    <a:p>
                      <a:pPr algn="l"/>
                      <a:r>
                        <a:rPr lang="en-US" sz="800" b="1" cap="none" dirty="0">
                          <a:solidFill>
                            <a:schemeClr val="tx1"/>
                          </a:solidFill>
                          <a:effectLst>
                            <a:glow>
                              <a:srgbClr val="000000"/>
                            </a:glow>
                          </a:effectLst>
                        </a:rPr>
                        <a:t>24-month rate (95% CI)</a:t>
                      </a:r>
                    </a:p>
                  </a:txBody>
                  <a:tcPr marL="30142" marR="30142" marT="30142" marB="3014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1" cap="none" dirty="0">
                          <a:solidFill>
                            <a:srgbClr val="666666"/>
                          </a:solidFill>
                          <a:effectLst>
                            <a:glow>
                              <a:srgbClr val="000000"/>
                            </a:glow>
                          </a:effectLst>
                        </a:rPr>
                        <a:t>78.3% </a:t>
                      </a:r>
                      <a:r>
                        <a:rPr lang="en-US" sz="800" cap="none" dirty="0">
                          <a:solidFill>
                            <a:schemeClr val="tx1"/>
                          </a:solidFill>
                          <a:effectLst>
                            <a:glow>
                              <a:srgbClr val="000000"/>
                            </a:glow>
                          </a:effectLst>
                        </a:rPr>
                        <a:t>(61.4-95.1)</a:t>
                      </a:r>
                    </a:p>
                  </a:txBody>
                  <a:tcPr marL="30142" marR="30142" marT="30142" marB="3014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07504522"/>
                  </a:ext>
                </a:extLst>
              </a:tr>
              <a:tr h="20834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800" b="1" cap="none" dirty="0">
                          <a:solidFill>
                            <a:schemeClr val="tx1"/>
                          </a:solidFill>
                          <a:effectLst>
                            <a:glow>
                              <a:srgbClr val="000000"/>
                            </a:glow>
                          </a:effectLst>
                        </a:rPr>
                        <a:t>Median (95% CI) follow-up in the LTFU</a:t>
                      </a:r>
                    </a:p>
                  </a:txBody>
                  <a:tcPr marL="30142" marR="30142" marT="30142" marB="3014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i="0" u="none" strike="noStrike" cap="none" dirty="0">
                          <a:solidFill>
                            <a:schemeClr val="tx1"/>
                          </a:solidFill>
                          <a:effectLst>
                            <a:glow>
                              <a:srgbClr val="000000"/>
                            </a:glow>
                          </a:effectLst>
                          <a:latin typeface="+mn-lt"/>
                          <a:ea typeface="+mn-ea"/>
                          <a:cs typeface="+mn-cs"/>
                          <a:sym typeface="Arial"/>
                        </a:rPr>
                        <a:t>35.0 months </a:t>
                      </a:r>
                      <a:r>
                        <a:rPr lang="en-US" sz="800" cap="none" dirty="0">
                          <a:solidFill>
                            <a:schemeClr val="tx1"/>
                          </a:solidFill>
                          <a:effectLst>
                            <a:glow>
                              <a:srgbClr val="000000"/>
                            </a:glow>
                          </a:effectLst>
                        </a:rPr>
                        <a:t>(28.8-37.1)</a:t>
                      </a:r>
                    </a:p>
                  </a:txBody>
                  <a:tcPr marL="30142" marR="30142" marT="30142" marB="30142"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54761151"/>
                  </a:ext>
                </a:extLst>
              </a:tr>
            </a:tbl>
          </a:graphicData>
        </a:graphic>
      </p:graphicFrame>
      <p:cxnSp>
        <p:nvCxnSpPr>
          <p:cNvPr id="463" name="Straight Arrow Connector 462">
            <a:extLst>
              <a:ext uri="{FF2B5EF4-FFF2-40B4-BE49-F238E27FC236}">
                <a16:creationId xmlns:a16="http://schemas.microsoft.com/office/drawing/2014/main" id="{093CB92B-5C21-4B83-938E-8CA7B7522D93}"/>
              </a:ext>
            </a:extLst>
          </p:cNvPr>
          <p:cNvCxnSpPr>
            <a:cxnSpLocks/>
          </p:cNvCxnSpPr>
          <p:nvPr/>
        </p:nvCxnSpPr>
        <p:spPr>
          <a:xfrm flipV="1">
            <a:off x="2493234" y="3274975"/>
            <a:ext cx="0" cy="15402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65" name="TextBox 464">
            <a:extLst>
              <a:ext uri="{FF2B5EF4-FFF2-40B4-BE49-F238E27FC236}">
                <a16:creationId xmlns:a16="http://schemas.microsoft.com/office/drawing/2014/main" id="{40EA718E-36CF-D64C-55E7-2CBE82A4CD0E}"/>
              </a:ext>
            </a:extLst>
          </p:cNvPr>
          <p:cNvSpPr txBox="1"/>
          <p:nvPr/>
        </p:nvSpPr>
        <p:spPr>
          <a:xfrm>
            <a:off x="2562193" y="3325127"/>
            <a:ext cx="2070766" cy="103875"/>
          </a:xfrm>
          <a:prstGeom prst="rect">
            <a:avLst/>
          </a:prstGeom>
          <a:noFill/>
        </p:spPr>
        <p:txBody>
          <a:bodyPr wrap="square" lIns="0" tIns="0" rIns="0" bIns="0" rtlCol="0">
            <a:spAutoFit/>
          </a:bodyPr>
          <a:lstStyle/>
          <a:p>
            <a:pPr marL="0" marR="0" lvl="0" indent="0" algn="l" defTabSz="257175" rtl="0" eaLnBrk="1" fontAlgn="base" latinLnBrk="0" hangingPunct="1">
              <a:lnSpc>
                <a:spcPct val="100000"/>
              </a:lnSpc>
              <a:spcBef>
                <a:spcPct val="0"/>
              </a:spcBef>
              <a:spcAft>
                <a:spcPct val="0"/>
              </a:spcAft>
              <a:buClrTx/>
              <a:buSzTx/>
              <a:buFontTx/>
              <a:buNone/>
              <a:tabLst/>
              <a:defRPr/>
            </a:pPr>
            <a:r>
              <a:rPr kumimoji="0" lang="en-US" sz="675" b="1" i="0" u="none" strike="noStrike" kern="120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rPr>
              <a:t>LTFU consent (up to 3 years after randomization)</a:t>
            </a:r>
            <a:endParaRPr kumimoji="0" lang="en-GB" sz="675" b="1" i="0" u="none" strike="noStrike" kern="120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endParaRPr>
          </a:p>
        </p:txBody>
      </p:sp>
      <p:cxnSp>
        <p:nvCxnSpPr>
          <p:cNvPr id="466" name="Straight Arrow Connector 465">
            <a:extLst>
              <a:ext uri="{FF2B5EF4-FFF2-40B4-BE49-F238E27FC236}">
                <a16:creationId xmlns:a16="http://schemas.microsoft.com/office/drawing/2014/main" id="{5CD4AB7A-EDAF-2D55-F517-C1F9A4272562}"/>
              </a:ext>
            </a:extLst>
          </p:cNvPr>
          <p:cNvCxnSpPr>
            <a:cxnSpLocks/>
          </p:cNvCxnSpPr>
          <p:nvPr/>
        </p:nvCxnSpPr>
        <p:spPr>
          <a:xfrm flipV="1">
            <a:off x="2493234" y="5144819"/>
            <a:ext cx="0" cy="15402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67" name="TextBox 466">
            <a:extLst>
              <a:ext uri="{FF2B5EF4-FFF2-40B4-BE49-F238E27FC236}">
                <a16:creationId xmlns:a16="http://schemas.microsoft.com/office/drawing/2014/main" id="{AB489FB3-520D-D922-B940-4003676A42DA}"/>
              </a:ext>
            </a:extLst>
          </p:cNvPr>
          <p:cNvSpPr txBox="1"/>
          <p:nvPr/>
        </p:nvSpPr>
        <p:spPr>
          <a:xfrm>
            <a:off x="2562193" y="5194972"/>
            <a:ext cx="2236502" cy="103875"/>
          </a:xfrm>
          <a:prstGeom prst="rect">
            <a:avLst/>
          </a:prstGeom>
          <a:noFill/>
        </p:spPr>
        <p:txBody>
          <a:bodyPr wrap="square" lIns="0" tIns="0" rIns="0" bIns="0" rtlCol="0">
            <a:spAutoFit/>
          </a:bodyPr>
          <a:lstStyle/>
          <a:p>
            <a:pPr marL="0" marR="0" lvl="0" indent="0" algn="l" defTabSz="257175" rtl="0" eaLnBrk="1" fontAlgn="base" latinLnBrk="0" hangingPunct="1">
              <a:lnSpc>
                <a:spcPct val="100000"/>
              </a:lnSpc>
              <a:spcBef>
                <a:spcPct val="0"/>
              </a:spcBef>
              <a:spcAft>
                <a:spcPct val="0"/>
              </a:spcAft>
              <a:buClrTx/>
              <a:buSzTx/>
              <a:buFontTx/>
              <a:buNone/>
              <a:tabLst/>
              <a:defRPr/>
            </a:pPr>
            <a:r>
              <a:rPr kumimoji="0" lang="en-US" sz="675" b="1" i="0" u="none" strike="noStrike" kern="120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rPr>
              <a:t>LTFU consent (up to 12 months after </a:t>
            </a:r>
            <a:r>
              <a:rPr kumimoji="0" lang="en-US" sz="675" b="1" i="0" u="none" strike="noStrike" kern="1200" cap="none" spc="0" normalizeH="0" baseline="0" noProof="0" dirty="0" err="1">
                <a:ln>
                  <a:noFill/>
                </a:ln>
                <a:solidFill>
                  <a:prstClr val="black"/>
                </a:solidFill>
                <a:effectLst>
                  <a:glow>
                    <a:srgbClr val="000000"/>
                  </a:glow>
                </a:effectLst>
                <a:uLnTx/>
                <a:uFillTx/>
                <a:latin typeface="Garamond" pitchFamily="18" charset="0"/>
                <a:ea typeface="+mn-ea"/>
                <a:cs typeface="Arial" panose="020B0604020202020204" pitchFamily="34" charset="0"/>
              </a:rPr>
              <a:t>liso</a:t>
            </a:r>
            <a:r>
              <a:rPr kumimoji="0" lang="en-US" sz="675" b="1" i="0" u="none" strike="noStrike" kern="120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rPr>
              <a:t>-cel infusion)</a:t>
            </a:r>
            <a:endParaRPr kumimoji="0" lang="en-GB" sz="675" b="1" i="0" u="none" strike="noStrike" kern="120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endParaRPr>
          </a:p>
        </p:txBody>
      </p:sp>
      <p:sp>
        <p:nvSpPr>
          <p:cNvPr id="468" name="TextBox 467">
            <a:extLst>
              <a:ext uri="{FF2B5EF4-FFF2-40B4-BE49-F238E27FC236}">
                <a16:creationId xmlns:a16="http://schemas.microsoft.com/office/drawing/2014/main" id="{F9023AE1-413A-7E6F-1AE6-635CB15F3AFB}"/>
              </a:ext>
            </a:extLst>
          </p:cNvPr>
          <p:cNvSpPr txBox="1"/>
          <p:nvPr/>
        </p:nvSpPr>
        <p:spPr>
          <a:xfrm>
            <a:off x="1956436" y="1878173"/>
            <a:ext cx="227264" cy="126958"/>
          </a:xfrm>
          <a:prstGeom prst="rect">
            <a:avLst/>
          </a:prstGeom>
          <a:noFill/>
        </p:spPr>
        <p:txBody>
          <a:bodyPr wrap="square" lIns="0" tIns="0" rIns="0" bIns="0" rtlCol="0">
            <a:spAutoFit/>
          </a:bodyPr>
          <a:lstStyle/>
          <a:p>
            <a:pPr marL="0" marR="0" lvl="0" indent="0" algn="ctr" defTabSz="257175" rtl="0" eaLnBrk="1" fontAlgn="base" latinLnBrk="0" hangingPunct="1">
              <a:lnSpc>
                <a:spcPct val="100000"/>
              </a:lnSpc>
              <a:spcBef>
                <a:spcPct val="0"/>
              </a:spcBef>
              <a:spcAft>
                <a:spcPct val="0"/>
              </a:spcAft>
              <a:buClrTx/>
              <a:buSzTx/>
              <a:buFontTx/>
              <a:buNone/>
              <a:tabLst/>
              <a:defRPr/>
            </a:pPr>
            <a:r>
              <a:rPr kumimoji="0" lang="en-US" sz="825" b="1" i="0" u="none" strike="noStrike" kern="120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rPr>
              <a:t>(A)</a:t>
            </a:r>
            <a:endParaRPr kumimoji="0" lang="en-GB" sz="825" b="1" i="0" u="none" strike="noStrike" kern="120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endParaRPr>
          </a:p>
        </p:txBody>
      </p:sp>
      <p:grpSp>
        <p:nvGrpSpPr>
          <p:cNvPr id="12" name="Group 11">
            <a:extLst>
              <a:ext uri="{FF2B5EF4-FFF2-40B4-BE49-F238E27FC236}">
                <a16:creationId xmlns:a16="http://schemas.microsoft.com/office/drawing/2014/main" id="{EC0793D5-8E82-A3C5-590C-6CB4ABD6532D}"/>
              </a:ext>
            </a:extLst>
          </p:cNvPr>
          <p:cNvGrpSpPr/>
          <p:nvPr/>
        </p:nvGrpSpPr>
        <p:grpSpPr>
          <a:xfrm>
            <a:off x="1809424" y="1776391"/>
            <a:ext cx="8660456" cy="0"/>
            <a:chOff x="380565" y="1196025"/>
            <a:chExt cx="11547275" cy="0"/>
          </a:xfrm>
        </p:grpSpPr>
        <p:cxnSp>
          <p:nvCxnSpPr>
            <p:cNvPr id="5" name="Shape0_20221025_110436">
              <a:extLst>
                <a:ext uri="{FF2B5EF4-FFF2-40B4-BE49-F238E27FC236}">
                  <a16:creationId xmlns:a16="http://schemas.microsoft.com/office/drawing/2014/main" id="{0DC2F44B-DA15-9FD8-C15B-A6EA94E0F8FE}"/>
                </a:ext>
              </a:extLst>
            </p:cNvPr>
            <p:cNvCxnSpPr>
              <a:cxnSpLocks/>
            </p:cNvCxnSpPr>
            <p:nvPr/>
          </p:nvCxnSpPr>
          <p:spPr>
            <a:xfrm>
              <a:off x="380565" y="1196025"/>
              <a:ext cx="1154727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E8F4249-76B8-B003-FF3D-FDF6C22EBC1F}"/>
                </a:ext>
              </a:extLst>
            </p:cNvPr>
            <p:cNvCxnSpPr>
              <a:cxnSpLocks/>
            </p:cNvCxnSpPr>
            <p:nvPr/>
          </p:nvCxnSpPr>
          <p:spPr>
            <a:xfrm>
              <a:off x="11633835" y="1196025"/>
              <a:ext cx="294005" cy="0"/>
            </a:xfrm>
            <a:prstGeom prst="line">
              <a:avLst/>
            </a:prstGeom>
            <a:ln w="28575" cap="rnd">
              <a:gradFill flip="none" rotWithShape="1">
                <a:gsLst>
                  <a:gs pos="0">
                    <a:srgbClr val="F88D29"/>
                  </a:gs>
                  <a:gs pos="100000">
                    <a:srgbClr val="EF3339"/>
                  </a:gs>
                </a:gsLst>
                <a:lin ang="0" scaled="1"/>
                <a:tileRect/>
              </a:gradFill>
              <a:round/>
            </a:ln>
          </p:spPr>
          <p:style>
            <a:lnRef idx="1">
              <a:schemeClr val="accent1"/>
            </a:lnRef>
            <a:fillRef idx="0">
              <a:schemeClr val="accent1"/>
            </a:fillRef>
            <a:effectRef idx="0">
              <a:schemeClr val="accent1"/>
            </a:effectRef>
            <a:fontRef idx="minor">
              <a:schemeClr val="tx1"/>
            </a:fontRef>
          </p:style>
        </p:cxnSp>
      </p:grpSp>
      <p:sp>
        <p:nvSpPr>
          <p:cNvPr id="16" name="TextBox 15">
            <a:extLst>
              <a:ext uri="{FF2B5EF4-FFF2-40B4-BE49-F238E27FC236}">
                <a16:creationId xmlns:a16="http://schemas.microsoft.com/office/drawing/2014/main" id="{3E8DF982-AF6A-33B5-E12D-C5BD2A65EE82}"/>
              </a:ext>
            </a:extLst>
          </p:cNvPr>
          <p:cNvSpPr txBox="1"/>
          <p:nvPr/>
        </p:nvSpPr>
        <p:spPr>
          <a:xfrm>
            <a:off x="1935481" y="3788163"/>
            <a:ext cx="227264" cy="126958"/>
          </a:xfrm>
          <a:prstGeom prst="rect">
            <a:avLst/>
          </a:prstGeom>
          <a:noFill/>
        </p:spPr>
        <p:txBody>
          <a:bodyPr wrap="square" lIns="0" tIns="0" rIns="0" bIns="0" rtlCol="0">
            <a:spAutoFit/>
          </a:bodyPr>
          <a:lstStyle/>
          <a:p>
            <a:pPr marL="0" marR="0" lvl="0" indent="0" algn="ctr" defTabSz="257175" rtl="0" eaLnBrk="1" fontAlgn="base" latinLnBrk="0" hangingPunct="1">
              <a:lnSpc>
                <a:spcPct val="100000"/>
              </a:lnSpc>
              <a:spcBef>
                <a:spcPct val="0"/>
              </a:spcBef>
              <a:spcAft>
                <a:spcPct val="0"/>
              </a:spcAft>
              <a:buClrTx/>
              <a:buSzTx/>
              <a:buFontTx/>
              <a:buNone/>
              <a:tabLst/>
              <a:defRPr/>
            </a:pPr>
            <a:r>
              <a:rPr kumimoji="0" lang="en-US" sz="825" b="1" i="0" u="none" strike="noStrike" kern="120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rPr>
              <a:t>(B)</a:t>
            </a:r>
            <a:endParaRPr kumimoji="0" lang="en-GB" sz="825" b="1" i="0" u="none" strike="noStrike" kern="1200" cap="none" spc="0" normalizeH="0" baseline="0" noProof="0" dirty="0">
              <a:ln>
                <a:noFill/>
              </a:ln>
              <a:solidFill>
                <a:prstClr val="black"/>
              </a:solidFill>
              <a:effectLst>
                <a:glow>
                  <a:srgbClr val="000000"/>
                </a:glow>
              </a:effectLst>
              <a:uLnTx/>
              <a:uFillTx/>
              <a:latin typeface="Garamond" pitchFamily="18" charset="0"/>
              <a:ea typeface="+mn-ea"/>
              <a:cs typeface="Arial" panose="020B0604020202020204" pitchFamily="34" charset="0"/>
            </a:endParaRPr>
          </a:p>
        </p:txBody>
      </p:sp>
      <p:sp>
        <p:nvSpPr>
          <p:cNvPr id="33" name="Rectangle 32">
            <a:extLst>
              <a:ext uri="{FF2B5EF4-FFF2-40B4-BE49-F238E27FC236}">
                <a16:creationId xmlns:a16="http://schemas.microsoft.com/office/drawing/2014/main" id="{0A077A78-0B60-6DB5-644F-2D27C12AE753}"/>
              </a:ext>
            </a:extLst>
          </p:cNvPr>
          <p:cNvSpPr/>
          <p:nvPr/>
        </p:nvSpPr>
        <p:spPr>
          <a:xfrm>
            <a:off x="9740040" y="3045463"/>
            <a:ext cx="702141" cy="25720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08E0C69B-46C4-6BBE-2972-AA5E934BE11C}"/>
              </a:ext>
            </a:extLst>
          </p:cNvPr>
          <p:cNvSpPr/>
          <p:nvPr/>
        </p:nvSpPr>
        <p:spPr>
          <a:xfrm>
            <a:off x="9740040" y="4947592"/>
            <a:ext cx="702141" cy="25720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EBDB65BC-090D-8E96-EB9B-81500D6BD099}"/>
              </a:ext>
            </a:extLst>
          </p:cNvPr>
          <p:cNvSpPr txBox="1"/>
          <p:nvPr/>
        </p:nvSpPr>
        <p:spPr>
          <a:xfrm>
            <a:off x="6623353" y="2553739"/>
            <a:ext cx="3846528" cy="369332"/>
          </a:xfrm>
          <a:prstGeom prst="rect">
            <a:avLst/>
          </a:prstGeom>
          <a:noFill/>
          <a:ln w="38100">
            <a:solidFill>
              <a:srgbClr val="C00000"/>
            </a:solidFill>
          </a:ln>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
        <p:nvSpPr>
          <p:cNvPr id="22" name="TextBox 21">
            <a:extLst>
              <a:ext uri="{FF2B5EF4-FFF2-40B4-BE49-F238E27FC236}">
                <a16:creationId xmlns:a16="http://schemas.microsoft.com/office/drawing/2014/main" id="{8AFBDD68-A9CF-0955-01E4-2A7378A1971A}"/>
              </a:ext>
            </a:extLst>
          </p:cNvPr>
          <p:cNvSpPr txBox="1"/>
          <p:nvPr/>
        </p:nvSpPr>
        <p:spPr>
          <a:xfrm>
            <a:off x="6638197" y="4484065"/>
            <a:ext cx="3846528" cy="369332"/>
          </a:xfrm>
          <a:prstGeom prst="rect">
            <a:avLst/>
          </a:prstGeom>
          <a:noFill/>
          <a:ln w="38100">
            <a:solidFill>
              <a:srgbClr val="C00000"/>
            </a:solidFill>
          </a:ln>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Tree>
    <p:extLst>
      <p:ext uri="{BB962C8B-B14F-4D97-AF65-F5344CB8AC3E}">
        <p14:creationId xmlns:p14="http://schemas.microsoft.com/office/powerpoint/2010/main" val="38713212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29760"/>
            <a:ext cx="10358967" cy="1383015"/>
          </a:xfrm>
        </p:spPr>
        <p:txBody>
          <a:bodyPr/>
          <a:lstStyle/>
          <a:p>
            <a:r>
              <a:rPr lang="en-US" sz="3200" dirty="0">
                <a:solidFill>
                  <a:srgbClr val="0432FF"/>
                </a:solidFill>
              </a:rPr>
              <a:t>Dr Brody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1967998236"/>
              </p:ext>
            </p:extLst>
          </p:nvPr>
        </p:nvGraphicFramePr>
        <p:xfrm>
          <a:off x="983432" y="1973977"/>
          <a:ext cx="10225136" cy="1383016"/>
        </p:xfrm>
        <a:graphic>
          <a:graphicData uri="http://schemas.openxmlformats.org/drawingml/2006/table">
            <a:tbl>
              <a:tblPr firstRow="1" bandRow="1">
                <a:tableStyleId>{F2DE63D5-997A-4646-A377-4702673A728D}</a:tableStyleId>
              </a:tblPr>
              <a:tblGrid>
                <a:gridCol w="10225136">
                  <a:extLst>
                    <a:ext uri="{9D8B030D-6E8A-4147-A177-3AD203B41FA5}">
                      <a16:colId xmlns:a16="http://schemas.microsoft.com/office/drawing/2014/main" val="20000"/>
                    </a:ext>
                  </a:extLst>
                </a:gridCol>
              </a:tblGrid>
              <a:tr h="1383016">
                <a:tc>
                  <a:txBody>
                    <a:bodyPr/>
                    <a:lstStyle/>
                    <a:p>
                      <a:pPr algn="ctr"/>
                      <a:r>
                        <a:rPr lang="en-US" sz="1800" b="0" kern="1200" dirty="0">
                          <a:solidFill>
                            <a:schemeClr val="tx1"/>
                          </a:solidFill>
                          <a:effectLst/>
                          <a:latin typeface="+mn-lt"/>
                          <a:ea typeface="+mn-ea"/>
                          <a:cs typeface="+mn-cs"/>
                        </a:rPr>
                        <a:t>No relevant financial relationships to disclos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37277313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2CC96E7-C118-6A0B-F520-1BCCF8DD4884}"/>
              </a:ext>
            </a:extLst>
          </p:cNvPr>
          <p:cNvSpPr>
            <a:spLocks noGrp="1"/>
          </p:cNvSpPr>
          <p:nvPr>
            <p:ph type="title"/>
          </p:nvPr>
        </p:nvSpPr>
        <p:spPr>
          <a:xfrm>
            <a:off x="743709" y="0"/>
            <a:ext cx="10515600" cy="891107"/>
          </a:xfrm>
        </p:spPr>
        <p:txBody>
          <a:bodyPr>
            <a:normAutofit/>
          </a:bodyPr>
          <a:lstStyle/>
          <a:p>
            <a:r>
              <a:rPr lang="en-US">
                <a:latin typeface="Arial" panose="020B0604020202020204" pitchFamily="34" charset="0"/>
                <a:cs typeface="Arial" panose="020B0604020202020204" pitchFamily="34" charset="0"/>
              </a:rPr>
              <a:t>Patient-reported outcomes</a:t>
            </a:r>
          </a:p>
        </p:txBody>
      </p:sp>
      <p:sp>
        <p:nvSpPr>
          <p:cNvPr id="4" name="Content Placeholder 3">
            <a:extLst>
              <a:ext uri="{FF2B5EF4-FFF2-40B4-BE49-F238E27FC236}">
                <a16:creationId xmlns:a16="http://schemas.microsoft.com/office/drawing/2014/main" id="{033F2C5C-1B6B-B0FB-C019-AAFD7230BFA0}"/>
              </a:ext>
            </a:extLst>
          </p:cNvPr>
          <p:cNvSpPr>
            <a:spLocks noGrp="1"/>
          </p:cNvSpPr>
          <p:nvPr>
            <p:ph sz="quarter" idx="14"/>
          </p:nvPr>
        </p:nvSpPr>
        <p:spPr>
          <a:xfrm>
            <a:off x="743709" y="5806757"/>
            <a:ext cx="10872787" cy="81817"/>
          </a:xfrm>
        </p:spPr>
        <p:txBody>
          <a:bodyPr>
            <a:noAutofit/>
          </a:bodyPr>
          <a:lstStyle/>
          <a:p>
            <a:endParaRPr lang="en-US" sz="675" dirty="0">
              <a:latin typeface="Arial" panose="020B0604020202020204" pitchFamily="34" charset="0"/>
              <a:cs typeface="Arial" panose="020B0604020202020204" pitchFamily="34" charset="0"/>
            </a:endParaRPr>
          </a:p>
          <a:p>
            <a:r>
              <a:rPr lang="da-DK" sz="675" dirty="0">
                <a:latin typeface="Arial" panose="020B0604020202020204" pitchFamily="34" charset="0"/>
                <a:cs typeface="Arial" panose="020B0604020202020204" pitchFamily="34" charset="0"/>
              </a:rPr>
              <a:t>ASCT, </a:t>
            </a:r>
            <a:r>
              <a:rPr lang="da-DK" sz="675" dirty="0" err="1">
                <a:latin typeface="Arial" panose="020B0604020202020204" pitchFamily="34" charset="0"/>
                <a:cs typeface="Arial" panose="020B0604020202020204" pitchFamily="34" charset="0"/>
              </a:rPr>
              <a:t>autologous</a:t>
            </a:r>
            <a:r>
              <a:rPr lang="da-DK" sz="675" dirty="0">
                <a:latin typeface="Arial" panose="020B0604020202020204" pitchFamily="34" charset="0"/>
                <a:cs typeface="Arial" panose="020B0604020202020204" pitchFamily="34" charset="0"/>
              </a:rPr>
              <a:t> stem </a:t>
            </a:r>
            <a:r>
              <a:rPr lang="da-DK" sz="675" dirty="0" err="1">
                <a:latin typeface="Arial" panose="020B0604020202020204" pitchFamily="34" charset="0"/>
                <a:cs typeface="Arial" panose="020B0604020202020204" pitchFamily="34" charset="0"/>
              </a:rPr>
              <a:t>cell</a:t>
            </a:r>
            <a:r>
              <a:rPr lang="da-DK" sz="675" dirty="0">
                <a:latin typeface="Arial" panose="020B0604020202020204" pitchFamily="34" charset="0"/>
                <a:cs typeface="Arial" panose="020B0604020202020204" pitchFamily="34" charset="0"/>
              </a:rPr>
              <a:t> </a:t>
            </a:r>
            <a:r>
              <a:rPr lang="da-DK" sz="675" dirty="0" err="1">
                <a:latin typeface="Arial" panose="020B0604020202020204" pitchFamily="34" charset="0"/>
                <a:cs typeface="Arial" panose="020B0604020202020204" pitchFamily="34" charset="0"/>
              </a:rPr>
              <a:t>transplant</a:t>
            </a:r>
            <a:r>
              <a:rPr lang="da-DK" sz="675" dirty="0">
                <a:latin typeface="Arial" panose="020B0604020202020204" pitchFamily="34" charset="0"/>
                <a:cs typeface="Arial" panose="020B0604020202020204" pitchFamily="34" charset="0"/>
              </a:rPr>
              <a:t>; </a:t>
            </a:r>
            <a:r>
              <a:rPr lang="da-DK" sz="675" dirty="0" err="1">
                <a:latin typeface="Arial" panose="020B0604020202020204" pitchFamily="34" charset="0"/>
                <a:cs typeface="Arial" panose="020B0604020202020204" pitchFamily="34" charset="0"/>
              </a:rPr>
              <a:t>axi-cel</a:t>
            </a:r>
            <a:r>
              <a:rPr lang="da-DK" sz="675" dirty="0">
                <a:latin typeface="Arial" panose="020B0604020202020204" pitchFamily="34" charset="0"/>
                <a:cs typeface="Arial" panose="020B0604020202020204" pitchFamily="34" charset="0"/>
              </a:rPr>
              <a:t>, </a:t>
            </a:r>
            <a:r>
              <a:rPr lang="da-DK" sz="675" dirty="0" err="1">
                <a:latin typeface="Arial" panose="020B0604020202020204" pitchFamily="34" charset="0"/>
                <a:cs typeface="Arial" panose="020B0604020202020204" pitchFamily="34" charset="0"/>
              </a:rPr>
              <a:t>axicabtagene</a:t>
            </a:r>
            <a:r>
              <a:rPr lang="da-DK" sz="675" dirty="0">
                <a:latin typeface="Arial" panose="020B0604020202020204" pitchFamily="34" charset="0"/>
                <a:cs typeface="Arial" panose="020B0604020202020204" pitchFamily="34" charset="0"/>
              </a:rPr>
              <a:t> </a:t>
            </a:r>
            <a:r>
              <a:rPr lang="da-DK" sz="675" dirty="0" err="1">
                <a:latin typeface="Arial" panose="020B0604020202020204" pitchFamily="34" charset="0"/>
                <a:cs typeface="Arial" panose="020B0604020202020204" pitchFamily="34" charset="0"/>
              </a:rPr>
              <a:t>ciloleucel</a:t>
            </a:r>
            <a:r>
              <a:rPr lang="da-DK" sz="675" dirty="0">
                <a:latin typeface="Arial" panose="020B0604020202020204" pitchFamily="34" charset="0"/>
                <a:cs typeface="Arial" panose="020B0604020202020204" pitchFamily="34" charset="0"/>
              </a:rPr>
              <a:t>; CAR, </a:t>
            </a:r>
            <a:r>
              <a:rPr lang="da-DK" sz="675" dirty="0" err="1">
                <a:latin typeface="Arial" panose="020B0604020202020204" pitchFamily="34" charset="0"/>
                <a:cs typeface="Arial" panose="020B0604020202020204" pitchFamily="34" charset="0"/>
              </a:rPr>
              <a:t>chimeric</a:t>
            </a:r>
            <a:r>
              <a:rPr lang="da-DK" sz="675" dirty="0">
                <a:latin typeface="Arial" panose="020B0604020202020204" pitchFamily="34" charset="0"/>
                <a:cs typeface="Arial" panose="020B0604020202020204" pitchFamily="34" charset="0"/>
              </a:rPr>
              <a:t> antigen receptor; DLBCL, diffuse large B-</a:t>
            </a:r>
            <a:r>
              <a:rPr lang="da-DK" sz="675" dirty="0" err="1">
                <a:latin typeface="Arial" panose="020B0604020202020204" pitchFamily="34" charset="0"/>
                <a:cs typeface="Arial" panose="020B0604020202020204" pitchFamily="34" charset="0"/>
              </a:rPr>
              <a:t>cell</a:t>
            </a:r>
            <a:r>
              <a:rPr lang="da-DK" sz="675" dirty="0">
                <a:latin typeface="Arial" panose="020B0604020202020204" pitchFamily="34" charset="0"/>
                <a:cs typeface="Arial" panose="020B0604020202020204" pitchFamily="34" charset="0"/>
              </a:rPr>
              <a:t> </a:t>
            </a:r>
            <a:r>
              <a:rPr lang="da-DK" sz="675" dirty="0" err="1">
                <a:latin typeface="Arial" panose="020B0604020202020204" pitchFamily="34" charset="0"/>
                <a:cs typeface="Arial" panose="020B0604020202020204" pitchFamily="34" charset="0"/>
              </a:rPr>
              <a:t>lymphoma</a:t>
            </a:r>
            <a:r>
              <a:rPr lang="da-DK" sz="675" dirty="0">
                <a:latin typeface="Arial" panose="020B0604020202020204" pitchFamily="34" charset="0"/>
                <a:cs typeface="Arial" panose="020B0604020202020204" pitchFamily="34" charset="0"/>
              </a:rPr>
              <a:t>; LBCL, large B-</a:t>
            </a:r>
            <a:r>
              <a:rPr lang="da-DK" sz="675" dirty="0" err="1">
                <a:latin typeface="Arial" panose="020B0604020202020204" pitchFamily="34" charset="0"/>
                <a:cs typeface="Arial" panose="020B0604020202020204" pitchFamily="34" charset="0"/>
              </a:rPr>
              <a:t>cell</a:t>
            </a:r>
            <a:r>
              <a:rPr lang="da-DK" sz="675" dirty="0">
                <a:latin typeface="Arial" panose="020B0604020202020204" pitchFamily="34" charset="0"/>
                <a:cs typeface="Arial" panose="020B0604020202020204" pitchFamily="34" charset="0"/>
              </a:rPr>
              <a:t> </a:t>
            </a:r>
            <a:r>
              <a:rPr lang="da-DK" sz="675" dirty="0" err="1">
                <a:latin typeface="Arial" panose="020B0604020202020204" pitchFamily="34" charset="0"/>
                <a:cs typeface="Arial" panose="020B0604020202020204" pitchFamily="34" charset="0"/>
              </a:rPr>
              <a:t>lymphoma</a:t>
            </a:r>
            <a:r>
              <a:rPr lang="da-DK" sz="675" dirty="0">
                <a:latin typeface="Arial" panose="020B0604020202020204" pitchFamily="34" charset="0"/>
                <a:cs typeface="Arial" panose="020B0604020202020204" pitchFamily="34" charset="0"/>
              </a:rPr>
              <a:t>; R/R, </a:t>
            </a:r>
            <a:r>
              <a:rPr lang="da-DK" sz="675" dirty="0" err="1">
                <a:latin typeface="Arial" panose="020B0604020202020204" pitchFamily="34" charset="0"/>
                <a:cs typeface="Arial" panose="020B0604020202020204" pitchFamily="34" charset="0"/>
              </a:rPr>
              <a:t>relapsed</a:t>
            </a:r>
            <a:r>
              <a:rPr lang="da-DK" sz="675" dirty="0">
                <a:latin typeface="Arial" panose="020B0604020202020204" pitchFamily="34" charset="0"/>
                <a:cs typeface="Arial" panose="020B0604020202020204" pitchFamily="34" charset="0"/>
              </a:rPr>
              <a:t> or </a:t>
            </a:r>
            <a:r>
              <a:rPr lang="da-DK" sz="675" dirty="0" err="1">
                <a:latin typeface="Arial" panose="020B0604020202020204" pitchFamily="34" charset="0"/>
                <a:cs typeface="Arial" panose="020B0604020202020204" pitchFamily="34" charset="0"/>
              </a:rPr>
              <a:t>refractory</a:t>
            </a:r>
            <a:r>
              <a:rPr lang="da-DK" sz="675" dirty="0">
                <a:latin typeface="Arial" panose="020B0604020202020204" pitchFamily="34" charset="0"/>
                <a:cs typeface="Arial" panose="020B0604020202020204" pitchFamily="34" charset="0"/>
              </a:rPr>
              <a:t>.</a:t>
            </a:r>
            <a:br>
              <a:rPr lang="da-DK" sz="675" dirty="0">
                <a:latin typeface="Arial" panose="020B0604020202020204" pitchFamily="34" charset="0"/>
                <a:cs typeface="Arial" panose="020B0604020202020204" pitchFamily="34" charset="0"/>
              </a:rPr>
            </a:br>
            <a:r>
              <a:rPr lang="da-DK" sz="675" dirty="0">
                <a:latin typeface="Arial" panose="020B0604020202020204" pitchFamily="34" charset="0"/>
                <a:cs typeface="Arial" panose="020B0604020202020204" pitchFamily="34" charset="0"/>
              </a:rPr>
              <a:t>1. Abramson J, et al. Blood </a:t>
            </a:r>
            <a:r>
              <a:rPr lang="da-DK" sz="675" dirty="0" err="1">
                <a:latin typeface="Arial" panose="020B0604020202020204" pitchFamily="34" charset="0"/>
                <a:cs typeface="Arial" panose="020B0604020202020204" pitchFamily="34" charset="0"/>
              </a:rPr>
              <a:t>Adv</a:t>
            </a:r>
            <a:r>
              <a:rPr lang="da-DK" sz="675" dirty="0">
                <a:latin typeface="Arial" panose="020B0604020202020204" pitchFamily="34" charset="0"/>
                <a:cs typeface="Arial" panose="020B0604020202020204" pitchFamily="34" charset="0"/>
              </a:rPr>
              <a:t> 2022;6:23:5969—5979. 2. </a:t>
            </a:r>
            <a:r>
              <a:rPr lang="da-DK" sz="675" dirty="0" err="1">
                <a:latin typeface="Arial" panose="020B0604020202020204" pitchFamily="34" charset="0"/>
                <a:cs typeface="Arial" panose="020B0604020202020204" pitchFamily="34" charset="0"/>
              </a:rPr>
              <a:t>Elsawy</a:t>
            </a:r>
            <a:r>
              <a:rPr lang="da-DK" sz="675" dirty="0">
                <a:latin typeface="Arial" panose="020B0604020202020204" pitchFamily="34" charset="0"/>
                <a:cs typeface="Arial" panose="020B0604020202020204" pitchFamily="34" charset="0"/>
              </a:rPr>
              <a:t> M, et al. Blood 2022;140:2248—2260. 3. Lisocabtagene maraleucel PI 2026. Axicabtagene ciloleucel PI. 2026. </a:t>
            </a:r>
            <a:br>
              <a:rPr lang="da-DK" sz="675" dirty="0">
                <a:latin typeface="Arial" panose="020B0604020202020204" pitchFamily="34" charset="0"/>
                <a:cs typeface="Arial" panose="020B0604020202020204" pitchFamily="34" charset="0"/>
              </a:rPr>
            </a:br>
            <a:r>
              <a:rPr lang="da-DK" sz="675" dirty="0">
                <a:latin typeface="Arial" panose="020B0604020202020204" pitchFamily="34" charset="0"/>
                <a:cs typeface="Arial" panose="020B0604020202020204" pitchFamily="34" charset="0"/>
              </a:rPr>
              <a:t>4. Axicabtagene ciloleucel. Summary of product </a:t>
            </a:r>
            <a:r>
              <a:rPr lang="da-DK" sz="675" dirty="0" err="1">
                <a:latin typeface="Arial" panose="020B0604020202020204" pitchFamily="34" charset="0"/>
                <a:cs typeface="Arial" panose="020B0604020202020204" pitchFamily="34" charset="0"/>
              </a:rPr>
              <a:t>characteristics</a:t>
            </a:r>
            <a:r>
              <a:rPr lang="da-DK" sz="675" dirty="0">
                <a:latin typeface="Arial" panose="020B0604020202020204" pitchFamily="34" charset="0"/>
                <a:cs typeface="Arial" panose="020B0604020202020204" pitchFamily="34" charset="0"/>
              </a:rPr>
              <a:t>. </a:t>
            </a:r>
            <a:r>
              <a:rPr lang="da-DK" sz="675" dirty="0" err="1">
                <a:latin typeface="Arial" panose="020B0604020202020204" pitchFamily="34" charset="0"/>
                <a:cs typeface="Arial" panose="020B0604020202020204" pitchFamily="34" charset="0"/>
              </a:rPr>
              <a:t>Giliead</a:t>
            </a:r>
            <a:r>
              <a:rPr lang="da-DK" sz="675" dirty="0">
                <a:latin typeface="Arial" panose="020B0604020202020204" pitchFamily="34" charset="0"/>
                <a:cs typeface="Arial" panose="020B0604020202020204" pitchFamily="34" charset="0"/>
              </a:rPr>
              <a:t> Sciences; 2024.  </a:t>
            </a:r>
          </a:p>
        </p:txBody>
      </p:sp>
      <p:sp>
        <p:nvSpPr>
          <p:cNvPr id="7" name="TextBox 6">
            <a:extLst>
              <a:ext uri="{FF2B5EF4-FFF2-40B4-BE49-F238E27FC236}">
                <a16:creationId xmlns:a16="http://schemas.microsoft.com/office/drawing/2014/main" id="{B7C75C53-498C-5BA4-D568-ED01EB8926C2}"/>
              </a:ext>
            </a:extLst>
          </p:cNvPr>
          <p:cNvSpPr txBox="1"/>
          <p:nvPr/>
        </p:nvSpPr>
        <p:spPr>
          <a:xfrm>
            <a:off x="2095722" y="4630224"/>
            <a:ext cx="8059515" cy="584775"/>
          </a:xfrm>
          <a:prstGeom prst="rect">
            <a:avLst/>
          </a:prstGeom>
          <a:solidFill>
            <a:schemeClr val="accent6">
              <a:lumMod val="20000"/>
              <a:lumOff val="80000"/>
            </a:schemeClr>
          </a:solidFill>
          <a:ln>
            <a:solidFill>
              <a:schemeClr val="tx1"/>
            </a:solidFill>
          </a:ln>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ext question: What about transplant ineligible YET CAR-eligible patients with R/R LBCL?</a:t>
            </a:r>
          </a:p>
        </p:txBody>
      </p:sp>
      <p:pic>
        <p:nvPicPr>
          <p:cNvPr id="13" name="Picture 12" descr="A close-up of a red and white card&#10;&#10;Description automatically generated">
            <a:extLst>
              <a:ext uri="{FF2B5EF4-FFF2-40B4-BE49-F238E27FC236}">
                <a16:creationId xmlns:a16="http://schemas.microsoft.com/office/drawing/2014/main" id="{33654634-DB20-4F57-45EA-F2982AA69399}"/>
              </a:ext>
            </a:extLst>
          </p:cNvPr>
          <p:cNvPicPr>
            <a:picLocks noChangeAspect="1"/>
          </p:cNvPicPr>
          <p:nvPr/>
        </p:nvPicPr>
        <p:blipFill>
          <a:blip r:embed="rId3"/>
          <a:stretch>
            <a:fillRect/>
          </a:stretch>
        </p:blipFill>
        <p:spPr>
          <a:xfrm>
            <a:off x="6048339" y="1365730"/>
            <a:ext cx="4100511" cy="1630095"/>
          </a:xfrm>
          <a:prstGeom prst="rect">
            <a:avLst/>
          </a:prstGeom>
        </p:spPr>
      </p:pic>
      <p:pic>
        <p:nvPicPr>
          <p:cNvPr id="15" name="Picture 14" descr="A blue and white flag&#10;&#10;Description automatically generated">
            <a:extLst>
              <a:ext uri="{FF2B5EF4-FFF2-40B4-BE49-F238E27FC236}">
                <a16:creationId xmlns:a16="http://schemas.microsoft.com/office/drawing/2014/main" id="{802C1232-A8CD-5BC0-D6C4-6FEBF4C237D5}"/>
              </a:ext>
            </a:extLst>
          </p:cNvPr>
          <p:cNvPicPr>
            <a:picLocks noChangeAspect="1"/>
          </p:cNvPicPr>
          <p:nvPr/>
        </p:nvPicPr>
        <p:blipFill>
          <a:blip r:embed="rId4"/>
          <a:stretch>
            <a:fillRect/>
          </a:stretch>
        </p:blipFill>
        <p:spPr>
          <a:xfrm>
            <a:off x="2080183" y="1365730"/>
            <a:ext cx="4045297" cy="1630095"/>
          </a:xfrm>
          <a:prstGeom prst="rect">
            <a:avLst/>
          </a:prstGeom>
        </p:spPr>
      </p:pic>
      <p:sp>
        <p:nvSpPr>
          <p:cNvPr id="2" name="TextBox 1">
            <a:extLst>
              <a:ext uri="{FF2B5EF4-FFF2-40B4-BE49-F238E27FC236}">
                <a16:creationId xmlns:a16="http://schemas.microsoft.com/office/drawing/2014/main" id="{DDAF83FB-AD14-A73F-04D9-9756B4CA3932}"/>
              </a:ext>
            </a:extLst>
          </p:cNvPr>
          <p:cNvSpPr txBox="1"/>
          <p:nvPr/>
        </p:nvSpPr>
        <p:spPr>
          <a:xfrm>
            <a:off x="3131952" y="4334656"/>
            <a:ext cx="184731" cy="300082"/>
          </a:xfrm>
          <a:prstGeom prst="rect">
            <a:avLst/>
          </a:prstGeom>
          <a:noFill/>
        </p:spPr>
        <p:txBody>
          <a:bodyPr wrap="none" rtlCol="0">
            <a:spAutoFit/>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F7ACD03D-25CC-59D0-552C-984900149353}"/>
              </a:ext>
            </a:extLst>
          </p:cNvPr>
          <p:cNvSpPr txBox="1"/>
          <p:nvPr/>
        </p:nvSpPr>
        <p:spPr>
          <a:xfrm>
            <a:off x="2657200" y="3976758"/>
            <a:ext cx="7670754" cy="300082"/>
          </a:xfrm>
          <a:prstGeom prst="rect">
            <a:avLst/>
          </a:prstGeom>
          <a:noFill/>
        </p:spPr>
        <p:txBody>
          <a:bodyPr wrap="none" rtlCol="0">
            <a:spAutoFit/>
          </a:bodyPr>
          <a:lstStyle/>
          <a:p>
            <a:pPr marL="0" marR="0" lvl="0" indent="0" algn="l" defTabSz="342900" rtl="0" eaLnBrk="1" fontAlgn="base" latinLnBrk="0" hangingPunct="1">
              <a:lnSpc>
                <a:spcPct val="100000"/>
              </a:lnSpc>
              <a:spcBef>
                <a:spcPct val="0"/>
              </a:spcBef>
              <a:spcAft>
                <a:spcPct val="0"/>
              </a:spcAft>
              <a:buClrTx/>
              <a:buSzTx/>
              <a:buFontTx/>
              <a:buNone/>
              <a:tabLst/>
              <a:defRPr/>
            </a:pPr>
            <a:r>
              <a:rPr kumimoji="0" lang="en-US" sz="13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iso-cel and axi-cel were approved for transplant-eligible high-risk DLBCL in first relapse</a:t>
            </a:r>
            <a:r>
              <a:rPr kumimoji="0" lang="en-US" sz="1350" b="1"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3,4</a:t>
            </a:r>
            <a:endParaRPr kumimoji="0" lang="en-US" sz="13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BD6F00ED-F702-ADB1-4E70-8AAD096C3A9C}"/>
              </a:ext>
            </a:extLst>
          </p:cNvPr>
          <p:cNvSpPr txBox="1"/>
          <p:nvPr/>
        </p:nvSpPr>
        <p:spPr>
          <a:xfrm>
            <a:off x="2438401" y="3081179"/>
            <a:ext cx="7702897" cy="715581"/>
          </a:xfrm>
          <a:prstGeom prst="rect">
            <a:avLst/>
          </a:prstGeom>
          <a:noFill/>
        </p:spPr>
        <p:txBody>
          <a:bodyPr wrap="square">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3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TRANSFORM and ZUMA-7</a:t>
            </a:r>
            <a:r>
              <a:rPr kumimoji="0" lang="en-US" sz="135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3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ials showed clinically meaningful improvement in quality of life for patients randomized to CAR T-cell therapy compared with ASCT</a:t>
            </a:r>
            <a:r>
              <a:rPr kumimoji="0" lang="en-US" sz="135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2</a:t>
            </a:r>
            <a:r>
              <a:rPr kumimoji="0" lang="en-US" sz="13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p:txBody>
      </p:sp>
      <p:sp>
        <p:nvSpPr>
          <p:cNvPr id="11" name="Rectangle 10">
            <a:extLst>
              <a:ext uri="{FF2B5EF4-FFF2-40B4-BE49-F238E27FC236}">
                <a16:creationId xmlns:a16="http://schemas.microsoft.com/office/drawing/2014/main" id="{9033BA03-4E6F-AB97-556B-8414767F9D97}"/>
              </a:ext>
            </a:extLst>
          </p:cNvPr>
          <p:cNvSpPr/>
          <p:nvPr/>
        </p:nvSpPr>
        <p:spPr>
          <a:xfrm>
            <a:off x="2081783" y="1365730"/>
            <a:ext cx="8059515" cy="1630095"/>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367688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Flowchart: Process 6">
            <a:extLst>
              <a:ext uri="{FF2B5EF4-FFF2-40B4-BE49-F238E27FC236}">
                <a16:creationId xmlns:a16="http://schemas.microsoft.com/office/drawing/2014/main" id="{20A58A99-F9EE-6BFB-DF40-98992B64008B}"/>
              </a:ext>
            </a:extLst>
          </p:cNvPr>
          <p:cNvSpPr/>
          <p:nvPr/>
        </p:nvSpPr>
        <p:spPr>
          <a:xfrm>
            <a:off x="1885642" y="1572400"/>
            <a:ext cx="3722201" cy="2570400"/>
          </a:xfrm>
          <a:prstGeom prst="flowChartProcess">
            <a:avLst/>
          </a:prstGeom>
          <a:solidFill>
            <a:schemeClr val="bg1"/>
          </a:solidFill>
          <a:ln>
            <a:noFill/>
          </a:ln>
          <a:effectLst>
            <a:outerShdw blurRad="50800" dist="38100" algn="l" rotWithShape="0">
              <a:prstClr val="black">
                <a:alpha val="40000"/>
              </a:prstClr>
            </a:outerShdw>
          </a:effectLst>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9CCE44AB-D011-24F8-736C-6706435D1D1C}"/>
              </a:ext>
            </a:extLst>
          </p:cNvPr>
          <p:cNvSpPr>
            <a:spLocks noGrp="1"/>
          </p:cNvSpPr>
          <p:nvPr>
            <p:ph type="title"/>
          </p:nvPr>
        </p:nvSpPr>
        <p:spPr>
          <a:xfrm>
            <a:off x="1688124" y="153525"/>
            <a:ext cx="8280359" cy="891107"/>
          </a:xfrm>
        </p:spPr>
        <p:txBody>
          <a:bodyPr>
            <a:noAutofit/>
          </a:bodyPr>
          <a:lstStyle/>
          <a:p>
            <a:r>
              <a:rPr lang="en-US" dirty="0">
                <a:latin typeface="Arial" panose="020B0604020202020204" pitchFamily="34" charset="0"/>
                <a:cs typeface="Arial" panose="020B0604020202020204" pitchFamily="34" charset="0"/>
              </a:rPr>
              <a:t>PILOT study : Liso-cel demonstrated outcomes comparable to those in TRANSFORM in an ASCT-ineligible population </a:t>
            </a:r>
            <a:endParaRPr lang="en-GB" dirty="0">
              <a:latin typeface="Arial" panose="020B0604020202020204" pitchFamily="34" charset="0"/>
              <a:cs typeface="Arial" panose="020B0604020202020204" pitchFamily="34" charset="0"/>
            </a:endParaRPr>
          </a:p>
        </p:txBody>
      </p:sp>
      <p:sp>
        <p:nvSpPr>
          <p:cNvPr id="8" name="Flowchart: Process 7">
            <a:extLst>
              <a:ext uri="{FF2B5EF4-FFF2-40B4-BE49-F238E27FC236}">
                <a16:creationId xmlns:a16="http://schemas.microsoft.com/office/drawing/2014/main" id="{7906AE96-E964-FBAF-FDB7-6FACBC042B1B}"/>
              </a:ext>
            </a:extLst>
          </p:cNvPr>
          <p:cNvSpPr/>
          <p:nvPr/>
        </p:nvSpPr>
        <p:spPr>
          <a:xfrm>
            <a:off x="1968062" y="1628052"/>
            <a:ext cx="1542040" cy="306710"/>
          </a:xfrm>
          <a:prstGeom prst="flowChartProcess">
            <a:avLst/>
          </a:prstGeom>
          <a:solidFill>
            <a:schemeClr val="accent1"/>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ILOT</a:t>
            </a:r>
            <a:endParaRPr kumimoji="0" lang="en-GB"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aphicFrame>
        <p:nvGraphicFramePr>
          <p:cNvPr id="59" name="Table 14">
            <a:extLst>
              <a:ext uri="{FF2B5EF4-FFF2-40B4-BE49-F238E27FC236}">
                <a16:creationId xmlns:a16="http://schemas.microsoft.com/office/drawing/2014/main" id="{08E82289-E844-BFBF-2AE1-26FF8F601129}"/>
              </a:ext>
            </a:extLst>
          </p:cNvPr>
          <p:cNvGraphicFramePr>
            <a:graphicFrameLocks/>
          </p:cNvGraphicFramePr>
          <p:nvPr/>
        </p:nvGraphicFramePr>
        <p:xfrm>
          <a:off x="3558194" y="1628902"/>
          <a:ext cx="2006299" cy="1983458"/>
        </p:xfrm>
        <a:graphic>
          <a:graphicData uri="http://schemas.openxmlformats.org/drawingml/2006/table">
            <a:tbl>
              <a:tblPr firstRow="1" bandRow="1">
                <a:tableStyleId>{5C22544A-7EE6-4342-B048-85BDC9FD1C3A}</a:tableStyleId>
              </a:tblPr>
              <a:tblGrid>
                <a:gridCol w="1183604">
                  <a:extLst>
                    <a:ext uri="{9D8B030D-6E8A-4147-A177-3AD203B41FA5}">
                      <a16:colId xmlns:a16="http://schemas.microsoft.com/office/drawing/2014/main" val="3596715461"/>
                    </a:ext>
                  </a:extLst>
                </a:gridCol>
                <a:gridCol w="822695">
                  <a:extLst>
                    <a:ext uri="{9D8B030D-6E8A-4147-A177-3AD203B41FA5}">
                      <a16:colId xmlns:a16="http://schemas.microsoft.com/office/drawing/2014/main" val="823807203"/>
                    </a:ext>
                  </a:extLst>
                </a:gridCol>
              </a:tblGrid>
              <a:tr h="445878">
                <a:tc>
                  <a:txBody>
                    <a:bodyPr/>
                    <a:lstStyle/>
                    <a:p>
                      <a:r>
                        <a:rPr lang="en-GB" sz="1100" noProof="0">
                          <a:latin typeface="Trebuchet MS" panose="020B0603020202020204" pitchFamily="34" charset="0"/>
                          <a:cs typeface="Arial" panose="020B0604020202020204" pitchFamily="34" charset="0"/>
                        </a:rPr>
                        <a:t>ASCT ineligibility criteria</a:t>
                      </a:r>
                    </a:p>
                  </a:txBody>
                  <a:tcPr marL="34290" marR="34290" marT="34290" marB="34290" anchor="ctr">
                    <a:lnR w="38100" cap="flat" cmpd="sng" algn="ctr">
                      <a:solidFill>
                        <a:schemeClr val="bg1"/>
                      </a:solidFill>
                      <a:prstDash val="solid"/>
                      <a:round/>
                      <a:headEnd type="none" w="med" len="med"/>
                      <a:tailEnd type="none" w="med" len="med"/>
                    </a:lnR>
                    <a:solidFill>
                      <a:schemeClr val="accent1"/>
                    </a:solidFill>
                  </a:tcPr>
                </a:tc>
                <a:tc>
                  <a:txBody>
                    <a:bodyPr/>
                    <a:lstStyle/>
                    <a:p>
                      <a:pPr algn="ctr"/>
                      <a:r>
                        <a:rPr lang="en-GB" sz="1100" noProof="0">
                          <a:latin typeface="Trebuchet MS" panose="020B0603020202020204" pitchFamily="34" charset="0"/>
                          <a:cs typeface="Arial" panose="020B0604020202020204" pitchFamily="34" charset="0"/>
                        </a:rPr>
                        <a:t>Liso-cel, %</a:t>
                      </a:r>
                      <a:br>
                        <a:rPr lang="en-GB" sz="1100" noProof="0">
                          <a:latin typeface="Trebuchet MS" panose="020B0603020202020204" pitchFamily="34" charset="0"/>
                          <a:cs typeface="Arial" panose="020B0604020202020204" pitchFamily="34" charset="0"/>
                        </a:rPr>
                      </a:br>
                      <a:r>
                        <a:rPr lang="en-GB" sz="1100" noProof="0">
                          <a:latin typeface="Trebuchet MS" panose="020B0603020202020204" pitchFamily="34" charset="0"/>
                          <a:cs typeface="Arial" panose="020B0604020202020204" pitchFamily="34" charset="0"/>
                        </a:rPr>
                        <a:t>(N = 61)</a:t>
                      </a:r>
                    </a:p>
                  </a:txBody>
                  <a:tcPr marL="34290" marR="34290" marT="34290" marB="34290" anchor="ctr">
                    <a:lnL w="381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577835102"/>
                  </a:ext>
                </a:extLst>
              </a:tr>
              <a:tr h="3075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a:solidFill>
                            <a:schemeClr val="tx1"/>
                          </a:solidFill>
                          <a:latin typeface="Trebuchet MS" panose="020B0603020202020204" pitchFamily="34" charset="0"/>
                          <a:cs typeface="Arial" panose="020B0604020202020204" pitchFamily="34" charset="0"/>
                        </a:rPr>
                        <a:t>Age ≥ 70 years</a:t>
                      </a:r>
                    </a:p>
                  </a:txBody>
                  <a:tcPr marL="34290" marR="34290" marT="34290" marB="34290" anchor="ctr">
                    <a:lnR w="381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tx1"/>
                          </a:solidFill>
                          <a:effectLst/>
                          <a:uLnTx/>
                          <a:uFillTx/>
                          <a:latin typeface="Trebuchet MS" panose="020B0603020202020204" pitchFamily="34" charset="0"/>
                          <a:ea typeface="+mn-ea"/>
                          <a:cs typeface="Arial" panose="020B0604020202020204" pitchFamily="34" charset="0"/>
                          <a:sym typeface="Wingdings 2" panose="05020102010507070707" pitchFamily="18" charset="2"/>
                        </a:rPr>
                        <a:t>79</a:t>
                      </a:r>
                      <a:endParaRPr kumimoji="0" lang="en-GB" sz="1100" b="0" i="0" u="none" strike="noStrike" kern="1200" cap="none" spc="0" normalizeH="0" baseline="0" noProof="0">
                        <a:ln>
                          <a:noFill/>
                        </a:ln>
                        <a:solidFill>
                          <a:schemeClr val="tx1"/>
                        </a:solidFill>
                        <a:effectLst/>
                        <a:uLnTx/>
                        <a:uFillTx/>
                        <a:latin typeface="Trebuchet MS" panose="020B0603020202020204" pitchFamily="34" charset="0"/>
                        <a:ea typeface="+mn-ea"/>
                        <a:cs typeface="Arial" panose="020B0604020202020204" pitchFamily="34" charset="0"/>
                      </a:endParaRPr>
                    </a:p>
                  </a:txBody>
                  <a:tcPr marL="34290" marR="34290" marT="34290" marB="34290" anchor="ctr">
                    <a:lnL w="381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86685359"/>
                  </a:ext>
                </a:extLst>
              </a:tr>
              <a:tr h="3075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a:solidFill>
                            <a:schemeClr val="tx1"/>
                          </a:solidFill>
                          <a:latin typeface="Trebuchet MS" panose="020B0603020202020204" pitchFamily="34" charset="0"/>
                          <a:cs typeface="Arial" panose="020B0604020202020204" pitchFamily="34" charset="0"/>
                        </a:rPr>
                        <a:t>ECOG PS 2</a:t>
                      </a:r>
                    </a:p>
                  </a:txBody>
                  <a:tcPr marL="34290" marR="34290" marT="34290" marB="34290" anchor="ctr">
                    <a:lnR w="381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tx1"/>
                          </a:solidFill>
                          <a:effectLst/>
                          <a:uLnTx/>
                          <a:uFillTx/>
                          <a:latin typeface="Trebuchet MS" panose="020B0603020202020204" pitchFamily="34" charset="0"/>
                          <a:ea typeface="+mn-ea"/>
                          <a:cs typeface="Arial" panose="020B0604020202020204" pitchFamily="34" charset="0"/>
                          <a:sym typeface="Wingdings 2" panose="05020102010507070707" pitchFamily="18" charset="2"/>
                        </a:rPr>
                        <a:t>26</a:t>
                      </a:r>
                      <a:endParaRPr kumimoji="0" lang="en-GB" sz="1100" b="0" i="0" u="none" strike="noStrike" kern="1200" cap="none" spc="0" normalizeH="0" baseline="0" noProof="0">
                        <a:ln>
                          <a:noFill/>
                        </a:ln>
                        <a:solidFill>
                          <a:schemeClr val="tx1"/>
                        </a:solidFill>
                        <a:effectLst/>
                        <a:uLnTx/>
                        <a:uFillTx/>
                        <a:latin typeface="Trebuchet MS" panose="020B0603020202020204" pitchFamily="34" charset="0"/>
                        <a:ea typeface="+mn-ea"/>
                        <a:cs typeface="Arial" panose="020B0604020202020204" pitchFamily="34" charset="0"/>
                      </a:endParaRPr>
                    </a:p>
                  </a:txBody>
                  <a:tcPr marL="34290" marR="34290" marT="34290" marB="34290" anchor="ctr">
                    <a:lnL w="381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01341959"/>
                  </a:ext>
                </a:extLst>
              </a:tr>
              <a:tr h="3075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kern="1200" noProof="0" dirty="0">
                          <a:solidFill>
                            <a:schemeClr val="tx1"/>
                          </a:solidFill>
                          <a:latin typeface="Trebuchet MS" panose="020B0603020202020204" pitchFamily="34" charset="0"/>
                          <a:ea typeface="+mn-ea"/>
                          <a:cs typeface="Arial" panose="020B0604020202020204" pitchFamily="34" charset="0"/>
                        </a:rPr>
                        <a:t>CrCl &lt; 60 mL/min</a:t>
                      </a:r>
                    </a:p>
                  </a:txBody>
                  <a:tcPr marL="34290" marR="34290" marT="34290" marB="34290" anchor="ctr">
                    <a:lnR w="381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tx1"/>
                          </a:solidFill>
                          <a:effectLst/>
                          <a:uLnTx/>
                          <a:uFillTx/>
                          <a:latin typeface="Trebuchet MS" panose="020B0603020202020204" pitchFamily="34" charset="0"/>
                          <a:ea typeface="+mn-ea"/>
                          <a:cs typeface="Arial" panose="020B0604020202020204" pitchFamily="34" charset="0"/>
                        </a:rPr>
                        <a:t>25</a:t>
                      </a:r>
                    </a:p>
                  </a:txBody>
                  <a:tcPr marL="34290" marR="34290" marT="34290" marB="34290" anchor="ctr">
                    <a:lnL w="381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71924528"/>
                  </a:ext>
                </a:extLst>
              </a:tr>
              <a:tr h="3075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kern="1200" noProof="0" dirty="0">
                          <a:solidFill>
                            <a:schemeClr val="tx1"/>
                          </a:solidFill>
                          <a:latin typeface="Trebuchet MS" panose="020B0603020202020204" pitchFamily="34" charset="0"/>
                          <a:ea typeface="+mn-ea"/>
                          <a:cs typeface="Arial" panose="020B0604020202020204" pitchFamily="34" charset="0"/>
                        </a:rPr>
                        <a:t>DL</a:t>
                      </a:r>
                      <a:r>
                        <a:rPr lang="en-GB" sz="1100" b="0" kern="1200" baseline="-25000" noProof="0" dirty="0">
                          <a:solidFill>
                            <a:schemeClr val="tx1"/>
                          </a:solidFill>
                          <a:latin typeface="Trebuchet MS" panose="020B0603020202020204" pitchFamily="34" charset="0"/>
                          <a:ea typeface="+mn-ea"/>
                          <a:cs typeface="Arial" panose="020B0604020202020204" pitchFamily="34" charset="0"/>
                        </a:rPr>
                        <a:t>CO</a:t>
                      </a:r>
                      <a:r>
                        <a:rPr lang="en-GB" sz="1100" b="0" kern="1200" noProof="0" dirty="0">
                          <a:solidFill>
                            <a:schemeClr val="tx1"/>
                          </a:solidFill>
                          <a:latin typeface="Trebuchet MS" panose="020B0603020202020204" pitchFamily="34" charset="0"/>
                          <a:ea typeface="+mn-ea"/>
                          <a:cs typeface="Arial" panose="020B0604020202020204" pitchFamily="34" charset="0"/>
                        </a:rPr>
                        <a:t> ≤ 60%</a:t>
                      </a:r>
                    </a:p>
                  </a:txBody>
                  <a:tcPr marL="34290" marR="34290" marT="34290" marB="34290" anchor="ctr">
                    <a:lnR w="381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tx1"/>
                          </a:solidFill>
                          <a:effectLst/>
                          <a:uLnTx/>
                          <a:uFillTx/>
                          <a:latin typeface="Trebuchet MS" panose="020B0603020202020204" pitchFamily="34" charset="0"/>
                          <a:ea typeface="+mn-ea"/>
                          <a:cs typeface="Arial" panose="020B0604020202020204" pitchFamily="34" charset="0"/>
                        </a:rPr>
                        <a:t>7</a:t>
                      </a:r>
                    </a:p>
                  </a:txBody>
                  <a:tcPr marL="34290" marR="34290" marT="34290" marB="34290" anchor="ctr">
                    <a:lnL w="381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16548008"/>
                  </a:ext>
                </a:extLst>
              </a:tr>
              <a:tr h="3075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kern="1200" noProof="0" dirty="0">
                          <a:solidFill>
                            <a:schemeClr val="tx1"/>
                          </a:solidFill>
                          <a:latin typeface="Trebuchet MS" panose="020B0603020202020204" pitchFamily="34" charset="0"/>
                          <a:ea typeface="+mn-ea"/>
                          <a:cs typeface="Arial" panose="020B0604020202020204" pitchFamily="34" charset="0"/>
                        </a:rPr>
                        <a:t>LVEF &lt; 50%</a:t>
                      </a:r>
                    </a:p>
                  </a:txBody>
                  <a:tcPr marL="34290" marR="34290" marT="34290" marB="34290" anchor="ctr">
                    <a:lnR w="381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Arial" panose="020B0604020202020204" pitchFamily="34" charset="0"/>
                        </a:rPr>
                        <a:t>2</a:t>
                      </a:r>
                    </a:p>
                  </a:txBody>
                  <a:tcPr marL="34290" marR="34290" marT="34290" marB="34290" anchor="ctr">
                    <a:lnL w="381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34186594"/>
                  </a:ext>
                </a:extLst>
              </a:tr>
            </a:tbl>
          </a:graphicData>
        </a:graphic>
      </p:graphicFrame>
      <p:sp>
        <p:nvSpPr>
          <p:cNvPr id="61" name="TextBox 60">
            <a:extLst>
              <a:ext uri="{FF2B5EF4-FFF2-40B4-BE49-F238E27FC236}">
                <a16:creationId xmlns:a16="http://schemas.microsoft.com/office/drawing/2014/main" id="{3A165253-A98A-BF7B-775B-9E4DD3F23D87}"/>
              </a:ext>
            </a:extLst>
          </p:cNvPr>
          <p:cNvSpPr txBox="1"/>
          <p:nvPr/>
        </p:nvSpPr>
        <p:spPr>
          <a:xfrm>
            <a:off x="5495713" y="1516179"/>
            <a:ext cx="3310038" cy="276999"/>
          </a:xfrm>
          <a:prstGeom prst="rect">
            <a:avLst/>
          </a:prstGeom>
          <a:noFill/>
        </p:spPr>
        <p:txBody>
          <a:bodyPr wrap="squar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S (N = 61)</a:t>
            </a:r>
            <a:r>
              <a:rPr kumimoji="0" lang="en-US" sz="1200" b="1"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2,c</a:t>
            </a:r>
            <a:endParaRPr kumimoji="0" lang="en-GB"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 name="TextBox 61">
            <a:extLst>
              <a:ext uri="{FF2B5EF4-FFF2-40B4-BE49-F238E27FC236}">
                <a16:creationId xmlns:a16="http://schemas.microsoft.com/office/drawing/2014/main" id="{0FF317FE-7889-A264-871E-35FB85CC92E0}"/>
              </a:ext>
            </a:extLst>
          </p:cNvPr>
          <p:cNvSpPr txBox="1"/>
          <p:nvPr/>
        </p:nvSpPr>
        <p:spPr>
          <a:xfrm>
            <a:off x="2165446" y="3566504"/>
            <a:ext cx="1075937" cy="276999"/>
          </a:xfrm>
          <a:prstGeom prst="rect">
            <a:avLst/>
          </a:prstGeom>
          <a:noFill/>
        </p:spPr>
        <p:txBody>
          <a:bodyPr wrap="non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RR: </a:t>
            </a:r>
            <a:r>
              <a:rPr kumimoji="0" lang="en-US" sz="1200" b="1" i="0" u="none" strike="noStrike" kern="120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80%</a:t>
            </a:r>
            <a:r>
              <a:rPr kumimoji="0" lang="en-US" sz="1200" b="1" i="0" u="none" strike="noStrike" kern="1200" cap="none" spc="0" normalizeH="0" baseline="30000" noProof="0">
                <a:ln>
                  <a:noFill/>
                </a:ln>
                <a:solidFill>
                  <a:srgbClr val="4472C4"/>
                </a:solidFill>
                <a:effectLst/>
                <a:uLnTx/>
                <a:uFillTx/>
                <a:latin typeface="Arial" panose="020B0604020202020204" pitchFamily="34" charset="0"/>
                <a:ea typeface="+mn-ea"/>
                <a:cs typeface="Arial" panose="020B0604020202020204" pitchFamily="34" charset="0"/>
              </a:rPr>
              <a:t>2,b</a:t>
            </a:r>
            <a:endParaRPr kumimoji="0" lang="en-GB" sz="1200" b="1" i="0" u="none" strike="noStrike" kern="120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2EFE951C-4334-60BA-56EF-BAC489F02A88}"/>
              </a:ext>
            </a:extLst>
          </p:cNvPr>
          <p:cNvSpPr/>
          <p:nvPr/>
        </p:nvSpPr>
        <p:spPr>
          <a:xfrm>
            <a:off x="8305788" y="1463141"/>
            <a:ext cx="2150362" cy="2679661"/>
          </a:xfrm>
          <a:prstGeom prst="rect">
            <a:avLst/>
          </a:prstGeom>
          <a:solidFill>
            <a:schemeClr val="bg1"/>
          </a:solidFill>
          <a:ln w="19050">
            <a:solidFill>
              <a:schemeClr val="accent1"/>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 name="TextBox 32">
            <a:extLst>
              <a:ext uri="{FF2B5EF4-FFF2-40B4-BE49-F238E27FC236}">
                <a16:creationId xmlns:a16="http://schemas.microsoft.com/office/drawing/2014/main" id="{6E87FF1B-BD1B-2847-DF9D-00D6933C1C75}"/>
              </a:ext>
            </a:extLst>
          </p:cNvPr>
          <p:cNvSpPr txBox="1"/>
          <p:nvPr/>
        </p:nvSpPr>
        <p:spPr>
          <a:xfrm>
            <a:off x="8357827" y="1464185"/>
            <a:ext cx="1908169" cy="276999"/>
          </a:xfrm>
          <a:prstGeom prst="rect">
            <a:avLst/>
          </a:prstGeom>
          <a:noFill/>
        </p:spPr>
        <p:txBody>
          <a:bodyPr wrap="square" rtlCol="0">
            <a:spAutoFit/>
          </a:bodyPr>
          <a:lstStyle/>
          <a:p>
            <a:pPr marL="0" marR="0" lvl="0" indent="0" algn="ctr" defTabSz="914378" rtl="0" eaLnBrk="0" fontAlgn="base" latinLnBrk="0" hangingPunct="0">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ESIs (N = 61)</a:t>
            </a:r>
            <a:r>
              <a:rPr kumimoji="0" lang="en-GB" sz="12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2</a:t>
            </a:r>
          </a:p>
        </p:txBody>
      </p:sp>
      <p:sp>
        <p:nvSpPr>
          <p:cNvPr id="77" name="Shape 935">
            <a:extLst>
              <a:ext uri="{FF2B5EF4-FFF2-40B4-BE49-F238E27FC236}">
                <a16:creationId xmlns:a16="http://schemas.microsoft.com/office/drawing/2014/main" id="{F2E5E4F7-578D-28DB-A561-5238A16CF395}"/>
              </a:ext>
            </a:extLst>
          </p:cNvPr>
          <p:cNvSpPr>
            <a:spLocks noChangeArrowheads="1"/>
          </p:cNvSpPr>
          <p:nvPr/>
        </p:nvSpPr>
        <p:spPr bwMode="auto">
          <a:xfrm>
            <a:off x="8677168" y="3961032"/>
            <a:ext cx="137190" cy="115109"/>
          </a:xfrm>
          <a:prstGeom prst="rect">
            <a:avLst/>
          </a:prstGeom>
          <a:solidFill>
            <a:schemeClr val="accent1">
              <a:lumMod val="20000"/>
              <a:lumOff val="80000"/>
            </a:schemeClr>
          </a:solidFill>
          <a:ln>
            <a:noFill/>
          </a:ln>
        </p:spPr>
        <p:txBody>
          <a:bodyPr lIns="34289" tIns="34289" rIns="34289" bIns="34289"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altLang="en-US" sz="825"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8" name="TextBox 77">
            <a:extLst>
              <a:ext uri="{FF2B5EF4-FFF2-40B4-BE49-F238E27FC236}">
                <a16:creationId xmlns:a16="http://schemas.microsoft.com/office/drawing/2014/main" id="{B31D6230-B06D-7468-B38C-77BE9ADCEF1F}"/>
              </a:ext>
            </a:extLst>
          </p:cNvPr>
          <p:cNvSpPr txBox="1"/>
          <p:nvPr/>
        </p:nvSpPr>
        <p:spPr bwMode="auto">
          <a:xfrm>
            <a:off x="8881114" y="3917972"/>
            <a:ext cx="512065" cy="201231"/>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All grades</a:t>
            </a:r>
          </a:p>
        </p:txBody>
      </p:sp>
      <p:sp>
        <p:nvSpPr>
          <p:cNvPr id="79" name="Shape 935">
            <a:extLst>
              <a:ext uri="{FF2B5EF4-FFF2-40B4-BE49-F238E27FC236}">
                <a16:creationId xmlns:a16="http://schemas.microsoft.com/office/drawing/2014/main" id="{9D58B927-BEDD-CA7C-F263-DDB51A10C536}"/>
              </a:ext>
            </a:extLst>
          </p:cNvPr>
          <p:cNvSpPr>
            <a:spLocks noChangeArrowheads="1"/>
          </p:cNvSpPr>
          <p:nvPr/>
        </p:nvSpPr>
        <p:spPr bwMode="auto">
          <a:xfrm>
            <a:off x="9409612" y="3961032"/>
            <a:ext cx="137190" cy="115109"/>
          </a:xfrm>
          <a:prstGeom prst="rect">
            <a:avLst/>
          </a:prstGeom>
          <a:solidFill>
            <a:schemeClr val="accent1"/>
          </a:solidFill>
          <a:ln>
            <a:noFill/>
          </a:ln>
        </p:spPr>
        <p:txBody>
          <a:bodyPr lIns="34289" tIns="34289" rIns="34289" bIns="34289"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altLang="en-US" sz="825"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80" name="TextBox 79">
            <a:extLst>
              <a:ext uri="{FF2B5EF4-FFF2-40B4-BE49-F238E27FC236}">
                <a16:creationId xmlns:a16="http://schemas.microsoft.com/office/drawing/2014/main" id="{1FFD1C59-6002-3F1C-BE96-C1141D5050C5}"/>
              </a:ext>
            </a:extLst>
          </p:cNvPr>
          <p:cNvSpPr txBox="1"/>
          <p:nvPr/>
        </p:nvSpPr>
        <p:spPr bwMode="auto">
          <a:xfrm>
            <a:off x="9613557" y="3917972"/>
            <a:ext cx="589232" cy="201231"/>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Grade ≥ 3</a:t>
            </a:r>
          </a:p>
        </p:txBody>
      </p:sp>
      <p:sp>
        <p:nvSpPr>
          <p:cNvPr id="52" name="TextBox 51">
            <a:extLst>
              <a:ext uri="{FF2B5EF4-FFF2-40B4-BE49-F238E27FC236}">
                <a16:creationId xmlns:a16="http://schemas.microsoft.com/office/drawing/2014/main" id="{DE433F03-24C3-5312-5F9E-EB9F74BB0E8E}"/>
              </a:ext>
            </a:extLst>
          </p:cNvPr>
          <p:cNvSpPr txBox="1"/>
          <p:nvPr/>
        </p:nvSpPr>
        <p:spPr bwMode="auto">
          <a:xfrm>
            <a:off x="8409582" y="2628160"/>
            <a:ext cx="779730" cy="166446"/>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Day 29 cytopenia, %</a:t>
            </a:r>
          </a:p>
        </p:txBody>
      </p:sp>
      <p:sp>
        <p:nvSpPr>
          <p:cNvPr id="56" name="Rectangle 55">
            <a:extLst>
              <a:ext uri="{FF2B5EF4-FFF2-40B4-BE49-F238E27FC236}">
                <a16:creationId xmlns:a16="http://schemas.microsoft.com/office/drawing/2014/main" id="{8EEACF1E-8069-93DB-87C3-231E046B179A}"/>
              </a:ext>
            </a:extLst>
          </p:cNvPr>
          <p:cNvSpPr/>
          <p:nvPr/>
        </p:nvSpPr>
        <p:spPr>
          <a:xfrm>
            <a:off x="9259126" y="2615696"/>
            <a:ext cx="902954" cy="225738"/>
          </a:xfrm>
          <a:prstGeom prst="rect">
            <a:avLst/>
          </a:prstGeom>
          <a:solidFill>
            <a:schemeClr val="accent1"/>
          </a:solidFill>
          <a:ln w="1587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 name="TextBox 56">
            <a:extLst>
              <a:ext uri="{FF2B5EF4-FFF2-40B4-BE49-F238E27FC236}">
                <a16:creationId xmlns:a16="http://schemas.microsoft.com/office/drawing/2014/main" id="{CEF7925E-84C0-6B45-2CE0-AF3CD7695953}"/>
              </a:ext>
            </a:extLst>
          </p:cNvPr>
          <p:cNvSpPr txBox="1"/>
          <p:nvPr/>
        </p:nvSpPr>
        <p:spPr>
          <a:xfrm>
            <a:off x="10105909" y="2624734"/>
            <a:ext cx="385042" cy="253916"/>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85</a:t>
            </a:r>
            <a:r>
              <a:rPr kumimoji="0" lang="en-US" sz="105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d</a:t>
            </a: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 name="TextBox 33">
            <a:extLst>
              <a:ext uri="{FF2B5EF4-FFF2-40B4-BE49-F238E27FC236}">
                <a16:creationId xmlns:a16="http://schemas.microsoft.com/office/drawing/2014/main" id="{A84F5E6E-3487-1531-4360-89C5F5E96480}"/>
              </a:ext>
            </a:extLst>
          </p:cNvPr>
          <p:cNvSpPr txBox="1"/>
          <p:nvPr/>
        </p:nvSpPr>
        <p:spPr bwMode="auto">
          <a:xfrm>
            <a:off x="8409582" y="1793309"/>
            <a:ext cx="495950" cy="199659"/>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CRS, %</a:t>
            </a:r>
          </a:p>
        </p:txBody>
      </p:sp>
      <p:sp>
        <p:nvSpPr>
          <p:cNvPr id="36" name="Rectangle 35">
            <a:extLst>
              <a:ext uri="{FF2B5EF4-FFF2-40B4-BE49-F238E27FC236}">
                <a16:creationId xmlns:a16="http://schemas.microsoft.com/office/drawing/2014/main" id="{4E3032B4-CADA-D0FF-2049-BCAB1E950757}"/>
              </a:ext>
            </a:extLst>
          </p:cNvPr>
          <p:cNvSpPr/>
          <p:nvPr/>
        </p:nvSpPr>
        <p:spPr>
          <a:xfrm>
            <a:off x="9259127" y="1780845"/>
            <a:ext cx="404345" cy="225738"/>
          </a:xfrm>
          <a:prstGeom prst="rect">
            <a:avLst/>
          </a:prstGeom>
          <a:solidFill>
            <a:schemeClr val="accent1">
              <a:lumMod val="20000"/>
              <a:lumOff val="80000"/>
            </a:schemeClr>
          </a:solidFill>
          <a:ln w="952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 name="TextBox 36">
            <a:extLst>
              <a:ext uri="{FF2B5EF4-FFF2-40B4-BE49-F238E27FC236}">
                <a16:creationId xmlns:a16="http://schemas.microsoft.com/office/drawing/2014/main" id="{247C7CEF-7C77-454D-8747-CF4EF2634BF5}"/>
              </a:ext>
            </a:extLst>
          </p:cNvPr>
          <p:cNvSpPr txBox="1"/>
          <p:nvPr/>
        </p:nvSpPr>
        <p:spPr>
          <a:xfrm>
            <a:off x="9630565" y="1789883"/>
            <a:ext cx="335348" cy="253916"/>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38</a:t>
            </a: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1" name="Rectangle 80">
            <a:extLst>
              <a:ext uri="{FF2B5EF4-FFF2-40B4-BE49-F238E27FC236}">
                <a16:creationId xmlns:a16="http://schemas.microsoft.com/office/drawing/2014/main" id="{DBEA5CC3-EB0B-7560-C671-7BE960CA9C3F}"/>
              </a:ext>
            </a:extLst>
          </p:cNvPr>
          <p:cNvSpPr/>
          <p:nvPr/>
        </p:nvSpPr>
        <p:spPr>
          <a:xfrm>
            <a:off x="9259127" y="1780845"/>
            <a:ext cx="21881" cy="225738"/>
          </a:xfrm>
          <a:prstGeom prst="rect">
            <a:avLst/>
          </a:prstGeom>
          <a:solidFill>
            <a:schemeClr val="accent1"/>
          </a:solidFill>
          <a:ln w="952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2" name="TextBox 81">
            <a:extLst>
              <a:ext uri="{FF2B5EF4-FFF2-40B4-BE49-F238E27FC236}">
                <a16:creationId xmlns:a16="http://schemas.microsoft.com/office/drawing/2014/main" id="{DDD8E9EC-A994-19E5-BA67-10AACBE4EFC3}"/>
              </a:ext>
            </a:extLst>
          </p:cNvPr>
          <p:cNvSpPr txBox="1"/>
          <p:nvPr/>
        </p:nvSpPr>
        <p:spPr>
          <a:xfrm>
            <a:off x="9268115" y="1789883"/>
            <a:ext cx="260008" cy="253916"/>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a:t>
            </a: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 name="TextBox 63">
            <a:extLst>
              <a:ext uri="{FF2B5EF4-FFF2-40B4-BE49-F238E27FC236}">
                <a16:creationId xmlns:a16="http://schemas.microsoft.com/office/drawing/2014/main" id="{B78A50A3-98C1-7DAB-618F-FE039E85FC6E}"/>
              </a:ext>
            </a:extLst>
          </p:cNvPr>
          <p:cNvSpPr txBox="1"/>
          <p:nvPr/>
        </p:nvSpPr>
        <p:spPr bwMode="auto">
          <a:xfrm>
            <a:off x="8409584" y="3052517"/>
            <a:ext cx="766619" cy="201231"/>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Infection (≤ 90 days),  %</a:t>
            </a:r>
          </a:p>
        </p:txBody>
      </p:sp>
      <p:sp>
        <p:nvSpPr>
          <p:cNvPr id="66" name="TextBox 65">
            <a:extLst>
              <a:ext uri="{FF2B5EF4-FFF2-40B4-BE49-F238E27FC236}">
                <a16:creationId xmlns:a16="http://schemas.microsoft.com/office/drawing/2014/main" id="{3A50E092-113F-6D5C-9231-2DC5C65F53A5}"/>
              </a:ext>
            </a:extLst>
          </p:cNvPr>
          <p:cNvSpPr txBox="1"/>
          <p:nvPr/>
        </p:nvSpPr>
        <p:spPr>
          <a:xfrm>
            <a:off x="9320460" y="3035237"/>
            <a:ext cx="260008" cy="253916"/>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7</a:t>
            </a: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4" name="Rectangle 83">
            <a:extLst>
              <a:ext uri="{FF2B5EF4-FFF2-40B4-BE49-F238E27FC236}">
                <a16:creationId xmlns:a16="http://schemas.microsoft.com/office/drawing/2014/main" id="{DA02FF9F-BB52-BC6D-4864-C6E55192C8A9}"/>
              </a:ext>
            </a:extLst>
          </p:cNvPr>
          <p:cNvSpPr/>
          <p:nvPr/>
        </p:nvSpPr>
        <p:spPr>
          <a:xfrm>
            <a:off x="9259126" y="3033121"/>
            <a:ext cx="74420" cy="225738"/>
          </a:xfrm>
          <a:prstGeom prst="rect">
            <a:avLst/>
          </a:prstGeom>
          <a:solidFill>
            <a:schemeClr val="accent1"/>
          </a:solidFill>
          <a:ln w="1587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8" name="TextBox 37">
            <a:extLst>
              <a:ext uri="{FF2B5EF4-FFF2-40B4-BE49-F238E27FC236}">
                <a16:creationId xmlns:a16="http://schemas.microsoft.com/office/drawing/2014/main" id="{C2646791-7BB6-B3EA-2527-4972F5F266F5}"/>
              </a:ext>
            </a:extLst>
          </p:cNvPr>
          <p:cNvSpPr txBox="1"/>
          <p:nvPr/>
        </p:nvSpPr>
        <p:spPr bwMode="auto">
          <a:xfrm>
            <a:off x="8409583" y="2217665"/>
            <a:ext cx="687051" cy="201231"/>
          </a:xfrm>
          <a:prstGeom prst="rect">
            <a:avLst/>
          </a:prstGeom>
          <a:noFill/>
        </p:spPr>
        <p:txBody>
          <a:bodyPr lIns="0" tIns="0" rIns="0" bIns="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NEs, %</a:t>
            </a:r>
          </a:p>
        </p:txBody>
      </p:sp>
      <p:sp>
        <p:nvSpPr>
          <p:cNvPr id="40" name="Rectangle 39">
            <a:extLst>
              <a:ext uri="{FF2B5EF4-FFF2-40B4-BE49-F238E27FC236}">
                <a16:creationId xmlns:a16="http://schemas.microsoft.com/office/drawing/2014/main" id="{254A3F78-FBC7-C266-E6F9-12EBA0B65A9D}"/>
              </a:ext>
            </a:extLst>
          </p:cNvPr>
          <p:cNvSpPr/>
          <p:nvPr/>
        </p:nvSpPr>
        <p:spPr>
          <a:xfrm>
            <a:off x="9259127" y="2198270"/>
            <a:ext cx="329925" cy="225738"/>
          </a:xfrm>
          <a:prstGeom prst="rect">
            <a:avLst/>
          </a:prstGeom>
          <a:solidFill>
            <a:schemeClr val="accent1">
              <a:lumMod val="20000"/>
              <a:lumOff val="80000"/>
            </a:schemeClr>
          </a:solidFill>
          <a:ln w="1587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 name="TextBox 50">
            <a:extLst>
              <a:ext uri="{FF2B5EF4-FFF2-40B4-BE49-F238E27FC236}">
                <a16:creationId xmlns:a16="http://schemas.microsoft.com/office/drawing/2014/main" id="{E15177AC-1A37-739A-2FF0-C7C60860D3C0}"/>
              </a:ext>
            </a:extLst>
          </p:cNvPr>
          <p:cNvSpPr txBox="1"/>
          <p:nvPr/>
        </p:nvSpPr>
        <p:spPr>
          <a:xfrm>
            <a:off x="9575887" y="2200386"/>
            <a:ext cx="335348" cy="253916"/>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31</a:t>
            </a: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7" name="TextBox 86">
            <a:extLst>
              <a:ext uri="{FF2B5EF4-FFF2-40B4-BE49-F238E27FC236}">
                <a16:creationId xmlns:a16="http://schemas.microsoft.com/office/drawing/2014/main" id="{612DDCE0-3E62-020B-8B7A-88504B7030D4}"/>
              </a:ext>
            </a:extLst>
          </p:cNvPr>
          <p:cNvSpPr txBox="1"/>
          <p:nvPr/>
        </p:nvSpPr>
        <p:spPr>
          <a:xfrm>
            <a:off x="9298079" y="2200386"/>
            <a:ext cx="162992" cy="253916"/>
          </a:xfrm>
          <a:prstGeom prst="rect">
            <a:avLst/>
          </a:prstGeom>
          <a:noFill/>
        </p:spPr>
        <p:txBody>
          <a:bodyPr wrap="squar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5</a:t>
            </a: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8" name="Rectangle 87">
            <a:extLst>
              <a:ext uri="{FF2B5EF4-FFF2-40B4-BE49-F238E27FC236}">
                <a16:creationId xmlns:a16="http://schemas.microsoft.com/office/drawing/2014/main" id="{62749E6E-49D5-B885-2A16-D8E97411D6AD}"/>
              </a:ext>
            </a:extLst>
          </p:cNvPr>
          <p:cNvSpPr/>
          <p:nvPr/>
        </p:nvSpPr>
        <p:spPr>
          <a:xfrm>
            <a:off x="9259126" y="2198270"/>
            <a:ext cx="52094" cy="225738"/>
          </a:xfrm>
          <a:prstGeom prst="rect">
            <a:avLst/>
          </a:prstGeom>
          <a:solidFill>
            <a:schemeClr val="accent1"/>
          </a:solidFill>
          <a:ln w="15875" cap="flat" cmpd="sng" algn="ctr">
            <a:noFill/>
            <a:prstDash val="solid"/>
            <a:miter lim="800000"/>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9" name="Text Placeholder 83">
            <a:extLst>
              <a:ext uri="{FF2B5EF4-FFF2-40B4-BE49-F238E27FC236}">
                <a16:creationId xmlns:a16="http://schemas.microsoft.com/office/drawing/2014/main" id="{74926F38-5C03-4B86-B531-8D773E510314}"/>
              </a:ext>
            </a:extLst>
          </p:cNvPr>
          <p:cNvSpPr txBox="1">
            <a:spLocks/>
          </p:cNvSpPr>
          <p:nvPr/>
        </p:nvSpPr>
        <p:spPr bwMode="gray">
          <a:xfrm>
            <a:off x="2184216" y="6181234"/>
            <a:ext cx="8312802" cy="269081"/>
          </a:xfrm>
          <a:prstGeom prst="rect">
            <a:avLst/>
          </a:prstGeom>
        </p:spPr>
        <p:txBody>
          <a:bodyPr vert="horz" lIns="0" tIns="0" rIns="0" bIns="0" rtlCol="0" anchor="b" anchorCtr="0">
            <a:noAutofit/>
          </a:bodyPr>
          <a:lstStyle>
            <a:lvl1pPr marL="132160" indent="-132160" algn="l" defTabSz="685800" rtl="0" eaLnBrk="1" latinLnBrk="0" hangingPunct="1">
              <a:lnSpc>
                <a:spcPct val="110000"/>
              </a:lnSpc>
              <a:spcBef>
                <a:spcPts val="0"/>
              </a:spcBef>
              <a:spcAft>
                <a:spcPts val="600"/>
              </a:spcAft>
              <a:buClr>
                <a:schemeClr val="accent1"/>
              </a:buClr>
              <a:buFont typeface="Wingdings" panose="05000000000000000000" pitchFamily="2" charset="2"/>
              <a:buChar char="§"/>
              <a:defRPr sz="1125" kern="1200">
                <a:solidFill>
                  <a:schemeClr val="tx1"/>
                </a:solidFill>
                <a:latin typeface="+mn-lt"/>
                <a:ea typeface="+mn-ea"/>
                <a:cs typeface="+mn-cs"/>
              </a:defRPr>
            </a:lvl1pPr>
            <a:lvl2pPr marL="269081" indent="-136922" algn="l" defTabSz="685800" rtl="0" eaLnBrk="1" latinLnBrk="0" hangingPunct="1">
              <a:lnSpc>
                <a:spcPct val="110000"/>
              </a:lnSpc>
              <a:spcBef>
                <a:spcPts val="0"/>
              </a:spcBef>
              <a:spcAft>
                <a:spcPts val="600"/>
              </a:spcAft>
              <a:buClr>
                <a:schemeClr val="accent4"/>
              </a:buClr>
              <a:buFont typeface="Wingdings" panose="05000000000000000000" pitchFamily="2" charset="2"/>
              <a:buChar char="§"/>
              <a:defRPr sz="1125" kern="1200">
                <a:solidFill>
                  <a:schemeClr val="tx1"/>
                </a:solidFill>
                <a:latin typeface="+mn-lt"/>
                <a:ea typeface="+mn-ea"/>
                <a:cs typeface="+mn-cs"/>
              </a:defRPr>
            </a:lvl2pPr>
            <a:lvl3pPr marL="401241" indent="-132160" algn="l" defTabSz="685800" rtl="0" eaLnBrk="1" latinLnBrk="0" hangingPunct="1">
              <a:lnSpc>
                <a:spcPct val="110000"/>
              </a:lnSpc>
              <a:spcBef>
                <a:spcPts val="0"/>
              </a:spcBef>
              <a:spcAft>
                <a:spcPts val="600"/>
              </a:spcAft>
              <a:buClr>
                <a:schemeClr val="accent4"/>
              </a:buClr>
              <a:buFont typeface="Wingdings" panose="05000000000000000000" pitchFamily="2" charset="2"/>
              <a:buChar char="§"/>
              <a:defRPr sz="1125" kern="1200">
                <a:solidFill>
                  <a:schemeClr val="tx1"/>
                </a:solidFill>
                <a:latin typeface="+mn-lt"/>
                <a:ea typeface="+mn-ea"/>
                <a:cs typeface="+mn-cs"/>
              </a:defRPr>
            </a:lvl3pPr>
            <a:lvl4pPr marL="538163" indent="-136922" algn="l" defTabSz="685800" rtl="0" eaLnBrk="1" latinLnBrk="0" hangingPunct="1">
              <a:lnSpc>
                <a:spcPct val="110000"/>
              </a:lnSpc>
              <a:spcBef>
                <a:spcPts val="0"/>
              </a:spcBef>
              <a:spcAft>
                <a:spcPts val="600"/>
              </a:spcAft>
              <a:buClr>
                <a:schemeClr val="accent4"/>
              </a:buClr>
              <a:buFont typeface="Wingdings" panose="05000000000000000000" pitchFamily="2" charset="2"/>
              <a:buChar char="§"/>
              <a:defRPr sz="1125" kern="1200">
                <a:solidFill>
                  <a:schemeClr val="tx1"/>
                </a:solidFill>
                <a:latin typeface="+mn-lt"/>
                <a:ea typeface="+mn-ea"/>
                <a:cs typeface="+mn-cs"/>
              </a:defRPr>
            </a:lvl4pPr>
            <a:lvl5pPr marL="670322" indent="-132160" algn="l" defTabSz="685800" rtl="0" eaLnBrk="1" latinLnBrk="0" hangingPunct="1">
              <a:lnSpc>
                <a:spcPct val="110000"/>
              </a:lnSpc>
              <a:spcBef>
                <a:spcPts val="0"/>
              </a:spcBef>
              <a:spcAft>
                <a:spcPts val="600"/>
              </a:spcAft>
              <a:buClr>
                <a:schemeClr val="accent4"/>
              </a:buClr>
              <a:buFont typeface="Wingdings" panose="05000000000000000000" pitchFamily="2" charset="2"/>
              <a:buChar char="§"/>
              <a:defRPr sz="11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514350" rtl="0" eaLnBrk="1" fontAlgn="base" latinLnBrk="0" hangingPunct="1">
              <a:lnSpc>
                <a:spcPct val="100000"/>
              </a:lnSpc>
              <a:spcBef>
                <a:spcPts val="0"/>
              </a:spcBef>
              <a:spcAft>
                <a:spcPts val="0"/>
              </a:spcAft>
              <a:buClr>
                <a:srgbClr val="4472C4"/>
              </a:buClr>
              <a:buSzTx/>
              <a:buFont typeface="Wingdings" panose="05000000000000000000" pitchFamily="2" charset="2"/>
              <a:buNone/>
              <a:tabLst/>
              <a:defRPr/>
            </a:pPr>
            <a:r>
              <a:rPr kumimoji="0" lang="en-US" sz="67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iso-cel is not approved in Europe for the 2L treatment of DLBCL in patients who experienced relapse more than 12 months after completion of 1L therapy. </a:t>
            </a:r>
            <a:endParaRPr kumimoji="0" lang="en-GB" sz="67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514350" rtl="0" eaLnBrk="1" fontAlgn="base" latinLnBrk="0" hangingPunct="1">
              <a:lnSpc>
                <a:spcPct val="100000"/>
              </a:lnSpc>
              <a:spcBef>
                <a:spcPts val="0"/>
              </a:spcBef>
              <a:spcAft>
                <a:spcPts val="0"/>
              </a:spcAft>
              <a:buClr>
                <a:srgbClr val="4472C4"/>
              </a:buClr>
              <a:buSzTx/>
              <a:buFont typeface="Wingdings" panose="05000000000000000000" pitchFamily="2" charset="2"/>
              <a:buNone/>
              <a:tabLst/>
              <a:defRPr/>
            </a:pPr>
            <a:r>
              <a:rPr kumimoji="0" lang="en-GB" sz="675"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a:t>
            </a:r>
            <a:r>
              <a:rPr kumimoji="0" lang="en-GB" sz="675"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675"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tients must have also met at lease one transplant-not-intended criterion as determined by the investigator: age ≥ 70 years, ECOG PS of 2, DLCO ≤ 60%, LVEF &lt; 50%, CrCl &lt; 60 mL/min, ALT/AST &gt; 2 × ULN; </a:t>
            </a:r>
            <a:r>
              <a:rPr kumimoji="0" lang="en-US" sz="675"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b</a:t>
            </a:r>
            <a:r>
              <a:rPr kumimoji="0" lang="en-US" sz="675"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edian follow-up of 12.3 months; </a:t>
            </a:r>
            <a:r>
              <a:rPr kumimoji="0" lang="en-US" sz="675"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c</a:t>
            </a:r>
            <a:r>
              <a:rPr kumimoji="0" lang="en-US" sz="675"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S data include data from the LTFU study; </a:t>
            </a:r>
            <a:r>
              <a:rPr kumimoji="0" lang="en-US" sz="675"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d </a:t>
            </a:r>
            <a:r>
              <a:rPr kumimoji="0" lang="en-US" sz="675"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rolonged cytopenia is defined as Grade ≥ 3 decreased hemoglobin level, neutrophil count or platelet count at the Day 29 visit as confirmed by laboratory results. 1L, first line; 2L, second line; AESI, adverse event of special interest; ALT, alanine transaminase; ASCT, autologous stem cell transplant; AST, aspartate aminotransferase; CrCl, creatinine clearance; CRS, cytokine release syndrome; DL</a:t>
            </a:r>
            <a:r>
              <a:rPr kumimoji="0" lang="en-US" sz="675" b="0" i="0" u="none" strike="noStrike" kern="1200" cap="none" spc="0" normalizeH="0" baseline="-25000" noProof="0" dirty="0">
                <a:ln>
                  <a:noFill/>
                </a:ln>
                <a:solidFill>
                  <a:prstClr val="black"/>
                </a:solidFill>
                <a:effectLst/>
                <a:uLnTx/>
                <a:uFillTx/>
                <a:latin typeface="Arial" panose="020B0604020202020204" pitchFamily="34" charset="0"/>
                <a:ea typeface="+mn-ea"/>
                <a:cs typeface="Arial" panose="020B0604020202020204" pitchFamily="34" charset="0"/>
              </a:rPr>
              <a:t>CO</a:t>
            </a:r>
            <a:r>
              <a:rPr kumimoji="0" lang="en-US" sz="675"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675"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iffusing capacity of the lungs for carbon monoxide; ECOG PS, Eastern Cooperative Oncology Group performance status; LBCL, large B-cell lymphoma; </a:t>
            </a:r>
            <a:r>
              <a:rPr kumimoji="0" lang="en-US" sz="675"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iso</a:t>
            </a:r>
            <a:r>
              <a:rPr kumimoji="0" lang="en-US" sz="675"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el, </a:t>
            </a:r>
            <a:r>
              <a:rPr kumimoji="0" lang="en-US" sz="675"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isocabtagene</a:t>
            </a:r>
            <a:r>
              <a:rPr kumimoji="0" lang="en-US" sz="675"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675"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araleucel</a:t>
            </a:r>
            <a:r>
              <a:rPr kumimoji="0" lang="en-US" sz="675"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LTFU, long-term follow up; LVEF, left ventricular ejection fraction; </a:t>
            </a:r>
            <a:r>
              <a:rPr kumimoji="0" lang="en-US" sz="675"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FU</a:t>
            </a:r>
            <a:r>
              <a:rPr kumimoji="0" lang="en-US" sz="675"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edian follow-up; </a:t>
            </a:r>
            <a:r>
              <a:rPr kumimoji="0" lang="en-US" sz="675"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o</a:t>
            </a:r>
            <a:r>
              <a:rPr kumimoji="0" lang="en-US" sz="675"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onth; NE, neurologic events; NR, not reached; ORR, overall response rate; OS, overall survival; R/R, relapsed or refractory, ULN, upper limit of normal. </a:t>
            </a:r>
            <a:r>
              <a:rPr kumimoji="0" lang="en-GB" sz="675"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Sehgal A, et al. Lancet Oncol 2022;23:1066—1077. 2. Sehgal A, et al. ASH 2023 Oral presentation 105.</a:t>
            </a:r>
          </a:p>
        </p:txBody>
      </p:sp>
      <p:sp>
        <p:nvSpPr>
          <p:cNvPr id="5" name="Flowchart: Process 11">
            <a:extLst>
              <a:ext uri="{FF2B5EF4-FFF2-40B4-BE49-F238E27FC236}">
                <a16:creationId xmlns:a16="http://schemas.microsoft.com/office/drawing/2014/main" id="{8ACB5A9F-F114-75EC-183D-B4EF97B410B5}"/>
              </a:ext>
            </a:extLst>
          </p:cNvPr>
          <p:cNvSpPr/>
          <p:nvPr/>
        </p:nvSpPr>
        <p:spPr>
          <a:xfrm>
            <a:off x="1835458" y="4484640"/>
            <a:ext cx="8521085" cy="647872"/>
          </a:xfrm>
          <a:prstGeom prst="flowChartProcess">
            <a:avLst/>
          </a:prstGeom>
          <a:solidFill>
            <a:schemeClr val="accent1"/>
          </a:solidFill>
          <a:ln w="34925">
            <a:solidFill>
              <a:schemeClr val="accent1"/>
            </a:solid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edian OS was not reached with </a:t>
            </a:r>
            <a:r>
              <a:rPr kumimoji="0" lang="en-US" sz="16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liso</a:t>
            </a:r>
            <a:r>
              <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el at ≈ 2-year median follow-up</a:t>
            </a:r>
            <a:r>
              <a:rPr kumimoji="0" lang="en-US" sz="1600" b="0"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2</a:t>
            </a:r>
            <a:endParaRPr kumimoji="0" lang="en-GB" sz="1600" b="0"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11" name="Straight Connector 10">
            <a:extLst>
              <a:ext uri="{FF2B5EF4-FFF2-40B4-BE49-F238E27FC236}">
                <a16:creationId xmlns:a16="http://schemas.microsoft.com/office/drawing/2014/main" id="{7C059E85-1F10-8D76-0CAB-944CAE3C12E6}"/>
              </a:ext>
            </a:extLst>
          </p:cNvPr>
          <p:cNvCxnSpPr>
            <a:cxnSpLocks/>
          </p:cNvCxnSpPr>
          <p:nvPr/>
        </p:nvCxnSpPr>
        <p:spPr>
          <a:xfrm flipV="1">
            <a:off x="9267461" y="3327279"/>
            <a:ext cx="10611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2E4D9D40-E040-8275-2534-9747B8197495}"/>
              </a:ext>
            </a:extLst>
          </p:cNvPr>
          <p:cNvSpPr txBox="1"/>
          <p:nvPr/>
        </p:nvSpPr>
        <p:spPr>
          <a:xfrm>
            <a:off x="9153118" y="3321688"/>
            <a:ext cx="237566" cy="207749"/>
          </a:xfrm>
          <a:prstGeom prst="rect">
            <a:avLst/>
          </a:prstGeom>
          <a:noFill/>
        </p:spPr>
        <p:txBody>
          <a:bodyPr wrap="non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en-GB" sz="75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70" name="Straight Connector 69">
            <a:extLst>
              <a:ext uri="{FF2B5EF4-FFF2-40B4-BE49-F238E27FC236}">
                <a16:creationId xmlns:a16="http://schemas.microsoft.com/office/drawing/2014/main" id="{D4ABC9FC-85BF-F02B-3713-85A08BB4CE4C}"/>
              </a:ext>
            </a:extLst>
          </p:cNvPr>
          <p:cNvCxnSpPr>
            <a:cxnSpLocks/>
          </p:cNvCxnSpPr>
          <p:nvPr/>
        </p:nvCxnSpPr>
        <p:spPr>
          <a:xfrm>
            <a:off x="9267461" y="3327279"/>
            <a:ext cx="0" cy="3520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FA840B3C-1685-0CF6-B547-EBB2FB8E682A}"/>
              </a:ext>
            </a:extLst>
          </p:cNvPr>
          <p:cNvCxnSpPr>
            <a:cxnSpLocks/>
          </p:cNvCxnSpPr>
          <p:nvPr/>
        </p:nvCxnSpPr>
        <p:spPr>
          <a:xfrm>
            <a:off x="9479612" y="3327279"/>
            <a:ext cx="0" cy="3520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B94EE535-A559-DACB-AEC4-BEC18AA5DD04}"/>
              </a:ext>
            </a:extLst>
          </p:cNvPr>
          <p:cNvCxnSpPr>
            <a:cxnSpLocks/>
          </p:cNvCxnSpPr>
          <p:nvPr/>
        </p:nvCxnSpPr>
        <p:spPr>
          <a:xfrm>
            <a:off x="9691762" y="3327279"/>
            <a:ext cx="0" cy="3520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96FC2DAC-2578-F505-F5C2-07C15C019503}"/>
              </a:ext>
            </a:extLst>
          </p:cNvPr>
          <p:cNvCxnSpPr>
            <a:cxnSpLocks/>
          </p:cNvCxnSpPr>
          <p:nvPr/>
        </p:nvCxnSpPr>
        <p:spPr>
          <a:xfrm>
            <a:off x="9903912" y="3327279"/>
            <a:ext cx="0" cy="3520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E718A6CE-6E07-E30E-FF9A-7551F7C9F0ED}"/>
              </a:ext>
            </a:extLst>
          </p:cNvPr>
          <p:cNvCxnSpPr>
            <a:cxnSpLocks/>
          </p:cNvCxnSpPr>
          <p:nvPr/>
        </p:nvCxnSpPr>
        <p:spPr>
          <a:xfrm>
            <a:off x="10116062" y="3327279"/>
            <a:ext cx="0" cy="3520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A373CCA1-381C-9EE8-1BFB-6064A115F94A}"/>
              </a:ext>
            </a:extLst>
          </p:cNvPr>
          <p:cNvCxnSpPr>
            <a:cxnSpLocks/>
          </p:cNvCxnSpPr>
          <p:nvPr/>
        </p:nvCxnSpPr>
        <p:spPr>
          <a:xfrm>
            <a:off x="10328212" y="3327279"/>
            <a:ext cx="0" cy="3520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5" name="TextBox 144">
            <a:extLst>
              <a:ext uri="{FF2B5EF4-FFF2-40B4-BE49-F238E27FC236}">
                <a16:creationId xmlns:a16="http://schemas.microsoft.com/office/drawing/2014/main" id="{78856D93-1917-7501-176D-E7654C99F52D}"/>
              </a:ext>
            </a:extLst>
          </p:cNvPr>
          <p:cNvSpPr txBox="1"/>
          <p:nvPr/>
        </p:nvSpPr>
        <p:spPr>
          <a:xfrm>
            <a:off x="10153654" y="3321688"/>
            <a:ext cx="343364" cy="207749"/>
          </a:xfrm>
          <a:prstGeom prst="rect">
            <a:avLst/>
          </a:prstGeom>
          <a:noFill/>
        </p:spPr>
        <p:txBody>
          <a:bodyPr wrap="none" rtlCol="0">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00</a:t>
            </a:r>
            <a:endParaRPr kumimoji="0" lang="en-GB" sz="75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146" name="Straight Connector 145">
            <a:extLst>
              <a:ext uri="{FF2B5EF4-FFF2-40B4-BE49-F238E27FC236}">
                <a16:creationId xmlns:a16="http://schemas.microsoft.com/office/drawing/2014/main" id="{DCFE92E1-4D2D-4A54-C97E-CF3DA8F0C990}"/>
              </a:ext>
            </a:extLst>
          </p:cNvPr>
          <p:cNvCxnSpPr>
            <a:cxnSpLocks/>
          </p:cNvCxnSpPr>
          <p:nvPr/>
        </p:nvCxnSpPr>
        <p:spPr>
          <a:xfrm>
            <a:off x="2253524" y="4025631"/>
            <a:ext cx="983456" cy="0"/>
          </a:xfrm>
          <a:prstGeom prst="line">
            <a:avLst/>
          </a:prstGeom>
          <a:ln w="28575" cap="rnd">
            <a:solidFill>
              <a:schemeClr val="accent1"/>
            </a:solidFill>
          </a:ln>
        </p:spPr>
        <p:style>
          <a:lnRef idx="1">
            <a:srgbClr val="BE2BBB"/>
          </a:lnRef>
          <a:fillRef idx="0">
            <a:schemeClr val="accent1"/>
          </a:fillRef>
          <a:effectRef idx="0">
            <a:srgbClr val="000000"/>
          </a:effectRef>
          <a:fontRef idx="minor">
            <a:schemeClr val="lt1"/>
          </a:fontRef>
        </p:style>
      </p:cxnSp>
      <p:sp>
        <p:nvSpPr>
          <p:cNvPr id="147" name="Speech Bubble: Rectangle 890">
            <a:extLst>
              <a:ext uri="{FF2B5EF4-FFF2-40B4-BE49-F238E27FC236}">
                <a16:creationId xmlns:a16="http://schemas.microsoft.com/office/drawing/2014/main" id="{181673C6-AFF6-237A-009D-FD40525482DF}"/>
              </a:ext>
            </a:extLst>
          </p:cNvPr>
          <p:cNvSpPr/>
          <p:nvPr/>
        </p:nvSpPr>
        <p:spPr>
          <a:xfrm>
            <a:off x="7207358" y="2039374"/>
            <a:ext cx="939600" cy="397595"/>
          </a:xfrm>
          <a:prstGeom prst="wedgeRectCallout">
            <a:avLst>
              <a:gd name="adj1" fmla="val -66"/>
              <a:gd name="adj2" fmla="val -6943"/>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54000" bIns="54000" rtlCol="0" anchor="ctr">
            <a:spAutoFit/>
          </a:bodyPr>
          <a:lstStyle/>
          <a:p>
            <a:pPr marL="0" marR="0" lvl="0" indent="0" algn="l" defTabSz="685800" rtl="0" eaLnBrk="1" fontAlgn="ctr"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NR</a:t>
            </a:r>
          </a:p>
          <a:p>
            <a:pPr marL="0" marR="0" lvl="0" indent="0" algn="l" defTabSz="685800" rtl="0" eaLnBrk="1" fontAlgn="ctr" latinLnBrk="0" hangingPunct="1">
              <a:lnSpc>
                <a:spcPct val="100000"/>
              </a:lnSpc>
              <a:spcBef>
                <a:spcPts val="0"/>
              </a:spcBef>
              <a:spcAft>
                <a:spcPts val="0"/>
              </a:spcAft>
              <a:buClrTx/>
              <a:buSzTx/>
              <a:buFontTx/>
              <a:buNone/>
              <a:tabLst/>
              <a:defRPr/>
            </a:pPr>
            <a:r>
              <a:rPr kumimoji="0" lang="en-GB" sz="825" b="0" i="0" u="none" strike="noStrike" kern="120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Median OS</a:t>
            </a:r>
            <a:endParaRPr kumimoji="0" lang="en-GB" sz="675" b="0" i="0" u="none" strike="noStrike" kern="120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endParaRPr>
          </a:p>
        </p:txBody>
      </p:sp>
      <p:grpSp>
        <p:nvGrpSpPr>
          <p:cNvPr id="149" name="Group 148">
            <a:extLst>
              <a:ext uri="{FF2B5EF4-FFF2-40B4-BE49-F238E27FC236}">
                <a16:creationId xmlns:a16="http://schemas.microsoft.com/office/drawing/2014/main" id="{88A02485-B88F-19ED-E051-3A64102F7624}"/>
              </a:ext>
            </a:extLst>
          </p:cNvPr>
          <p:cNvGrpSpPr/>
          <p:nvPr/>
        </p:nvGrpSpPr>
        <p:grpSpPr>
          <a:xfrm>
            <a:off x="5967461" y="1816065"/>
            <a:ext cx="2255819" cy="2373969"/>
            <a:chOff x="5565838" y="1695911"/>
            <a:chExt cx="3726410" cy="3582002"/>
          </a:xfrm>
        </p:grpSpPr>
        <p:cxnSp>
          <p:nvCxnSpPr>
            <p:cNvPr id="150" name="Straight Connector 149">
              <a:extLst>
                <a:ext uri="{FF2B5EF4-FFF2-40B4-BE49-F238E27FC236}">
                  <a16:creationId xmlns:a16="http://schemas.microsoft.com/office/drawing/2014/main" id="{752ED09F-632E-75A7-729F-E76006955295}"/>
                </a:ext>
              </a:extLst>
            </p:cNvPr>
            <p:cNvCxnSpPr>
              <a:cxnSpLocks/>
            </p:cNvCxnSpPr>
            <p:nvPr/>
          </p:nvCxnSpPr>
          <p:spPr>
            <a:xfrm>
              <a:off x="5977182" y="3210545"/>
              <a:ext cx="3057380" cy="0"/>
            </a:xfrm>
            <a:prstGeom prst="line">
              <a:avLst/>
            </a:prstGeom>
            <a:ln w="12700" cmpd="sng">
              <a:solidFill>
                <a:schemeClr val="tx1">
                  <a:lumMod val="40000"/>
                  <a:lumOff val="6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151" name="TextBox 150">
              <a:extLst>
                <a:ext uri="{FF2B5EF4-FFF2-40B4-BE49-F238E27FC236}">
                  <a16:creationId xmlns:a16="http://schemas.microsoft.com/office/drawing/2014/main" id="{ADAC0F7A-1A74-120E-87D8-A1234C395D6A}"/>
                </a:ext>
              </a:extLst>
            </p:cNvPr>
            <p:cNvSpPr txBox="1"/>
            <p:nvPr/>
          </p:nvSpPr>
          <p:spPr>
            <a:xfrm>
              <a:off x="5565838" y="1695911"/>
              <a:ext cx="279089" cy="240743"/>
            </a:xfrm>
            <a:prstGeom prst="rect">
              <a:avLst/>
            </a:prstGeom>
            <a:noFill/>
          </p:spPr>
          <p:txBody>
            <a:bodyPr wrap="none" lIns="0" tIns="0" rIns="0" bIns="0" rtlCol="0" anchor="ctr">
              <a:no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100</a:t>
              </a:r>
            </a:p>
          </p:txBody>
        </p:sp>
        <p:sp>
          <p:nvSpPr>
            <p:cNvPr id="152" name="TextBox 151">
              <a:extLst>
                <a:ext uri="{FF2B5EF4-FFF2-40B4-BE49-F238E27FC236}">
                  <a16:creationId xmlns:a16="http://schemas.microsoft.com/office/drawing/2014/main" id="{A92C4E5A-3F36-43CA-DE54-2DFBA027AE54}"/>
                </a:ext>
              </a:extLst>
            </p:cNvPr>
            <p:cNvSpPr txBox="1"/>
            <p:nvPr/>
          </p:nvSpPr>
          <p:spPr>
            <a:xfrm>
              <a:off x="5671075" y="4466735"/>
              <a:ext cx="173852" cy="240743"/>
            </a:xfrm>
            <a:prstGeom prst="rect">
              <a:avLst/>
            </a:prstGeom>
            <a:noFill/>
          </p:spPr>
          <p:txBody>
            <a:bodyPr wrap="none" lIns="0" tIns="0" rIns="0" bIns="0" rtlCol="0" anchor="ctr">
              <a:no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0</a:t>
              </a:r>
            </a:p>
          </p:txBody>
        </p:sp>
        <p:sp>
          <p:nvSpPr>
            <p:cNvPr id="153" name="TextBox 152">
              <a:extLst>
                <a:ext uri="{FF2B5EF4-FFF2-40B4-BE49-F238E27FC236}">
                  <a16:creationId xmlns:a16="http://schemas.microsoft.com/office/drawing/2014/main" id="{5B21AA42-3C3A-9636-25B3-09D7753F9D75}"/>
                </a:ext>
              </a:extLst>
            </p:cNvPr>
            <p:cNvSpPr txBox="1"/>
            <p:nvPr/>
          </p:nvSpPr>
          <p:spPr>
            <a:xfrm>
              <a:off x="5618457" y="3912572"/>
              <a:ext cx="226471" cy="240743"/>
            </a:xfrm>
            <a:prstGeom prst="rect">
              <a:avLst/>
            </a:prstGeom>
            <a:noFill/>
          </p:spPr>
          <p:txBody>
            <a:bodyPr wrap="none" lIns="0" tIns="0" rIns="0" bIns="0" rtlCol="0" anchor="ctr">
              <a:no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20</a:t>
              </a:r>
            </a:p>
          </p:txBody>
        </p:sp>
        <p:sp>
          <p:nvSpPr>
            <p:cNvPr id="154" name="TextBox 153">
              <a:extLst>
                <a:ext uri="{FF2B5EF4-FFF2-40B4-BE49-F238E27FC236}">
                  <a16:creationId xmlns:a16="http://schemas.microsoft.com/office/drawing/2014/main" id="{69A2F74D-6D99-DBE1-FBF7-D480DC1F2A1D}"/>
                </a:ext>
              </a:extLst>
            </p:cNvPr>
            <p:cNvSpPr txBox="1"/>
            <p:nvPr/>
          </p:nvSpPr>
          <p:spPr>
            <a:xfrm>
              <a:off x="5618457" y="3358407"/>
              <a:ext cx="226471" cy="240743"/>
            </a:xfrm>
            <a:prstGeom prst="rect">
              <a:avLst/>
            </a:prstGeom>
            <a:noFill/>
          </p:spPr>
          <p:txBody>
            <a:bodyPr wrap="none" lIns="0" tIns="0" rIns="0" bIns="0" rtlCol="0" anchor="ctr">
              <a:no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40</a:t>
              </a:r>
            </a:p>
          </p:txBody>
        </p:sp>
        <p:sp>
          <p:nvSpPr>
            <p:cNvPr id="155" name="TextBox 154">
              <a:extLst>
                <a:ext uri="{FF2B5EF4-FFF2-40B4-BE49-F238E27FC236}">
                  <a16:creationId xmlns:a16="http://schemas.microsoft.com/office/drawing/2014/main" id="{585E3AB5-74FC-6CBD-40F6-2484CE2F9B4D}"/>
                </a:ext>
              </a:extLst>
            </p:cNvPr>
            <p:cNvSpPr txBox="1"/>
            <p:nvPr/>
          </p:nvSpPr>
          <p:spPr>
            <a:xfrm>
              <a:off x="5618457" y="2250076"/>
              <a:ext cx="226471" cy="240743"/>
            </a:xfrm>
            <a:prstGeom prst="rect">
              <a:avLst/>
            </a:prstGeom>
            <a:noFill/>
          </p:spPr>
          <p:txBody>
            <a:bodyPr wrap="none" lIns="0" tIns="0" rIns="0" bIns="0" rtlCol="0" anchor="ctr">
              <a:no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80</a:t>
              </a:r>
            </a:p>
          </p:txBody>
        </p:sp>
        <p:sp>
          <p:nvSpPr>
            <p:cNvPr id="156" name="TextBox 155">
              <a:extLst>
                <a:ext uri="{FF2B5EF4-FFF2-40B4-BE49-F238E27FC236}">
                  <a16:creationId xmlns:a16="http://schemas.microsoft.com/office/drawing/2014/main" id="{02510E17-B8AA-808D-7D82-BCCF503E52F6}"/>
                </a:ext>
              </a:extLst>
            </p:cNvPr>
            <p:cNvSpPr txBox="1"/>
            <p:nvPr/>
          </p:nvSpPr>
          <p:spPr>
            <a:xfrm>
              <a:off x="5618457" y="2804241"/>
              <a:ext cx="226471" cy="240743"/>
            </a:xfrm>
            <a:prstGeom prst="rect">
              <a:avLst/>
            </a:prstGeom>
            <a:noFill/>
          </p:spPr>
          <p:txBody>
            <a:bodyPr wrap="none" lIns="0" tIns="0" rIns="0" bIns="0" rtlCol="0" anchor="ctr">
              <a:no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60</a:t>
              </a:r>
            </a:p>
          </p:txBody>
        </p:sp>
        <p:sp>
          <p:nvSpPr>
            <p:cNvPr id="157" name="TextBox 156">
              <a:extLst>
                <a:ext uri="{FF2B5EF4-FFF2-40B4-BE49-F238E27FC236}">
                  <a16:creationId xmlns:a16="http://schemas.microsoft.com/office/drawing/2014/main" id="{B974197A-CFED-3389-1EB3-91DC18DC133F}"/>
                </a:ext>
              </a:extLst>
            </p:cNvPr>
            <p:cNvSpPr txBox="1"/>
            <p:nvPr/>
          </p:nvSpPr>
          <p:spPr>
            <a:xfrm>
              <a:off x="5870919" y="4894788"/>
              <a:ext cx="3232451" cy="383125"/>
            </a:xfrm>
            <a:prstGeom prst="rect">
              <a:avLst/>
            </a:prstGeom>
            <a:noFill/>
          </p:spPr>
          <p:txBody>
            <a:bodyPr wrap="square" rtlCol="0" anchor="ctr">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Time, months</a:t>
              </a:r>
            </a:p>
          </p:txBody>
        </p:sp>
        <p:sp>
          <p:nvSpPr>
            <p:cNvPr id="158" name="Freeform: Shape 30">
              <a:extLst>
                <a:ext uri="{FF2B5EF4-FFF2-40B4-BE49-F238E27FC236}">
                  <a16:creationId xmlns:a16="http://schemas.microsoft.com/office/drawing/2014/main" id="{BC8756B9-9C80-ADF3-C0C9-BC3F7100BDF2}"/>
                </a:ext>
              </a:extLst>
            </p:cNvPr>
            <p:cNvSpPr/>
            <p:nvPr/>
          </p:nvSpPr>
          <p:spPr>
            <a:xfrm>
              <a:off x="5959704" y="1818573"/>
              <a:ext cx="7981" cy="2783944"/>
            </a:xfrm>
            <a:custGeom>
              <a:avLst/>
              <a:gdLst>
                <a:gd name="connsiteX0" fmla="*/ 0 w 12157"/>
                <a:gd name="connsiteY0" fmla="*/ 0 h 3203210"/>
                <a:gd name="connsiteX1" fmla="*/ 0 w 12157"/>
                <a:gd name="connsiteY1" fmla="*/ 3203211 h 3203210"/>
              </a:gdLst>
              <a:ahLst/>
              <a:cxnLst>
                <a:cxn ang="0">
                  <a:pos x="connsiteX0" y="connsiteY0"/>
                </a:cxn>
                <a:cxn ang="0">
                  <a:pos x="connsiteX1" y="connsiteY1"/>
                </a:cxn>
              </a:cxnLst>
              <a:rect l="l" t="t" r="r" b="b"/>
              <a:pathLst>
                <a:path w="12157" h="3203210">
                  <a:moveTo>
                    <a:pt x="0" y="0"/>
                  </a:moveTo>
                  <a:lnTo>
                    <a:pt x="0" y="3203211"/>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9" name="Freeform: Shape 32">
              <a:extLst>
                <a:ext uri="{FF2B5EF4-FFF2-40B4-BE49-F238E27FC236}">
                  <a16:creationId xmlns:a16="http://schemas.microsoft.com/office/drawing/2014/main" id="{41FD5459-E635-F330-7728-CE48802BB41F}"/>
                </a:ext>
              </a:extLst>
            </p:cNvPr>
            <p:cNvSpPr/>
            <p:nvPr/>
          </p:nvSpPr>
          <p:spPr>
            <a:xfrm>
              <a:off x="6474310" y="4602518"/>
              <a:ext cx="798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0" name="Freeform: Shape 34">
              <a:extLst>
                <a:ext uri="{FF2B5EF4-FFF2-40B4-BE49-F238E27FC236}">
                  <a16:creationId xmlns:a16="http://schemas.microsoft.com/office/drawing/2014/main" id="{9FC2C93B-4858-E80C-1E22-1067EFC0E2B7}"/>
                </a:ext>
              </a:extLst>
            </p:cNvPr>
            <p:cNvSpPr/>
            <p:nvPr/>
          </p:nvSpPr>
          <p:spPr>
            <a:xfrm>
              <a:off x="6979420" y="4602518"/>
              <a:ext cx="798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1" name="Freeform: Shape 36">
              <a:extLst>
                <a:ext uri="{FF2B5EF4-FFF2-40B4-BE49-F238E27FC236}">
                  <a16:creationId xmlns:a16="http://schemas.microsoft.com/office/drawing/2014/main" id="{84CD9AF4-86A0-98F4-BBC0-0F30DF3C37DF}"/>
                </a:ext>
              </a:extLst>
            </p:cNvPr>
            <p:cNvSpPr/>
            <p:nvPr/>
          </p:nvSpPr>
          <p:spPr>
            <a:xfrm>
              <a:off x="7484530" y="4602518"/>
              <a:ext cx="798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2" name="Freeform: Shape 38">
              <a:extLst>
                <a:ext uri="{FF2B5EF4-FFF2-40B4-BE49-F238E27FC236}">
                  <a16:creationId xmlns:a16="http://schemas.microsoft.com/office/drawing/2014/main" id="{4B06FF3A-DC7A-C998-A0EB-F6EB601CEEE9}"/>
                </a:ext>
              </a:extLst>
            </p:cNvPr>
            <p:cNvSpPr/>
            <p:nvPr/>
          </p:nvSpPr>
          <p:spPr>
            <a:xfrm>
              <a:off x="7989639" y="4602518"/>
              <a:ext cx="798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3" name="Freeform: Shape 45">
              <a:extLst>
                <a:ext uri="{FF2B5EF4-FFF2-40B4-BE49-F238E27FC236}">
                  <a16:creationId xmlns:a16="http://schemas.microsoft.com/office/drawing/2014/main" id="{BF22285D-8991-9F66-1480-4B15AE215EC5}"/>
                </a:ext>
              </a:extLst>
            </p:cNvPr>
            <p:cNvSpPr/>
            <p:nvPr/>
          </p:nvSpPr>
          <p:spPr>
            <a:xfrm>
              <a:off x="5893927" y="4591952"/>
              <a:ext cx="55033"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4" name="Freeform: Shape 47">
              <a:extLst>
                <a:ext uri="{FF2B5EF4-FFF2-40B4-BE49-F238E27FC236}">
                  <a16:creationId xmlns:a16="http://schemas.microsoft.com/office/drawing/2014/main" id="{11A5334B-B66D-0CE5-B6EB-4865F360445A}"/>
                </a:ext>
              </a:extLst>
            </p:cNvPr>
            <p:cNvSpPr/>
            <p:nvPr/>
          </p:nvSpPr>
          <p:spPr>
            <a:xfrm>
              <a:off x="5893927" y="4037276"/>
              <a:ext cx="55033"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5" name="Freeform: Shape 49">
              <a:extLst>
                <a:ext uri="{FF2B5EF4-FFF2-40B4-BE49-F238E27FC236}">
                  <a16:creationId xmlns:a16="http://schemas.microsoft.com/office/drawing/2014/main" id="{AB17BBF5-B19D-64A9-E189-1882FDC109B3}"/>
                </a:ext>
              </a:extLst>
            </p:cNvPr>
            <p:cNvSpPr/>
            <p:nvPr/>
          </p:nvSpPr>
          <p:spPr>
            <a:xfrm>
              <a:off x="5893927" y="3482600"/>
              <a:ext cx="55033"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6" name="Freeform: Shape 51">
              <a:extLst>
                <a:ext uri="{FF2B5EF4-FFF2-40B4-BE49-F238E27FC236}">
                  <a16:creationId xmlns:a16="http://schemas.microsoft.com/office/drawing/2014/main" id="{BAB44815-BC2C-C693-BB81-DE09E0DA4182}"/>
                </a:ext>
              </a:extLst>
            </p:cNvPr>
            <p:cNvSpPr/>
            <p:nvPr/>
          </p:nvSpPr>
          <p:spPr>
            <a:xfrm>
              <a:off x="5893927" y="2927925"/>
              <a:ext cx="55033"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7" name="Freeform: Shape 53">
              <a:extLst>
                <a:ext uri="{FF2B5EF4-FFF2-40B4-BE49-F238E27FC236}">
                  <a16:creationId xmlns:a16="http://schemas.microsoft.com/office/drawing/2014/main" id="{D87CC335-20FF-D5FF-EFFE-5A52ED11C4DA}"/>
                </a:ext>
              </a:extLst>
            </p:cNvPr>
            <p:cNvSpPr/>
            <p:nvPr/>
          </p:nvSpPr>
          <p:spPr>
            <a:xfrm>
              <a:off x="5893927" y="2373249"/>
              <a:ext cx="55033"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8" name="Freeform: Shape 55">
              <a:extLst>
                <a:ext uri="{FF2B5EF4-FFF2-40B4-BE49-F238E27FC236}">
                  <a16:creationId xmlns:a16="http://schemas.microsoft.com/office/drawing/2014/main" id="{574C3C2F-CC06-5224-5523-391895270CD0}"/>
                </a:ext>
              </a:extLst>
            </p:cNvPr>
            <p:cNvSpPr/>
            <p:nvPr/>
          </p:nvSpPr>
          <p:spPr>
            <a:xfrm>
              <a:off x="5893927" y="1818573"/>
              <a:ext cx="55033" cy="10566"/>
            </a:xfrm>
            <a:custGeom>
              <a:avLst/>
              <a:gdLst>
                <a:gd name="connsiteX0" fmla="*/ 70394 w 70393"/>
                <a:gd name="connsiteY0" fmla="*/ 0 h 12157"/>
                <a:gd name="connsiteX1" fmla="*/ 0 w 70393"/>
                <a:gd name="connsiteY1" fmla="*/ 0 h 12157"/>
              </a:gdLst>
              <a:ahLst/>
              <a:cxnLst>
                <a:cxn ang="0">
                  <a:pos x="connsiteX0" y="connsiteY0"/>
                </a:cxn>
                <a:cxn ang="0">
                  <a:pos x="connsiteX1" y="connsiteY1"/>
                </a:cxn>
              </a:cxnLst>
              <a:rect l="l" t="t" r="r" b="b"/>
              <a:pathLst>
                <a:path w="70393" h="12157">
                  <a:moveTo>
                    <a:pt x="70394" y="0"/>
                  </a:moveTo>
                  <a:lnTo>
                    <a:pt x="0" y="0"/>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0" name="Freeform: Shape 44">
              <a:extLst>
                <a:ext uri="{FF2B5EF4-FFF2-40B4-BE49-F238E27FC236}">
                  <a16:creationId xmlns:a16="http://schemas.microsoft.com/office/drawing/2014/main" id="{1688EF91-0067-80B0-AC09-68FF2FA4F037}"/>
                </a:ext>
              </a:extLst>
            </p:cNvPr>
            <p:cNvSpPr/>
            <p:nvPr/>
          </p:nvSpPr>
          <p:spPr>
            <a:xfrm>
              <a:off x="5959704" y="4602518"/>
              <a:ext cx="3332544" cy="0"/>
            </a:xfrm>
            <a:custGeom>
              <a:avLst/>
              <a:gdLst>
                <a:gd name="connsiteX0" fmla="*/ 7181115 w 7181114"/>
                <a:gd name="connsiteY0" fmla="*/ 0 h 12157"/>
                <a:gd name="connsiteX1" fmla="*/ 0 w 7181114"/>
                <a:gd name="connsiteY1" fmla="*/ 0 h 12157"/>
              </a:gdLst>
              <a:ahLst/>
              <a:cxnLst>
                <a:cxn ang="0">
                  <a:pos x="connsiteX0" y="connsiteY0"/>
                </a:cxn>
                <a:cxn ang="0">
                  <a:pos x="connsiteX1" y="connsiteY1"/>
                </a:cxn>
              </a:cxnLst>
              <a:rect l="l" t="t" r="r" b="b"/>
              <a:pathLst>
                <a:path w="7181114" h="12157">
                  <a:moveTo>
                    <a:pt x="7181115" y="0"/>
                  </a:moveTo>
                  <a:lnTo>
                    <a:pt x="0" y="0"/>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1" name="TextBox 170">
              <a:extLst>
                <a:ext uri="{FF2B5EF4-FFF2-40B4-BE49-F238E27FC236}">
                  <a16:creationId xmlns:a16="http://schemas.microsoft.com/office/drawing/2014/main" id="{B4A16D73-C81B-6999-489E-4D6EAE734F8E}"/>
                </a:ext>
              </a:extLst>
            </p:cNvPr>
            <p:cNvSpPr txBox="1"/>
            <p:nvPr/>
          </p:nvSpPr>
          <p:spPr>
            <a:xfrm>
              <a:off x="5864561" y="4740460"/>
              <a:ext cx="206249" cy="157560"/>
            </a:xfrm>
            <a:prstGeom prst="rect">
              <a:avLst/>
            </a:prstGeom>
            <a:noFill/>
          </p:spPr>
          <p:txBody>
            <a:bodyPr wrap="none" lIns="0" tIns="0" rIns="0" bIns="0"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0</a:t>
              </a:r>
            </a:p>
          </p:txBody>
        </p:sp>
        <p:sp>
          <p:nvSpPr>
            <p:cNvPr id="172" name="Freeform: Shape 32">
              <a:extLst>
                <a:ext uri="{FF2B5EF4-FFF2-40B4-BE49-F238E27FC236}">
                  <a16:creationId xmlns:a16="http://schemas.microsoft.com/office/drawing/2014/main" id="{8A6C4EDD-F140-C4EF-C521-C758C714477C}"/>
                </a:ext>
              </a:extLst>
            </p:cNvPr>
            <p:cNvSpPr/>
            <p:nvPr/>
          </p:nvSpPr>
          <p:spPr>
            <a:xfrm>
              <a:off x="5969200" y="4602518"/>
              <a:ext cx="798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3" name="Freeform: Shape 38">
              <a:extLst>
                <a:ext uri="{FF2B5EF4-FFF2-40B4-BE49-F238E27FC236}">
                  <a16:creationId xmlns:a16="http://schemas.microsoft.com/office/drawing/2014/main" id="{74DCA1A0-601D-2215-8C38-1C74380D971E}"/>
                </a:ext>
              </a:extLst>
            </p:cNvPr>
            <p:cNvSpPr/>
            <p:nvPr/>
          </p:nvSpPr>
          <p:spPr>
            <a:xfrm>
              <a:off x="8999857" y="4602518"/>
              <a:ext cx="798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4" name="Freeform: Shape 38">
              <a:extLst>
                <a:ext uri="{FF2B5EF4-FFF2-40B4-BE49-F238E27FC236}">
                  <a16:creationId xmlns:a16="http://schemas.microsoft.com/office/drawing/2014/main" id="{51611329-A698-0BC6-B361-70ED7D4E7E49}"/>
                </a:ext>
              </a:extLst>
            </p:cNvPr>
            <p:cNvSpPr/>
            <p:nvPr/>
          </p:nvSpPr>
          <p:spPr>
            <a:xfrm>
              <a:off x="8494749" y="4602518"/>
              <a:ext cx="7981" cy="61179"/>
            </a:xfrm>
            <a:custGeom>
              <a:avLst/>
              <a:gdLst>
                <a:gd name="connsiteX0" fmla="*/ 0 w 12157"/>
                <a:gd name="connsiteY0" fmla="*/ 0 h 70393"/>
                <a:gd name="connsiteX1" fmla="*/ 0 w 12157"/>
                <a:gd name="connsiteY1" fmla="*/ 70394 h 70393"/>
              </a:gdLst>
              <a:ahLst/>
              <a:cxnLst>
                <a:cxn ang="0">
                  <a:pos x="connsiteX0" y="connsiteY0"/>
                </a:cxn>
                <a:cxn ang="0">
                  <a:pos x="connsiteX1" y="connsiteY1"/>
                </a:cxn>
              </a:cxnLst>
              <a:rect l="l" t="t" r="r" b="b"/>
              <a:pathLst>
                <a:path w="12157" h="70393">
                  <a:moveTo>
                    <a:pt x="0" y="0"/>
                  </a:moveTo>
                  <a:lnTo>
                    <a:pt x="0" y="70394"/>
                  </a:lnTo>
                </a:path>
              </a:pathLst>
            </a:custGeom>
            <a:ln w="19050" cap="sq">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5" name="TextBox 174">
              <a:extLst>
                <a:ext uri="{FF2B5EF4-FFF2-40B4-BE49-F238E27FC236}">
                  <a16:creationId xmlns:a16="http://schemas.microsoft.com/office/drawing/2014/main" id="{344F6FCF-0483-53FA-01C2-A0E6225E6801}"/>
                </a:ext>
              </a:extLst>
            </p:cNvPr>
            <p:cNvSpPr txBox="1"/>
            <p:nvPr/>
          </p:nvSpPr>
          <p:spPr>
            <a:xfrm>
              <a:off x="6370755" y="4740460"/>
              <a:ext cx="206249" cy="157560"/>
            </a:xfrm>
            <a:prstGeom prst="rect">
              <a:avLst/>
            </a:prstGeom>
            <a:noFill/>
          </p:spPr>
          <p:txBody>
            <a:bodyPr wrap="none" lIns="0" tIns="0" rIns="0" bIns="0"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6</a:t>
              </a:r>
            </a:p>
          </p:txBody>
        </p:sp>
        <p:sp>
          <p:nvSpPr>
            <p:cNvPr id="176" name="TextBox 175">
              <a:extLst>
                <a:ext uri="{FF2B5EF4-FFF2-40B4-BE49-F238E27FC236}">
                  <a16:creationId xmlns:a16="http://schemas.microsoft.com/office/drawing/2014/main" id="{B91235AE-E08D-179A-F6C4-F30DED4B9FCF}"/>
                </a:ext>
              </a:extLst>
            </p:cNvPr>
            <p:cNvSpPr txBox="1"/>
            <p:nvPr/>
          </p:nvSpPr>
          <p:spPr>
            <a:xfrm>
              <a:off x="6876949" y="4740460"/>
              <a:ext cx="206249" cy="157560"/>
            </a:xfrm>
            <a:prstGeom prst="rect">
              <a:avLst/>
            </a:prstGeom>
            <a:noFill/>
          </p:spPr>
          <p:txBody>
            <a:bodyPr wrap="none" lIns="0" tIns="0" rIns="0" bIns="0"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12</a:t>
              </a:r>
            </a:p>
          </p:txBody>
        </p:sp>
        <p:sp>
          <p:nvSpPr>
            <p:cNvPr id="177" name="TextBox 176">
              <a:extLst>
                <a:ext uri="{FF2B5EF4-FFF2-40B4-BE49-F238E27FC236}">
                  <a16:creationId xmlns:a16="http://schemas.microsoft.com/office/drawing/2014/main" id="{2B39E524-32A1-F902-9195-665F400F277F}"/>
                </a:ext>
              </a:extLst>
            </p:cNvPr>
            <p:cNvSpPr txBox="1"/>
            <p:nvPr/>
          </p:nvSpPr>
          <p:spPr>
            <a:xfrm>
              <a:off x="7383143" y="4740460"/>
              <a:ext cx="206249" cy="157560"/>
            </a:xfrm>
            <a:prstGeom prst="rect">
              <a:avLst/>
            </a:prstGeom>
            <a:noFill/>
          </p:spPr>
          <p:txBody>
            <a:bodyPr wrap="none" lIns="0" tIns="0" rIns="0" bIns="0"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18</a:t>
              </a:r>
            </a:p>
          </p:txBody>
        </p:sp>
        <p:sp>
          <p:nvSpPr>
            <p:cNvPr id="178" name="TextBox 177">
              <a:extLst>
                <a:ext uri="{FF2B5EF4-FFF2-40B4-BE49-F238E27FC236}">
                  <a16:creationId xmlns:a16="http://schemas.microsoft.com/office/drawing/2014/main" id="{50562AFF-87F2-41DA-D550-BBFC5FF9418F}"/>
                </a:ext>
              </a:extLst>
            </p:cNvPr>
            <p:cNvSpPr txBox="1"/>
            <p:nvPr/>
          </p:nvSpPr>
          <p:spPr>
            <a:xfrm>
              <a:off x="7889338" y="4740460"/>
              <a:ext cx="206249" cy="157560"/>
            </a:xfrm>
            <a:prstGeom prst="rect">
              <a:avLst/>
            </a:prstGeom>
            <a:noFill/>
          </p:spPr>
          <p:txBody>
            <a:bodyPr wrap="none" lIns="0" tIns="0" rIns="0" bIns="0"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24</a:t>
              </a:r>
            </a:p>
          </p:txBody>
        </p:sp>
        <p:sp>
          <p:nvSpPr>
            <p:cNvPr id="179" name="TextBox 178">
              <a:extLst>
                <a:ext uri="{FF2B5EF4-FFF2-40B4-BE49-F238E27FC236}">
                  <a16:creationId xmlns:a16="http://schemas.microsoft.com/office/drawing/2014/main" id="{3BC577A3-B63A-0D6D-A0B7-1720AE285E9E}"/>
                </a:ext>
              </a:extLst>
            </p:cNvPr>
            <p:cNvSpPr txBox="1"/>
            <p:nvPr/>
          </p:nvSpPr>
          <p:spPr>
            <a:xfrm>
              <a:off x="8395532" y="4740460"/>
              <a:ext cx="206249" cy="157560"/>
            </a:xfrm>
            <a:prstGeom prst="rect">
              <a:avLst/>
            </a:prstGeom>
            <a:noFill/>
          </p:spPr>
          <p:txBody>
            <a:bodyPr wrap="none" lIns="0" tIns="0" rIns="0" bIns="0"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30</a:t>
              </a:r>
            </a:p>
          </p:txBody>
        </p:sp>
        <p:sp>
          <p:nvSpPr>
            <p:cNvPr id="180" name="TextBox 179">
              <a:extLst>
                <a:ext uri="{FF2B5EF4-FFF2-40B4-BE49-F238E27FC236}">
                  <a16:creationId xmlns:a16="http://schemas.microsoft.com/office/drawing/2014/main" id="{C3BBE984-027C-22AF-84C6-0AF1658C1A05}"/>
                </a:ext>
              </a:extLst>
            </p:cNvPr>
            <p:cNvSpPr txBox="1"/>
            <p:nvPr/>
          </p:nvSpPr>
          <p:spPr>
            <a:xfrm>
              <a:off x="8901728" y="4740460"/>
              <a:ext cx="206249" cy="157560"/>
            </a:xfrm>
            <a:prstGeom prst="rect">
              <a:avLst/>
            </a:prstGeom>
            <a:noFill/>
          </p:spPr>
          <p:txBody>
            <a:bodyPr wrap="none" lIns="0" tIns="0" rIns="0" bIns="0"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36</a:t>
              </a:r>
            </a:p>
          </p:txBody>
        </p:sp>
        <p:sp>
          <p:nvSpPr>
            <p:cNvPr id="181" name="Freeform: Shape 180">
              <a:extLst>
                <a:ext uri="{FF2B5EF4-FFF2-40B4-BE49-F238E27FC236}">
                  <a16:creationId xmlns:a16="http://schemas.microsoft.com/office/drawing/2014/main" id="{8D57D00C-89E2-9156-CAB8-0F18066ECC8A}"/>
                </a:ext>
              </a:extLst>
            </p:cNvPr>
            <p:cNvSpPr/>
            <p:nvPr/>
          </p:nvSpPr>
          <p:spPr>
            <a:xfrm>
              <a:off x="5979468" y="1812970"/>
              <a:ext cx="3304798" cy="1125521"/>
            </a:xfrm>
            <a:custGeom>
              <a:avLst/>
              <a:gdLst>
                <a:gd name="connsiteX0" fmla="*/ 8325293 w 8325293"/>
                <a:gd name="connsiteY0" fmla="*/ 898451 h 898451"/>
                <a:gd name="connsiteX1" fmla="*/ 3599121 w 8325293"/>
                <a:gd name="connsiteY1" fmla="*/ 898451 h 898451"/>
                <a:gd name="connsiteX2" fmla="*/ 3599121 w 8325293"/>
                <a:gd name="connsiteY2" fmla="*/ 861237 h 898451"/>
                <a:gd name="connsiteX3" fmla="*/ 3583172 w 8325293"/>
                <a:gd name="connsiteY3" fmla="*/ 861237 h 898451"/>
                <a:gd name="connsiteX4" fmla="*/ 3583172 w 8325293"/>
                <a:gd name="connsiteY4" fmla="*/ 829339 h 898451"/>
                <a:gd name="connsiteX5" fmla="*/ 3381153 w 8325293"/>
                <a:gd name="connsiteY5" fmla="*/ 829339 h 898451"/>
                <a:gd name="connsiteX6" fmla="*/ 3381153 w 8325293"/>
                <a:gd name="connsiteY6" fmla="*/ 781493 h 898451"/>
                <a:gd name="connsiteX7" fmla="*/ 2817628 w 8325293"/>
                <a:gd name="connsiteY7" fmla="*/ 781493 h 898451"/>
                <a:gd name="connsiteX8" fmla="*/ 2817628 w 8325293"/>
                <a:gd name="connsiteY8" fmla="*/ 744279 h 898451"/>
                <a:gd name="connsiteX9" fmla="*/ 2684721 w 8325293"/>
                <a:gd name="connsiteY9" fmla="*/ 744279 h 898451"/>
                <a:gd name="connsiteX10" fmla="*/ 2684721 w 8325293"/>
                <a:gd name="connsiteY10" fmla="*/ 701749 h 898451"/>
                <a:gd name="connsiteX11" fmla="*/ 2413591 w 8325293"/>
                <a:gd name="connsiteY11" fmla="*/ 701749 h 898451"/>
                <a:gd name="connsiteX12" fmla="*/ 2413591 w 8325293"/>
                <a:gd name="connsiteY12" fmla="*/ 659219 h 898451"/>
                <a:gd name="connsiteX13" fmla="*/ 2259419 w 8325293"/>
                <a:gd name="connsiteY13" fmla="*/ 659219 h 898451"/>
                <a:gd name="connsiteX14" fmla="*/ 2259419 w 8325293"/>
                <a:gd name="connsiteY14" fmla="*/ 632637 h 898451"/>
                <a:gd name="connsiteX15" fmla="*/ 2190307 w 8325293"/>
                <a:gd name="connsiteY15" fmla="*/ 632637 h 898451"/>
                <a:gd name="connsiteX16" fmla="*/ 2190307 w 8325293"/>
                <a:gd name="connsiteY16" fmla="*/ 590107 h 898451"/>
                <a:gd name="connsiteX17" fmla="*/ 2174358 w 8325293"/>
                <a:gd name="connsiteY17" fmla="*/ 590107 h 898451"/>
                <a:gd name="connsiteX18" fmla="*/ 2174358 w 8325293"/>
                <a:gd name="connsiteY18" fmla="*/ 547577 h 898451"/>
                <a:gd name="connsiteX19" fmla="*/ 1860698 w 8325293"/>
                <a:gd name="connsiteY19" fmla="*/ 547577 h 898451"/>
                <a:gd name="connsiteX20" fmla="*/ 1860698 w 8325293"/>
                <a:gd name="connsiteY20" fmla="*/ 510363 h 898451"/>
                <a:gd name="connsiteX21" fmla="*/ 1265274 w 8325293"/>
                <a:gd name="connsiteY21" fmla="*/ 510363 h 898451"/>
                <a:gd name="connsiteX22" fmla="*/ 1265274 w 8325293"/>
                <a:gd name="connsiteY22" fmla="*/ 473149 h 898451"/>
                <a:gd name="connsiteX23" fmla="*/ 1105786 w 8325293"/>
                <a:gd name="connsiteY23" fmla="*/ 473149 h 898451"/>
                <a:gd name="connsiteX24" fmla="*/ 1105786 w 8325293"/>
                <a:gd name="connsiteY24" fmla="*/ 435935 h 898451"/>
                <a:gd name="connsiteX25" fmla="*/ 1089837 w 8325293"/>
                <a:gd name="connsiteY25" fmla="*/ 435935 h 898451"/>
                <a:gd name="connsiteX26" fmla="*/ 1089837 w 8325293"/>
                <a:gd name="connsiteY26" fmla="*/ 409353 h 898451"/>
                <a:gd name="connsiteX27" fmla="*/ 1004777 w 8325293"/>
                <a:gd name="connsiteY27" fmla="*/ 409353 h 898451"/>
                <a:gd name="connsiteX28" fmla="*/ 1004777 w 8325293"/>
                <a:gd name="connsiteY28" fmla="*/ 361507 h 898451"/>
                <a:gd name="connsiteX29" fmla="*/ 988828 w 8325293"/>
                <a:gd name="connsiteY29" fmla="*/ 361507 h 898451"/>
                <a:gd name="connsiteX30" fmla="*/ 988828 w 8325293"/>
                <a:gd name="connsiteY30" fmla="*/ 324293 h 898451"/>
                <a:gd name="connsiteX31" fmla="*/ 898451 w 8325293"/>
                <a:gd name="connsiteY31" fmla="*/ 324293 h 898451"/>
                <a:gd name="connsiteX32" fmla="*/ 898451 w 8325293"/>
                <a:gd name="connsiteY32" fmla="*/ 292395 h 898451"/>
                <a:gd name="connsiteX33" fmla="*/ 781493 w 8325293"/>
                <a:gd name="connsiteY33" fmla="*/ 292395 h 898451"/>
                <a:gd name="connsiteX34" fmla="*/ 781493 w 8325293"/>
                <a:gd name="connsiteY34" fmla="*/ 249865 h 898451"/>
                <a:gd name="connsiteX35" fmla="*/ 696433 w 8325293"/>
                <a:gd name="connsiteY35" fmla="*/ 249865 h 898451"/>
                <a:gd name="connsiteX36" fmla="*/ 696433 w 8325293"/>
                <a:gd name="connsiteY36" fmla="*/ 217967 h 898451"/>
                <a:gd name="connsiteX37" fmla="*/ 552893 w 8325293"/>
                <a:gd name="connsiteY37" fmla="*/ 217967 h 898451"/>
                <a:gd name="connsiteX38" fmla="*/ 552893 w 8325293"/>
                <a:gd name="connsiteY38" fmla="*/ 180753 h 898451"/>
                <a:gd name="connsiteX39" fmla="*/ 425302 w 8325293"/>
                <a:gd name="connsiteY39" fmla="*/ 180753 h 898451"/>
                <a:gd name="connsiteX40" fmla="*/ 425302 w 8325293"/>
                <a:gd name="connsiteY40" fmla="*/ 143539 h 898451"/>
                <a:gd name="connsiteX41" fmla="*/ 404037 w 8325293"/>
                <a:gd name="connsiteY41" fmla="*/ 143539 h 898451"/>
                <a:gd name="connsiteX42" fmla="*/ 404037 w 8325293"/>
                <a:gd name="connsiteY42" fmla="*/ 106326 h 898451"/>
                <a:gd name="connsiteX43" fmla="*/ 340242 w 8325293"/>
                <a:gd name="connsiteY43" fmla="*/ 106326 h 898451"/>
                <a:gd name="connsiteX44" fmla="*/ 340242 w 8325293"/>
                <a:gd name="connsiteY44" fmla="*/ 69112 h 898451"/>
                <a:gd name="connsiteX45" fmla="*/ 303028 w 8325293"/>
                <a:gd name="connsiteY45" fmla="*/ 69112 h 898451"/>
                <a:gd name="connsiteX46" fmla="*/ 303028 w 8325293"/>
                <a:gd name="connsiteY46" fmla="*/ 26581 h 898451"/>
                <a:gd name="connsiteX47" fmla="*/ 244549 w 8325293"/>
                <a:gd name="connsiteY47" fmla="*/ 26581 h 898451"/>
                <a:gd name="connsiteX48" fmla="*/ 244549 w 8325293"/>
                <a:gd name="connsiteY48" fmla="*/ 0 h 898451"/>
                <a:gd name="connsiteX49" fmla="*/ 0 w 8325293"/>
                <a:gd name="connsiteY49" fmla="*/ 0 h 898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8325293" h="898451">
                  <a:moveTo>
                    <a:pt x="8325293" y="898451"/>
                  </a:moveTo>
                  <a:lnTo>
                    <a:pt x="3599121" y="898451"/>
                  </a:lnTo>
                  <a:lnTo>
                    <a:pt x="3599121" y="861237"/>
                  </a:lnTo>
                  <a:lnTo>
                    <a:pt x="3583172" y="861237"/>
                  </a:lnTo>
                  <a:lnTo>
                    <a:pt x="3583172" y="829339"/>
                  </a:lnTo>
                  <a:lnTo>
                    <a:pt x="3381153" y="829339"/>
                  </a:lnTo>
                  <a:lnTo>
                    <a:pt x="3381153" y="781493"/>
                  </a:lnTo>
                  <a:lnTo>
                    <a:pt x="2817628" y="781493"/>
                  </a:lnTo>
                  <a:lnTo>
                    <a:pt x="2817628" y="744279"/>
                  </a:lnTo>
                  <a:lnTo>
                    <a:pt x="2684721" y="744279"/>
                  </a:lnTo>
                  <a:lnTo>
                    <a:pt x="2684721" y="701749"/>
                  </a:lnTo>
                  <a:lnTo>
                    <a:pt x="2413591" y="701749"/>
                  </a:lnTo>
                  <a:lnTo>
                    <a:pt x="2413591" y="659219"/>
                  </a:lnTo>
                  <a:lnTo>
                    <a:pt x="2259419" y="659219"/>
                  </a:lnTo>
                  <a:lnTo>
                    <a:pt x="2259419" y="632637"/>
                  </a:lnTo>
                  <a:lnTo>
                    <a:pt x="2190307" y="632637"/>
                  </a:lnTo>
                  <a:lnTo>
                    <a:pt x="2190307" y="590107"/>
                  </a:lnTo>
                  <a:lnTo>
                    <a:pt x="2174358" y="590107"/>
                  </a:lnTo>
                  <a:lnTo>
                    <a:pt x="2174358" y="547577"/>
                  </a:lnTo>
                  <a:lnTo>
                    <a:pt x="1860698" y="547577"/>
                  </a:lnTo>
                  <a:lnTo>
                    <a:pt x="1860698" y="510363"/>
                  </a:lnTo>
                  <a:lnTo>
                    <a:pt x="1265274" y="510363"/>
                  </a:lnTo>
                  <a:lnTo>
                    <a:pt x="1265274" y="473149"/>
                  </a:lnTo>
                  <a:lnTo>
                    <a:pt x="1105786" y="473149"/>
                  </a:lnTo>
                  <a:lnTo>
                    <a:pt x="1105786" y="435935"/>
                  </a:lnTo>
                  <a:lnTo>
                    <a:pt x="1089837" y="435935"/>
                  </a:lnTo>
                  <a:lnTo>
                    <a:pt x="1089837" y="409353"/>
                  </a:lnTo>
                  <a:lnTo>
                    <a:pt x="1004777" y="409353"/>
                  </a:lnTo>
                  <a:lnTo>
                    <a:pt x="1004777" y="361507"/>
                  </a:lnTo>
                  <a:lnTo>
                    <a:pt x="988828" y="361507"/>
                  </a:lnTo>
                  <a:lnTo>
                    <a:pt x="988828" y="324293"/>
                  </a:lnTo>
                  <a:lnTo>
                    <a:pt x="898451" y="324293"/>
                  </a:lnTo>
                  <a:lnTo>
                    <a:pt x="898451" y="292395"/>
                  </a:lnTo>
                  <a:lnTo>
                    <a:pt x="781493" y="292395"/>
                  </a:lnTo>
                  <a:lnTo>
                    <a:pt x="781493" y="249865"/>
                  </a:lnTo>
                  <a:lnTo>
                    <a:pt x="696433" y="249865"/>
                  </a:lnTo>
                  <a:lnTo>
                    <a:pt x="696433" y="217967"/>
                  </a:lnTo>
                  <a:lnTo>
                    <a:pt x="552893" y="217967"/>
                  </a:lnTo>
                  <a:lnTo>
                    <a:pt x="552893" y="180753"/>
                  </a:lnTo>
                  <a:lnTo>
                    <a:pt x="425302" y="180753"/>
                  </a:lnTo>
                  <a:lnTo>
                    <a:pt x="425302" y="143539"/>
                  </a:lnTo>
                  <a:lnTo>
                    <a:pt x="404037" y="143539"/>
                  </a:lnTo>
                  <a:lnTo>
                    <a:pt x="404037" y="106326"/>
                  </a:lnTo>
                  <a:lnTo>
                    <a:pt x="340242" y="106326"/>
                  </a:lnTo>
                  <a:lnTo>
                    <a:pt x="340242" y="69112"/>
                  </a:lnTo>
                  <a:lnTo>
                    <a:pt x="303028" y="69112"/>
                  </a:lnTo>
                  <a:lnTo>
                    <a:pt x="303028" y="26581"/>
                  </a:lnTo>
                  <a:lnTo>
                    <a:pt x="244549" y="26581"/>
                  </a:lnTo>
                  <a:lnTo>
                    <a:pt x="244549" y="0"/>
                  </a:lnTo>
                  <a:lnTo>
                    <a:pt x="0" y="0"/>
                  </a:lnTo>
                </a:path>
              </a:pathLst>
            </a:custGeom>
            <a:noFill/>
            <a:ln>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148" name="Speech Bubble: Rectangle 890">
            <a:extLst>
              <a:ext uri="{FF2B5EF4-FFF2-40B4-BE49-F238E27FC236}">
                <a16:creationId xmlns:a16="http://schemas.microsoft.com/office/drawing/2014/main" id="{09CD9C05-2134-C92C-55A9-6F3D5F1CFC51}"/>
              </a:ext>
            </a:extLst>
          </p:cNvPr>
          <p:cNvSpPr/>
          <p:nvPr/>
        </p:nvSpPr>
        <p:spPr>
          <a:xfrm>
            <a:off x="6966248" y="2819694"/>
            <a:ext cx="939600" cy="397595"/>
          </a:xfrm>
          <a:prstGeom prst="wedgeRectCallout">
            <a:avLst>
              <a:gd name="adj1" fmla="val -35157"/>
              <a:gd name="adj2" fmla="val -85422"/>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54000" bIns="54000" rtlCol="0" anchor="ctr">
            <a:spAutoFit/>
          </a:bodyPr>
          <a:lstStyle/>
          <a:p>
            <a:pPr marL="0" marR="0" lvl="0" indent="0" algn="l" defTabSz="685800" rtl="0" eaLnBrk="1" fontAlgn="ctr"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59%</a:t>
            </a:r>
          </a:p>
          <a:p>
            <a:pPr marL="0" marR="0" lvl="0" indent="0" algn="l" defTabSz="685800" rtl="0" eaLnBrk="1" fontAlgn="ctr" latinLnBrk="0" hangingPunct="1">
              <a:lnSpc>
                <a:spcPct val="100000"/>
              </a:lnSpc>
              <a:spcBef>
                <a:spcPts val="0"/>
              </a:spcBef>
              <a:spcAft>
                <a:spcPts val="0"/>
              </a:spcAft>
              <a:buClrTx/>
              <a:buSzTx/>
              <a:buFontTx/>
              <a:buNone/>
              <a:tabLst/>
              <a:defRPr/>
            </a:pPr>
            <a:r>
              <a:rPr kumimoji="0" lang="en-GB" sz="825" b="0"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18-mo OS rate</a:t>
            </a:r>
            <a:endParaRPr kumimoji="0" lang="en-GB" sz="675" b="0"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endParaRPr>
          </a:p>
        </p:txBody>
      </p:sp>
      <p:sp>
        <p:nvSpPr>
          <p:cNvPr id="184" name="TextBox 183">
            <a:extLst>
              <a:ext uri="{FF2B5EF4-FFF2-40B4-BE49-F238E27FC236}">
                <a16:creationId xmlns:a16="http://schemas.microsoft.com/office/drawing/2014/main" id="{7B262F58-3F14-86AD-0B5D-23D300356529}"/>
              </a:ext>
            </a:extLst>
          </p:cNvPr>
          <p:cNvSpPr txBox="1"/>
          <p:nvPr/>
        </p:nvSpPr>
        <p:spPr>
          <a:xfrm>
            <a:off x="1946500" y="1985657"/>
            <a:ext cx="1584683" cy="1649169"/>
          </a:xfrm>
          <a:prstGeom prst="rect">
            <a:avLst/>
          </a:prstGeom>
          <a:noFill/>
        </p:spPr>
        <p:txBody>
          <a:bodyPr wrap="square">
            <a:spAutoFit/>
          </a:bodyPr>
          <a:lstStyle/>
          <a:p>
            <a:pPr marL="0" marR="0" lvl="0" indent="0" algn="ctr" defTabSz="685800" rtl="0" eaLnBrk="1" fontAlgn="auto" latinLnBrk="0" hangingPunct="1">
              <a:lnSpc>
                <a:spcPct val="100000"/>
              </a:lnSpc>
              <a:spcBef>
                <a:spcPts val="375"/>
              </a:spcBef>
              <a:spcAft>
                <a:spcPts val="0"/>
              </a:spcAft>
              <a:buClr>
                <a:srgbClr val="C30F3B"/>
              </a:buClr>
              <a:buSzPct val="120000"/>
              <a:buFontTx/>
              <a:buNone/>
              <a:tabLst/>
              <a:defRPr/>
            </a:pPr>
            <a:r>
              <a:rPr kumimoji="0" lang="en-GB" sz="1050" b="1" i="0" u="none" strike="noStrike" kern="1200" cap="none" spc="0" normalizeH="0" baseline="0" noProof="0" dirty="0" err="1">
                <a:ln>
                  <a:noFill/>
                </a:ln>
                <a:solidFill>
                  <a:srgbClr val="4472C4"/>
                </a:solidFill>
                <a:effectLst/>
                <a:uLnTx/>
                <a:uFillTx/>
                <a:latin typeface="Arial" panose="020B0604020202020204" pitchFamily="34" charset="0"/>
                <a:ea typeface="+mn-ea"/>
                <a:cs typeface="Arial" panose="020B0604020202020204" pitchFamily="34" charset="0"/>
              </a:rPr>
              <a:t>mFU</a:t>
            </a:r>
            <a:r>
              <a:rPr kumimoji="0" lang="en-GB" sz="105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 24.3 months</a:t>
            </a:r>
          </a:p>
          <a:p>
            <a:pPr marL="0" marR="0" lvl="0" indent="0" algn="ctr" defTabSz="685800" rtl="0" eaLnBrk="1" fontAlgn="auto" latinLnBrk="0" hangingPunct="1">
              <a:lnSpc>
                <a:spcPct val="100000"/>
              </a:lnSpc>
              <a:spcBef>
                <a:spcPts val="375"/>
              </a:spcBef>
              <a:spcAft>
                <a:spcPts val="0"/>
              </a:spcAft>
              <a:buClr>
                <a:srgbClr val="C30F3B"/>
              </a:buClr>
              <a:buSzPct val="120000"/>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hase 2, single-arm analysis assessing </a:t>
            </a:r>
            <a:br>
              <a:rPr kumimoji="0" lang="en-US" sz="1050" b="0" i="0" u="none" strike="noStrike" kern="120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rPr>
            </a:br>
            <a:r>
              <a:rPr kumimoji="0" lang="en-US" sz="1050" b="1" i="0" u="none" strike="noStrike" kern="1200" cap="none" spc="0" normalizeH="0" baseline="0" noProof="0" dirty="0" err="1">
                <a:ln>
                  <a:noFill/>
                </a:ln>
                <a:solidFill>
                  <a:srgbClr val="4472C4"/>
                </a:solidFill>
                <a:effectLst/>
                <a:uLnTx/>
                <a:uFillTx/>
                <a:latin typeface="Arial" panose="020B0604020202020204" pitchFamily="34" charset="0"/>
                <a:ea typeface="+mn-ea"/>
                <a:cs typeface="Arial" panose="020B0604020202020204" pitchFamily="34" charset="0"/>
              </a:rPr>
              <a:t>liso</a:t>
            </a:r>
            <a:r>
              <a:rPr kumimoji="0" lang="en-US" sz="105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cel</a:t>
            </a:r>
            <a:r>
              <a:rPr kumimoji="0" lang="en-US" sz="1050" b="0" i="0" u="none" strike="noStrike" kern="1200" cap="none" spc="0" normalizeH="0" baseline="0" noProof="0" dirty="0">
                <a:ln>
                  <a:noFill/>
                </a:ln>
                <a:solidFill>
                  <a:srgbClr val="595454"/>
                </a:solidFill>
                <a:effectLst/>
                <a:uLnTx/>
                <a:uFillTx/>
                <a:latin typeface="Arial" panose="020B0604020202020204" pitchFamily="34" charset="0"/>
                <a:ea typeface="+mn-ea"/>
                <a:cs typeface="Arial" panose="020B0604020202020204" pitchFamily="34" charset="0"/>
              </a:rPr>
              <a:t> </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s 2L treatment in patients with R/R LBCL who were deemed ineligible for </a:t>
            </a:r>
            <a:r>
              <a:rPr kumimoji="0" lang="en-US" sz="105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SCT</a:t>
            </a:r>
            <a:r>
              <a:rPr kumimoji="0" lang="en-US" sz="1050" b="0" i="0" u="none" strike="noStrike" kern="1200" cap="none" spc="0" normalizeH="0" baseline="3000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N = 61)</a:t>
            </a:r>
            <a:r>
              <a:rPr kumimoji="0" lang="en-US" sz="105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2</a:t>
            </a:r>
          </a:p>
          <a:p>
            <a:pPr marL="0" marR="0" lvl="0" indent="0" algn="ctr" defTabSz="685800" rtl="0" eaLnBrk="1" fontAlgn="auto" latinLnBrk="0" hangingPunct="1">
              <a:lnSpc>
                <a:spcPct val="100000"/>
              </a:lnSpc>
              <a:spcBef>
                <a:spcPts val="375"/>
              </a:spcBef>
              <a:spcAft>
                <a:spcPts val="0"/>
              </a:spcAft>
              <a:buClr>
                <a:srgbClr val="C30F3B"/>
              </a:buClr>
              <a:buSzPct val="120000"/>
              <a:buFontTx/>
              <a:buNone/>
              <a:tabLst/>
              <a:defRPr/>
            </a:pPr>
            <a:endParaRPr kumimoji="0" lang="en-GB" sz="1050" b="1" i="0" u="none" strike="noStrike" kern="1200" cap="none" spc="0" normalizeH="0" baseline="0" noProof="0" dirty="0">
              <a:ln>
                <a:noFill/>
              </a:ln>
              <a:solidFill>
                <a:srgbClr val="BE2BBB"/>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F4B37EB0-7B90-3E82-10D7-0E69A60C8D70}"/>
              </a:ext>
            </a:extLst>
          </p:cNvPr>
          <p:cNvSpPr txBox="1"/>
          <p:nvPr/>
        </p:nvSpPr>
        <p:spPr>
          <a:xfrm>
            <a:off x="8489414" y="3571963"/>
            <a:ext cx="1954568" cy="253916"/>
          </a:xfrm>
          <a:prstGeom prst="rect">
            <a:avLst/>
          </a:prstGeom>
          <a:noFill/>
        </p:spPr>
        <p:txBody>
          <a:bodyPr wrap="square" rtlCol="0">
            <a:spAutoFit/>
          </a:bodyPr>
          <a:lstStyle/>
          <a:p>
            <a:pPr marL="0" marR="0" lvl="0" indent="0" algn="l" defTabSz="3429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a:t>
            </a:r>
            <a:r>
              <a:rPr kumimoji="0" lang="en-US" sz="1050" b="1"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eaths</a:t>
            </a:r>
            <a:r>
              <a:rPr kumimoji="0" lang="en-US" sz="10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due to infection: </a:t>
            </a:r>
            <a:r>
              <a:rPr kumimoji="0" lang="en-US" sz="1050" b="1" i="0" u="none" strike="noStrike" kern="120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2%</a:t>
            </a:r>
          </a:p>
        </p:txBody>
      </p:sp>
      <p:sp>
        <p:nvSpPr>
          <p:cNvPr id="2" name="TextBox 1">
            <a:extLst>
              <a:ext uri="{FF2B5EF4-FFF2-40B4-BE49-F238E27FC236}">
                <a16:creationId xmlns:a16="http://schemas.microsoft.com/office/drawing/2014/main" id="{EA9CA3B1-57B7-1E53-AB4C-4DC0C4ED7867}"/>
              </a:ext>
            </a:extLst>
          </p:cNvPr>
          <p:cNvSpPr txBox="1"/>
          <p:nvPr/>
        </p:nvSpPr>
        <p:spPr>
          <a:xfrm rot="16200000">
            <a:off x="5624530" y="2718783"/>
            <a:ext cx="478310" cy="180557"/>
          </a:xfrm>
          <a:prstGeom prst="rect">
            <a:avLst/>
          </a:prstGeom>
          <a:noFill/>
        </p:spPr>
        <p:txBody>
          <a:bodyPr wrap="none" lIns="0" tIns="0" rIns="0" bIns="0" rtlCol="0" anchor="ctr">
            <a:noAutofit/>
          </a:bodyPr>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solidFill>
                  <a:prstClr val="black"/>
                </a:solidFill>
                <a:effectLst/>
                <a:uLnTx/>
                <a:uFillTx/>
                <a:latin typeface="Arial" panose="020B0604020202020204" pitchFamily="34" charset="0"/>
                <a:ea typeface="+mn-ea"/>
                <a:cs typeface="Arial" panose="020B0604020202020204" pitchFamily="34" charset="0"/>
                <a:sym typeface="Arial"/>
                <a:rtl val="0"/>
              </a:rPr>
              <a:t>OS, %</a:t>
            </a:r>
          </a:p>
        </p:txBody>
      </p:sp>
    </p:spTree>
    <p:extLst>
      <p:ext uri="{BB962C8B-B14F-4D97-AF65-F5344CB8AC3E}">
        <p14:creationId xmlns:p14="http://schemas.microsoft.com/office/powerpoint/2010/main" val="696108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8">
            <a:extLst>
              <a:ext uri="{FF2B5EF4-FFF2-40B4-BE49-F238E27FC236}">
                <a16:creationId xmlns:a16="http://schemas.microsoft.com/office/drawing/2014/main" id="{CBF4FD66-E8C8-CF03-177A-9681E7E1BE69}"/>
              </a:ext>
            </a:extLst>
          </p:cNvPr>
          <p:cNvSpPr>
            <a:spLocks noGrp="1"/>
          </p:cNvSpPr>
          <p:nvPr>
            <p:ph type="title"/>
          </p:nvPr>
        </p:nvSpPr>
        <p:spPr/>
        <p:txBody>
          <a:bodyPr>
            <a:noAutofit/>
          </a:bodyPr>
          <a:lstStyle/>
          <a:p>
            <a:pPr algn="ctr">
              <a:spcBef>
                <a:spcPts val="450"/>
              </a:spcBef>
              <a:spcAft>
                <a:spcPts val="450"/>
              </a:spcAft>
            </a:pPr>
            <a:r>
              <a:rPr lang="en-GB" dirty="0">
                <a:latin typeface="Arial" panose="020B0604020202020204" pitchFamily="34" charset="0"/>
                <a:cs typeface="Arial" panose="020B0604020202020204" pitchFamily="34" charset="0"/>
              </a:rPr>
              <a:t>Logistics: THE PROCESS</a:t>
            </a:r>
          </a:p>
        </p:txBody>
      </p:sp>
      <p:sp>
        <p:nvSpPr>
          <p:cNvPr id="203" name="Content Placeholder 2">
            <a:extLst>
              <a:ext uri="{FF2B5EF4-FFF2-40B4-BE49-F238E27FC236}">
                <a16:creationId xmlns:a16="http://schemas.microsoft.com/office/drawing/2014/main" id="{F6C69344-522D-05AD-A562-298A7D3296B1}"/>
              </a:ext>
            </a:extLst>
          </p:cNvPr>
          <p:cNvSpPr txBox="1">
            <a:spLocks/>
          </p:cNvSpPr>
          <p:nvPr/>
        </p:nvSpPr>
        <p:spPr>
          <a:xfrm>
            <a:off x="2899564" y="6525259"/>
            <a:ext cx="8154590" cy="159556"/>
          </a:xfrm>
          <a:prstGeom prst="rect">
            <a:avLst/>
          </a:prstGeom>
        </p:spPr>
        <p:txBody>
          <a:bodyPr vert="horz" wrap="square" lIns="0" tIns="0" rIns="0" bIns="0" rtlCol="0" anchor="b" anchorCtr="0">
            <a:noAutofit/>
          </a:bodyPr>
          <a:lstStyle>
            <a:lvl1pPr marL="0" indent="0" algn="l" defTabSz="914400" rtl="0" eaLnBrk="1" latinLnBrk="0" hangingPunct="1">
              <a:lnSpc>
                <a:spcPct val="90000"/>
              </a:lnSpc>
              <a:spcBef>
                <a:spcPts val="0"/>
              </a:spcBef>
              <a:spcAft>
                <a:spcPts val="0"/>
              </a:spcAft>
              <a:buFontTx/>
              <a:buNone/>
              <a:defRPr sz="788" kern="1200">
                <a:solidFill>
                  <a:schemeClr val="tx1"/>
                </a:solidFill>
                <a:latin typeface="+mn-lt"/>
                <a:ea typeface="+mn-ea"/>
                <a:cs typeface="+mn-cs"/>
              </a:defRPr>
            </a:lvl1pPr>
            <a:lvl2pPr marL="342900" indent="0" algn="l" defTabSz="914400" rtl="0" eaLnBrk="1" latinLnBrk="0" hangingPunct="1">
              <a:lnSpc>
                <a:spcPct val="90000"/>
              </a:lnSpc>
              <a:spcBef>
                <a:spcPts val="500"/>
              </a:spcBef>
              <a:buFontTx/>
              <a:buNone/>
              <a:defRPr sz="600" kern="1200">
                <a:solidFill>
                  <a:schemeClr val="tx1"/>
                </a:solidFill>
                <a:latin typeface="+mn-lt"/>
                <a:ea typeface="+mn-ea"/>
                <a:cs typeface="+mn-cs"/>
              </a:defRPr>
            </a:lvl2pPr>
            <a:lvl3pPr marL="685800" indent="0" algn="l" defTabSz="914400" rtl="0" eaLnBrk="1" latinLnBrk="0" hangingPunct="1">
              <a:lnSpc>
                <a:spcPct val="90000"/>
              </a:lnSpc>
              <a:spcBef>
                <a:spcPts val="500"/>
              </a:spcBef>
              <a:buFontTx/>
              <a:buNone/>
              <a:defRPr sz="600" kern="1200">
                <a:solidFill>
                  <a:schemeClr val="tx1"/>
                </a:solidFill>
                <a:latin typeface="+mn-lt"/>
                <a:ea typeface="+mn-ea"/>
                <a:cs typeface="+mn-cs"/>
              </a:defRPr>
            </a:lvl3pPr>
            <a:lvl4pPr marL="1028700" indent="0" algn="l" defTabSz="914400" rtl="0" eaLnBrk="1" latinLnBrk="0" hangingPunct="1">
              <a:lnSpc>
                <a:spcPct val="90000"/>
              </a:lnSpc>
              <a:spcBef>
                <a:spcPts val="500"/>
              </a:spcBef>
              <a:buFontTx/>
              <a:buNone/>
              <a:defRPr sz="600" kern="1200">
                <a:solidFill>
                  <a:schemeClr val="tx1"/>
                </a:solidFill>
                <a:latin typeface="+mn-lt"/>
                <a:ea typeface="+mn-ea"/>
                <a:cs typeface="+mn-cs"/>
              </a:defRPr>
            </a:lvl4pPr>
            <a:lvl5pPr marL="1371600" indent="0" algn="l" defTabSz="914400" rtl="0" eaLnBrk="1" latinLnBrk="0" hangingPunct="1">
              <a:lnSpc>
                <a:spcPct val="90000"/>
              </a:lnSpc>
              <a:spcBef>
                <a:spcPts val="500"/>
              </a:spcBef>
              <a:buFontTx/>
              <a:buNone/>
              <a:defRPr sz="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AR, chimeric antigen receptor; LDC, lymphodepleting chemotherapy; RT, radiotherapy; WBC, white blood cell. </a:t>
            </a:r>
            <a:br>
              <a:rPr kumimoji="0" lang="en-US" sz="67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67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 </a:t>
            </a:r>
            <a:r>
              <a:rPr kumimoji="0" lang="en-US" sz="675"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Beaupierre</a:t>
            </a:r>
            <a:r>
              <a:rPr kumimoji="0" lang="en-US" sz="67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 et al. J Adv </a:t>
            </a:r>
            <a:r>
              <a:rPr kumimoji="0" lang="en-US" sz="675"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Pract</a:t>
            </a:r>
            <a:r>
              <a:rPr kumimoji="0" lang="en-US" sz="67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Oncol 2019; 10:29—40. 2. </a:t>
            </a:r>
            <a:r>
              <a:rPr kumimoji="0" lang="en-US" sz="675"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Beaupierre</a:t>
            </a:r>
            <a:r>
              <a:rPr kumimoji="0" lang="en-US" sz="67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 et al. Clin J Oncol Nurs 2019; 23:27—34. 3. McGuirk J, et al. </a:t>
            </a:r>
            <a:r>
              <a:rPr kumimoji="0" lang="en-US" sz="675"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ytotherapy</a:t>
            </a:r>
            <a:r>
              <a:rPr kumimoji="0" lang="en-US" sz="67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7; 19:1015—1024.</a:t>
            </a:r>
          </a:p>
        </p:txBody>
      </p:sp>
      <p:grpSp>
        <p:nvGrpSpPr>
          <p:cNvPr id="8" name="Group 7">
            <a:extLst>
              <a:ext uri="{FF2B5EF4-FFF2-40B4-BE49-F238E27FC236}">
                <a16:creationId xmlns:a16="http://schemas.microsoft.com/office/drawing/2014/main" id="{93DB8EE7-89E5-5DAD-5B82-432D299A17D4}"/>
              </a:ext>
            </a:extLst>
          </p:cNvPr>
          <p:cNvGrpSpPr/>
          <p:nvPr/>
        </p:nvGrpSpPr>
        <p:grpSpPr>
          <a:xfrm>
            <a:off x="1615709" y="1245631"/>
            <a:ext cx="8960581" cy="4785756"/>
            <a:chOff x="2377414" y="1680265"/>
            <a:chExt cx="6305363" cy="3367631"/>
          </a:xfrm>
        </p:grpSpPr>
        <p:cxnSp>
          <p:nvCxnSpPr>
            <p:cNvPr id="5" name="Straight Connector 4">
              <a:extLst>
                <a:ext uri="{FF2B5EF4-FFF2-40B4-BE49-F238E27FC236}">
                  <a16:creationId xmlns:a16="http://schemas.microsoft.com/office/drawing/2014/main" id="{51CC61D3-1C78-B639-D60B-97AE6316FFEE}"/>
                </a:ext>
              </a:extLst>
            </p:cNvPr>
            <p:cNvCxnSpPr>
              <a:cxnSpLocks/>
            </p:cNvCxnSpPr>
            <p:nvPr/>
          </p:nvCxnSpPr>
          <p:spPr>
            <a:xfrm flipV="1">
              <a:off x="2377414" y="3026302"/>
              <a:ext cx="6305363" cy="7146"/>
            </a:xfrm>
            <a:prstGeom prst="line">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B5FE39D4-850C-ACFF-93F6-BA1C1959B2B5}"/>
                </a:ext>
              </a:extLst>
            </p:cNvPr>
            <p:cNvSpPr/>
            <p:nvPr/>
          </p:nvSpPr>
          <p:spPr>
            <a:xfrm>
              <a:off x="2543163" y="3033448"/>
              <a:ext cx="1843847" cy="1984611"/>
            </a:xfrm>
            <a:prstGeom prst="rect">
              <a:avLst/>
            </a:prstGeom>
            <a:solidFill>
              <a:schemeClr val="bg1">
                <a:lumMod val="95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GB" sz="15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 name="Rectangle 10">
              <a:extLst>
                <a:ext uri="{FF2B5EF4-FFF2-40B4-BE49-F238E27FC236}">
                  <a16:creationId xmlns:a16="http://schemas.microsoft.com/office/drawing/2014/main" id="{B3C3D44B-FB7B-EB92-5CBA-CD52998CD4CE}"/>
                </a:ext>
              </a:extLst>
            </p:cNvPr>
            <p:cNvSpPr/>
            <p:nvPr/>
          </p:nvSpPr>
          <p:spPr>
            <a:xfrm>
              <a:off x="4573891" y="3033446"/>
              <a:ext cx="1969085" cy="1984610"/>
            </a:xfrm>
            <a:prstGeom prst="rect">
              <a:avLst/>
            </a:prstGeom>
            <a:solidFill>
              <a:schemeClr val="bg1">
                <a:lumMod val="95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GB" sz="15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E6923CC3-284A-869E-94D4-8203AF633019}"/>
                </a:ext>
              </a:extLst>
            </p:cNvPr>
            <p:cNvSpPr/>
            <p:nvPr/>
          </p:nvSpPr>
          <p:spPr>
            <a:xfrm>
              <a:off x="6740810" y="3033449"/>
              <a:ext cx="1843847" cy="1984609"/>
            </a:xfrm>
            <a:prstGeom prst="rect">
              <a:avLst/>
            </a:prstGeom>
            <a:solidFill>
              <a:schemeClr val="bg1">
                <a:lumMod val="95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GB" sz="15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Flowchart: Delay 13">
              <a:extLst>
                <a:ext uri="{FF2B5EF4-FFF2-40B4-BE49-F238E27FC236}">
                  <a16:creationId xmlns:a16="http://schemas.microsoft.com/office/drawing/2014/main" id="{E4932FA8-CE47-88EB-277B-1A2D0DC62428}"/>
                </a:ext>
              </a:extLst>
            </p:cNvPr>
            <p:cNvSpPr/>
            <p:nvPr/>
          </p:nvSpPr>
          <p:spPr>
            <a:xfrm rot="16200000">
              <a:off x="5089324" y="726432"/>
              <a:ext cx="891281" cy="3709121"/>
            </a:xfrm>
            <a:prstGeom prst="flowChartDelay">
              <a:avLst/>
            </a:prstGeom>
            <a:solidFill>
              <a:schemeClr val="accent1">
                <a:lumMod val="20000"/>
                <a:lumOff val="80000"/>
              </a:schemeClr>
            </a:solidFill>
            <a:ln>
              <a:noFill/>
            </a:ln>
          </p:spPr>
          <p:style>
            <a:lnRef idx="0">
              <a:schemeClr val="accent1"/>
            </a:lnRef>
            <a:fillRef idx="1">
              <a:schemeClr val="accent1"/>
            </a:fillRef>
            <a:effectRef idx="0">
              <a:srgbClr val="000000"/>
            </a:effectRef>
            <a:fontRef idx="minor">
              <a:schemeClr val="lt1"/>
            </a:fontRef>
          </p:style>
          <p:txBody>
            <a:bodyPr vert="vert" rtlCol="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 name="TextBox 89">
              <a:extLst>
                <a:ext uri="{FF2B5EF4-FFF2-40B4-BE49-F238E27FC236}">
                  <a16:creationId xmlns:a16="http://schemas.microsoft.com/office/drawing/2014/main" id="{9A5EE15F-11B4-45C1-C8E7-198B9D070137}"/>
                </a:ext>
              </a:extLst>
            </p:cNvPr>
            <p:cNvSpPr txBox="1"/>
            <p:nvPr/>
          </p:nvSpPr>
          <p:spPr>
            <a:xfrm>
              <a:off x="2635212" y="3343505"/>
              <a:ext cx="1816506" cy="250097"/>
            </a:xfrm>
            <a:prstGeom prst="rect">
              <a:avLst/>
            </a:prstGeom>
            <a:noFill/>
          </p:spPr>
          <p:txBody>
            <a:bodyPr wrap="square" lIns="0" tIns="0" rIns="0" bIns="0" rtlCol="0">
              <a:noAutofit/>
            </a:bodyPr>
            <a:lstStyle/>
            <a:p>
              <a:pPr marL="0" marR="0" lvl="0" indent="0" algn="ctr" defTabSz="342900" rtl="0" eaLnBrk="1" fontAlgn="base" latinLnBrk="0" hangingPunct="1">
                <a:lnSpc>
                  <a:spcPct val="100000"/>
                </a:lnSpc>
                <a:spcBef>
                  <a:spcPts val="900"/>
                </a:spcBef>
                <a:spcAft>
                  <a:spcPct val="0"/>
                </a:spcAft>
                <a:buClrTx/>
                <a:buSzPct val="100000"/>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pheresis</a:t>
              </a:r>
              <a:r>
                <a:rPr kumimoji="0" lang="en-US" sz="140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3</a:t>
              </a:r>
              <a:endPar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 name="TextBox 90">
              <a:extLst>
                <a:ext uri="{FF2B5EF4-FFF2-40B4-BE49-F238E27FC236}">
                  <a16:creationId xmlns:a16="http://schemas.microsoft.com/office/drawing/2014/main" id="{FB8768CC-3089-FA76-9FC9-6B5B259712F5}"/>
                </a:ext>
              </a:extLst>
            </p:cNvPr>
            <p:cNvSpPr txBox="1"/>
            <p:nvPr/>
          </p:nvSpPr>
          <p:spPr>
            <a:xfrm>
              <a:off x="4918270" y="3343505"/>
              <a:ext cx="1195431" cy="250097"/>
            </a:xfrm>
            <a:prstGeom prst="rect">
              <a:avLst/>
            </a:prstGeom>
            <a:noFill/>
          </p:spPr>
          <p:txBody>
            <a:bodyPr wrap="square" lIns="0" tIns="0" rIns="0" bIns="0" rtlCol="0">
              <a:noAutofit/>
            </a:bodyPr>
            <a:lstStyle/>
            <a:p>
              <a:pPr marL="0" marR="0" lvl="0" indent="0" algn="ctr" defTabSz="342900" rtl="0" eaLnBrk="1" fontAlgn="base" latinLnBrk="0" hangingPunct="1">
                <a:lnSpc>
                  <a:spcPct val="100000"/>
                </a:lnSpc>
                <a:spcBef>
                  <a:spcPts val="900"/>
                </a:spcBef>
                <a:spcAft>
                  <a:spcPct val="0"/>
                </a:spcAft>
                <a:buClrTx/>
                <a:buSzPct val="100000"/>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ridging</a:t>
              </a:r>
              <a:r>
                <a:rPr kumimoji="0" lang="en-US" sz="1400" b="1"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1-3</a:t>
              </a:r>
              <a:endPar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 name="TextBox 91">
              <a:extLst>
                <a:ext uri="{FF2B5EF4-FFF2-40B4-BE49-F238E27FC236}">
                  <a16:creationId xmlns:a16="http://schemas.microsoft.com/office/drawing/2014/main" id="{60575000-43DE-A4B0-4B00-55B5DE24D714}"/>
                </a:ext>
              </a:extLst>
            </p:cNvPr>
            <p:cNvSpPr txBox="1"/>
            <p:nvPr/>
          </p:nvSpPr>
          <p:spPr>
            <a:xfrm>
              <a:off x="6862981" y="3277826"/>
              <a:ext cx="1543426" cy="250097"/>
            </a:xfrm>
            <a:prstGeom prst="rect">
              <a:avLst/>
            </a:prstGeom>
            <a:noFill/>
          </p:spPr>
          <p:txBody>
            <a:bodyPr wrap="square" lIns="0" tIns="0" rIns="0" bIns="0" rtlCol="0">
              <a:noAutofit/>
            </a:bodyPr>
            <a:lstStyle/>
            <a:p>
              <a:pPr marL="0" marR="0" lvl="0" indent="0" algn="ctr" defTabSz="342900" rtl="0" eaLnBrk="1" fontAlgn="base" latinLnBrk="0" hangingPunct="1">
                <a:lnSpc>
                  <a:spcPct val="100000"/>
                </a:lnSpc>
                <a:spcBef>
                  <a:spcPts val="900"/>
                </a:spcBef>
                <a:spcAft>
                  <a:spcPct val="0"/>
                </a:spcAft>
                <a:buClrTx/>
                <a:buSzPct val="100000"/>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AR T infusion and management</a:t>
              </a:r>
              <a:r>
                <a:rPr kumimoji="0" lang="en-US" sz="1400" b="1"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1,2</a:t>
              </a:r>
              <a:endPar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 name="TextBox 96">
              <a:extLst>
                <a:ext uri="{FF2B5EF4-FFF2-40B4-BE49-F238E27FC236}">
                  <a16:creationId xmlns:a16="http://schemas.microsoft.com/office/drawing/2014/main" id="{8222D5CF-CD3B-0A46-05D9-9FD075CC92C9}"/>
                </a:ext>
              </a:extLst>
            </p:cNvPr>
            <p:cNvSpPr txBox="1"/>
            <p:nvPr/>
          </p:nvSpPr>
          <p:spPr>
            <a:xfrm>
              <a:off x="2605746" y="3687779"/>
              <a:ext cx="1781263" cy="1040276"/>
            </a:xfrm>
            <a:prstGeom prst="rect">
              <a:avLst/>
            </a:prstGeom>
            <a:noFill/>
          </p:spPr>
          <p:txBody>
            <a:bodyPr wrap="square" lIns="0" tIns="0" rIns="0" bIns="0" rtlCol="0">
              <a:noAutofit/>
            </a:bodyPr>
            <a:lstStyle/>
            <a:p>
              <a:pPr marL="0" marR="0" lvl="0" indent="0" algn="ctr" defTabSz="342900" rtl="0" eaLnBrk="1" fontAlgn="base" latinLnBrk="0" hangingPunct="1">
                <a:lnSpc>
                  <a:spcPct val="100000"/>
                </a:lnSpc>
                <a:spcBef>
                  <a:spcPct val="0"/>
                </a:spcBef>
                <a:spcAft>
                  <a:spcPts val="225"/>
                </a:spcAft>
                <a:buClrTx/>
                <a:buSzPct val="100000"/>
                <a:buFontTx/>
                <a:buNone/>
                <a:tabLst/>
                <a:defRPr/>
              </a:pP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ashout of prior medications</a:t>
              </a:r>
            </a:p>
            <a:p>
              <a:pPr marL="0" marR="0" lvl="0" indent="0" algn="ctr" defTabSz="342900" rtl="0" eaLnBrk="1" fontAlgn="base" latinLnBrk="0" hangingPunct="1">
                <a:lnSpc>
                  <a:spcPct val="100000"/>
                </a:lnSpc>
                <a:spcBef>
                  <a:spcPct val="0"/>
                </a:spcBef>
                <a:spcAft>
                  <a:spcPts val="225"/>
                </a:spcAft>
                <a:buClrTx/>
                <a:buSzPct val="100000"/>
                <a:buFontTx/>
                <a:buNone/>
                <a:tabLst/>
                <a:defRPr/>
              </a:pP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tients undergo apheresis (collection of WBCs)</a:t>
              </a:r>
            </a:p>
          </p:txBody>
        </p:sp>
        <p:sp>
          <p:nvSpPr>
            <p:cNvPr id="100" name="TextBox 99">
              <a:extLst>
                <a:ext uri="{FF2B5EF4-FFF2-40B4-BE49-F238E27FC236}">
                  <a16:creationId xmlns:a16="http://schemas.microsoft.com/office/drawing/2014/main" id="{04D65732-644D-919A-1A72-0D48A8EB87FB}"/>
                </a:ext>
              </a:extLst>
            </p:cNvPr>
            <p:cNvSpPr txBox="1"/>
            <p:nvPr/>
          </p:nvSpPr>
          <p:spPr>
            <a:xfrm>
              <a:off x="4774509" y="3682153"/>
              <a:ext cx="1517582" cy="897029"/>
            </a:xfrm>
            <a:prstGeom prst="rect">
              <a:avLst/>
            </a:prstGeom>
            <a:noFill/>
          </p:spPr>
          <p:txBody>
            <a:bodyPr wrap="square" lIns="0" tIns="0" rIns="0" bIns="0" rtlCol="0">
              <a:noAutofit/>
            </a:bodyPr>
            <a:lstStyle/>
            <a:p>
              <a:pPr marL="0" marR="0" lvl="0" indent="0" algn="ctr" defTabSz="342900" rtl="0" eaLnBrk="1" fontAlgn="base" latinLnBrk="0" hangingPunct="1">
                <a:lnSpc>
                  <a:spcPct val="100000"/>
                </a:lnSpc>
                <a:spcBef>
                  <a:spcPct val="0"/>
                </a:spcBef>
                <a:spcAft>
                  <a:spcPts val="225"/>
                </a:spcAft>
                <a:buClrTx/>
                <a:buSzPct val="100000"/>
                <a:buFontTx/>
                <a:buNone/>
                <a:tabLst/>
                <a:defRPr/>
              </a:pP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ptional bridging therapy to maintain disease control during CAR T-cell manufacturing</a:t>
              </a:r>
            </a:p>
          </p:txBody>
        </p:sp>
        <p:sp>
          <p:nvSpPr>
            <p:cNvPr id="102" name="TextBox 101">
              <a:extLst>
                <a:ext uri="{FF2B5EF4-FFF2-40B4-BE49-F238E27FC236}">
                  <a16:creationId xmlns:a16="http://schemas.microsoft.com/office/drawing/2014/main" id="{3C04D3D8-208D-01ED-FCF3-D6081FEA4830}"/>
                </a:ext>
              </a:extLst>
            </p:cNvPr>
            <p:cNvSpPr txBox="1"/>
            <p:nvPr/>
          </p:nvSpPr>
          <p:spPr>
            <a:xfrm>
              <a:off x="6850200" y="3704403"/>
              <a:ext cx="1573865" cy="782171"/>
            </a:xfrm>
            <a:prstGeom prst="rect">
              <a:avLst/>
            </a:prstGeom>
            <a:noFill/>
          </p:spPr>
          <p:txBody>
            <a:bodyPr wrap="square" lIns="0" tIns="0" rIns="0" bIns="0" rtlCol="0">
              <a:noAutofit/>
            </a:bodyPr>
            <a:lstStyle/>
            <a:p>
              <a:pPr marL="0" marR="0" lvl="0" indent="0" algn="ctr" defTabSz="342900" rtl="0" eaLnBrk="1" fontAlgn="base" latinLnBrk="0" hangingPunct="1">
                <a:lnSpc>
                  <a:spcPct val="100000"/>
                </a:lnSpc>
                <a:spcBef>
                  <a:spcPct val="0"/>
                </a:spcBef>
                <a:spcAft>
                  <a:spcPts val="225"/>
                </a:spcAft>
                <a:buClrTx/>
                <a:buSzPct val="100000"/>
                <a:buFontTx/>
                <a:buNone/>
                <a:tabLst/>
                <a:defRPr/>
              </a:pPr>
              <a:r>
                <a:rPr kumimoji="0" lang="en-US"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DC administered prior to CAR T-cell infusion followed by infusion at the certified treatment center</a:t>
              </a:r>
              <a:endParaRPr kumimoji="0" lang="en-GB"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145" name="Straight Connector 144">
              <a:extLst>
                <a:ext uri="{FF2B5EF4-FFF2-40B4-BE49-F238E27FC236}">
                  <a16:creationId xmlns:a16="http://schemas.microsoft.com/office/drawing/2014/main" id="{7DCCEB15-59E2-D7E4-3C79-1A6E94B38344}"/>
                </a:ext>
              </a:extLst>
            </p:cNvPr>
            <p:cNvCxnSpPr>
              <a:cxnSpLocks/>
            </p:cNvCxnSpPr>
            <p:nvPr/>
          </p:nvCxnSpPr>
          <p:spPr>
            <a:xfrm>
              <a:off x="2377414" y="5018055"/>
              <a:ext cx="6303448" cy="0"/>
            </a:xfrm>
            <a:prstGeom prst="line">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54" name="Group 153">
              <a:extLst>
                <a:ext uri="{FF2B5EF4-FFF2-40B4-BE49-F238E27FC236}">
                  <a16:creationId xmlns:a16="http://schemas.microsoft.com/office/drawing/2014/main" id="{ABFA16A5-A153-EE67-1057-D9CAE5EBB057}"/>
                </a:ext>
              </a:extLst>
            </p:cNvPr>
            <p:cNvGrpSpPr/>
            <p:nvPr/>
          </p:nvGrpSpPr>
          <p:grpSpPr>
            <a:xfrm>
              <a:off x="3209987" y="2624376"/>
              <a:ext cx="653807" cy="585718"/>
              <a:chOff x="3702895" y="2271936"/>
              <a:chExt cx="679508" cy="627739"/>
            </a:xfrm>
          </p:grpSpPr>
          <p:sp>
            <p:nvSpPr>
              <p:cNvPr id="155" name="Rectangle: Rounded Corners 154">
                <a:extLst>
                  <a:ext uri="{FF2B5EF4-FFF2-40B4-BE49-F238E27FC236}">
                    <a16:creationId xmlns:a16="http://schemas.microsoft.com/office/drawing/2014/main" id="{92590675-8FBF-742B-385E-11FE41828195}"/>
                  </a:ext>
                </a:extLst>
              </p:cNvPr>
              <p:cNvSpPr/>
              <p:nvPr/>
            </p:nvSpPr>
            <p:spPr>
              <a:xfrm>
                <a:off x="3702895" y="2271936"/>
                <a:ext cx="679508" cy="627739"/>
              </a:xfrm>
              <a:prstGeom prst="roundRect">
                <a:avLst/>
              </a:prstGeom>
              <a:solidFill>
                <a:srgbClr val="595454"/>
              </a:solidFill>
              <a:ln>
                <a:noFill/>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56" name="Graphic 566">
                <a:extLst>
                  <a:ext uri="{FF2B5EF4-FFF2-40B4-BE49-F238E27FC236}">
                    <a16:creationId xmlns:a16="http://schemas.microsoft.com/office/drawing/2014/main" id="{3EE46AFA-5E86-8301-A494-17B71971C082}"/>
                  </a:ext>
                </a:extLst>
              </p:cNvPr>
              <p:cNvGrpSpPr/>
              <p:nvPr/>
            </p:nvGrpSpPr>
            <p:grpSpPr>
              <a:xfrm>
                <a:off x="3843447" y="2361056"/>
                <a:ext cx="416243" cy="473263"/>
                <a:chOff x="-7635151" y="2943705"/>
                <a:chExt cx="695325" cy="790575"/>
              </a:xfrm>
              <a:solidFill>
                <a:srgbClr val="FFFFFF"/>
              </a:solidFill>
            </p:grpSpPr>
            <p:sp>
              <p:nvSpPr>
                <p:cNvPr id="157" name="Freeform: Shape 156">
                  <a:extLst>
                    <a:ext uri="{FF2B5EF4-FFF2-40B4-BE49-F238E27FC236}">
                      <a16:creationId xmlns:a16="http://schemas.microsoft.com/office/drawing/2014/main" id="{645EAE67-2DF7-86CD-4933-8DEA350D3B42}"/>
                    </a:ext>
                  </a:extLst>
                </p:cNvPr>
                <p:cNvSpPr/>
                <p:nvPr/>
              </p:nvSpPr>
              <p:spPr>
                <a:xfrm>
                  <a:off x="-7500905" y="3122014"/>
                  <a:ext cx="447675" cy="495300"/>
                </a:xfrm>
                <a:custGeom>
                  <a:avLst/>
                  <a:gdLst>
                    <a:gd name="connsiteX0" fmla="*/ 324098 w 447675"/>
                    <a:gd name="connsiteY0" fmla="*/ 496253 h 495300"/>
                    <a:gd name="connsiteX1" fmla="*/ 310763 w 447675"/>
                    <a:gd name="connsiteY1" fmla="*/ 490538 h 495300"/>
                    <a:gd name="connsiteX2" fmla="*/ 4058 w 447675"/>
                    <a:gd name="connsiteY2" fmla="*/ 126683 h 495300"/>
                    <a:gd name="connsiteX3" fmla="*/ 248 w 447675"/>
                    <a:gd name="connsiteY3" fmla="*/ 113348 h 495300"/>
                    <a:gd name="connsiteX4" fmla="*/ 15488 w 447675"/>
                    <a:gd name="connsiteY4" fmla="*/ 14288 h 495300"/>
                    <a:gd name="connsiteX5" fmla="*/ 32633 w 447675"/>
                    <a:gd name="connsiteY5" fmla="*/ 0 h 495300"/>
                    <a:gd name="connsiteX6" fmla="*/ 132645 w 447675"/>
                    <a:gd name="connsiteY6" fmla="*/ 1905 h 495300"/>
                    <a:gd name="connsiteX7" fmla="*/ 145028 w 447675"/>
                    <a:gd name="connsiteY7" fmla="*/ 7620 h 495300"/>
                    <a:gd name="connsiteX8" fmla="*/ 451733 w 447675"/>
                    <a:gd name="connsiteY8" fmla="*/ 371475 h 495300"/>
                    <a:gd name="connsiteX9" fmla="*/ 455543 w 447675"/>
                    <a:gd name="connsiteY9" fmla="*/ 383858 h 495300"/>
                    <a:gd name="connsiteX10" fmla="*/ 449828 w 447675"/>
                    <a:gd name="connsiteY10" fmla="*/ 395288 h 495300"/>
                    <a:gd name="connsiteX11" fmla="*/ 335528 w 447675"/>
                    <a:gd name="connsiteY11" fmla="*/ 492443 h 495300"/>
                    <a:gd name="connsiteX12" fmla="*/ 324098 w 447675"/>
                    <a:gd name="connsiteY12" fmla="*/ 496253 h 495300"/>
                    <a:gd name="connsiteX13" fmla="*/ 20250 w 447675"/>
                    <a:gd name="connsiteY13" fmla="*/ 114300 h 495300"/>
                    <a:gd name="connsiteX14" fmla="*/ 324098 w 447675"/>
                    <a:gd name="connsiteY14" fmla="*/ 474345 h 495300"/>
                    <a:gd name="connsiteX15" fmla="*/ 433635 w 447675"/>
                    <a:gd name="connsiteY15" fmla="*/ 381953 h 495300"/>
                    <a:gd name="connsiteX16" fmla="*/ 129788 w 447675"/>
                    <a:gd name="connsiteY16" fmla="*/ 21908 h 495300"/>
                    <a:gd name="connsiteX17" fmla="*/ 34538 w 447675"/>
                    <a:gd name="connsiteY17" fmla="*/ 20003 h 495300"/>
                    <a:gd name="connsiteX18" fmla="*/ 20250 w 447675"/>
                    <a:gd name="connsiteY18" fmla="*/ 114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7675" h="495300">
                      <a:moveTo>
                        <a:pt x="324098" y="496253"/>
                      </a:moveTo>
                      <a:cubicBezTo>
                        <a:pt x="319335" y="496253"/>
                        <a:pt x="314573" y="494348"/>
                        <a:pt x="310763" y="490538"/>
                      </a:cubicBezTo>
                      <a:lnTo>
                        <a:pt x="4058" y="126683"/>
                      </a:lnTo>
                      <a:cubicBezTo>
                        <a:pt x="1200" y="122873"/>
                        <a:pt x="-705" y="118110"/>
                        <a:pt x="248" y="113348"/>
                      </a:cubicBezTo>
                      <a:lnTo>
                        <a:pt x="15488" y="14288"/>
                      </a:lnTo>
                      <a:cubicBezTo>
                        <a:pt x="16440" y="5715"/>
                        <a:pt x="24060" y="0"/>
                        <a:pt x="32633" y="0"/>
                      </a:cubicBezTo>
                      <a:lnTo>
                        <a:pt x="132645" y="1905"/>
                      </a:lnTo>
                      <a:cubicBezTo>
                        <a:pt x="137408" y="1905"/>
                        <a:pt x="142170" y="3810"/>
                        <a:pt x="145028" y="7620"/>
                      </a:cubicBezTo>
                      <a:lnTo>
                        <a:pt x="451733" y="371475"/>
                      </a:lnTo>
                      <a:cubicBezTo>
                        <a:pt x="454590" y="375285"/>
                        <a:pt x="456495" y="379095"/>
                        <a:pt x="455543" y="383858"/>
                      </a:cubicBezTo>
                      <a:cubicBezTo>
                        <a:pt x="455543" y="388620"/>
                        <a:pt x="452685" y="392430"/>
                        <a:pt x="449828" y="395288"/>
                      </a:cubicBezTo>
                      <a:lnTo>
                        <a:pt x="335528" y="492443"/>
                      </a:lnTo>
                      <a:cubicBezTo>
                        <a:pt x="331718" y="494348"/>
                        <a:pt x="327908" y="496253"/>
                        <a:pt x="324098" y="496253"/>
                      </a:cubicBezTo>
                      <a:close/>
                      <a:moveTo>
                        <a:pt x="20250" y="114300"/>
                      </a:moveTo>
                      <a:lnTo>
                        <a:pt x="324098" y="474345"/>
                      </a:lnTo>
                      <a:lnTo>
                        <a:pt x="433635" y="381953"/>
                      </a:lnTo>
                      <a:lnTo>
                        <a:pt x="129788" y="21908"/>
                      </a:lnTo>
                      <a:lnTo>
                        <a:pt x="34538" y="20003"/>
                      </a:lnTo>
                      <a:lnTo>
                        <a:pt x="20250" y="114300"/>
                      </a:lnTo>
                      <a:close/>
                    </a:path>
                  </a:pathLst>
                </a:custGeom>
                <a:grpFill/>
                <a:ln w="9525"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58" name="Freeform: Shape 157">
                  <a:extLst>
                    <a:ext uri="{FF2B5EF4-FFF2-40B4-BE49-F238E27FC236}">
                      <a16:creationId xmlns:a16="http://schemas.microsoft.com/office/drawing/2014/main" id="{062738FE-2247-0D46-2FC1-620139711A1F}"/>
                    </a:ext>
                  </a:extLst>
                </p:cNvPr>
                <p:cNvSpPr/>
                <p:nvPr/>
              </p:nvSpPr>
              <p:spPr>
                <a:xfrm>
                  <a:off x="-7635151" y="2943705"/>
                  <a:ext cx="142875" cy="161925"/>
                </a:xfrm>
                <a:custGeom>
                  <a:avLst/>
                  <a:gdLst>
                    <a:gd name="connsiteX0" fmla="*/ 131637 w 142875"/>
                    <a:gd name="connsiteY0" fmla="*/ 166879 h 161925"/>
                    <a:gd name="connsiteX1" fmla="*/ 122112 w 142875"/>
                    <a:gd name="connsiteY1" fmla="*/ 162117 h 161925"/>
                    <a:gd name="connsiteX2" fmla="*/ 3049 w 142875"/>
                    <a:gd name="connsiteY2" fmla="*/ 21147 h 161925"/>
                    <a:gd name="connsiteX3" fmla="*/ 4954 w 142875"/>
                    <a:gd name="connsiteY3" fmla="*/ 3049 h 161925"/>
                    <a:gd name="connsiteX4" fmla="*/ 23052 w 142875"/>
                    <a:gd name="connsiteY4" fmla="*/ 4954 h 161925"/>
                    <a:gd name="connsiteX5" fmla="*/ 142114 w 142875"/>
                    <a:gd name="connsiteY5" fmla="*/ 145924 h 161925"/>
                    <a:gd name="connsiteX6" fmla="*/ 140209 w 142875"/>
                    <a:gd name="connsiteY6" fmla="*/ 164022 h 161925"/>
                    <a:gd name="connsiteX7" fmla="*/ 131637 w 142875"/>
                    <a:gd name="connsiteY7" fmla="*/ 166879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75" h="161925">
                      <a:moveTo>
                        <a:pt x="131637" y="166879"/>
                      </a:moveTo>
                      <a:cubicBezTo>
                        <a:pt x="127827" y="166879"/>
                        <a:pt x="124017" y="164974"/>
                        <a:pt x="122112" y="162117"/>
                      </a:cubicBezTo>
                      <a:lnTo>
                        <a:pt x="3049" y="21147"/>
                      </a:lnTo>
                      <a:cubicBezTo>
                        <a:pt x="-1713" y="15432"/>
                        <a:pt x="-761" y="7812"/>
                        <a:pt x="4954" y="3049"/>
                      </a:cubicBezTo>
                      <a:cubicBezTo>
                        <a:pt x="10669" y="-1713"/>
                        <a:pt x="18289" y="-761"/>
                        <a:pt x="23052" y="4954"/>
                      </a:cubicBezTo>
                      <a:lnTo>
                        <a:pt x="142114" y="145924"/>
                      </a:lnTo>
                      <a:cubicBezTo>
                        <a:pt x="146877" y="151639"/>
                        <a:pt x="145924" y="159259"/>
                        <a:pt x="140209" y="164022"/>
                      </a:cubicBezTo>
                      <a:cubicBezTo>
                        <a:pt x="137352" y="165927"/>
                        <a:pt x="134494" y="166879"/>
                        <a:pt x="131637" y="166879"/>
                      </a:cubicBezTo>
                      <a:close/>
                    </a:path>
                  </a:pathLst>
                </a:custGeom>
                <a:grpFill/>
                <a:ln w="9525"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59" name="Freeform: Shape 158">
                  <a:extLst>
                    <a:ext uri="{FF2B5EF4-FFF2-40B4-BE49-F238E27FC236}">
                      <a16:creationId xmlns:a16="http://schemas.microsoft.com/office/drawing/2014/main" id="{1E4277B3-77EE-79A1-805F-BCD9E3C16DF6}"/>
                    </a:ext>
                  </a:extLst>
                </p:cNvPr>
                <p:cNvSpPr/>
                <p:nvPr/>
              </p:nvSpPr>
              <p:spPr>
                <a:xfrm>
                  <a:off x="-7215282" y="3469302"/>
                  <a:ext cx="200025" cy="171450"/>
                </a:xfrm>
                <a:custGeom>
                  <a:avLst/>
                  <a:gdLst>
                    <a:gd name="connsiteX0" fmla="*/ 198495 w 200025"/>
                    <a:gd name="connsiteY0" fmla="*/ 27998 h 171450"/>
                    <a:gd name="connsiteX1" fmla="*/ 24188 w 200025"/>
                    <a:gd name="connsiteY1" fmla="*/ 174683 h 171450"/>
                    <a:gd name="connsiteX2" fmla="*/ 16568 w 200025"/>
                    <a:gd name="connsiteY2" fmla="*/ 173730 h 171450"/>
                    <a:gd name="connsiteX3" fmla="*/ 1328 w 200025"/>
                    <a:gd name="connsiteY3" fmla="*/ 155633 h 171450"/>
                    <a:gd name="connsiteX4" fmla="*/ 2280 w 200025"/>
                    <a:gd name="connsiteY4" fmla="*/ 148012 h 171450"/>
                    <a:gd name="connsiteX5" fmla="*/ 176588 w 200025"/>
                    <a:gd name="connsiteY5" fmla="*/ 1328 h 171450"/>
                    <a:gd name="connsiteX6" fmla="*/ 184208 w 200025"/>
                    <a:gd name="connsiteY6" fmla="*/ 2280 h 171450"/>
                    <a:gd name="connsiteX7" fmla="*/ 199448 w 200025"/>
                    <a:gd name="connsiteY7" fmla="*/ 20378 h 171450"/>
                    <a:gd name="connsiteX8" fmla="*/ 198495 w 200025"/>
                    <a:gd name="connsiteY8" fmla="*/ 27998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025" h="171450">
                      <a:moveTo>
                        <a:pt x="198495" y="27998"/>
                      </a:moveTo>
                      <a:lnTo>
                        <a:pt x="24188" y="174683"/>
                      </a:lnTo>
                      <a:cubicBezTo>
                        <a:pt x="22283" y="176587"/>
                        <a:pt x="18473" y="176587"/>
                        <a:pt x="16568" y="173730"/>
                      </a:cubicBezTo>
                      <a:lnTo>
                        <a:pt x="1328" y="155633"/>
                      </a:lnTo>
                      <a:cubicBezTo>
                        <a:pt x="-577" y="153728"/>
                        <a:pt x="-577" y="149918"/>
                        <a:pt x="2280" y="148012"/>
                      </a:cubicBezTo>
                      <a:lnTo>
                        <a:pt x="176588" y="1328"/>
                      </a:lnTo>
                      <a:cubicBezTo>
                        <a:pt x="178493" y="-577"/>
                        <a:pt x="182303" y="-577"/>
                        <a:pt x="184208" y="2280"/>
                      </a:cubicBezTo>
                      <a:lnTo>
                        <a:pt x="199448" y="20378"/>
                      </a:lnTo>
                      <a:cubicBezTo>
                        <a:pt x="200400" y="23235"/>
                        <a:pt x="200400" y="26093"/>
                        <a:pt x="198495" y="27998"/>
                      </a:cubicBezTo>
                      <a:close/>
                    </a:path>
                  </a:pathLst>
                </a:custGeom>
                <a:grpFill/>
                <a:ln w="9525"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0" name="Freeform: Shape 159">
                  <a:extLst>
                    <a:ext uri="{FF2B5EF4-FFF2-40B4-BE49-F238E27FC236}">
                      <a16:creationId xmlns:a16="http://schemas.microsoft.com/office/drawing/2014/main" id="{C1C9A858-9E67-210D-A548-7BE6718F8622}"/>
                    </a:ext>
                  </a:extLst>
                </p:cNvPr>
                <p:cNvSpPr/>
                <p:nvPr/>
              </p:nvSpPr>
              <p:spPr>
                <a:xfrm>
                  <a:off x="-7124240" y="3560344"/>
                  <a:ext cx="180975" cy="171450"/>
                </a:xfrm>
                <a:custGeom>
                  <a:avLst/>
                  <a:gdLst>
                    <a:gd name="connsiteX0" fmla="*/ 116025 w 180975"/>
                    <a:gd name="connsiteY0" fmla="*/ 43635 h 171450"/>
                    <a:gd name="connsiteX1" fmla="*/ 81735 w 180975"/>
                    <a:gd name="connsiteY1" fmla="*/ 2678 h 171450"/>
                    <a:gd name="connsiteX2" fmla="*/ 71258 w 180975"/>
                    <a:gd name="connsiteY2" fmla="*/ 1725 h 171450"/>
                    <a:gd name="connsiteX3" fmla="*/ 2678 w 180975"/>
                    <a:gd name="connsiteY3" fmla="*/ 59828 h 171450"/>
                    <a:gd name="connsiteX4" fmla="*/ 1725 w 180975"/>
                    <a:gd name="connsiteY4" fmla="*/ 70305 h 171450"/>
                    <a:gd name="connsiteX5" fmla="*/ 36015 w 180975"/>
                    <a:gd name="connsiteY5" fmla="*/ 111263 h 171450"/>
                    <a:gd name="connsiteX6" fmla="*/ 35063 w 180975"/>
                    <a:gd name="connsiteY6" fmla="*/ 121740 h 171450"/>
                    <a:gd name="connsiteX7" fmla="*/ 9345 w 180975"/>
                    <a:gd name="connsiteY7" fmla="*/ 143648 h 171450"/>
                    <a:gd name="connsiteX8" fmla="*/ 8393 w 180975"/>
                    <a:gd name="connsiteY8" fmla="*/ 154125 h 171450"/>
                    <a:gd name="connsiteX9" fmla="*/ 28395 w 180975"/>
                    <a:gd name="connsiteY9" fmla="*/ 177938 h 171450"/>
                    <a:gd name="connsiteX10" fmla="*/ 38873 w 180975"/>
                    <a:gd name="connsiteY10" fmla="*/ 178890 h 171450"/>
                    <a:gd name="connsiteX11" fmla="*/ 181748 w 180975"/>
                    <a:gd name="connsiteY11" fmla="*/ 57923 h 171450"/>
                    <a:gd name="connsiteX12" fmla="*/ 182700 w 180975"/>
                    <a:gd name="connsiteY12" fmla="*/ 47445 h 171450"/>
                    <a:gd name="connsiteX13" fmla="*/ 162698 w 180975"/>
                    <a:gd name="connsiteY13" fmla="*/ 23633 h 171450"/>
                    <a:gd name="connsiteX14" fmla="*/ 152220 w 180975"/>
                    <a:gd name="connsiteY14" fmla="*/ 22680 h 171450"/>
                    <a:gd name="connsiteX15" fmla="*/ 126503 w 180975"/>
                    <a:gd name="connsiteY15" fmla="*/ 44588 h 171450"/>
                    <a:gd name="connsiteX16" fmla="*/ 116025 w 180975"/>
                    <a:gd name="connsiteY16" fmla="*/ 4363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0975" h="171450">
                      <a:moveTo>
                        <a:pt x="116025" y="43635"/>
                      </a:moveTo>
                      <a:lnTo>
                        <a:pt x="81735" y="2678"/>
                      </a:lnTo>
                      <a:cubicBezTo>
                        <a:pt x="78878" y="-180"/>
                        <a:pt x="74115" y="-1132"/>
                        <a:pt x="71258" y="1725"/>
                      </a:cubicBezTo>
                      <a:lnTo>
                        <a:pt x="2678" y="59828"/>
                      </a:lnTo>
                      <a:cubicBezTo>
                        <a:pt x="-180" y="62685"/>
                        <a:pt x="-1132" y="67448"/>
                        <a:pt x="1725" y="70305"/>
                      </a:cubicBezTo>
                      <a:lnTo>
                        <a:pt x="36015" y="111263"/>
                      </a:lnTo>
                      <a:cubicBezTo>
                        <a:pt x="38873" y="114120"/>
                        <a:pt x="37920" y="118883"/>
                        <a:pt x="35063" y="121740"/>
                      </a:cubicBezTo>
                      <a:lnTo>
                        <a:pt x="9345" y="143648"/>
                      </a:lnTo>
                      <a:cubicBezTo>
                        <a:pt x="6488" y="146505"/>
                        <a:pt x="5535" y="151268"/>
                        <a:pt x="8393" y="154125"/>
                      </a:cubicBezTo>
                      <a:lnTo>
                        <a:pt x="28395" y="177938"/>
                      </a:lnTo>
                      <a:cubicBezTo>
                        <a:pt x="31253" y="180795"/>
                        <a:pt x="36015" y="181748"/>
                        <a:pt x="38873" y="178890"/>
                      </a:cubicBezTo>
                      <a:lnTo>
                        <a:pt x="181748" y="57923"/>
                      </a:lnTo>
                      <a:cubicBezTo>
                        <a:pt x="184605" y="55065"/>
                        <a:pt x="185558" y="50303"/>
                        <a:pt x="182700" y="47445"/>
                      </a:cubicBezTo>
                      <a:lnTo>
                        <a:pt x="162698" y="23633"/>
                      </a:lnTo>
                      <a:cubicBezTo>
                        <a:pt x="159840" y="20775"/>
                        <a:pt x="155078" y="19823"/>
                        <a:pt x="152220" y="22680"/>
                      </a:cubicBezTo>
                      <a:lnTo>
                        <a:pt x="126503" y="44588"/>
                      </a:lnTo>
                      <a:cubicBezTo>
                        <a:pt x="123645" y="46493"/>
                        <a:pt x="118883" y="46493"/>
                        <a:pt x="116025" y="43635"/>
                      </a:cubicBezTo>
                      <a:close/>
                    </a:path>
                  </a:pathLst>
                </a:custGeom>
                <a:grpFill/>
                <a:ln w="9525"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1" name="Freeform: Shape 160">
                  <a:extLst>
                    <a:ext uri="{FF2B5EF4-FFF2-40B4-BE49-F238E27FC236}">
                      <a16:creationId xmlns:a16="http://schemas.microsoft.com/office/drawing/2014/main" id="{CC8CC511-550B-8186-9FEF-0616B8913B17}"/>
                    </a:ext>
                  </a:extLst>
                </p:cNvPr>
                <p:cNvSpPr/>
                <p:nvPr/>
              </p:nvSpPr>
              <p:spPr>
                <a:xfrm>
                  <a:off x="-7451647" y="3244367"/>
                  <a:ext cx="57150" cy="47625"/>
                </a:xfrm>
                <a:custGeom>
                  <a:avLst/>
                  <a:gdLst>
                    <a:gd name="connsiteX0" fmla="*/ 10045 w 57150"/>
                    <a:gd name="connsiteY0" fmla="*/ 55765 h 47625"/>
                    <a:gd name="connsiteX1" fmla="*/ 2425 w 57150"/>
                    <a:gd name="connsiteY1" fmla="*/ 51955 h 47625"/>
                    <a:gd name="connsiteX2" fmla="*/ 3378 w 57150"/>
                    <a:gd name="connsiteY2" fmla="*/ 37668 h 47625"/>
                    <a:gd name="connsiteX3" fmla="*/ 45288 w 57150"/>
                    <a:gd name="connsiteY3" fmla="*/ 2425 h 47625"/>
                    <a:gd name="connsiteX4" fmla="*/ 59575 w 57150"/>
                    <a:gd name="connsiteY4" fmla="*/ 3378 h 47625"/>
                    <a:gd name="connsiteX5" fmla="*/ 58623 w 57150"/>
                    <a:gd name="connsiteY5" fmla="*/ 17665 h 47625"/>
                    <a:gd name="connsiteX6" fmla="*/ 16713 w 57150"/>
                    <a:gd name="connsiteY6" fmla="*/ 52908 h 47625"/>
                    <a:gd name="connsiteX7" fmla="*/ 10045 w 57150"/>
                    <a:gd name="connsiteY7" fmla="*/ 5576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47625">
                      <a:moveTo>
                        <a:pt x="10045" y="55765"/>
                      </a:moveTo>
                      <a:cubicBezTo>
                        <a:pt x="7188" y="55765"/>
                        <a:pt x="4330" y="54813"/>
                        <a:pt x="2425" y="51955"/>
                      </a:cubicBezTo>
                      <a:cubicBezTo>
                        <a:pt x="-1385" y="47193"/>
                        <a:pt x="-432" y="41478"/>
                        <a:pt x="3378" y="37668"/>
                      </a:cubicBezTo>
                      <a:lnTo>
                        <a:pt x="45288" y="2425"/>
                      </a:lnTo>
                      <a:cubicBezTo>
                        <a:pt x="50050" y="-1385"/>
                        <a:pt x="55765" y="-432"/>
                        <a:pt x="59575" y="3378"/>
                      </a:cubicBezTo>
                      <a:cubicBezTo>
                        <a:pt x="63385" y="8140"/>
                        <a:pt x="62433" y="13855"/>
                        <a:pt x="58623" y="17665"/>
                      </a:cubicBezTo>
                      <a:lnTo>
                        <a:pt x="16713" y="52908"/>
                      </a:lnTo>
                      <a:cubicBezTo>
                        <a:pt x="13855" y="54813"/>
                        <a:pt x="11950" y="55765"/>
                        <a:pt x="10045" y="55765"/>
                      </a:cubicBezTo>
                      <a:close/>
                    </a:path>
                  </a:pathLst>
                </a:custGeom>
                <a:grpFill/>
                <a:ln w="9525"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2" name="Freeform: Shape 161">
                  <a:extLst>
                    <a:ext uri="{FF2B5EF4-FFF2-40B4-BE49-F238E27FC236}">
                      <a16:creationId xmlns:a16="http://schemas.microsoft.com/office/drawing/2014/main" id="{598F3859-348D-CF5A-A765-0AE5B1FDC11D}"/>
                    </a:ext>
                  </a:extLst>
                </p:cNvPr>
                <p:cNvSpPr/>
                <p:nvPr/>
              </p:nvSpPr>
              <p:spPr>
                <a:xfrm>
                  <a:off x="-7419262" y="3283419"/>
                  <a:ext cx="57150" cy="47625"/>
                </a:xfrm>
                <a:custGeom>
                  <a:avLst/>
                  <a:gdLst>
                    <a:gd name="connsiteX0" fmla="*/ 10045 w 57150"/>
                    <a:gd name="connsiteY0" fmla="*/ 55765 h 47625"/>
                    <a:gd name="connsiteX1" fmla="*/ 2425 w 57150"/>
                    <a:gd name="connsiteY1" fmla="*/ 51955 h 47625"/>
                    <a:gd name="connsiteX2" fmla="*/ 3378 w 57150"/>
                    <a:gd name="connsiteY2" fmla="*/ 37668 h 47625"/>
                    <a:gd name="connsiteX3" fmla="*/ 45288 w 57150"/>
                    <a:gd name="connsiteY3" fmla="*/ 2425 h 47625"/>
                    <a:gd name="connsiteX4" fmla="*/ 59575 w 57150"/>
                    <a:gd name="connsiteY4" fmla="*/ 3378 h 47625"/>
                    <a:gd name="connsiteX5" fmla="*/ 58623 w 57150"/>
                    <a:gd name="connsiteY5" fmla="*/ 17665 h 47625"/>
                    <a:gd name="connsiteX6" fmla="*/ 16713 w 57150"/>
                    <a:gd name="connsiteY6" fmla="*/ 52908 h 47625"/>
                    <a:gd name="connsiteX7" fmla="*/ 10045 w 57150"/>
                    <a:gd name="connsiteY7" fmla="*/ 5576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47625">
                      <a:moveTo>
                        <a:pt x="10045" y="55765"/>
                      </a:moveTo>
                      <a:cubicBezTo>
                        <a:pt x="7188" y="55765"/>
                        <a:pt x="4330" y="54813"/>
                        <a:pt x="2425" y="51955"/>
                      </a:cubicBezTo>
                      <a:cubicBezTo>
                        <a:pt x="-1385" y="47193"/>
                        <a:pt x="-432" y="41478"/>
                        <a:pt x="3378" y="37668"/>
                      </a:cubicBezTo>
                      <a:lnTo>
                        <a:pt x="45288" y="2425"/>
                      </a:lnTo>
                      <a:cubicBezTo>
                        <a:pt x="50050" y="-1385"/>
                        <a:pt x="55765" y="-432"/>
                        <a:pt x="59575" y="3378"/>
                      </a:cubicBezTo>
                      <a:cubicBezTo>
                        <a:pt x="63385" y="8140"/>
                        <a:pt x="62433" y="13855"/>
                        <a:pt x="58623" y="17665"/>
                      </a:cubicBezTo>
                      <a:lnTo>
                        <a:pt x="16713" y="52908"/>
                      </a:lnTo>
                      <a:cubicBezTo>
                        <a:pt x="14808" y="54813"/>
                        <a:pt x="12903" y="55765"/>
                        <a:pt x="10045" y="55765"/>
                      </a:cubicBezTo>
                      <a:close/>
                    </a:path>
                  </a:pathLst>
                </a:custGeom>
                <a:grpFill/>
                <a:ln w="9525"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3" name="Freeform: Shape 162">
                  <a:extLst>
                    <a:ext uri="{FF2B5EF4-FFF2-40B4-BE49-F238E27FC236}">
                      <a16:creationId xmlns:a16="http://schemas.microsoft.com/office/drawing/2014/main" id="{62EACF58-9889-1D3D-9A9B-870E03DD3FE6}"/>
                    </a:ext>
                  </a:extLst>
                </p:cNvPr>
                <p:cNvSpPr/>
                <p:nvPr/>
              </p:nvSpPr>
              <p:spPr>
                <a:xfrm>
                  <a:off x="-7385925" y="3322472"/>
                  <a:ext cx="57150" cy="47625"/>
                </a:xfrm>
                <a:custGeom>
                  <a:avLst/>
                  <a:gdLst>
                    <a:gd name="connsiteX0" fmla="*/ 10045 w 57150"/>
                    <a:gd name="connsiteY0" fmla="*/ 55766 h 47625"/>
                    <a:gd name="connsiteX1" fmla="*/ 2425 w 57150"/>
                    <a:gd name="connsiteY1" fmla="*/ 51955 h 47625"/>
                    <a:gd name="connsiteX2" fmla="*/ 3378 w 57150"/>
                    <a:gd name="connsiteY2" fmla="*/ 37668 h 47625"/>
                    <a:gd name="connsiteX3" fmla="*/ 45288 w 57150"/>
                    <a:gd name="connsiteY3" fmla="*/ 2425 h 47625"/>
                    <a:gd name="connsiteX4" fmla="*/ 59575 w 57150"/>
                    <a:gd name="connsiteY4" fmla="*/ 3378 h 47625"/>
                    <a:gd name="connsiteX5" fmla="*/ 58623 w 57150"/>
                    <a:gd name="connsiteY5" fmla="*/ 17666 h 47625"/>
                    <a:gd name="connsiteX6" fmla="*/ 16713 w 57150"/>
                    <a:gd name="connsiteY6" fmla="*/ 52908 h 47625"/>
                    <a:gd name="connsiteX7" fmla="*/ 10045 w 57150"/>
                    <a:gd name="connsiteY7" fmla="*/ 5576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47625">
                      <a:moveTo>
                        <a:pt x="10045" y="55766"/>
                      </a:moveTo>
                      <a:cubicBezTo>
                        <a:pt x="7188" y="55766"/>
                        <a:pt x="4330" y="54813"/>
                        <a:pt x="2425" y="51955"/>
                      </a:cubicBezTo>
                      <a:cubicBezTo>
                        <a:pt x="-1385" y="47193"/>
                        <a:pt x="-432" y="41478"/>
                        <a:pt x="3378" y="37668"/>
                      </a:cubicBezTo>
                      <a:lnTo>
                        <a:pt x="45288" y="2425"/>
                      </a:lnTo>
                      <a:cubicBezTo>
                        <a:pt x="50050" y="-1384"/>
                        <a:pt x="55765" y="-432"/>
                        <a:pt x="59575" y="3378"/>
                      </a:cubicBezTo>
                      <a:cubicBezTo>
                        <a:pt x="63385" y="8141"/>
                        <a:pt x="62433" y="13855"/>
                        <a:pt x="58623" y="17666"/>
                      </a:cubicBezTo>
                      <a:lnTo>
                        <a:pt x="16713" y="52908"/>
                      </a:lnTo>
                      <a:cubicBezTo>
                        <a:pt x="14808" y="54813"/>
                        <a:pt x="11950" y="55766"/>
                        <a:pt x="10045" y="55766"/>
                      </a:cubicBezTo>
                      <a:close/>
                    </a:path>
                  </a:pathLst>
                </a:custGeom>
                <a:grpFill/>
                <a:ln w="9525"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4" name="Freeform: Shape 163">
                  <a:extLst>
                    <a:ext uri="{FF2B5EF4-FFF2-40B4-BE49-F238E27FC236}">
                      <a16:creationId xmlns:a16="http://schemas.microsoft.com/office/drawing/2014/main" id="{D4BFF4B3-2D56-F845-3F71-AF3296288ADA}"/>
                    </a:ext>
                  </a:extLst>
                </p:cNvPr>
                <p:cNvSpPr/>
                <p:nvPr/>
              </p:nvSpPr>
              <p:spPr>
                <a:xfrm>
                  <a:off x="-7352587" y="3361524"/>
                  <a:ext cx="57150" cy="47625"/>
                </a:xfrm>
                <a:custGeom>
                  <a:avLst/>
                  <a:gdLst>
                    <a:gd name="connsiteX0" fmla="*/ 10045 w 57150"/>
                    <a:gd name="connsiteY0" fmla="*/ 55765 h 47625"/>
                    <a:gd name="connsiteX1" fmla="*/ 2425 w 57150"/>
                    <a:gd name="connsiteY1" fmla="*/ 51955 h 47625"/>
                    <a:gd name="connsiteX2" fmla="*/ 3378 w 57150"/>
                    <a:gd name="connsiteY2" fmla="*/ 37668 h 47625"/>
                    <a:gd name="connsiteX3" fmla="*/ 45288 w 57150"/>
                    <a:gd name="connsiteY3" fmla="*/ 2426 h 47625"/>
                    <a:gd name="connsiteX4" fmla="*/ 59575 w 57150"/>
                    <a:gd name="connsiteY4" fmla="*/ 3378 h 47625"/>
                    <a:gd name="connsiteX5" fmla="*/ 58623 w 57150"/>
                    <a:gd name="connsiteY5" fmla="*/ 17665 h 47625"/>
                    <a:gd name="connsiteX6" fmla="*/ 16713 w 57150"/>
                    <a:gd name="connsiteY6" fmla="*/ 52908 h 47625"/>
                    <a:gd name="connsiteX7" fmla="*/ 10045 w 57150"/>
                    <a:gd name="connsiteY7" fmla="*/ 5576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47625">
                      <a:moveTo>
                        <a:pt x="10045" y="55765"/>
                      </a:moveTo>
                      <a:cubicBezTo>
                        <a:pt x="7188" y="55765"/>
                        <a:pt x="4330" y="54813"/>
                        <a:pt x="2425" y="51955"/>
                      </a:cubicBezTo>
                      <a:cubicBezTo>
                        <a:pt x="-1385" y="47193"/>
                        <a:pt x="-432" y="41478"/>
                        <a:pt x="3378" y="37668"/>
                      </a:cubicBezTo>
                      <a:lnTo>
                        <a:pt x="45288" y="2426"/>
                      </a:lnTo>
                      <a:cubicBezTo>
                        <a:pt x="50050" y="-1385"/>
                        <a:pt x="55765" y="-432"/>
                        <a:pt x="59575" y="3378"/>
                      </a:cubicBezTo>
                      <a:cubicBezTo>
                        <a:pt x="63385" y="8140"/>
                        <a:pt x="62433" y="13855"/>
                        <a:pt x="58623" y="17665"/>
                      </a:cubicBezTo>
                      <a:lnTo>
                        <a:pt x="16713" y="52908"/>
                      </a:lnTo>
                      <a:cubicBezTo>
                        <a:pt x="13855" y="54813"/>
                        <a:pt x="11950" y="55765"/>
                        <a:pt x="10045" y="55765"/>
                      </a:cubicBezTo>
                      <a:close/>
                    </a:path>
                  </a:pathLst>
                </a:custGeom>
                <a:grpFill/>
                <a:ln w="9525"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5" name="Freeform: Shape 164">
                  <a:extLst>
                    <a:ext uri="{FF2B5EF4-FFF2-40B4-BE49-F238E27FC236}">
                      <a16:creationId xmlns:a16="http://schemas.microsoft.com/office/drawing/2014/main" id="{1A65894E-8E10-89CA-B879-9933CDA7E4C8}"/>
                    </a:ext>
                  </a:extLst>
                </p:cNvPr>
                <p:cNvSpPr/>
                <p:nvPr/>
              </p:nvSpPr>
              <p:spPr>
                <a:xfrm>
                  <a:off x="-7286865" y="3439629"/>
                  <a:ext cx="57150" cy="47625"/>
                </a:xfrm>
                <a:custGeom>
                  <a:avLst/>
                  <a:gdLst>
                    <a:gd name="connsiteX0" fmla="*/ 10045 w 57150"/>
                    <a:gd name="connsiteY0" fmla="*/ 55765 h 47625"/>
                    <a:gd name="connsiteX1" fmla="*/ 2425 w 57150"/>
                    <a:gd name="connsiteY1" fmla="*/ 51955 h 47625"/>
                    <a:gd name="connsiteX2" fmla="*/ 3378 w 57150"/>
                    <a:gd name="connsiteY2" fmla="*/ 37668 h 47625"/>
                    <a:gd name="connsiteX3" fmla="*/ 45288 w 57150"/>
                    <a:gd name="connsiteY3" fmla="*/ 2425 h 47625"/>
                    <a:gd name="connsiteX4" fmla="*/ 59575 w 57150"/>
                    <a:gd name="connsiteY4" fmla="*/ 3378 h 47625"/>
                    <a:gd name="connsiteX5" fmla="*/ 58623 w 57150"/>
                    <a:gd name="connsiteY5" fmla="*/ 17665 h 47625"/>
                    <a:gd name="connsiteX6" fmla="*/ 16713 w 57150"/>
                    <a:gd name="connsiteY6" fmla="*/ 52908 h 47625"/>
                    <a:gd name="connsiteX7" fmla="*/ 10045 w 57150"/>
                    <a:gd name="connsiteY7" fmla="*/ 5576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47625">
                      <a:moveTo>
                        <a:pt x="10045" y="55765"/>
                      </a:moveTo>
                      <a:cubicBezTo>
                        <a:pt x="7188" y="55765"/>
                        <a:pt x="4330" y="54813"/>
                        <a:pt x="2425" y="51955"/>
                      </a:cubicBezTo>
                      <a:cubicBezTo>
                        <a:pt x="-1385" y="47193"/>
                        <a:pt x="-432" y="41478"/>
                        <a:pt x="3378" y="37668"/>
                      </a:cubicBezTo>
                      <a:lnTo>
                        <a:pt x="45288" y="2425"/>
                      </a:lnTo>
                      <a:cubicBezTo>
                        <a:pt x="50050" y="-1385"/>
                        <a:pt x="55765" y="-432"/>
                        <a:pt x="59575" y="3378"/>
                      </a:cubicBezTo>
                      <a:cubicBezTo>
                        <a:pt x="63385" y="8140"/>
                        <a:pt x="62433" y="13855"/>
                        <a:pt x="58623" y="17665"/>
                      </a:cubicBezTo>
                      <a:lnTo>
                        <a:pt x="16713" y="52908"/>
                      </a:lnTo>
                      <a:cubicBezTo>
                        <a:pt x="14808" y="55765"/>
                        <a:pt x="11950" y="55765"/>
                        <a:pt x="10045" y="55765"/>
                      </a:cubicBezTo>
                      <a:close/>
                    </a:path>
                  </a:pathLst>
                </a:custGeom>
                <a:grpFill/>
                <a:ln w="9525"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6" name="Freeform: Shape 165">
                  <a:extLst>
                    <a:ext uri="{FF2B5EF4-FFF2-40B4-BE49-F238E27FC236}">
                      <a16:creationId xmlns:a16="http://schemas.microsoft.com/office/drawing/2014/main" id="{E4ACF46B-57F8-2F1A-8647-06DB69D0A47E}"/>
                    </a:ext>
                  </a:extLst>
                </p:cNvPr>
                <p:cNvSpPr/>
                <p:nvPr/>
              </p:nvSpPr>
              <p:spPr>
                <a:xfrm>
                  <a:off x="-7253527" y="3478682"/>
                  <a:ext cx="57150" cy="47625"/>
                </a:xfrm>
                <a:custGeom>
                  <a:avLst/>
                  <a:gdLst>
                    <a:gd name="connsiteX0" fmla="*/ 10045 w 57150"/>
                    <a:gd name="connsiteY0" fmla="*/ 55765 h 47625"/>
                    <a:gd name="connsiteX1" fmla="*/ 2425 w 57150"/>
                    <a:gd name="connsiteY1" fmla="*/ 51955 h 47625"/>
                    <a:gd name="connsiteX2" fmla="*/ 3378 w 57150"/>
                    <a:gd name="connsiteY2" fmla="*/ 37668 h 47625"/>
                    <a:gd name="connsiteX3" fmla="*/ 45288 w 57150"/>
                    <a:gd name="connsiteY3" fmla="*/ 2425 h 47625"/>
                    <a:gd name="connsiteX4" fmla="*/ 59575 w 57150"/>
                    <a:gd name="connsiteY4" fmla="*/ 3378 h 47625"/>
                    <a:gd name="connsiteX5" fmla="*/ 58623 w 57150"/>
                    <a:gd name="connsiteY5" fmla="*/ 17665 h 47625"/>
                    <a:gd name="connsiteX6" fmla="*/ 16713 w 57150"/>
                    <a:gd name="connsiteY6" fmla="*/ 52908 h 47625"/>
                    <a:gd name="connsiteX7" fmla="*/ 10045 w 57150"/>
                    <a:gd name="connsiteY7" fmla="*/ 5576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47625">
                      <a:moveTo>
                        <a:pt x="10045" y="55765"/>
                      </a:moveTo>
                      <a:cubicBezTo>
                        <a:pt x="7188" y="55765"/>
                        <a:pt x="4330" y="54813"/>
                        <a:pt x="2425" y="51955"/>
                      </a:cubicBezTo>
                      <a:cubicBezTo>
                        <a:pt x="-1385" y="47193"/>
                        <a:pt x="-432" y="41478"/>
                        <a:pt x="3378" y="37668"/>
                      </a:cubicBezTo>
                      <a:lnTo>
                        <a:pt x="45288" y="2425"/>
                      </a:lnTo>
                      <a:cubicBezTo>
                        <a:pt x="50050" y="-1385"/>
                        <a:pt x="55765" y="-432"/>
                        <a:pt x="59575" y="3378"/>
                      </a:cubicBezTo>
                      <a:cubicBezTo>
                        <a:pt x="63385" y="8140"/>
                        <a:pt x="62433" y="13855"/>
                        <a:pt x="58623" y="17665"/>
                      </a:cubicBezTo>
                      <a:lnTo>
                        <a:pt x="16713" y="52908"/>
                      </a:lnTo>
                      <a:cubicBezTo>
                        <a:pt x="14808" y="55765"/>
                        <a:pt x="11950" y="55765"/>
                        <a:pt x="10045" y="55765"/>
                      </a:cubicBezTo>
                      <a:close/>
                    </a:path>
                  </a:pathLst>
                </a:custGeom>
                <a:grpFill/>
                <a:ln w="9525"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67" name="Freeform: Shape 166">
                  <a:extLst>
                    <a:ext uri="{FF2B5EF4-FFF2-40B4-BE49-F238E27FC236}">
                      <a16:creationId xmlns:a16="http://schemas.microsoft.com/office/drawing/2014/main" id="{175FB1CA-BBC1-9F33-0544-E4B1A4F99E45}"/>
                    </a:ext>
                  </a:extLst>
                </p:cNvPr>
                <p:cNvSpPr/>
                <p:nvPr/>
              </p:nvSpPr>
              <p:spPr>
                <a:xfrm>
                  <a:off x="-7349209" y="3407764"/>
                  <a:ext cx="285750" cy="190500"/>
                </a:xfrm>
                <a:custGeom>
                  <a:avLst/>
                  <a:gdLst>
                    <a:gd name="connsiteX0" fmla="*/ 214313 w 285750"/>
                    <a:gd name="connsiteY0" fmla="*/ 0 h 190500"/>
                    <a:gd name="connsiteX1" fmla="*/ 0 w 285750"/>
                    <a:gd name="connsiteY1" fmla="*/ 0 h 190500"/>
                    <a:gd name="connsiteX2" fmla="*/ 166688 w 285750"/>
                    <a:gd name="connsiteY2" fmla="*/ 197168 h 190500"/>
                    <a:gd name="connsiteX3" fmla="*/ 176213 w 285750"/>
                    <a:gd name="connsiteY3" fmla="*/ 198120 h 190500"/>
                    <a:gd name="connsiteX4" fmla="*/ 290513 w 285750"/>
                    <a:gd name="connsiteY4" fmla="*/ 100965 h 190500"/>
                    <a:gd name="connsiteX5" fmla="*/ 291465 w 285750"/>
                    <a:gd name="connsiteY5" fmla="*/ 91440 h 190500"/>
                    <a:gd name="connsiteX6" fmla="*/ 214313 w 285750"/>
                    <a:gd name="connsiteY6"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190500">
                      <a:moveTo>
                        <a:pt x="214313" y="0"/>
                      </a:moveTo>
                      <a:lnTo>
                        <a:pt x="0" y="0"/>
                      </a:lnTo>
                      <a:lnTo>
                        <a:pt x="166688" y="197168"/>
                      </a:lnTo>
                      <a:cubicBezTo>
                        <a:pt x="169545" y="200025"/>
                        <a:pt x="173355" y="200025"/>
                        <a:pt x="176213" y="198120"/>
                      </a:cubicBezTo>
                      <a:lnTo>
                        <a:pt x="290513" y="100965"/>
                      </a:lnTo>
                      <a:cubicBezTo>
                        <a:pt x="293370" y="98108"/>
                        <a:pt x="293370" y="94298"/>
                        <a:pt x="291465" y="91440"/>
                      </a:cubicBezTo>
                      <a:lnTo>
                        <a:pt x="214313" y="0"/>
                      </a:lnTo>
                      <a:close/>
                    </a:path>
                  </a:pathLst>
                </a:custGeom>
                <a:grpFill/>
                <a:ln w="9525"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grpSp>
        </p:grpSp>
        <p:sp>
          <p:nvSpPr>
            <p:cNvPr id="168" name="Rectangle: Rounded Corners 167">
              <a:extLst>
                <a:ext uri="{FF2B5EF4-FFF2-40B4-BE49-F238E27FC236}">
                  <a16:creationId xmlns:a16="http://schemas.microsoft.com/office/drawing/2014/main" id="{1A7B6033-CE64-1D02-C7CF-69DCC1C12853}"/>
                </a:ext>
              </a:extLst>
            </p:cNvPr>
            <p:cNvSpPr/>
            <p:nvPr/>
          </p:nvSpPr>
          <p:spPr>
            <a:xfrm>
              <a:off x="5164964" y="2640360"/>
              <a:ext cx="653807" cy="585718"/>
            </a:xfrm>
            <a:prstGeom prst="roundRect">
              <a:avLst/>
            </a:prstGeom>
            <a:solidFill>
              <a:srgbClr val="595454"/>
            </a:solidFill>
            <a:ln>
              <a:noFill/>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69" name="Rectangle: Rounded Corners 168">
              <a:extLst>
                <a:ext uri="{FF2B5EF4-FFF2-40B4-BE49-F238E27FC236}">
                  <a16:creationId xmlns:a16="http://schemas.microsoft.com/office/drawing/2014/main" id="{C116602F-CC31-8AEA-937E-DD29827A5AF1}"/>
                </a:ext>
              </a:extLst>
            </p:cNvPr>
            <p:cNvSpPr/>
            <p:nvPr/>
          </p:nvSpPr>
          <p:spPr>
            <a:xfrm>
              <a:off x="6943054" y="2620503"/>
              <a:ext cx="653807" cy="585718"/>
            </a:xfrm>
            <a:prstGeom prst="roundRect">
              <a:avLst/>
            </a:prstGeom>
            <a:solidFill>
              <a:srgbClr val="595454"/>
            </a:solidFill>
            <a:ln>
              <a:noFill/>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70" name="Graphic 2">
              <a:extLst>
                <a:ext uri="{FF2B5EF4-FFF2-40B4-BE49-F238E27FC236}">
                  <a16:creationId xmlns:a16="http://schemas.microsoft.com/office/drawing/2014/main" id="{0A99E4CE-352F-232A-1F03-0D90C1A32E58}"/>
                </a:ext>
              </a:extLst>
            </p:cNvPr>
            <p:cNvSpPr/>
            <p:nvPr/>
          </p:nvSpPr>
          <p:spPr>
            <a:xfrm>
              <a:off x="7082046" y="2700009"/>
              <a:ext cx="466919" cy="452789"/>
            </a:xfrm>
            <a:custGeom>
              <a:avLst/>
              <a:gdLst>
                <a:gd name="connsiteX0" fmla="*/ 461617 w 485274"/>
                <a:gd name="connsiteY0" fmla="*/ 225855 h 485274"/>
                <a:gd name="connsiteX1" fmla="*/ 404395 w 485274"/>
                <a:gd name="connsiteY1" fmla="*/ 202198 h 485274"/>
                <a:gd name="connsiteX2" fmla="*/ 323516 w 485274"/>
                <a:gd name="connsiteY2" fmla="*/ 283077 h 485274"/>
                <a:gd name="connsiteX3" fmla="*/ 323516 w 485274"/>
                <a:gd name="connsiteY3" fmla="*/ 299252 h 485274"/>
                <a:gd name="connsiteX4" fmla="*/ 315428 w 485274"/>
                <a:gd name="connsiteY4" fmla="*/ 299252 h 485274"/>
                <a:gd name="connsiteX5" fmla="*/ 307340 w 485274"/>
                <a:gd name="connsiteY5" fmla="*/ 307340 h 485274"/>
                <a:gd name="connsiteX6" fmla="*/ 307340 w 485274"/>
                <a:gd name="connsiteY6" fmla="*/ 380131 h 485274"/>
                <a:gd name="connsiteX7" fmla="*/ 315428 w 485274"/>
                <a:gd name="connsiteY7" fmla="*/ 388219 h 485274"/>
                <a:gd name="connsiteX8" fmla="*/ 323516 w 485274"/>
                <a:gd name="connsiteY8" fmla="*/ 388219 h 485274"/>
                <a:gd name="connsiteX9" fmla="*/ 323516 w 485274"/>
                <a:gd name="connsiteY9" fmla="*/ 396307 h 485274"/>
                <a:gd name="connsiteX10" fmla="*/ 250725 w 485274"/>
                <a:gd name="connsiteY10" fmla="*/ 469098 h 485274"/>
                <a:gd name="connsiteX11" fmla="*/ 177934 w 485274"/>
                <a:gd name="connsiteY11" fmla="*/ 396307 h 485274"/>
                <a:gd name="connsiteX12" fmla="*/ 186022 w 485274"/>
                <a:gd name="connsiteY12" fmla="*/ 396307 h 485274"/>
                <a:gd name="connsiteX13" fmla="*/ 194110 w 485274"/>
                <a:gd name="connsiteY13" fmla="*/ 388219 h 485274"/>
                <a:gd name="connsiteX14" fmla="*/ 194110 w 485274"/>
                <a:gd name="connsiteY14" fmla="*/ 355868 h 485274"/>
                <a:gd name="connsiteX15" fmla="*/ 218373 w 485274"/>
                <a:gd name="connsiteY15" fmla="*/ 355868 h 485274"/>
                <a:gd name="connsiteX16" fmla="*/ 250725 w 485274"/>
                <a:gd name="connsiteY16" fmla="*/ 323516 h 485274"/>
                <a:gd name="connsiteX17" fmla="*/ 250725 w 485274"/>
                <a:gd name="connsiteY17" fmla="*/ 145582 h 485274"/>
                <a:gd name="connsiteX18" fmla="*/ 218373 w 485274"/>
                <a:gd name="connsiteY18" fmla="*/ 113231 h 485274"/>
                <a:gd name="connsiteX19" fmla="*/ 194110 w 485274"/>
                <a:gd name="connsiteY19" fmla="*/ 113231 h 485274"/>
                <a:gd name="connsiteX20" fmla="*/ 177732 w 485274"/>
                <a:gd name="connsiteY20" fmla="*/ 90382 h 485274"/>
                <a:gd name="connsiteX21" fmla="*/ 177934 w 485274"/>
                <a:gd name="connsiteY21" fmla="*/ 88967 h 485274"/>
                <a:gd name="connsiteX22" fmla="*/ 177934 w 485274"/>
                <a:gd name="connsiteY22" fmla="*/ 64703 h 485274"/>
                <a:gd name="connsiteX23" fmla="*/ 250725 w 485274"/>
                <a:gd name="connsiteY23" fmla="*/ 64703 h 485274"/>
                <a:gd name="connsiteX24" fmla="*/ 299252 w 485274"/>
                <a:gd name="connsiteY24" fmla="*/ 16176 h 485274"/>
                <a:gd name="connsiteX25" fmla="*/ 283077 w 485274"/>
                <a:gd name="connsiteY25" fmla="*/ 0 h 485274"/>
                <a:gd name="connsiteX26" fmla="*/ 266901 w 485274"/>
                <a:gd name="connsiteY26" fmla="*/ 0 h 485274"/>
                <a:gd name="connsiteX27" fmla="*/ 250725 w 485274"/>
                <a:gd name="connsiteY27" fmla="*/ 16176 h 485274"/>
                <a:gd name="connsiteX28" fmla="*/ 177934 w 485274"/>
                <a:gd name="connsiteY28" fmla="*/ 16176 h 485274"/>
                <a:gd name="connsiteX29" fmla="*/ 169846 w 485274"/>
                <a:gd name="connsiteY29" fmla="*/ 8088 h 485274"/>
                <a:gd name="connsiteX30" fmla="*/ 161758 w 485274"/>
                <a:gd name="connsiteY30" fmla="*/ 16176 h 485274"/>
                <a:gd name="connsiteX31" fmla="*/ 64703 w 485274"/>
                <a:gd name="connsiteY31" fmla="*/ 16176 h 485274"/>
                <a:gd name="connsiteX32" fmla="*/ 0 w 485274"/>
                <a:gd name="connsiteY32" fmla="*/ 80879 h 485274"/>
                <a:gd name="connsiteX33" fmla="*/ 0 w 485274"/>
                <a:gd name="connsiteY33" fmla="*/ 477186 h 485274"/>
                <a:gd name="connsiteX34" fmla="*/ 8088 w 485274"/>
                <a:gd name="connsiteY34" fmla="*/ 485274 h 485274"/>
                <a:gd name="connsiteX35" fmla="*/ 40440 w 485274"/>
                <a:gd name="connsiteY35" fmla="*/ 485274 h 485274"/>
                <a:gd name="connsiteX36" fmla="*/ 48527 w 485274"/>
                <a:gd name="connsiteY36" fmla="*/ 477186 h 485274"/>
                <a:gd name="connsiteX37" fmla="*/ 48527 w 485274"/>
                <a:gd name="connsiteY37" fmla="*/ 80879 h 485274"/>
                <a:gd name="connsiteX38" fmla="*/ 64703 w 485274"/>
                <a:gd name="connsiteY38" fmla="*/ 64703 h 485274"/>
                <a:gd name="connsiteX39" fmla="*/ 161758 w 485274"/>
                <a:gd name="connsiteY39" fmla="*/ 64703 h 485274"/>
                <a:gd name="connsiteX40" fmla="*/ 161758 w 485274"/>
                <a:gd name="connsiteY40" fmla="*/ 88967 h 485274"/>
                <a:gd name="connsiteX41" fmla="*/ 161960 w 485274"/>
                <a:gd name="connsiteY41" fmla="*/ 90382 h 485274"/>
                <a:gd name="connsiteX42" fmla="*/ 145582 w 485274"/>
                <a:gd name="connsiteY42" fmla="*/ 113231 h 485274"/>
                <a:gd name="connsiteX43" fmla="*/ 121319 w 485274"/>
                <a:gd name="connsiteY43" fmla="*/ 113231 h 485274"/>
                <a:gd name="connsiteX44" fmla="*/ 88967 w 485274"/>
                <a:gd name="connsiteY44" fmla="*/ 145582 h 485274"/>
                <a:gd name="connsiteX45" fmla="*/ 88967 w 485274"/>
                <a:gd name="connsiteY45" fmla="*/ 323516 h 485274"/>
                <a:gd name="connsiteX46" fmla="*/ 121319 w 485274"/>
                <a:gd name="connsiteY46" fmla="*/ 355868 h 485274"/>
                <a:gd name="connsiteX47" fmla="*/ 145582 w 485274"/>
                <a:gd name="connsiteY47" fmla="*/ 355868 h 485274"/>
                <a:gd name="connsiteX48" fmla="*/ 145582 w 485274"/>
                <a:gd name="connsiteY48" fmla="*/ 388219 h 485274"/>
                <a:gd name="connsiteX49" fmla="*/ 153670 w 485274"/>
                <a:gd name="connsiteY49" fmla="*/ 396307 h 485274"/>
                <a:gd name="connsiteX50" fmla="*/ 161758 w 485274"/>
                <a:gd name="connsiteY50" fmla="*/ 396307 h 485274"/>
                <a:gd name="connsiteX51" fmla="*/ 250725 w 485274"/>
                <a:gd name="connsiteY51" fmla="*/ 485274 h 485274"/>
                <a:gd name="connsiteX52" fmla="*/ 339692 w 485274"/>
                <a:gd name="connsiteY52" fmla="*/ 396307 h 485274"/>
                <a:gd name="connsiteX53" fmla="*/ 339692 w 485274"/>
                <a:gd name="connsiteY53" fmla="*/ 388219 h 485274"/>
                <a:gd name="connsiteX54" fmla="*/ 347780 w 485274"/>
                <a:gd name="connsiteY54" fmla="*/ 388219 h 485274"/>
                <a:gd name="connsiteX55" fmla="*/ 355868 w 485274"/>
                <a:gd name="connsiteY55" fmla="*/ 380131 h 485274"/>
                <a:gd name="connsiteX56" fmla="*/ 355868 w 485274"/>
                <a:gd name="connsiteY56" fmla="*/ 307340 h 485274"/>
                <a:gd name="connsiteX57" fmla="*/ 347780 w 485274"/>
                <a:gd name="connsiteY57" fmla="*/ 299252 h 485274"/>
                <a:gd name="connsiteX58" fmla="*/ 339692 w 485274"/>
                <a:gd name="connsiteY58" fmla="*/ 299252 h 485274"/>
                <a:gd name="connsiteX59" fmla="*/ 339692 w 485274"/>
                <a:gd name="connsiteY59" fmla="*/ 283077 h 485274"/>
                <a:gd name="connsiteX60" fmla="*/ 404395 w 485274"/>
                <a:gd name="connsiteY60" fmla="*/ 218373 h 485274"/>
                <a:gd name="connsiteX61" fmla="*/ 469098 w 485274"/>
                <a:gd name="connsiteY61" fmla="*/ 283077 h 485274"/>
                <a:gd name="connsiteX62" fmla="*/ 469098 w 485274"/>
                <a:gd name="connsiteY62" fmla="*/ 428659 h 485274"/>
                <a:gd name="connsiteX63" fmla="*/ 477186 w 485274"/>
                <a:gd name="connsiteY63" fmla="*/ 436747 h 485274"/>
                <a:gd name="connsiteX64" fmla="*/ 485274 w 485274"/>
                <a:gd name="connsiteY64" fmla="*/ 428659 h 485274"/>
                <a:gd name="connsiteX65" fmla="*/ 485274 w 485274"/>
                <a:gd name="connsiteY65" fmla="*/ 283077 h 485274"/>
                <a:gd name="connsiteX66" fmla="*/ 461617 w 485274"/>
                <a:gd name="connsiteY66" fmla="*/ 225855 h 485274"/>
                <a:gd name="connsiteX67" fmla="*/ 461617 w 485274"/>
                <a:gd name="connsiteY67" fmla="*/ 225855 h 485274"/>
                <a:gd name="connsiteX68" fmla="*/ 169846 w 485274"/>
                <a:gd name="connsiteY68" fmla="*/ 105143 h 485274"/>
                <a:gd name="connsiteX69" fmla="*/ 177934 w 485274"/>
                <a:gd name="connsiteY69" fmla="*/ 113231 h 485274"/>
                <a:gd name="connsiteX70" fmla="*/ 161758 w 485274"/>
                <a:gd name="connsiteY70" fmla="*/ 113231 h 485274"/>
                <a:gd name="connsiteX71" fmla="*/ 169846 w 485274"/>
                <a:gd name="connsiteY71" fmla="*/ 105143 h 485274"/>
                <a:gd name="connsiteX72" fmla="*/ 169846 w 485274"/>
                <a:gd name="connsiteY72" fmla="*/ 105143 h 485274"/>
                <a:gd name="connsiteX73" fmla="*/ 145582 w 485274"/>
                <a:gd name="connsiteY73" fmla="*/ 194110 h 485274"/>
                <a:gd name="connsiteX74" fmla="*/ 123947 w 485274"/>
                <a:gd name="connsiteY74" fmla="*/ 190470 h 485274"/>
                <a:gd name="connsiteX75" fmla="*/ 105143 w 485274"/>
                <a:gd name="connsiteY75" fmla="*/ 186325 h 485274"/>
                <a:gd name="connsiteX76" fmla="*/ 105143 w 485274"/>
                <a:gd name="connsiteY76" fmla="*/ 145582 h 485274"/>
                <a:gd name="connsiteX77" fmla="*/ 121319 w 485274"/>
                <a:gd name="connsiteY77" fmla="*/ 129406 h 485274"/>
                <a:gd name="connsiteX78" fmla="*/ 218373 w 485274"/>
                <a:gd name="connsiteY78" fmla="*/ 129406 h 485274"/>
                <a:gd name="connsiteX79" fmla="*/ 234549 w 485274"/>
                <a:gd name="connsiteY79" fmla="*/ 145582 h 485274"/>
                <a:gd name="connsiteX80" fmla="*/ 234549 w 485274"/>
                <a:gd name="connsiteY80" fmla="*/ 193705 h 485274"/>
                <a:gd name="connsiteX81" fmla="*/ 221002 w 485274"/>
                <a:gd name="connsiteY81" fmla="*/ 190470 h 485274"/>
                <a:gd name="connsiteX82" fmla="*/ 194110 w 485274"/>
                <a:gd name="connsiteY82" fmla="*/ 186022 h 485274"/>
                <a:gd name="connsiteX83" fmla="*/ 167217 w 485274"/>
                <a:gd name="connsiteY83" fmla="*/ 190470 h 485274"/>
                <a:gd name="connsiteX84" fmla="*/ 145582 w 485274"/>
                <a:gd name="connsiteY84" fmla="*/ 194110 h 485274"/>
                <a:gd name="connsiteX85" fmla="*/ 145582 w 485274"/>
                <a:gd name="connsiteY85" fmla="*/ 194110 h 485274"/>
                <a:gd name="connsiteX86" fmla="*/ 339692 w 485274"/>
                <a:gd name="connsiteY86" fmla="*/ 372043 h 485274"/>
                <a:gd name="connsiteX87" fmla="*/ 323516 w 485274"/>
                <a:gd name="connsiteY87" fmla="*/ 372043 h 485274"/>
                <a:gd name="connsiteX88" fmla="*/ 323516 w 485274"/>
                <a:gd name="connsiteY88" fmla="*/ 315428 h 485274"/>
                <a:gd name="connsiteX89" fmla="*/ 339692 w 485274"/>
                <a:gd name="connsiteY89" fmla="*/ 315428 h 485274"/>
                <a:gd name="connsiteX90" fmla="*/ 339692 w 485274"/>
                <a:gd name="connsiteY90" fmla="*/ 372043 h 48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485274" h="485274">
                  <a:moveTo>
                    <a:pt x="461617" y="225855"/>
                  </a:moveTo>
                  <a:cubicBezTo>
                    <a:pt x="446553" y="210589"/>
                    <a:pt x="425929" y="202096"/>
                    <a:pt x="404395" y="202198"/>
                  </a:cubicBezTo>
                  <a:cubicBezTo>
                    <a:pt x="359709" y="202299"/>
                    <a:pt x="323617" y="238391"/>
                    <a:pt x="323516" y="283077"/>
                  </a:cubicBezTo>
                  <a:lnTo>
                    <a:pt x="323516" y="299252"/>
                  </a:lnTo>
                  <a:lnTo>
                    <a:pt x="315428" y="299252"/>
                  </a:lnTo>
                  <a:cubicBezTo>
                    <a:pt x="310980" y="299252"/>
                    <a:pt x="307340" y="302892"/>
                    <a:pt x="307340" y="307340"/>
                  </a:cubicBezTo>
                  <a:lnTo>
                    <a:pt x="307340" y="380131"/>
                  </a:lnTo>
                  <a:cubicBezTo>
                    <a:pt x="307340" y="384580"/>
                    <a:pt x="310980" y="388219"/>
                    <a:pt x="315428" y="388219"/>
                  </a:cubicBezTo>
                  <a:lnTo>
                    <a:pt x="323516" y="388219"/>
                  </a:lnTo>
                  <a:lnTo>
                    <a:pt x="323516" y="396307"/>
                  </a:lnTo>
                  <a:cubicBezTo>
                    <a:pt x="323516" y="436544"/>
                    <a:pt x="290962" y="469098"/>
                    <a:pt x="250725" y="469098"/>
                  </a:cubicBezTo>
                  <a:cubicBezTo>
                    <a:pt x="210488" y="469098"/>
                    <a:pt x="177934" y="436544"/>
                    <a:pt x="177934" y="396307"/>
                  </a:cubicBezTo>
                  <a:lnTo>
                    <a:pt x="186022" y="396307"/>
                  </a:lnTo>
                  <a:cubicBezTo>
                    <a:pt x="190470" y="396307"/>
                    <a:pt x="194110" y="392668"/>
                    <a:pt x="194110" y="388219"/>
                  </a:cubicBezTo>
                  <a:lnTo>
                    <a:pt x="194110" y="355868"/>
                  </a:lnTo>
                  <a:lnTo>
                    <a:pt x="218373" y="355868"/>
                  </a:lnTo>
                  <a:cubicBezTo>
                    <a:pt x="236268" y="355868"/>
                    <a:pt x="250725" y="341411"/>
                    <a:pt x="250725" y="323516"/>
                  </a:cubicBezTo>
                  <a:lnTo>
                    <a:pt x="250725" y="145582"/>
                  </a:lnTo>
                  <a:cubicBezTo>
                    <a:pt x="250725" y="127688"/>
                    <a:pt x="236268" y="113231"/>
                    <a:pt x="218373" y="113231"/>
                  </a:cubicBezTo>
                  <a:lnTo>
                    <a:pt x="194110" y="113231"/>
                  </a:lnTo>
                  <a:cubicBezTo>
                    <a:pt x="194009" y="102919"/>
                    <a:pt x="187437" y="93719"/>
                    <a:pt x="177732" y="90382"/>
                  </a:cubicBezTo>
                  <a:cubicBezTo>
                    <a:pt x="177833" y="89978"/>
                    <a:pt x="177934" y="89472"/>
                    <a:pt x="177934" y="88967"/>
                  </a:cubicBezTo>
                  <a:lnTo>
                    <a:pt x="177934" y="64703"/>
                  </a:lnTo>
                  <a:lnTo>
                    <a:pt x="250725" y="64703"/>
                  </a:lnTo>
                  <a:cubicBezTo>
                    <a:pt x="277516" y="64703"/>
                    <a:pt x="299252" y="42967"/>
                    <a:pt x="299252" y="16176"/>
                  </a:cubicBezTo>
                  <a:cubicBezTo>
                    <a:pt x="299252" y="7279"/>
                    <a:pt x="291973" y="0"/>
                    <a:pt x="283077" y="0"/>
                  </a:cubicBezTo>
                  <a:lnTo>
                    <a:pt x="266901" y="0"/>
                  </a:lnTo>
                  <a:cubicBezTo>
                    <a:pt x="258004" y="0"/>
                    <a:pt x="250725" y="7279"/>
                    <a:pt x="250725" y="16176"/>
                  </a:cubicBezTo>
                  <a:lnTo>
                    <a:pt x="177934" y="16176"/>
                  </a:lnTo>
                  <a:cubicBezTo>
                    <a:pt x="177934" y="11727"/>
                    <a:pt x="174294" y="8088"/>
                    <a:pt x="169846" y="8088"/>
                  </a:cubicBezTo>
                  <a:cubicBezTo>
                    <a:pt x="165398" y="8088"/>
                    <a:pt x="161758" y="11727"/>
                    <a:pt x="161758" y="16176"/>
                  </a:cubicBezTo>
                  <a:lnTo>
                    <a:pt x="64703" y="16176"/>
                  </a:lnTo>
                  <a:cubicBezTo>
                    <a:pt x="29015" y="16176"/>
                    <a:pt x="0" y="45191"/>
                    <a:pt x="0" y="80879"/>
                  </a:cubicBezTo>
                  <a:lnTo>
                    <a:pt x="0" y="477186"/>
                  </a:lnTo>
                  <a:cubicBezTo>
                    <a:pt x="0" y="481634"/>
                    <a:pt x="3640" y="485274"/>
                    <a:pt x="8088" y="485274"/>
                  </a:cubicBezTo>
                  <a:lnTo>
                    <a:pt x="40440" y="485274"/>
                  </a:lnTo>
                  <a:cubicBezTo>
                    <a:pt x="44888" y="485274"/>
                    <a:pt x="48527" y="481634"/>
                    <a:pt x="48527" y="477186"/>
                  </a:cubicBezTo>
                  <a:lnTo>
                    <a:pt x="48527" y="80879"/>
                  </a:lnTo>
                  <a:cubicBezTo>
                    <a:pt x="48527" y="71982"/>
                    <a:pt x="55807" y="64703"/>
                    <a:pt x="64703" y="64703"/>
                  </a:cubicBezTo>
                  <a:lnTo>
                    <a:pt x="161758" y="64703"/>
                  </a:lnTo>
                  <a:lnTo>
                    <a:pt x="161758" y="88967"/>
                  </a:lnTo>
                  <a:cubicBezTo>
                    <a:pt x="161758" y="89472"/>
                    <a:pt x="161859" y="89877"/>
                    <a:pt x="161960" y="90382"/>
                  </a:cubicBezTo>
                  <a:cubicBezTo>
                    <a:pt x="152154" y="93719"/>
                    <a:pt x="145582" y="102919"/>
                    <a:pt x="145582" y="113231"/>
                  </a:cubicBezTo>
                  <a:lnTo>
                    <a:pt x="121319" y="113231"/>
                  </a:lnTo>
                  <a:cubicBezTo>
                    <a:pt x="103424" y="113231"/>
                    <a:pt x="88967" y="127688"/>
                    <a:pt x="88967" y="145582"/>
                  </a:cubicBezTo>
                  <a:lnTo>
                    <a:pt x="88967" y="323516"/>
                  </a:lnTo>
                  <a:cubicBezTo>
                    <a:pt x="88967" y="341411"/>
                    <a:pt x="103424" y="355868"/>
                    <a:pt x="121319" y="355868"/>
                  </a:cubicBezTo>
                  <a:lnTo>
                    <a:pt x="145582" y="355868"/>
                  </a:lnTo>
                  <a:lnTo>
                    <a:pt x="145582" y="388219"/>
                  </a:lnTo>
                  <a:cubicBezTo>
                    <a:pt x="145582" y="392668"/>
                    <a:pt x="149222" y="396307"/>
                    <a:pt x="153670" y="396307"/>
                  </a:cubicBezTo>
                  <a:lnTo>
                    <a:pt x="161758" y="396307"/>
                  </a:lnTo>
                  <a:cubicBezTo>
                    <a:pt x="161758" y="445441"/>
                    <a:pt x="201591" y="485274"/>
                    <a:pt x="250725" y="485274"/>
                  </a:cubicBezTo>
                  <a:cubicBezTo>
                    <a:pt x="299859" y="485274"/>
                    <a:pt x="339692" y="445441"/>
                    <a:pt x="339692" y="396307"/>
                  </a:cubicBezTo>
                  <a:lnTo>
                    <a:pt x="339692" y="388219"/>
                  </a:lnTo>
                  <a:lnTo>
                    <a:pt x="347780" y="388219"/>
                  </a:lnTo>
                  <a:cubicBezTo>
                    <a:pt x="352228" y="388219"/>
                    <a:pt x="355868" y="384580"/>
                    <a:pt x="355868" y="380131"/>
                  </a:cubicBezTo>
                  <a:lnTo>
                    <a:pt x="355868" y="307340"/>
                  </a:lnTo>
                  <a:cubicBezTo>
                    <a:pt x="355868" y="302892"/>
                    <a:pt x="352228" y="299252"/>
                    <a:pt x="347780" y="299252"/>
                  </a:cubicBezTo>
                  <a:lnTo>
                    <a:pt x="339692" y="299252"/>
                  </a:lnTo>
                  <a:lnTo>
                    <a:pt x="339692" y="283077"/>
                  </a:lnTo>
                  <a:cubicBezTo>
                    <a:pt x="339692" y="247389"/>
                    <a:pt x="368707" y="218373"/>
                    <a:pt x="404395" y="218373"/>
                  </a:cubicBezTo>
                  <a:cubicBezTo>
                    <a:pt x="440083" y="218373"/>
                    <a:pt x="469098" y="247389"/>
                    <a:pt x="469098" y="283077"/>
                  </a:cubicBezTo>
                  <a:lnTo>
                    <a:pt x="469098" y="428659"/>
                  </a:lnTo>
                  <a:cubicBezTo>
                    <a:pt x="469098" y="433107"/>
                    <a:pt x="472738" y="436747"/>
                    <a:pt x="477186" y="436747"/>
                  </a:cubicBezTo>
                  <a:cubicBezTo>
                    <a:pt x="481634" y="436747"/>
                    <a:pt x="485274" y="433107"/>
                    <a:pt x="485274" y="428659"/>
                  </a:cubicBezTo>
                  <a:lnTo>
                    <a:pt x="485274" y="283077"/>
                  </a:lnTo>
                  <a:cubicBezTo>
                    <a:pt x="485375" y="261644"/>
                    <a:pt x="476782" y="241019"/>
                    <a:pt x="461617" y="225855"/>
                  </a:cubicBezTo>
                  <a:lnTo>
                    <a:pt x="461617" y="225855"/>
                  </a:lnTo>
                  <a:close/>
                  <a:moveTo>
                    <a:pt x="169846" y="105143"/>
                  </a:moveTo>
                  <a:cubicBezTo>
                    <a:pt x="174294" y="105143"/>
                    <a:pt x="177934" y="108782"/>
                    <a:pt x="177934" y="113231"/>
                  </a:cubicBezTo>
                  <a:lnTo>
                    <a:pt x="161758" y="113231"/>
                  </a:lnTo>
                  <a:cubicBezTo>
                    <a:pt x="161758" y="108782"/>
                    <a:pt x="165398" y="105143"/>
                    <a:pt x="169846" y="105143"/>
                  </a:cubicBezTo>
                  <a:lnTo>
                    <a:pt x="169846" y="105143"/>
                  </a:lnTo>
                  <a:close/>
                  <a:moveTo>
                    <a:pt x="145582" y="194110"/>
                  </a:moveTo>
                  <a:cubicBezTo>
                    <a:pt x="138202" y="194312"/>
                    <a:pt x="130822" y="193099"/>
                    <a:pt x="123947" y="190470"/>
                  </a:cubicBezTo>
                  <a:cubicBezTo>
                    <a:pt x="117881" y="188347"/>
                    <a:pt x="111613" y="186932"/>
                    <a:pt x="105143" y="186325"/>
                  </a:cubicBezTo>
                  <a:lnTo>
                    <a:pt x="105143" y="145582"/>
                  </a:lnTo>
                  <a:cubicBezTo>
                    <a:pt x="105143" y="136686"/>
                    <a:pt x="112422" y="129406"/>
                    <a:pt x="121319" y="129406"/>
                  </a:cubicBezTo>
                  <a:lnTo>
                    <a:pt x="218373" y="129406"/>
                  </a:lnTo>
                  <a:cubicBezTo>
                    <a:pt x="227270" y="129406"/>
                    <a:pt x="234549" y="136686"/>
                    <a:pt x="234549" y="145582"/>
                  </a:cubicBezTo>
                  <a:lnTo>
                    <a:pt x="234549" y="193705"/>
                  </a:lnTo>
                  <a:cubicBezTo>
                    <a:pt x="229899" y="193099"/>
                    <a:pt x="225349" y="192088"/>
                    <a:pt x="221002" y="190470"/>
                  </a:cubicBezTo>
                  <a:cubicBezTo>
                    <a:pt x="212408" y="187336"/>
                    <a:pt x="203310" y="185820"/>
                    <a:pt x="194110" y="186022"/>
                  </a:cubicBezTo>
                  <a:cubicBezTo>
                    <a:pt x="185011" y="185820"/>
                    <a:pt x="175811" y="187336"/>
                    <a:pt x="167217" y="190470"/>
                  </a:cubicBezTo>
                  <a:cubicBezTo>
                    <a:pt x="160343" y="193099"/>
                    <a:pt x="152962" y="194312"/>
                    <a:pt x="145582" y="194110"/>
                  </a:cubicBezTo>
                  <a:lnTo>
                    <a:pt x="145582" y="194110"/>
                  </a:lnTo>
                  <a:close/>
                  <a:moveTo>
                    <a:pt x="339692" y="372043"/>
                  </a:moveTo>
                  <a:lnTo>
                    <a:pt x="323516" y="372043"/>
                  </a:lnTo>
                  <a:lnTo>
                    <a:pt x="323516" y="315428"/>
                  </a:lnTo>
                  <a:lnTo>
                    <a:pt x="339692" y="315428"/>
                  </a:lnTo>
                  <a:lnTo>
                    <a:pt x="339692" y="372043"/>
                  </a:lnTo>
                  <a:close/>
                </a:path>
              </a:pathLst>
            </a:custGeom>
            <a:solidFill>
              <a:srgbClr val="FFFFFF"/>
            </a:solidFill>
            <a:ln w="992"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71" name="Rectangle: Rounded Corners 170">
              <a:extLst>
                <a:ext uri="{FF2B5EF4-FFF2-40B4-BE49-F238E27FC236}">
                  <a16:creationId xmlns:a16="http://schemas.microsoft.com/office/drawing/2014/main" id="{62D419AA-396B-79F0-6678-F22B8A170979}"/>
                </a:ext>
              </a:extLst>
            </p:cNvPr>
            <p:cNvSpPr/>
            <p:nvPr/>
          </p:nvSpPr>
          <p:spPr>
            <a:xfrm>
              <a:off x="7628892" y="2612647"/>
              <a:ext cx="653807" cy="585718"/>
            </a:xfrm>
            <a:prstGeom prst="roundRect">
              <a:avLst/>
            </a:prstGeom>
            <a:solidFill>
              <a:srgbClr val="595454"/>
            </a:solidFill>
            <a:ln>
              <a:noFill/>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72" name="Group 171">
              <a:extLst>
                <a:ext uri="{FF2B5EF4-FFF2-40B4-BE49-F238E27FC236}">
                  <a16:creationId xmlns:a16="http://schemas.microsoft.com/office/drawing/2014/main" id="{5E60ECEC-F9E7-B77A-416D-66C56FC21C12}"/>
                </a:ext>
              </a:extLst>
            </p:cNvPr>
            <p:cNvGrpSpPr/>
            <p:nvPr/>
          </p:nvGrpSpPr>
          <p:grpSpPr>
            <a:xfrm>
              <a:off x="7719331" y="2697138"/>
              <a:ext cx="471317" cy="441671"/>
              <a:chOff x="-9353968" y="-298871"/>
              <a:chExt cx="649224" cy="555676"/>
            </a:xfrm>
            <a:solidFill>
              <a:srgbClr val="FFFFFF"/>
            </a:solidFill>
          </p:grpSpPr>
          <p:sp>
            <p:nvSpPr>
              <p:cNvPr id="173" name="Freeform: Shape 172">
                <a:extLst>
                  <a:ext uri="{FF2B5EF4-FFF2-40B4-BE49-F238E27FC236}">
                    <a16:creationId xmlns:a16="http://schemas.microsoft.com/office/drawing/2014/main" id="{0C492A88-27B1-DAD6-00EF-B4E262D55B5A}"/>
                  </a:ext>
                </a:extLst>
              </p:cNvPr>
              <p:cNvSpPr/>
              <p:nvPr/>
            </p:nvSpPr>
            <p:spPr>
              <a:xfrm>
                <a:off x="-9115310" y="-139765"/>
                <a:ext cx="310896" cy="182880"/>
              </a:xfrm>
              <a:custGeom>
                <a:avLst/>
                <a:gdLst>
                  <a:gd name="connsiteX0" fmla="*/ 319126 w 310896"/>
                  <a:gd name="connsiteY0" fmla="*/ 41148 h 182880"/>
                  <a:gd name="connsiteX1" fmla="*/ 319126 w 310896"/>
                  <a:gd name="connsiteY1" fmla="*/ 41148 h 182880"/>
                  <a:gd name="connsiteX2" fmla="*/ 216713 w 310896"/>
                  <a:gd name="connsiteY2" fmla="*/ 138989 h 182880"/>
                  <a:gd name="connsiteX3" fmla="*/ 160934 w 310896"/>
                  <a:gd name="connsiteY3" fmla="*/ 188366 h 182880"/>
                  <a:gd name="connsiteX4" fmla="*/ 106070 w 310896"/>
                  <a:gd name="connsiteY4" fmla="*/ 141732 h 182880"/>
                  <a:gd name="connsiteX5" fmla="*/ 104242 w 310896"/>
                  <a:gd name="connsiteY5" fmla="*/ 138989 h 182880"/>
                  <a:gd name="connsiteX6" fmla="*/ 0 w 310896"/>
                  <a:gd name="connsiteY6" fmla="*/ 41148 h 182880"/>
                  <a:gd name="connsiteX7" fmla="*/ 98755 w 310896"/>
                  <a:gd name="connsiteY7" fmla="*/ 41148 h 182880"/>
                  <a:gd name="connsiteX8" fmla="*/ 105156 w 310896"/>
                  <a:gd name="connsiteY8" fmla="*/ 36576 h 182880"/>
                  <a:gd name="connsiteX9" fmla="*/ 113386 w 310896"/>
                  <a:gd name="connsiteY9" fmla="*/ 20117 h 182880"/>
                  <a:gd name="connsiteX10" fmla="*/ 125273 w 310896"/>
                  <a:gd name="connsiteY10" fmla="*/ 87782 h 182880"/>
                  <a:gd name="connsiteX11" fmla="*/ 132588 w 310896"/>
                  <a:gd name="connsiteY11" fmla="*/ 93269 h 182880"/>
                  <a:gd name="connsiteX12" fmla="*/ 139903 w 310896"/>
                  <a:gd name="connsiteY12" fmla="*/ 87782 h 182880"/>
                  <a:gd name="connsiteX13" fmla="*/ 149962 w 310896"/>
                  <a:gd name="connsiteY13" fmla="*/ 0 h 182880"/>
                  <a:gd name="connsiteX14" fmla="*/ 160020 w 310896"/>
                  <a:gd name="connsiteY14" fmla="*/ 57607 h 182880"/>
                  <a:gd name="connsiteX15" fmla="*/ 165506 w 310896"/>
                  <a:gd name="connsiteY15" fmla="*/ 63094 h 182880"/>
                  <a:gd name="connsiteX16" fmla="*/ 173736 w 310896"/>
                  <a:gd name="connsiteY16" fmla="*/ 58522 h 182880"/>
                  <a:gd name="connsiteX17" fmla="*/ 183794 w 310896"/>
                  <a:gd name="connsiteY17" fmla="*/ 34747 h 182880"/>
                  <a:gd name="connsiteX18" fmla="*/ 193853 w 310896"/>
                  <a:gd name="connsiteY18" fmla="*/ 67666 h 182880"/>
                  <a:gd name="connsiteX19" fmla="*/ 200254 w 310896"/>
                  <a:gd name="connsiteY19" fmla="*/ 72238 h 182880"/>
                  <a:gd name="connsiteX20" fmla="*/ 206654 w 310896"/>
                  <a:gd name="connsiteY20" fmla="*/ 67666 h 182880"/>
                  <a:gd name="connsiteX21" fmla="*/ 221285 w 310896"/>
                  <a:gd name="connsiteY21" fmla="*/ 40234 h 182880"/>
                  <a:gd name="connsiteX22" fmla="*/ 319126 w 310896"/>
                  <a:gd name="connsiteY22" fmla="*/ 40234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896" h="182880">
                    <a:moveTo>
                      <a:pt x="319126" y="41148"/>
                    </a:moveTo>
                    <a:lnTo>
                      <a:pt x="319126" y="41148"/>
                    </a:lnTo>
                    <a:cubicBezTo>
                      <a:pt x="286207" y="79553"/>
                      <a:pt x="241402" y="117043"/>
                      <a:pt x="216713" y="138989"/>
                    </a:cubicBezTo>
                    <a:cubicBezTo>
                      <a:pt x="201168" y="152705"/>
                      <a:pt x="169164" y="188366"/>
                      <a:pt x="160934" y="188366"/>
                    </a:cubicBezTo>
                    <a:cubicBezTo>
                      <a:pt x="151790" y="188366"/>
                      <a:pt x="123444" y="158191"/>
                      <a:pt x="106070" y="141732"/>
                    </a:cubicBezTo>
                    <a:lnTo>
                      <a:pt x="104242" y="138989"/>
                    </a:lnTo>
                    <a:cubicBezTo>
                      <a:pt x="79553" y="118872"/>
                      <a:pt x="34747" y="79553"/>
                      <a:pt x="0" y="41148"/>
                    </a:cubicBezTo>
                    <a:lnTo>
                      <a:pt x="98755" y="41148"/>
                    </a:lnTo>
                    <a:cubicBezTo>
                      <a:pt x="101498" y="41148"/>
                      <a:pt x="103327" y="39319"/>
                      <a:pt x="105156" y="36576"/>
                    </a:cubicBezTo>
                    <a:lnTo>
                      <a:pt x="113386" y="20117"/>
                    </a:lnTo>
                    <a:lnTo>
                      <a:pt x="125273" y="87782"/>
                    </a:lnTo>
                    <a:cubicBezTo>
                      <a:pt x="126187" y="91440"/>
                      <a:pt x="128930" y="93269"/>
                      <a:pt x="132588" y="93269"/>
                    </a:cubicBezTo>
                    <a:cubicBezTo>
                      <a:pt x="136246" y="93269"/>
                      <a:pt x="138989" y="90526"/>
                      <a:pt x="139903" y="87782"/>
                    </a:cubicBezTo>
                    <a:lnTo>
                      <a:pt x="149962" y="0"/>
                    </a:lnTo>
                    <a:lnTo>
                      <a:pt x="160020" y="57607"/>
                    </a:lnTo>
                    <a:cubicBezTo>
                      <a:pt x="160020" y="60350"/>
                      <a:pt x="162763" y="63094"/>
                      <a:pt x="165506" y="63094"/>
                    </a:cubicBezTo>
                    <a:cubicBezTo>
                      <a:pt x="169164" y="63094"/>
                      <a:pt x="171907" y="61265"/>
                      <a:pt x="173736" y="58522"/>
                    </a:cubicBezTo>
                    <a:lnTo>
                      <a:pt x="183794" y="34747"/>
                    </a:lnTo>
                    <a:lnTo>
                      <a:pt x="193853" y="67666"/>
                    </a:lnTo>
                    <a:cubicBezTo>
                      <a:pt x="195682" y="70409"/>
                      <a:pt x="197510" y="72238"/>
                      <a:pt x="200254" y="72238"/>
                    </a:cubicBezTo>
                    <a:cubicBezTo>
                      <a:pt x="202997" y="72238"/>
                      <a:pt x="205740" y="70409"/>
                      <a:pt x="206654" y="67666"/>
                    </a:cubicBezTo>
                    <a:lnTo>
                      <a:pt x="221285" y="40234"/>
                    </a:lnTo>
                    <a:lnTo>
                      <a:pt x="319126" y="40234"/>
                    </a:lnTo>
                    <a:close/>
                  </a:path>
                </a:pathLst>
              </a:custGeom>
              <a:grpFill/>
              <a:ln w="9142"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74" name="Freeform: Shape 173">
                <a:extLst>
                  <a:ext uri="{FF2B5EF4-FFF2-40B4-BE49-F238E27FC236}">
                    <a16:creationId xmlns:a16="http://schemas.microsoft.com/office/drawing/2014/main" id="{A9EA74DA-7EE8-4EDA-90C3-26BE0A606171}"/>
                  </a:ext>
                </a:extLst>
              </p:cNvPr>
              <p:cNvSpPr/>
              <p:nvPr/>
            </p:nvSpPr>
            <p:spPr>
              <a:xfrm>
                <a:off x="-9159079" y="-298871"/>
                <a:ext cx="402336" cy="192024"/>
              </a:xfrm>
              <a:custGeom>
                <a:avLst/>
                <a:gdLst>
                  <a:gd name="connsiteX0" fmla="*/ 404958 w 402336"/>
                  <a:gd name="connsiteY0" fmla="*/ 112471 h 192024"/>
                  <a:gd name="connsiteX1" fmla="*/ 404958 w 402336"/>
                  <a:gd name="connsiteY1" fmla="*/ 112471 h 192024"/>
                  <a:gd name="connsiteX2" fmla="*/ 373868 w 402336"/>
                  <a:gd name="connsiteY2" fmla="*/ 170993 h 192024"/>
                  <a:gd name="connsiteX3" fmla="*/ 259568 w 402336"/>
                  <a:gd name="connsiteY3" fmla="*/ 170993 h 192024"/>
                  <a:gd name="connsiteX4" fmla="*/ 253167 w 402336"/>
                  <a:gd name="connsiteY4" fmla="*/ 173736 h 192024"/>
                  <a:gd name="connsiteX5" fmla="*/ 243109 w 402336"/>
                  <a:gd name="connsiteY5" fmla="*/ 192024 h 192024"/>
                  <a:gd name="connsiteX6" fmla="*/ 232136 w 402336"/>
                  <a:gd name="connsiteY6" fmla="*/ 158191 h 192024"/>
                  <a:gd name="connsiteX7" fmla="*/ 225735 w 402336"/>
                  <a:gd name="connsiteY7" fmla="*/ 152705 h 192024"/>
                  <a:gd name="connsiteX8" fmla="*/ 218420 w 402336"/>
                  <a:gd name="connsiteY8" fmla="*/ 157277 h 192024"/>
                  <a:gd name="connsiteX9" fmla="*/ 210191 w 402336"/>
                  <a:gd name="connsiteY9" fmla="*/ 176479 h 192024"/>
                  <a:gd name="connsiteX10" fmla="*/ 199218 w 402336"/>
                  <a:gd name="connsiteY10" fmla="*/ 99670 h 192024"/>
                  <a:gd name="connsiteX11" fmla="*/ 192817 w 402336"/>
                  <a:gd name="connsiteY11" fmla="*/ 94183 h 192024"/>
                  <a:gd name="connsiteX12" fmla="*/ 191903 w 402336"/>
                  <a:gd name="connsiteY12" fmla="*/ 94183 h 192024"/>
                  <a:gd name="connsiteX13" fmla="*/ 185502 w 402336"/>
                  <a:gd name="connsiteY13" fmla="*/ 99670 h 192024"/>
                  <a:gd name="connsiteX14" fmla="*/ 174529 w 402336"/>
                  <a:gd name="connsiteY14" fmla="*/ 189281 h 192024"/>
                  <a:gd name="connsiteX15" fmla="*/ 164471 w 402336"/>
                  <a:gd name="connsiteY15" fmla="*/ 141732 h 192024"/>
                  <a:gd name="connsiteX16" fmla="*/ 158984 w 402336"/>
                  <a:gd name="connsiteY16" fmla="*/ 136246 h 192024"/>
                  <a:gd name="connsiteX17" fmla="*/ 151669 w 402336"/>
                  <a:gd name="connsiteY17" fmla="*/ 139903 h 192024"/>
                  <a:gd name="connsiteX18" fmla="*/ 137039 w 402336"/>
                  <a:gd name="connsiteY18" fmla="*/ 170993 h 192024"/>
                  <a:gd name="connsiteX19" fmla="*/ 33711 w 402336"/>
                  <a:gd name="connsiteY19" fmla="*/ 170993 h 192024"/>
                  <a:gd name="connsiteX20" fmla="*/ 2622 w 402336"/>
                  <a:gd name="connsiteY20" fmla="*/ 112471 h 192024"/>
                  <a:gd name="connsiteX21" fmla="*/ 17252 w 402336"/>
                  <a:gd name="connsiteY21" fmla="*/ 33833 h 192024"/>
                  <a:gd name="connsiteX22" fmla="*/ 94976 w 402336"/>
                  <a:gd name="connsiteY22" fmla="*/ 0 h 192024"/>
                  <a:gd name="connsiteX23" fmla="*/ 105035 w 402336"/>
                  <a:gd name="connsiteY23" fmla="*/ 0 h 192024"/>
                  <a:gd name="connsiteX24" fmla="*/ 189159 w 402336"/>
                  <a:gd name="connsiteY24" fmla="*/ 35662 h 192024"/>
                  <a:gd name="connsiteX25" fmla="*/ 203790 w 402336"/>
                  <a:gd name="connsiteY25" fmla="*/ 42977 h 192024"/>
                  <a:gd name="connsiteX26" fmla="*/ 220249 w 402336"/>
                  <a:gd name="connsiteY26" fmla="*/ 35662 h 192024"/>
                  <a:gd name="connsiteX27" fmla="*/ 304374 w 402336"/>
                  <a:gd name="connsiteY27" fmla="*/ 0 h 192024"/>
                  <a:gd name="connsiteX28" fmla="*/ 312603 w 402336"/>
                  <a:gd name="connsiteY28" fmla="*/ 0 h 192024"/>
                  <a:gd name="connsiteX29" fmla="*/ 392156 w 402336"/>
                  <a:gd name="connsiteY29" fmla="*/ 33833 h 192024"/>
                  <a:gd name="connsiteX30" fmla="*/ 404958 w 402336"/>
                  <a:gd name="connsiteY30" fmla="*/ 112471 h 192024"/>
                  <a:gd name="connsiteX31" fmla="*/ 404958 w 402336"/>
                  <a:gd name="connsiteY31" fmla="*/ 112471 h 192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02336" h="192024">
                    <a:moveTo>
                      <a:pt x="404958" y="112471"/>
                    </a:moveTo>
                    <a:lnTo>
                      <a:pt x="404958" y="112471"/>
                    </a:lnTo>
                    <a:cubicBezTo>
                      <a:pt x="401300" y="130759"/>
                      <a:pt x="390327" y="149962"/>
                      <a:pt x="373868" y="170993"/>
                    </a:cubicBezTo>
                    <a:lnTo>
                      <a:pt x="259568" y="170993"/>
                    </a:lnTo>
                    <a:cubicBezTo>
                      <a:pt x="256825" y="170993"/>
                      <a:pt x="254996" y="171907"/>
                      <a:pt x="253167" y="173736"/>
                    </a:cubicBezTo>
                    <a:lnTo>
                      <a:pt x="243109" y="192024"/>
                    </a:lnTo>
                    <a:lnTo>
                      <a:pt x="232136" y="158191"/>
                    </a:lnTo>
                    <a:cubicBezTo>
                      <a:pt x="231222" y="155448"/>
                      <a:pt x="228479" y="152705"/>
                      <a:pt x="225735" y="152705"/>
                    </a:cubicBezTo>
                    <a:cubicBezTo>
                      <a:pt x="222078" y="152705"/>
                      <a:pt x="220249" y="154534"/>
                      <a:pt x="218420" y="157277"/>
                    </a:cubicBezTo>
                    <a:lnTo>
                      <a:pt x="210191" y="176479"/>
                    </a:lnTo>
                    <a:lnTo>
                      <a:pt x="199218" y="99670"/>
                    </a:lnTo>
                    <a:cubicBezTo>
                      <a:pt x="198303" y="96926"/>
                      <a:pt x="195560" y="94183"/>
                      <a:pt x="192817" y="94183"/>
                    </a:cubicBezTo>
                    <a:lnTo>
                      <a:pt x="191903" y="94183"/>
                    </a:lnTo>
                    <a:cubicBezTo>
                      <a:pt x="188245" y="94183"/>
                      <a:pt x="185502" y="96926"/>
                      <a:pt x="185502" y="99670"/>
                    </a:cubicBezTo>
                    <a:lnTo>
                      <a:pt x="174529" y="189281"/>
                    </a:lnTo>
                    <a:lnTo>
                      <a:pt x="164471" y="141732"/>
                    </a:lnTo>
                    <a:cubicBezTo>
                      <a:pt x="163556" y="138074"/>
                      <a:pt x="161727" y="136246"/>
                      <a:pt x="158984" y="136246"/>
                    </a:cubicBezTo>
                    <a:cubicBezTo>
                      <a:pt x="156241" y="135331"/>
                      <a:pt x="152583" y="137160"/>
                      <a:pt x="151669" y="139903"/>
                    </a:cubicBezTo>
                    <a:lnTo>
                      <a:pt x="137039" y="170993"/>
                    </a:lnTo>
                    <a:lnTo>
                      <a:pt x="33711" y="170993"/>
                    </a:lnTo>
                    <a:cubicBezTo>
                      <a:pt x="17252" y="149962"/>
                      <a:pt x="4451" y="129845"/>
                      <a:pt x="2622" y="112471"/>
                    </a:cubicBezTo>
                    <a:cubicBezTo>
                      <a:pt x="-3779" y="79553"/>
                      <a:pt x="1707" y="53035"/>
                      <a:pt x="17252" y="33833"/>
                    </a:cubicBezTo>
                    <a:cubicBezTo>
                      <a:pt x="31883" y="14630"/>
                      <a:pt x="58400" y="3658"/>
                      <a:pt x="94976" y="0"/>
                    </a:cubicBezTo>
                    <a:cubicBezTo>
                      <a:pt x="98634" y="0"/>
                      <a:pt x="102291" y="0"/>
                      <a:pt x="105035" y="0"/>
                    </a:cubicBezTo>
                    <a:cubicBezTo>
                      <a:pt x="136124" y="0"/>
                      <a:pt x="169043" y="12802"/>
                      <a:pt x="189159" y="35662"/>
                    </a:cubicBezTo>
                    <a:cubicBezTo>
                      <a:pt x="192817" y="40234"/>
                      <a:pt x="199218" y="42977"/>
                      <a:pt x="203790" y="42977"/>
                    </a:cubicBezTo>
                    <a:cubicBezTo>
                      <a:pt x="211105" y="42977"/>
                      <a:pt x="215677" y="40234"/>
                      <a:pt x="220249" y="35662"/>
                    </a:cubicBezTo>
                    <a:cubicBezTo>
                      <a:pt x="239451" y="12802"/>
                      <a:pt x="271455" y="0"/>
                      <a:pt x="304374" y="0"/>
                    </a:cubicBezTo>
                    <a:cubicBezTo>
                      <a:pt x="307117" y="0"/>
                      <a:pt x="309860" y="0"/>
                      <a:pt x="312603" y="0"/>
                    </a:cubicBezTo>
                    <a:cubicBezTo>
                      <a:pt x="350094" y="3658"/>
                      <a:pt x="375697" y="14630"/>
                      <a:pt x="392156" y="33833"/>
                    </a:cubicBezTo>
                    <a:cubicBezTo>
                      <a:pt x="406787" y="53035"/>
                      <a:pt x="411359" y="79553"/>
                      <a:pt x="404958" y="112471"/>
                    </a:cubicBezTo>
                    <a:lnTo>
                      <a:pt x="404958" y="112471"/>
                    </a:lnTo>
                    <a:close/>
                  </a:path>
                </a:pathLst>
              </a:custGeom>
              <a:grpFill/>
              <a:ln w="9142"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75" name="Freeform: Shape 174">
                <a:extLst>
                  <a:ext uri="{FF2B5EF4-FFF2-40B4-BE49-F238E27FC236}">
                    <a16:creationId xmlns:a16="http://schemas.microsoft.com/office/drawing/2014/main" id="{0101BA07-EE57-3591-3841-9E4FD44E14A6}"/>
                  </a:ext>
                </a:extLst>
              </p:cNvPr>
              <p:cNvSpPr/>
              <p:nvPr/>
            </p:nvSpPr>
            <p:spPr>
              <a:xfrm>
                <a:off x="-9353968" y="83069"/>
                <a:ext cx="649224" cy="173736"/>
              </a:xfrm>
              <a:custGeom>
                <a:avLst/>
                <a:gdLst>
                  <a:gd name="connsiteX0" fmla="*/ 655625 w 649224"/>
                  <a:gd name="connsiteY0" fmla="*/ 16739 h 173736"/>
                  <a:gd name="connsiteX1" fmla="*/ 611734 w 649224"/>
                  <a:gd name="connsiteY1" fmla="*/ 280 h 173736"/>
                  <a:gd name="connsiteX2" fmla="*/ 595274 w 649224"/>
                  <a:gd name="connsiteY2" fmla="*/ 3938 h 173736"/>
                  <a:gd name="connsiteX3" fmla="*/ 437998 w 649224"/>
                  <a:gd name="connsiteY3" fmla="*/ 57887 h 173736"/>
                  <a:gd name="connsiteX4" fmla="*/ 434340 w 649224"/>
                  <a:gd name="connsiteY4" fmla="*/ 57887 h 173736"/>
                  <a:gd name="connsiteX5" fmla="*/ 436169 w 649224"/>
                  <a:gd name="connsiteY5" fmla="*/ 60630 h 173736"/>
                  <a:gd name="connsiteX6" fmla="*/ 455371 w 649224"/>
                  <a:gd name="connsiteY6" fmla="*/ 96292 h 173736"/>
                  <a:gd name="connsiteX7" fmla="*/ 394106 w 649224"/>
                  <a:gd name="connsiteY7" fmla="*/ 125553 h 173736"/>
                  <a:gd name="connsiteX8" fmla="*/ 277978 w 649224"/>
                  <a:gd name="connsiteY8" fmla="*/ 116409 h 173736"/>
                  <a:gd name="connsiteX9" fmla="*/ 294437 w 649224"/>
                  <a:gd name="connsiteY9" fmla="*/ 116409 h 173736"/>
                  <a:gd name="connsiteX10" fmla="*/ 383134 w 649224"/>
                  <a:gd name="connsiteY10" fmla="*/ 114580 h 173736"/>
                  <a:gd name="connsiteX11" fmla="*/ 440741 w 649224"/>
                  <a:gd name="connsiteY11" fmla="*/ 88977 h 173736"/>
                  <a:gd name="connsiteX12" fmla="*/ 423367 w 649224"/>
                  <a:gd name="connsiteY12" fmla="*/ 65202 h 173736"/>
                  <a:gd name="connsiteX13" fmla="*/ 352044 w 649224"/>
                  <a:gd name="connsiteY13" fmla="*/ 49658 h 173736"/>
                  <a:gd name="connsiteX14" fmla="*/ 301752 w 649224"/>
                  <a:gd name="connsiteY14" fmla="*/ 40514 h 173736"/>
                  <a:gd name="connsiteX15" fmla="*/ 155448 w 649224"/>
                  <a:gd name="connsiteY15" fmla="*/ 20397 h 173736"/>
                  <a:gd name="connsiteX16" fmla="*/ 130759 w 649224"/>
                  <a:gd name="connsiteY16" fmla="*/ 24054 h 173736"/>
                  <a:gd name="connsiteX17" fmla="*/ 5486 w 649224"/>
                  <a:gd name="connsiteY17" fmla="*/ 54230 h 173736"/>
                  <a:gd name="connsiteX18" fmla="*/ 0 w 649224"/>
                  <a:gd name="connsiteY18" fmla="*/ 54230 h 173736"/>
                  <a:gd name="connsiteX19" fmla="*/ 63094 w 649224"/>
                  <a:gd name="connsiteY19" fmla="*/ 144755 h 173736"/>
                  <a:gd name="connsiteX20" fmla="*/ 96926 w 649224"/>
                  <a:gd name="connsiteY20" fmla="*/ 139269 h 173736"/>
                  <a:gd name="connsiteX21" fmla="*/ 139903 w 649224"/>
                  <a:gd name="connsiteY21" fmla="*/ 139269 h 173736"/>
                  <a:gd name="connsiteX22" fmla="*/ 241402 w 649224"/>
                  <a:gd name="connsiteY22" fmla="*/ 159386 h 173736"/>
                  <a:gd name="connsiteX23" fmla="*/ 341986 w 649224"/>
                  <a:gd name="connsiteY23" fmla="*/ 179502 h 173736"/>
                  <a:gd name="connsiteX24" fmla="*/ 368503 w 649224"/>
                  <a:gd name="connsiteY24" fmla="*/ 180417 h 173736"/>
                  <a:gd name="connsiteX25" fmla="*/ 431597 w 649224"/>
                  <a:gd name="connsiteY25" fmla="*/ 155728 h 173736"/>
                  <a:gd name="connsiteX26" fmla="*/ 450799 w 649224"/>
                  <a:gd name="connsiteY26" fmla="*/ 145670 h 173736"/>
                  <a:gd name="connsiteX27" fmla="*/ 637337 w 649224"/>
                  <a:gd name="connsiteY27" fmla="*/ 45086 h 173736"/>
                  <a:gd name="connsiteX28" fmla="*/ 655625 w 649224"/>
                  <a:gd name="connsiteY28" fmla="*/ 16739 h 173736"/>
                  <a:gd name="connsiteX29" fmla="*/ 655625 w 649224"/>
                  <a:gd name="connsiteY29" fmla="*/ 16739 h 17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49224" h="173736">
                    <a:moveTo>
                      <a:pt x="655625" y="16739"/>
                    </a:moveTo>
                    <a:cubicBezTo>
                      <a:pt x="651053" y="5766"/>
                      <a:pt x="631850" y="-1549"/>
                      <a:pt x="611734" y="280"/>
                    </a:cubicBezTo>
                    <a:cubicBezTo>
                      <a:pt x="606247" y="1194"/>
                      <a:pt x="600761" y="2109"/>
                      <a:pt x="595274" y="3938"/>
                    </a:cubicBezTo>
                    <a:cubicBezTo>
                      <a:pt x="568757" y="11253"/>
                      <a:pt x="438912" y="56058"/>
                      <a:pt x="437998" y="57887"/>
                    </a:cubicBezTo>
                    <a:lnTo>
                      <a:pt x="434340" y="57887"/>
                    </a:lnTo>
                    <a:lnTo>
                      <a:pt x="436169" y="60630"/>
                    </a:lnTo>
                    <a:cubicBezTo>
                      <a:pt x="450799" y="72518"/>
                      <a:pt x="459029" y="86234"/>
                      <a:pt x="455371" y="96292"/>
                    </a:cubicBezTo>
                    <a:cubicBezTo>
                      <a:pt x="450799" y="111837"/>
                      <a:pt x="428854" y="121895"/>
                      <a:pt x="394106" y="125553"/>
                    </a:cubicBezTo>
                    <a:cubicBezTo>
                      <a:pt x="363931" y="127382"/>
                      <a:pt x="324612" y="125553"/>
                      <a:pt x="277978" y="116409"/>
                    </a:cubicBezTo>
                    <a:cubicBezTo>
                      <a:pt x="283464" y="116409"/>
                      <a:pt x="288036" y="116409"/>
                      <a:pt x="294437" y="116409"/>
                    </a:cubicBezTo>
                    <a:cubicBezTo>
                      <a:pt x="327355" y="116409"/>
                      <a:pt x="358445" y="116409"/>
                      <a:pt x="383134" y="114580"/>
                    </a:cubicBezTo>
                    <a:cubicBezTo>
                      <a:pt x="420624" y="111837"/>
                      <a:pt x="437998" y="103607"/>
                      <a:pt x="440741" y="88977"/>
                    </a:cubicBezTo>
                    <a:cubicBezTo>
                      <a:pt x="441655" y="78918"/>
                      <a:pt x="436169" y="71603"/>
                      <a:pt x="423367" y="65202"/>
                    </a:cubicBezTo>
                    <a:cubicBezTo>
                      <a:pt x="409651" y="57887"/>
                      <a:pt x="380390" y="54230"/>
                      <a:pt x="352044" y="49658"/>
                    </a:cubicBezTo>
                    <a:cubicBezTo>
                      <a:pt x="332842" y="46000"/>
                      <a:pt x="314554" y="44171"/>
                      <a:pt x="301752" y="40514"/>
                    </a:cubicBezTo>
                    <a:cubicBezTo>
                      <a:pt x="256032" y="28626"/>
                      <a:pt x="210312" y="15825"/>
                      <a:pt x="155448" y="20397"/>
                    </a:cubicBezTo>
                    <a:cubicBezTo>
                      <a:pt x="147218" y="21311"/>
                      <a:pt x="138989" y="22226"/>
                      <a:pt x="130759" y="24054"/>
                    </a:cubicBezTo>
                    <a:cubicBezTo>
                      <a:pt x="88697" y="31370"/>
                      <a:pt x="47549" y="41428"/>
                      <a:pt x="5486" y="54230"/>
                    </a:cubicBezTo>
                    <a:lnTo>
                      <a:pt x="0" y="54230"/>
                    </a:lnTo>
                    <a:lnTo>
                      <a:pt x="63094" y="144755"/>
                    </a:lnTo>
                    <a:cubicBezTo>
                      <a:pt x="74066" y="142012"/>
                      <a:pt x="85954" y="139269"/>
                      <a:pt x="96926" y="139269"/>
                    </a:cubicBezTo>
                    <a:cubicBezTo>
                      <a:pt x="111557" y="137440"/>
                      <a:pt x="126187" y="137440"/>
                      <a:pt x="139903" y="139269"/>
                    </a:cubicBezTo>
                    <a:cubicBezTo>
                      <a:pt x="156362" y="142926"/>
                      <a:pt x="200254" y="151156"/>
                      <a:pt x="241402" y="159386"/>
                    </a:cubicBezTo>
                    <a:cubicBezTo>
                      <a:pt x="285293" y="169444"/>
                      <a:pt x="326441" y="176759"/>
                      <a:pt x="341986" y="179502"/>
                    </a:cubicBezTo>
                    <a:cubicBezTo>
                      <a:pt x="351130" y="180417"/>
                      <a:pt x="359359" y="180417"/>
                      <a:pt x="368503" y="180417"/>
                    </a:cubicBezTo>
                    <a:cubicBezTo>
                      <a:pt x="389534" y="178588"/>
                      <a:pt x="411480" y="166701"/>
                      <a:pt x="431597" y="155728"/>
                    </a:cubicBezTo>
                    <a:cubicBezTo>
                      <a:pt x="438912" y="152070"/>
                      <a:pt x="444398" y="148413"/>
                      <a:pt x="450799" y="145670"/>
                    </a:cubicBezTo>
                    <a:lnTo>
                      <a:pt x="637337" y="45086"/>
                    </a:lnTo>
                    <a:cubicBezTo>
                      <a:pt x="657454" y="32284"/>
                      <a:pt x="657454" y="21311"/>
                      <a:pt x="655625" y="16739"/>
                    </a:cubicBezTo>
                    <a:lnTo>
                      <a:pt x="655625" y="16739"/>
                    </a:lnTo>
                    <a:close/>
                  </a:path>
                </a:pathLst>
              </a:custGeom>
              <a:grpFill/>
              <a:ln w="9142"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grpSp>
        <p:pic>
          <p:nvPicPr>
            <p:cNvPr id="176" name="Content Placeholder 77" descr="Bridge scene outline">
              <a:extLst>
                <a:ext uri="{FF2B5EF4-FFF2-40B4-BE49-F238E27FC236}">
                  <a16:creationId xmlns:a16="http://schemas.microsoft.com/office/drawing/2014/main" id="{EDDD7B28-E7EE-96F3-441E-D7B5368D803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181258" y="2584479"/>
              <a:ext cx="603997" cy="603997"/>
            </a:xfrm>
            <a:prstGeom prst="rect">
              <a:avLst/>
            </a:prstGeom>
          </p:spPr>
        </p:pic>
        <p:sp>
          <p:nvSpPr>
            <p:cNvPr id="190" name="Rectangle: Rounded Corners 189">
              <a:extLst>
                <a:ext uri="{FF2B5EF4-FFF2-40B4-BE49-F238E27FC236}">
                  <a16:creationId xmlns:a16="http://schemas.microsoft.com/office/drawing/2014/main" id="{E2AE098B-EC49-D966-9EEF-73008C925959}"/>
                </a:ext>
              </a:extLst>
            </p:cNvPr>
            <p:cNvSpPr/>
            <p:nvPr/>
          </p:nvSpPr>
          <p:spPr>
            <a:xfrm>
              <a:off x="5163672" y="1680265"/>
              <a:ext cx="653807" cy="585718"/>
            </a:xfrm>
            <a:prstGeom prst="roundRect">
              <a:avLst/>
            </a:prstGeom>
            <a:solidFill>
              <a:srgbClr val="595454"/>
            </a:solidFill>
            <a:ln>
              <a:noFill/>
            </a:ln>
            <a:effectLst/>
          </p:spPr>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91" name="Group 190">
              <a:extLst>
                <a:ext uri="{FF2B5EF4-FFF2-40B4-BE49-F238E27FC236}">
                  <a16:creationId xmlns:a16="http://schemas.microsoft.com/office/drawing/2014/main" id="{69D88191-CA14-8BF5-DE93-9F9964D26F1D}"/>
                </a:ext>
              </a:extLst>
            </p:cNvPr>
            <p:cNvGrpSpPr/>
            <p:nvPr/>
          </p:nvGrpSpPr>
          <p:grpSpPr>
            <a:xfrm>
              <a:off x="5198506" y="1822022"/>
              <a:ext cx="594264" cy="320704"/>
              <a:chOff x="38100" y="2473325"/>
              <a:chExt cx="744538" cy="414338"/>
            </a:xfrm>
            <a:solidFill>
              <a:srgbClr val="FFFFFF"/>
            </a:solidFill>
          </p:grpSpPr>
          <p:sp>
            <p:nvSpPr>
              <p:cNvPr id="192" name="Freeform 176">
                <a:extLst>
                  <a:ext uri="{FF2B5EF4-FFF2-40B4-BE49-F238E27FC236}">
                    <a16:creationId xmlns:a16="http://schemas.microsoft.com/office/drawing/2014/main" id="{8C67E0AB-5893-15F7-A95B-F16E36382CE1}"/>
                  </a:ext>
                </a:extLst>
              </p:cNvPr>
              <p:cNvSpPr>
                <a:spLocks/>
              </p:cNvSpPr>
              <p:nvPr/>
            </p:nvSpPr>
            <p:spPr bwMode="auto">
              <a:xfrm>
                <a:off x="58738" y="2630488"/>
                <a:ext cx="106363" cy="223838"/>
              </a:xfrm>
              <a:custGeom>
                <a:avLst/>
                <a:gdLst>
                  <a:gd name="T0" fmla="*/ 0 w 67"/>
                  <a:gd name="T1" fmla="*/ 141 h 141"/>
                  <a:gd name="T2" fmla="*/ 67 w 67"/>
                  <a:gd name="T3" fmla="*/ 141 h 141"/>
                  <a:gd name="T4" fmla="*/ 67 w 67"/>
                  <a:gd name="T5" fmla="*/ 0 h 141"/>
                  <a:gd name="T6" fmla="*/ 0 w 67"/>
                  <a:gd name="T7" fmla="*/ 33 h 141"/>
                  <a:gd name="T8" fmla="*/ 0 w 67"/>
                  <a:gd name="T9" fmla="*/ 141 h 141"/>
                </a:gdLst>
                <a:ahLst/>
                <a:cxnLst>
                  <a:cxn ang="0">
                    <a:pos x="T0" y="T1"/>
                  </a:cxn>
                  <a:cxn ang="0">
                    <a:pos x="T2" y="T3"/>
                  </a:cxn>
                  <a:cxn ang="0">
                    <a:pos x="T4" y="T5"/>
                  </a:cxn>
                  <a:cxn ang="0">
                    <a:pos x="T6" y="T7"/>
                  </a:cxn>
                  <a:cxn ang="0">
                    <a:pos x="T8" y="T9"/>
                  </a:cxn>
                </a:cxnLst>
                <a:rect l="0" t="0" r="r" b="b"/>
                <a:pathLst>
                  <a:path w="67" h="141">
                    <a:moveTo>
                      <a:pt x="0" y="141"/>
                    </a:moveTo>
                    <a:lnTo>
                      <a:pt x="67" y="141"/>
                    </a:lnTo>
                    <a:lnTo>
                      <a:pt x="67" y="0"/>
                    </a:lnTo>
                    <a:lnTo>
                      <a:pt x="0" y="33"/>
                    </a:lnTo>
                    <a:lnTo>
                      <a:pt x="0" y="141"/>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93" name="Freeform 177">
                <a:extLst>
                  <a:ext uri="{FF2B5EF4-FFF2-40B4-BE49-F238E27FC236}">
                    <a16:creationId xmlns:a16="http://schemas.microsoft.com/office/drawing/2014/main" id="{6E6E4EE7-DA39-38E1-B529-8F813969645F}"/>
                  </a:ext>
                </a:extLst>
              </p:cNvPr>
              <p:cNvSpPr>
                <a:spLocks/>
              </p:cNvSpPr>
              <p:nvPr/>
            </p:nvSpPr>
            <p:spPr bwMode="auto">
              <a:xfrm>
                <a:off x="177800" y="2630488"/>
                <a:ext cx="101600" cy="223838"/>
              </a:xfrm>
              <a:custGeom>
                <a:avLst/>
                <a:gdLst>
                  <a:gd name="T0" fmla="*/ 0 w 64"/>
                  <a:gd name="T1" fmla="*/ 141 h 141"/>
                  <a:gd name="T2" fmla="*/ 64 w 64"/>
                  <a:gd name="T3" fmla="*/ 141 h 141"/>
                  <a:gd name="T4" fmla="*/ 64 w 64"/>
                  <a:gd name="T5" fmla="*/ 31 h 141"/>
                  <a:gd name="T6" fmla="*/ 0 w 64"/>
                  <a:gd name="T7" fmla="*/ 0 h 141"/>
                  <a:gd name="T8" fmla="*/ 0 w 64"/>
                  <a:gd name="T9" fmla="*/ 141 h 141"/>
                </a:gdLst>
                <a:ahLst/>
                <a:cxnLst>
                  <a:cxn ang="0">
                    <a:pos x="T0" y="T1"/>
                  </a:cxn>
                  <a:cxn ang="0">
                    <a:pos x="T2" y="T3"/>
                  </a:cxn>
                  <a:cxn ang="0">
                    <a:pos x="T4" y="T5"/>
                  </a:cxn>
                  <a:cxn ang="0">
                    <a:pos x="T6" y="T7"/>
                  </a:cxn>
                  <a:cxn ang="0">
                    <a:pos x="T8" y="T9"/>
                  </a:cxn>
                </a:cxnLst>
                <a:rect l="0" t="0" r="r" b="b"/>
                <a:pathLst>
                  <a:path w="64" h="141">
                    <a:moveTo>
                      <a:pt x="0" y="141"/>
                    </a:moveTo>
                    <a:lnTo>
                      <a:pt x="64" y="141"/>
                    </a:lnTo>
                    <a:lnTo>
                      <a:pt x="64" y="31"/>
                    </a:lnTo>
                    <a:lnTo>
                      <a:pt x="0" y="0"/>
                    </a:lnTo>
                    <a:lnTo>
                      <a:pt x="0" y="141"/>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94" name="Freeform 178">
                <a:extLst>
                  <a:ext uri="{FF2B5EF4-FFF2-40B4-BE49-F238E27FC236}">
                    <a16:creationId xmlns:a16="http://schemas.microsoft.com/office/drawing/2014/main" id="{70DD7838-AEF4-6F54-C491-5164DF86EEDC}"/>
                  </a:ext>
                </a:extLst>
              </p:cNvPr>
              <p:cNvSpPr>
                <a:spLocks/>
              </p:cNvSpPr>
              <p:nvPr/>
            </p:nvSpPr>
            <p:spPr bwMode="auto">
              <a:xfrm>
                <a:off x="290513" y="2686050"/>
                <a:ext cx="101600" cy="168275"/>
              </a:xfrm>
              <a:custGeom>
                <a:avLst/>
                <a:gdLst>
                  <a:gd name="T0" fmla="*/ 0 w 64"/>
                  <a:gd name="T1" fmla="*/ 106 h 106"/>
                  <a:gd name="T2" fmla="*/ 64 w 64"/>
                  <a:gd name="T3" fmla="*/ 106 h 106"/>
                  <a:gd name="T4" fmla="*/ 64 w 64"/>
                  <a:gd name="T5" fmla="*/ 32 h 106"/>
                  <a:gd name="T6" fmla="*/ 0 w 64"/>
                  <a:gd name="T7" fmla="*/ 0 h 106"/>
                  <a:gd name="T8" fmla="*/ 0 w 64"/>
                  <a:gd name="T9" fmla="*/ 106 h 106"/>
                </a:gdLst>
                <a:ahLst/>
                <a:cxnLst>
                  <a:cxn ang="0">
                    <a:pos x="T0" y="T1"/>
                  </a:cxn>
                  <a:cxn ang="0">
                    <a:pos x="T2" y="T3"/>
                  </a:cxn>
                  <a:cxn ang="0">
                    <a:pos x="T4" y="T5"/>
                  </a:cxn>
                  <a:cxn ang="0">
                    <a:pos x="T6" y="T7"/>
                  </a:cxn>
                  <a:cxn ang="0">
                    <a:pos x="T8" y="T9"/>
                  </a:cxn>
                </a:cxnLst>
                <a:rect l="0" t="0" r="r" b="b"/>
                <a:pathLst>
                  <a:path w="64" h="106">
                    <a:moveTo>
                      <a:pt x="0" y="106"/>
                    </a:moveTo>
                    <a:lnTo>
                      <a:pt x="64" y="106"/>
                    </a:lnTo>
                    <a:lnTo>
                      <a:pt x="64" y="32"/>
                    </a:lnTo>
                    <a:lnTo>
                      <a:pt x="0" y="0"/>
                    </a:lnTo>
                    <a:lnTo>
                      <a:pt x="0" y="106"/>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95" name="Freeform 179">
                <a:extLst>
                  <a:ext uri="{FF2B5EF4-FFF2-40B4-BE49-F238E27FC236}">
                    <a16:creationId xmlns:a16="http://schemas.microsoft.com/office/drawing/2014/main" id="{332E688E-6C27-040E-8ED8-EA016D62DFF9}"/>
                  </a:ext>
                </a:extLst>
              </p:cNvPr>
              <p:cNvSpPr>
                <a:spLocks/>
              </p:cNvSpPr>
              <p:nvPr/>
            </p:nvSpPr>
            <p:spPr bwMode="auto">
              <a:xfrm>
                <a:off x="454025" y="2547938"/>
                <a:ext cx="30163" cy="25400"/>
              </a:xfrm>
              <a:custGeom>
                <a:avLst/>
                <a:gdLst>
                  <a:gd name="T0" fmla="*/ 4 w 19"/>
                  <a:gd name="T1" fmla="*/ 16 h 16"/>
                  <a:gd name="T2" fmla="*/ 1 w 19"/>
                  <a:gd name="T3" fmla="*/ 15 h 16"/>
                  <a:gd name="T4" fmla="*/ 1 w 19"/>
                  <a:gd name="T5" fmla="*/ 9 h 16"/>
                  <a:gd name="T6" fmla="*/ 13 w 19"/>
                  <a:gd name="T7" fmla="*/ 1 h 16"/>
                  <a:gd name="T8" fmla="*/ 18 w 19"/>
                  <a:gd name="T9" fmla="*/ 3 h 16"/>
                  <a:gd name="T10" fmla="*/ 17 w 19"/>
                  <a:gd name="T11" fmla="*/ 8 h 16"/>
                  <a:gd name="T12" fmla="*/ 7 w 19"/>
                  <a:gd name="T13" fmla="*/ 15 h 16"/>
                  <a:gd name="T14" fmla="*/ 4 w 19"/>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6">
                    <a:moveTo>
                      <a:pt x="4" y="16"/>
                    </a:moveTo>
                    <a:cubicBezTo>
                      <a:pt x="3" y="16"/>
                      <a:pt x="2" y="16"/>
                      <a:pt x="1" y="15"/>
                    </a:cubicBezTo>
                    <a:cubicBezTo>
                      <a:pt x="0" y="13"/>
                      <a:pt x="0" y="11"/>
                      <a:pt x="1" y="9"/>
                    </a:cubicBezTo>
                    <a:cubicBezTo>
                      <a:pt x="5" y="6"/>
                      <a:pt x="9" y="3"/>
                      <a:pt x="13" y="1"/>
                    </a:cubicBezTo>
                    <a:cubicBezTo>
                      <a:pt x="15" y="0"/>
                      <a:pt x="17" y="1"/>
                      <a:pt x="18" y="3"/>
                    </a:cubicBezTo>
                    <a:cubicBezTo>
                      <a:pt x="19" y="4"/>
                      <a:pt x="19" y="7"/>
                      <a:pt x="17" y="8"/>
                    </a:cubicBezTo>
                    <a:cubicBezTo>
                      <a:pt x="13" y="10"/>
                      <a:pt x="10" y="12"/>
                      <a:pt x="7" y="15"/>
                    </a:cubicBezTo>
                    <a:cubicBezTo>
                      <a:pt x="6" y="16"/>
                      <a:pt x="5" y="16"/>
                      <a:pt x="4" y="16"/>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96" name="Freeform 180">
                <a:extLst>
                  <a:ext uri="{FF2B5EF4-FFF2-40B4-BE49-F238E27FC236}">
                    <a16:creationId xmlns:a16="http://schemas.microsoft.com/office/drawing/2014/main" id="{94A27F90-FEE6-8883-2312-63BCAA2ED4B6}"/>
                  </a:ext>
                </a:extLst>
              </p:cNvPr>
              <p:cNvSpPr>
                <a:spLocks/>
              </p:cNvSpPr>
              <p:nvPr/>
            </p:nvSpPr>
            <p:spPr bwMode="auto">
              <a:xfrm>
                <a:off x="493713" y="2538413"/>
                <a:ext cx="69850" cy="34925"/>
              </a:xfrm>
              <a:custGeom>
                <a:avLst/>
                <a:gdLst>
                  <a:gd name="T0" fmla="*/ 40 w 44"/>
                  <a:gd name="T1" fmla="*/ 22 h 22"/>
                  <a:gd name="T2" fmla="*/ 37 w 44"/>
                  <a:gd name="T3" fmla="*/ 21 h 22"/>
                  <a:gd name="T4" fmla="*/ 5 w 44"/>
                  <a:gd name="T5" fmla="*/ 10 h 22"/>
                  <a:gd name="T6" fmla="*/ 0 w 44"/>
                  <a:gd name="T7" fmla="*/ 6 h 22"/>
                  <a:gd name="T8" fmla="*/ 4 w 44"/>
                  <a:gd name="T9" fmla="*/ 2 h 22"/>
                  <a:gd name="T10" fmla="*/ 43 w 44"/>
                  <a:gd name="T11" fmla="*/ 15 h 22"/>
                  <a:gd name="T12" fmla="*/ 43 w 44"/>
                  <a:gd name="T13" fmla="*/ 21 h 22"/>
                  <a:gd name="T14" fmla="*/ 40 w 44"/>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22">
                    <a:moveTo>
                      <a:pt x="40" y="22"/>
                    </a:moveTo>
                    <a:cubicBezTo>
                      <a:pt x="39" y="22"/>
                      <a:pt x="38" y="22"/>
                      <a:pt x="37" y="21"/>
                    </a:cubicBezTo>
                    <a:cubicBezTo>
                      <a:pt x="28" y="12"/>
                      <a:pt x="17" y="8"/>
                      <a:pt x="5" y="10"/>
                    </a:cubicBezTo>
                    <a:cubicBezTo>
                      <a:pt x="2" y="10"/>
                      <a:pt x="0" y="9"/>
                      <a:pt x="0" y="6"/>
                    </a:cubicBezTo>
                    <a:cubicBezTo>
                      <a:pt x="0" y="4"/>
                      <a:pt x="1" y="2"/>
                      <a:pt x="4" y="2"/>
                    </a:cubicBezTo>
                    <a:cubicBezTo>
                      <a:pt x="18" y="0"/>
                      <a:pt x="32" y="5"/>
                      <a:pt x="43" y="15"/>
                    </a:cubicBezTo>
                    <a:cubicBezTo>
                      <a:pt x="44" y="17"/>
                      <a:pt x="44" y="19"/>
                      <a:pt x="43" y="21"/>
                    </a:cubicBezTo>
                    <a:cubicBezTo>
                      <a:pt x="42" y="22"/>
                      <a:pt x="41" y="22"/>
                      <a:pt x="40" y="22"/>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97" name="Freeform 181">
                <a:extLst>
                  <a:ext uri="{FF2B5EF4-FFF2-40B4-BE49-F238E27FC236}">
                    <a16:creationId xmlns:a16="http://schemas.microsoft.com/office/drawing/2014/main" id="{1B35883D-A17A-4F15-1E7A-7305F4569FA6}"/>
                  </a:ext>
                </a:extLst>
              </p:cNvPr>
              <p:cNvSpPr>
                <a:spLocks noEditPoints="1"/>
              </p:cNvSpPr>
              <p:nvPr/>
            </p:nvSpPr>
            <p:spPr bwMode="auto">
              <a:xfrm>
                <a:off x="368300" y="2473325"/>
                <a:ext cx="280988" cy="282575"/>
              </a:xfrm>
              <a:custGeom>
                <a:avLst/>
                <a:gdLst>
                  <a:gd name="T0" fmla="*/ 147 w 179"/>
                  <a:gd name="T1" fmla="*/ 32 h 179"/>
                  <a:gd name="T2" fmla="*/ 32 w 179"/>
                  <a:gd name="T3" fmla="*/ 32 h 179"/>
                  <a:gd name="T4" fmla="*/ 32 w 179"/>
                  <a:gd name="T5" fmla="*/ 147 h 179"/>
                  <a:gd name="T6" fmla="*/ 147 w 179"/>
                  <a:gd name="T7" fmla="*/ 147 h 179"/>
                  <a:gd name="T8" fmla="*/ 147 w 179"/>
                  <a:gd name="T9" fmla="*/ 32 h 179"/>
                  <a:gd name="T10" fmla="*/ 45 w 179"/>
                  <a:gd name="T11" fmla="*/ 134 h 179"/>
                  <a:gd name="T12" fmla="*/ 45 w 179"/>
                  <a:gd name="T13" fmla="*/ 45 h 179"/>
                  <a:gd name="T14" fmla="*/ 134 w 179"/>
                  <a:gd name="T15" fmla="*/ 45 h 179"/>
                  <a:gd name="T16" fmla="*/ 134 w 179"/>
                  <a:gd name="T17" fmla="*/ 134 h 179"/>
                  <a:gd name="T18" fmla="*/ 45 w 179"/>
                  <a:gd name="T19" fmla="*/ 1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79">
                    <a:moveTo>
                      <a:pt x="147" y="32"/>
                    </a:moveTo>
                    <a:cubicBezTo>
                      <a:pt x="115" y="0"/>
                      <a:pt x="64" y="0"/>
                      <a:pt x="32" y="32"/>
                    </a:cubicBezTo>
                    <a:cubicBezTo>
                      <a:pt x="0" y="64"/>
                      <a:pt x="0" y="115"/>
                      <a:pt x="32" y="147"/>
                    </a:cubicBezTo>
                    <a:cubicBezTo>
                      <a:pt x="64" y="179"/>
                      <a:pt x="115" y="179"/>
                      <a:pt x="147" y="147"/>
                    </a:cubicBezTo>
                    <a:cubicBezTo>
                      <a:pt x="179" y="115"/>
                      <a:pt x="179" y="64"/>
                      <a:pt x="147" y="32"/>
                    </a:cubicBezTo>
                    <a:close/>
                    <a:moveTo>
                      <a:pt x="45" y="134"/>
                    </a:moveTo>
                    <a:cubicBezTo>
                      <a:pt x="20" y="110"/>
                      <a:pt x="20" y="69"/>
                      <a:pt x="45" y="45"/>
                    </a:cubicBezTo>
                    <a:cubicBezTo>
                      <a:pt x="69" y="20"/>
                      <a:pt x="110" y="20"/>
                      <a:pt x="134" y="45"/>
                    </a:cubicBezTo>
                    <a:cubicBezTo>
                      <a:pt x="159" y="69"/>
                      <a:pt x="159" y="110"/>
                      <a:pt x="134" y="134"/>
                    </a:cubicBezTo>
                    <a:cubicBezTo>
                      <a:pt x="110" y="159"/>
                      <a:pt x="69" y="159"/>
                      <a:pt x="45" y="134"/>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98" name="Freeform 182">
                <a:extLst>
                  <a:ext uri="{FF2B5EF4-FFF2-40B4-BE49-F238E27FC236}">
                    <a16:creationId xmlns:a16="http://schemas.microsoft.com/office/drawing/2014/main" id="{EED1B89B-AB66-9D8D-C3D0-D4AF3D037653}"/>
                  </a:ext>
                </a:extLst>
              </p:cNvPr>
              <p:cNvSpPr>
                <a:spLocks noEditPoints="1"/>
              </p:cNvSpPr>
              <p:nvPr/>
            </p:nvSpPr>
            <p:spPr bwMode="auto">
              <a:xfrm>
                <a:off x="592138" y="2697163"/>
                <a:ext cx="190500" cy="190500"/>
              </a:xfrm>
              <a:custGeom>
                <a:avLst/>
                <a:gdLst>
                  <a:gd name="T0" fmla="*/ 116 w 121"/>
                  <a:gd name="T1" fmla="*/ 97 h 121"/>
                  <a:gd name="T2" fmla="*/ 37 w 121"/>
                  <a:gd name="T3" fmla="*/ 18 h 121"/>
                  <a:gd name="T4" fmla="*/ 24 w 121"/>
                  <a:gd name="T5" fmla="*/ 14 h 121"/>
                  <a:gd name="T6" fmla="*/ 24 w 121"/>
                  <a:gd name="T7" fmla="*/ 14 h 121"/>
                  <a:gd name="T8" fmla="*/ 10 w 121"/>
                  <a:gd name="T9" fmla="*/ 0 h 121"/>
                  <a:gd name="T10" fmla="*/ 5 w 121"/>
                  <a:gd name="T11" fmla="*/ 5 h 121"/>
                  <a:gd name="T12" fmla="*/ 0 w 121"/>
                  <a:gd name="T13" fmla="*/ 10 h 121"/>
                  <a:gd name="T14" fmla="*/ 14 w 121"/>
                  <a:gd name="T15" fmla="*/ 24 h 121"/>
                  <a:gd name="T16" fmla="*/ 14 w 121"/>
                  <a:gd name="T17" fmla="*/ 24 h 121"/>
                  <a:gd name="T18" fmla="*/ 18 w 121"/>
                  <a:gd name="T19" fmla="*/ 37 h 121"/>
                  <a:gd name="T20" fmla="*/ 97 w 121"/>
                  <a:gd name="T21" fmla="*/ 116 h 121"/>
                  <a:gd name="T22" fmla="*/ 116 w 121"/>
                  <a:gd name="T23" fmla="*/ 116 h 121"/>
                  <a:gd name="T24" fmla="*/ 116 w 121"/>
                  <a:gd name="T25" fmla="*/ 116 h 121"/>
                  <a:gd name="T26" fmla="*/ 116 w 121"/>
                  <a:gd name="T27" fmla="*/ 97 h 121"/>
                  <a:gd name="T28" fmla="*/ 16 w 121"/>
                  <a:gd name="T29" fmla="*/ 20 h 121"/>
                  <a:gd name="T30" fmla="*/ 18 w 121"/>
                  <a:gd name="T31" fmla="*/ 18 h 121"/>
                  <a:gd name="T32" fmla="*/ 20 w 121"/>
                  <a:gd name="T33" fmla="*/ 16 h 121"/>
                  <a:gd name="T34" fmla="*/ 18 w 121"/>
                  <a:gd name="T35" fmla="*/ 18 h 121"/>
                  <a:gd name="T36" fmla="*/ 16 w 121"/>
                  <a:gd name="T37" fmla="*/ 20 h 121"/>
                  <a:gd name="T38" fmla="*/ 15 w 121"/>
                  <a:gd name="T39" fmla="*/ 21 h 121"/>
                  <a:gd name="T40" fmla="*/ 16 w 121"/>
                  <a:gd name="T41" fmla="*/ 20 h 121"/>
                  <a:gd name="T42" fmla="*/ 15 w 121"/>
                  <a:gd name="T43" fmla="*/ 21 h 121"/>
                  <a:gd name="T44" fmla="*/ 21 w 121"/>
                  <a:gd name="T45" fmla="*/ 15 h 121"/>
                  <a:gd name="T46" fmla="*/ 20 w 121"/>
                  <a:gd name="T47" fmla="*/ 16 h 121"/>
                  <a:gd name="T48" fmla="*/ 21 w 121"/>
                  <a:gd name="T49" fmla="*/ 1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21">
                    <a:moveTo>
                      <a:pt x="116" y="97"/>
                    </a:moveTo>
                    <a:cubicBezTo>
                      <a:pt x="37" y="18"/>
                      <a:pt x="37" y="18"/>
                      <a:pt x="37" y="18"/>
                    </a:cubicBezTo>
                    <a:cubicBezTo>
                      <a:pt x="34" y="14"/>
                      <a:pt x="29" y="13"/>
                      <a:pt x="24" y="14"/>
                    </a:cubicBezTo>
                    <a:cubicBezTo>
                      <a:pt x="24" y="14"/>
                      <a:pt x="24" y="14"/>
                      <a:pt x="24" y="14"/>
                    </a:cubicBezTo>
                    <a:cubicBezTo>
                      <a:pt x="10" y="0"/>
                      <a:pt x="10" y="0"/>
                      <a:pt x="10" y="0"/>
                    </a:cubicBezTo>
                    <a:cubicBezTo>
                      <a:pt x="8" y="2"/>
                      <a:pt x="7" y="3"/>
                      <a:pt x="5" y="5"/>
                    </a:cubicBezTo>
                    <a:cubicBezTo>
                      <a:pt x="3" y="7"/>
                      <a:pt x="2" y="8"/>
                      <a:pt x="0" y="10"/>
                    </a:cubicBezTo>
                    <a:cubicBezTo>
                      <a:pt x="14" y="24"/>
                      <a:pt x="14" y="24"/>
                      <a:pt x="14" y="24"/>
                    </a:cubicBezTo>
                    <a:cubicBezTo>
                      <a:pt x="14" y="24"/>
                      <a:pt x="14" y="24"/>
                      <a:pt x="14" y="24"/>
                    </a:cubicBezTo>
                    <a:cubicBezTo>
                      <a:pt x="13" y="29"/>
                      <a:pt x="14" y="34"/>
                      <a:pt x="18" y="37"/>
                    </a:cubicBezTo>
                    <a:cubicBezTo>
                      <a:pt x="97" y="116"/>
                      <a:pt x="97" y="116"/>
                      <a:pt x="97" y="116"/>
                    </a:cubicBezTo>
                    <a:cubicBezTo>
                      <a:pt x="102" y="121"/>
                      <a:pt x="111" y="121"/>
                      <a:pt x="116" y="116"/>
                    </a:cubicBezTo>
                    <a:cubicBezTo>
                      <a:pt x="116" y="116"/>
                      <a:pt x="116" y="116"/>
                      <a:pt x="116" y="116"/>
                    </a:cubicBezTo>
                    <a:cubicBezTo>
                      <a:pt x="121" y="111"/>
                      <a:pt x="121" y="102"/>
                      <a:pt x="116" y="97"/>
                    </a:cubicBezTo>
                    <a:close/>
                    <a:moveTo>
                      <a:pt x="16" y="20"/>
                    </a:moveTo>
                    <a:cubicBezTo>
                      <a:pt x="17" y="19"/>
                      <a:pt x="17" y="18"/>
                      <a:pt x="18" y="18"/>
                    </a:cubicBezTo>
                    <a:cubicBezTo>
                      <a:pt x="18" y="17"/>
                      <a:pt x="19" y="17"/>
                      <a:pt x="20" y="16"/>
                    </a:cubicBezTo>
                    <a:cubicBezTo>
                      <a:pt x="19" y="17"/>
                      <a:pt x="18" y="17"/>
                      <a:pt x="18" y="18"/>
                    </a:cubicBezTo>
                    <a:cubicBezTo>
                      <a:pt x="17" y="18"/>
                      <a:pt x="17" y="19"/>
                      <a:pt x="16" y="20"/>
                    </a:cubicBezTo>
                    <a:close/>
                    <a:moveTo>
                      <a:pt x="15" y="21"/>
                    </a:moveTo>
                    <a:cubicBezTo>
                      <a:pt x="16" y="21"/>
                      <a:pt x="16" y="21"/>
                      <a:pt x="16" y="20"/>
                    </a:cubicBezTo>
                    <a:cubicBezTo>
                      <a:pt x="16" y="21"/>
                      <a:pt x="16" y="21"/>
                      <a:pt x="15" y="21"/>
                    </a:cubicBezTo>
                    <a:close/>
                    <a:moveTo>
                      <a:pt x="21" y="15"/>
                    </a:moveTo>
                    <a:cubicBezTo>
                      <a:pt x="21" y="16"/>
                      <a:pt x="21" y="16"/>
                      <a:pt x="20" y="16"/>
                    </a:cubicBezTo>
                    <a:cubicBezTo>
                      <a:pt x="21" y="16"/>
                      <a:pt x="21" y="16"/>
                      <a:pt x="21" y="15"/>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199" name="Freeform 183">
                <a:extLst>
                  <a:ext uri="{FF2B5EF4-FFF2-40B4-BE49-F238E27FC236}">
                    <a16:creationId xmlns:a16="http://schemas.microsoft.com/office/drawing/2014/main" id="{DE61E842-FDB6-516C-EFC3-5177292561B2}"/>
                  </a:ext>
                </a:extLst>
              </p:cNvPr>
              <p:cNvSpPr>
                <a:spLocks/>
              </p:cNvSpPr>
              <p:nvPr/>
            </p:nvSpPr>
            <p:spPr bwMode="auto">
              <a:xfrm>
                <a:off x="488950" y="2682875"/>
                <a:ext cx="22225" cy="12700"/>
              </a:xfrm>
              <a:custGeom>
                <a:avLst/>
                <a:gdLst>
                  <a:gd name="T0" fmla="*/ 14 w 14"/>
                  <a:gd name="T1" fmla="*/ 8 h 8"/>
                  <a:gd name="T2" fmla="*/ 14 w 14"/>
                  <a:gd name="T3" fmla="*/ 0 h 8"/>
                  <a:gd name="T4" fmla="*/ 0 w 14"/>
                  <a:gd name="T5" fmla="*/ 6 h 8"/>
                  <a:gd name="T6" fmla="*/ 12 w 14"/>
                  <a:gd name="T7" fmla="*/ 8 h 8"/>
                  <a:gd name="T8" fmla="*/ 14 w 14"/>
                  <a:gd name="T9" fmla="*/ 8 h 8"/>
                </a:gdLst>
                <a:ahLst/>
                <a:cxnLst>
                  <a:cxn ang="0">
                    <a:pos x="T0" y="T1"/>
                  </a:cxn>
                  <a:cxn ang="0">
                    <a:pos x="T2" y="T3"/>
                  </a:cxn>
                  <a:cxn ang="0">
                    <a:pos x="T4" y="T5"/>
                  </a:cxn>
                  <a:cxn ang="0">
                    <a:pos x="T6" y="T7"/>
                  </a:cxn>
                  <a:cxn ang="0">
                    <a:pos x="T8" y="T9"/>
                  </a:cxn>
                </a:cxnLst>
                <a:rect l="0" t="0" r="r" b="b"/>
                <a:pathLst>
                  <a:path w="14" h="8">
                    <a:moveTo>
                      <a:pt x="14" y="8"/>
                    </a:moveTo>
                    <a:cubicBezTo>
                      <a:pt x="14" y="0"/>
                      <a:pt x="14" y="0"/>
                      <a:pt x="14" y="0"/>
                    </a:cubicBezTo>
                    <a:cubicBezTo>
                      <a:pt x="0" y="6"/>
                      <a:pt x="0" y="6"/>
                      <a:pt x="0" y="6"/>
                    </a:cubicBezTo>
                    <a:cubicBezTo>
                      <a:pt x="4" y="7"/>
                      <a:pt x="8" y="8"/>
                      <a:pt x="12" y="8"/>
                    </a:cubicBezTo>
                    <a:cubicBezTo>
                      <a:pt x="13" y="8"/>
                      <a:pt x="14" y="8"/>
                      <a:pt x="14" y="8"/>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200" name="Freeform 184">
                <a:extLst>
                  <a:ext uri="{FF2B5EF4-FFF2-40B4-BE49-F238E27FC236}">
                    <a16:creationId xmlns:a16="http://schemas.microsoft.com/office/drawing/2014/main" id="{70009466-4544-CCB3-CE50-2F726DA4F5AD}"/>
                  </a:ext>
                </a:extLst>
              </p:cNvPr>
              <p:cNvSpPr>
                <a:spLocks/>
              </p:cNvSpPr>
              <p:nvPr/>
            </p:nvSpPr>
            <p:spPr bwMode="auto">
              <a:xfrm>
                <a:off x="404813" y="2730500"/>
                <a:ext cx="106363" cy="123825"/>
              </a:xfrm>
              <a:custGeom>
                <a:avLst/>
                <a:gdLst>
                  <a:gd name="T0" fmla="*/ 66 w 68"/>
                  <a:gd name="T1" fmla="*/ 20 h 78"/>
                  <a:gd name="T2" fmla="*/ 8 w 68"/>
                  <a:gd name="T3" fmla="*/ 0 h 78"/>
                  <a:gd name="T4" fmla="*/ 0 w 68"/>
                  <a:gd name="T5" fmla="*/ 4 h 78"/>
                  <a:gd name="T6" fmla="*/ 0 w 68"/>
                  <a:gd name="T7" fmla="*/ 78 h 78"/>
                  <a:gd name="T8" fmla="*/ 68 w 68"/>
                  <a:gd name="T9" fmla="*/ 78 h 78"/>
                  <a:gd name="T10" fmla="*/ 68 w 68"/>
                  <a:gd name="T11" fmla="*/ 20 h 78"/>
                  <a:gd name="T12" fmla="*/ 66 w 68"/>
                  <a:gd name="T13" fmla="*/ 20 h 78"/>
                </a:gdLst>
                <a:ahLst/>
                <a:cxnLst>
                  <a:cxn ang="0">
                    <a:pos x="T0" y="T1"/>
                  </a:cxn>
                  <a:cxn ang="0">
                    <a:pos x="T2" y="T3"/>
                  </a:cxn>
                  <a:cxn ang="0">
                    <a:pos x="T4" y="T5"/>
                  </a:cxn>
                  <a:cxn ang="0">
                    <a:pos x="T6" y="T7"/>
                  </a:cxn>
                  <a:cxn ang="0">
                    <a:pos x="T8" y="T9"/>
                  </a:cxn>
                  <a:cxn ang="0">
                    <a:pos x="T10" y="T11"/>
                  </a:cxn>
                  <a:cxn ang="0">
                    <a:pos x="T12" y="T13"/>
                  </a:cxn>
                </a:cxnLst>
                <a:rect l="0" t="0" r="r" b="b"/>
                <a:pathLst>
                  <a:path w="68" h="78">
                    <a:moveTo>
                      <a:pt x="66" y="20"/>
                    </a:moveTo>
                    <a:cubicBezTo>
                      <a:pt x="45" y="20"/>
                      <a:pt x="25" y="13"/>
                      <a:pt x="8" y="0"/>
                    </a:cubicBezTo>
                    <a:cubicBezTo>
                      <a:pt x="0" y="4"/>
                      <a:pt x="0" y="4"/>
                      <a:pt x="0" y="4"/>
                    </a:cubicBezTo>
                    <a:cubicBezTo>
                      <a:pt x="0" y="78"/>
                      <a:pt x="0" y="78"/>
                      <a:pt x="0" y="78"/>
                    </a:cubicBezTo>
                    <a:cubicBezTo>
                      <a:pt x="68" y="78"/>
                      <a:pt x="68" y="78"/>
                      <a:pt x="68" y="78"/>
                    </a:cubicBezTo>
                    <a:cubicBezTo>
                      <a:pt x="68" y="20"/>
                      <a:pt x="68" y="20"/>
                      <a:pt x="68" y="20"/>
                    </a:cubicBezTo>
                    <a:cubicBezTo>
                      <a:pt x="68" y="20"/>
                      <a:pt x="67" y="20"/>
                      <a:pt x="66" y="20"/>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201" name="Freeform 185">
                <a:extLst>
                  <a:ext uri="{FF2B5EF4-FFF2-40B4-BE49-F238E27FC236}">
                    <a16:creationId xmlns:a16="http://schemas.microsoft.com/office/drawing/2014/main" id="{433745AA-416B-3D5C-1CD5-F9C5F8E6AED7}"/>
                  </a:ext>
                </a:extLst>
              </p:cNvPr>
              <p:cNvSpPr>
                <a:spLocks noEditPoints="1"/>
              </p:cNvSpPr>
              <p:nvPr/>
            </p:nvSpPr>
            <p:spPr bwMode="auto">
              <a:xfrm>
                <a:off x="441325" y="2606675"/>
                <a:ext cx="90488" cy="57150"/>
              </a:xfrm>
              <a:custGeom>
                <a:avLst/>
                <a:gdLst>
                  <a:gd name="T0" fmla="*/ 45 w 58"/>
                  <a:gd name="T1" fmla="*/ 25 h 36"/>
                  <a:gd name="T2" fmla="*/ 58 w 58"/>
                  <a:gd name="T3" fmla="*/ 13 h 36"/>
                  <a:gd name="T4" fmla="*/ 45 w 58"/>
                  <a:gd name="T5" fmla="*/ 0 h 36"/>
                  <a:gd name="T6" fmla="*/ 32 w 58"/>
                  <a:gd name="T7" fmla="*/ 13 h 36"/>
                  <a:gd name="T8" fmla="*/ 33 w 58"/>
                  <a:gd name="T9" fmla="*/ 16 h 36"/>
                  <a:gd name="T10" fmla="*/ 0 w 58"/>
                  <a:gd name="T11" fmla="*/ 33 h 36"/>
                  <a:gd name="T12" fmla="*/ 2 w 58"/>
                  <a:gd name="T13" fmla="*/ 36 h 36"/>
                  <a:gd name="T14" fmla="*/ 35 w 58"/>
                  <a:gd name="T15" fmla="*/ 20 h 36"/>
                  <a:gd name="T16" fmla="*/ 45 w 58"/>
                  <a:gd name="T17" fmla="*/ 25 h 36"/>
                  <a:gd name="T18" fmla="*/ 45 w 58"/>
                  <a:gd name="T19" fmla="*/ 4 h 36"/>
                  <a:gd name="T20" fmla="*/ 54 w 58"/>
                  <a:gd name="T21" fmla="*/ 13 h 36"/>
                  <a:gd name="T22" fmla="*/ 45 w 58"/>
                  <a:gd name="T23" fmla="*/ 21 h 36"/>
                  <a:gd name="T24" fmla="*/ 36 w 58"/>
                  <a:gd name="T25" fmla="*/ 13 h 36"/>
                  <a:gd name="T26" fmla="*/ 45 w 58"/>
                  <a:gd name="T27"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36">
                    <a:moveTo>
                      <a:pt x="45" y="25"/>
                    </a:moveTo>
                    <a:cubicBezTo>
                      <a:pt x="52" y="25"/>
                      <a:pt x="58" y="20"/>
                      <a:pt x="58" y="13"/>
                    </a:cubicBezTo>
                    <a:cubicBezTo>
                      <a:pt x="58" y="6"/>
                      <a:pt x="52" y="0"/>
                      <a:pt x="45" y="0"/>
                    </a:cubicBezTo>
                    <a:cubicBezTo>
                      <a:pt x="38" y="0"/>
                      <a:pt x="32" y="6"/>
                      <a:pt x="32" y="13"/>
                    </a:cubicBezTo>
                    <a:cubicBezTo>
                      <a:pt x="32" y="14"/>
                      <a:pt x="33" y="15"/>
                      <a:pt x="33" y="16"/>
                    </a:cubicBezTo>
                    <a:cubicBezTo>
                      <a:pt x="0" y="33"/>
                      <a:pt x="0" y="33"/>
                      <a:pt x="0" y="33"/>
                    </a:cubicBezTo>
                    <a:cubicBezTo>
                      <a:pt x="1" y="34"/>
                      <a:pt x="2" y="35"/>
                      <a:pt x="2" y="36"/>
                    </a:cubicBezTo>
                    <a:cubicBezTo>
                      <a:pt x="35" y="20"/>
                      <a:pt x="35" y="20"/>
                      <a:pt x="35" y="20"/>
                    </a:cubicBezTo>
                    <a:cubicBezTo>
                      <a:pt x="37" y="23"/>
                      <a:pt x="41" y="25"/>
                      <a:pt x="45" y="25"/>
                    </a:cubicBezTo>
                    <a:close/>
                    <a:moveTo>
                      <a:pt x="45" y="4"/>
                    </a:moveTo>
                    <a:cubicBezTo>
                      <a:pt x="50" y="4"/>
                      <a:pt x="54" y="8"/>
                      <a:pt x="54" y="13"/>
                    </a:cubicBezTo>
                    <a:cubicBezTo>
                      <a:pt x="54" y="17"/>
                      <a:pt x="50" y="21"/>
                      <a:pt x="45" y="21"/>
                    </a:cubicBezTo>
                    <a:cubicBezTo>
                      <a:pt x="40" y="21"/>
                      <a:pt x="36" y="17"/>
                      <a:pt x="36" y="13"/>
                    </a:cubicBezTo>
                    <a:cubicBezTo>
                      <a:pt x="36" y="8"/>
                      <a:pt x="40" y="4"/>
                      <a:pt x="45" y="4"/>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sp>
            <p:nvSpPr>
              <p:cNvPr id="202" name="Freeform 186">
                <a:extLst>
                  <a:ext uri="{FF2B5EF4-FFF2-40B4-BE49-F238E27FC236}">
                    <a16:creationId xmlns:a16="http://schemas.microsoft.com/office/drawing/2014/main" id="{D01742FE-C023-7834-52FE-7D793BD80B49}"/>
                  </a:ext>
                </a:extLst>
              </p:cNvPr>
              <p:cNvSpPr>
                <a:spLocks noEditPoints="1"/>
              </p:cNvSpPr>
              <p:nvPr/>
            </p:nvSpPr>
            <p:spPr bwMode="auto">
              <a:xfrm>
                <a:off x="38100" y="2549525"/>
                <a:ext cx="336550" cy="123825"/>
              </a:xfrm>
              <a:custGeom>
                <a:avLst/>
                <a:gdLst>
                  <a:gd name="T0" fmla="*/ 212 w 214"/>
                  <a:gd name="T1" fmla="*/ 74 h 79"/>
                  <a:gd name="T2" fmla="*/ 169 w 214"/>
                  <a:gd name="T3" fmla="*/ 52 h 79"/>
                  <a:gd name="T4" fmla="*/ 170 w 214"/>
                  <a:gd name="T5" fmla="*/ 49 h 79"/>
                  <a:gd name="T6" fmla="*/ 157 w 214"/>
                  <a:gd name="T7" fmla="*/ 36 h 79"/>
                  <a:gd name="T8" fmla="*/ 147 w 214"/>
                  <a:gd name="T9" fmla="*/ 41 h 79"/>
                  <a:gd name="T10" fmla="*/ 97 w 214"/>
                  <a:gd name="T11" fmla="*/ 16 h 79"/>
                  <a:gd name="T12" fmla="*/ 98 w 214"/>
                  <a:gd name="T13" fmla="*/ 13 h 79"/>
                  <a:gd name="T14" fmla="*/ 85 w 214"/>
                  <a:gd name="T15" fmla="*/ 0 h 79"/>
                  <a:gd name="T16" fmla="*/ 72 w 214"/>
                  <a:gd name="T17" fmla="*/ 13 h 79"/>
                  <a:gd name="T18" fmla="*/ 73 w 214"/>
                  <a:gd name="T19" fmla="*/ 16 h 79"/>
                  <a:gd name="T20" fmla="*/ 23 w 214"/>
                  <a:gd name="T21" fmla="*/ 41 h 79"/>
                  <a:gd name="T22" fmla="*/ 13 w 214"/>
                  <a:gd name="T23" fmla="*/ 36 h 79"/>
                  <a:gd name="T24" fmla="*/ 0 w 214"/>
                  <a:gd name="T25" fmla="*/ 49 h 79"/>
                  <a:gd name="T26" fmla="*/ 13 w 214"/>
                  <a:gd name="T27" fmla="*/ 61 h 79"/>
                  <a:gd name="T28" fmla="*/ 26 w 214"/>
                  <a:gd name="T29" fmla="*/ 49 h 79"/>
                  <a:gd name="T30" fmla="*/ 25 w 214"/>
                  <a:gd name="T31" fmla="*/ 45 h 79"/>
                  <a:gd name="T32" fmla="*/ 75 w 214"/>
                  <a:gd name="T33" fmla="*/ 20 h 79"/>
                  <a:gd name="T34" fmla="*/ 85 w 214"/>
                  <a:gd name="T35" fmla="*/ 26 h 79"/>
                  <a:gd name="T36" fmla="*/ 96 w 214"/>
                  <a:gd name="T37" fmla="*/ 20 h 79"/>
                  <a:gd name="T38" fmla="*/ 145 w 214"/>
                  <a:gd name="T39" fmla="*/ 45 h 79"/>
                  <a:gd name="T40" fmla="*/ 144 w 214"/>
                  <a:gd name="T41" fmla="*/ 49 h 79"/>
                  <a:gd name="T42" fmla="*/ 157 w 214"/>
                  <a:gd name="T43" fmla="*/ 61 h 79"/>
                  <a:gd name="T44" fmla="*/ 167 w 214"/>
                  <a:gd name="T45" fmla="*/ 56 h 79"/>
                  <a:gd name="T46" fmla="*/ 214 w 214"/>
                  <a:gd name="T47" fmla="*/ 79 h 79"/>
                  <a:gd name="T48" fmla="*/ 212 w 214"/>
                  <a:gd name="T49" fmla="*/ 74 h 79"/>
                  <a:gd name="T50" fmla="*/ 13 w 214"/>
                  <a:gd name="T51" fmla="*/ 57 h 79"/>
                  <a:gd name="T52" fmla="*/ 4 w 214"/>
                  <a:gd name="T53" fmla="*/ 49 h 79"/>
                  <a:gd name="T54" fmla="*/ 13 w 214"/>
                  <a:gd name="T55" fmla="*/ 40 h 79"/>
                  <a:gd name="T56" fmla="*/ 22 w 214"/>
                  <a:gd name="T57" fmla="*/ 49 h 79"/>
                  <a:gd name="T58" fmla="*/ 13 w 214"/>
                  <a:gd name="T59" fmla="*/ 57 h 79"/>
                  <a:gd name="T60" fmla="*/ 85 w 214"/>
                  <a:gd name="T61" fmla="*/ 22 h 79"/>
                  <a:gd name="T62" fmla="*/ 76 w 214"/>
                  <a:gd name="T63" fmla="*/ 13 h 79"/>
                  <a:gd name="T64" fmla="*/ 85 w 214"/>
                  <a:gd name="T65" fmla="*/ 4 h 79"/>
                  <a:gd name="T66" fmla="*/ 94 w 214"/>
                  <a:gd name="T67" fmla="*/ 13 h 79"/>
                  <a:gd name="T68" fmla="*/ 85 w 214"/>
                  <a:gd name="T69" fmla="*/ 22 h 79"/>
                  <a:gd name="T70" fmla="*/ 157 w 214"/>
                  <a:gd name="T71" fmla="*/ 57 h 79"/>
                  <a:gd name="T72" fmla="*/ 148 w 214"/>
                  <a:gd name="T73" fmla="*/ 49 h 79"/>
                  <a:gd name="T74" fmla="*/ 157 w 214"/>
                  <a:gd name="T75" fmla="*/ 40 h 79"/>
                  <a:gd name="T76" fmla="*/ 166 w 214"/>
                  <a:gd name="T77" fmla="*/ 49 h 79"/>
                  <a:gd name="T78" fmla="*/ 157 w 214"/>
                  <a:gd name="T79" fmla="*/ 5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4" h="79">
                    <a:moveTo>
                      <a:pt x="212" y="74"/>
                    </a:moveTo>
                    <a:cubicBezTo>
                      <a:pt x="169" y="52"/>
                      <a:pt x="169" y="52"/>
                      <a:pt x="169" y="52"/>
                    </a:cubicBezTo>
                    <a:cubicBezTo>
                      <a:pt x="169" y="51"/>
                      <a:pt x="170" y="50"/>
                      <a:pt x="170" y="49"/>
                    </a:cubicBezTo>
                    <a:cubicBezTo>
                      <a:pt x="170" y="42"/>
                      <a:pt x="164" y="36"/>
                      <a:pt x="157" y="36"/>
                    </a:cubicBezTo>
                    <a:cubicBezTo>
                      <a:pt x="153" y="36"/>
                      <a:pt x="149" y="38"/>
                      <a:pt x="147" y="41"/>
                    </a:cubicBezTo>
                    <a:cubicBezTo>
                      <a:pt x="97" y="16"/>
                      <a:pt x="97" y="16"/>
                      <a:pt x="97" y="16"/>
                    </a:cubicBezTo>
                    <a:cubicBezTo>
                      <a:pt x="98" y="15"/>
                      <a:pt x="98" y="14"/>
                      <a:pt x="98" y="13"/>
                    </a:cubicBezTo>
                    <a:cubicBezTo>
                      <a:pt x="98" y="6"/>
                      <a:pt x="92" y="0"/>
                      <a:pt x="85" y="0"/>
                    </a:cubicBezTo>
                    <a:cubicBezTo>
                      <a:pt x="78" y="0"/>
                      <a:pt x="72" y="6"/>
                      <a:pt x="72" y="13"/>
                    </a:cubicBezTo>
                    <a:cubicBezTo>
                      <a:pt x="72" y="14"/>
                      <a:pt x="73" y="15"/>
                      <a:pt x="73" y="16"/>
                    </a:cubicBezTo>
                    <a:cubicBezTo>
                      <a:pt x="23" y="41"/>
                      <a:pt x="23" y="41"/>
                      <a:pt x="23" y="41"/>
                    </a:cubicBezTo>
                    <a:cubicBezTo>
                      <a:pt x="21" y="38"/>
                      <a:pt x="17" y="36"/>
                      <a:pt x="13" y="36"/>
                    </a:cubicBezTo>
                    <a:cubicBezTo>
                      <a:pt x="6" y="36"/>
                      <a:pt x="0" y="42"/>
                      <a:pt x="0" y="49"/>
                    </a:cubicBezTo>
                    <a:cubicBezTo>
                      <a:pt x="0" y="56"/>
                      <a:pt x="6" y="61"/>
                      <a:pt x="13" y="61"/>
                    </a:cubicBezTo>
                    <a:cubicBezTo>
                      <a:pt x="20" y="61"/>
                      <a:pt x="26" y="56"/>
                      <a:pt x="26" y="49"/>
                    </a:cubicBezTo>
                    <a:cubicBezTo>
                      <a:pt x="26" y="47"/>
                      <a:pt x="25" y="46"/>
                      <a:pt x="25" y="45"/>
                    </a:cubicBezTo>
                    <a:cubicBezTo>
                      <a:pt x="75" y="20"/>
                      <a:pt x="75" y="20"/>
                      <a:pt x="75" y="20"/>
                    </a:cubicBezTo>
                    <a:cubicBezTo>
                      <a:pt x="77" y="24"/>
                      <a:pt x="81" y="26"/>
                      <a:pt x="85" y="26"/>
                    </a:cubicBezTo>
                    <a:cubicBezTo>
                      <a:pt x="89" y="26"/>
                      <a:pt x="93" y="24"/>
                      <a:pt x="96" y="20"/>
                    </a:cubicBezTo>
                    <a:cubicBezTo>
                      <a:pt x="145" y="45"/>
                      <a:pt x="145" y="45"/>
                      <a:pt x="145" y="45"/>
                    </a:cubicBezTo>
                    <a:cubicBezTo>
                      <a:pt x="145" y="46"/>
                      <a:pt x="144" y="47"/>
                      <a:pt x="144" y="49"/>
                    </a:cubicBezTo>
                    <a:cubicBezTo>
                      <a:pt x="144" y="56"/>
                      <a:pt x="150" y="61"/>
                      <a:pt x="157" y="61"/>
                    </a:cubicBezTo>
                    <a:cubicBezTo>
                      <a:pt x="161" y="61"/>
                      <a:pt x="165" y="59"/>
                      <a:pt x="167" y="56"/>
                    </a:cubicBezTo>
                    <a:cubicBezTo>
                      <a:pt x="214" y="79"/>
                      <a:pt x="214" y="79"/>
                      <a:pt x="214" y="79"/>
                    </a:cubicBezTo>
                    <a:cubicBezTo>
                      <a:pt x="213" y="77"/>
                      <a:pt x="212" y="76"/>
                      <a:pt x="212" y="74"/>
                    </a:cubicBezTo>
                    <a:close/>
                    <a:moveTo>
                      <a:pt x="13" y="57"/>
                    </a:moveTo>
                    <a:cubicBezTo>
                      <a:pt x="8" y="57"/>
                      <a:pt x="4" y="53"/>
                      <a:pt x="4" y="49"/>
                    </a:cubicBezTo>
                    <a:cubicBezTo>
                      <a:pt x="4" y="44"/>
                      <a:pt x="8" y="40"/>
                      <a:pt x="13" y="40"/>
                    </a:cubicBezTo>
                    <a:cubicBezTo>
                      <a:pt x="18" y="40"/>
                      <a:pt x="22" y="44"/>
                      <a:pt x="22" y="49"/>
                    </a:cubicBezTo>
                    <a:cubicBezTo>
                      <a:pt x="22" y="53"/>
                      <a:pt x="18" y="57"/>
                      <a:pt x="13" y="57"/>
                    </a:cubicBezTo>
                    <a:close/>
                    <a:moveTo>
                      <a:pt x="85" y="22"/>
                    </a:moveTo>
                    <a:cubicBezTo>
                      <a:pt x="80" y="22"/>
                      <a:pt x="76" y="18"/>
                      <a:pt x="76" y="13"/>
                    </a:cubicBezTo>
                    <a:cubicBezTo>
                      <a:pt x="76" y="8"/>
                      <a:pt x="80" y="4"/>
                      <a:pt x="85" y="4"/>
                    </a:cubicBezTo>
                    <a:cubicBezTo>
                      <a:pt x="90" y="4"/>
                      <a:pt x="94" y="8"/>
                      <a:pt x="94" y="13"/>
                    </a:cubicBezTo>
                    <a:cubicBezTo>
                      <a:pt x="94" y="18"/>
                      <a:pt x="90" y="22"/>
                      <a:pt x="85" y="22"/>
                    </a:cubicBezTo>
                    <a:close/>
                    <a:moveTo>
                      <a:pt x="157" y="57"/>
                    </a:moveTo>
                    <a:cubicBezTo>
                      <a:pt x="152" y="57"/>
                      <a:pt x="148" y="53"/>
                      <a:pt x="148" y="49"/>
                    </a:cubicBezTo>
                    <a:cubicBezTo>
                      <a:pt x="148" y="44"/>
                      <a:pt x="152" y="40"/>
                      <a:pt x="157" y="40"/>
                    </a:cubicBezTo>
                    <a:cubicBezTo>
                      <a:pt x="162" y="40"/>
                      <a:pt x="166" y="44"/>
                      <a:pt x="166" y="49"/>
                    </a:cubicBezTo>
                    <a:cubicBezTo>
                      <a:pt x="166" y="53"/>
                      <a:pt x="162" y="57"/>
                      <a:pt x="157" y="57"/>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95454"/>
                  </a:solidFill>
                  <a:effectLst/>
                  <a:uLnTx/>
                  <a:uFillTx/>
                  <a:latin typeface="Arial" panose="020B0604020202020204" pitchFamily="34" charset="0"/>
                  <a:ea typeface="+mn-ea"/>
                  <a:cs typeface="Arial" panose="020B0604020202020204" pitchFamily="34" charset="0"/>
                </a:endParaRPr>
              </a:p>
            </p:txBody>
          </p:sp>
        </p:grpSp>
        <p:sp>
          <p:nvSpPr>
            <p:cNvPr id="206" name="TextBox 205">
              <a:extLst>
                <a:ext uri="{FF2B5EF4-FFF2-40B4-BE49-F238E27FC236}">
                  <a16:creationId xmlns:a16="http://schemas.microsoft.com/office/drawing/2014/main" id="{C59D9489-EAD9-5B86-AB12-26354D77AD8D}"/>
                </a:ext>
              </a:extLst>
            </p:cNvPr>
            <p:cNvSpPr txBox="1"/>
            <p:nvPr/>
          </p:nvSpPr>
          <p:spPr>
            <a:xfrm>
              <a:off x="4867905" y="2327792"/>
              <a:ext cx="1697678" cy="259891"/>
            </a:xfrm>
            <a:prstGeom prst="rect">
              <a:avLst/>
            </a:prstGeom>
            <a:noFill/>
          </p:spPr>
          <p:txBody>
            <a:bodyPr wrap="square" rtlCol="0">
              <a:spAutoFit/>
            </a:bodyPr>
            <a:lstStyle/>
            <a:p>
              <a:pPr marL="0" marR="0" lvl="0" indent="0" algn="l" defTabSz="3429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anufacturing</a:t>
              </a:r>
            </a:p>
          </p:txBody>
        </p:sp>
        <p:pic>
          <p:nvPicPr>
            <p:cNvPr id="2" name="Picture 1">
              <a:extLst>
                <a:ext uri="{FF2B5EF4-FFF2-40B4-BE49-F238E27FC236}">
                  <a16:creationId xmlns:a16="http://schemas.microsoft.com/office/drawing/2014/main" id="{67298632-747A-2D97-CEEB-D2CF0CF48E5A}"/>
                </a:ext>
              </a:extLst>
            </p:cNvPr>
            <p:cNvPicPr>
              <a:picLocks noChangeAspect="1"/>
            </p:cNvPicPr>
            <p:nvPr/>
          </p:nvPicPr>
          <p:blipFill>
            <a:blip r:embed="rId4"/>
            <a:stretch>
              <a:fillRect/>
            </a:stretch>
          </p:blipFill>
          <p:spPr>
            <a:xfrm>
              <a:off x="3143202" y="4264314"/>
              <a:ext cx="718575" cy="711904"/>
            </a:xfrm>
            <a:prstGeom prst="rect">
              <a:avLst/>
            </a:prstGeom>
          </p:spPr>
        </p:pic>
        <p:sp>
          <p:nvSpPr>
            <p:cNvPr id="23" name="TextBox 22">
              <a:extLst>
                <a:ext uri="{FF2B5EF4-FFF2-40B4-BE49-F238E27FC236}">
                  <a16:creationId xmlns:a16="http://schemas.microsoft.com/office/drawing/2014/main" id="{AEE69325-B129-D014-715F-DB60613E6CD5}"/>
                </a:ext>
              </a:extLst>
            </p:cNvPr>
            <p:cNvSpPr txBox="1"/>
            <p:nvPr/>
          </p:nvSpPr>
          <p:spPr>
            <a:xfrm>
              <a:off x="4596153" y="4470815"/>
              <a:ext cx="1848389" cy="577081"/>
            </a:xfrm>
            <a:prstGeom prst="rect">
              <a:avLst/>
            </a:prstGeom>
            <a:noFill/>
          </p:spPr>
          <p:txBody>
            <a:bodyPr wrap="square">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pends upon extent of disease </a:t>
              </a:r>
              <a:b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emotherapy vs. RT)</a:t>
              </a:r>
            </a:p>
          </p:txBody>
        </p:sp>
      </p:grpSp>
    </p:spTree>
    <p:extLst>
      <p:ext uri="{BB962C8B-B14F-4D97-AF65-F5344CB8AC3E}">
        <p14:creationId xmlns:p14="http://schemas.microsoft.com/office/powerpoint/2010/main" val="32225197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1FC0E-E572-3CEE-6A9E-98B349555BE6}"/>
              </a:ext>
            </a:extLst>
          </p:cNvPr>
          <p:cNvSpPr>
            <a:spLocks noGrp="1"/>
          </p:cNvSpPr>
          <p:nvPr>
            <p:ph type="title"/>
          </p:nvPr>
        </p:nvSpPr>
        <p:spPr>
          <a:xfrm>
            <a:off x="2196062" y="1"/>
            <a:ext cx="7886700" cy="1325563"/>
          </a:xfrm>
        </p:spPr>
        <p:txBody>
          <a:bodyPr>
            <a:normAutofit/>
          </a:bodyPr>
          <a:lstStyle/>
          <a:p>
            <a:br>
              <a:rPr lang="en-US" sz="2400" dirty="0">
                <a:solidFill>
                  <a:srgbClr val="000000"/>
                </a:solidFill>
                <a:latin typeface="Arial"/>
              </a:rPr>
            </a:br>
            <a:endParaRPr lang="en-US" sz="2400" dirty="0"/>
          </a:p>
        </p:txBody>
      </p:sp>
      <p:sp>
        <p:nvSpPr>
          <p:cNvPr id="3" name="Text Placeholder 2">
            <a:extLst>
              <a:ext uri="{FF2B5EF4-FFF2-40B4-BE49-F238E27FC236}">
                <a16:creationId xmlns:a16="http://schemas.microsoft.com/office/drawing/2014/main" id="{2BF4E375-AF63-B9AC-5090-2DAA731F6830}"/>
              </a:ext>
            </a:extLst>
          </p:cNvPr>
          <p:cNvSpPr>
            <a:spLocks noGrp="1"/>
          </p:cNvSpPr>
          <p:nvPr>
            <p:ph type="body" idx="1"/>
          </p:nvPr>
        </p:nvSpPr>
        <p:spPr>
          <a:xfrm>
            <a:off x="1868221" y="1562342"/>
            <a:ext cx="3868340" cy="823912"/>
          </a:xfrm>
        </p:spPr>
        <p:txBody>
          <a:bodyPr/>
          <a:lstStyle/>
          <a:p>
            <a:r>
              <a:rPr lang="en-US" sz="2000" dirty="0">
                <a:solidFill>
                  <a:srgbClr val="000000"/>
                </a:solidFill>
                <a:latin typeface="Arial" panose="020B0604020202020204" pitchFamily="34" charset="0"/>
                <a:cs typeface="Arial" panose="020B0604020202020204" pitchFamily="34" charset="0"/>
              </a:rPr>
              <a:t>Why Early Referral Matters</a:t>
            </a:r>
          </a:p>
          <a:p>
            <a:endParaRPr lang="en-US" dirty="0"/>
          </a:p>
        </p:txBody>
      </p:sp>
      <p:sp>
        <p:nvSpPr>
          <p:cNvPr id="4" name="Content Placeholder 3">
            <a:extLst>
              <a:ext uri="{FF2B5EF4-FFF2-40B4-BE49-F238E27FC236}">
                <a16:creationId xmlns:a16="http://schemas.microsoft.com/office/drawing/2014/main" id="{F287885B-1E98-E1E2-7882-E3671C421B1A}"/>
              </a:ext>
            </a:extLst>
          </p:cNvPr>
          <p:cNvSpPr>
            <a:spLocks noGrp="1"/>
          </p:cNvSpPr>
          <p:nvPr>
            <p:ph sz="half" idx="2"/>
          </p:nvPr>
        </p:nvSpPr>
        <p:spPr>
          <a:xfrm>
            <a:off x="1679783" y="1965145"/>
            <a:ext cx="4345781" cy="4138245"/>
          </a:xfrm>
        </p:spPr>
        <p:txBody>
          <a:bodyPr>
            <a:normAutofit fontScale="25000" lnSpcReduction="20000"/>
          </a:bodyPr>
          <a:lstStyle/>
          <a:p>
            <a:pPr marL="0" indent="0" defTabSz="457200" fontAlgn="base">
              <a:lnSpc>
                <a:spcPct val="100000"/>
              </a:lnSpc>
              <a:spcBef>
                <a:spcPct val="0"/>
              </a:spcBef>
              <a:spcAft>
                <a:spcPct val="0"/>
              </a:spcAft>
              <a:buNone/>
              <a:defRPr sz="1800"/>
            </a:pPr>
            <a:endParaRPr lang="en-US" sz="3600" dirty="0">
              <a:solidFill>
                <a:srgbClr val="000000"/>
              </a:solidFill>
              <a:latin typeface="Arial" panose="020B0604020202020204" pitchFamily="34" charset="0"/>
              <a:cs typeface="Arial" panose="020B0604020202020204" pitchFamily="34" charset="0"/>
            </a:endParaRPr>
          </a:p>
          <a:p>
            <a:pPr marL="0" indent="0" defTabSz="457200" fontAlgn="base">
              <a:lnSpc>
                <a:spcPct val="100000"/>
              </a:lnSpc>
              <a:spcBef>
                <a:spcPct val="0"/>
              </a:spcBef>
              <a:spcAft>
                <a:spcPct val="0"/>
              </a:spcAft>
              <a:buNone/>
              <a:defRPr sz="1800"/>
            </a:pPr>
            <a:endParaRPr lang="en-US" sz="6200" dirty="0">
              <a:solidFill>
                <a:srgbClr val="000000"/>
              </a:solidFill>
              <a:latin typeface="Arial" panose="020B0604020202020204" pitchFamily="34" charset="0"/>
              <a:cs typeface="Arial" panose="020B0604020202020204" pitchFamily="34" charset="0"/>
            </a:endParaRPr>
          </a:p>
          <a:p>
            <a:pPr marL="0" indent="0" defTabSz="457200" fontAlgn="base">
              <a:lnSpc>
                <a:spcPct val="100000"/>
              </a:lnSpc>
              <a:spcBef>
                <a:spcPct val="0"/>
              </a:spcBef>
              <a:spcAft>
                <a:spcPct val="0"/>
              </a:spcAft>
              <a:buNone/>
              <a:defRPr sz="1800"/>
            </a:pPr>
            <a:r>
              <a:rPr lang="en-US" sz="6200" dirty="0">
                <a:solidFill>
                  <a:srgbClr val="000000"/>
                </a:solidFill>
                <a:latin typeface="Arial" panose="020B0604020202020204" pitchFamily="34" charset="0"/>
                <a:cs typeface="Arial" panose="020B0604020202020204" pitchFamily="34" charset="0"/>
              </a:rPr>
              <a:t>Referral should occur ASAP </a:t>
            </a:r>
          </a:p>
          <a:p>
            <a:pPr marL="0" indent="0" defTabSz="457200" fontAlgn="base">
              <a:lnSpc>
                <a:spcPct val="100000"/>
              </a:lnSpc>
              <a:spcBef>
                <a:spcPct val="0"/>
              </a:spcBef>
              <a:spcAft>
                <a:spcPct val="0"/>
              </a:spcAft>
              <a:buNone/>
              <a:defRPr sz="1800"/>
            </a:pPr>
            <a:r>
              <a:rPr lang="en-US" sz="6200" b="1" dirty="0">
                <a:solidFill>
                  <a:srgbClr val="000000"/>
                </a:solidFill>
                <a:latin typeface="Arial" panose="020B0604020202020204" pitchFamily="34" charset="0"/>
                <a:cs typeface="Arial" panose="020B0604020202020204" pitchFamily="34" charset="0"/>
              </a:rPr>
              <a:t>“BRAIN” to “VEIN” time </a:t>
            </a:r>
            <a:r>
              <a:rPr lang="en-US" sz="6200" dirty="0">
                <a:solidFill>
                  <a:srgbClr val="000000"/>
                </a:solidFill>
                <a:latin typeface="Arial" panose="020B0604020202020204" pitchFamily="34" charset="0"/>
                <a:cs typeface="Arial" panose="020B0604020202020204" pitchFamily="34" charset="0"/>
              </a:rPr>
              <a:t>(</a:t>
            </a:r>
            <a:r>
              <a:rPr lang="en-US" sz="6200" i="1" dirty="0">
                <a:solidFill>
                  <a:srgbClr val="000000"/>
                </a:solidFill>
                <a:latin typeface="Arial" panose="020B0604020202020204" pitchFamily="34" charset="0"/>
                <a:cs typeface="Arial" panose="020B0604020202020204" pitchFamily="34" charset="0"/>
              </a:rPr>
              <a:t>courtesy</a:t>
            </a:r>
            <a:r>
              <a:rPr lang="en-US" sz="6200" dirty="0">
                <a:solidFill>
                  <a:srgbClr val="000000"/>
                </a:solidFill>
                <a:latin typeface="Arial" panose="020B0604020202020204" pitchFamily="34" charset="0"/>
                <a:cs typeface="Arial" panose="020B0604020202020204" pitchFamily="34" charset="0"/>
              </a:rPr>
              <a:t> </a:t>
            </a:r>
            <a:br>
              <a:rPr lang="en-US" sz="6200" dirty="0">
                <a:solidFill>
                  <a:srgbClr val="000000"/>
                </a:solidFill>
                <a:latin typeface="Arial" panose="020B0604020202020204" pitchFamily="34" charset="0"/>
                <a:cs typeface="Arial" panose="020B0604020202020204" pitchFamily="34" charset="0"/>
              </a:rPr>
            </a:br>
            <a:r>
              <a:rPr lang="en-US" sz="6200" dirty="0">
                <a:solidFill>
                  <a:srgbClr val="000000"/>
                </a:solidFill>
                <a:latin typeface="Arial" panose="020B0604020202020204" pitchFamily="34" charset="0"/>
                <a:cs typeface="Arial" panose="020B0604020202020204" pitchFamily="34" charset="0"/>
              </a:rPr>
              <a:t>Dr Lunning) </a:t>
            </a:r>
          </a:p>
          <a:p>
            <a:pPr marL="0" indent="0" defTabSz="457200" fontAlgn="base">
              <a:lnSpc>
                <a:spcPct val="100000"/>
              </a:lnSpc>
              <a:spcBef>
                <a:spcPct val="0"/>
              </a:spcBef>
              <a:spcAft>
                <a:spcPct val="0"/>
              </a:spcAft>
              <a:buNone/>
              <a:defRPr sz="1800"/>
            </a:pPr>
            <a:endParaRPr lang="en-US" sz="6200" dirty="0">
              <a:solidFill>
                <a:srgbClr val="000000"/>
              </a:solidFill>
              <a:latin typeface="Arial" panose="020B0604020202020204" pitchFamily="34" charset="0"/>
              <a:cs typeface="Arial" panose="020B0604020202020204" pitchFamily="34" charset="0"/>
            </a:endParaRPr>
          </a:p>
          <a:p>
            <a:pPr marL="0" indent="0" defTabSz="457200" fontAlgn="base">
              <a:lnSpc>
                <a:spcPct val="100000"/>
              </a:lnSpc>
              <a:spcBef>
                <a:spcPct val="0"/>
              </a:spcBef>
              <a:spcAft>
                <a:spcPct val="0"/>
              </a:spcAft>
              <a:buNone/>
              <a:defRPr sz="1800"/>
            </a:pPr>
            <a:r>
              <a:rPr lang="en-US" sz="6400" b="1" dirty="0">
                <a:solidFill>
                  <a:srgbClr val="000000"/>
                </a:solidFill>
                <a:latin typeface="Arial" panose="020B0604020202020204" pitchFamily="34" charset="0"/>
                <a:cs typeface="Arial" panose="020B0604020202020204" pitchFamily="34" charset="0"/>
              </a:rPr>
              <a:t>Real-world analyses show substantial attrition before CAR-T access- </a:t>
            </a:r>
            <a:r>
              <a:rPr lang="en-US" sz="6000" dirty="0">
                <a:solidFill>
                  <a:srgbClr val="000000"/>
                </a:solidFill>
                <a:latin typeface="Arial" panose="020B0604020202020204" pitchFamily="34" charset="0"/>
                <a:cs typeface="Arial" panose="020B0604020202020204" pitchFamily="34" charset="0"/>
              </a:rPr>
              <a:t>Many patients are never referred despite eligibility (2/10 based on claims data) </a:t>
            </a:r>
            <a:endParaRPr lang="en-US" sz="6200" dirty="0">
              <a:solidFill>
                <a:srgbClr val="000000"/>
              </a:solidFill>
              <a:latin typeface="Arial" panose="020B0604020202020204" pitchFamily="34" charset="0"/>
              <a:cs typeface="Arial" panose="020B0604020202020204" pitchFamily="34" charset="0"/>
            </a:endParaRPr>
          </a:p>
          <a:p>
            <a:pPr marL="0" indent="0" defTabSz="457200" fontAlgn="base">
              <a:lnSpc>
                <a:spcPct val="100000"/>
              </a:lnSpc>
              <a:spcBef>
                <a:spcPct val="0"/>
              </a:spcBef>
              <a:spcAft>
                <a:spcPct val="0"/>
              </a:spcAft>
              <a:buNone/>
              <a:defRPr sz="1800"/>
            </a:pPr>
            <a:endParaRPr lang="en-US" sz="6200" dirty="0">
              <a:solidFill>
                <a:srgbClr val="000000"/>
              </a:solidFill>
              <a:latin typeface="Arial" panose="020B0604020202020204" pitchFamily="34" charset="0"/>
              <a:cs typeface="Arial" panose="020B0604020202020204" pitchFamily="34" charset="0"/>
            </a:endParaRPr>
          </a:p>
          <a:p>
            <a:pPr marL="0" indent="0" defTabSz="457200" fontAlgn="base">
              <a:lnSpc>
                <a:spcPct val="100000"/>
              </a:lnSpc>
              <a:spcBef>
                <a:spcPct val="0"/>
              </a:spcBef>
              <a:spcAft>
                <a:spcPct val="0"/>
              </a:spcAft>
              <a:buNone/>
              <a:defRPr sz="1800"/>
            </a:pPr>
            <a:r>
              <a:rPr lang="en-US" sz="6200" b="1" dirty="0">
                <a:solidFill>
                  <a:srgbClr val="000000"/>
                </a:solidFill>
                <a:latin typeface="Arial" panose="020B0604020202020204" pitchFamily="34" charset="0"/>
                <a:cs typeface="Arial" panose="020B0604020202020204" pitchFamily="34" charset="0"/>
              </a:rPr>
              <a:t>Early Referral </a:t>
            </a:r>
          </a:p>
          <a:p>
            <a:pPr marL="0" indent="0" defTabSz="457200" fontAlgn="base">
              <a:lnSpc>
                <a:spcPct val="100000"/>
              </a:lnSpc>
              <a:spcBef>
                <a:spcPct val="0"/>
              </a:spcBef>
              <a:spcAft>
                <a:spcPct val="0"/>
              </a:spcAft>
              <a:buNone/>
              <a:defRPr sz="1800"/>
            </a:pPr>
            <a:r>
              <a:rPr lang="en-US" sz="6200" dirty="0">
                <a:solidFill>
                  <a:srgbClr val="000000"/>
                </a:solidFill>
                <a:latin typeface="Arial" panose="020B0604020202020204" pitchFamily="34" charset="0"/>
                <a:cs typeface="Arial" panose="020B0604020202020204" pitchFamily="34" charset="0"/>
              </a:rPr>
              <a:t>improves access and planning</a:t>
            </a:r>
          </a:p>
          <a:p>
            <a:pPr marL="0" indent="0" defTabSz="457200" fontAlgn="base">
              <a:lnSpc>
                <a:spcPct val="100000"/>
              </a:lnSpc>
              <a:spcBef>
                <a:spcPct val="0"/>
              </a:spcBef>
              <a:spcAft>
                <a:spcPct val="0"/>
              </a:spcAft>
              <a:buNone/>
              <a:defRPr sz="1800"/>
            </a:pPr>
            <a:r>
              <a:rPr lang="en-US" sz="6200" dirty="0">
                <a:solidFill>
                  <a:srgbClr val="000000"/>
                </a:solidFill>
                <a:latin typeface="Arial" panose="020B0604020202020204" pitchFamily="34" charset="0"/>
                <a:cs typeface="Arial" panose="020B0604020202020204" pitchFamily="34" charset="0"/>
              </a:rPr>
              <a:t>allows insurance approval, caregiver planning, and leukapheresis coordination</a:t>
            </a:r>
          </a:p>
          <a:p>
            <a:pPr marL="0" indent="0" defTabSz="457200" fontAlgn="base">
              <a:lnSpc>
                <a:spcPct val="100000"/>
              </a:lnSpc>
              <a:spcBef>
                <a:spcPct val="0"/>
              </a:spcBef>
              <a:spcAft>
                <a:spcPct val="0"/>
              </a:spcAft>
              <a:buNone/>
              <a:defRPr sz="1800"/>
            </a:pPr>
            <a:endParaRPr lang="en-US" sz="6200" dirty="0">
              <a:solidFill>
                <a:srgbClr val="000000"/>
              </a:solidFill>
              <a:latin typeface="Arial" panose="020B0604020202020204" pitchFamily="34" charset="0"/>
              <a:cs typeface="Arial" panose="020B0604020202020204" pitchFamily="34" charset="0"/>
            </a:endParaRPr>
          </a:p>
          <a:p>
            <a:pPr marL="0" indent="0" defTabSz="457200" fontAlgn="base">
              <a:lnSpc>
                <a:spcPct val="100000"/>
              </a:lnSpc>
              <a:spcBef>
                <a:spcPct val="0"/>
              </a:spcBef>
              <a:spcAft>
                <a:spcPct val="0"/>
              </a:spcAft>
              <a:buNone/>
              <a:defRPr sz="1800"/>
            </a:pPr>
            <a:endParaRPr lang="en-US" sz="6200" dirty="0">
              <a:solidFill>
                <a:srgbClr val="000000"/>
              </a:solidFill>
              <a:latin typeface="Arial" panose="020B0604020202020204" pitchFamily="34" charset="0"/>
              <a:cs typeface="Arial" panose="020B0604020202020204" pitchFamily="34" charset="0"/>
            </a:endParaRPr>
          </a:p>
          <a:p>
            <a:pPr marL="0" indent="0" defTabSz="457200" fontAlgn="base">
              <a:lnSpc>
                <a:spcPct val="100000"/>
              </a:lnSpc>
              <a:spcBef>
                <a:spcPct val="0"/>
              </a:spcBef>
              <a:spcAft>
                <a:spcPct val="0"/>
              </a:spcAft>
              <a:buNone/>
              <a:defRPr sz="1800"/>
            </a:pPr>
            <a:r>
              <a:rPr lang="en-US" sz="6200" dirty="0">
                <a:solidFill>
                  <a:srgbClr val="000000"/>
                </a:solidFill>
                <a:latin typeface="Arial" panose="020B0604020202020204" pitchFamily="34" charset="0"/>
                <a:cs typeface="Arial" panose="020B0604020202020204" pitchFamily="34" charset="0"/>
              </a:rPr>
              <a:t>Telehealth and early specialist input can reduce delays</a:t>
            </a:r>
          </a:p>
          <a:p>
            <a:endParaRPr lang="en-US" dirty="0"/>
          </a:p>
        </p:txBody>
      </p:sp>
      <p:sp>
        <p:nvSpPr>
          <p:cNvPr id="5" name="Text Placeholder 4">
            <a:extLst>
              <a:ext uri="{FF2B5EF4-FFF2-40B4-BE49-F238E27FC236}">
                <a16:creationId xmlns:a16="http://schemas.microsoft.com/office/drawing/2014/main" id="{BD3EFC3B-999A-7251-CE93-AA386959C960}"/>
              </a:ext>
            </a:extLst>
          </p:cNvPr>
          <p:cNvSpPr>
            <a:spLocks noGrp="1"/>
          </p:cNvSpPr>
          <p:nvPr>
            <p:ph type="body" sz="quarter" idx="3"/>
          </p:nvPr>
        </p:nvSpPr>
        <p:spPr>
          <a:xfrm>
            <a:off x="6264330" y="1572722"/>
            <a:ext cx="3887391" cy="823912"/>
          </a:xfrm>
        </p:spPr>
        <p:txBody>
          <a:bodyPr/>
          <a:lstStyle/>
          <a:p>
            <a:r>
              <a:rPr lang="en-US" sz="2000" dirty="0">
                <a:solidFill>
                  <a:srgbClr val="000000"/>
                </a:solidFill>
                <a:latin typeface="Arial" panose="020B0604020202020204" pitchFamily="34" charset="0"/>
                <a:cs typeface="Arial" panose="020B0604020202020204" pitchFamily="34" charset="0"/>
              </a:rPr>
              <a:t>          Bridging Therapy</a:t>
            </a:r>
          </a:p>
          <a:p>
            <a:endParaRPr lang="en-US" dirty="0"/>
          </a:p>
        </p:txBody>
      </p:sp>
      <p:sp>
        <p:nvSpPr>
          <p:cNvPr id="6" name="Content Placeholder 5">
            <a:extLst>
              <a:ext uri="{FF2B5EF4-FFF2-40B4-BE49-F238E27FC236}">
                <a16:creationId xmlns:a16="http://schemas.microsoft.com/office/drawing/2014/main" id="{6E51AB4E-850C-CB9D-FFFB-9B360FDA396D}"/>
              </a:ext>
            </a:extLst>
          </p:cNvPr>
          <p:cNvSpPr>
            <a:spLocks noGrp="1"/>
          </p:cNvSpPr>
          <p:nvPr>
            <p:ph sz="quarter" idx="4"/>
          </p:nvPr>
        </p:nvSpPr>
        <p:spPr>
          <a:xfrm>
            <a:off x="6553332" y="1974299"/>
            <a:ext cx="4126157" cy="4419599"/>
          </a:xfrm>
        </p:spPr>
        <p:txBody>
          <a:bodyPr>
            <a:normAutofit fontScale="25000" lnSpcReduction="20000"/>
          </a:bodyPr>
          <a:lstStyle/>
          <a:p>
            <a:pPr marL="0" indent="0" defTabSz="457200" fontAlgn="base">
              <a:lnSpc>
                <a:spcPct val="100000"/>
              </a:lnSpc>
              <a:spcBef>
                <a:spcPct val="0"/>
              </a:spcBef>
              <a:spcAft>
                <a:spcPct val="0"/>
              </a:spcAft>
              <a:buNone/>
              <a:defRPr sz="1800" b="1"/>
            </a:pPr>
            <a:endParaRPr lang="en-US" sz="6400" b="1" dirty="0">
              <a:solidFill>
                <a:srgbClr val="000000"/>
              </a:solidFill>
              <a:latin typeface="Arial" panose="020B0604020202020204" pitchFamily="34" charset="0"/>
              <a:cs typeface="Arial" panose="020B0604020202020204" pitchFamily="34" charset="0"/>
            </a:endParaRPr>
          </a:p>
          <a:p>
            <a:pPr marL="0" indent="0" defTabSz="457200" fontAlgn="base">
              <a:lnSpc>
                <a:spcPct val="100000"/>
              </a:lnSpc>
              <a:spcBef>
                <a:spcPct val="0"/>
              </a:spcBef>
              <a:spcAft>
                <a:spcPct val="0"/>
              </a:spcAft>
              <a:buNone/>
              <a:defRPr sz="1800" b="1"/>
            </a:pPr>
            <a:endParaRPr lang="en-US" sz="7200" b="1" dirty="0">
              <a:solidFill>
                <a:srgbClr val="000000"/>
              </a:solidFill>
              <a:latin typeface="Arial" panose="020B0604020202020204" pitchFamily="34" charset="0"/>
              <a:cs typeface="Arial" panose="020B0604020202020204" pitchFamily="34" charset="0"/>
            </a:endParaRPr>
          </a:p>
          <a:p>
            <a:pPr marL="0" indent="0" defTabSz="457200" fontAlgn="base">
              <a:lnSpc>
                <a:spcPct val="100000"/>
              </a:lnSpc>
              <a:spcBef>
                <a:spcPct val="0"/>
              </a:spcBef>
              <a:spcAft>
                <a:spcPct val="0"/>
              </a:spcAft>
              <a:buNone/>
              <a:defRPr sz="1800" b="1"/>
            </a:pPr>
            <a:r>
              <a:rPr lang="en-US" sz="7200" b="1" dirty="0">
                <a:solidFill>
                  <a:srgbClr val="000000"/>
                </a:solidFill>
                <a:latin typeface="Arial" panose="020B0604020202020204" pitchFamily="34" charset="0"/>
                <a:cs typeface="Arial" panose="020B0604020202020204" pitchFamily="34" charset="0"/>
              </a:rPr>
              <a:t>Therapy Considerations</a:t>
            </a:r>
          </a:p>
          <a:p>
            <a:pPr marL="0" indent="0" defTabSz="457200" fontAlgn="base">
              <a:lnSpc>
                <a:spcPct val="100000"/>
              </a:lnSpc>
              <a:spcBef>
                <a:spcPct val="0"/>
              </a:spcBef>
              <a:spcAft>
                <a:spcPct val="0"/>
              </a:spcAft>
              <a:buNone/>
              <a:defRPr sz="1800" b="1"/>
            </a:pPr>
            <a:endParaRPr lang="en-US" sz="7200" b="1" dirty="0">
              <a:solidFill>
                <a:srgbClr val="000000"/>
              </a:solidFill>
              <a:latin typeface="Arial" panose="020B0604020202020204" pitchFamily="34" charset="0"/>
              <a:cs typeface="Arial" panose="020B0604020202020204" pitchFamily="34" charset="0"/>
            </a:endParaRPr>
          </a:p>
          <a:p>
            <a:pPr marL="0" indent="0" defTabSz="457200" fontAlgn="base">
              <a:lnSpc>
                <a:spcPct val="100000"/>
              </a:lnSpc>
              <a:spcBef>
                <a:spcPct val="0"/>
              </a:spcBef>
              <a:spcAft>
                <a:spcPct val="0"/>
              </a:spcAft>
              <a:buNone/>
              <a:defRPr sz="1800"/>
            </a:pPr>
            <a:r>
              <a:rPr lang="en-US" sz="6400" dirty="0">
                <a:solidFill>
                  <a:srgbClr val="000000"/>
                </a:solidFill>
                <a:latin typeface="Arial" panose="020B0604020202020204" pitchFamily="34" charset="0"/>
                <a:cs typeface="Arial" panose="020B0604020202020204" pitchFamily="34" charset="0"/>
              </a:rPr>
              <a:t>Steroids</a:t>
            </a:r>
          </a:p>
          <a:p>
            <a:pPr marL="0" indent="0" defTabSz="457200" fontAlgn="base">
              <a:lnSpc>
                <a:spcPct val="100000"/>
              </a:lnSpc>
              <a:spcBef>
                <a:spcPct val="0"/>
              </a:spcBef>
              <a:spcAft>
                <a:spcPct val="0"/>
              </a:spcAft>
              <a:buNone/>
              <a:defRPr sz="1800"/>
            </a:pPr>
            <a:r>
              <a:rPr lang="en-US" sz="6400" dirty="0">
                <a:solidFill>
                  <a:srgbClr val="000000"/>
                </a:solidFill>
                <a:latin typeface="Arial" panose="020B0604020202020204" pitchFamily="34" charset="0"/>
                <a:cs typeface="Arial" panose="020B0604020202020204" pitchFamily="34" charset="0"/>
              </a:rPr>
              <a:t>Radiation</a:t>
            </a:r>
          </a:p>
          <a:p>
            <a:pPr marL="0" indent="0" defTabSz="457200" fontAlgn="base">
              <a:lnSpc>
                <a:spcPct val="100000"/>
              </a:lnSpc>
              <a:spcBef>
                <a:spcPct val="0"/>
              </a:spcBef>
              <a:spcAft>
                <a:spcPct val="0"/>
              </a:spcAft>
              <a:buNone/>
              <a:defRPr sz="1800"/>
            </a:pPr>
            <a:r>
              <a:rPr lang="en-US" sz="6400" dirty="0">
                <a:solidFill>
                  <a:srgbClr val="000000"/>
                </a:solidFill>
                <a:latin typeface="Arial" panose="020B0604020202020204" pitchFamily="34" charset="0"/>
                <a:cs typeface="Arial" panose="020B0604020202020204" pitchFamily="34" charset="0"/>
              </a:rPr>
              <a:t>Bispecific antibodies/T-cell engagers</a:t>
            </a:r>
          </a:p>
          <a:p>
            <a:pPr marL="0" indent="0" defTabSz="457200" fontAlgn="base">
              <a:lnSpc>
                <a:spcPct val="100000"/>
              </a:lnSpc>
              <a:spcBef>
                <a:spcPct val="0"/>
              </a:spcBef>
              <a:spcAft>
                <a:spcPct val="0"/>
              </a:spcAft>
              <a:buNone/>
              <a:defRPr sz="1800"/>
            </a:pPr>
            <a:r>
              <a:rPr lang="en-US" sz="6400" dirty="0">
                <a:solidFill>
                  <a:srgbClr val="000000"/>
                </a:solidFill>
                <a:latin typeface="Arial" panose="020B0604020202020204" pitchFamily="34" charset="0"/>
                <a:cs typeface="Arial" panose="020B0604020202020204" pitchFamily="34" charset="0"/>
              </a:rPr>
              <a:t>Selected chemotherapy approaches</a:t>
            </a:r>
          </a:p>
          <a:p>
            <a:pPr marL="0" indent="0" defTabSz="457200" fontAlgn="base">
              <a:lnSpc>
                <a:spcPct val="100000"/>
              </a:lnSpc>
              <a:spcBef>
                <a:spcPct val="0"/>
              </a:spcBef>
              <a:spcAft>
                <a:spcPct val="0"/>
              </a:spcAft>
              <a:buNone/>
              <a:defRPr sz="1800"/>
            </a:pPr>
            <a:r>
              <a:rPr lang="en-US" sz="6400" dirty="0">
                <a:solidFill>
                  <a:srgbClr val="000000"/>
                </a:solidFill>
                <a:latin typeface="Arial" panose="020B0604020202020204" pitchFamily="34" charset="0"/>
                <a:cs typeface="Arial" panose="020B0604020202020204" pitchFamily="34" charset="0"/>
              </a:rPr>
              <a:t>AVOID BENDAMUSTINE</a:t>
            </a:r>
          </a:p>
          <a:p>
            <a:pPr marL="0" indent="0" defTabSz="457200" fontAlgn="base">
              <a:lnSpc>
                <a:spcPct val="100000"/>
              </a:lnSpc>
              <a:spcBef>
                <a:spcPct val="0"/>
              </a:spcBef>
              <a:spcAft>
                <a:spcPct val="0"/>
              </a:spcAft>
              <a:buNone/>
              <a:defRPr sz="1800"/>
            </a:pPr>
            <a:endParaRPr lang="en-US" sz="6400" dirty="0">
              <a:solidFill>
                <a:srgbClr val="000000"/>
              </a:solidFill>
              <a:latin typeface="Arial" panose="020B0604020202020204" pitchFamily="34" charset="0"/>
              <a:cs typeface="Arial" panose="020B0604020202020204" pitchFamily="34" charset="0"/>
            </a:endParaRPr>
          </a:p>
          <a:p>
            <a:pPr marL="0" indent="0" defTabSz="457200" fontAlgn="base">
              <a:lnSpc>
                <a:spcPct val="100000"/>
              </a:lnSpc>
              <a:spcBef>
                <a:spcPct val="0"/>
              </a:spcBef>
              <a:spcAft>
                <a:spcPct val="0"/>
              </a:spcAft>
              <a:buNone/>
              <a:defRPr sz="1800"/>
            </a:pPr>
            <a:r>
              <a:rPr lang="en-US" sz="6400" dirty="0">
                <a:solidFill>
                  <a:srgbClr val="000000"/>
                </a:solidFill>
                <a:latin typeface="Arial" panose="020B0604020202020204" pitchFamily="34" charset="0"/>
                <a:cs typeface="Arial" panose="020B0604020202020204" pitchFamily="34" charset="0"/>
              </a:rPr>
              <a:t>Consult CAR-T specialists BEFORE bridging whenever possible</a:t>
            </a:r>
          </a:p>
          <a:p>
            <a:endParaRPr lang="en-US" dirty="0"/>
          </a:p>
        </p:txBody>
      </p:sp>
      <p:sp>
        <p:nvSpPr>
          <p:cNvPr id="8" name="TextBox 7">
            <a:extLst>
              <a:ext uri="{FF2B5EF4-FFF2-40B4-BE49-F238E27FC236}">
                <a16:creationId xmlns:a16="http://schemas.microsoft.com/office/drawing/2014/main" id="{06DADA41-B4BC-0CE7-4968-2576C1C8A062}"/>
              </a:ext>
            </a:extLst>
          </p:cNvPr>
          <p:cNvSpPr txBox="1"/>
          <p:nvPr/>
        </p:nvSpPr>
        <p:spPr>
          <a:xfrm>
            <a:off x="1852842" y="236779"/>
            <a:ext cx="8826647" cy="984885"/>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biggest barrier to CAR-T is often not biology, it is delayed recognition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d delayed referral.</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Tree>
    <p:extLst>
      <p:ext uri="{BB962C8B-B14F-4D97-AF65-F5344CB8AC3E}">
        <p14:creationId xmlns:p14="http://schemas.microsoft.com/office/powerpoint/2010/main" val="26421758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FD96B0-1632-AD36-A81B-81D09CCF61C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7E07DC0-FCA5-C93E-7A58-27DB9E28CF5F}"/>
              </a:ext>
            </a:extLst>
          </p:cNvPr>
          <p:cNvSpPr>
            <a:spLocks noGrp="1"/>
          </p:cNvSpPr>
          <p:nvPr>
            <p:ph type="title"/>
          </p:nvPr>
        </p:nvSpPr>
        <p:spPr>
          <a:xfrm>
            <a:off x="1981200" y="189558"/>
            <a:ext cx="8229600" cy="535154"/>
          </a:xfrm>
        </p:spPr>
        <p:txBody>
          <a:bodyPr/>
          <a:lstStyle/>
          <a:p>
            <a:r>
              <a:rPr lang="en-US" sz="2000" dirty="0"/>
              <a:t>                              </a:t>
            </a:r>
            <a:r>
              <a:rPr lang="en-US" sz="2800" dirty="0">
                <a:solidFill>
                  <a:schemeClr val="tx1"/>
                </a:solidFill>
                <a:latin typeface="Arial" panose="020B0604020202020204" pitchFamily="34" charset="0"/>
                <a:cs typeface="Arial" panose="020B0604020202020204" pitchFamily="34" charset="0"/>
              </a:rPr>
              <a:t>Determination of CAR-T eligibility </a:t>
            </a:r>
          </a:p>
        </p:txBody>
      </p:sp>
      <p:sp>
        <p:nvSpPr>
          <p:cNvPr id="3" name="Content Placeholder 2">
            <a:extLst>
              <a:ext uri="{FF2B5EF4-FFF2-40B4-BE49-F238E27FC236}">
                <a16:creationId xmlns:a16="http://schemas.microsoft.com/office/drawing/2014/main" id="{CD72D8F9-213F-3BFE-D44B-D8BF6177B0E1}"/>
              </a:ext>
            </a:extLst>
          </p:cNvPr>
          <p:cNvSpPr>
            <a:spLocks noGrp="1"/>
          </p:cNvSpPr>
          <p:nvPr>
            <p:ph idx="1"/>
          </p:nvPr>
        </p:nvSpPr>
        <p:spPr>
          <a:xfrm>
            <a:off x="1655413" y="848205"/>
            <a:ext cx="8915937" cy="3599726"/>
          </a:xfrm>
        </p:spPr>
        <p:txBody>
          <a:bodyPr>
            <a:normAutofit/>
          </a:bodyPr>
          <a:lstStyle/>
          <a:p>
            <a:r>
              <a:rPr lang="en-US" sz="1800" dirty="0">
                <a:latin typeface="Arial" panose="020B0604020202020204" pitchFamily="34" charset="0"/>
                <a:cs typeface="Arial" panose="020B0604020202020204" pitchFamily="34" charset="0"/>
              </a:rPr>
              <a:t>Several real-world studies</a:t>
            </a:r>
            <a:r>
              <a:rPr lang="en-US" sz="1800" baseline="30000" dirty="0">
                <a:latin typeface="Arial" panose="020B0604020202020204" pitchFamily="34" charset="0"/>
                <a:cs typeface="Arial" panose="020B0604020202020204" pitchFamily="34" charset="0"/>
              </a:rPr>
              <a:t>1</a:t>
            </a:r>
            <a:r>
              <a:rPr lang="en-US" sz="1800" dirty="0">
                <a:latin typeface="Arial" panose="020B0604020202020204" pitchFamily="34" charset="0"/>
                <a:cs typeface="Arial" panose="020B0604020202020204" pitchFamily="34" charset="0"/>
              </a:rPr>
              <a:t> have shown that chronological age,  comorbidities, or cognitive and/or functional impairments do not affect post-CAR T outcomes. </a:t>
            </a:r>
          </a:p>
          <a:p>
            <a:r>
              <a:rPr lang="en-US" sz="1800" dirty="0">
                <a:latin typeface="Arial" panose="020B0604020202020204" pitchFamily="34" charset="0"/>
                <a:cs typeface="Arial" panose="020B0604020202020204" pitchFamily="34" charset="0"/>
              </a:rPr>
              <a:t>Automatic exclusion of patients based on age/comorbidities is not advised</a:t>
            </a:r>
          </a:p>
          <a:p>
            <a:r>
              <a:rPr lang="en-US" sz="1800" dirty="0">
                <a:latin typeface="Arial" panose="020B0604020202020204" pitchFamily="34" charset="0"/>
                <a:cs typeface="Arial" panose="020B0604020202020204" pitchFamily="34" charset="0"/>
              </a:rPr>
              <a:t>Transplant eligibility </a:t>
            </a:r>
            <a:r>
              <a:rPr lang="en-US" sz="1800" dirty="0">
                <a:solidFill>
                  <a:srgbClr val="CD113B"/>
                </a:solidFill>
                <a:latin typeface="Arial" panose="020B0604020202020204" pitchFamily="34" charset="0"/>
                <a:cs typeface="Arial" panose="020B0604020202020204" pitchFamily="34" charset="0"/>
              </a:rPr>
              <a:t>≠ </a:t>
            </a:r>
            <a:r>
              <a:rPr lang="en-US" sz="1800" dirty="0">
                <a:latin typeface="Arial" panose="020B0604020202020204" pitchFamily="34" charset="0"/>
                <a:cs typeface="Arial" panose="020B0604020202020204" pitchFamily="34" charset="0"/>
              </a:rPr>
              <a:t>CAR-T eligibility</a:t>
            </a:r>
          </a:p>
          <a:p>
            <a:endParaRPr lang="en-US" sz="18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48508CFC-8586-434B-32A2-F063144ABB63}"/>
              </a:ext>
            </a:extLst>
          </p:cNvPr>
          <p:cNvSpPr txBox="1"/>
          <p:nvPr/>
        </p:nvSpPr>
        <p:spPr>
          <a:xfrm>
            <a:off x="9279169" y="6380556"/>
            <a:ext cx="2635658"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Garamond" pitchFamily="18" charset="0"/>
                <a:ea typeface="+mn-ea"/>
                <a:cs typeface="+mn-cs"/>
              </a:rPr>
              <a:t>1.Major, Kamdar et al ASH Edu Program book 2023</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Garamond" pitchFamily="18" charset="0"/>
                <a:ea typeface="+mn-ea"/>
                <a:cs typeface="+mn-cs"/>
              </a:rPr>
              <a:t>2.Shadman et al. Cellular Therapy 2026;32:P277-287 </a:t>
            </a:r>
          </a:p>
        </p:txBody>
      </p:sp>
      <p:pic>
        <p:nvPicPr>
          <p:cNvPr id="7" name="Picture 6" descr="A screenshot of a medical chart&#10;&#10;AI-generated content may be incorrect.">
            <a:extLst>
              <a:ext uri="{FF2B5EF4-FFF2-40B4-BE49-F238E27FC236}">
                <a16:creationId xmlns:a16="http://schemas.microsoft.com/office/drawing/2014/main" id="{D1475687-E074-100A-3B62-CE0F883E8933}"/>
              </a:ext>
            </a:extLst>
          </p:cNvPr>
          <p:cNvPicPr>
            <a:picLocks noChangeAspect="1"/>
          </p:cNvPicPr>
          <p:nvPr/>
        </p:nvPicPr>
        <p:blipFill>
          <a:blip r:embed="rId3"/>
          <a:stretch>
            <a:fillRect/>
          </a:stretch>
        </p:blipFill>
        <p:spPr>
          <a:xfrm>
            <a:off x="1620651" y="2246883"/>
            <a:ext cx="8866208" cy="3577491"/>
          </a:xfrm>
          <a:prstGeom prst="rect">
            <a:avLst/>
          </a:prstGeom>
        </p:spPr>
      </p:pic>
      <p:sp>
        <p:nvSpPr>
          <p:cNvPr id="8" name="TextBox 7">
            <a:extLst>
              <a:ext uri="{FF2B5EF4-FFF2-40B4-BE49-F238E27FC236}">
                <a16:creationId xmlns:a16="http://schemas.microsoft.com/office/drawing/2014/main" id="{934771DD-33D8-92F9-B1E8-B2BAB058ADDE}"/>
              </a:ext>
            </a:extLst>
          </p:cNvPr>
          <p:cNvSpPr txBox="1"/>
          <p:nvPr/>
        </p:nvSpPr>
        <p:spPr>
          <a:xfrm>
            <a:off x="6315920" y="6748041"/>
            <a:ext cx="184731"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
        <p:nvSpPr>
          <p:cNvPr id="5" name="TextBox 4">
            <a:extLst>
              <a:ext uri="{FF2B5EF4-FFF2-40B4-BE49-F238E27FC236}">
                <a16:creationId xmlns:a16="http://schemas.microsoft.com/office/drawing/2014/main" id="{20AD13AB-8C36-DB12-F84C-419CC33D5EA4}"/>
              </a:ext>
            </a:extLst>
          </p:cNvPr>
          <p:cNvSpPr txBox="1"/>
          <p:nvPr/>
        </p:nvSpPr>
        <p:spPr>
          <a:xfrm>
            <a:off x="2260767" y="5882734"/>
            <a:ext cx="8110305" cy="707886"/>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f a patient can tolerate lymphoma-directed therapy, they deserve CAR-T evaluation</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p:txBody>
      </p:sp>
      <p:sp>
        <p:nvSpPr>
          <p:cNvPr id="9" name="TextBox 8">
            <a:extLst>
              <a:ext uri="{FF2B5EF4-FFF2-40B4-BE49-F238E27FC236}">
                <a16:creationId xmlns:a16="http://schemas.microsoft.com/office/drawing/2014/main" id="{A6E1802E-2B9E-EA20-A6AD-1563452E789B}"/>
              </a:ext>
            </a:extLst>
          </p:cNvPr>
          <p:cNvSpPr txBox="1"/>
          <p:nvPr/>
        </p:nvSpPr>
        <p:spPr>
          <a:xfrm>
            <a:off x="9685151" y="2147822"/>
            <a:ext cx="601430" cy="246221"/>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Garamond" pitchFamily="18" charset="0"/>
                <a:ea typeface="+mn-ea"/>
                <a:cs typeface="+mn-cs"/>
              </a:rPr>
              <a:t>2</a:t>
            </a:r>
          </a:p>
        </p:txBody>
      </p:sp>
    </p:spTree>
    <p:extLst>
      <p:ext uri="{BB962C8B-B14F-4D97-AF65-F5344CB8AC3E}">
        <p14:creationId xmlns:p14="http://schemas.microsoft.com/office/powerpoint/2010/main" val="19787233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a:extLst>
              <a:ext uri="{FF2B5EF4-FFF2-40B4-BE49-F238E27FC236}">
                <a16:creationId xmlns:a16="http://schemas.microsoft.com/office/drawing/2014/main" id="{8B82E747-2FD2-4FB4-9024-F02F550020F9}"/>
              </a:ext>
            </a:extLst>
          </p:cNvPr>
          <p:cNvSpPr>
            <a:spLocks noGrp="1"/>
          </p:cNvSpPr>
          <p:nvPr>
            <p:ph type="title"/>
          </p:nvPr>
        </p:nvSpPr>
        <p:spPr>
          <a:xfrm>
            <a:off x="1619109" y="202583"/>
            <a:ext cx="9144000" cy="786384"/>
          </a:xfrm>
        </p:spPr>
        <p:txBody>
          <a:bodyPr>
            <a:normAutofit/>
          </a:bodyPr>
          <a:lstStyle/>
          <a:p>
            <a:r>
              <a:rPr lang="en-US" sz="2800" dirty="0">
                <a:latin typeface="Arial" panose="020B0604020202020204" pitchFamily="34" charset="0"/>
                <a:cs typeface="Arial" panose="020B0604020202020204" pitchFamily="34" charset="0"/>
              </a:rPr>
              <a:t>CARs in the front-line setting: ZUMA-12 Study Design</a:t>
            </a:r>
          </a:p>
        </p:txBody>
      </p:sp>
      <p:sp>
        <p:nvSpPr>
          <p:cNvPr id="4" name="Footer Placeholder 3">
            <a:extLst>
              <a:ext uri="{FF2B5EF4-FFF2-40B4-BE49-F238E27FC236}">
                <a16:creationId xmlns:a16="http://schemas.microsoft.com/office/drawing/2014/main" id="{D4749E76-407E-4A4E-AFC2-E6305616449C}"/>
              </a:ext>
            </a:extLst>
          </p:cNvPr>
          <p:cNvSpPr>
            <a:spLocks noGrp="1"/>
          </p:cNvSpPr>
          <p:nvPr>
            <p:ph type="ftr" sz="quarter" idx="11"/>
          </p:nvPr>
        </p:nvSpPr>
        <p:spPr>
          <a:xfrm>
            <a:off x="1812814" y="5147388"/>
            <a:ext cx="8030308" cy="707886"/>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2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 40, Median age 61 (23-86); DHL/THL: 25%, IPI score of &gt;/=3 78%,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2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S 4: 48%, DS 5 53%</a:t>
            </a:r>
          </a:p>
        </p:txBody>
      </p:sp>
      <p:sp>
        <p:nvSpPr>
          <p:cNvPr id="5" name="Slide Number Placeholder 4">
            <a:extLst>
              <a:ext uri="{FF2B5EF4-FFF2-40B4-BE49-F238E27FC236}">
                <a16:creationId xmlns:a16="http://schemas.microsoft.com/office/drawing/2014/main" id="{C5A9B63C-D4DA-0D4A-9628-68FFACC31DFD}"/>
              </a:ext>
            </a:extLst>
          </p:cNvPr>
          <p:cNvSpPr>
            <a:spLocks noGrp="1"/>
          </p:cNvSpPr>
          <p:nvPr>
            <p:ph type="sldNum" sz="quarter" idx="12"/>
          </p:nvPr>
        </p:nvSpPr>
        <p:spPr>
          <a:xfrm>
            <a:off x="9706844" y="5484320"/>
            <a:ext cx="575733" cy="27305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56CD90-8224-413F-A5C5-11C249D26586}" type="slidenum">
              <a:rPr kumimoji="0" lang="en-US" sz="1067" b="1" i="0" u="none" strike="noStrike" kern="1200" cap="none" spc="0" normalizeH="0" baseline="0" noProof="0">
                <a:ln>
                  <a:noFill/>
                </a:ln>
                <a:solidFill>
                  <a:srgbClr val="FFFFFF"/>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067" b="1" i="0" u="none" strike="noStrike" kern="1200" cap="none" spc="0" normalizeH="0" baseline="0" noProof="0" dirty="0">
              <a:ln>
                <a:noFill/>
              </a:ln>
              <a:solidFill>
                <a:srgbClr val="FFFFFF"/>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B23A047F-B61C-184B-BCB7-2CAEAC45403D}"/>
              </a:ext>
            </a:extLst>
          </p:cNvPr>
          <p:cNvSpPr/>
          <p:nvPr/>
        </p:nvSpPr>
        <p:spPr>
          <a:xfrm>
            <a:off x="1490790" y="1397147"/>
            <a:ext cx="8545402" cy="212067"/>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mn-cs"/>
              </a:rPr>
              <a:t>Phase 2</a:t>
            </a:r>
          </a:p>
        </p:txBody>
      </p:sp>
      <p:sp>
        <p:nvSpPr>
          <p:cNvPr id="11" name="Rectangle 10">
            <a:extLst>
              <a:ext uri="{FF2B5EF4-FFF2-40B4-BE49-F238E27FC236}">
                <a16:creationId xmlns:a16="http://schemas.microsoft.com/office/drawing/2014/main" id="{41644B45-3910-EA43-9F4A-30D0C36DD5C3}"/>
              </a:ext>
            </a:extLst>
          </p:cNvPr>
          <p:cNvSpPr/>
          <p:nvPr/>
        </p:nvSpPr>
        <p:spPr>
          <a:xfrm>
            <a:off x="5999466" y="1648903"/>
            <a:ext cx="1659348" cy="2997094"/>
          </a:xfrm>
          <a:prstGeom prst="rect">
            <a:avLst/>
          </a:prstGeom>
          <a:solidFill>
            <a:schemeClr val="tx2"/>
          </a:solidFill>
          <a:effectLst>
            <a:outerShdw blurRad="50800" dist="38100" dir="2700000" algn="tl" rotWithShape="0">
              <a:prstClr val="black">
                <a:alpha val="40000"/>
              </a:prstClr>
            </a:outerShdw>
          </a:effectLst>
        </p:spPr>
        <p:txBody>
          <a:bodyPr wrap="square" lIns="45720" tIns="91440" rIns="45720" bIns="91440"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Conditioning </a:t>
            </a:r>
            <a:b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b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Chemotherapy </a:t>
            </a:r>
            <a:b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b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xi-Cel Infusion </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300" b="0" i="0" u="sng"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a:p>
            <a:pPr marL="112713" marR="0" lvl="0" indent="-1127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200" b="0" i="0" u="sng" strike="noStrike" kern="1200" cap="none" spc="0" normalizeH="0" baseline="0" noProof="0" dirty="0">
                <a:ln>
                  <a:noFill/>
                </a:ln>
                <a:solidFill>
                  <a:srgbClr val="FFFFFF"/>
                </a:solidFill>
                <a:effectLst/>
                <a:uLnTx/>
                <a:uFillTx/>
                <a:latin typeface="Calibri" panose="020F0502020204030204" pitchFamily="34" charset="0"/>
                <a:ea typeface="+mn-ea"/>
                <a:cs typeface="+mn-cs"/>
              </a:rPr>
              <a:t>Conditioning</a:t>
            </a: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t>
            </a:r>
            <a:r>
              <a:rPr kumimoji="0" lang="en-US" sz="1200" b="0" i="0" u="none" strike="noStrike" kern="1200" cap="none" spc="-40" normalizeH="0" baseline="0" noProof="0" dirty="0">
                <a:ln>
                  <a:noFill/>
                </a:ln>
                <a:solidFill>
                  <a:srgbClr val="FFFFFF"/>
                </a:solidFill>
                <a:effectLst/>
                <a:uLnTx/>
                <a:uFillTx/>
                <a:latin typeface="Calibri" panose="020F0502020204030204" pitchFamily="34" charset="0"/>
                <a:ea typeface="+mn-ea"/>
                <a:cs typeface="+mn-cs"/>
              </a:rPr>
              <a:t>Fludarabine 30 mg/m</a:t>
            </a:r>
            <a:r>
              <a:rPr kumimoji="0" lang="en-US" sz="1200" b="0" i="0" u="none" strike="noStrike" kern="1200" cap="none" spc="-40" normalizeH="0" baseline="30000" noProof="0" dirty="0">
                <a:ln>
                  <a:noFill/>
                </a:ln>
                <a:solidFill>
                  <a:srgbClr val="FFFFFF"/>
                </a:solidFill>
                <a:effectLst/>
                <a:uLnTx/>
                <a:uFillTx/>
                <a:latin typeface="Calibri" panose="020F0502020204030204" pitchFamily="34" charset="0"/>
                <a:ea typeface="+mn-ea"/>
                <a:cs typeface="+mn-cs"/>
              </a:rPr>
              <a:t>2 </a:t>
            </a:r>
            <a:r>
              <a:rPr kumimoji="0" lang="en-US" sz="1200" b="0" i="0" u="none" strike="noStrike" kern="1200" cap="none" spc="-40" normalizeH="0" baseline="0" noProof="0" dirty="0">
                <a:ln>
                  <a:noFill/>
                </a:ln>
                <a:solidFill>
                  <a:srgbClr val="FFFFFF"/>
                </a:solidFill>
                <a:effectLst/>
                <a:uLnTx/>
                <a:uFillTx/>
                <a:latin typeface="Calibri" panose="020F0502020204030204" pitchFamily="34" charset="0"/>
                <a:ea typeface="+mn-ea"/>
                <a:cs typeface="+mn-cs"/>
              </a:rPr>
              <a:t>IV and cyclophosphamide </a:t>
            </a:r>
            <a:br>
              <a:rPr kumimoji="0" lang="en-US" sz="1200" b="0" i="0" u="none" strike="noStrike" kern="1200" cap="none" spc="-40" normalizeH="0" baseline="0" noProof="0" dirty="0">
                <a:ln>
                  <a:noFill/>
                </a:ln>
                <a:solidFill>
                  <a:srgbClr val="FFFFFF"/>
                </a:solidFill>
                <a:effectLst/>
                <a:uLnTx/>
                <a:uFillTx/>
                <a:latin typeface="Calibri" panose="020F0502020204030204" pitchFamily="34" charset="0"/>
                <a:ea typeface="+mn-ea"/>
                <a:cs typeface="+mn-cs"/>
              </a:rPr>
            </a:br>
            <a:r>
              <a:rPr kumimoji="0" lang="en-US" sz="1200" b="0" i="0" u="none" strike="noStrike" kern="1200" cap="none" spc="-40" normalizeH="0" baseline="0" noProof="0" dirty="0">
                <a:ln>
                  <a:noFill/>
                </a:ln>
                <a:solidFill>
                  <a:srgbClr val="FFFFFF"/>
                </a:solidFill>
                <a:effectLst/>
                <a:uLnTx/>
                <a:uFillTx/>
                <a:latin typeface="Calibri" panose="020F0502020204030204" pitchFamily="34" charset="0"/>
                <a:ea typeface="+mn-ea"/>
                <a:cs typeface="+mn-cs"/>
              </a:rPr>
              <a:t>500 mg/m</a:t>
            </a:r>
            <a:r>
              <a:rPr kumimoji="0" lang="en-US" sz="1200" b="0" i="0" u="none" strike="noStrike" kern="1200" cap="none" spc="-40" normalizeH="0" baseline="30000" noProof="0" dirty="0">
                <a:ln>
                  <a:noFill/>
                </a:ln>
                <a:solidFill>
                  <a:srgbClr val="FFFFFF"/>
                </a:solidFill>
                <a:effectLst/>
                <a:uLnTx/>
                <a:uFillTx/>
                <a:latin typeface="Calibri" panose="020F0502020204030204" pitchFamily="34" charset="0"/>
                <a:ea typeface="+mn-ea"/>
                <a:cs typeface="+mn-cs"/>
              </a:rPr>
              <a:t>2</a:t>
            </a:r>
            <a:r>
              <a:rPr kumimoji="0" lang="en-US" sz="1200" b="0" i="0" u="none" strike="noStrike" kern="1200" cap="none" spc="-40" normalizeH="0" baseline="0" noProof="0" dirty="0">
                <a:ln>
                  <a:noFill/>
                </a:ln>
                <a:solidFill>
                  <a:srgbClr val="FFFFFF"/>
                </a:solidFill>
                <a:effectLst/>
                <a:uLnTx/>
                <a:uFillTx/>
                <a:latin typeface="Calibri" panose="020F0502020204030204" pitchFamily="34" charset="0"/>
                <a:ea typeface="+mn-ea"/>
                <a:cs typeface="+mn-cs"/>
              </a:rPr>
              <a:t> IV on Days −5, −4, and −3</a:t>
            </a:r>
          </a:p>
          <a:p>
            <a:pPr marL="112713" marR="0" lvl="0" indent="-1127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a:p>
            <a:pPr marL="112713" marR="0" lvl="0" indent="-1127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200" b="0" i="0" u="sng" strike="noStrike" kern="1200" cap="none" spc="0" normalizeH="0" baseline="0" noProof="0" dirty="0">
                <a:ln>
                  <a:noFill/>
                </a:ln>
                <a:solidFill>
                  <a:srgbClr val="FFFFFF"/>
                </a:solidFill>
                <a:effectLst/>
                <a:uLnTx/>
                <a:uFillTx/>
                <a:latin typeface="Calibri" panose="020F0502020204030204" pitchFamily="34" charset="0"/>
                <a:ea typeface="+mn-ea"/>
                <a:cs typeface="+mn-cs"/>
              </a:rPr>
              <a:t>Axi-Cel</a:t>
            </a: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Single IV infusion of 2×10</a:t>
            </a:r>
            <a:r>
              <a:rPr kumimoji="0" lang="en-US" sz="1200" b="0" i="0" u="none" strike="noStrike" kern="1200" cap="none" spc="0" normalizeH="0" baseline="30000" noProof="0" dirty="0">
                <a:ln>
                  <a:noFill/>
                </a:ln>
                <a:solidFill>
                  <a:srgbClr val="FFFFFF"/>
                </a:solidFill>
                <a:effectLst/>
                <a:uLnTx/>
                <a:uFillTx/>
                <a:latin typeface="Calibri" panose="020F0502020204030204" pitchFamily="34" charset="0"/>
                <a:ea typeface="+mn-ea"/>
                <a:cs typeface="+mn-cs"/>
              </a:rPr>
              <a:t>6</a:t>
            </a: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t>
            </a:r>
            <a:b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b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CAR T cells/kg on Day 0 </a:t>
            </a:r>
          </a:p>
          <a:p>
            <a:pPr marL="112713" marR="0" lvl="0" indent="-1127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35" name="Rectangle 34">
            <a:extLst>
              <a:ext uri="{FF2B5EF4-FFF2-40B4-BE49-F238E27FC236}">
                <a16:creationId xmlns:a16="http://schemas.microsoft.com/office/drawing/2014/main" id="{4A1F42E5-2665-4BAE-AF0F-80EE89FEA8B6}"/>
              </a:ext>
            </a:extLst>
          </p:cNvPr>
          <p:cNvSpPr/>
          <p:nvPr/>
        </p:nvSpPr>
        <p:spPr>
          <a:xfrm rot="16200000">
            <a:off x="3293319" y="2932739"/>
            <a:ext cx="2997094" cy="429424"/>
          </a:xfrm>
          <a:prstGeom prst="rect">
            <a:avLst/>
          </a:prstGeom>
          <a:solidFill>
            <a:schemeClr val="tx2"/>
          </a:solidFill>
          <a:effectLst>
            <a:outerShdw blurRad="50800" dist="38100" dir="2700000" algn="tl" rotWithShape="0">
              <a:prstClr val="black">
                <a:alpha val="40000"/>
              </a:prstClr>
            </a:outerShdw>
          </a:effectLst>
        </p:spPr>
        <p:txBody>
          <a:bodyPr wrap="square" lIns="45720" tIns="91440" rIns="45720" bIns="9144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Enrollment/Leukapheresis</a:t>
            </a:r>
          </a:p>
        </p:txBody>
      </p:sp>
      <p:sp>
        <p:nvSpPr>
          <p:cNvPr id="32" name="Rectangle 31">
            <a:extLst>
              <a:ext uri="{FF2B5EF4-FFF2-40B4-BE49-F238E27FC236}">
                <a16:creationId xmlns:a16="http://schemas.microsoft.com/office/drawing/2014/main" id="{1E2BD381-0B2C-4098-AF36-F76B67F12DBB}"/>
              </a:ext>
            </a:extLst>
          </p:cNvPr>
          <p:cNvSpPr/>
          <p:nvPr/>
        </p:nvSpPr>
        <p:spPr>
          <a:xfrm>
            <a:off x="7940544" y="1648903"/>
            <a:ext cx="2095648" cy="2995328"/>
          </a:xfrm>
          <a:prstGeom prst="rect">
            <a:avLst/>
          </a:prstGeom>
          <a:solidFill>
            <a:schemeClr val="bg2">
              <a:lumMod val="90000"/>
            </a:schemeClr>
          </a:solidFill>
          <a:effectLst>
            <a:outerShdw blurRad="50800" dist="38100" dir="2700000" algn="tl" rotWithShape="0">
              <a:prstClr val="black">
                <a:alpha val="40000"/>
              </a:prstClr>
            </a:outerShdw>
          </a:effectLst>
        </p:spPr>
        <p:txBody>
          <a:bodyPr wrap="square" lIns="45720" tIns="91440" rIns="45720" bIns="91440" anchor="t" anchorCtr="0">
            <a:noAutofit/>
          </a:bodyPr>
          <a:lstStyle/>
          <a:p>
            <a:pPr marL="0" marR="0" lvl="0" indent="0" algn="ctr" defTabSz="685784" rtl="0" eaLnBrk="0" fontAlgn="base" latinLnBrk="0" hangingPunct="0">
              <a:lnSpc>
                <a:spcPct val="100000"/>
              </a:lnSpc>
              <a:spcBef>
                <a:spcPct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imary Endpoint</a:t>
            </a:r>
          </a:p>
          <a:p>
            <a:pPr marL="112713" marR="0" lvl="0" indent="-112713" algn="l" defTabSz="685784" rtl="0" eaLnBrk="0" fontAlgn="base" latinLnBrk="0" hangingPunct="0">
              <a:lnSpc>
                <a:spcPct val="100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R (investigator-assessed per Lugano 2014 classification)</a:t>
            </a:r>
            <a:r>
              <a:rPr kumimoji="0" lang="en-US" sz="12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mn-cs"/>
              </a:rPr>
              <a:t>1</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112713" marR="0" lvl="0" indent="-112713" algn="l" defTabSz="685784" rtl="0" eaLnBrk="0" fontAlgn="base" latinLnBrk="0" hangingPunct="0">
              <a:lnSpc>
                <a:spcPct val="100000"/>
              </a:lnSpc>
              <a:spcBef>
                <a:spcPct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ctr" defTabSz="685784" rtl="0" eaLnBrk="0" fontAlgn="base" latinLnBrk="0" hangingPunct="0">
              <a:lnSpc>
                <a:spcPct val="100000"/>
              </a:lnSpc>
              <a:spcBef>
                <a:spcPct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Key Secondary Endpoints</a:t>
            </a:r>
          </a:p>
          <a:p>
            <a:pPr marL="112713" marR="0" lvl="0" indent="-112713" algn="l" defTabSz="685784" rtl="0" eaLnBrk="0" fontAlgn="base" latinLnBrk="0" hangingPunct="0">
              <a:lnSpc>
                <a:spcPct val="100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RR</a:t>
            </a:r>
          </a:p>
          <a:p>
            <a:pPr marL="112713" marR="0" lvl="0" indent="-112713" algn="l" defTabSz="685784" rtl="0" eaLnBrk="0" fontAlgn="base" latinLnBrk="0" hangingPunct="0">
              <a:lnSpc>
                <a:spcPct val="100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OR</a:t>
            </a:r>
          </a:p>
          <a:p>
            <a:pPr marL="112713" marR="0" lvl="0" indent="-112713" algn="l" defTabSz="685784" rtl="0" eaLnBrk="0" fontAlgn="base" latinLnBrk="0" hangingPunct="0">
              <a:lnSpc>
                <a:spcPct val="100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FS</a:t>
            </a:r>
          </a:p>
          <a:p>
            <a:pPr marL="112713" marR="0" lvl="0" indent="-112713" algn="l" defTabSz="685784" rtl="0" eaLnBrk="0" fontAlgn="base" latinLnBrk="0" hangingPunct="0">
              <a:lnSpc>
                <a:spcPct val="100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FS</a:t>
            </a:r>
          </a:p>
          <a:p>
            <a:pPr marL="112713" marR="0" lvl="0" indent="-112713" algn="l" defTabSz="685784" rtl="0" eaLnBrk="0" fontAlgn="base" latinLnBrk="0" hangingPunct="0">
              <a:lnSpc>
                <a:spcPct val="100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S</a:t>
            </a:r>
          </a:p>
          <a:p>
            <a:pPr marL="112713" marR="0" lvl="0" indent="-112713" algn="l" defTabSz="685784" rtl="0" eaLnBrk="0" fontAlgn="base" latinLnBrk="0" hangingPunct="0">
              <a:lnSpc>
                <a:spcPct val="100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afety</a:t>
            </a:r>
          </a:p>
          <a:p>
            <a:pPr marL="112713" marR="0" lvl="0" indent="-112713" algn="l" defTabSz="685784" rtl="0" eaLnBrk="0" fontAlgn="base" latinLnBrk="0" hangingPunct="0">
              <a:lnSpc>
                <a:spcPct val="100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R T cells in blood and cytokine levels in serum</a:t>
            </a:r>
          </a:p>
          <a:p>
            <a:pPr marL="112713" marR="0" lvl="0" indent="-112713" algn="l" defTabSz="685784" rtl="0" eaLnBrk="0" fontAlgn="base" latinLnBrk="0" hangingPunct="0">
              <a:lnSpc>
                <a:spcPct val="100000"/>
              </a:lnSpc>
              <a:spcBef>
                <a:spcPct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112713" marR="0" lvl="0" indent="-112713" algn="l" defTabSz="685784" rtl="0" eaLnBrk="0" fontAlgn="base" latinLnBrk="0" hangingPunct="0">
              <a:lnSpc>
                <a:spcPct val="100000"/>
              </a:lnSpc>
              <a:spcBef>
                <a:spcPct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2" name="Rectangle 11">
            <a:extLst>
              <a:ext uri="{FF2B5EF4-FFF2-40B4-BE49-F238E27FC236}">
                <a16:creationId xmlns:a16="http://schemas.microsoft.com/office/drawing/2014/main" id="{79A3A6E9-5937-4EAE-AFCB-7B008DB7EA1D}"/>
              </a:ext>
            </a:extLst>
          </p:cNvPr>
          <p:cNvSpPr/>
          <p:nvPr/>
        </p:nvSpPr>
        <p:spPr>
          <a:xfrm>
            <a:off x="1490790" y="1648903"/>
            <a:ext cx="2804632" cy="2995328"/>
          </a:xfrm>
          <a:prstGeom prst="rect">
            <a:avLst/>
          </a:prstGeom>
          <a:solidFill>
            <a:schemeClr val="tx2"/>
          </a:solidFill>
          <a:effectLst>
            <a:outerShdw blurRad="50800" dist="38100" dir="2700000" algn="tl" rotWithShape="0">
              <a:prstClr val="black">
                <a:alpha val="40000"/>
              </a:prstClr>
            </a:outerShdw>
          </a:effectLst>
        </p:spPr>
        <p:txBody>
          <a:bodyPr wrap="square" lIns="18288" tIns="18288" rIns="18288" bIns="18288"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8" name="Rectangle 27">
            <a:extLst>
              <a:ext uri="{FF2B5EF4-FFF2-40B4-BE49-F238E27FC236}">
                <a16:creationId xmlns:a16="http://schemas.microsoft.com/office/drawing/2014/main" id="{556FDF5F-CDFF-45AE-9F14-B7017128F98E}"/>
              </a:ext>
            </a:extLst>
          </p:cNvPr>
          <p:cNvSpPr/>
          <p:nvPr/>
        </p:nvSpPr>
        <p:spPr>
          <a:xfrm>
            <a:off x="1544232" y="1709330"/>
            <a:ext cx="2697753" cy="962461"/>
          </a:xfrm>
          <a:prstGeom prst="rect">
            <a:avLst/>
          </a:prstGeom>
          <a:noFill/>
          <a:ln w="19050">
            <a:solidFill>
              <a:schemeClr val="bg1"/>
            </a:solidFill>
          </a:ln>
          <a:effectLst/>
        </p:spPr>
        <p:txBody>
          <a:bodyPr wrap="square" lIns="45720" tIns="18288" rIns="45720" bIns="18288"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High-Risk LBCL</a:t>
            </a:r>
          </a:p>
          <a:p>
            <a:pPr marL="112713" marR="0" lvl="0" indent="-1127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rPr>
              <a:t>HGBL</a:t>
            </a: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with </a:t>
            </a:r>
            <a:r>
              <a:rPr kumimoji="0" lang="en-US" sz="1200" b="0" i="1"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MYC</a:t>
            </a: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nd </a:t>
            </a:r>
            <a:r>
              <a:rPr kumimoji="0" lang="en-US" sz="1200" b="0" i="1"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BCL2</a:t>
            </a: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nd/or </a:t>
            </a:r>
            <a:r>
              <a:rPr kumimoji="0" lang="en-US" sz="1200" b="0" i="1"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BCL6</a:t>
            </a: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translocations (double- or triple-hit), or </a:t>
            </a:r>
          </a:p>
          <a:p>
            <a:pPr marL="112713" marR="0" lvl="0" indent="-1127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LBCL with IPI score ≥3 any time before enrollment</a:t>
            </a:r>
            <a:endParaRPr kumimoji="0" lang="en-US" sz="11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7" name="Rectangle 6">
            <a:extLst>
              <a:ext uri="{FF2B5EF4-FFF2-40B4-BE49-F238E27FC236}">
                <a16:creationId xmlns:a16="http://schemas.microsoft.com/office/drawing/2014/main" id="{D730AF2F-F2C5-4EB6-B2E6-0CE349069FBA}"/>
              </a:ext>
            </a:extLst>
          </p:cNvPr>
          <p:cNvSpPr/>
          <p:nvPr/>
        </p:nvSpPr>
        <p:spPr>
          <a:xfrm>
            <a:off x="1544232" y="2911607"/>
            <a:ext cx="2697753" cy="863524"/>
          </a:xfrm>
          <a:prstGeom prst="rect">
            <a:avLst/>
          </a:prstGeom>
          <a:noFill/>
          <a:ln w="19050">
            <a:solidFill>
              <a:schemeClr val="bg1"/>
            </a:solidFill>
          </a:ln>
          <a:effectLst/>
        </p:spPr>
        <p:txBody>
          <a:bodyPr wrap="square" lIns="45720" tIns="18288" rIns="45720" bIns="18288"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Dynamic Risk Assessment</a:t>
            </a:r>
          </a:p>
          <a:p>
            <a:pPr marL="112713" marR="0" lvl="0" indent="-1127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Positive interim PET (DS 4 or 5) after </a:t>
            </a:r>
            <a:b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b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2 cycles of an anti-CD20 mAb + anthracycline-containing regimen</a:t>
            </a:r>
          </a:p>
          <a:p>
            <a:pPr marL="112713" marR="0" lvl="0" indent="-1127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9" name="Rectangle 8">
            <a:extLst>
              <a:ext uri="{FF2B5EF4-FFF2-40B4-BE49-F238E27FC236}">
                <a16:creationId xmlns:a16="http://schemas.microsoft.com/office/drawing/2014/main" id="{68CF2BED-C3C8-4530-8038-D7CFA96ED4F3}"/>
              </a:ext>
            </a:extLst>
          </p:cNvPr>
          <p:cNvSpPr/>
          <p:nvPr/>
        </p:nvSpPr>
        <p:spPr>
          <a:xfrm>
            <a:off x="1544232" y="4010690"/>
            <a:ext cx="2697753" cy="588442"/>
          </a:xfrm>
          <a:prstGeom prst="rect">
            <a:avLst/>
          </a:prstGeom>
          <a:noFill/>
          <a:ln w="19050">
            <a:solidFill>
              <a:schemeClr val="bg1"/>
            </a:solidFill>
          </a:ln>
          <a:effectLst/>
        </p:spPr>
        <p:txBody>
          <a:bodyPr wrap="square" lIns="45720" tIns="18288" rIns="45720" bIns="18288"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Additional Key Inclusion Criteria</a:t>
            </a:r>
          </a:p>
          <a:p>
            <a:pPr marL="112713" marR="0" lvl="0" indent="-1127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Age ≥18 years</a:t>
            </a:r>
          </a:p>
          <a:p>
            <a:pPr marL="112713" marR="0" lvl="0" indent="-112713"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ECOG 0–1 </a:t>
            </a: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6" name="Rectangle 25">
            <a:extLst>
              <a:ext uri="{FF2B5EF4-FFF2-40B4-BE49-F238E27FC236}">
                <a16:creationId xmlns:a16="http://schemas.microsoft.com/office/drawing/2014/main" id="{B99F7DC2-B57A-4484-A983-AFC29E9B1671}"/>
              </a:ext>
            </a:extLst>
          </p:cNvPr>
          <p:cNvSpPr/>
          <p:nvPr/>
        </p:nvSpPr>
        <p:spPr>
          <a:xfrm rot="16200000">
            <a:off x="4004475" y="2932739"/>
            <a:ext cx="2997094" cy="429424"/>
          </a:xfrm>
          <a:prstGeom prst="rect">
            <a:avLst/>
          </a:prstGeom>
          <a:solidFill>
            <a:schemeClr val="tx2"/>
          </a:solidFill>
          <a:effectLst>
            <a:outerShdw blurRad="50800" dist="38100" dir="2700000" algn="tl" rotWithShape="0">
              <a:prstClr val="black">
                <a:alpha val="40000"/>
              </a:prstClr>
            </a:outerShdw>
          </a:effectLst>
        </p:spPr>
        <p:txBody>
          <a:bodyPr wrap="square" lIns="45720" tIns="91440" rIns="45720" bIns="9144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Optional Nonchemotherapy Bridging Therapy</a:t>
            </a:r>
            <a:r>
              <a:rPr kumimoji="0" lang="en-US" sz="1300" b="1" i="0" u="none" strike="noStrike" kern="1200" cap="none" spc="0" normalizeH="0" baseline="30000" noProof="0" dirty="0">
                <a:ln>
                  <a:noFill/>
                </a:ln>
                <a:solidFill>
                  <a:srgbClr val="FFFFFF"/>
                </a:solidFill>
                <a:effectLst/>
                <a:uLnTx/>
                <a:uFillTx/>
                <a:latin typeface="Calibri" panose="020F0502020204030204" pitchFamily="34" charset="0"/>
                <a:ea typeface="+mn-ea"/>
                <a:cs typeface="+mn-cs"/>
              </a:rPr>
              <a:t>a</a:t>
            </a:r>
            <a:endParaRPr kumimoji="0" lang="en-US" sz="1300" b="0" i="0" u="sng"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cxnSp>
        <p:nvCxnSpPr>
          <p:cNvPr id="29" name="Straight Arrow Connector 28">
            <a:extLst>
              <a:ext uri="{FF2B5EF4-FFF2-40B4-BE49-F238E27FC236}">
                <a16:creationId xmlns:a16="http://schemas.microsoft.com/office/drawing/2014/main" id="{D9FC4E4D-EBF1-4896-8210-101D7EE4A7E2}"/>
              </a:ext>
            </a:extLst>
          </p:cNvPr>
          <p:cNvCxnSpPr>
            <a:cxnSpLocks/>
            <a:stCxn id="12" idx="3"/>
            <a:endCxn id="35" idx="0"/>
          </p:cNvCxnSpPr>
          <p:nvPr/>
        </p:nvCxnSpPr>
        <p:spPr>
          <a:xfrm>
            <a:off x="4295422" y="3146567"/>
            <a:ext cx="281732" cy="88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4CF0B1C9-D5CB-45B3-98AA-2229A2F82638}"/>
              </a:ext>
            </a:extLst>
          </p:cNvPr>
          <p:cNvCxnSpPr>
            <a:cxnSpLocks/>
            <a:stCxn id="35" idx="2"/>
            <a:endCxn id="26" idx="0"/>
          </p:cNvCxnSpPr>
          <p:nvPr/>
        </p:nvCxnSpPr>
        <p:spPr>
          <a:xfrm>
            <a:off x="5006578" y="3147451"/>
            <a:ext cx="28173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71F58AC4-FFB6-4D71-B1F0-A983CEC6D31D}"/>
              </a:ext>
            </a:extLst>
          </p:cNvPr>
          <p:cNvCxnSpPr>
            <a:cxnSpLocks/>
            <a:stCxn id="26" idx="2"/>
            <a:endCxn id="11" idx="1"/>
          </p:cNvCxnSpPr>
          <p:nvPr/>
        </p:nvCxnSpPr>
        <p:spPr>
          <a:xfrm flipV="1">
            <a:off x="5717734" y="3147452"/>
            <a:ext cx="281732" cy="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F19751A1-783F-47F7-A33E-1F89E7AFB489}"/>
              </a:ext>
            </a:extLst>
          </p:cNvPr>
          <p:cNvCxnSpPr>
            <a:cxnSpLocks/>
            <a:stCxn id="11" idx="3"/>
          </p:cNvCxnSpPr>
          <p:nvPr/>
        </p:nvCxnSpPr>
        <p:spPr>
          <a:xfrm flipV="1">
            <a:off x="7658814" y="3145684"/>
            <a:ext cx="281730" cy="176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Plus Sign 12">
            <a:extLst>
              <a:ext uri="{FF2B5EF4-FFF2-40B4-BE49-F238E27FC236}">
                <a16:creationId xmlns:a16="http://schemas.microsoft.com/office/drawing/2014/main" id="{A3DFD8C0-DD0B-4A63-B6FA-C5603F8CD4F3}"/>
              </a:ext>
            </a:extLst>
          </p:cNvPr>
          <p:cNvSpPr>
            <a:spLocks noChangeAspect="1"/>
          </p:cNvSpPr>
          <p:nvPr/>
        </p:nvSpPr>
        <p:spPr>
          <a:xfrm>
            <a:off x="2808165" y="2698716"/>
            <a:ext cx="169882" cy="169882"/>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30" name="Plus Sign 29">
            <a:extLst>
              <a:ext uri="{FF2B5EF4-FFF2-40B4-BE49-F238E27FC236}">
                <a16:creationId xmlns:a16="http://schemas.microsoft.com/office/drawing/2014/main" id="{7DD0028E-7724-4097-BEC8-19FA6F684117}"/>
              </a:ext>
            </a:extLst>
          </p:cNvPr>
          <p:cNvSpPr>
            <a:spLocks noChangeAspect="1"/>
          </p:cNvSpPr>
          <p:nvPr/>
        </p:nvSpPr>
        <p:spPr>
          <a:xfrm>
            <a:off x="2808165" y="3794978"/>
            <a:ext cx="169882" cy="169882"/>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2" name="TextBox 1">
            <a:extLst>
              <a:ext uri="{FF2B5EF4-FFF2-40B4-BE49-F238E27FC236}">
                <a16:creationId xmlns:a16="http://schemas.microsoft.com/office/drawing/2014/main" id="{3C045FD4-52C5-BDA8-8848-F619FDF90F0A}"/>
              </a:ext>
            </a:extLst>
          </p:cNvPr>
          <p:cNvSpPr txBox="1"/>
          <p:nvPr/>
        </p:nvSpPr>
        <p:spPr>
          <a:xfrm>
            <a:off x="9797425" y="6475522"/>
            <a:ext cx="2185214" cy="307777"/>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avez et al Blood 2025 </a:t>
            </a:r>
          </a:p>
        </p:txBody>
      </p:sp>
    </p:spTree>
    <p:extLst>
      <p:ext uri="{BB962C8B-B14F-4D97-AF65-F5344CB8AC3E}">
        <p14:creationId xmlns:p14="http://schemas.microsoft.com/office/powerpoint/2010/main" val="16556821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11188-F077-0C46-A4E9-FFB85682D973}"/>
              </a:ext>
            </a:extLst>
          </p:cNvPr>
          <p:cNvSpPr>
            <a:spLocks noGrp="1"/>
          </p:cNvSpPr>
          <p:nvPr>
            <p:ph type="title"/>
          </p:nvPr>
        </p:nvSpPr>
        <p:spPr>
          <a:xfrm>
            <a:off x="293266" y="1576911"/>
            <a:ext cx="2541405" cy="1044931"/>
          </a:xfrm>
        </p:spPr>
        <p:txBody>
          <a:bodyPr vert="horz" lIns="182880" tIns="91440" rIns="182880" bIns="0" rtlCol="0" anchor="t" anchorCtr="0">
            <a:noAutofit/>
          </a:bodyPr>
          <a:lstStyle/>
          <a:p>
            <a:r>
              <a:rPr lang="en-US" sz="2400" spc="-10" dirty="0">
                <a:latin typeface="Arial" panose="020B0604020202020204" pitchFamily="34" charset="0"/>
                <a:cs typeface="Arial" panose="020B0604020202020204" pitchFamily="34" charset="0"/>
              </a:rPr>
              <a:t>ORR 89% and CR Rate 78% </a:t>
            </a:r>
            <a:br>
              <a:rPr lang="en-US" sz="2400" spc="-10" dirty="0">
                <a:latin typeface="Arial" panose="020B0604020202020204" pitchFamily="34" charset="0"/>
                <a:cs typeface="Arial" panose="020B0604020202020204" pitchFamily="34" charset="0"/>
              </a:rPr>
            </a:br>
            <a:endParaRPr lang="en-US" sz="2400" spc="-10" dirty="0">
              <a:latin typeface="Arial" panose="020B0604020202020204" pitchFamily="34" charset="0"/>
              <a:cs typeface="Arial" panose="020B0604020202020204" pitchFamily="34" charset="0"/>
            </a:endParaRPr>
          </a:p>
        </p:txBody>
      </p:sp>
      <p:pic>
        <p:nvPicPr>
          <p:cNvPr id="7" name="Content Placeholder 6" descr="A graph of a bar graph&#10;&#10;AI-generated content may be incorrect.">
            <a:extLst>
              <a:ext uri="{FF2B5EF4-FFF2-40B4-BE49-F238E27FC236}">
                <a16:creationId xmlns:a16="http://schemas.microsoft.com/office/drawing/2014/main" id="{20975C9F-46F2-5015-CE64-04890C18F12B}"/>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279471" y="2621842"/>
            <a:ext cx="3292525" cy="2326212"/>
          </a:xfrm>
          <a:prstGeom prst="rect">
            <a:avLst/>
          </a:prstGeom>
        </p:spPr>
      </p:pic>
      <p:sp>
        <p:nvSpPr>
          <p:cNvPr id="5" name="Slide Number Placeholder 4">
            <a:extLst>
              <a:ext uri="{FF2B5EF4-FFF2-40B4-BE49-F238E27FC236}">
                <a16:creationId xmlns:a16="http://schemas.microsoft.com/office/drawing/2014/main" id="{2ACF459C-B9BD-134C-AF77-C96C38F4FF6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56CD90-8224-413F-A5C5-11C249D26586}" type="slidenum">
              <a:rPr kumimoji="0" lang="en-US" sz="1067" b="1" i="0" u="none" strike="noStrike" kern="1200" cap="none" spc="0" normalizeH="0" baseline="0" noProof="0">
                <a:ln>
                  <a:noFill/>
                </a:ln>
                <a:solidFill>
                  <a:srgbClr val="FFFFFF"/>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067" b="1" i="0" u="none" strike="noStrike" kern="1200" cap="none" spc="0" normalizeH="0" baseline="0" noProof="0" dirty="0">
              <a:ln>
                <a:noFill/>
              </a:ln>
              <a:solidFill>
                <a:srgbClr val="FFFFFF"/>
              </a:solidFill>
              <a:effectLst/>
              <a:uLnTx/>
              <a:uFillTx/>
              <a:latin typeface="Calibri"/>
              <a:ea typeface="+mn-ea"/>
              <a:cs typeface="+mn-cs"/>
            </a:endParaRPr>
          </a:p>
        </p:txBody>
      </p:sp>
      <p:sp>
        <p:nvSpPr>
          <p:cNvPr id="12" name="TextBox 11">
            <a:extLst>
              <a:ext uri="{FF2B5EF4-FFF2-40B4-BE49-F238E27FC236}">
                <a16:creationId xmlns:a16="http://schemas.microsoft.com/office/drawing/2014/main" id="{1E6FA327-8308-574B-AC9D-4A1338F69DD2}"/>
              </a:ext>
            </a:extLst>
          </p:cNvPr>
          <p:cNvSpPr txBox="1"/>
          <p:nvPr/>
        </p:nvSpPr>
        <p:spPr>
          <a:xfrm>
            <a:off x="2659291" y="2958836"/>
            <a:ext cx="755335" cy="461665"/>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78% CR</a:t>
            </a:r>
            <a:b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29)</a:t>
            </a:r>
          </a:p>
        </p:txBody>
      </p:sp>
      <p:sp>
        <p:nvSpPr>
          <p:cNvPr id="13" name="TextBox 12">
            <a:extLst>
              <a:ext uri="{FF2B5EF4-FFF2-40B4-BE49-F238E27FC236}">
                <a16:creationId xmlns:a16="http://schemas.microsoft.com/office/drawing/2014/main" id="{0864DCAD-2BE7-4543-823E-16FA12D14E6A}"/>
              </a:ext>
            </a:extLst>
          </p:cNvPr>
          <p:cNvSpPr txBox="1"/>
          <p:nvPr/>
        </p:nvSpPr>
        <p:spPr>
          <a:xfrm>
            <a:off x="2669003" y="4227705"/>
            <a:ext cx="735906" cy="353623"/>
          </a:xfrm>
          <a:prstGeom prst="rect">
            <a:avLst/>
          </a:prstGeom>
          <a:noFill/>
        </p:spPr>
        <p:txBody>
          <a:bodyPr wrap="none" rtlCol="0">
            <a:spAutoFit/>
          </a:bodyPr>
          <a:lstStyle/>
          <a:p>
            <a:pPr marL="0" marR="0" lvl="0" indent="0" algn="ctr" defTabSz="914400" rtl="0" eaLnBrk="0" fontAlgn="base" latinLnBrk="0" hangingPunct="0">
              <a:lnSpc>
                <a:spcPct val="7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1% PR</a:t>
            </a:r>
            <a:b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4)</a:t>
            </a:r>
          </a:p>
        </p:txBody>
      </p:sp>
      <p:pic>
        <p:nvPicPr>
          <p:cNvPr id="17" name="Picture 16" descr="A graph of a number of months&#10;&#10;AI-generated content may be incorrect.">
            <a:extLst>
              <a:ext uri="{FF2B5EF4-FFF2-40B4-BE49-F238E27FC236}">
                <a16:creationId xmlns:a16="http://schemas.microsoft.com/office/drawing/2014/main" id="{5E42F046-E644-86D8-5E3C-4BCA22AB2573}"/>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rcRect r="1046"/>
          <a:stretch>
            <a:fillRect/>
          </a:stretch>
        </p:blipFill>
        <p:spPr>
          <a:xfrm>
            <a:off x="3643941" y="1921398"/>
            <a:ext cx="5057122" cy="3159889"/>
          </a:xfrm>
          <a:prstGeom prst="rect">
            <a:avLst/>
          </a:prstGeom>
        </p:spPr>
      </p:pic>
      <p:sp>
        <p:nvSpPr>
          <p:cNvPr id="20" name="TextBox 19">
            <a:extLst>
              <a:ext uri="{FF2B5EF4-FFF2-40B4-BE49-F238E27FC236}">
                <a16:creationId xmlns:a16="http://schemas.microsoft.com/office/drawing/2014/main" id="{0C183B01-12FB-784F-D35D-E58BAFA793E0}"/>
              </a:ext>
            </a:extLst>
          </p:cNvPr>
          <p:cNvSpPr txBox="1"/>
          <p:nvPr/>
        </p:nvSpPr>
        <p:spPr>
          <a:xfrm>
            <a:off x="4055217" y="5173580"/>
            <a:ext cx="4081567" cy="461665"/>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 yr PFS 75%; 3 yr OS 81% </a:t>
            </a:r>
          </a:p>
        </p:txBody>
      </p:sp>
      <p:sp>
        <p:nvSpPr>
          <p:cNvPr id="22" name="TextBox 21">
            <a:extLst>
              <a:ext uri="{FF2B5EF4-FFF2-40B4-BE49-F238E27FC236}">
                <a16:creationId xmlns:a16="http://schemas.microsoft.com/office/drawing/2014/main" id="{03CF5EFB-79D1-B058-F85B-6B91CC68256A}"/>
              </a:ext>
            </a:extLst>
          </p:cNvPr>
          <p:cNvSpPr txBox="1"/>
          <p:nvPr/>
        </p:nvSpPr>
        <p:spPr>
          <a:xfrm>
            <a:off x="8941415" y="1576910"/>
            <a:ext cx="2971114" cy="430887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most common </a:t>
            </a:r>
            <a:r>
              <a:rPr kumimoji="0" lang="en-US"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axi</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el–related Grade ≥3 AEs were neutropenia (53%), anemia (30%), encephalopathy (15%) and thrombocytopenia (15%)</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RS : </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y Grade: 100%, Grade 3/&gt; 8%</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 Grade 4 and 5 CRS occurred</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 </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y Grade 73%, Grade 3/&gt;23%, 5% Grade 4</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 Grade 5 NE occurred</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aramond" pitchFamily="18" charset="0"/>
              <a:ea typeface="+mn-ea"/>
              <a:cs typeface="+mn-cs"/>
            </a:endParaRPr>
          </a:p>
        </p:txBody>
      </p:sp>
      <p:sp>
        <p:nvSpPr>
          <p:cNvPr id="3" name="TextBox 2">
            <a:extLst>
              <a:ext uri="{FF2B5EF4-FFF2-40B4-BE49-F238E27FC236}">
                <a16:creationId xmlns:a16="http://schemas.microsoft.com/office/drawing/2014/main" id="{54345E11-E0B9-2CF9-65F8-0EC84B44AC7B}"/>
              </a:ext>
            </a:extLst>
          </p:cNvPr>
          <p:cNvSpPr txBox="1"/>
          <p:nvPr/>
        </p:nvSpPr>
        <p:spPr>
          <a:xfrm>
            <a:off x="4311784" y="177203"/>
            <a:ext cx="4389279" cy="523220"/>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ZUMA-12 : Efficacy/Safety</a:t>
            </a:r>
          </a:p>
        </p:txBody>
      </p:sp>
      <p:sp>
        <p:nvSpPr>
          <p:cNvPr id="4" name="TextBox 3">
            <a:extLst>
              <a:ext uri="{FF2B5EF4-FFF2-40B4-BE49-F238E27FC236}">
                <a16:creationId xmlns:a16="http://schemas.microsoft.com/office/drawing/2014/main" id="{607170ED-7AE0-BFF9-0CF3-C99087757A73}"/>
              </a:ext>
            </a:extLst>
          </p:cNvPr>
          <p:cNvSpPr txBox="1"/>
          <p:nvPr/>
        </p:nvSpPr>
        <p:spPr>
          <a:xfrm>
            <a:off x="8241758" y="6464019"/>
            <a:ext cx="2185214" cy="307777"/>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avez et al Blood 2025 </a:t>
            </a:r>
          </a:p>
        </p:txBody>
      </p:sp>
    </p:spTree>
    <p:extLst>
      <p:ext uri="{BB962C8B-B14F-4D97-AF65-F5344CB8AC3E}">
        <p14:creationId xmlns:p14="http://schemas.microsoft.com/office/powerpoint/2010/main" val="24601973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9D302F-4AF3-9C78-4058-89A9C20BDCE3}"/>
              </a:ext>
            </a:extLst>
          </p:cNvPr>
          <p:cNvSpPr>
            <a:spLocks noGrp="1"/>
          </p:cNvSpPr>
          <p:nvPr>
            <p:ph type="title"/>
          </p:nvPr>
        </p:nvSpPr>
        <p:spPr>
          <a:xfrm>
            <a:off x="1775460" y="-44225"/>
            <a:ext cx="8892540" cy="717335"/>
          </a:xfrm>
        </p:spPr>
        <p:txBody>
          <a:bodyPr>
            <a:noAutofit/>
          </a:bodyPr>
          <a:lstStyle/>
          <a:p>
            <a:r>
              <a:rPr lang="en-US" sz="2800" dirty="0">
                <a:latin typeface="Arial" panose="020B0604020202020204" pitchFamily="34" charset="0"/>
                <a:cs typeface="Arial" panose="020B0604020202020204" pitchFamily="34" charset="0"/>
              </a:rPr>
              <a:t>Early results with other CAR T-cell platforms in DLBCL</a:t>
            </a:r>
          </a:p>
        </p:txBody>
      </p:sp>
      <p:sp>
        <p:nvSpPr>
          <p:cNvPr id="3" name="Slide Number Placeholder 2">
            <a:extLst>
              <a:ext uri="{FF2B5EF4-FFF2-40B4-BE49-F238E27FC236}">
                <a16:creationId xmlns:a16="http://schemas.microsoft.com/office/drawing/2014/main" id="{65F9FBA1-2EB0-563A-02E0-7F0E6448751F}"/>
              </a:ext>
            </a:extLst>
          </p:cNvPr>
          <p:cNvSpPr>
            <a:spLocks noGrp="1"/>
          </p:cNvSpPr>
          <p:nvPr>
            <p:ph type="sldNum" sz="quarter" idx="12"/>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BE33F7A0-71F0-446B-9DE8-6D75BE64EE0F}" type="slidenum">
              <a:rPr kumimoji="0" lang="en-US" sz="900" b="0" i="0" u="none" strike="noStrike" kern="1200" cap="none" spc="0" normalizeH="0" baseline="0" noProof="0">
                <a:ln>
                  <a:noFill/>
                </a:ln>
                <a:solidFill>
                  <a:prstClr val="white"/>
                </a:solidFill>
                <a:effectLst/>
                <a:uLnTx/>
                <a:uFillTx/>
                <a:latin typeface="Garamond" pitchFamily="18"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37</a:t>
            </a:fld>
            <a:endParaRPr kumimoji="0" lang="en-US" sz="900" b="0" i="0" u="none" strike="noStrike" kern="1200" cap="none" spc="0" normalizeH="0" baseline="0" noProof="0" dirty="0">
              <a:ln>
                <a:noFill/>
              </a:ln>
              <a:solidFill>
                <a:prstClr val="white"/>
              </a:solidFill>
              <a:effectLst/>
              <a:uLnTx/>
              <a:uFillTx/>
              <a:latin typeface="Garamond" pitchFamily="18" charset="0"/>
              <a:ea typeface="+mn-ea"/>
              <a:cs typeface="+mn-cs"/>
            </a:endParaRPr>
          </a:p>
        </p:txBody>
      </p:sp>
      <p:sp>
        <p:nvSpPr>
          <p:cNvPr id="4" name="Content Placeholder 3">
            <a:extLst>
              <a:ext uri="{FF2B5EF4-FFF2-40B4-BE49-F238E27FC236}">
                <a16:creationId xmlns:a16="http://schemas.microsoft.com/office/drawing/2014/main" id="{375CDAFB-98C0-7FCB-EB3B-D34073815F76}"/>
              </a:ext>
            </a:extLst>
          </p:cNvPr>
          <p:cNvSpPr>
            <a:spLocks noGrp="1"/>
          </p:cNvSpPr>
          <p:nvPr>
            <p:ph sz="quarter" idx="13"/>
          </p:nvPr>
        </p:nvSpPr>
        <p:spPr>
          <a:xfrm>
            <a:off x="1464477" y="1597809"/>
            <a:ext cx="8892540" cy="1291590"/>
          </a:xfrm>
        </p:spPr>
        <p:txBody>
          <a:bodyPr>
            <a:normAutofit fontScale="70000" lnSpcReduction="20000"/>
          </a:bodyPr>
          <a:lstStyle/>
          <a:p>
            <a:pPr marL="0" indent="0">
              <a:buNone/>
            </a:pPr>
            <a:r>
              <a:rPr lang="en-US" sz="1800" dirty="0">
                <a:latin typeface="Arial" panose="020B0604020202020204" pitchFamily="34" charset="0"/>
                <a:cs typeface="Arial" panose="020B0604020202020204" pitchFamily="34" charset="0"/>
              </a:rPr>
              <a:t>CD19-directed CAR-T cell therapy utilizes the T-Charge™ platform-preserve T-cell stemness + 2 day manufacturing time followed by release testing. </a:t>
            </a:r>
          </a:p>
          <a:p>
            <a:pPr marL="0" indent="0">
              <a:buNone/>
            </a:pPr>
            <a:r>
              <a:rPr lang="en-US" dirty="0">
                <a:latin typeface="Arial" panose="020B0604020202020204" pitchFamily="34" charset="0"/>
                <a:cs typeface="Arial" panose="020B0604020202020204" pitchFamily="34" charset="0"/>
              </a:rPr>
              <a:t>Phase Il study; 12.5×10</a:t>
            </a:r>
            <a:r>
              <a:rPr lang="en-US" baseline="30000" dirty="0">
                <a:latin typeface="Arial" panose="020B0604020202020204" pitchFamily="34" charset="0"/>
                <a:cs typeface="Arial" panose="020B0604020202020204" pitchFamily="34" charset="0"/>
              </a:rPr>
              <a:t>6</a:t>
            </a:r>
            <a:r>
              <a:rPr lang="en-US" dirty="0">
                <a:latin typeface="Arial" panose="020B0604020202020204" pitchFamily="34" charset="0"/>
                <a:cs typeface="Arial" panose="020B0604020202020204" pitchFamily="34" charset="0"/>
              </a:rPr>
              <a:t> CAR+ viable T-cell dose</a:t>
            </a:r>
            <a:r>
              <a:rPr lang="en-US" sz="1900" dirty="0">
                <a:latin typeface="Arial" panose="020B0604020202020204" pitchFamily="34" charset="0"/>
                <a:cs typeface="Arial" panose="020B0604020202020204" pitchFamily="34" charset="0"/>
              </a:rPr>
              <a:t>; </a:t>
            </a:r>
          </a:p>
          <a:p>
            <a:pPr marL="0" indent="0">
              <a:buNone/>
            </a:pPr>
            <a:r>
              <a:rPr lang="en-US" sz="1900" dirty="0">
                <a:latin typeface="Arial" panose="020B0604020202020204" pitchFamily="34" charset="0"/>
                <a:cs typeface="Arial" panose="020B0604020202020204" pitchFamily="34" charset="0"/>
              </a:rPr>
              <a:t>Primary Endpoint: Complete response rate (CR)</a:t>
            </a:r>
          </a:p>
          <a:p>
            <a:pPr marL="0" indent="0">
              <a:buNone/>
            </a:pPr>
            <a:r>
              <a:rPr lang="en-US" sz="1900" dirty="0">
                <a:latin typeface="Arial" panose="020B0604020202020204" pitchFamily="34" charset="0"/>
                <a:cs typeface="Arial" panose="020B0604020202020204" pitchFamily="34" charset="0"/>
              </a:rPr>
              <a:t>N=63, Median age 64, HGBCL -25% Refractory – 58%; </a:t>
            </a:r>
            <a:r>
              <a:rPr lang="en-US" sz="1900" dirty="0" err="1">
                <a:latin typeface="Arial" panose="020B0604020202020204" pitchFamily="34" charset="0"/>
                <a:cs typeface="Arial" panose="020B0604020202020204" pitchFamily="34" charset="0"/>
              </a:rPr>
              <a:t>mLOT</a:t>
            </a:r>
            <a:r>
              <a:rPr lang="en-US" sz="1900" dirty="0">
                <a:latin typeface="Arial" panose="020B0604020202020204" pitchFamily="34" charset="0"/>
                <a:cs typeface="Arial" panose="020B0604020202020204" pitchFamily="34" charset="0"/>
              </a:rPr>
              <a:t>- 2, BT- 60% </a:t>
            </a:r>
          </a:p>
          <a:p>
            <a:pPr marL="0" indent="0">
              <a:buNone/>
            </a:pPr>
            <a:endParaRPr lang="en-US" sz="1900" dirty="0">
              <a:latin typeface="Arial" panose="020B0604020202020204" pitchFamily="34" charset="0"/>
              <a:cs typeface="Arial" panose="020B0604020202020204" pitchFamily="34" charset="0"/>
            </a:endParaRPr>
          </a:p>
          <a:p>
            <a:pPr marL="0" indent="0">
              <a:buNone/>
            </a:pPr>
            <a:endParaRPr lang="en-US" dirty="0"/>
          </a:p>
        </p:txBody>
      </p:sp>
      <p:sp>
        <p:nvSpPr>
          <p:cNvPr id="6" name="TextBox 5">
            <a:extLst>
              <a:ext uri="{FF2B5EF4-FFF2-40B4-BE49-F238E27FC236}">
                <a16:creationId xmlns:a16="http://schemas.microsoft.com/office/drawing/2014/main" id="{2C78CC5C-760B-2DD8-1743-242D1095A14E}"/>
              </a:ext>
            </a:extLst>
          </p:cNvPr>
          <p:cNvSpPr txBox="1"/>
          <p:nvPr/>
        </p:nvSpPr>
        <p:spPr>
          <a:xfrm>
            <a:off x="1928959" y="2935029"/>
            <a:ext cx="5143500" cy="1200329"/>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rPr>
              <a:t>                           </a:t>
            </a: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SULTS</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edian follow up 16 months</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rimary Endpoint met- ORR 88% CR 62%</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CD113B"/>
                </a:solidFill>
                <a:effectLst/>
                <a:uLnTx/>
                <a:uFillTx/>
                <a:latin typeface="Garamond" pitchFamily="18" charset="0"/>
                <a:ea typeface="+mn-ea"/>
                <a:cs typeface="+mn-cs"/>
              </a:rPr>
              <a:t>  </a:t>
            </a:r>
          </a:p>
        </p:txBody>
      </p:sp>
      <p:sp>
        <p:nvSpPr>
          <p:cNvPr id="7" name="TextBox 6">
            <a:extLst>
              <a:ext uri="{FF2B5EF4-FFF2-40B4-BE49-F238E27FC236}">
                <a16:creationId xmlns:a16="http://schemas.microsoft.com/office/drawing/2014/main" id="{400ECB63-8D41-C803-53EE-0337F88CC64A}"/>
              </a:ext>
            </a:extLst>
          </p:cNvPr>
          <p:cNvSpPr txBox="1"/>
          <p:nvPr/>
        </p:nvSpPr>
        <p:spPr>
          <a:xfrm>
            <a:off x="7492790" y="2931169"/>
            <a:ext cx="4010440" cy="2123658"/>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A10E2F"/>
                </a:solidFill>
                <a:effectLst/>
                <a:uLnTx/>
                <a:uFillTx/>
                <a:latin typeface="Garamond" pitchFamily="18" charset="0"/>
                <a:ea typeface="+mn-ea"/>
                <a:cs typeface="+mn-cs"/>
              </a:rPr>
              <a:t>               </a:t>
            </a: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FETY</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st common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ytopenias</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RS (44%)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ade ≥3 CRS (6%) and ICANS (5%)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Grade 3 HLH,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ade ≥3 infection 27%</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ade 5 – 6 patients ( 2 with PD) </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
        <p:nvSpPr>
          <p:cNvPr id="12" name="TextBox 11">
            <a:extLst>
              <a:ext uri="{FF2B5EF4-FFF2-40B4-BE49-F238E27FC236}">
                <a16:creationId xmlns:a16="http://schemas.microsoft.com/office/drawing/2014/main" id="{2FA3FDC7-3A89-414B-2A1F-87F00F969F0C}"/>
              </a:ext>
            </a:extLst>
          </p:cNvPr>
          <p:cNvSpPr txBox="1"/>
          <p:nvPr/>
        </p:nvSpPr>
        <p:spPr>
          <a:xfrm>
            <a:off x="8806593" y="6615626"/>
            <a:ext cx="1550424" cy="484748"/>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750" b="0" i="0" u="none" strike="noStrike" kern="1200" cap="none" spc="0" normalizeH="0" baseline="0" noProof="0" dirty="0" err="1">
                <a:ln>
                  <a:noFill/>
                </a:ln>
                <a:solidFill>
                  <a:prstClr val="black"/>
                </a:solidFill>
                <a:effectLst/>
                <a:uLnTx/>
                <a:uFillTx/>
                <a:latin typeface="Garamond" pitchFamily="18" charset="0"/>
                <a:ea typeface="+mn-ea"/>
                <a:cs typeface="+mn-cs"/>
              </a:rPr>
              <a:t>Reidel</a:t>
            </a:r>
            <a:r>
              <a:rPr kumimoji="0" lang="en-US" sz="750" b="0" i="0" u="none" strike="noStrike" kern="1200" cap="none" spc="0" normalizeH="0" baseline="0" noProof="0" dirty="0">
                <a:ln>
                  <a:noFill/>
                </a:ln>
                <a:solidFill>
                  <a:prstClr val="black"/>
                </a:solidFill>
                <a:effectLst/>
                <a:uLnTx/>
                <a:uFillTx/>
                <a:latin typeface="Garamond" pitchFamily="18" charset="0"/>
                <a:ea typeface="+mn-ea"/>
                <a:cs typeface="+mn-cs"/>
              </a:rPr>
              <a:t> et al ASH 2024 Abstract # 67</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
        <p:nvSpPr>
          <p:cNvPr id="8" name="TextBox 7">
            <a:extLst>
              <a:ext uri="{FF2B5EF4-FFF2-40B4-BE49-F238E27FC236}">
                <a16:creationId xmlns:a16="http://schemas.microsoft.com/office/drawing/2014/main" id="{570E4CA7-F95E-8911-5F0F-3A8EC76389E8}"/>
              </a:ext>
            </a:extLst>
          </p:cNvPr>
          <p:cNvSpPr txBox="1"/>
          <p:nvPr/>
        </p:nvSpPr>
        <p:spPr>
          <a:xfrm>
            <a:off x="4073238" y="5798705"/>
            <a:ext cx="184731"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pic>
        <p:nvPicPr>
          <p:cNvPr id="13" name="Picture 12" descr="A blue sign with white text&#10;&#10;Description automatically generated">
            <a:extLst>
              <a:ext uri="{FF2B5EF4-FFF2-40B4-BE49-F238E27FC236}">
                <a16:creationId xmlns:a16="http://schemas.microsoft.com/office/drawing/2014/main" id="{9F6E56CD-8C8F-8E45-4361-ABA4B514C0B0}"/>
              </a:ext>
            </a:extLst>
          </p:cNvPr>
          <p:cNvPicPr>
            <a:picLocks noChangeAspect="1"/>
          </p:cNvPicPr>
          <p:nvPr/>
        </p:nvPicPr>
        <p:blipFill>
          <a:blip r:embed="rId2"/>
          <a:stretch>
            <a:fillRect/>
          </a:stretch>
        </p:blipFill>
        <p:spPr>
          <a:xfrm>
            <a:off x="3009710" y="662678"/>
            <a:ext cx="5350519" cy="662538"/>
          </a:xfrm>
          <a:prstGeom prst="rect">
            <a:avLst/>
          </a:prstGeom>
        </p:spPr>
      </p:pic>
      <p:pic>
        <p:nvPicPr>
          <p:cNvPr id="15" name="Picture 14" descr="A graph and a diagram&#10;&#10;Description automatically generated with medium confidence">
            <a:extLst>
              <a:ext uri="{FF2B5EF4-FFF2-40B4-BE49-F238E27FC236}">
                <a16:creationId xmlns:a16="http://schemas.microsoft.com/office/drawing/2014/main" id="{E6978CB2-DAA3-83AC-09B7-18AED0121978}"/>
              </a:ext>
            </a:extLst>
          </p:cNvPr>
          <p:cNvPicPr>
            <a:picLocks noChangeAspect="1"/>
          </p:cNvPicPr>
          <p:nvPr/>
        </p:nvPicPr>
        <p:blipFill>
          <a:blip r:embed="rId3"/>
          <a:srcRect t="4578"/>
          <a:stretch>
            <a:fillRect/>
          </a:stretch>
        </p:blipFill>
        <p:spPr>
          <a:xfrm>
            <a:off x="688770" y="4135358"/>
            <a:ext cx="6378660" cy="2261380"/>
          </a:xfrm>
          <a:prstGeom prst="rect">
            <a:avLst/>
          </a:prstGeom>
        </p:spPr>
      </p:pic>
      <p:sp>
        <p:nvSpPr>
          <p:cNvPr id="16" name="TextBox 15">
            <a:extLst>
              <a:ext uri="{FF2B5EF4-FFF2-40B4-BE49-F238E27FC236}">
                <a16:creationId xmlns:a16="http://schemas.microsoft.com/office/drawing/2014/main" id="{2C680337-A27D-06AD-CABD-4AE8D81AACAC}"/>
              </a:ext>
            </a:extLst>
          </p:cNvPr>
          <p:cNvSpPr txBox="1"/>
          <p:nvPr/>
        </p:nvSpPr>
        <p:spPr>
          <a:xfrm>
            <a:off x="7316346" y="5229319"/>
            <a:ext cx="4186884" cy="1354217"/>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 doses of LD chemo tested</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ower dose n=28 Fly/Cy 25/250</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igher dose n=33 Flu/Cy 30/500</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isk-benefit analyses support lower-dose</a:t>
            </a:r>
          </a:p>
        </p:txBody>
      </p:sp>
    </p:spTree>
    <p:extLst>
      <p:ext uri="{BB962C8B-B14F-4D97-AF65-F5344CB8AC3E}">
        <p14:creationId xmlns:p14="http://schemas.microsoft.com/office/powerpoint/2010/main" val="32485464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7E527F-1C1F-990F-BED0-9FCE0462A536}"/>
              </a:ext>
            </a:extLst>
          </p:cNvPr>
          <p:cNvSpPr>
            <a:spLocks noGrp="1"/>
          </p:cNvSpPr>
          <p:nvPr>
            <p:ph type="title"/>
          </p:nvPr>
        </p:nvSpPr>
        <p:spPr>
          <a:xfrm>
            <a:off x="1634256" y="109960"/>
            <a:ext cx="8923488" cy="1044931"/>
          </a:xfrm>
        </p:spPr>
        <p:txBody>
          <a:bodyPr>
            <a:noAutofit/>
          </a:bodyPr>
          <a:lstStyle/>
          <a:p>
            <a:r>
              <a:rPr lang="en-US" sz="2400" dirty="0" err="1">
                <a:latin typeface="Arial" panose="020B0604020202020204" pitchFamily="34" charset="0"/>
                <a:cs typeface="Arial" panose="020B0604020202020204" pitchFamily="34" charset="0"/>
              </a:rPr>
              <a:t>Rapcabtagene</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Autoleucel</a:t>
            </a:r>
            <a:r>
              <a:rPr lang="en-US" sz="2400" dirty="0">
                <a:latin typeface="Arial" panose="020B0604020202020204" pitchFamily="34" charset="0"/>
                <a:cs typeface="Arial" panose="020B0604020202020204" pitchFamily="34" charset="0"/>
              </a:rPr>
              <a:t> (YTB323) for Patients With First Line High-Risk Large B-Cell Lymphoma: Phase 2 Interim Results</a:t>
            </a:r>
            <a:br>
              <a:rPr lang="en-US" sz="2400" dirty="0"/>
            </a:br>
            <a:endParaRPr lang="en-US" sz="2400" dirty="0"/>
          </a:p>
        </p:txBody>
      </p:sp>
      <p:pic>
        <p:nvPicPr>
          <p:cNvPr id="5" name="Content Placeholder 4" descr="A blue and white diagram with text&#10;&#10;AI-generated content may be incorrect.">
            <a:extLst>
              <a:ext uri="{FF2B5EF4-FFF2-40B4-BE49-F238E27FC236}">
                <a16:creationId xmlns:a16="http://schemas.microsoft.com/office/drawing/2014/main" id="{B494BFDE-2BAF-BEC8-3DCA-3AACDC37AB01}"/>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1139987" y="962475"/>
            <a:ext cx="6140046" cy="3091788"/>
          </a:xfrm>
          <a:prstGeom prst="rect">
            <a:avLst/>
          </a:prstGeom>
        </p:spPr>
      </p:pic>
      <p:sp>
        <p:nvSpPr>
          <p:cNvPr id="6" name="TextBox 5">
            <a:extLst>
              <a:ext uri="{FF2B5EF4-FFF2-40B4-BE49-F238E27FC236}">
                <a16:creationId xmlns:a16="http://schemas.microsoft.com/office/drawing/2014/main" id="{9E353B18-1FBC-2114-82EF-0E8062604842}"/>
              </a:ext>
            </a:extLst>
          </p:cNvPr>
          <p:cNvSpPr txBox="1"/>
          <p:nvPr/>
        </p:nvSpPr>
        <p:spPr>
          <a:xfrm>
            <a:off x="3757915" y="1134319"/>
            <a:ext cx="742511"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53</a:t>
            </a:r>
          </a:p>
        </p:txBody>
      </p:sp>
      <p:pic>
        <p:nvPicPr>
          <p:cNvPr id="8" name="Picture 7" descr="A close-up of a graph&#10;&#10;AI-generated content may be incorrect.">
            <a:extLst>
              <a:ext uri="{FF2B5EF4-FFF2-40B4-BE49-F238E27FC236}">
                <a16:creationId xmlns:a16="http://schemas.microsoft.com/office/drawing/2014/main" id="{3D618D7F-1A6C-F863-E467-E16535511B06}"/>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1022758" y="4032737"/>
            <a:ext cx="4806460" cy="2440286"/>
          </a:xfrm>
          <a:prstGeom prst="rect">
            <a:avLst/>
          </a:prstGeom>
        </p:spPr>
      </p:pic>
      <p:pic>
        <p:nvPicPr>
          <p:cNvPr id="10" name="Picture 9" descr="A blue and white table with numbers and text&#10;&#10;AI-generated content may be incorrect.">
            <a:extLst>
              <a:ext uri="{FF2B5EF4-FFF2-40B4-BE49-F238E27FC236}">
                <a16:creationId xmlns:a16="http://schemas.microsoft.com/office/drawing/2014/main" id="{9D6074F2-E6DB-9C78-B5CF-0A16FC086C24}"/>
              </a:ext>
            </a:extLst>
          </p:cNvPr>
          <p:cNvPicPr>
            <a:picLocks noChangeAspect="1"/>
          </p:cNvPicPr>
          <p:nvPr/>
        </p:nvPicPr>
        <p:blipFill>
          <a:blip r:embed="rId6"/>
          <a:stretch>
            <a:fillRect/>
          </a:stretch>
        </p:blipFill>
        <p:spPr>
          <a:xfrm>
            <a:off x="5720863" y="4054263"/>
            <a:ext cx="5085682" cy="2693779"/>
          </a:xfrm>
          <a:prstGeom prst="rect">
            <a:avLst/>
          </a:prstGeom>
        </p:spPr>
      </p:pic>
      <p:sp>
        <p:nvSpPr>
          <p:cNvPr id="11" name="TextBox 10">
            <a:extLst>
              <a:ext uri="{FF2B5EF4-FFF2-40B4-BE49-F238E27FC236}">
                <a16:creationId xmlns:a16="http://schemas.microsoft.com/office/drawing/2014/main" id="{730A7FB1-CFF3-8CB8-4C88-6BAD3AA19E32}"/>
              </a:ext>
            </a:extLst>
          </p:cNvPr>
          <p:cNvSpPr txBox="1"/>
          <p:nvPr/>
        </p:nvSpPr>
        <p:spPr>
          <a:xfrm>
            <a:off x="7397262" y="1162652"/>
            <a:ext cx="3654751" cy="286232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A10E2F"/>
                </a:solidFill>
                <a:effectLst/>
                <a:uLnTx/>
                <a:uFillTx/>
                <a:latin typeface="Garamond" pitchFamily="18" charset="0"/>
                <a:ea typeface="+mn-ea"/>
                <a:cs typeface="+mn-cs"/>
              </a:rPr>
              <a:t>               </a:t>
            </a: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FETY</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st common cytopenias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8% low grade CRS</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grade ≥3 CRS events</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time to onset of CRS</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 days</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 ICANS, 2% Grade 3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time to onset 17 days </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
        <p:nvSpPr>
          <p:cNvPr id="3" name="TextBox 2">
            <a:extLst>
              <a:ext uri="{FF2B5EF4-FFF2-40B4-BE49-F238E27FC236}">
                <a16:creationId xmlns:a16="http://schemas.microsoft.com/office/drawing/2014/main" id="{282D3EAE-52C1-E1B4-42F0-83A049875B12}"/>
              </a:ext>
            </a:extLst>
          </p:cNvPr>
          <p:cNvSpPr txBox="1"/>
          <p:nvPr/>
        </p:nvSpPr>
        <p:spPr>
          <a:xfrm>
            <a:off x="8440616" y="6550224"/>
            <a:ext cx="2024593" cy="307777"/>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estin et al ASH 2025 </a:t>
            </a:r>
          </a:p>
        </p:txBody>
      </p:sp>
    </p:spTree>
    <p:extLst>
      <p:ext uri="{BB962C8B-B14F-4D97-AF65-F5344CB8AC3E}">
        <p14:creationId xmlns:p14="http://schemas.microsoft.com/office/powerpoint/2010/main" val="39365006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1"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FE519A-70ED-16CC-945F-0C446B93FCE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4745894-31E6-143E-5654-EB25C91355EF}"/>
              </a:ext>
            </a:extLst>
          </p:cNvPr>
          <p:cNvSpPr>
            <a:spLocks noGrp="1"/>
          </p:cNvSpPr>
          <p:nvPr>
            <p:ph type="title"/>
          </p:nvPr>
        </p:nvSpPr>
        <p:spPr>
          <a:xfrm>
            <a:off x="1052945" y="235413"/>
            <a:ext cx="10086110" cy="942822"/>
          </a:xfrm>
        </p:spPr>
        <p:txBody>
          <a:bodyPr>
            <a:normAutofit/>
          </a:bodyPr>
          <a:lstStyle/>
          <a:p>
            <a:pPr algn="ctr"/>
            <a:r>
              <a:rPr lang="en-US" sz="2400" dirty="0">
                <a:latin typeface="Arial" panose="020B0604020202020204" pitchFamily="34" charset="0"/>
                <a:cs typeface="Arial" panose="020B0604020202020204" pitchFamily="34" charset="0"/>
              </a:rPr>
              <a:t>Beyond CD19: Early Clinical Signals with CD19/CD20 CAR-T Constructs</a:t>
            </a:r>
          </a:p>
        </p:txBody>
      </p:sp>
      <p:sp>
        <p:nvSpPr>
          <p:cNvPr id="3" name="TextBox 2">
            <a:extLst>
              <a:ext uri="{FF2B5EF4-FFF2-40B4-BE49-F238E27FC236}">
                <a16:creationId xmlns:a16="http://schemas.microsoft.com/office/drawing/2014/main" id="{D1CDF700-CB55-1981-6325-06B33A7CDC89}"/>
              </a:ext>
            </a:extLst>
          </p:cNvPr>
          <p:cNvSpPr txBox="1"/>
          <p:nvPr/>
        </p:nvSpPr>
        <p:spPr>
          <a:xfrm>
            <a:off x="7905706" y="6492874"/>
            <a:ext cx="2762295" cy="338554"/>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Kamdar/Bartlett Blood 2026 </a:t>
            </a:r>
          </a:p>
        </p:txBody>
      </p:sp>
      <p:sp>
        <p:nvSpPr>
          <p:cNvPr id="4" name="TextBox 3">
            <a:extLst>
              <a:ext uri="{FF2B5EF4-FFF2-40B4-BE49-F238E27FC236}">
                <a16:creationId xmlns:a16="http://schemas.microsoft.com/office/drawing/2014/main" id="{E5C9625D-5944-F922-1D01-3DA60EB19F8E}"/>
              </a:ext>
            </a:extLst>
          </p:cNvPr>
          <p:cNvSpPr txBox="1"/>
          <p:nvPr/>
        </p:nvSpPr>
        <p:spPr>
          <a:xfrm>
            <a:off x="990439" y="5064152"/>
            <a:ext cx="9911110" cy="707886"/>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Next Wave of Trials – ENROLLING NOW!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hase III RCTs comparing SOC CD19 CARs VERSUS CD19/20 CARs in 2L DBCL</a:t>
            </a:r>
          </a:p>
        </p:txBody>
      </p:sp>
      <p:graphicFrame>
        <p:nvGraphicFramePr>
          <p:cNvPr id="5" name="Table 4">
            <a:extLst>
              <a:ext uri="{FF2B5EF4-FFF2-40B4-BE49-F238E27FC236}">
                <a16:creationId xmlns:a16="http://schemas.microsoft.com/office/drawing/2014/main" id="{AAF7B1EB-C110-423E-A1EB-837F30ED49FD}"/>
              </a:ext>
            </a:extLst>
          </p:cNvPr>
          <p:cNvGraphicFramePr>
            <a:graphicFrameLocks noGrp="1"/>
          </p:cNvGraphicFramePr>
          <p:nvPr/>
        </p:nvGraphicFramePr>
        <p:xfrm>
          <a:off x="581891" y="1591294"/>
          <a:ext cx="11115303" cy="3380427"/>
        </p:xfrm>
        <a:graphic>
          <a:graphicData uri="http://schemas.openxmlformats.org/drawingml/2006/table">
            <a:tbl>
              <a:tblPr firstRow="1" bandRow="1">
                <a:tableStyleId>{5C22544A-7EE6-4342-B048-85BDC9FD1C3A}</a:tableStyleId>
              </a:tblPr>
              <a:tblGrid>
                <a:gridCol w="1294410">
                  <a:extLst>
                    <a:ext uri="{9D8B030D-6E8A-4147-A177-3AD203B41FA5}">
                      <a16:colId xmlns:a16="http://schemas.microsoft.com/office/drawing/2014/main" val="20000"/>
                    </a:ext>
                  </a:extLst>
                </a:gridCol>
                <a:gridCol w="736270">
                  <a:extLst>
                    <a:ext uri="{9D8B030D-6E8A-4147-A177-3AD203B41FA5}">
                      <a16:colId xmlns:a16="http://schemas.microsoft.com/office/drawing/2014/main" val="20001"/>
                    </a:ext>
                  </a:extLst>
                </a:gridCol>
                <a:gridCol w="878774">
                  <a:extLst>
                    <a:ext uri="{9D8B030D-6E8A-4147-A177-3AD203B41FA5}">
                      <a16:colId xmlns:a16="http://schemas.microsoft.com/office/drawing/2014/main" val="20002"/>
                    </a:ext>
                  </a:extLst>
                </a:gridCol>
                <a:gridCol w="2173185">
                  <a:extLst>
                    <a:ext uri="{9D8B030D-6E8A-4147-A177-3AD203B41FA5}">
                      <a16:colId xmlns:a16="http://schemas.microsoft.com/office/drawing/2014/main" val="20003"/>
                    </a:ext>
                  </a:extLst>
                </a:gridCol>
                <a:gridCol w="1190598">
                  <a:extLst>
                    <a:ext uri="{9D8B030D-6E8A-4147-A177-3AD203B41FA5}">
                      <a16:colId xmlns:a16="http://schemas.microsoft.com/office/drawing/2014/main" val="20004"/>
                    </a:ext>
                  </a:extLst>
                </a:gridCol>
                <a:gridCol w="887586">
                  <a:extLst>
                    <a:ext uri="{9D8B030D-6E8A-4147-A177-3AD203B41FA5}">
                      <a16:colId xmlns:a16="http://schemas.microsoft.com/office/drawing/2014/main" val="20005"/>
                    </a:ext>
                  </a:extLst>
                </a:gridCol>
                <a:gridCol w="614067">
                  <a:extLst>
                    <a:ext uri="{9D8B030D-6E8A-4147-A177-3AD203B41FA5}">
                      <a16:colId xmlns:a16="http://schemas.microsoft.com/office/drawing/2014/main" val="20006"/>
                    </a:ext>
                  </a:extLst>
                </a:gridCol>
                <a:gridCol w="566950">
                  <a:extLst>
                    <a:ext uri="{9D8B030D-6E8A-4147-A177-3AD203B41FA5}">
                      <a16:colId xmlns:a16="http://schemas.microsoft.com/office/drawing/2014/main" val="20007"/>
                    </a:ext>
                  </a:extLst>
                </a:gridCol>
                <a:gridCol w="781473">
                  <a:extLst>
                    <a:ext uri="{9D8B030D-6E8A-4147-A177-3AD203B41FA5}">
                      <a16:colId xmlns:a16="http://schemas.microsoft.com/office/drawing/2014/main" val="20008"/>
                    </a:ext>
                  </a:extLst>
                </a:gridCol>
                <a:gridCol w="1991990">
                  <a:extLst>
                    <a:ext uri="{9D8B030D-6E8A-4147-A177-3AD203B41FA5}">
                      <a16:colId xmlns:a16="http://schemas.microsoft.com/office/drawing/2014/main" val="20009"/>
                    </a:ext>
                  </a:extLst>
                </a:gridCol>
              </a:tblGrid>
              <a:tr h="534172">
                <a:tc>
                  <a:txBody>
                    <a:bodyPr/>
                    <a:lstStyle/>
                    <a:p>
                      <a:pPr>
                        <a:defRPr sz="1000" b="1"/>
                      </a:pPr>
                      <a:r>
                        <a:rPr sz="1200" dirty="0">
                          <a:latin typeface="Arial" panose="020B0604020202020204" pitchFamily="34" charset="0"/>
                          <a:cs typeface="Arial" panose="020B0604020202020204" pitchFamily="34" charset="0"/>
                        </a:rPr>
                        <a:t>Trial (NCT)</a:t>
                      </a:r>
                    </a:p>
                  </a:txBody>
                  <a:tcPr anchor="b"/>
                </a:tc>
                <a:tc>
                  <a:txBody>
                    <a:bodyPr/>
                    <a:lstStyle/>
                    <a:p>
                      <a:pPr algn="ctr">
                        <a:defRPr sz="1000" b="1"/>
                      </a:pPr>
                      <a:r>
                        <a:rPr sz="1200" dirty="0">
                          <a:latin typeface="Arial" panose="020B0604020202020204" pitchFamily="34" charset="0"/>
                          <a:cs typeface="Arial" panose="020B0604020202020204" pitchFamily="34" charset="0"/>
                        </a:rPr>
                        <a:t>Phase</a:t>
                      </a:r>
                    </a:p>
                  </a:txBody>
                  <a:tcPr anchor="b"/>
                </a:tc>
                <a:tc>
                  <a:txBody>
                    <a:bodyPr/>
                    <a:lstStyle/>
                    <a:p>
                      <a:pPr algn="ctr">
                        <a:defRPr sz="1000" b="1"/>
                      </a:pPr>
                      <a:r>
                        <a:rPr sz="1200" dirty="0">
                          <a:latin typeface="Arial" panose="020B0604020202020204" pitchFamily="34" charset="0"/>
                          <a:cs typeface="Arial" panose="020B0604020202020204" pitchFamily="34" charset="0"/>
                        </a:rPr>
                        <a:t>N</a:t>
                      </a:r>
                    </a:p>
                  </a:txBody>
                  <a:tcPr anchor="b"/>
                </a:tc>
                <a:tc>
                  <a:txBody>
                    <a:bodyPr/>
                    <a:lstStyle/>
                    <a:p>
                      <a:pPr algn="ctr">
                        <a:defRPr sz="1000" b="1"/>
                      </a:pPr>
                      <a:r>
                        <a:rPr sz="1200" dirty="0">
                          <a:latin typeface="Arial" panose="020B0604020202020204" pitchFamily="34" charset="0"/>
                          <a:cs typeface="Arial" panose="020B0604020202020204" pitchFamily="34" charset="0"/>
                        </a:rPr>
                        <a:t>Method (regimen/duration)</a:t>
                      </a:r>
                    </a:p>
                  </a:txBody>
                  <a:tcPr anchor="b"/>
                </a:tc>
                <a:tc>
                  <a:txBody>
                    <a:bodyPr/>
                    <a:lstStyle/>
                    <a:p>
                      <a:pPr algn="ctr">
                        <a:defRPr sz="1000" b="1"/>
                      </a:pPr>
                      <a:r>
                        <a:rPr sz="1200" dirty="0">
                          <a:latin typeface="Arial" panose="020B0604020202020204" pitchFamily="34" charset="0"/>
                          <a:cs typeface="Arial" panose="020B0604020202020204" pitchFamily="34" charset="0"/>
                        </a:rPr>
                        <a:t>Primary Endpoint</a:t>
                      </a:r>
                    </a:p>
                  </a:txBody>
                  <a:tcPr anchor="b"/>
                </a:tc>
                <a:tc>
                  <a:txBody>
                    <a:bodyPr/>
                    <a:lstStyle/>
                    <a:p>
                      <a:pPr algn="ctr">
                        <a:defRPr sz="1000" b="1"/>
                      </a:pPr>
                      <a:r>
                        <a:rPr sz="1200" dirty="0">
                          <a:latin typeface="Arial" panose="020B0604020202020204" pitchFamily="34" charset="0"/>
                          <a:cs typeface="Arial" panose="020B0604020202020204" pitchFamily="34" charset="0"/>
                        </a:rPr>
                        <a:t>Median Follow-Up</a:t>
                      </a:r>
                    </a:p>
                  </a:txBody>
                  <a:tcPr anchor="b"/>
                </a:tc>
                <a:tc>
                  <a:txBody>
                    <a:bodyPr/>
                    <a:lstStyle/>
                    <a:p>
                      <a:pPr algn="ctr">
                        <a:defRPr sz="1000" b="1"/>
                      </a:pPr>
                      <a:r>
                        <a:rPr sz="1200" dirty="0">
                          <a:latin typeface="Arial" panose="020B0604020202020204" pitchFamily="34" charset="0"/>
                          <a:cs typeface="Arial" panose="020B0604020202020204" pitchFamily="34" charset="0"/>
                        </a:rPr>
                        <a:t>ORR</a:t>
                      </a:r>
                    </a:p>
                  </a:txBody>
                  <a:tcPr anchor="b"/>
                </a:tc>
                <a:tc>
                  <a:txBody>
                    <a:bodyPr/>
                    <a:lstStyle/>
                    <a:p>
                      <a:pPr algn="ctr">
                        <a:defRPr sz="1000" b="1"/>
                      </a:pPr>
                      <a:r>
                        <a:rPr sz="1200" dirty="0">
                          <a:latin typeface="Arial" panose="020B0604020202020204" pitchFamily="34" charset="0"/>
                          <a:cs typeface="Arial" panose="020B0604020202020204" pitchFamily="34" charset="0"/>
                        </a:rPr>
                        <a:t>CR</a:t>
                      </a:r>
                    </a:p>
                  </a:txBody>
                  <a:tcPr anchor="b"/>
                </a:tc>
                <a:tc>
                  <a:txBody>
                    <a:bodyPr/>
                    <a:lstStyle/>
                    <a:p>
                      <a:pPr algn="ctr">
                        <a:defRPr sz="1000" b="1"/>
                      </a:pPr>
                      <a:r>
                        <a:rPr sz="1200" dirty="0">
                          <a:latin typeface="Arial" panose="020B0604020202020204" pitchFamily="34" charset="0"/>
                          <a:cs typeface="Arial" panose="020B0604020202020204" pitchFamily="34" charset="0"/>
                        </a:rPr>
                        <a:t>Median PFS</a:t>
                      </a:r>
                    </a:p>
                  </a:txBody>
                  <a:tcPr anchor="b"/>
                </a:tc>
                <a:tc>
                  <a:txBody>
                    <a:bodyPr/>
                    <a:lstStyle/>
                    <a:p>
                      <a:pPr algn="ctr">
                        <a:defRPr sz="1000" b="1"/>
                      </a:pPr>
                      <a:r>
                        <a:rPr sz="1200" dirty="0">
                          <a:latin typeface="Arial" panose="020B0604020202020204" pitchFamily="34" charset="0"/>
                          <a:cs typeface="Arial" panose="020B0604020202020204" pitchFamily="34" charset="0"/>
                        </a:rPr>
                        <a:t>Key ≥G3 toxicities / safety notes</a:t>
                      </a:r>
                    </a:p>
                  </a:txBody>
                  <a:tcPr anchor="b"/>
                </a:tc>
                <a:extLst>
                  <a:ext uri="{0D108BD9-81ED-4DB2-BD59-A6C34878D82A}">
                    <a16:rowId xmlns:a16="http://schemas.microsoft.com/office/drawing/2014/main" val="10000"/>
                  </a:ext>
                </a:extLst>
              </a:tr>
              <a:tr h="913449">
                <a:tc>
                  <a:txBody>
                    <a:bodyPr/>
                    <a:lstStyle/>
                    <a:p>
                      <a:pPr>
                        <a:defRPr sz="900"/>
                      </a:pPr>
                      <a:r>
                        <a:rPr sz="1200" b="1" dirty="0">
                          <a:latin typeface="Arial" panose="020B0604020202020204" pitchFamily="34" charset="0"/>
                          <a:cs typeface="Arial" panose="020B0604020202020204" pitchFamily="34" charset="0"/>
                        </a:rPr>
                        <a:t>LYL314 / IMPT-314</a:t>
                      </a:r>
                    </a:p>
                    <a:p>
                      <a:pPr>
                        <a:defRPr sz="900"/>
                      </a:pPr>
                      <a:r>
                        <a:rPr sz="1200" dirty="0">
                          <a:latin typeface="Arial" panose="020B0604020202020204" pitchFamily="34" charset="0"/>
                          <a:cs typeface="Arial" panose="020B0604020202020204" pitchFamily="34" charset="0"/>
                        </a:rPr>
                        <a:t>(NCT05826535)</a:t>
                      </a:r>
                    </a:p>
                  </a:txBody>
                  <a:tcPr anchor="ctr"/>
                </a:tc>
                <a:tc>
                  <a:txBody>
                    <a:bodyPr/>
                    <a:lstStyle/>
                    <a:p>
                      <a:pPr algn="ctr">
                        <a:defRPr sz="900"/>
                      </a:pPr>
                      <a:r>
                        <a:rPr sz="1200" dirty="0"/>
                        <a:t>1/2</a:t>
                      </a:r>
                    </a:p>
                  </a:txBody>
                  <a:tcPr anchor="ctr"/>
                </a:tc>
                <a:tc>
                  <a:txBody>
                    <a:bodyPr/>
                    <a:lstStyle/>
                    <a:p>
                      <a:pPr algn="ctr">
                        <a:defRPr sz="900"/>
                      </a:pPr>
                      <a:r>
                        <a:rPr sz="1200" dirty="0"/>
                        <a:t>45,</a:t>
                      </a:r>
                    </a:p>
                    <a:p>
                      <a:pPr algn="ctr">
                        <a:defRPr sz="900"/>
                      </a:pPr>
                      <a:r>
                        <a:rPr sz="1200" dirty="0"/>
                        <a:t>31 eval</a:t>
                      </a:r>
                    </a:p>
                  </a:txBody>
                  <a:tcPr anchor="ctr"/>
                </a:tc>
                <a:tc>
                  <a:txBody>
                    <a:bodyPr/>
                    <a:lstStyle/>
                    <a:p>
                      <a:pPr algn="ctr">
                        <a:defRPr sz="900"/>
                      </a:pPr>
                      <a:r>
                        <a:rPr sz="1200" dirty="0"/>
                        <a:t>Dual CD19×CD20 CAR-T;</a:t>
                      </a:r>
                    </a:p>
                    <a:p>
                      <a:pPr algn="ctr">
                        <a:defRPr sz="900"/>
                      </a:pPr>
                      <a:r>
                        <a:rPr sz="1200" dirty="0"/>
                        <a:t>CD62L+ enriched product;</a:t>
                      </a:r>
                    </a:p>
                    <a:p>
                      <a:pPr algn="ctr">
                        <a:defRPr sz="900"/>
                      </a:pPr>
                      <a:r>
                        <a:rPr sz="1200" dirty="0"/>
                        <a:t>single infusion</a:t>
                      </a:r>
                    </a:p>
                  </a:txBody>
                  <a:tcPr anchor="ctr"/>
                </a:tc>
                <a:tc>
                  <a:txBody>
                    <a:bodyPr/>
                    <a:lstStyle/>
                    <a:p>
                      <a:pPr algn="ctr">
                        <a:defRPr sz="900"/>
                      </a:pPr>
                      <a:r>
                        <a:rPr sz="1200" dirty="0"/>
                        <a:t>Safety/</a:t>
                      </a:r>
                      <a:endParaRPr lang="en-US" sz="1200" dirty="0"/>
                    </a:p>
                    <a:p>
                      <a:pPr algn="ctr">
                        <a:defRPr sz="900"/>
                      </a:pPr>
                      <a:r>
                        <a:rPr sz="1200" dirty="0"/>
                        <a:t>tolerability</a:t>
                      </a:r>
                    </a:p>
                  </a:txBody>
                  <a:tcPr anchor="ctr"/>
                </a:tc>
                <a:tc>
                  <a:txBody>
                    <a:bodyPr/>
                    <a:lstStyle/>
                    <a:p>
                      <a:pPr algn="ctr">
                        <a:defRPr sz="900"/>
                      </a:pPr>
                      <a:r>
                        <a:rPr sz="1200"/>
                        <a:t>9 mos.</a:t>
                      </a:r>
                    </a:p>
                  </a:txBody>
                  <a:tcPr anchor="ctr"/>
                </a:tc>
                <a:tc>
                  <a:txBody>
                    <a:bodyPr/>
                    <a:lstStyle/>
                    <a:p>
                      <a:pPr algn="ctr">
                        <a:defRPr sz="900"/>
                      </a:pPr>
                      <a:r>
                        <a:rPr sz="1200" b="1" dirty="0"/>
                        <a:t>94%</a:t>
                      </a:r>
                    </a:p>
                  </a:txBody>
                  <a:tcPr anchor="ctr"/>
                </a:tc>
                <a:tc>
                  <a:txBody>
                    <a:bodyPr/>
                    <a:lstStyle/>
                    <a:p>
                      <a:pPr algn="ctr">
                        <a:defRPr sz="900"/>
                      </a:pPr>
                      <a:r>
                        <a:rPr sz="1200" b="1"/>
                        <a:t>74%</a:t>
                      </a:r>
                    </a:p>
                  </a:txBody>
                  <a:tcPr anchor="ctr"/>
                </a:tc>
                <a:tc>
                  <a:txBody>
                    <a:bodyPr/>
                    <a:lstStyle/>
                    <a:p>
                      <a:pPr algn="ctr">
                        <a:defRPr sz="900"/>
                      </a:pPr>
                      <a:r>
                        <a:rPr sz="1200"/>
                        <a:t>NR</a:t>
                      </a:r>
                    </a:p>
                  </a:txBody>
                  <a:tcPr anchor="ctr"/>
                </a:tc>
                <a:tc>
                  <a:txBody>
                    <a:bodyPr/>
                    <a:lstStyle/>
                    <a:p>
                      <a:pPr algn="ctr">
                        <a:defRPr sz="900"/>
                      </a:pPr>
                      <a:r>
                        <a:rPr sz="1200"/>
                        <a:t>CRS 62% (mostly low grade),</a:t>
                      </a:r>
                    </a:p>
                    <a:p>
                      <a:pPr algn="ctr">
                        <a:defRPr sz="900"/>
                      </a:pPr>
                      <a:r>
                        <a:rPr sz="1200"/>
                        <a:t>ICANS ≥G3 13%, infections 13%</a:t>
                      </a:r>
                    </a:p>
                  </a:txBody>
                  <a:tcPr anchor="ctr"/>
                </a:tc>
                <a:extLst>
                  <a:ext uri="{0D108BD9-81ED-4DB2-BD59-A6C34878D82A}">
                    <a16:rowId xmlns:a16="http://schemas.microsoft.com/office/drawing/2014/main" val="10001"/>
                  </a:ext>
                </a:extLst>
              </a:tr>
              <a:tr h="913449">
                <a:tc>
                  <a:txBody>
                    <a:bodyPr/>
                    <a:lstStyle/>
                    <a:p>
                      <a:pPr>
                        <a:defRPr sz="900"/>
                      </a:pPr>
                      <a:r>
                        <a:rPr sz="1200" b="1" dirty="0">
                          <a:latin typeface="Arial" panose="020B0604020202020204" pitchFamily="34" charset="0"/>
                          <a:cs typeface="Arial" panose="020B0604020202020204" pitchFamily="34" charset="0"/>
                        </a:rPr>
                        <a:t>KITE-363</a:t>
                      </a:r>
                    </a:p>
                    <a:p>
                      <a:pPr>
                        <a:defRPr sz="900"/>
                      </a:pPr>
                      <a:r>
                        <a:rPr sz="1200" dirty="0">
                          <a:latin typeface="Arial" panose="020B0604020202020204" pitchFamily="34" charset="0"/>
                          <a:cs typeface="Arial" panose="020B0604020202020204" pitchFamily="34" charset="0"/>
                        </a:rPr>
                        <a:t>(NCT04989803)</a:t>
                      </a:r>
                    </a:p>
                  </a:txBody>
                  <a:tcPr anchor="ctr"/>
                </a:tc>
                <a:tc>
                  <a:txBody>
                    <a:bodyPr/>
                    <a:lstStyle/>
                    <a:p>
                      <a:pPr algn="ctr">
                        <a:defRPr sz="900"/>
                      </a:pPr>
                      <a:r>
                        <a:rPr sz="1200"/>
                        <a:t>1</a:t>
                      </a:r>
                    </a:p>
                  </a:txBody>
                  <a:tcPr anchor="ctr"/>
                </a:tc>
                <a:tc>
                  <a:txBody>
                    <a:bodyPr/>
                    <a:lstStyle/>
                    <a:p>
                      <a:pPr algn="ctr">
                        <a:defRPr sz="900"/>
                      </a:pPr>
                      <a:r>
                        <a:rPr sz="1200"/>
                        <a:t>34</a:t>
                      </a:r>
                    </a:p>
                  </a:txBody>
                  <a:tcPr anchor="ctr"/>
                </a:tc>
                <a:tc>
                  <a:txBody>
                    <a:bodyPr/>
                    <a:lstStyle/>
                    <a:p>
                      <a:pPr algn="ctr">
                        <a:defRPr sz="900"/>
                      </a:pPr>
                      <a:r>
                        <a:rPr sz="1200" dirty="0"/>
                        <a:t>Bicistronic CD19/CD20 </a:t>
                      </a:r>
                      <a:br>
                        <a:rPr lang="en-US" sz="1200" dirty="0"/>
                      </a:br>
                      <a:r>
                        <a:rPr sz="1200" dirty="0"/>
                        <a:t>CAR-T;</a:t>
                      </a:r>
                    </a:p>
                    <a:p>
                      <a:pPr algn="ctr">
                        <a:defRPr sz="900"/>
                      </a:pPr>
                      <a:r>
                        <a:rPr sz="1200" dirty="0"/>
                        <a:t>single infusion</a:t>
                      </a:r>
                    </a:p>
                  </a:txBody>
                  <a:tcPr anchor="ctr"/>
                </a:tc>
                <a:tc>
                  <a:txBody>
                    <a:bodyPr/>
                    <a:lstStyle/>
                    <a:p>
                      <a:pPr algn="ctr">
                        <a:defRPr sz="900"/>
                      </a:pPr>
                      <a:r>
                        <a:rPr sz="1200" dirty="0"/>
                        <a:t>Toxicities and ORR</a:t>
                      </a:r>
                    </a:p>
                  </a:txBody>
                  <a:tcPr anchor="ctr"/>
                </a:tc>
                <a:tc>
                  <a:txBody>
                    <a:bodyPr/>
                    <a:lstStyle/>
                    <a:p>
                      <a:pPr algn="ctr">
                        <a:defRPr sz="900"/>
                      </a:pPr>
                      <a:r>
                        <a:rPr sz="1200"/>
                        <a:t>7.3 mos.</a:t>
                      </a:r>
                    </a:p>
                  </a:txBody>
                  <a:tcPr anchor="ctr"/>
                </a:tc>
                <a:tc>
                  <a:txBody>
                    <a:bodyPr/>
                    <a:lstStyle/>
                    <a:p>
                      <a:pPr algn="ctr">
                        <a:defRPr sz="900"/>
                      </a:pPr>
                      <a:r>
                        <a:rPr sz="1200" b="1" dirty="0"/>
                        <a:t>87%</a:t>
                      </a:r>
                    </a:p>
                  </a:txBody>
                  <a:tcPr anchor="ctr"/>
                </a:tc>
                <a:tc>
                  <a:txBody>
                    <a:bodyPr/>
                    <a:lstStyle/>
                    <a:p>
                      <a:pPr algn="ctr">
                        <a:defRPr sz="900"/>
                      </a:pPr>
                      <a:r>
                        <a:rPr sz="1200" b="1" dirty="0"/>
                        <a:t>78%</a:t>
                      </a:r>
                    </a:p>
                  </a:txBody>
                  <a:tcPr anchor="ctr"/>
                </a:tc>
                <a:tc>
                  <a:txBody>
                    <a:bodyPr/>
                    <a:lstStyle/>
                    <a:p>
                      <a:pPr algn="ctr">
                        <a:defRPr sz="900"/>
                      </a:pPr>
                      <a:r>
                        <a:rPr sz="1200"/>
                        <a:t>NR</a:t>
                      </a:r>
                    </a:p>
                  </a:txBody>
                  <a:tcPr anchor="ctr"/>
                </a:tc>
                <a:tc>
                  <a:txBody>
                    <a:bodyPr/>
                    <a:lstStyle/>
                    <a:p>
                      <a:pPr algn="ctr">
                        <a:defRPr sz="900"/>
                      </a:pPr>
                      <a:r>
                        <a:rPr sz="1200" dirty="0"/>
                        <a:t>CRS ≥G3 3%,</a:t>
                      </a:r>
                    </a:p>
                    <a:p>
                      <a:pPr algn="ctr">
                        <a:defRPr sz="900"/>
                      </a:pPr>
                      <a:r>
                        <a:rPr sz="1200" dirty="0"/>
                        <a:t>ICANS ≥G3 8%; no grade 4/5 CRS/ICANS</a:t>
                      </a:r>
                    </a:p>
                  </a:txBody>
                  <a:tcPr anchor="ctr"/>
                </a:tc>
                <a:extLst>
                  <a:ext uri="{0D108BD9-81ED-4DB2-BD59-A6C34878D82A}">
                    <a16:rowId xmlns:a16="http://schemas.microsoft.com/office/drawing/2014/main" val="10002"/>
                  </a:ext>
                </a:extLst>
              </a:tr>
              <a:tr h="913449">
                <a:tc>
                  <a:txBody>
                    <a:bodyPr/>
                    <a:lstStyle/>
                    <a:p>
                      <a:pPr>
                        <a:defRPr sz="900"/>
                      </a:pPr>
                      <a:r>
                        <a:rPr sz="1200" b="1" dirty="0">
                          <a:latin typeface="Arial" panose="020B0604020202020204" pitchFamily="34" charset="0"/>
                          <a:cs typeface="Arial" panose="020B0604020202020204" pitchFamily="34" charset="0"/>
                        </a:rPr>
                        <a:t>JNJ90014496 / CCAR039</a:t>
                      </a:r>
                    </a:p>
                    <a:p>
                      <a:pPr>
                        <a:defRPr sz="900"/>
                      </a:pPr>
                      <a:r>
                        <a:rPr sz="1200" dirty="0">
                          <a:latin typeface="Arial" panose="020B0604020202020204" pitchFamily="34" charset="0"/>
                          <a:cs typeface="Arial" panose="020B0604020202020204" pitchFamily="34" charset="0"/>
                        </a:rPr>
                        <a:t>(NCT05421663)</a:t>
                      </a:r>
                    </a:p>
                  </a:txBody>
                  <a:tcPr anchor="ctr"/>
                </a:tc>
                <a:tc>
                  <a:txBody>
                    <a:bodyPr/>
                    <a:lstStyle/>
                    <a:p>
                      <a:pPr algn="ctr">
                        <a:defRPr sz="900"/>
                      </a:pPr>
                      <a:r>
                        <a:rPr sz="1200"/>
                        <a:t>1b</a:t>
                      </a:r>
                    </a:p>
                  </a:txBody>
                  <a:tcPr anchor="ctr"/>
                </a:tc>
                <a:tc>
                  <a:txBody>
                    <a:bodyPr/>
                    <a:lstStyle/>
                    <a:p>
                      <a:pPr algn="ctr">
                        <a:defRPr sz="900"/>
                      </a:pPr>
                      <a:r>
                        <a:rPr sz="1200"/>
                        <a:t>42</a:t>
                      </a:r>
                    </a:p>
                  </a:txBody>
                  <a:tcPr anchor="ctr"/>
                </a:tc>
                <a:tc>
                  <a:txBody>
                    <a:bodyPr/>
                    <a:lstStyle/>
                    <a:p>
                      <a:pPr algn="ctr">
                        <a:defRPr sz="900"/>
                      </a:pPr>
                      <a:r>
                        <a:rPr sz="1200" dirty="0"/>
                        <a:t>Bispecific anti-CD19/CD20 </a:t>
                      </a:r>
                      <a:br>
                        <a:rPr lang="en-US" sz="1200" dirty="0"/>
                      </a:br>
                      <a:r>
                        <a:rPr sz="1200" dirty="0"/>
                        <a:t>CAR-T;</a:t>
                      </a:r>
                    </a:p>
                    <a:p>
                      <a:pPr algn="ctr">
                        <a:defRPr sz="900"/>
                      </a:pPr>
                      <a:r>
                        <a:rPr sz="1200" dirty="0"/>
                        <a:t>RP2D 75M CAR+ cells</a:t>
                      </a:r>
                    </a:p>
                  </a:txBody>
                  <a:tcPr anchor="ctr"/>
                </a:tc>
                <a:tc>
                  <a:txBody>
                    <a:bodyPr/>
                    <a:lstStyle/>
                    <a:p>
                      <a:pPr algn="ctr">
                        <a:defRPr sz="900"/>
                      </a:pPr>
                      <a:r>
                        <a:rPr sz="1200" dirty="0"/>
                        <a:t>Safety/</a:t>
                      </a:r>
                      <a:br>
                        <a:rPr lang="en-US" sz="1200" dirty="0"/>
                      </a:br>
                      <a:r>
                        <a:rPr sz="1200" dirty="0"/>
                        <a:t>tolerability</a:t>
                      </a:r>
                    </a:p>
                  </a:txBody>
                  <a:tcPr anchor="ctr"/>
                </a:tc>
                <a:tc>
                  <a:txBody>
                    <a:bodyPr/>
                    <a:lstStyle/>
                    <a:p>
                      <a:pPr algn="ctr">
                        <a:defRPr sz="900"/>
                      </a:pPr>
                      <a:r>
                        <a:rPr sz="1200"/>
                        <a:t>12 mos.</a:t>
                      </a:r>
                    </a:p>
                  </a:txBody>
                  <a:tcPr anchor="ctr"/>
                </a:tc>
                <a:tc>
                  <a:txBody>
                    <a:bodyPr/>
                    <a:lstStyle/>
                    <a:p>
                      <a:pPr algn="ctr">
                        <a:defRPr sz="900"/>
                      </a:pPr>
                      <a:r>
                        <a:rPr sz="1200" b="1" dirty="0"/>
                        <a:t>90%</a:t>
                      </a:r>
                    </a:p>
                  </a:txBody>
                  <a:tcPr anchor="ctr"/>
                </a:tc>
                <a:tc>
                  <a:txBody>
                    <a:bodyPr/>
                    <a:lstStyle/>
                    <a:p>
                      <a:pPr algn="ctr">
                        <a:defRPr sz="900"/>
                      </a:pPr>
                      <a:r>
                        <a:rPr sz="1200" b="1" dirty="0"/>
                        <a:t>76%</a:t>
                      </a:r>
                    </a:p>
                  </a:txBody>
                  <a:tcPr anchor="ctr"/>
                </a:tc>
                <a:tc>
                  <a:txBody>
                    <a:bodyPr/>
                    <a:lstStyle/>
                    <a:p>
                      <a:pPr algn="ctr">
                        <a:defRPr sz="900"/>
                      </a:pPr>
                      <a:r>
                        <a:rPr sz="1200" dirty="0"/>
                        <a:t>NR</a:t>
                      </a:r>
                    </a:p>
                  </a:txBody>
                  <a:tcPr anchor="ctr"/>
                </a:tc>
                <a:tc>
                  <a:txBody>
                    <a:bodyPr/>
                    <a:lstStyle/>
                    <a:p>
                      <a:pPr algn="ctr">
                        <a:defRPr sz="900"/>
                      </a:pPr>
                      <a:r>
                        <a:rPr sz="1200" dirty="0"/>
                        <a:t>No ≥G3 CRS/ICANS;</a:t>
                      </a:r>
                    </a:p>
                    <a:p>
                      <a:pPr algn="ctr">
                        <a:defRPr sz="900"/>
                      </a:pPr>
                      <a:r>
                        <a:rPr sz="1200" dirty="0"/>
                        <a:t>≥G3 neutropenia 68%</a:t>
                      </a:r>
                    </a:p>
                  </a:txBody>
                  <a:tcPr anchor="ct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2281111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29760"/>
            <a:ext cx="10358967" cy="1383015"/>
          </a:xfrm>
        </p:spPr>
        <p:txBody>
          <a:bodyPr/>
          <a:lstStyle/>
          <a:p>
            <a:r>
              <a:rPr lang="en-US" sz="3200" dirty="0">
                <a:solidFill>
                  <a:srgbClr val="0432FF"/>
                </a:solidFill>
              </a:rPr>
              <a:t>Dr Kamdar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4056315250"/>
              </p:ext>
            </p:extLst>
          </p:nvPr>
        </p:nvGraphicFramePr>
        <p:xfrm>
          <a:off x="1049230" y="1717040"/>
          <a:ext cx="10093540" cy="2211878"/>
        </p:xfrm>
        <a:graphic>
          <a:graphicData uri="http://schemas.openxmlformats.org/drawingml/2006/table">
            <a:tbl>
              <a:tblPr firstRow="1" bandRow="1">
                <a:tableStyleId>{F2DE63D5-997A-4646-A377-4702673A728D}</a:tableStyleId>
              </a:tblPr>
              <a:tblGrid>
                <a:gridCol w="2532957">
                  <a:extLst>
                    <a:ext uri="{9D8B030D-6E8A-4147-A177-3AD203B41FA5}">
                      <a16:colId xmlns:a16="http://schemas.microsoft.com/office/drawing/2014/main" val="20000"/>
                    </a:ext>
                  </a:extLst>
                </a:gridCol>
                <a:gridCol w="7560583">
                  <a:extLst>
                    <a:ext uri="{9D8B030D-6E8A-4147-A177-3AD203B41FA5}">
                      <a16:colId xmlns:a16="http://schemas.microsoft.com/office/drawing/2014/main" val="20001"/>
                    </a:ext>
                  </a:extLst>
                </a:gridCol>
              </a:tblGrid>
              <a:tr h="1124940">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straZeneca Pharmaceuticals LP, </a:t>
                      </a:r>
                      <a:r>
                        <a:rPr lang="en-US" sz="1800" b="0" kern="1200" dirty="0" err="1">
                          <a:solidFill>
                            <a:schemeClr val="tx1"/>
                          </a:solidFill>
                          <a:effectLst/>
                          <a:latin typeface="+mn-lt"/>
                          <a:ea typeface="+mn-ea"/>
                          <a:cs typeface="+mn-cs"/>
                        </a:rPr>
                        <a:t>BeOne</a:t>
                      </a:r>
                      <a:r>
                        <a:rPr lang="en-US" sz="1800" b="0" kern="1200" dirty="0">
                          <a:solidFill>
                            <a:schemeClr val="tx1"/>
                          </a:solidFill>
                          <a:effectLst/>
                          <a:latin typeface="+mn-lt"/>
                          <a:ea typeface="+mn-ea"/>
                          <a:cs typeface="+mn-cs"/>
                        </a:rPr>
                        <a:t>, Bristol Myers Squibb, Genentech, a member of the Roche Group</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086938">
                <a:tc>
                  <a:txBody>
                    <a:bodyPr/>
                    <a:lstStyle/>
                    <a:p>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Bristol Myers Squibb, Celgene Corporation, Genentech, a member of the Roche Group</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1262545"/>
                  </a:ext>
                </a:extLst>
              </a:tr>
            </a:tbl>
          </a:graphicData>
        </a:graphic>
      </p:graphicFrame>
    </p:spTree>
    <p:custDataLst>
      <p:tags r:id="rId1"/>
    </p:custDataLst>
    <p:extLst>
      <p:ext uri="{BB962C8B-B14F-4D97-AF65-F5344CB8AC3E}">
        <p14:creationId xmlns:p14="http://schemas.microsoft.com/office/powerpoint/2010/main" val="15838497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14079A-877D-EB8E-9DFD-B6CE51D89ADB}"/>
              </a:ext>
            </a:extLst>
          </p:cNvPr>
          <p:cNvSpPr>
            <a:spLocks noGrp="1"/>
          </p:cNvSpPr>
          <p:nvPr>
            <p:ph type="title"/>
          </p:nvPr>
        </p:nvSpPr>
        <p:spPr>
          <a:xfrm>
            <a:off x="2461847" y="200758"/>
            <a:ext cx="6945591" cy="608162"/>
          </a:xfrm>
        </p:spPr>
        <p:txBody>
          <a:bodyPr>
            <a:noAutofit/>
          </a:bodyPr>
          <a:lstStyle/>
          <a:p>
            <a:r>
              <a:rPr lang="en-US" sz="2800" dirty="0">
                <a:latin typeface="Arial" panose="020B0604020202020204" pitchFamily="34" charset="0"/>
                <a:cs typeface="Arial" panose="020B0604020202020204" pitchFamily="34" charset="0"/>
              </a:rPr>
              <a:t>                         Conclusion</a:t>
            </a:r>
          </a:p>
        </p:txBody>
      </p:sp>
      <p:sp>
        <p:nvSpPr>
          <p:cNvPr id="3" name="Content Placeholder 2">
            <a:extLst>
              <a:ext uri="{FF2B5EF4-FFF2-40B4-BE49-F238E27FC236}">
                <a16:creationId xmlns:a16="http://schemas.microsoft.com/office/drawing/2014/main" id="{405B21EB-7DBA-635A-01AD-41D5F239A727}"/>
              </a:ext>
            </a:extLst>
          </p:cNvPr>
          <p:cNvSpPr>
            <a:spLocks noGrp="1"/>
          </p:cNvSpPr>
          <p:nvPr>
            <p:ph idx="1"/>
          </p:nvPr>
        </p:nvSpPr>
        <p:spPr>
          <a:xfrm>
            <a:off x="1579685" y="1105064"/>
            <a:ext cx="8709914" cy="4977083"/>
          </a:xfrm>
        </p:spPr>
        <p:txBody>
          <a:bodyPr>
            <a:normAutofit/>
          </a:bodyPr>
          <a:lstStyle/>
          <a:p>
            <a:pPr marL="0" indent="0">
              <a:buNone/>
            </a:pPr>
            <a:r>
              <a:rPr lang="en-US" sz="2400" b="1" dirty="0">
                <a:latin typeface="Arial" panose="020B0604020202020204" pitchFamily="34" charset="0"/>
                <a:cs typeface="Arial" panose="020B0604020202020204" pitchFamily="34" charset="0"/>
              </a:rPr>
              <a:t>The Path Forward</a:t>
            </a:r>
          </a:p>
          <a:p>
            <a:pPr marL="0" indent="0">
              <a:buNone/>
            </a:pPr>
            <a:endParaRPr lang="en-US" sz="2000" dirty="0">
              <a:latin typeface="Arial" panose="020B0604020202020204" pitchFamily="34" charset="0"/>
              <a:cs typeface="Arial" panose="020B0604020202020204" pitchFamily="34" charset="0"/>
            </a:endParaRPr>
          </a:p>
          <a:p>
            <a:r>
              <a:rPr lang="en-US" sz="2000" dirty="0">
                <a:latin typeface="Arial" panose="020B0604020202020204" pitchFamily="34" charset="0"/>
                <a:cs typeface="Arial" panose="020B0604020202020204" pitchFamily="34" charset="0"/>
              </a:rPr>
              <a:t>Move from </a:t>
            </a:r>
            <a:r>
              <a:rPr lang="en-US" sz="2000" i="1" dirty="0">
                <a:latin typeface="Arial" panose="020B0604020202020204" pitchFamily="34" charset="0"/>
                <a:cs typeface="Arial" panose="020B0604020202020204" pitchFamily="34" charset="0"/>
              </a:rPr>
              <a:t>center-based excellence</a:t>
            </a:r>
            <a:r>
              <a:rPr lang="en-US" sz="2000" dirty="0">
                <a:latin typeface="Arial" panose="020B0604020202020204" pitchFamily="34" charset="0"/>
                <a:cs typeface="Arial" panose="020B0604020202020204" pitchFamily="34" charset="0"/>
              </a:rPr>
              <a:t> → </a:t>
            </a:r>
            <a:r>
              <a:rPr lang="en-US" sz="2000" i="1" dirty="0">
                <a:latin typeface="Arial" panose="020B0604020202020204" pitchFamily="34" charset="0"/>
                <a:cs typeface="Arial" panose="020B0604020202020204" pitchFamily="34" charset="0"/>
              </a:rPr>
              <a:t>system-wide capability</a:t>
            </a:r>
            <a:endParaRPr lang="en-US" sz="2000" dirty="0">
              <a:latin typeface="Arial" panose="020B0604020202020204" pitchFamily="34" charset="0"/>
              <a:cs typeface="Arial" panose="020B0604020202020204" pitchFamily="34" charset="0"/>
            </a:endParaRPr>
          </a:p>
          <a:p>
            <a:r>
              <a:rPr lang="en-US" sz="2000" dirty="0">
                <a:latin typeface="Arial" panose="020B0604020202020204" pitchFamily="34" charset="0"/>
                <a:cs typeface="Arial" panose="020B0604020202020204" pitchFamily="34" charset="0"/>
              </a:rPr>
              <a:t>Measure success by </a:t>
            </a:r>
            <a:r>
              <a:rPr lang="en-US" sz="2000" b="1" dirty="0">
                <a:latin typeface="Arial" panose="020B0604020202020204" pitchFamily="34" charset="0"/>
                <a:cs typeface="Arial" panose="020B0604020202020204" pitchFamily="34" charset="0"/>
              </a:rPr>
              <a:t>who receives CAR-T</a:t>
            </a:r>
            <a:r>
              <a:rPr lang="en-US" sz="2000" dirty="0">
                <a:latin typeface="Arial" panose="020B0604020202020204" pitchFamily="34" charset="0"/>
                <a:cs typeface="Arial" panose="020B0604020202020204" pitchFamily="34" charset="0"/>
              </a:rPr>
              <a:t>, not just </a:t>
            </a:r>
            <a:r>
              <a:rPr lang="en-US" sz="2000" b="1" dirty="0">
                <a:latin typeface="Arial" panose="020B0604020202020204" pitchFamily="34" charset="0"/>
                <a:cs typeface="Arial" panose="020B0604020202020204" pitchFamily="34" charset="0"/>
              </a:rPr>
              <a:t>who can deliver it</a:t>
            </a:r>
            <a:endParaRPr lang="en-US" sz="2000" dirty="0">
              <a:latin typeface="Arial" panose="020B0604020202020204" pitchFamily="34" charset="0"/>
              <a:cs typeface="Arial" panose="020B0604020202020204" pitchFamily="34" charset="0"/>
            </a:endParaRPr>
          </a:p>
          <a:p>
            <a:r>
              <a:rPr lang="en-US" sz="2000" dirty="0">
                <a:latin typeface="Arial" panose="020B0604020202020204" pitchFamily="34" charset="0"/>
                <a:cs typeface="Arial" panose="020B0604020202020204" pitchFamily="34" charset="0"/>
              </a:rPr>
              <a:t>Align stakeholders—clinicians, payers, industry, and regulators—around </a:t>
            </a:r>
            <a:r>
              <a:rPr lang="en-US" sz="2000" b="1" dirty="0">
                <a:latin typeface="Arial" panose="020B0604020202020204" pitchFamily="34" charset="0"/>
                <a:cs typeface="Arial" panose="020B0604020202020204" pitchFamily="34" charset="0"/>
              </a:rPr>
              <a:t>access as a quality metric</a:t>
            </a:r>
          </a:p>
          <a:p>
            <a:endParaRPr lang="en-US" sz="2000" b="1" dirty="0">
              <a:latin typeface="Arial" panose="020B0604020202020204" pitchFamily="34" charset="0"/>
              <a:cs typeface="Arial" panose="020B0604020202020204" pitchFamily="34" charset="0"/>
            </a:endParaRPr>
          </a:p>
          <a:p>
            <a:endParaRPr lang="en-US" sz="2000" b="1" dirty="0">
              <a:latin typeface="Arial" panose="020B0604020202020204" pitchFamily="34" charset="0"/>
              <a:cs typeface="Arial" panose="020B0604020202020204" pitchFamily="34" charset="0"/>
            </a:endParaRPr>
          </a:p>
          <a:p>
            <a:r>
              <a:rPr lang="en-US" sz="2000" b="1" dirty="0">
                <a:latin typeface="Arial" panose="020B0604020202020204" pitchFamily="34" charset="0"/>
                <a:cs typeface="Arial" panose="020B0604020202020204" pitchFamily="34" charset="0"/>
              </a:rPr>
              <a:t>The future of CAR-T is not just innovation it is implementation, scalability, and access. </a:t>
            </a:r>
          </a:p>
          <a:p>
            <a:endParaRPr lang="en-US" sz="2000" b="1" dirty="0">
              <a:latin typeface="Arial" panose="020B0604020202020204" pitchFamily="34" charset="0"/>
              <a:cs typeface="Arial" panose="020B0604020202020204" pitchFamily="34" charset="0"/>
            </a:endParaRPr>
          </a:p>
          <a:p>
            <a:r>
              <a:rPr lang="en-US" sz="2000" b="1" dirty="0">
                <a:latin typeface="Arial" panose="020B0604020202020204" pitchFamily="34" charset="0"/>
                <a:cs typeface="Arial" panose="020B0604020202020204" pitchFamily="34" charset="0"/>
              </a:rPr>
              <a:t>Relapse should trigger referral because access to CAR-T may be access to cure.</a:t>
            </a:r>
          </a:p>
          <a:p>
            <a:endParaRPr lang="en-US" sz="2000" b="1" dirty="0">
              <a:latin typeface="Arial" panose="020B0604020202020204" pitchFamily="34" charset="0"/>
              <a:cs typeface="Arial" panose="020B0604020202020204" pitchFamily="34" charset="0"/>
            </a:endParaRPr>
          </a:p>
          <a:p>
            <a:endParaRPr lang="en-US" sz="2000" dirty="0">
              <a:latin typeface="Arial" panose="020B0604020202020204" pitchFamily="34" charset="0"/>
              <a:cs typeface="Arial" panose="020B0604020202020204" pitchFamily="34" charset="0"/>
            </a:endParaRPr>
          </a:p>
          <a:p>
            <a:endParaRPr lang="en-US" sz="2000" dirty="0">
              <a:latin typeface="Arial" panose="020B060402020202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val="26521531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84D6B-0C7E-834C-6980-06E2FB9E5D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12495D-3203-8A07-60C1-23CF98636384}"/>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058966D4-896E-B009-6BF0-F15B534BB025}"/>
              </a:ext>
            </a:extLst>
          </p:cNvPr>
          <p:cNvSpPr>
            <a:spLocks noGrp="1"/>
          </p:cNvSpPr>
          <p:nvPr>
            <p:ph idx="1"/>
          </p:nvPr>
        </p:nvSpPr>
        <p:spPr>
          <a:xfrm>
            <a:off x="912287" y="1416053"/>
            <a:ext cx="10236784" cy="4799013"/>
          </a:xfrm>
        </p:spPr>
        <p:txBody>
          <a:bodyPr/>
          <a:lstStyle/>
          <a:p>
            <a:pPr marL="98425" indent="0">
              <a:lnSpc>
                <a:spcPct val="100000"/>
              </a:lnSpc>
              <a:buNone/>
            </a:pPr>
            <a:r>
              <a:rPr lang="en-US" sz="2600" dirty="0">
                <a:solidFill>
                  <a:srgbClr val="171AA2"/>
                </a:solidFill>
              </a:rPr>
              <a:t>80 y/o man with stage IV DLBCL, non-GCB subtype</a:t>
            </a:r>
            <a:br>
              <a:rPr lang="en-US" sz="2600" dirty="0">
                <a:solidFill>
                  <a:srgbClr val="171AA2"/>
                </a:solidFill>
              </a:rPr>
            </a:br>
            <a:r>
              <a:rPr lang="en-US" sz="2600" dirty="0">
                <a:solidFill>
                  <a:srgbClr val="171AA2"/>
                </a:solidFill>
              </a:rPr>
              <a:t>PMH: coronary artery disease, stage 3 chronic kidney disease, atrial fibrillation on anticoagulation </a:t>
            </a:r>
            <a:br>
              <a:rPr lang="en-US" sz="2600" dirty="0">
                <a:solidFill>
                  <a:srgbClr val="171AA2"/>
                </a:solidFill>
              </a:rPr>
            </a:br>
            <a:r>
              <a:rPr lang="en-US" sz="2600" dirty="0">
                <a:solidFill>
                  <a:srgbClr val="171AA2"/>
                </a:solidFill>
              </a:rPr>
              <a:t>R-CHOP as initial therapy with CR for 3 years; relapsed with nodal and extranodal disease </a:t>
            </a:r>
            <a:br>
              <a:rPr lang="en-US" sz="2600" dirty="0">
                <a:solidFill>
                  <a:srgbClr val="171AA2"/>
                </a:solidFill>
              </a:rPr>
            </a:br>
            <a:r>
              <a:rPr lang="en-US" sz="2600" dirty="0" err="1">
                <a:solidFill>
                  <a:srgbClr val="171AA2"/>
                </a:solidFill>
              </a:rPr>
              <a:t>Tafasitamab</a:t>
            </a:r>
            <a:r>
              <a:rPr lang="en-US" sz="2600" dirty="0">
                <a:solidFill>
                  <a:srgbClr val="171AA2"/>
                </a:solidFill>
              </a:rPr>
              <a:t>/lenalidomide as second-line treatment with good response for 2 years; now with multifocal progressive disease </a:t>
            </a:r>
          </a:p>
          <a:p>
            <a:pPr marL="98425" indent="0">
              <a:lnSpc>
                <a:spcPct val="100000"/>
              </a:lnSpc>
              <a:buNone/>
            </a:pPr>
            <a:r>
              <a:rPr lang="en-US" sz="2600" dirty="0">
                <a:solidFill>
                  <a:schemeClr val="tx1"/>
                </a:solidFill>
              </a:rPr>
              <a:t>Would you recommend CAR T-cell therapy, a bispecific antibody or something else at this point? Which specific platform or agent/regimen would you select? </a:t>
            </a:r>
          </a:p>
        </p:txBody>
      </p:sp>
    </p:spTree>
    <p:extLst>
      <p:ext uri="{BB962C8B-B14F-4D97-AF65-F5344CB8AC3E}">
        <p14:creationId xmlns:p14="http://schemas.microsoft.com/office/powerpoint/2010/main" val="38330873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202AAC-B515-EFC1-775A-5DC58A88984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513E36E-3F73-2563-E802-1730241D0AD9}"/>
              </a:ext>
            </a:extLst>
          </p:cNvPr>
          <p:cNvSpPr>
            <a:spLocks noGrp="1"/>
          </p:cNvSpPr>
          <p:nvPr>
            <p:ph type="title"/>
          </p:nvPr>
        </p:nvSpPr>
        <p:spPr/>
        <p:txBody>
          <a:bodyPr/>
          <a:lstStyle/>
          <a:p>
            <a:r>
              <a:rPr lang="en-US" sz="3600" dirty="0"/>
              <a:t>Discussion Questions (Questions)</a:t>
            </a:r>
          </a:p>
        </p:txBody>
      </p:sp>
      <p:sp>
        <p:nvSpPr>
          <p:cNvPr id="3" name="Content Placeholder 2">
            <a:extLst>
              <a:ext uri="{FF2B5EF4-FFF2-40B4-BE49-F238E27FC236}">
                <a16:creationId xmlns:a16="http://schemas.microsoft.com/office/drawing/2014/main" id="{CF7733A9-CC7B-3D9C-C4C5-DB97373602EA}"/>
              </a:ext>
            </a:extLst>
          </p:cNvPr>
          <p:cNvSpPr>
            <a:spLocks noGrp="1"/>
          </p:cNvSpPr>
          <p:nvPr>
            <p:ph idx="1"/>
          </p:nvPr>
        </p:nvSpPr>
        <p:spPr>
          <a:xfrm>
            <a:off x="912287" y="1416053"/>
            <a:ext cx="10236784" cy="4799013"/>
          </a:xfrm>
        </p:spPr>
        <p:txBody>
          <a:bodyPr/>
          <a:lstStyle/>
          <a:p>
            <a:pPr marL="98425" indent="0">
              <a:lnSpc>
                <a:spcPct val="100000"/>
              </a:lnSpc>
              <a:buNone/>
            </a:pPr>
            <a:r>
              <a:rPr lang="en-US" sz="2600" dirty="0">
                <a:solidFill>
                  <a:srgbClr val="171AA2">
                    <a:alpha val="50000"/>
                  </a:srgbClr>
                </a:solidFill>
              </a:rPr>
              <a:t>80 y/o man with stage IV DLBCL, non-GCB subtype</a:t>
            </a:r>
            <a:br>
              <a:rPr lang="en-US" sz="2600" dirty="0">
                <a:solidFill>
                  <a:srgbClr val="171AA2">
                    <a:alpha val="50000"/>
                  </a:srgbClr>
                </a:solidFill>
              </a:rPr>
            </a:br>
            <a:r>
              <a:rPr lang="en-US" sz="2600" dirty="0">
                <a:solidFill>
                  <a:srgbClr val="171AA2">
                    <a:alpha val="50000"/>
                  </a:srgbClr>
                </a:solidFill>
              </a:rPr>
              <a:t>PMH: coronary artery disease, stage 3 chronic kidney disease, atrial fibrillation on anticoagulation </a:t>
            </a:r>
            <a:br>
              <a:rPr lang="en-US" sz="2600" dirty="0">
                <a:solidFill>
                  <a:srgbClr val="171AA2">
                    <a:alpha val="50000"/>
                  </a:srgbClr>
                </a:solidFill>
              </a:rPr>
            </a:br>
            <a:r>
              <a:rPr lang="en-US" sz="2600" dirty="0">
                <a:solidFill>
                  <a:srgbClr val="171AA2">
                    <a:alpha val="50000"/>
                  </a:srgbClr>
                </a:solidFill>
              </a:rPr>
              <a:t>R-CHOP as initial therapy with CR for 3 years; relapsed with nodal and extranodal disease </a:t>
            </a:r>
            <a:br>
              <a:rPr lang="en-US" sz="2600" dirty="0">
                <a:solidFill>
                  <a:srgbClr val="171AA2">
                    <a:alpha val="50000"/>
                  </a:srgbClr>
                </a:solidFill>
              </a:rPr>
            </a:br>
            <a:r>
              <a:rPr lang="en-US" sz="2600" dirty="0" err="1">
                <a:solidFill>
                  <a:srgbClr val="171AA2">
                    <a:alpha val="50000"/>
                  </a:srgbClr>
                </a:solidFill>
              </a:rPr>
              <a:t>Tafasitamab</a:t>
            </a:r>
            <a:r>
              <a:rPr lang="en-US" sz="2600" dirty="0">
                <a:solidFill>
                  <a:srgbClr val="171AA2">
                    <a:alpha val="50000"/>
                  </a:srgbClr>
                </a:solidFill>
              </a:rPr>
              <a:t>/lenalidomide as second-line treatment with good response for 2 years; now with multifocal progressive disease </a:t>
            </a:r>
          </a:p>
          <a:p>
            <a:pPr marL="98425" indent="0">
              <a:lnSpc>
                <a:spcPct val="100000"/>
              </a:lnSpc>
              <a:buNone/>
            </a:pPr>
            <a:r>
              <a:rPr lang="en-US" sz="2600" dirty="0">
                <a:solidFill>
                  <a:schemeClr val="tx1"/>
                </a:solidFill>
              </a:rPr>
              <a:t>How does prior use of a CD19-directed approach influence your sequencing of available therapies, and do you conduct CD19 expression testing to assist in decision-making? </a:t>
            </a:r>
          </a:p>
          <a:p>
            <a:pPr marL="98425" indent="0">
              <a:lnSpc>
                <a:spcPct val="100000"/>
              </a:lnSpc>
              <a:buNone/>
            </a:pPr>
            <a:r>
              <a:rPr lang="en-US" sz="2600" dirty="0">
                <a:solidFill>
                  <a:schemeClr val="tx1"/>
                </a:solidFill>
              </a:rPr>
              <a:t>Would you consider palliative radiation or bridging therapy before instituting CAR-T or a bispecific?  </a:t>
            </a:r>
          </a:p>
        </p:txBody>
      </p:sp>
    </p:spTree>
    <p:extLst>
      <p:ext uri="{BB962C8B-B14F-4D97-AF65-F5344CB8AC3E}">
        <p14:creationId xmlns:p14="http://schemas.microsoft.com/office/powerpoint/2010/main" val="564535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84D6B-0C7E-834C-6980-06E2FB9E5D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12495D-3203-8A07-60C1-23CF98636384}"/>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058966D4-896E-B009-6BF0-F15B534BB025}"/>
              </a:ext>
            </a:extLst>
          </p:cNvPr>
          <p:cNvSpPr>
            <a:spLocks noGrp="1"/>
          </p:cNvSpPr>
          <p:nvPr>
            <p:ph idx="1"/>
          </p:nvPr>
        </p:nvSpPr>
        <p:spPr>
          <a:xfrm>
            <a:off x="912287" y="1416053"/>
            <a:ext cx="9553737" cy="4799013"/>
          </a:xfrm>
        </p:spPr>
        <p:txBody>
          <a:bodyPr/>
          <a:lstStyle/>
          <a:p>
            <a:pPr marL="98425" indent="0">
              <a:lnSpc>
                <a:spcPct val="100000"/>
              </a:lnSpc>
              <a:buNone/>
            </a:pPr>
            <a:r>
              <a:rPr lang="en-US" sz="2600" dirty="0">
                <a:solidFill>
                  <a:srgbClr val="171AA2"/>
                </a:solidFill>
              </a:rPr>
              <a:t>65 y/o woman with stage 2 DLBCL </a:t>
            </a:r>
            <a:br>
              <a:rPr lang="en-US" sz="2600" dirty="0">
                <a:solidFill>
                  <a:srgbClr val="171AA2"/>
                </a:solidFill>
              </a:rPr>
            </a:br>
            <a:r>
              <a:rPr lang="en-US" sz="2600" dirty="0">
                <a:solidFill>
                  <a:srgbClr val="171AA2"/>
                </a:solidFill>
              </a:rPr>
              <a:t>R-CHOP as initial therapy; recurrent disease at 13 months	</a:t>
            </a:r>
          </a:p>
          <a:p>
            <a:pPr marL="98425" indent="0">
              <a:lnSpc>
                <a:spcPct val="100000"/>
              </a:lnSpc>
              <a:buNone/>
            </a:pPr>
            <a:r>
              <a:rPr lang="en-US" sz="2600" dirty="0">
                <a:solidFill>
                  <a:schemeClr val="tx1"/>
                </a:solidFill>
              </a:rPr>
              <a:t>Would you offer CAR-T over SCT in this situation? In general, what factors do you consider when making this decision? Has your enthusiasm for SCT waned at all given the effectiveness of CAR-T?</a:t>
            </a:r>
          </a:p>
          <a:p>
            <a:pPr marL="98425" indent="0">
              <a:lnSpc>
                <a:spcPct val="100000"/>
              </a:lnSpc>
              <a:buNone/>
            </a:pPr>
            <a:r>
              <a:rPr lang="en-US" sz="2600" dirty="0">
                <a:solidFill>
                  <a:schemeClr val="tx1"/>
                </a:solidFill>
              </a:rPr>
              <a:t>What are the advantages and disadvantages of the available CAR-T products? Would you have any preference for one platform versus the others for this patient? </a:t>
            </a:r>
          </a:p>
          <a:p>
            <a:pPr marL="98425" indent="0">
              <a:lnSpc>
                <a:spcPct val="100000"/>
              </a:lnSpc>
              <a:buNone/>
            </a:pPr>
            <a:r>
              <a:rPr lang="en-US" sz="2600" dirty="0">
                <a:solidFill>
                  <a:srgbClr val="171AA2"/>
                </a:solidFill>
              </a:rPr>
              <a:t>53 y/o man with double-hit DLBCL </a:t>
            </a:r>
            <a:br>
              <a:rPr lang="en-US" sz="2600" dirty="0">
                <a:solidFill>
                  <a:srgbClr val="171AA2"/>
                </a:solidFill>
              </a:rPr>
            </a:br>
            <a:r>
              <a:rPr lang="en-US" sz="2600" dirty="0">
                <a:solidFill>
                  <a:srgbClr val="171AA2"/>
                </a:solidFill>
              </a:rPr>
              <a:t>R-EPOCH as initial therapy; recurrent disease at 18 months </a:t>
            </a:r>
          </a:p>
          <a:p>
            <a:pPr marL="98425" indent="0">
              <a:lnSpc>
                <a:spcPct val="100000"/>
              </a:lnSpc>
              <a:buNone/>
            </a:pPr>
            <a:r>
              <a:rPr lang="en-US" sz="2600" dirty="0">
                <a:solidFill>
                  <a:schemeClr val="tx1"/>
                </a:solidFill>
              </a:rPr>
              <a:t>Although this patient is transplant eligible, is CAR-T a consideration?</a:t>
            </a:r>
          </a:p>
        </p:txBody>
      </p:sp>
    </p:spTree>
    <p:extLst>
      <p:ext uri="{BB962C8B-B14F-4D97-AF65-F5344CB8AC3E}">
        <p14:creationId xmlns:p14="http://schemas.microsoft.com/office/powerpoint/2010/main" val="64668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3FD0EF-D69D-DBD6-6AD9-B836E0D6CA0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CED57DF-5A7B-B626-9D93-9A124295BCCB}"/>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DDAB8E51-4CA3-5C10-903C-3D7741875D9F}"/>
              </a:ext>
            </a:extLst>
          </p:cNvPr>
          <p:cNvSpPr>
            <a:spLocks noGrp="1"/>
          </p:cNvSpPr>
          <p:nvPr>
            <p:ph idx="1"/>
          </p:nvPr>
        </p:nvSpPr>
        <p:spPr>
          <a:xfrm>
            <a:off x="912287" y="1416053"/>
            <a:ext cx="9553737" cy="4799013"/>
          </a:xfrm>
        </p:spPr>
        <p:txBody>
          <a:bodyPr/>
          <a:lstStyle/>
          <a:p>
            <a:pPr marL="98425" indent="0">
              <a:lnSpc>
                <a:spcPct val="100000"/>
              </a:lnSpc>
              <a:buNone/>
            </a:pPr>
            <a:r>
              <a:rPr lang="en-US" sz="2600" dirty="0">
                <a:solidFill>
                  <a:srgbClr val="171AA2"/>
                </a:solidFill>
              </a:rPr>
              <a:t>67 y/o man with DLBCL </a:t>
            </a:r>
            <a:br>
              <a:rPr lang="en-US" sz="2600" dirty="0">
                <a:solidFill>
                  <a:srgbClr val="171AA2"/>
                </a:solidFill>
              </a:rPr>
            </a:br>
            <a:r>
              <a:rPr lang="en-US" sz="2600" dirty="0">
                <a:solidFill>
                  <a:srgbClr val="171AA2"/>
                </a:solidFill>
              </a:rPr>
              <a:t>R-CHOP as initial therapy with rapid relapse</a:t>
            </a:r>
            <a:br>
              <a:rPr lang="en-US" sz="2600" dirty="0">
                <a:solidFill>
                  <a:srgbClr val="171AA2"/>
                </a:solidFill>
              </a:rPr>
            </a:br>
            <a:r>
              <a:rPr lang="en-US" sz="2600" dirty="0">
                <a:solidFill>
                  <a:srgbClr val="171AA2"/>
                </a:solidFill>
              </a:rPr>
              <a:t>Poor performance status and logistics prevented CAR-T </a:t>
            </a:r>
            <a:br>
              <a:rPr lang="en-US" sz="2600" dirty="0">
                <a:solidFill>
                  <a:srgbClr val="171AA2"/>
                </a:solidFill>
              </a:rPr>
            </a:br>
            <a:r>
              <a:rPr lang="en-US" sz="2600" dirty="0" err="1">
                <a:solidFill>
                  <a:srgbClr val="171AA2"/>
                </a:solidFill>
              </a:rPr>
              <a:t>GemOx</a:t>
            </a:r>
            <a:r>
              <a:rPr lang="en-US" sz="2600" dirty="0">
                <a:solidFill>
                  <a:srgbClr val="171AA2"/>
                </a:solidFill>
              </a:rPr>
              <a:t> + </a:t>
            </a:r>
            <a:r>
              <a:rPr lang="en-US" sz="2600" dirty="0" err="1">
                <a:solidFill>
                  <a:srgbClr val="171AA2"/>
                </a:solidFill>
              </a:rPr>
              <a:t>epcoritamab</a:t>
            </a:r>
            <a:r>
              <a:rPr lang="en-US" sz="2600" dirty="0">
                <a:solidFill>
                  <a:srgbClr val="171AA2"/>
                </a:solidFill>
              </a:rPr>
              <a:t> as second-line treatment</a:t>
            </a:r>
          </a:p>
          <a:p>
            <a:pPr marL="98425" indent="0">
              <a:lnSpc>
                <a:spcPct val="100000"/>
              </a:lnSpc>
              <a:buNone/>
            </a:pPr>
            <a:r>
              <a:rPr lang="en-US" sz="2600" dirty="0">
                <a:solidFill>
                  <a:schemeClr val="tx1"/>
                </a:solidFill>
              </a:rPr>
              <a:t>The patient would now be eligible for CAR-T — would you offer it if/when he progresses? Is the efficacy of CAR-T diminished after progression on a bispecific-based approach?  </a:t>
            </a:r>
          </a:p>
          <a:p>
            <a:pPr marL="98425" indent="0">
              <a:lnSpc>
                <a:spcPct val="100000"/>
              </a:lnSpc>
              <a:buNone/>
            </a:pPr>
            <a:endParaRPr lang="en-US" sz="2600" dirty="0">
              <a:solidFill>
                <a:schemeClr val="tx1"/>
              </a:solidFill>
            </a:endParaRPr>
          </a:p>
        </p:txBody>
      </p:sp>
    </p:spTree>
    <p:extLst>
      <p:ext uri="{BB962C8B-B14F-4D97-AF65-F5344CB8AC3E}">
        <p14:creationId xmlns:p14="http://schemas.microsoft.com/office/powerpoint/2010/main" val="8061235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2FF134-EFD7-A365-A9D4-82202AC55D63}"/>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C46D6BC7-6423-9735-FF49-529B9A63BA93}"/>
              </a:ext>
            </a:extLst>
          </p:cNvPr>
          <p:cNvSpPr/>
          <p:nvPr/>
        </p:nvSpPr>
        <p:spPr bwMode="auto">
          <a:xfrm>
            <a:off x="740128" y="2348880"/>
            <a:ext cx="10828480" cy="474811"/>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C75823C1-DE8A-D5BF-CF88-779C0BF2922F}"/>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757B09A6-A805-3C47-7947-EA867BA209FD}"/>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Chimeric Antigen Receptor (CAR) T-Cell Therapy for Diffuse Large B-Cell Lymphoma (DLBCL) — Dr Kamdar</a:t>
            </a:r>
          </a:p>
          <a:p>
            <a:pPr marL="98425" indent="0">
              <a:lnSpc>
                <a:spcPct val="100000"/>
              </a:lnSpc>
              <a:spcBef>
                <a:spcPts val="1600"/>
              </a:spcBef>
              <a:spcAft>
                <a:spcPts val="0"/>
              </a:spcAft>
              <a:buNone/>
            </a:pPr>
            <a:r>
              <a:rPr lang="en-US" sz="2500" dirty="0">
                <a:solidFill>
                  <a:schemeClr val="bg1"/>
                </a:solidFill>
              </a:rPr>
              <a:t>Module 2: Bispecific Antibody Therapy for DLBCL — Dr Westin</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CAR T-Cell Therapy for Other Lymphoma Subtypes — </a:t>
            </a:r>
            <a:br>
              <a:rPr lang="en-US" sz="2500" dirty="0">
                <a:solidFill>
                  <a:schemeClr val="tx1"/>
                </a:solidFill>
              </a:rPr>
            </a:br>
            <a:r>
              <a:rPr lang="en-US" sz="2500" dirty="0">
                <a:solidFill>
                  <a:schemeClr val="tx1"/>
                </a:solidFill>
              </a:rPr>
              <a:t>Dr Abramson</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Bispecific Antibody Therapy for Follicular Lymphoma and Other Lymphoma Subtypes — Dr Phillips</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Tolerability Considerations with CAR T-Cell Therapy and Bispecific Antibodies — Dr Brody</a:t>
            </a:r>
          </a:p>
        </p:txBody>
      </p:sp>
    </p:spTree>
    <p:extLst>
      <p:ext uri="{BB962C8B-B14F-4D97-AF65-F5344CB8AC3E}">
        <p14:creationId xmlns:p14="http://schemas.microsoft.com/office/powerpoint/2010/main" val="8185588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2C1AAA2-F9E8-0B54-89F4-E8FECC6F59F9}"/>
              </a:ext>
            </a:extLst>
          </p:cNvPr>
          <p:cNvSpPr>
            <a:spLocks noGrp="1"/>
          </p:cNvSpPr>
          <p:nvPr>
            <p:ph type="ctrTitle"/>
          </p:nvPr>
        </p:nvSpPr>
        <p:spPr/>
        <p:txBody>
          <a:bodyPr/>
          <a:lstStyle/>
          <a:p>
            <a:r>
              <a:rPr lang="en-US" b="1" dirty="0"/>
              <a:t>Bispecific Antibody Therapy for DLBCL</a:t>
            </a:r>
            <a:endParaRPr lang="en-US" dirty="0"/>
          </a:p>
        </p:txBody>
      </p:sp>
      <p:sp>
        <p:nvSpPr>
          <p:cNvPr id="5" name="Subtitle 4">
            <a:extLst>
              <a:ext uri="{FF2B5EF4-FFF2-40B4-BE49-F238E27FC236}">
                <a16:creationId xmlns:a16="http://schemas.microsoft.com/office/drawing/2014/main" id="{B9AF8E8A-E248-4AE3-DB22-DEAC544489DF}"/>
              </a:ext>
            </a:extLst>
          </p:cNvPr>
          <p:cNvSpPr>
            <a:spLocks noGrp="1"/>
          </p:cNvSpPr>
          <p:nvPr>
            <p:ph type="subTitle" idx="1"/>
          </p:nvPr>
        </p:nvSpPr>
        <p:spPr>
          <a:xfrm>
            <a:off x="1524000" y="3956713"/>
            <a:ext cx="9144000" cy="2387600"/>
          </a:xfrm>
        </p:spPr>
        <p:txBody>
          <a:bodyPr>
            <a:normAutofit fontScale="92500" lnSpcReduction="10000"/>
          </a:bodyPr>
          <a:lstStyle/>
          <a:p>
            <a:r>
              <a:rPr lang="en-US" b="1" dirty="0"/>
              <a:t>Jason Westin, MD, MS</a:t>
            </a:r>
          </a:p>
          <a:p>
            <a:r>
              <a:rPr lang="en-US" dirty="0"/>
              <a:t>Director, Lymphoma Clinical Research</a:t>
            </a:r>
          </a:p>
          <a:p>
            <a:r>
              <a:rPr lang="en-US" dirty="0"/>
              <a:t>Section Chief, Aggressive Lymphoma</a:t>
            </a:r>
          </a:p>
          <a:p>
            <a:r>
              <a:rPr lang="en-US" dirty="0"/>
              <a:t>Professor, Department of Lymphoma and Myeloma</a:t>
            </a:r>
          </a:p>
          <a:p>
            <a:r>
              <a:rPr lang="en-US" dirty="0"/>
              <a:t>The University of Texas MD Anderson Cancer Center</a:t>
            </a:r>
          </a:p>
          <a:p>
            <a:r>
              <a:rPr lang="en-US" dirty="0"/>
              <a:t>Houston, Texas</a:t>
            </a:r>
          </a:p>
        </p:txBody>
      </p:sp>
    </p:spTree>
    <p:extLst>
      <p:ext uri="{BB962C8B-B14F-4D97-AF65-F5344CB8AC3E}">
        <p14:creationId xmlns:p14="http://schemas.microsoft.com/office/powerpoint/2010/main" val="22805360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stretch>
            <a:fillRect/>
          </a:stretch>
        </p:blipFill>
        <p:spPr>
          <a:xfrm>
            <a:off x="0" y="28575"/>
            <a:ext cx="12192000" cy="6800851"/>
          </a:xfrm>
          <a:prstGeom prst="rect">
            <a:avLst/>
          </a:prstGeom>
        </p:spPr>
      </p:pic>
      <p:sp>
        <p:nvSpPr>
          <p:cNvPr id="3" name="TextBox 2">
            <a:extLst>
              <a:ext uri="{FF2B5EF4-FFF2-40B4-BE49-F238E27FC236}">
                <a16:creationId xmlns:a16="http://schemas.microsoft.com/office/drawing/2014/main" id="{5A66C732-418D-033C-35E6-9606027F2891}"/>
              </a:ext>
            </a:extLst>
          </p:cNvPr>
          <p:cNvSpPr txBox="1"/>
          <p:nvPr/>
        </p:nvSpPr>
        <p:spPr>
          <a:xfrm>
            <a:off x="263610" y="6083874"/>
            <a:ext cx="7963245" cy="297454"/>
          </a:xfrm>
          <a:prstGeom prst="rect">
            <a:avLst/>
          </a:prstGeom>
          <a:solidFill>
            <a:schemeClr val="bg1"/>
          </a:solid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dapted from </a:t>
            </a:r>
            <a:r>
              <a:rPr kumimoji="0" lang="en-US" sz="1333"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ussana</a:t>
            </a: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J Clin Oncol. 2021 Feb 10;39(5):444-455</a:t>
            </a:r>
          </a:p>
        </p:txBody>
      </p:sp>
      <p:sp>
        <p:nvSpPr>
          <p:cNvPr id="4" name="Rectangle 3">
            <a:extLst>
              <a:ext uri="{FF2B5EF4-FFF2-40B4-BE49-F238E27FC236}">
                <a16:creationId xmlns:a16="http://schemas.microsoft.com/office/drawing/2014/main" id="{1A381610-0AA8-FD81-925B-868BCB21164F}"/>
              </a:ext>
            </a:extLst>
          </p:cNvPr>
          <p:cNvSpPr/>
          <p:nvPr/>
        </p:nvSpPr>
        <p:spPr>
          <a:xfrm>
            <a:off x="5557795" y="3932195"/>
            <a:ext cx="153773" cy="18672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6940CE7-263F-7640-D452-CA618173315C}"/>
              </a:ext>
            </a:extLst>
          </p:cNvPr>
          <p:cNvSpPr txBox="1"/>
          <p:nvPr/>
        </p:nvSpPr>
        <p:spPr>
          <a:xfrm>
            <a:off x="1449860" y="6176963"/>
            <a:ext cx="4815934" cy="58477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Aptos" panose="02110004020202020204"/>
                <a:ea typeface="+mn-ea"/>
                <a:cs typeface="+mn-cs"/>
              </a:rPr>
              <a:t>Dickinson et al NEJM 2022</a:t>
            </a:r>
          </a:p>
        </p:txBody>
      </p:sp>
      <p:pic>
        <p:nvPicPr>
          <p:cNvPr id="10" name="Content Placeholder 9">
            <a:extLst>
              <a:ext uri="{FF2B5EF4-FFF2-40B4-BE49-F238E27FC236}">
                <a16:creationId xmlns:a16="http://schemas.microsoft.com/office/drawing/2014/main" id="{F4E166C7-4A1D-5D67-10B8-17B93EF23D8D}"/>
              </a:ext>
            </a:extLst>
          </p:cNvPr>
          <p:cNvPicPr>
            <a:picLocks noGrp="1" noChangeAspect="1"/>
          </p:cNvPicPr>
          <p:nvPr>
            <p:ph idx="1"/>
          </p:nvPr>
        </p:nvPicPr>
        <p:blipFill>
          <a:blip r:embed="rId2" cstate="screen">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tretch>
            <a:fillRect/>
          </a:stretch>
        </p:blipFill>
        <p:spPr>
          <a:xfrm>
            <a:off x="635002" y="134251"/>
            <a:ext cx="10921999" cy="6096000"/>
          </a:xfrm>
          <a:prstGeom prst="rect">
            <a:avLst/>
          </a:prstGeom>
        </p:spPr>
      </p:pic>
      <p:sp>
        <p:nvSpPr>
          <p:cNvPr id="2" name="Rectangle 1">
            <a:extLst>
              <a:ext uri="{FF2B5EF4-FFF2-40B4-BE49-F238E27FC236}">
                <a16:creationId xmlns:a16="http://schemas.microsoft.com/office/drawing/2014/main" id="{57B01BB7-A3D0-974F-5370-6C7C58EF4CD6}"/>
              </a:ext>
            </a:extLst>
          </p:cNvPr>
          <p:cNvSpPr/>
          <p:nvPr/>
        </p:nvSpPr>
        <p:spPr>
          <a:xfrm>
            <a:off x="10659291" y="5995851"/>
            <a:ext cx="1018903" cy="37882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594332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545" name="Content Placeholder 3">
            <a:extLst>
              <a:ext uri="{FF2B5EF4-FFF2-40B4-BE49-F238E27FC236}">
                <a16:creationId xmlns:a16="http://schemas.microsoft.com/office/drawing/2014/main" id="{A9CE3831-D85B-CCDC-2E5D-20E7ACA1B3D7}"/>
              </a:ext>
            </a:extLst>
          </p:cNvPr>
          <p:cNvPicPr>
            <a:picLocks noGrp="1" noChangeAspect="1" noChangeArrowheads="1"/>
          </p:cNvPicPr>
          <p:nvPr>
            <p:ph idx="1"/>
          </p:nvPr>
        </p:nvPicPr>
        <p:blipFill>
          <a:blip r:embed="rId2" cstate="screen">
            <a:extLst>
              <a:ext uri="{28A0092B-C50C-407E-A947-70E740481C1C}">
                <a14:useLocalDpi xmlns:a14="http://schemas.microsoft.com/office/drawing/2010/main"/>
              </a:ext>
            </a:extLst>
          </a:blip>
          <a:srcRect t="6966" r="2771" b="-2330"/>
          <a:stretch>
            <a:fillRect/>
          </a:stretch>
        </p:blipFill>
        <p:spPr>
          <a:xfrm>
            <a:off x="0" y="159744"/>
            <a:ext cx="11854149" cy="6538512"/>
          </a:xfrm>
        </p:spPr>
      </p:pic>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29760"/>
            <a:ext cx="10358967" cy="1383015"/>
          </a:xfrm>
        </p:spPr>
        <p:txBody>
          <a:bodyPr/>
          <a:lstStyle/>
          <a:p>
            <a:r>
              <a:rPr lang="en-US" sz="3200" dirty="0">
                <a:solidFill>
                  <a:srgbClr val="0432FF"/>
                </a:solidFill>
              </a:rPr>
              <a:t>Dr Phillips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1938316046"/>
              </p:ext>
            </p:extLst>
          </p:nvPr>
        </p:nvGraphicFramePr>
        <p:xfrm>
          <a:off x="916516" y="1484784"/>
          <a:ext cx="10369152" cy="4580052"/>
        </p:xfrm>
        <a:graphic>
          <a:graphicData uri="http://schemas.openxmlformats.org/drawingml/2006/table">
            <a:tbl>
              <a:tblPr firstRow="1" bandRow="1">
                <a:tableStyleId>{F2DE63D5-997A-4646-A377-4702673A728D}</a:tableStyleId>
              </a:tblPr>
              <a:tblGrid>
                <a:gridCol w="2664296">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1184407">
                <a:tc>
                  <a:txBody>
                    <a:bodyPr/>
                    <a:lstStyle/>
                    <a:p>
                      <a:r>
                        <a:rPr lang="en-US" sz="1800" b="1" kern="1200" dirty="0">
                          <a:solidFill>
                            <a:schemeClr val="tx1"/>
                          </a:solidFill>
                          <a:effectLst/>
                          <a:latin typeface="+mn-lt"/>
                          <a:ea typeface="+mn-ea"/>
                          <a:cs typeface="+mn-cs"/>
                        </a:rPr>
                        <a:t>Advisory Boards/Consulting</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DC Therapeutics, AstraZeneca Pharmaceuticals LP, </a:t>
                      </a:r>
                      <a:r>
                        <a:rPr lang="en-US" sz="1800" b="0" kern="1200" dirty="0" err="1">
                          <a:solidFill>
                            <a:schemeClr val="tx1"/>
                          </a:solidFill>
                          <a:effectLst/>
                          <a:latin typeface="+mn-lt"/>
                          <a:ea typeface="+mn-ea"/>
                          <a:cs typeface="+mn-cs"/>
                        </a:rPr>
                        <a:t>BeOne</a:t>
                      </a:r>
                      <a:r>
                        <a:rPr lang="en-US" sz="1800" b="0" kern="1200" dirty="0">
                          <a:solidFill>
                            <a:schemeClr val="tx1"/>
                          </a:solidFill>
                          <a:effectLst/>
                          <a:latin typeface="+mn-lt"/>
                          <a:ea typeface="+mn-ea"/>
                          <a:cs typeface="+mn-cs"/>
                        </a:rPr>
                        <a:t>, Bristol Myers Squibb, Caribou Biosciences Inc, Celgene Corporation, Genentech, a member of the Roche Group, Genetics Pharmaceuticals, Genmab US Inc, Incyte Corporation, Ipsen Biopharmaceuticals Inc, Janssen Biotech Inc, Johnson &amp; Johnson, Kite, A Gilead Company, Lilly, Merck, Pfizer Inc, Pharmacyclics LLC, an AbbVie Company, </a:t>
                      </a:r>
                      <a:r>
                        <a:rPr lang="en-US" sz="1800" b="0" kern="1200" dirty="0" err="1">
                          <a:solidFill>
                            <a:schemeClr val="tx1"/>
                          </a:solidFill>
                          <a:effectLst/>
                          <a:latin typeface="+mn-lt"/>
                          <a:ea typeface="+mn-ea"/>
                          <a:cs typeface="+mn-cs"/>
                        </a:rPr>
                        <a:t>Seagen</a:t>
                      </a:r>
                      <a:r>
                        <a:rPr lang="en-US" sz="1800" b="0" kern="1200" dirty="0">
                          <a:solidFill>
                            <a:schemeClr val="tx1"/>
                          </a:solidFill>
                          <a:effectLst/>
                          <a:latin typeface="+mn-lt"/>
                          <a:ea typeface="+mn-ea"/>
                          <a:cs typeface="+mn-cs"/>
                        </a:rPr>
                        <a:t> Inc, </a:t>
                      </a:r>
                      <a:r>
                        <a:rPr lang="en-US" sz="1800" b="0" kern="1200" dirty="0" err="1">
                          <a:solidFill>
                            <a:schemeClr val="tx1"/>
                          </a:solidFill>
                          <a:effectLst/>
                          <a:latin typeface="+mn-lt"/>
                          <a:ea typeface="+mn-ea"/>
                          <a:cs typeface="+mn-cs"/>
                        </a:rPr>
                        <a:t>Xencor</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658004">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BeOne</a:t>
                      </a:r>
                      <a:r>
                        <a:rPr lang="en-US" sz="1800" b="0" kern="1200" dirty="0">
                          <a:solidFill>
                            <a:schemeClr val="tx1"/>
                          </a:solidFill>
                          <a:effectLst/>
                          <a:latin typeface="+mn-lt"/>
                          <a:ea typeface="+mn-ea"/>
                          <a:cs typeface="+mn-cs"/>
                        </a:rPr>
                        <a:t>, Genentech, a member of the Roche Group, Genmab US Inc, Merc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63560567"/>
                  </a:ext>
                </a:extLst>
              </a:tr>
              <a:tr h="658004">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Bristol Myers Squibb, Genentech, a member of the Roche Group, Sobi</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9213587"/>
                  </a:ext>
                </a:extLst>
              </a:tr>
              <a:tr h="658004">
                <a:tc>
                  <a:txBody>
                    <a:bodyPr/>
                    <a:lstStyle/>
                    <a:p>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Xencor</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83532433"/>
                  </a:ext>
                </a:extLst>
              </a:tr>
              <a:tr h="658004">
                <a:tc>
                  <a:txBody>
                    <a:bodyPr/>
                    <a:lstStyle/>
                    <a:p>
                      <a:r>
                        <a:rPr lang="en-US" sz="18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Blood Cancer United</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030235"/>
                  </a:ext>
                </a:extLst>
              </a:tr>
            </a:tbl>
          </a:graphicData>
        </a:graphic>
      </p:graphicFrame>
    </p:spTree>
    <p:custDataLst>
      <p:tags r:id="rId1"/>
    </p:custDataLst>
    <p:extLst>
      <p:ext uri="{BB962C8B-B14F-4D97-AF65-F5344CB8AC3E}">
        <p14:creationId xmlns:p14="http://schemas.microsoft.com/office/powerpoint/2010/main" val="12834494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86B9D0-CB63-02F8-7AA8-F54AFF59CD26}"/>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46977E90-F558-86A0-7CCB-0CC792E88957}"/>
              </a:ext>
            </a:extLst>
          </p:cNvPr>
          <p:cNvSpPr>
            <a:spLocks noGrp="1"/>
          </p:cNvSpPr>
          <p:nvPr>
            <p:ph idx="1"/>
          </p:nvPr>
        </p:nvSpPr>
        <p:spPr/>
        <p:txBody>
          <a:bodyPr/>
          <a:lstStyle/>
          <a:p>
            <a:endParaRPr lang="en-US"/>
          </a:p>
        </p:txBody>
      </p:sp>
      <p:pic>
        <p:nvPicPr>
          <p:cNvPr id="6" name="Picture 2">
            <a:extLst>
              <a:ext uri="{FF2B5EF4-FFF2-40B4-BE49-F238E27FC236}">
                <a16:creationId xmlns:a16="http://schemas.microsoft.com/office/drawing/2014/main" id="{AFC2F319-ED4B-E52F-577A-6C6F01248845}"/>
              </a:ext>
            </a:extLst>
          </p:cNvPr>
          <p:cNvPicPr>
            <a:picLocks noChangeAspect="1"/>
          </p:cNvPicPr>
          <p:nvPr/>
        </p:nvPicPr>
        <p:blipFill>
          <a:blip r:embed="rId2"/>
          <a:stretch>
            <a:fillRect/>
          </a:stretch>
        </p:blipFill>
        <p:spPr>
          <a:xfrm>
            <a:off x="413230" y="50800"/>
            <a:ext cx="11365541" cy="6339840"/>
          </a:xfrm>
          <a:prstGeom prst="rect">
            <a:avLst/>
          </a:prstGeom>
        </p:spPr>
      </p:pic>
      <p:sp>
        <p:nvSpPr>
          <p:cNvPr id="7" name="TextBox 6">
            <a:extLst>
              <a:ext uri="{FF2B5EF4-FFF2-40B4-BE49-F238E27FC236}">
                <a16:creationId xmlns:a16="http://schemas.microsoft.com/office/drawing/2014/main" id="{6A206D6E-6406-0BD1-3F4F-7FCB95D6BFFC}"/>
              </a:ext>
            </a:extLst>
          </p:cNvPr>
          <p:cNvSpPr txBox="1"/>
          <p:nvPr/>
        </p:nvSpPr>
        <p:spPr>
          <a:xfrm>
            <a:off x="1449860" y="6176963"/>
            <a:ext cx="5134354" cy="58477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err="1">
                <a:ln>
                  <a:noFill/>
                </a:ln>
                <a:solidFill>
                  <a:prstClr val="black"/>
                </a:solidFill>
                <a:effectLst/>
                <a:uLnTx/>
                <a:uFillTx/>
                <a:latin typeface="Aptos" panose="02110004020202020204"/>
                <a:ea typeface="+mn-ea"/>
                <a:cs typeface="+mn-cs"/>
              </a:rPr>
              <a:t>Thieblemont</a:t>
            </a:r>
            <a:r>
              <a:rPr kumimoji="0" lang="en-US" sz="3200" b="0" i="0" u="none" strike="noStrike" kern="1200" cap="none" spc="0" normalizeH="0" baseline="0" noProof="0" dirty="0">
                <a:ln>
                  <a:noFill/>
                </a:ln>
                <a:solidFill>
                  <a:prstClr val="black"/>
                </a:solidFill>
                <a:effectLst/>
                <a:uLnTx/>
                <a:uFillTx/>
                <a:latin typeface="Aptos" panose="02110004020202020204"/>
                <a:ea typeface="+mn-ea"/>
                <a:cs typeface="+mn-cs"/>
              </a:rPr>
              <a:t> et al, JCO 2022</a:t>
            </a:r>
          </a:p>
        </p:txBody>
      </p:sp>
      <p:sp>
        <p:nvSpPr>
          <p:cNvPr id="4" name="Rectangle 3">
            <a:extLst>
              <a:ext uri="{FF2B5EF4-FFF2-40B4-BE49-F238E27FC236}">
                <a16:creationId xmlns:a16="http://schemas.microsoft.com/office/drawing/2014/main" id="{B40C5D3C-DDC2-C5F1-7BA5-1A7A5F93F9A2}"/>
              </a:ext>
            </a:extLst>
          </p:cNvPr>
          <p:cNvSpPr/>
          <p:nvPr/>
        </p:nvSpPr>
        <p:spPr>
          <a:xfrm>
            <a:off x="10659291" y="5995851"/>
            <a:ext cx="1018903" cy="37882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367454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3A115CD-C87B-6606-4545-EACB309A2F32}"/>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338676" y="381000"/>
            <a:ext cx="11514648" cy="5795963"/>
          </a:xfrm>
          <a:prstGeom prst="rect">
            <a:avLst/>
          </a:prstGeom>
        </p:spPr>
      </p:pic>
      <p:sp>
        <p:nvSpPr>
          <p:cNvPr id="3" name="TextBox 2">
            <a:extLst>
              <a:ext uri="{FF2B5EF4-FFF2-40B4-BE49-F238E27FC236}">
                <a16:creationId xmlns:a16="http://schemas.microsoft.com/office/drawing/2014/main" id="{F0336A35-41BB-C8E6-A653-34E59D2CD995}"/>
              </a:ext>
            </a:extLst>
          </p:cNvPr>
          <p:cNvSpPr txBox="1"/>
          <p:nvPr/>
        </p:nvSpPr>
        <p:spPr>
          <a:xfrm>
            <a:off x="0" y="6369368"/>
            <a:ext cx="5207323" cy="43088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Karimi et al, Annals of Hematology 2026</a:t>
            </a:r>
          </a:p>
        </p:txBody>
      </p:sp>
      <p:sp>
        <p:nvSpPr>
          <p:cNvPr id="4" name="TextBox 3">
            <a:extLst>
              <a:ext uri="{FF2B5EF4-FFF2-40B4-BE49-F238E27FC236}">
                <a16:creationId xmlns:a16="http://schemas.microsoft.com/office/drawing/2014/main" id="{4CDF8C53-94D8-E326-1BC5-206ECE1036F8}"/>
              </a:ext>
            </a:extLst>
          </p:cNvPr>
          <p:cNvSpPr txBox="1"/>
          <p:nvPr/>
        </p:nvSpPr>
        <p:spPr>
          <a:xfrm>
            <a:off x="556607" y="188595"/>
            <a:ext cx="7016664" cy="58477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urability of response to Epcoritamab</a:t>
            </a:r>
          </a:p>
        </p:txBody>
      </p:sp>
    </p:spTree>
    <p:extLst>
      <p:ext uri="{BB962C8B-B14F-4D97-AF65-F5344CB8AC3E}">
        <p14:creationId xmlns:p14="http://schemas.microsoft.com/office/powerpoint/2010/main" val="11792735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0" y="28575"/>
            <a:ext cx="12192000" cy="6800851"/>
          </a:xfrm>
          <a:prstGeom prst="rect">
            <a:avLst/>
          </a:prstGeom>
        </p:spPr>
      </p:pic>
      <p:sp>
        <p:nvSpPr>
          <p:cNvPr id="3" name="Rectangle 2">
            <a:extLst>
              <a:ext uri="{FF2B5EF4-FFF2-40B4-BE49-F238E27FC236}">
                <a16:creationId xmlns:a16="http://schemas.microsoft.com/office/drawing/2014/main" id="{2C01D78F-C730-A4A1-BEDB-9895A16050B9}"/>
              </a:ext>
            </a:extLst>
          </p:cNvPr>
          <p:cNvSpPr/>
          <p:nvPr/>
        </p:nvSpPr>
        <p:spPr>
          <a:xfrm>
            <a:off x="11173097" y="6450602"/>
            <a:ext cx="1018903" cy="37882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Rectangle 4">
            <a:extLst>
              <a:ext uri="{FF2B5EF4-FFF2-40B4-BE49-F238E27FC236}">
                <a16:creationId xmlns:a16="http://schemas.microsoft.com/office/drawing/2014/main" id="{59D0CAB4-7C71-9EA0-8286-86DFAF98A03D}"/>
              </a:ext>
            </a:extLst>
          </p:cNvPr>
          <p:cNvSpPr/>
          <p:nvPr/>
        </p:nvSpPr>
        <p:spPr>
          <a:xfrm>
            <a:off x="3423424" y="6579220"/>
            <a:ext cx="3902927" cy="2502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24EFDC-80DC-8B34-72A2-A1171A765A9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D6B10AE-C027-8B87-C8EF-0058DA3D753A}"/>
              </a:ext>
            </a:extLst>
          </p:cNvPr>
          <p:cNvSpPr>
            <a:spLocks noGrp="1"/>
          </p:cNvSpPr>
          <p:nvPr>
            <p:ph type="title"/>
          </p:nvPr>
        </p:nvSpPr>
        <p:spPr>
          <a:xfrm>
            <a:off x="530038" y="286749"/>
            <a:ext cx="10873835" cy="906972"/>
          </a:xfrm>
        </p:spPr>
        <p:txBody>
          <a:bodyPr/>
          <a:lstStyle/>
          <a:p>
            <a:pPr>
              <a:lnSpc>
                <a:spcPct val="100000"/>
              </a:lnSpc>
            </a:pPr>
            <a:r>
              <a:rPr lang="en-GB" sz="2665" dirty="0"/>
              <a:t>STARGLO (NCT04408638): A randomized, global, Phase III trial</a:t>
            </a:r>
          </a:p>
        </p:txBody>
      </p:sp>
      <p:sp>
        <p:nvSpPr>
          <p:cNvPr id="4" name="Text Placeholder 3">
            <a:extLst>
              <a:ext uri="{FF2B5EF4-FFF2-40B4-BE49-F238E27FC236}">
                <a16:creationId xmlns:a16="http://schemas.microsoft.com/office/drawing/2014/main" id="{E90CDB51-0C57-CA02-4C22-A2A11992B240}"/>
              </a:ext>
            </a:extLst>
          </p:cNvPr>
          <p:cNvSpPr>
            <a:spLocks noGrp="1"/>
          </p:cNvSpPr>
          <p:nvPr>
            <p:ph type="body" sz="quarter" idx="11"/>
          </p:nvPr>
        </p:nvSpPr>
        <p:spPr>
          <a:xfrm>
            <a:off x="538542" y="5804672"/>
            <a:ext cx="8165183" cy="857784"/>
          </a:xfrm>
        </p:spPr>
        <p:txBody>
          <a:bodyPr/>
          <a:lstStyle/>
          <a:p>
            <a:r>
              <a:rPr lang="en-GB" sz="800" dirty="0"/>
              <a:t>*Gemcitabine 1000mg/m</a:t>
            </a:r>
            <a:r>
              <a:rPr lang="en-GB" sz="800" baseline="30000" dirty="0"/>
              <a:t>2</a:t>
            </a:r>
            <a:r>
              <a:rPr lang="en-GB" sz="800" dirty="0"/>
              <a:t>, oxaliplatin 100mg/m</a:t>
            </a:r>
            <a:r>
              <a:rPr lang="en-GB" sz="800" baseline="30000" dirty="0"/>
              <a:t>2</a:t>
            </a:r>
            <a:r>
              <a:rPr lang="en-GB" sz="800" dirty="0"/>
              <a:t>. In Cycle 1, </a:t>
            </a:r>
            <a:r>
              <a:rPr lang="en-GB" sz="800" dirty="0" err="1"/>
              <a:t>obinutuzumab</a:t>
            </a:r>
            <a:r>
              <a:rPr lang="en-GB" sz="800" dirty="0"/>
              <a:t> pretreatment administered on Day 1, </a:t>
            </a:r>
            <a:r>
              <a:rPr lang="en-GB" sz="800" dirty="0" err="1"/>
              <a:t>GemOx</a:t>
            </a:r>
            <a:r>
              <a:rPr lang="en-GB" sz="800" dirty="0"/>
              <a:t> on Day 2, </a:t>
            </a:r>
            <a:r>
              <a:rPr lang="en-GB" sz="800" dirty="0" err="1"/>
              <a:t>Glofit</a:t>
            </a:r>
            <a:r>
              <a:rPr lang="en-GB" sz="800" dirty="0"/>
              <a:t> 2.5mg on Day 8, </a:t>
            </a:r>
            <a:r>
              <a:rPr lang="en-GB" sz="800" dirty="0" err="1"/>
              <a:t>Glofit</a:t>
            </a:r>
            <a:r>
              <a:rPr lang="en-GB" sz="800" dirty="0"/>
              <a:t> 10mg on Day 15; </a:t>
            </a:r>
            <a:br>
              <a:rPr lang="en-GB" sz="800" dirty="0"/>
            </a:br>
            <a:r>
              <a:rPr lang="en-GB" sz="800" dirty="0"/>
              <a:t>in Cycles 2–8, Glofit 30mg and </a:t>
            </a:r>
            <a:r>
              <a:rPr lang="en-GB" sz="800" dirty="0" err="1"/>
              <a:t>GemOx</a:t>
            </a:r>
            <a:r>
              <a:rPr lang="en-GB" sz="800" dirty="0"/>
              <a:t> administered on Day 1. </a:t>
            </a:r>
            <a:r>
              <a:rPr lang="en-GB" sz="800" baseline="30000" dirty="0"/>
              <a:t>†</a:t>
            </a:r>
            <a:r>
              <a:rPr lang="en-GB" sz="800" dirty="0"/>
              <a:t>Rituximab 375mg/m</a:t>
            </a:r>
            <a:r>
              <a:rPr lang="en-GB" sz="800" baseline="30000" dirty="0"/>
              <a:t>2</a:t>
            </a:r>
            <a:r>
              <a:rPr lang="en-GB" sz="800" dirty="0"/>
              <a:t>. </a:t>
            </a:r>
            <a:r>
              <a:rPr lang="en-GB" sz="800" baseline="30000" dirty="0"/>
              <a:t>‡</a:t>
            </a:r>
            <a:r>
              <a:rPr lang="en-GB" sz="800" dirty="0"/>
              <a:t>Relapsed disease: recurrence after a response that lasted ≥6 months after completion of last line of therapy; refractory disease: disease that did not respond to, or that progressed &lt;6 months after completion of last line of therapy. ASCT, autologous stem cell transplant; </a:t>
            </a:r>
            <a:br>
              <a:rPr lang="en-GB" sz="800" dirty="0"/>
            </a:br>
            <a:r>
              <a:rPr lang="en-GB" sz="800" dirty="0"/>
              <a:t>CR, complete response; DLBCL, diffuse large B-cell lymphoma; </a:t>
            </a:r>
            <a:r>
              <a:rPr lang="en-GB" sz="800" dirty="0" err="1"/>
              <a:t>DoCR</a:t>
            </a:r>
            <a:r>
              <a:rPr lang="en-GB" sz="800" dirty="0"/>
              <a:t>, duration of complete response; ECOG, Eastern Cooperative Oncology Group; IRC, independent review committee; LOT, line of therapy; OS, overall survival; PFS, progression-free survival; R 2:1, randomized in a 2:1 ratio.</a:t>
            </a:r>
          </a:p>
        </p:txBody>
      </p:sp>
      <p:sp>
        <p:nvSpPr>
          <p:cNvPr id="5" name="Text Placeholder 4">
            <a:extLst>
              <a:ext uri="{FF2B5EF4-FFF2-40B4-BE49-F238E27FC236}">
                <a16:creationId xmlns:a16="http://schemas.microsoft.com/office/drawing/2014/main" id="{87A6C6C3-927A-FE2F-573A-E5649F3850FF}"/>
              </a:ext>
            </a:extLst>
          </p:cNvPr>
          <p:cNvSpPr>
            <a:spLocks noGrp="1"/>
          </p:cNvSpPr>
          <p:nvPr>
            <p:ph type="body" sz="quarter" idx="12"/>
          </p:nvPr>
        </p:nvSpPr>
        <p:spPr>
          <a:xfrm>
            <a:off x="8613572" y="6302568"/>
            <a:ext cx="3049661" cy="359889"/>
          </a:xfrm>
        </p:spPr>
        <p:txBody>
          <a:bodyPr/>
          <a:lstStyle/>
          <a:p>
            <a:r>
              <a:rPr lang="en-GB" sz="800" dirty="0"/>
              <a:t>1. Abramson JS, et al. Lancet 2024;404:1940–54.</a:t>
            </a:r>
          </a:p>
        </p:txBody>
      </p:sp>
      <p:sp>
        <p:nvSpPr>
          <p:cNvPr id="25" name="Rounded Rectangle 2015">
            <a:extLst>
              <a:ext uri="{FF2B5EF4-FFF2-40B4-BE49-F238E27FC236}">
                <a16:creationId xmlns:a16="http://schemas.microsoft.com/office/drawing/2014/main" id="{93DDEC50-3532-CA33-62FC-9C40E4BA3F6F}"/>
              </a:ext>
            </a:extLst>
          </p:cNvPr>
          <p:cNvSpPr/>
          <p:nvPr/>
        </p:nvSpPr>
        <p:spPr>
          <a:xfrm>
            <a:off x="528769" y="5207201"/>
            <a:ext cx="11197657" cy="633404"/>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6923" rtl="0" eaLnBrk="1" fontAlgn="base" latinLnBrk="0" hangingPunct="1">
              <a:lnSpc>
                <a:spcPct val="100000"/>
              </a:lnSpc>
              <a:spcBef>
                <a:spcPct val="0"/>
              </a:spcBef>
              <a:spcAft>
                <a:spcPct val="0"/>
              </a:spcAft>
              <a:buClrTx/>
              <a:buSzTx/>
              <a:buFontTx/>
              <a:buNone/>
              <a:tabLst/>
              <a:defRPr/>
            </a:pPr>
            <a:r>
              <a:rPr kumimoji="0" lang="en-GB" sz="1867" b="0" i="0" u="none" strike="noStrike" kern="1200" cap="none" spc="0" normalizeH="0" baseline="0" noProof="0" dirty="0">
                <a:ln>
                  <a:noFill/>
                </a:ln>
                <a:solidFill>
                  <a:srgbClr val="FFFFFF"/>
                </a:solidFill>
                <a:effectLst/>
                <a:uLnTx/>
                <a:uFillTx/>
                <a:latin typeface="Arial" panose="020B0604020202020204"/>
                <a:ea typeface="+mn-ea"/>
                <a:cs typeface="+mn-cs"/>
              </a:rPr>
              <a:t>We present efficacy and safety in clinically relevant subgroups from STARGLO, </a:t>
            </a:r>
            <a:br>
              <a:rPr kumimoji="0" lang="en-GB" sz="1867"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GB" sz="1867" b="0" i="0" u="none" strike="noStrike" kern="1200" cap="none" spc="0" normalizeH="0" baseline="0" noProof="0" dirty="0">
                <a:ln>
                  <a:noFill/>
                </a:ln>
                <a:solidFill>
                  <a:srgbClr val="FFFFFF"/>
                </a:solidFill>
                <a:effectLst/>
                <a:uLnTx/>
                <a:uFillTx/>
                <a:latin typeface="Arial" panose="020B0604020202020204"/>
                <a:ea typeface="+mn-ea"/>
                <a:cs typeface="+mn-cs"/>
              </a:rPr>
              <a:t>with 3 years of follow-up</a:t>
            </a:r>
          </a:p>
        </p:txBody>
      </p:sp>
      <p:sp>
        <p:nvSpPr>
          <p:cNvPr id="9" name="Rounded Rectangle 2015">
            <a:extLst>
              <a:ext uri="{FF2B5EF4-FFF2-40B4-BE49-F238E27FC236}">
                <a16:creationId xmlns:a16="http://schemas.microsoft.com/office/drawing/2014/main" id="{890B460D-F9E3-8353-1E54-F6C3BB562E8C}"/>
              </a:ext>
            </a:extLst>
          </p:cNvPr>
          <p:cNvSpPr/>
          <p:nvPr/>
        </p:nvSpPr>
        <p:spPr>
          <a:xfrm>
            <a:off x="528769" y="1434660"/>
            <a:ext cx="11134465" cy="727216"/>
          </a:xfrm>
          <a:prstGeom prst="round1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36990" marR="0" lvl="0" indent="-236990" algn="l" defTabSz="609402" rtl="0" eaLnBrk="1" fontAlgn="auto" latinLnBrk="0" hangingPunct="1">
              <a:lnSpc>
                <a:spcPct val="100000"/>
              </a:lnSpc>
              <a:spcBef>
                <a:spcPts val="0"/>
              </a:spcBef>
              <a:spcAft>
                <a:spcPts val="1600"/>
              </a:spcAft>
              <a:buClr>
                <a:srgbClr val="0B41CD"/>
              </a:buClr>
              <a:buSzTx/>
              <a:buFont typeface="Arial" panose="020B0604020202020204" pitchFamily="34" charset="0"/>
              <a:buChar char="•"/>
              <a:tabLst/>
              <a:defRPr/>
            </a:pPr>
            <a:r>
              <a:rPr kumimoji="0" lang="en-US" sz="1867" b="0" i="0" u="none" strike="noStrike" kern="1200" cap="none" spc="0" normalizeH="0" baseline="0" noProof="0" dirty="0" err="1">
                <a:ln>
                  <a:noFill/>
                </a:ln>
                <a:solidFill>
                  <a:srgbClr val="000000"/>
                </a:solidFill>
                <a:effectLst/>
                <a:uLnTx/>
                <a:uFillTx/>
                <a:latin typeface="Arial" panose="020B0604020202020204"/>
                <a:ea typeface="Calibri" panose="020F0502020204030204" pitchFamily="34" charset="0"/>
                <a:cs typeface="+mn-cs"/>
              </a:rPr>
              <a:t>Glofit-GemOx</a:t>
            </a:r>
            <a:r>
              <a:rPr kumimoji="0" lang="en-US" sz="1867"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mn-cs"/>
              </a:rPr>
              <a:t> has shown clinically meaningful and statistically significant benefits in OS, PFS, and CR rate compared with R-</a:t>
            </a:r>
            <a:r>
              <a:rPr kumimoji="0" lang="en-US" sz="1867" b="0" i="0" u="none" strike="noStrike" kern="1200" cap="none" spc="0" normalizeH="0" baseline="0" noProof="0" dirty="0" err="1">
                <a:ln>
                  <a:noFill/>
                </a:ln>
                <a:solidFill>
                  <a:srgbClr val="000000"/>
                </a:solidFill>
                <a:effectLst/>
                <a:uLnTx/>
                <a:uFillTx/>
                <a:latin typeface="Arial" panose="020B0604020202020204"/>
                <a:ea typeface="Calibri" panose="020F0502020204030204" pitchFamily="34" charset="0"/>
                <a:cs typeface="+mn-cs"/>
              </a:rPr>
              <a:t>GemOx</a:t>
            </a:r>
            <a:r>
              <a:rPr kumimoji="0" lang="en-US" sz="1867"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mn-cs"/>
              </a:rPr>
              <a:t> in patients with ASCT-ineligible R/R DLBCL in the STARGLO trial</a:t>
            </a:r>
            <a:r>
              <a:rPr kumimoji="0" lang="en-US" sz="1867" b="0" i="0" u="none" strike="noStrike" kern="1200" cap="none" spc="0" normalizeH="0" baseline="30000" noProof="0" dirty="0">
                <a:ln>
                  <a:noFill/>
                </a:ln>
                <a:solidFill>
                  <a:srgbClr val="000000"/>
                </a:solidFill>
                <a:effectLst/>
                <a:uLnTx/>
                <a:uFillTx/>
                <a:latin typeface="Arial" panose="020B0604020202020204"/>
                <a:ea typeface="Calibri" panose="020F0502020204030204" pitchFamily="34" charset="0"/>
                <a:cs typeface="+mn-cs"/>
              </a:rPr>
              <a:t>1</a:t>
            </a:r>
            <a:r>
              <a:rPr kumimoji="0" lang="en-US" sz="1867"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mn-cs"/>
              </a:rPr>
              <a:t> </a:t>
            </a:r>
          </a:p>
        </p:txBody>
      </p:sp>
      <p:grpSp>
        <p:nvGrpSpPr>
          <p:cNvPr id="10" name="Group 9">
            <a:extLst>
              <a:ext uri="{FF2B5EF4-FFF2-40B4-BE49-F238E27FC236}">
                <a16:creationId xmlns:a16="http://schemas.microsoft.com/office/drawing/2014/main" id="{458D7055-55FF-CB5D-3927-6801519C1DB3}"/>
              </a:ext>
            </a:extLst>
          </p:cNvPr>
          <p:cNvGrpSpPr/>
          <p:nvPr/>
        </p:nvGrpSpPr>
        <p:grpSpPr>
          <a:xfrm>
            <a:off x="1341081" y="2222376"/>
            <a:ext cx="9509840" cy="2755835"/>
            <a:chOff x="1055606" y="1722441"/>
            <a:chExt cx="7134581" cy="2113288"/>
          </a:xfrm>
        </p:grpSpPr>
        <p:grpSp>
          <p:nvGrpSpPr>
            <p:cNvPr id="12" name="Group 11">
              <a:extLst>
                <a:ext uri="{FF2B5EF4-FFF2-40B4-BE49-F238E27FC236}">
                  <a16:creationId xmlns:a16="http://schemas.microsoft.com/office/drawing/2014/main" id="{A7B39FE2-678C-54E3-FA40-1635BC461557}"/>
                </a:ext>
              </a:extLst>
            </p:cNvPr>
            <p:cNvGrpSpPr/>
            <p:nvPr/>
          </p:nvGrpSpPr>
          <p:grpSpPr>
            <a:xfrm>
              <a:off x="1055606" y="1722441"/>
              <a:ext cx="6925612" cy="2113288"/>
              <a:chOff x="1003387" y="1528227"/>
              <a:chExt cx="8325655" cy="3248605"/>
            </a:xfrm>
          </p:grpSpPr>
          <p:sp>
            <p:nvSpPr>
              <p:cNvPr id="14" name="Rectangle 13">
                <a:extLst>
                  <a:ext uri="{FF2B5EF4-FFF2-40B4-BE49-F238E27FC236}">
                    <a16:creationId xmlns:a16="http://schemas.microsoft.com/office/drawing/2014/main" id="{CCB1925C-FF07-C04B-0D6F-2E1E98040BB5}"/>
                  </a:ext>
                </a:extLst>
              </p:cNvPr>
              <p:cNvSpPr/>
              <p:nvPr/>
            </p:nvSpPr>
            <p:spPr>
              <a:xfrm>
                <a:off x="7754328" y="1585999"/>
                <a:ext cx="1574714" cy="986652"/>
              </a:xfrm>
              <a:prstGeom prst="rect">
                <a:avLst/>
              </a:prstGeom>
              <a:solidFill>
                <a:srgbClr val="E6F6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133" b="1" i="0" u="none" strike="noStrike" kern="1200" cap="none" spc="0" normalizeH="0" baseline="0" noProof="0" dirty="0">
                    <a:ln>
                      <a:noFill/>
                    </a:ln>
                    <a:solidFill>
                      <a:srgbClr val="000000"/>
                    </a:solidFill>
                    <a:effectLst/>
                    <a:uLnTx/>
                    <a:uFillTx/>
                    <a:latin typeface="Arial" panose="020B0604020202020204"/>
                    <a:ea typeface="+mn-ea"/>
                    <a:cs typeface="+mn-cs"/>
                  </a:rPr>
                  <a:t>Glofitamab </a:t>
                </a:r>
              </a:p>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133" b="0" i="0" u="none" strike="noStrike" kern="1200" cap="none" spc="0" normalizeH="0" baseline="0" noProof="0" dirty="0">
                    <a:ln>
                      <a:noFill/>
                    </a:ln>
                    <a:solidFill>
                      <a:srgbClr val="000000"/>
                    </a:solidFill>
                    <a:effectLst/>
                    <a:uLnTx/>
                    <a:uFillTx/>
                    <a:latin typeface="Arial" panose="020B0604020202020204"/>
                    <a:ea typeface="+mn-ea"/>
                    <a:cs typeface="+mn-cs"/>
                  </a:rPr>
                  <a:t>30mg on Day 1 </a:t>
                </a:r>
                <a:br>
                  <a:rPr kumimoji="0" lang="en-GB" sz="1133"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1133" b="0" i="0" u="none" strike="noStrike" kern="1200" cap="none" spc="0" normalizeH="0" baseline="0" noProof="0" dirty="0">
                    <a:ln>
                      <a:noFill/>
                    </a:ln>
                    <a:solidFill>
                      <a:srgbClr val="000000"/>
                    </a:solidFill>
                    <a:effectLst/>
                    <a:uLnTx/>
                    <a:uFillTx/>
                    <a:latin typeface="Arial" panose="020B0604020202020204"/>
                    <a:ea typeface="+mn-ea"/>
                    <a:cs typeface="+mn-cs"/>
                  </a:rPr>
                  <a:t>of each cycle</a:t>
                </a:r>
                <a:endParaRPr kumimoji="0" lang="en-GB" sz="1133" b="0" i="0" u="none" strike="noStrike" kern="1200" cap="none" spc="0" normalizeH="0" baseline="30000" noProof="0" dirty="0">
                  <a:ln>
                    <a:noFill/>
                  </a:ln>
                  <a:solidFill>
                    <a:srgbClr val="000000"/>
                  </a:solidFill>
                  <a:effectLst/>
                  <a:uLnTx/>
                  <a:uFillTx/>
                  <a:latin typeface="Arial" panose="020B0604020202020204"/>
                  <a:ea typeface="+mn-ea"/>
                  <a:cs typeface="+mn-cs"/>
                </a:endParaRPr>
              </a:p>
            </p:txBody>
          </p:sp>
          <p:sp>
            <p:nvSpPr>
              <p:cNvPr id="15" name="Google Shape;284;p28">
                <a:extLst>
                  <a:ext uri="{FF2B5EF4-FFF2-40B4-BE49-F238E27FC236}">
                    <a16:creationId xmlns:a16="http://schemas.microsoft.com/office/drawing/2014/main" id="{1F902AB6-40B2-7360-EE2B-509FC444694B}"/>
                  </a:ext>
                </a:extLst>
              </p:cNvPr>
              <p:cNvSpPr/>
              <p:nvPr/>
            </p:nvSpPr>
            <p:spPr>
              <a:xfrm>
                <a:off x="5244307" y="2888110"/>
                <a:ext cx="881901" cy="411033"/>
              </a:xfrm>
              <a:prstGeom prst="rect">
                <a:avLst/>
              </a:prstGeom>
              <a:noFill/>
              <a:ln>
                <a:noFill/>
              </a:ln>
            </p:spPr>
            <p:txBody>
              <a:bodyPr spcFirstLastPara="1" wrap="none" lIns="0" tIns="0" rIns="0" bIns="0" anchor="ctr" anchorCtr="0">
                <a:spAutoFit/>
              </a:bodyPr>
              <a:lstStyle/>
              <a:p>
                <a:pPr marL="0" marR="0" lvl="0" indent="0" algn="ctr" defTabSz="1463038" rtl="0" eaLnBrk="1" fontAlgn="auto" latinLnBrk="0" hangingPunct="1">
                  <a:lnSpc>
                    <a:spcPct val="100000"/>
                  </a:lnSpc>
                  <a:spcBef>
                    <a:spcPts val="0"/>
                  </a:spcBef>
                  <a:spcAft>
                    <a:spcPts val="0"/>
                  </a:spcAft>
                  <a:buClr>
                    <a:srgbClr val="000000"/>
                  </a:buClr>
                  <a:buSzTx/>
                  <a:buFontTx/>
                  <a:buNone/>
                  <a:tabLst/>
                  <a:defRPr/>
                </a:pPr>
                <a:r>
                  <a:rPr kumimoji="0" lang="en-CA" sz="1133" b="1" i="0" u="none" strike="noStrike" kern="0" cap="none" spc="0" normalizeH="0" baseline="0" noProof="0" dirty="0">
                    <a:ln>
                      <a:noFill/>
                    </a:ln>
                    <a:solidFill>
                      <a:srgbClr val="000000"/>
                    </a:solidFill>
                    <a:effectLst/>
                    <a:highlight>
                      <a:srgbClr val="FFFFFF"/>
                    </a:highlight>
                    <a:uLnTx/>
                    <a:uFillTx/>
                    <a:latin typeface="Arial" panose="020B0604020202020204"/>
                    <a:ea typeface="Arial"/>
                    <a:cs typeface="Arial"/>
                    <a:sym typeface="Arial"/>
                  </a:rPr>
                  <a:t>Cycles </a:t>
                </a:r>
                <a:r>
                  <a:rPr kumimoji="0" lang="en-CA" sz="1133" b="1" i="0" u="none" strike="noStrike" kern="0" cap="none" spc="0" normalizeH="0" baseline="0" noProof="0" dirty="0">
                    <a:ln>
                      <a:noFill/>
                    </a:ln>
                    <a:solidFill>
                      <a:srgbClr val="000000"/>
                    </a:solidFill>
                    <a:effectLst/>
                    <a:uLnTx/>
                    <a:uFillTx/>
                    <a:latin typeface="Arial" panose="020B0604020202020204"/>
                    <a:ea typeface="Arial"/>
                    <a:cs typeface="Arial"/>
                    <a:sym typeface="Arial"/>
                  </a:rPr>
                  <a:t>1–8</a:t>
                </a:r>
                <a:br>
                  <a:rPr kumimoji="0" lang="en-CA" sz="1133" b="0" i="1" u="none" strike="noStrike" kern="0" cap="none" spc="0" normalizeH="0" baseline="0" noProof="0" dirty="0">
                    <a:ln>
                      <a:noFill/>
                    </a:ln>
                    <a:solidFill>
                      <a:srgbClr val="000000"/>
                    </a:solidFill>
                    <a:effectLst/>
                    <a:uLnTx/>
                    <a:uFillTx/>
                    <a:latin typeface="Arial" panose="020B0604020202020204"/>
                    <a:ea typeface="Arial"/>
                    <a:cs typeface="Arial"/>
                    <a:sym typeface="Arial"/>
                  </a:rPr>
                </a:br>
                <a:r>
                  <a:rPr kumimoji="0" lang="en-CA" sz="1133" b="0" i="1" u="none" strike="noStrike" kern="0" cap="none" spc="0" normalizeH="0" baseline="0" noProof="0" dirty="0">
                    <a:ln>
                      <a:noFill/>
                    </a:ln>
                    <a:solidFill>
                      <a:srgbClr val="000000"/>
                    </a:solidFill>
                    <a:effectLst/>
                    <a:uLnTx/>
                    <a:uFillTx/>
                    <a:latin typeface="Arial" panose="020B0604020202020204"/>
                    <a:ea typeface="Arial"/>
                    <a:cs typeface="Arial"/>
                    <a:sym typeface="Arial"/>
                  </a:rPr>
                  <a:t>(21-day cycles)</a:t>
                </a:r>
                <a:endParaRPr kumimoji="0" sz="1133" b="0" i="0" u="none" strike="noStrike" kern="0" cap="none" spc="0" normalizeH="0" baseline="0" noProof="0" dirty="0">
                  <a:ln>
                    <a:noFill/>
                  </a:ln>
                  <a:solidFill>
                    <a:srgbClr val="000000"/>
                  </a:solidFill>
                  <a:effectLst/>
                  <a:uLnTx/>
                  <a:uFillTx/>
                  <a:latin typeface="Arial" panose="020B0604020202020204"/>
                  <a:ea typeface="Arial"/>
                  <a:cs typeface="Arial"/>
                  <a:sym typeface="Arial"/>
                </a:endParaRPr>
              </a:p>
            </p:txBody>
          </p:sp>
          <p:sp>
            <p:nvSpPr>
              <p:cNvPr id="16" name="Google Shape;284;p28">
                <a:extLst>
                  <a:ext uri="{FF2B5EF4-FFF2-40B4-BE49-F238E27FC236}">
                    <a16:creationId xmlns:a16="http://schemas.microsoft.com/office/drawing/2014/main" id="{7DCABE40-B9C3-31BA-DF91-8E95ECBA953A}"/>
                  </a:ext>
                </a:extLst>
              </p:cNvPr>
              <p:cNvSpPr/>
              <p:nvPr/>
            </p:nvSpPr>
            <p:spPr>
              <a:xfrm>
                <a:off x="8045926" y="2611242"/>
                <a:ext cx="896528" cy="205517"/>
              </a:xfrm>
              <a:prstGeom prst="rect">
                <a:avLst/>
              </a:prstGeom>
              <a:noFill/>
              <a:ln>
                <a:noFill/>
              </a:ln>
            </p:spPr>
            <p:txBody>
              <a:bodyPr spcFirstLastPara="1" wrap="square" lIns="0" tIns="0" rIns="0" bIns="0" anchor="ctr" anchorCtr="0">
                <a:spAutoFit/>
              </a:bodyPr>
              <a:lstStyle/>
              <a:p>
                <a:pPr marL="0" marR="0" lvl="0" indent="0" algn="ctr" defTabSz="1463038" rtl="0" eaLnBrk="1" fontAlgn="auto" latinLnBrk="0" hangingPunct="1">
                  <a:lnSpc>
                    <a:spcPct val="100000"/>
                  </a:lnSpc>
                  <a:spcBef>
                    <a:spcPts val="0"/>
                  </a:spcBef>
                  <a:spcAft>
                    <a:spcPts val="0"/>
                  </a:spcAft>
                  <a:buClr>
                    <a:srgbClr val="000000"/>
                  </a:buClr>
                  <a:buSzTx/>
                  <a:buFontTx/>
                  <a:buNone/>
                  <a:tabLst/>
                  <a:defRPr/>
                </a:pPr>
                <a:r>
                  <a:rPr kumimoji="0" lang="en-CA" sz="1133" b="1" i="0" u="none" strike="noStrike" kern="0" cap="none" spc="0" normalizeH="0" baseline="0" noProof="0" dirty="0">
                    <a:ln>
                      <a:noFill/>
                    </a:ln>
                    <a:solidFill>
                      <a:srgbClr val="000000"/>
                    </a:solidFill>
                    <a:effectLst/>
                    <a:highlight>
                      <a:srgbClr val="FFFFFF"/>
                    </a:highlight>
                    <a:uLnTx/>
                    <a:uFillTx/>
                    <a:latin typeface="Arial" panose="020B0604020202020204"/>
                    <a:ea typeface="Arial"/>
                    <a:cs typeface="Arial"/>
                    <a:sym typeface="Arial"/>
                  </a:rPr>
                  <a:t>Cycles </a:t>
                </a:r>
                <a:r>
                  <a:rPr kumimoji="0" lang="en-CA" sz="1133" b="1" i="0" u="none" strike="noStrike" kern="0" cap="none" spc="0" normalizeH="0" baseline="0" noProof="0" dirty="0">
                    <a:ln>
                      <a:noFill/>
                    </a:ln>
                    <a:solidFill>
                      <a:srgbClr val="000000"/>
                    </a:solidFill>
                    <a:effectLst/>
                    <a:uLnTx/>
                    <a:uFillTx/>
                    <a:latin typeface="Arial" panose="020B0604020202020204"/>
                    <a:ea typeface="Arial"/>
                    <a:cs typeface="Arial"/>
                    <a:sym typeface="Arial"/>
                  </a:rPr>
                  <a:t>9–12</a:t>
                </a:r>
                <a:endParaRPr kumimoji="0" sz="1133" b="0" i="0" u="none" strike="noStrike" kern="0" cap="none" spc="0" normalizeH="0" baseline="0" noProof="0" dirty="0">
                  <a:ln>
                    <a:noFill/>
                  </a:ln>
                  <a:solidFill>
                    <a:srgbClr val="000000"/>
                  </a:solidFill>
                  <a:effectLst/>
                  <a:uLnTx/>
                  <a:uFillTx/>
                  <a:latin typeface="Arial" panose="020B0604020202020204"/>
                  <a:ea typeface="Arial"/>
                  <a:cs typeface="Arial"/>
                  <a:sym typeface="Arial"/>
                </a:endParaRPr>
              </a:p>
            </p:txBody>
          </p:sp>
          <p:sp>
            <p:nvSpPr>
              <p:cNvPr id="17" name="Rectangle 16">
                <a:extLst>
                  <a:ext uri="{FF2B5EF4-FFF2-40B4-BE49-F238E27FC236}">
                    <a16:creationId xmlns:a16="http://schemas.microsoft.com/office/drawing/2014/main" id="{407F5472-06BD-64AB-5BD9-0E7957E3112E}"/>
                  </a:ext>
                </a:extLst>
              </p:cNvPr>
              <p:cNvSpPr/>
              <p:nvPr/>
            </p:nvSpPr>
            <p:spPr>
              <a:xfrm>
                <a:off x="1131208" y="3836237"/>
                <a:ext cx="2350736" cy="8646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609402" rtl="0" eaLnBrk="1" fontAlgn="auto" latinLnBrk="0" hangingPunct="1">
                  <a:lnSpc>
                    <a:spcPct val="100000"/>
                  </a:lnSpc>
                  <a:spcBef>
                    <a:spcPts val="0"/>
                  </a:spcBef>
                  <a:spcAft>
                    <a:spcPts val="72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Stratification factors</a:t>
                </a:r>
              </a:p>
              <a:p>
                <a:pPr marL="215268" marR="0" lvl="0" indent="-215268" algn="l" defTabSz="609402" rtl="0" eaLnBrk="1" fontAlgn="auto" latinLnBrk="0" hangingPunct="1">
                  <a:lnSpc>
                    <a:spcPct val="100000"/>
                  </a:lnSpc>
                  <a:spcBef>
                    <a:spcPts val="0"/>
                  </a:spcBef>
                  <a:spcAft>
                    <a:spcPts val="72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Relapsed</a:t>
                </a:r>
                <a:r>
                  <a:rPr kumimoji="0" lang="en-GB" sz="1200" b="0" i="0" u="none" strike="noStrike" kern="1200" cap="none" spc="0" normalizeH="0" baseline="30000" noProof="0" dirty="0">
                    <a:ln>
                      <a:noFill/>
                    </a:ln>
                    <a:solidFill>
                      <a:srgbClr val="000000"/>
                    </a:solidFill>
                    <a:effectLst/>
                    <a:uLnTx/>
                    <a:uFillTx/>
                    <a:latin typeface="Arial" panose="020B0604020202020204"/>
                    <a:ea typeface="+mn-ea"/>
                    <a:cs typeface="+mn-cs"/>
                  </a:rPr>
                  <a:t> </a:t>
                </a: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vs refractory disease</a:t>
                </a:r>
                <a:r>
                  <a:rPr kumimoji="0" lang="en-GB" sz="1200" b="0" i="0" u="none" strike="noStrike" kern="1200" cap="none" spc="0" normalizeH="0" baseline="30000" noProof="0" dirty="0">
                    <a:ln>
                      <a:noFill/>
                    </a:ln>
                    <a:solidFill>
                      <a:srgbClr val="000000"/>
                    </a:solidFill>
                    <a:effectLst/>
                    <a:uLnTx/>
                    <a:uFillTx/>
                    <a:latin typeface="Arial" panose="020B0604020202020204"/>
                    <a:ea typeface="+mn-ea"/>
                    <a:cs typeface="+mn-cs"/>
                  </a:rPr>
                  <a:t>‡</a:t>
                </a:r>
              </a:p>
              <a:p>
                <a:pPr marL="205742" marR="0" lvl="0" indent="-205742" algn="l" defTabSz="609402" rtl="0" eaLnBrk="1" fontAlgn="auto" latinLnBrk="0" hangingPunct="1">
                  <a:lnSpc>
                    <a:spcPct val="100000"/>
                  </a:lnSpc>
                  <a:spcBef>
                    <a:spcPts val="0"/>
                  </a:spcBef>
                  <a:spcAft>
                    <a:spcPts val="72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1 vs ≥2 prior lines of therapy</a:t>
                </a:r>
              </a:p>
            </p:txBody>
          </p:sp>
          <p:cxnSp>
            <p:nvCxnSpPr>
              <p:cNvPr id="18" name="Straight Arrow Connector 17">
                <a:extLst>
                  <a:ext uri="{FF2B5EF4-FFF2-40B4-BE49-F238E27FC236}">
                    <a16:creationId xmlns:a16="http://schemas.microsoft.com/office/drawing/2014/main" id="{7650AC87-EA06-8711-17A0-F01338D1A1CE}"/>
                  </a:ext>
                </a:extLst>
              </p:cNvPr>
              <p:cNvCxnSpPr>
                <a:cxnSpLocks/>
              </p:cNvCxnSpPr>
              <p:nvPr/>
            </p:nvCxnSpPr>
            <p:spPr>
              <a:xfrm>
                <a:off x="7257679" y="2029400"/>
                <a:ext cx="488253" cy="0"/>
              </a:xfrm>
              <a:prstGeom prst="straightConnector1">
                <a:avLst/>
              </a:prstGeom>
              <a:ln w="1905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74F724E0-8790-3B27-8F28-2F6616CA90DF}"/>
                  </a:ext>
                </a:extLst>
              </p:cNvPr>
              <p:cNvCxnSpPr>
                <a:cxnSpLocks/>
              </p:cNvCxnSpPr>
              <p:nvPr/>
            </p:nvCxnSpPr>
            <p:spPr>
              <a:xfrm flipH="1">
                <a:off x="4237898" y="2033136"/>
                <a:ext cx="12700" cy="2104400"/>
              </a:xfrm>
              <a:prstGeom prst="bentConnector3">
                <a:avLst>
                  <a:gd name="adj1" fmla="val 3022016"/>
                </a:avLst>
              </a:prstGeom>
              <a:ln w="1905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B363CEBD-4B75-D937-F7BF-2F7CA1A9B323}"/>
                  </a:ext>
                </a:extLst>
              </p:cNvPr>
              <p:cNvCxnSpPr>
                <a:cxnSpLocks/>
              </p:cNvCxnSpPr>
              <p:nvPr/>
            </p:nvCxnSpPr>
            <p:spPr>
              <a:xfrm>
                <a:off x="3157939" y="3093624"/>
                <a:ext cx="540086" cy="0"/>
              </a:xfrm>
              <a:prstGeom prst="straightConnector1">
                <a:avLst/>
              </a:prstGeom>
              <a:ln w="19050">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E789747B-4779-02DA-DE23-3EA667B25647}"/>
                  </a:ext>
                </a:extLst>
              </p:cNvPr>
              <p:cNvSpPr>
                <a:spLocks/>
              </p:cNvSpPr>
              <p:nvPr/>
            </p:nvSpPr>
            <p:spPr>
              <a:xfrm>
                <a:off x="3580898" y="2800496"/>
                <a:ext cx="573557" cy="58625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320" b="1" i="0" u="none" strike="noStrike" kern="1200" cap="none" spc="0" normalizeH="0" baseline="0" noProof="0" dirty="0">
                    <a:ln>
                      <a:noFill/>
                    </a:ln>
                    <a:solidFill>
                      <a:srgbClr val="FFFFFF"/>
                    </a:solidFill>
                    <a:effectLst/>
                    <a:uLnTx/>
                    <a:uFillTx/>
                    <a:latin typeface="Arial" panose="020B0604020202020204"/>
                    <a:ea typeface="+mn-ea"/>
                    <a:cs typeface="+mn-cs"/>
                  </a:rPr>
                  <a:t>R 2:1</a:t>
                </a:r>
              </a:p>
            </p:txBody>
          </p:sp>
          <p:sp>
            <p:nvSpPr>
              <p:cNvPr id="22" name="Rectangle 21">
                <a:extLst>
                  <a:ext uri="{FF2B5EF4-FFF2-40B4-BE49-F238E27FC236}">
                    <a16:creationId xmlns:a16="http://schemas.microsoft.com/office/drawing/2014/main" id="{2076DF1D-6CF2-3A7B-BB23-E549C2F14116}"/>
                  </a:ext>
                </a:extLst>
              </p:cNvPr>
              <p:cNvSpPr/>
              <p:nvPr/>
            </p:nvSpPr>
            <p:spPr>
              <a:xfrm>
                <a:off x="4016270" y="2039162"/>
                <a:ext cx="3360800" cy="677177"/>
              </a:xfrm>
              <a:prstGeom prst="rect">
                <a:avLst/>
              </a:prstGeom>
              <a:solidFill>
                <a:srgbClr val="E6F6EF"/>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133" b="1" i="0" u="none" strike="noStrike" kern="1200" cap="none" spc="0" normalizeH="0" baseline="0" noProof="0" dirty="0">
                    <a:ln>
                      <a:noFill/>
                    </a:ln>
                    <a:solidFill>
                      <a:srgbClr val="000000"/>
                    </a:solidFill>
                    <a:effectLst/>
                    <a:uLnTx/>
                    <a:uFillTx/>
                    <a:latin typeface="Arial" panose="020B0604020202020204"/>
                    <a:ea typeface="+mn-ea"/>
                    <a:cs typeface="+mn-cs"/>
                  </a:rPr>
                  <a:t>Glofitamab plus </a:t>
                </a:r>
                <a:r>
                  <a:rPr kumimoji="0" lang="fr-FR" sz="1133" b="1" i="0" u="none" strike="noStrike" kern="1200" cap="none" spc="0" normalizeH="0" baseline="0" noProof="0" dirty="0">
                    <a:ln>
                      <a:noFill/>
                    </a:ln>
                    <a:solidFill>
                      <a:srgbClr val="000000"/>
                    </a:solidFill>
                    <a:effectLst/>
                    <a:uLnTx/>
                    <a:uFillTx/>
                    <a:latin typeface="Arial" panose="020B0604020202020204"/>
                    <a:ea typeface="+mn-ea"/>
                    <a:cs typeface="+mn-cs"/>
                  </a:rPr>
                  <a:t>gemcitabine and oxaliplatin*</a:t>
                </a:r>
              </a:p>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133" b="0" i="0" u="none" strike="noStrike" kern="1200" cap="none" spc="0" normalizeH="0" baseline="0" noProof="0" dirty="0">
                    <a:ln>
                      <a:noFill/>
                    </a:ln>
                    <a:solidFill>
                      <a:srgbClr val="000000"/>
                    </a:solidFill>
                    <a:effectLst/>
                    <a:uLnTx/>
                    <a:uFillTx/>
                    <a:latin typeface="Arial" panose="020B0604020202020204"/>
                    <a:ea typeface="+mn-ea"/>
                    <a:cs typeface="+mn-cs"/>
                  </a:rPr>
                  <a:t> Glofitamab step-up dosing in Cycle 1,</a:t>
                </a:r>
              </a:p>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133" b="0" i="0" u="none" strike="noStrike" kern="1200" cap="none" spc="0" normalizeH="0" baseline="0" noProof="0" dirty="0">
                    <a:ln>
                      <a:noFill/>
                    </a:ln>
                    <a:solidFill>
                      <a:srgbClr val="000000"/>
                    </a:solidFill>
                    <a:effectLst/>
                    <a:uLnTx/>
                    <a:uFillTx/>
                    <a:latin typeface="Arial" panose="020B0604020202020204"/>
                    <a:ea typeface="+mn-ea"/>
                    <a:cs typeface="+mn-cs"/>
                  </a:rPr>
                  <a:t>30mg on Day 1 from Cycle 2 onwards</a:t>
                </a:r>
              </a:p>
            </p:txBody>
          </p:sp>
          <p:sp>
            <p:nvSpPr>
              <p:cNvPr id="23" name="Rectangle 22">
                <a:extLst>
                  <a:ext uri="{FF2B5EF4-FFF2-40B4-BE49-F238E27FC236}">
                    <a16:creationId xmlns:a16="http://schemas.microsoft.com/office/drawing/2014/main" id="{88B2D740-795B-EBF4-25B1-799469E838B5}"/>
                  </a:ext>
                </a:extLst>
              </p:cNvPr>
              <p:cNvSpPr/>
              <p:nvPr/>
            </p:nvSpPr>
            <p:spPr>
              <a:xfrm>
                <a:off x="3999799" y="4137368"/>
                <a:ext cx="3391973" cy="639464"/>
              </a:xfrm>
              <a:prstGeom prst="rect">
                <a:avLst/>
              </a:prstGeom>
              <a:solidFill>
                <a:srgbClr val="E7F0F9"/>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fr-FR" sz="1133" b="1" i="0" u="none" strike="noStrike" kern="1200" cap="none" spc="0" normalizeH="0" baseline="0" noProof="0" dirty="0">
                    <a:ln>
                      <a:noFill/>
                    </a:ln>
                    <a:solidFill>
                      <a:srgbClr val="000000"/>
                    </a:solidFill>
                    <a:effectLst/>
                    <a:uLnTx/>
                    <a:uFillTx/>
                    <a:latin typeface="Arial" panose="020B0604020202020204"/>
                    <a:ea typeface="+mn-ea"/>
                    <a:cs typeface="+mn-cs"/>
                  </a:rPr>
                  <a:t>Rituximab</a:t>
                </a:r>
                <a:r>
                  <a:rPr kumimoji="0" lang="en-GB" sz="1133" b="1" i="0" u="none" strike="noStrike" kern="1200" cap="none" spc="0" normalizeH="0" baseline="30000" noProof="0" dirty="0">
                    <a:ln>
                      <a:noFill/>
                    </a:ln>
                    <a:solidFill>
                      <a:srgbClr val="000000"/>
                    </a:solidFill>
                    <a:effectLst/>
                    <a:uLnTx/>
                    <a:uFillTx/>
                    <a:latin typeface="Arial" panose="020B0604020202020204"/>
                    <a:ea typeface="+mn-ea"/>
                    <a:cs typeface="+mn-cs"/>
                  </a:rPr>
                  <a:t>†</a:t>
                </a:r>
                <a:r>
                  <a:rPr kumimoji="0" lang="fr-FR" sz="1133" b="1" i="0" u="none" strike="noStrike" kern="1200" cap="none" spc="0" normalizeH="0" baseline="0" noProof="0" dirty="0">
                    <a:ln>
                      <a:noFill/>
                    </a:ln>
                    <a:solidFill>
                      <a:srgbClr val="000000"/>
                    </a:solidFill>
                    <a:effectLst/>
                    <a:uLnTx/>
                    <a:uFillTx/>
                    <a:latin typeface="Arial" panose="020B0604020202020204"/>
                    <a:ea typeface="+mn-ea"/>
                    <a:cs typeface="+mn-cs"/>
                  </a:rPr>
                  <a:t> plus gemcitabine and oxaliplatin </a:t>
                </a:r>
                <a:r>
                  <a:rPr kumimoji="0" lang="en-US" sz="1133" b="0" i="0" u="none" strike="noStrike" kern="1200" cap="none" spc="0" normalizeH="0" baseline="0" noProof="0" dirty="0">
                    <a:ln>
                      <a:noFill/>
                    </a:ln>
                    <a:solidFill>
                      <a:srgbClr val="000000"/>
                    </a:solidFill>
                    <a:effectLst/>
                    <a:uLnTx/>
                    <a:uFillTx/>
                    <a:latin typeface="Arial" panose="020B0604020202020204"/>
                    <a:ea typeface="+mn-ea"/>
                    <a:cs typeface="+mn-cs"/>
                  </a:rPr>
                  <a:t>Administered</a:t>
                </a:r>
                <a:r>
                  <a:rPr kumimoji="0" lang="fr-FR" sz="1133" b="0" i="0" u="none" strike="noStrike" kern="1200" cap="none" spc="0" normalizeH="0" baseline="0" noProof="0" dirty="0">
                    <a:ln>
                      <a:noFill/>
                    </a:ln>
                    <a:solidFill>
                      <a:srgbClr val="000000"/>
                    </a:solidFill>
                    <a:effectLst/>
                    <a:uLnTx/>
                    <a:uFillTx/>
                    <a:latin typeface="Arial" panose="020B0604020202020204"/>
                    <a:ea typeface="+mn-ea"/>
                    <a:cs typeface="+mn-cs"/>
                  </a:rPr>
                  <a:t> on Day 1 of each cycle</a:t>
                </a:r>
                <a:endParaRPr kumimoji="0" lang="en-GB" sz="1133"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 name="Rectangle 23">
                <a:extLst>
                  <a:ext uri="{FF2B5EF4-FFF2-40B4-BE49-F238E27FC236}">
                    <a16:creationId xmlns:a16="http://schemas.microsoft.com/office/drawing/2014/main" id="{B026D517-FF56-EFA5-7B9E-E239A2F62938}"/>
                  </a:ext>
                </a:extLst>
              </p:cNvPr>
              <p:cNvSpPr/>
              <p:nvPr/>
            </p:nvSpPr>
            <p:spPr>
              <a:xfrm>
                <a:off x="4016270" y="1528227"/>
                <a:ext cx="3360800" cy="510934"/>
              </a:xfrm>
              <a:prstGeom prst="rect">
                <a:avLst/>
              </a:prstGeom>
              <a:solidFill>
                <a:srgbClr val="009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680" b="1" i="0" u="none" strike="noStrike" kern="1200" cap="none" spc="0" normalizeH="0" baseline="0" noProof="0" dirty="0">
                    <a:ln>
                      <a:noFill/>
                    </a:ln>
                    <a:solidFill>
                      <a:srgbClr val="FFFFFF"/>
                    </a:solidFill>
                    <a:effectLst/>
                    <a:uLnTx/>
                    <a:uFillTx/>
                    <a:latin typeface="Arial"/>
                    <a:ea typeface="Arial"/>
                    <a:cs typeface="Arial"/>
                    <a:sym typeface="Arial"/>
                  </a:rPr>
                  <a:t>Glofit-GemOx (n=183)</a:t>
                </a:r>
              </a:p>
            </p:txBody>
          </p:sp>
          <p:sp>
            <p:nvSpPr>
              <p:cNvPr id="27" name="Rectangle 26">
                <a:extLst>
                  <a:ext uri="{FF2B5EF4-FFF2-40B4-BE49-F238E27FC236}">
                    <a16:creationId xmlns:a16="http://schemas.microsoft.com/office/drawing/2014/main" id="{C2B6906B-7E98-3B64-2998-AF4FBEAC5EB6}"/>
                  </a:ext>
                </a:extLst>
              </p:cNvPr>
              <p:cNvSpPr/>
              <p:nvPr/>
            </p:nvSpPr>
            <p:spPr>
              <a:xfrm>
                <a:off x="4016269" y="3624835"/>
                <a:ext cx="3360798" cy="512536"/>
              </a:xfrm>
              <a:prstGeom prst="rect">
                <a:avLst/>
              </a:prstGeom>
              <a:solidFill>
                <a:srgbClr val="0B41CD"/>
              </a:solidFill>
              <a:ln>
                <a:solidFill>
                  <a:srgbClr val="0B41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680" b="1" i="0" u="none" strike="noStrike" kern="1200" cap="none" spc="0" normalizeH="0" baseline="0" noProof="0" dirty="0">
                    <a:ln>
                      <a:noFill/>
                    </a:ln>
                    <a:solidFill>
                      <a:srgbClr val="FFFFFF"/>
                    </a:solidFill>
                    <a:effectLst/>
                    <a:uLnTx/>
                    <a:uFillTx/>
                    <a:latin typeface="Arial"/>
                    <a:ea typeface="Arial"/>
                    <a:cs typeface="Arial"/>
                    <a:sym typeface="Arial"/>
                  </a:rPr>
                  <a:t>R-GemOx (n=91)</a:t>
                </a:r>
              </a:p>
            </p:txBody>
          </p:sp>
          <p:sp>
            <p:nvSpPr>
              <p:cNvPr id="28" name="Rectangle 27">
                <a:extLst>
                  <a:ext uri="{FF2B5EF4-FFF2-40B4-BE49-F238E27FC236}">
                    <a16:creationId xmlns:a16="http://schemas.microsoft.com/office/drawing/2014/main" id="{6CC490AA-58EE-8570-7B3D-2E0B0A8C52CE}"/>
                  </a:ext>
                </a:extLst>
              </p:cNvPr>
              <p:cNvSpPr/>
              <p:nvPr/>
            </p:nvSpPr>
            <p:spPr>
              <a:xfrm>
                <a:off x="1003387" y="1999818"/>
                <a:ext cx="2478558" cy="181259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2800" rIns="43200" rtlCol="0" anchor="ctr">
                <a:noAutofit/>
              </a:bodyPr>
              <a:lstStyle/>
              <a:p>
                <a:pPr marL="0" marR="0" lvl="0" indent="0" algn="l" defTabSz="609402" rtl="0" eaLnBrk="1" fontAlgn="auto" latinLnBrk="0" hangingPunct="1">
                  <a:lnSpc>
                    <a:spcPct val="100000"/>
                  </a:lnSpc>
                  <a:spcBef>
                    <a:spcPts val="0"/>
                  </a:spcBef>
                  <a:spcAft>
                    <a:spcPts val="72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Patients </a:t>
                </a:r>
                <a:r>
                  <a:rPr kumimoji="0" lang="pt-BR" sz="1200" b="1" i="0" u="none" strike="noStrike" kern="1200" cap="none" spc="0" normalizeH="0" baseline="0" noProof="0" dirty="0">
                    <a:ln>
                      <a:noFill/>
                    </a:ln>
                    <a:solidFill>
                      <a:srgbClr val="000000"/>
                    </a:solidFill>
                    <a:effectLst/>
                    <a:uLnTx/>
                    <a:uFillTx/>
                    <a:latin typeface="Arial" panose="020B0604020202020204"/>
                    <a:ea typeface="+mn-ea"/>
                    <a:cs typeface="+mn-cs"/>
                  </a:rPr>
                  <a:t>R/R DLBCL (N=274)</a:t>
                </a:r>
                <a:endPar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endParaRPr>
              </a:p>
              <a:p>
                <a:pPr marL="213361" marR="0" lvl="0" indent="-213361" algn="l" defTabSz="609402" rtl="0" eaLnBrk="1" fontAlgn="auto" latinLnBrk="0" hangingPunct="1">
                  <a:lnSpc>
                    <a:spcPct val="100000"/>
                  </a:lnSpc>
                  <a:spcBef>
                    <a:spcPts val="0"/>
                  </a:spcBef>
                  <a:spcAft>
                    <a:spcPts val="72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R/R DLBCL NOS after ≥1 prior systemic therapy </a:t>
                </a:r>
              </a:p>
              <a:p>
                <a:pPr marL="213361" marR="0" lvl="0" indent="-213361" algn="l" defTabSz="609402" rtl="0" eaLnBrk="1" fontAlgn="auto" latinLnBrk="0" hangingPunct="1">
                  <a:lnSpc>
                    <a:spcPct val="100000"/>
                  </a:lnSpc>
                  <a:spcBef>
                    <a:spcPts val="0"/>
                  </a:spcBef>
                  <a:spcAft>
                    <a:spcPts val="72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Patients with 1 prior line must be transplant ineligible</a:t>
                </a:r>
              </a:p>
              <a:p>
                <a:pPr marL="213361" marR="0" lvl="0" indent="-213361" algn="l" defTabSz="609402" rtl="0" eaLnBrk="1" fontAlgn="auto" latinLnBrk="0" hangingPunct="1">
                  <a:lnSpc>
                    <a:spcPct val="100000"/>
                  </a:lnSpc>
                  <a:spcBef>
                    <a:spcPts val="0"/>
                  </a:spcBef>
                  <a:spcAft>
                    <a:spcPts val="72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a:ea typeface="Arial"/>
                    <a:cs typeface="Arial"/>
                    <a:sym typeface="Arial"/>
                  </a:rPr>
                  <a:t>ECOG performance status 0–2</a:t>
                </a:r>
                <a:endPar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13" name="Rectangle: Rounded Corners 12">
              <a:extLst>
                <a:ext uri="{FF2B5EF4-FFF2-40B4-BE49-F238E27FC236}">
                  <a16:creationId xmlns:a16="http://schemas.microsoft.com/office/drawing/2014/main" id="{0CCD5263-D0FF-B5F1-EDD2-A12269166E95}"/>
                </a:ext>
              </a:extLst>
            </p:cNvPr>
            <p:cNvSpPr/>
            <p:nvPr/>
          </p:nvSpPr>
          <p:spPr>
            <a:xfrm>
              <a:off x="6484899" y="2660055"/>
              <a:ext cx="1705288" cy="1174243"/>
            </a:xfrm>
            <a:prstGeom prst="roundRect">
              <a:avLst/>
            </a:prstGeom>
            <a:solidFill>
              <a:srgbClr val="BDE3FF"/>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Primary endpoint: </a:t>
              </a: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OS</a:t>
              </a:r>
            </a:p>
            <a:p>
              <a:pPr marL="0" marR="0" lvl="0" indent="0" algn="l" defTabSz="609402" rtl="0" eaLnBrk="1" fontAlgn="auto" latinLnBrk="0" hangingPunct="1">
                <a:lnSpc>
                  <a:spcPct val="100000"/>
                </a:lnSpc>
                <a:spcBef>
                  <a:spcPts val="267"/>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Key secondary endpoints: </a:t>
              </a:r>
              <a:b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PFS, CR rate, </a:t>
              </a:r>
              <a:r>
                <a:rPr kumimoji="0" lang="en-GB" sz="1200" b="0" i="0" u="none" strike="noStrike" kern="1200" cap="none" spc="0" normalizeH="0" baseline="0" noProof="0" dirty="0" err="1">
                  <a:ln>
                    <a:noFill/>
                  </a:ln>
                  <a:solidFill>
                    <a:srgbClr val="000000"/>
                  </a:solidFill>
                  <a:effectLst/>
                  <a:uLnTx/>
                  <a:uFillTx/>
                  <a:latin typeface="Arial" panose="020B0604020202020204"/>
                  <a:ea typeface="+mn-ea"/>
                  <a:cs typeface="+mn-cs"/>
                </a:rPr>
                <a:t>DoCR</a:t>
              </a: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 </a:t>
              </a:r>
              <a:b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all IRC-assessed)</a:t>
              </a:r>
            </a:p>
            <a:p>
              <a:pPr marL="0" marR="0" lvl="0" indent="0" algn="l" defTabSz="609402" rtl="0" eaLnBrk="1" fontAlgn="auto" latinLnBrk="0" hangingPunct="1">
                <a:lnSpc>
                  <a:spcPct val="100000"/>
                </a:lnSpc>
                <a:spcBef>
                  <a:spcPts val="267"/>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Safety endpoints: </a:t>
              </a:r>
              <a:b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incidence, nature, and severity of adverse events</a:t>
              </a:r>
            </a:p>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GB" sz="120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3" name="Rectangle 2">
            <a:extLst>
              <a:ext uri="{FF2B5EF4-FFF2-40B4-BE49-F238E27FC236}">
                <a16:creationId xmlns:a16="http://schemas.microsoft.com/office/drawing/2014/main" id="{6E9D187A-1749-BE13-25ED-407839F3E4A2}"/>
              </a:ext>
            </a:extLst>
          </p:cNvPr>
          <p:cNvSpPr/>
          <p:nvPr/>
        </p:nvSpPr>
        <p:spPr>
          <a:xfrm>
            <a:off x="434898" y="5207201"/>
            <a:ext cx="11441151" cy="725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761308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70A412-3341-1813-F1F9-144146FD413F}"/>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STARGLO OS at 3y</a:t>
            </a:r>
          </a:p>
        </p:txBody>
      </p:sp>
      <p:pic>
        <p:nvPicPr>
          <p:cNvPr id="728" name="Picture 727">
            <a:extLst>
              <a:ext uri="{FF2B5EF4-FFF2-40B4-BE49-F238E27FC236}">
                <a16:creationId xmlns:a16="http://schemas.microsoft.com/office/drawing/2014/main" id="{92082246-31CD-1922-CAA0-73B872B30D6D}"/>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477716" y="1602472"/>
            <a:ext cx="11236568" cy="4104265"/>
          </a:xfrm>
          <a:prstGeom prst="rect">
            <a:avLst/>
          </a:prstGeom>
        </p:spPr>
      </p:pic>
      <p:sp>
        <p:nvSpPr>
          <p:cNvPr id="3" name="TextBox 2">
            <a:extLst>
              <a:ext uri="{FF2B5EF4-FFF2-40B4-BE49-F238E27FC236}">
                <a16:creationId xmlns:a16="http://schemas.microsoft.com/office/drawing/2014/main" id="{38E154BA-D1C8-9B30-B7DF-67BC8A88E308}"/>
              </a:ext>
            </a:extLst>
          </p:cNvPr>
          <p:cNvSpPr txBox="1"/>
          <p:nvPr/>
        </p:nvSpPr>
        <p:spPr>
          <a:xfrm>
            <a:off x="226989" y="6292820"/>
            <a:ext cx="3204980" cy="400110"/>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bramson et al, ASH 2025</a:t>
            </a:r>
          </a:p>
        </p:txBody>
      </p:sp>
    </p:spTree>
    <p:extLst>
      <p:ext uri="{BB962C8B-B14F-4D97-AF65-F5344CB8AC3E}">
        <p14:creationId xmlns:p14="http://schemas.microsoft.com/office/powerpoint/2010/main" val="23736337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58AEE3-0A76-4248-A6BE-185C1B4C063F}"/>
              </a:ext>
            </a:extLst>
          </p:cNvPr>
          <p:cNvSpPr>
            <a:spLocks noGrp="1"/>
          </p:cNvSpPr>
          <p:nvPr>
            <p:ph type="title"/>
          </p:nvPr>
        </p:nvSpPr>
        <p:spPr>
          <a:xfrm>
            <a:off x="530040" y="286749"/>
            <a:ext cx="8871691" cy="906972"/>
          </a:xfrm>
        </p:spPr>
        <p:txBody>
          <a:bodyPr/>
          <a:lstStyle/>
          <a:p>
            <a:pPr>
              <a:lnSpc>
                <a:spcPct val="100000"/>
              </a:lnSpc>
            </a:pPr>
            <a:r>
              <a:rPr lang="en-GB" sz="2665" dirty="0"/>
              <a:t>Landmark analysis by response at EOT </a:t>
            </a:r>
            <a:br>
              <a:rPr lang="en-GB" sz="2665" dirty="0"/>
            </a:br>
            <a:r>
              <a:rPr lang="en-GB" sz="2665" dirty="0"/>
              <a:t>in 2L patients treated </a:t>
            </a:r>
            <a:r>
              <a:rPr lang="en-GB" sz="2665" dirty="0">
                <a:solidFill>
                  <a:srgbClr val="0B41CD"/>
                </a:solidFill>
              </a:rPr>
              <a:t>with Glofit-GemOx</a:t>
            </a:r>
          </a:p>
        </p:txBody>
      </p:sp>
      <p:sp>
        <p:nvSpPr>
          <p:cNvPr id="25" name="Rounded Rectangle 2015">
            <a:extLst>
              <a:ext uri="{FF2B5EF4-FFF2-40B4-BE49-F238E27FC236}">
                <a16:creationId xmlns:a16="http://schemas.microsoft.com/office/drawing/2014/main" id="{5AD250C3-AFEE-4CEC-9AFB-AE93098AF54C}"/>
              </a:ext>
            </a:extLst>
          </p:cNvPr>
          <p:cNvSpPr/>
          <p:nvPr/>
        </p:nvSpPr>
        <p:spPr>
          <a:xfrm>
            <a:off x="519571" y="5629972"/>
            <a:ext cx="11134464" cy="677272"/>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6923" rtl="0" eaLnBrk="1" fontAlgn="base" latinLnBrk="0" hangingPunct="1">
              <a:lnSpc>
                <a:spcPct val="100000"/>
              </a:lnSpc>
              <a:spcBef>
                <a:spcPct val="0"/>
              </a:spcBef>
              <a:spcAft>
                <a:spcPct val="0"/>
              </a:spcAft>
              <a:buClrTx/>
              <a:buSzTx/>
              <a:buFontTx/>
              <a:buNone/>
              <a:tabLst/>
              <a:defRPr/>
            </a:pPr>
            <a:r>
              <a:rPr kumimoji="0" lang="en-US" sz="1867" b="0" i="0" u="none" strike="noStrike" kern="1200" cap="none" spc="0" normalizeH="0" baseline="0" noProof="0" dirty="0">
                <a:ln>
                  <a:noFill/>
                </a:ln>
                <a:solidFill>
                  <a:srgbClr val="FFFFFF"/>
                </a:solidFill>
                <a:effectLst/>
                <a:uLnTx/>
                <a:uFillTx/>
                <a:latin typeface="Arial" panose="020B0604020202020204"/>
                <a:ea typeface="+mn-ea"/>
                <a:cs typeface="+mn-cs"/>
              </a:rPr>
              <a:t>The majority of 2L patients who reached CR at EOT remained </a:t>
            </a:r>
            <a:br>
              <a:rPr kumimoji="0" lang="en-US" sz="1867"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67" b="0" i="0" u="none" strike="noStrike" kern="1200" cap="none" spc="0" normalizeH="0" baseline="0" noProof="0" dirty="0">
                <a:ln>
                  <a:noFill/>
                </a:ln>
                <a:solidFill>
                  <a:srgbClr val="FFFFFF"/>
                </a:solidFill>
                <a:effectLst/>
                <a:uLnTx/>
                <a:uFillTx/>
                <a:latin typeface="Arial" panose="020B0604020202020204"/>
                <a:ea typeface="+mn-ea"/>
                <a:cs typeface="+mn-cs"/>
              </a:rPr>
              <a:t>alive and progression free 2 years after EOT</a:t>
            </a:r>
          </a:p>
        </p:txBody>
      </p:sp>
      <p:sp>
        <p:nvSpPr>
          <p:cNvPr id="10" name="Text Placeholder 8">
            <a:extLst>
              <a:ext uri="{FF2B5EF4-FFF2-40B4-BE49-F238E27FC236}">
                <a16:creationId xmlns:a16="http://schemas.microsoft.com/office/drawing/2014/main" id="{9BFCEC6A-7206-26FD-876C-644FB9C65B85}"/>
              </a:ext>
            </a:extLst>
          </p:cNvPr>
          <p:cNvSpPr txBox="1">
            <a:spLocks/>
          </p:cNvSpPr>
          <p:nvPr/>
        </p:nvSpPr>
        <p:spPr>
          <a:xfrm>
            <a:off x="6182387" y="1707388"/>
            <a:ext cx="5461603" cy="4154032"/>
          </a:xfrm>
          <a:prstGeom prst="rect">
            <a:avLst/>
          </a:prstGeom>
        </p:spPr>
        <p:txBody>
          <a:bodyPr/>
          <a:lstStyle>
            <a:lvl1pPr marL="159257" indent="-159257" algn="l" rtl="0" eaLnBrk="1" fontAlgn="base" hangingPunct="1">
              <a:spcBef>
                <a:spcPts val="0"/>
              </a:spcBef>
              <a:spcAft>
                <a:spcPts val="225"/>
              </a:spcAft>
              <a:buClr>
                <a:schemeClr val="accent6">
                  <a:lumMod val="40000"/>
                  <a:lumOff val="60000"/>
                </a:schemeClr>
              </a:buClr>
              <a:buFont typeface="Arial" pitchFamily="34" charset="0"/>
              <a:buChar char="•"/>
              <a:tabLst>
                <a:tab pos="154504" algn="l"/>
              </a:tabLst>
              <a:defRPr sz="1800" kern="1200">
                <a:solidFill>
                  <a:schemeClr val="tx2">
                    <a:lumMod val="50000"/>
                  </a:schemeClr>
                </a:solidFill>
                <a:latin typeface="Arial Narrow" panose="020B0606020202030204" pitchFamily="34" charset="0"/>
                <a:ea typeface="+mn-ea"/>
                <a:cs typeface="Arial" pitchFamily="34" charset="0"/>
              </a:defRPr>
            </a:lvl1pPr>
            <a:lvl2pPr marL="380310" indent="-207983" algn="l" rtl="0" eaLnBrk="1" fontAlgn="base" hangingPunct="1">
              <a:spcBef>
                <a:spcPts val="0"/>
              </a:spcBef>
              <a:spcAft>
                <a:spcPts val="225"/>
              </a:spcAft>
              <a:buClr>
                <a:schemeClr val="accent6">
                  <a:lumMod val="40000"/>
                  <a:lumOff val="60000"/>
                </a:schemeClr>
              </a:buClr>
              <a:buFont typeface="Arial" pitchFamily="34" charset="0"/>
              <a:buChar char="–"/>
              <a:defRPr sz="1500" kern="1200">
                <a:solidFill>
                  <a:schemeClr val="tx2">
                    <a:lumMod val="50000"/>
                  </a:schemeClr>
                </a:solidFill>
                <a:latin typeface="Arial Narrow" panose="020B0606020202030204" pitchFamily="34" charset="0"/>
                <a:ea typeface="+mn-ea"/>
                <a:cs typeface="Arial" pitchFamily="34" charset="0"/>
              </a:defRPr>
            </a:lvl2pPr>
            <a:lvl3pPr marL="547885" indent="-164007" algn="l" rtl="0" eaLnBrk="1" fontAlgn="base" hangingPunct="1">
              <a:spcBef>
                <a:spcPts val="0"/>
              </a:spcBef>
              <a:spcAft>
                <a:spcPts val="225"/>
              </a:spcAft>
              <a:buClr>
                <a:schemeClr val="accent6">
                  <a:lumMod val="40000"/>
                  <a:lumOff val="60000"/>
                </a:schemeClr>
              </a:buClr>
              <a:buFont typeface="Arial" pitchFamily="34" charset="0"/>
              <a:buChar char="•"/>
              <a:defRPr sz="1500" kern="1200">
                <a:solidFill>
                  <a:schemeClr val="tx2">
                    <a:lumMod val="50000"/>
                  </a:schemeClr>
                </a:solidFill>
                <a:latin typeface="Arial Narrow" panose="020B0606020202030204" pitchFamily="34" charset="0"/>
                <a:ea typeface="+mn-ea"/>
                <a:cs typeface="Arial" pitchFamily="34" charset="0"/>
              </a:defRPr>
            </a:lvl3pPr>
            <a:lvl4pPr marL="710707" indent="-158069" algn="l" rtl="0" eaLnBrk="1" fontAlgn="base" hangingPunct="1">
              <a:spcBef>
                <a:spcPts val="0"/>
              </a:spcBef>
              <a:spcAft>
                <a:spcPts val="225"/>
              </a:spcAft>
              <a:buClr>
                <a:schemeClr val="accent6">
                  <a:lumMod val="40000"/>
                  <a:lumOff val="60000"/>
                </a:schemeClr>
              </a:buClr>
              <a:buFont typeface="Arial" pitchFamily="34" charset="0"/>
              <a:buChar char="•"/>
              <a:defRPr sz="1500" kern="1200">
                <a:solidFill>
                  <a:schemeClr val="tx2">
                    <a:lumMod val="50000"/>
                  </a:schemeClr>
                </a:solidFill>
                <a:latin typeface="Arial Narrow" panose="020B0606020202030204" pitchFamily="34" charset="0"/>
                <a:ea typeface="+mn-ea"/>
                <a:cs typeface="Arial" pitchFamily="34" charset="0"/>
              </a:defRPr>
            </a:lvl4pPr>
            <a:lvl5pPr marL="1540261" indent="-171140" algn="l" rtl="0" eaLnBrk="1" fontAlgn="base" hangingPunct="1">
              <a:spcBef>
                <a:spcPct val="20000"/>
              </a:spcBef>
              <a:spcAft>
                <a:spcPct val="0"/>
              </a:spcAft>
              <a:buFont typeface="Arial" charset="0"/>
              <a:buChar char="»"/>
              <a:defRPr sz="1500" kern="1200">
                <a:solidFill>
                  <a:schemeClr val="tx1"/>
                </a:solidFill>
                <a:latin typeface="Arial" pitchFamily="34" charset="0"/>
                <a:ea typeface="+mn-ea"/>
                <a:cs typeface="Arial" pitchFamily="34" charset="0"/>
              </a:defRPr>
            </a:lvl5pPr>
            <a:lvl6pPr marL="1882540" indent="-171140" algn="l" defTabSz="68456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4821" indent="-171140" algn="l" defTabSz="68456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7102" indent="-171140" algn="l" defTabSz="68456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09381" indent="-171140" algn="l" defTabSz="68456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29694" marR="0" lvl="1" indent="0" algn="l" defTabSz="609402" rtl="0" eaLnBrk="1" fontAlgn="base" latinLnBrk="0" hangingPunct="1">
              <a:lnSpc>
                <a:spcPct val="100000"/>
              </a:lnSpc>
              <a:spcBef>
                <a:spcPts val="0"/>
              </a:spcBef>
              <a:spcAft>
                <a:spcPts val="225"/>
              </a:spcAft>
              <a:buClr>
                <a:srgbClr val="0B41CD"/>
              </a:buClr>
              <a:buSzTx/>
              <a:buFont typeface="Arial" pitchFamily="34" charset="0"/>
              <a:buNone/>
              <a:tabLst/>
              <a:defRPr/>
            </a:pPr>
            <a:endParaRPr kumimoji="0" lang="en-GB"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endParaRPr>
          </a:p>
          <a:p>
            <a:pPr marL="229694" marR="0" lvl="1" indent="0" algn="l" defTabSz="609402" rtl="0" eaLnBrk="1" fontAlgn="base" latinLnBrk="0" hangingPunct="1">
              <a:lnSpc>
                <a:spcPct val="100000"/>
              </a:lnSpc>
              <a:spcBef>
                <a:spcPts val="0"/>
              </a:spcBef>
              <a:spcAft>
                <a:spcPts val="225"/>
              </a:spcAft>
              <a:buClr>
                <a:srgbClr val="0B41CD"/>
              </a:buClr>
              <a:buSzTx/>
              <a:buFont typeface="Arial" pitchFamily="34" charset="0"/>
              <a:buNone/>
              <a:tabLst/>
              <a:defRPr/>
            </a:pPr>
            <a:endParaRPr kumimoji="0" lang="en-GB"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endParaRPr>
          </a:p>
          <a:p>
            <a:pPr marL="506915" marR="0" lvl="1" indent="-277221" algn="l" defTabSz="1218804" rtl="0" eaLnBrk="1" fontAlgn="base" latinLnBrk="0" hangingPunct="1">
              <a:lnSpc>
                <a:spcPct val="100000"/>
              </a:lnSpc>
              <a:spcBef>
                <a:spcPts val="0"/>
              </a:spcBef>
              <a:spcAft>
                <a:spcPts val="225"/>
              </a:spcAft>
              <a:buClr>
                <a:srgbClr val="0B41CD"/>
              </a:buClr>
              <a:buSzTx/>
              <a:buFont typeface="Arial" pitchFamily="34" charset="0"/>
              <a:buChar char="–"/>
              <a:tabLst/>
              <a:defRPr/>
            </a:pPr>
            <a:endParaRPr kumimoji="0" lang="en-GB"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endParaRPr>
          </a:p>
        </p:txBody>
      </p:sp>
      <p:graphicFrame>
        <p:nvGraphicFramePr>
          <p:cNvPr id="8" name="Table 7">
            <a:extLst>
              <a:ext uri="{FF2B5EF4-FFF2-40B4-BE49-F238E27FC236}">
                <a16:creationId xmlns:a16="http://schemas.microsoft.com/office/drawing/2014/main" id="{28108D3B-9B69-BB91-645E-DBA596051DF2}"/>
              </a:ext>
            </a:extLst>
          </p:cNvPr>
          <p:cNvGraphicFramePr>
            <a:graphicFrameLocks noGrp="1"/>
          </p:cNvGraphicFramePr>
          <p:nvPr/>
        </p:nvGraphicFramePr>
        <p:xfrm>
          <a:off x="535508" y="4499707"/>
          <a:ext cx="5470312" cy="1074903"/>
        </p:xfrm>
        <a:graphic>
          <a:graphicData uri="http://schemas.openxmlformats.org/drawingml/2006/table">
            <a:tbl>
              <a:tblPr/>
              <a:tblGrid>
                <a:gridCol w="2735156">
                  <a:extLst>
                    <a:ext uri="{9D8B030D-6E8A-4147-A177-3AD203B41FA5}">
                      <a16:colId xmlns:a16="http://schemas.microsoft.com/office/drawing/2014/main" val="2661339935"/>
                    </a:ext>
                  </a:extLst>
                </a:gridCol>
                <a:gridCol w="2735156">
                  <a:extLst>
                    <a:ext uri="{9D8B030D-6E8A-4147-A177-3AD203B41FA5}">
                      <a16:colId xmlns:a16="http://schemas.microsoft.com/office/drawing/2014/main" val="499775142"/>
                    </a:ext>
                  </a:extLst>
                </a:gridCol>
              </a:tblGrid>
              <a:tr h="482479">
                <a:tc>
                  <a:txBody>
                    <a:bodyPr/>
                    <a:lstStyle/>
                    <a:p>
                      <a:pPr algn="l" rtl="0" fontAlgn="base">
                        <a:lnSpc>
                          <a:spcPts val="1130"/>
                        </a:lnSpc>
                        <a:buNone/>
                      </a:pPr>
                      <a:r>
                        <a:rPr lang="en-GB" sz="1200" b="1" i="0" dirty="0">
                          <a:solidFill>
                            <a:srgbClr val="FFFFFF"/>
                          </a:solidFill>
                          <a:effectLst/>
                          <a:latin typeface="Arial" panose="020B0604020202020204" pitchFamily="34" charset="0"/>
                        </a:rPr>
                        <a:t>Landmark OS from EOT </a:t>
                      </a:r>
                      <a:r>
                        <a:rPr lang="en-GB" sz="1200" b="1" i="0" dirty="0">
                          <a:solidFill>
                            <a:srgbClr val="000000"/>
                          </a:solidFill>
                          <a:effectLst/>
                          <a:latin typeface="Arial" panose="020B0604020202020204" pitchFamily="34" charset="0"/>
                        </a:rPr>
                        <a:t>​</a:t>
                      </a:r>
                      <a:br>
                        <a:rPr lang="en-GB" sz="1200" b="1" i="0" dirty="0">
                          <a:solidFill>
                            <a:srgbClr val="000000"/>
                          </a:solidFill>
                          <a:effectLst/>
                          <a:latin typeface="Arial" panose="020B0604020202020204" pitchFamily="34" charset="0"/>
                        </a:rPr>
                      </a:br>
                      <a:r>
                        <a:rPr lang="en-GB" sz="1200" b="1" i="0" dirty="0">
                          <a:solidFill>
                            <a:srgbClr val="FFFFFF"/>
                          </a:solidFill>
                          <a:effectLst/>
                          <a:latin typeface="Arial" panose="020B0604020202020204" pitchFamily="34" charset="0"/>
                        </a:rPr>
                        <a:t>in ​2L patients with CR at EOT​</a:t>
                      </a:r>
                      <a:r>
                        <a:rPr lang="en-GB" sz="1200" b="1" i="0" dirty="0">
                          <a:solidFill>
                            <a:srgbClr val="000000"/>
                          </a:solidFill>
                          <a:effectLst/>
                          <a:latin typeface="Arial" panose="020B0604020202020204" pitchFamily="34" charset="0"/>
                        </a:rPr>
                        <a:t>​</a:t>
                      </a:r>
                      <a:endParaRPr lang="en-GB" sz="1700" b="1" i="0" dirty="0">
                        <a:solidFill>
                          <a:srgbClr val="000000"/>
                        </a:solidFill>
                        <a:effectLst/>
                      </a:endParaRPr>
                    </a:p>
                  </a:txBody>
                  <a:tcPr marL="121883" marR="121883" marT="60941" marB="60941" anchor="ctr">
                    <a:lnL w="190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rgbClr val="0B41CD"/>
                    </a:solidFill>
                  </a:tcPr>
                </a:tc>
                <a:tc>
                  <a:txBody>
                    <a:bodyPr/>
                    <a:lstStyle/>
                    <a:p>
                      <a:pPr algn="ctr" rtl="0" fontAlgn="base">
                        <a:lnSpc>
                          <a:spcPts val="1130"/>
                        </a:lnSpc>
                        <a:buNone/>
                      </a:pPr>
                      <a:r>
                        <a:rPr lang="de-DE" sz="1200" b="1" i="0" dirty="0">
                          <a:solidFill>
                            <a:srgbClr val="FFFFFF"/>
                          </a:solidFill>
                          <a:effectLst/>
                          <a:latin typeface="Arial" panose="020B0604020202020204" pitchFamily="34" charset="0"/>
                        </a:rPr>
                        <a:t>n=55</a:t>
                      </a:r>
                      <a:endParaRPr lang="de-DE" sz="1700" b="1" i="0" dirty="0">
                        <a:solidFill>
                          <a:srgbClr val="000000"/>
                        </a:solidFill>
                        <a:effectLst/>
                      </a:endParaRPr>
                    </a:p>
                  </a:txBody>
                  <a:tcPr marL="121883" marR="121883" marT="60941" marB="60941" anchor="ctr">
                    <a:lnL w="1270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rgbClr val="0B41CD"/>
                    </a:solidFill>
                  </a:tcPr>
                </a:tc>
                <a:extLst>
                  <a:ext uri="{0D108BD9-81ED-4DB2-BD59-A6C34878D82A}">
                    <a16:rowId xmlns:a16="http://schemas.microsoft.com/office/drawing/2014/main" val="1395320429"/>
                  </a:ext>
                </a:extLst>
              </a:tr>
              <a:tr h="296212">
                <a:tc>
                  <a:txBody>
                    <a:bodyPr/>
                    <a:lstStyle/>
                    <a:p>
                      <a:pPr algn="l" rtl="0" fontAlgn="base">
                        <a:lnSpc>
                          <a:spcPts val="1130"/>
                        </a:lnSpc>
                        <a:buNone/>
                      </a:pPr>
                      <a:r>
                        <a:rPr lang="de-DE" sz="1200" b="1" i="0" dirty="0">
                          <a:solidFill>
                            <a:srgbClr val="000000"/>
                          </a:solidFill>
                          <a:effectLst/>
                          <a:latin typeface="Arial" panose="020B0604020202020204" pitchFamily="34" charset="0"/>
                        </a:rPr>
                        <a:t>Median OS</a:t>
                      </a:r>
                      <a:r>
                        <a:rPr lang="de-DE" sz="1200" b="0" i="0" dirty="0">
                          <a:solidFill>
                            <a:srgbClr val="000000"/>
                          </a:solidFill>
                          <a:effectLst/>
                          <a:latin typeface="Arial" panose="020B0604020202020204" pitchFamily="34" charset="0"/>
                        </a:rPr>
                        <a:t>, months (95% CI) ​​</a:t>
                      </a:r>
                      <a:endParaRPr lang="de-DE" sz="1700" b="0" i="0" dirty="0">
                        <a:solidFill>
                          <a:srgbClr val="000000"/>
                        </a:solidFill>
                        <a:effectLst/>
                      </a:endParaRPr>
                    </a:p>
                  </a:txBody>
                  <a:tcPr marL="121883" marR="121883" marT="60941" marB="60941">
                    <a:lnL w="190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9106" cap="flat" cmpd="sng" algn="ctr">
                      <a:solidFill>
                        <a:srgbClr val="BCB7B7"/>
                      </a:solidFill>
                      <a:prstDash val="solid"/>
                      <a:round/>
                      <a:headEnd type="none" w="med" len="med"/>
                      <a:tailEnd type="none" w="med" len="med"/>
                    </a:lnB>
                    <a:noFill/>
                  </a:tcPr>
                </a:tc>
                <a:tc>
                  <a:txBody>
                    <a:bodyPr/>
                    <a:lstStyle/>
                    <a:p>
                      <a:pPr algn="ctr" rtl="0" fontAlgn="base">
                        <a:lnSpc>
                          <a:spcPts val="1130"/>
                        </a:lnSpc>
                        <a:buNone/>
                      </a:pPr>
                      <a:r>
                        <a:rPr lang="de-DE" sz="1200" b="0" i="0" dirty="0">
                          <a:solidFill>
                            <a:srgbClr val="000000"/>
                          </a:solidFill>
                          <a:effectLst/>
                          <a:latin typeface="Arial" panose="020B0604020202020204" pitchFamily="34" charset="0"/>
                        </a:rPr>
                        <a:t>NR (NE)​​</a:t>
                      </a:r>
                      <a:endParaRPr lang="de-DE" sz="1700" b="0" i="0" dirty="0">
                        <a:solidFill>
                          <a:srgbClr val="000000"/>
                        </a:solidFill>
                        <a:effectLst/>
                      </a:endParaRPr>
                    </a:p>
                  </a:txBody>
                  <a:tcPr marL="121883" marR="121883" marT="60941" marB="60941">
                    <a:lnL w="1270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9106" cap="flat" cmpd="sng" algn="ctr">
                      <a:solidFill>
                        <a:srgbClr val="BCB7B7"/>
                      </a:solidFill>
                      <a:prstDash val="solid"/>
                      <a:round/>
                      <a:headEnd type="none" w="med" len="med"/>
                      <a:tailEnd type="none" w="med" len="med"/>
                    </a:lnB>
                    <a:noFill/>
                  </a:tcPr>
                </a:tc>
                <a:extLst>
                  <a:ext uri="{0D108BD9-81ED-4DB2-BD59-A6C34878D82A}">
                    <a16:rowId xmlns:a16="http://schemas.microsoft.com/office/drawing/2014/main" val="409098421"/>
                  </a:ext>
                </a:extLst>
              </a:tr>
              <a:tr h="296212">
                <a:tc>
                  <a:txBody>
                    <a:bodyPr/>
                    <a:lstStyle/>
                    <a:p>
                      <a:pPr algn="l" rtl="0" fontAlgn="base">
                        <a:lnSpc>
                          <a:spcPts val="1130"/>
                        </a:lnSpc>
                        <a:buNone/>
                      </a:pPr>
                      <a:r>
                        <a:rPr lang="de-DE" sz="1200" b="1" i="0" dirty="0">
                          <a:solidFill>
                            <a:srgbClr val="000000"/>
                          </a:solidFill>
                          <a:effectLst/>
                          <a:latin typeface="Arial" panose="020B0604020202020204" pitchFamily="34" charset="0"/>
                        </a:rPr>
                        <a:t>24-month OS</a:t>
                      </a:r>
                      <a:r>
                        <a:rPr lang="de-DE" sz="1200" b="0" i="0" dirty="0">
                          <a:solidFill>
                            <a:srgbClr val="000000"/>
                          </a:solidFill>
                          <a:effectLst/>
                          <a:latin typeface="Arial" panose="020B0604020202020204" pitchFamily="34" charset="0"/>
                        </a:rPr>
                        <a:t>, % (95% CI) ​​</a:t>
                      </a:r>
                      <a:endParaRPr lang="de-DE" sz="1700" b="0" i="0" dirty="0">
                        <a:solidFill>
                          <a:srgbClr val="000000"/>
                        </a:solidFill>
                        <a:effectLst/>
                      </a:endParaRPr>
                    </a:p>
                  </a:txBody>
                  <a:tcPr marL="121883" marR="121883" marT="60941" marB="60941">
                    <a:lnL w="190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9106" cap="flat" cmpd="sng" algn="ctr">
                      <a:solidFill>
                        <a:srgbClr val="BCB7B7"/>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algn="ctr" rtl="0" fontAlgn="base">
                        <a:lnSpc>
                          <a:spcPts val="1130"/>
                        </a:lnSpc>
                        <a:buNone/>
                      </a:pPr>
                      <a:r>
                        <a:rPr lang="de-DE" sz="1200" b="0" i="0" dirty="0">
                          <a:solidFill>
                            <a:srgbClr val="000000"/>
                          </a:solidFill>
                          <a:effectLst/>
                          <a:latin typeface="Arial" panose="020B0604020202020204" pitchFamily="34" charset="0"/>
                        </a:rPr>
                        <a:t>85.2 (75.7–94.7)​</a:t>
                      </a:r>
                      <a:endParaRPr lang="de-DE" sz="1700" b="0" i="0" dirty="0">
                        <a:solidFill>
                          <a:srgbClr val="000000"/>
                        </a:solidFill>
                        <a:effectLst/>
                      </a:endParaRPr>
                    </a:p>
                  </a:txBody>
                  <a:tcPr marL="121883" marR="121883" marT="60941" marB="60941">
                    <a:lnL w="1270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9106" cap="flat" cmpd="sng" algn="ctr">
                      <a:solidFill>
                        <a:srgbClr val="BCB7B7"/>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697562438"/>
                  </a:ext>
                </a:extLst>
              </a:tr>
            </a:tbl>
          </a:graphicData>
        </a:graphic>
      </p:graphicFrame>
      <p:graphicFrame>
        <p:nvGraphicFramePr>
          <p:cNvPr id="9" name="Table 8">
            <a:extLst>
              <a:ext uri="{FF2B5EF4-FFF2-40B4-BE49-F238E27FC236}">
                <a16:creationId xmlns:a16="http://schemas.microsoft.com/office/drawing/2014/main" id="{8A11147A-189C-885D-5B6D-0322438BD03D}"/>
              </a:ext>
            </a:extLst>
          </p:cNvPr>
          <p:cNvGraphicFramePr>
            <a:graphicFrameLocks noGrp="1"/>
          </p:cNvGraphicFramePr>
          <p:nvPr/>
        </p:nvGraphicFramePr>
        <p:xfrm>
          <a:off x="6112326" y="4502522"/>
          <a:ext cx="5514726" cy="1074903"/>
        </p:xfrm>
        <a:graphic>
          <a:graphicData uri="http://schemas.openxmlformats.org/drawingml/2006/table">
            <a:tbl>
              <a:tblPr/>
              <a:tblGrid>
                <a:gridCol w="2757363">
                  <a:extLst>
                    <a:ext uri="{9D8B030D-6E8A-4147-A177-3AD203B41FA5}">
                      <a16:colId xmlns:a16="http://schemas.microsoft.com/office/drawing/2014/main" val="2661339935"/>
                    </a:ext>
                  </a:extLst>
                </a:gridCol>
                <a:gridCol w="2757363">
                  <a:extLst>
                    <a:ext uri="{9D8B030D-6E8A-4147-A177-3AD203B41FA5}">
                      <a16:colId xmlns:a16="http://schemas.microsoft.com/office/drawing/2014/main" val="499775142"/>
                    </a:ext>
                  </a:extLst>
                </a:gridCol>
              </a:tblGrid>
              <a:tr h="482479">
                <a:tc>
                  <a:txBody>
                    <a:bodyPr/>
                    <a:lstStyle/>
                    <a:p>
                      <a:pPr algn="l" rtl="0" fontAlgn="base">
                        <a:lnSpc>
                          <a:spcPts val="1130"/>
                        </a:lnSpc>
                        <a:buNone/>
                      </a:pPr>
                      <a:r>
                        <a:rPr lang="en-GB" sz="1200" b="1" i="0" dirty="0">
                          <a:solidFill>
                            <a:srgbClr val="FFFFFF"/>
                          </a:solidFill>
                          <a:effectLst/>
                          <a:latin typeface="Arial" panose="020B0604020202020204" pitchFamily="34" charset="0"/>
                        </a:rPr>
                        <a:t>Landmark PFS from EOT </a:t>
                      </a:r>
                      <a:r>
                        <a:rPr lang="en-GB" sz="1200" b="0" i="0" dirty="0">
                          <a:solidFill>
                            <a:srgbClr val="000000"/>
                          </a:solidFill>
                          <a:effectLst/>
                          <a:latin typeface="Arial" panose="020B0604020202020204" pitchFamily="34" charset="0"/>
                        </a:rPr>
                        <a:t>​</a:t>
                      </a:r>
                      <a:br>
                        <a:rPr lang="en-GB" sz="1200" b="0" i="0" dirty="0">
                          <a:solidFill>
                            <a:srgbClr val="000000"/>
                          </a:solidFill>
                          <a:effectLst/>
                          <a:latin typeface="Arial" panose="020B0604020202020204" pitchFamily="34" charset="0"/>
                        </a:rPr>
                      </a:br>
                      <a:r>
                        <a:rPr lang="en-GB" sz="1200" b="1" i="0" dirty="0">
                          <a:solidFill>
                            <a:srgbClr val="FFFFFF"/>
                          </a:solidFill>
                          <a:effectLst/>
                          <a:latin typeface="Arial" panose="020B0604020202020204" pitchFamily="34" charset="0"/>
                        </a:rPr>
                        <a:t>in ​patients with CR at EOT​</a:t>
                      </a:r>
                      <a:r>
                        <a:rPr lang="en-GB" sz="1200" b="0" i="0" dirty="0">
                          <a:solidFill>
                            <a:srgbClr val="000000"/>
                          </a:solidFill>
                          <a:effectLst/>
                          <a:latin typeface="Arial" panose="020B0604020202020204" pitchFamily="34" charset="0"/>
                        </a:rPr>
                        <a:t>​</a:t>
                      </a:r>
                      <a:endParaRPr lang="en-GB" sz="1700" b="0" i="0" dirty="0">
                        <a:solidFill>
                          <a:srgbClr val="000000"/>
                        </a:solidFill>
                        <a:effectLst/>
                      </a:endParaRPr>
                    </a:p>
                  </a:txBody>
                  <a:tcPr marL="121883" marR="121883" marT="60941" marB="60941" anchor="ctr">
                    <a:lnL w="190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rgbClr val="0B41CD"/>
                    </a:solidFill>
                  </a:tcPr>
                </a:tc>
                <a:tc>
                  <a:txBody>
                    <a:bodyPr/>
                    <a:lstStyle/>
                    <a:p>
                      <a:pPr algn="ctr" rtl="0" fontAlgn="base">
                        <a:lnSpc>
                          <a:spcPts val="1130"/>
                        </a:lnSpc>
                        <a:buNone/>
                      </a:pPr>
                      <a:r>
                        <a:rPr lang="de-DE" sz="1200" b="1" i="0" dirty="0">
                          <a:solidFill>
                            <a:srgbClr val="FFFFFF"/>
                          </a:solidFill>
                          <a:effectLst/>
                          <a:latin typeface="Arial" panose="020B0604020202020204" pitchFamily="34" charset="0"/>
                        </a:rPr>
                        <a:t>n=55</a:t>
                      </a:r>
                      <a:endParaRPr lang="de-DE" sz="1700" b="0" i="0" dirty="0">
                        <a:solidFill>
                          <a:srgbClr val="000000"/>
                        </a:solidFill>
                        <a:effectLst/>
                      </a:endParaRPr>
                    </a:p>
                  </a:txBody>
                  <a:tcPr marL="121883" marR="121883" marT="60941" marB="60941" anchor="ctr">
                    <a:lnL w="1270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rgbClr val="0B41CD"/>
                    </a:solidFill>
                  </a:tcPr>
                </a:tc>
                <a:extLst>
                  <a:ext uri="{0D108BD9-81ED-4DB2-BD59-A6C34878D82A}">
                    <a16:rowId xmlns:a16="http://schemas.microsoft.com/office/drawing/2014/main" val="1395320429"/>
                  </a:ext>
                </a:extLst>
              </a:tr>
              <a:tr h="296212">
                <a:tc>
                  <a:txBody>
                    <a:bodyPr/>
                    <a:lstStyle/>
                    <a:p>
                      <a:pPr algn="l" rtl="0" fontAlgn="base">
                        <a:lnSpc>
                          <a:spcPts val="1130"/>
                        </a:lnSpc>
                        <a:buNone/>
                      </a:pPr>
                      <a:r>
                        <a:rPr lang="de-DE" sz="1200" b="1" i="0" dirty="0">
                          <a:solidFill>
                            <a:srgbClr val="000000"/>
                          </a:solidFill>
                          <a:effectLst/>
                          <a:latin typeface="Arial" panose="020B0604020202020204" pitchFamily="34" charset="0"/>
                        </a:rPr>
                        <a:t>Median PFS</a:t>
                      </a:r>
                      <a:r>
                        <a:rPr lang="de-DE" sz="1200" b="0" i="0" dirty="0">
                          <a:solidFill>
                            <a:srgbClr val="000000"/>
                          </a:solidFill>
                          <a:effectLst/>
                          <a:latin typeface="Arial" panose="020B0604020202020204" pitchFamily="34" charset="0"/>
                        </a:rPr>
                        <a:t>, months (95% CI) ​​</a:t>
                      </a:r>
                      <a:endParaRPr lang="de-DE" sz="1700" b="0" i="0" dirty="0">
                        <a:solidFill>
                          <a:srgbClr val="000000"/>
                        </a:solidFill>
                        <a:effectLst/>
                      </a:endParaRPr>
                    </a:p>
                  </a:txBody>
                  <a:tcPr marL="121883" marR="121883" marT="60941" marB="60941">
                    <a:lnL w="19050" cap="flat" cmpd="sng" algn="ctr">
                      <a:solidFill>
                        <a:schemeClr val="tx2"/>
                      </a:solidFill>
                      <a:prstDash val="solid"/>
                      <a:round/>
                      <a:headEnd type="none" w="med" len="med"/>
                      <a:tailEnd type="none" w="med" len="med"/>
                    </a:lnL>
                    <a:lnR w="9106" cap="flat" cmpd="sng" algn="ctr">
                      <a:solidFill>
                        <a:srgbClr val="0B41CD"/>
                      </a:solidFill>
                      <a:prstDash val="solid"/>
                      <a:round/>
                      <a:headEnd type="none" w="med" len="med"/>
                      <a:tailEnd type="none" w="med" len="med"/>
                    </a:lnR>
                    <a:lnT w="19050" cap="flat" cmpd="sng" algn="ctr">
                      <a:solidFill>
                        <a:schemeClr val="tx2"/>
                      </a:solidFill>
                      <a:prstDash val="solid"/>
                      <a:round/>
                      <a:headEnd type="none" w="med" len="med"/>
                      <a:tailEnd type="none" w="med" len="med"/>
                    </a:lnT>
                    <a:lnB w="9106" cap="flat" cmpd="sng" algn="ctr">
                      <a:solidFill>
                        <a:srgbClr val="BCB7B7"/>
                      </a:solidFill>
                      <a:prstDash val="solid"/>
                      <a:round/>
                      <a:headEnd type="none" w="med" len="med"/>
                      <a:tailEnd type="none" w="med" len="med"/>
                    </a:lnB>
                    <a:noFill/>
                  </a:tcPr>
                </a:tc>
                <a:tc>
                  <a:txBody>
                    <a:bodyPr/>
                    <a:lstStyle/>
                    <a:p>
                      <a:pPr algn="ctr" rtl="0" fontAlgn="base">
                        <a:lnSpc>
                          <a:spcPts val="1130"/>
                        </a:lnSpc>
                        <a:buNone/>
                      </a:pPr>
                      <a:r>
                        <a:rPr lang="de-DE" sz="1200" b="0" i="0" dirty="0">
                          <a:solidFill>
                            <a:srgbClr val="000000"/>
                          </a:solidFill>
                          <a:effectLst/>
                          <a:latin typeface="Arial" panose="020B0604020202020204" pitchFamily="34" charset="0"/>
                        </a:rPr>
                        <a:t>NR (NE)​​</a:t>
                      </a:r>
                      <a:endParaRPr lang="de-DE" sz="1700" b="0" i="0" dirty="0">
                        <a:solidFill>
                          <a:srgbClr val="000000"/>
                        </a:solidFill>
                        <a:effectLst/>
                      </a:endParaRPr>
                    </a:p>
                  </a:txBody>
                  <a:tcPr marL="121883" marR="121883" marT="60941" marB="60941">
                    <a:lnL w="9106" cap="flat" cmpd="sng" algn="ctr">
                      <a:solidFill>
                        <a:srgbClr val="0B41CD"/>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9106" cap="flat" cmpd="sng" algn="ctr">
                      <a:solidFill>
                        <a:srgbClr val="BCB7B7"/>
                      </a:solidFill>
                      <a:prstDash val="solid"/>
                      <a:round/>
                      <a:headEnd type="none" w="med" len="med"/>
                      <a:tailEnd type="none" w="med" len="med"/>
                    </a:lnB>
                    <a:noFill/>
                  </a:tcPr>
                </a:tc>
                <a:extLst>
                  <a:ext uri="{0D108BD9-81ED-4DB2-BD59-A6C34878D82A}">
                    <a16:rowId xmlns:a16="http://schemas.microsoft.com/office/drawing/2014/main" val="409098421"/>
                  </a:ext>
                </a:extLst>
              </a:tr>
              <a:tr h="296212">
                <a:tc>
                  <a:txBody>
                    <a:bodyPr/>
                    <a:lstStyle/>
                    <a:p>
                      <a:pPr algn="l" rtl="0" fontAlgn="base">
                        <a:lnSpc>
                          <a:spcPts val="1130"/>
                        </a:lnSpc>
                        <a:buNone/>
                      </a:pPr>
                      <a:r>
                        <a:rPr lang="de-DE" sz="1200" b="1" i="0" dirty="0">
                          <a:solidFill>
                            <a:srgbClr val="000000"/>
                          </a:solidFill>
                          <a:effectLst/>
                          <a:latin typeface="Arial" panose="020B0604020202020204" pitchFamily="34" charset="0"/>
                        </a:rPr>
                        <a:t>24-month PFS</a:t>
                      </a:r>
                      <a:r>
                        <a:rPr lang="de-DE" sz="1200" b="0" i="0" dirty="0">
                          <a:solidFill>
                            <a:srgbClr val="000000"/>
                          </a:solidFill>
                          <a:effectLst/>
                          <a:latin typeface="Arial" panose="020B0604020202020204" pitchFamily="34" charset="0"/>
                        </a:rPr>
                        <a:t>, % (95% CI) ​​</a:t>
                      </a:r>
                      <a:endParaRPr lang="de-DE" sz="1700" b="0" i="0" dirty="0">
                        <a:solidFill>
                          <a:srgbClr val="000000"/>
                        </a:solidFill>
                        <a:effectLst/>
                      </a:endParaRPr>
                    </a:p>
                  </a:txBody>
                  <a:tcPr marL="121883" marR="121883" marT="60941" marB="60941">
                    <a:lnL w="19050" cap="flat" cmpd="sng" algn="ctr">
                      <a:solidFill>
                        <a:schemeClr val="tx2"/>
                      </a:solidFill>
                      <a:prstDash val="solid"/>
                      <a:round/>
                      <a:headEnd type="none" w="med" len="med"/>
                      <a:tailEnd type="none" w="med" len="med"/>
                    </a:lnL>
                    <a:lnR w="9106" cap="flat" cmpd="sng" algn="ctr">
                      <a:solidFill>
                        <a:srgbClr val="0B41CD"/>
                      </a:solidFill>
                      <a:prstDash val="solid"/>
                      <a:round/>
                      <a:headEnd type="none" w="med" len="med"/>
                      <a:tailEnd type="none" w="med" len="med"/>
                    </a:lnR>
                    <a:lnT w="9106" cap="flat" cmpd="sng" algn="ctr">
                      <a:solidFill>
                        <a:srgbClr val="BCB7B7"/>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130"/>
                        </a:lnSpc>
                        <a:buNone/>
                      </a:pPr>
                      <a:r>
                        <a:rPr lang="de-DE" sz="1200" b="0" i="0" dirty="0">
                          <a:solidFill>
                            <a:srgbClr val="000000"/>
                          </a:solidFill>
                          <a:effectLst/>
                          <a:latin typeface="Arial" panose="020B0604020202020204" pitchFamily="34" charset="0"/>
                        </a:rPr>
                        <a:t>74.8 (60.9–88.7)</a:t>
                      </a:r>
                      <a:endParaRPr lang="de-DE" sz="1700" b="0" i="0" dirty="0">
                        <a:solidFill>
                          <a:srgbClr val="000000"/>
                        </a:solidFill>
                        <a:effectLst/>
                      </a:endParaRPr>
                    </a:p>
                  </a:txBody>
                  <a:tcPr marL="121883" marR="121883" marT="60941" marB="60941">
                    <a:lnL w="9106" cap="flat" cmpd="sng" algn="ctr">
                      <a:solidFill>
                        <a:srgbClr val="0B41CD"/>
                      </a:solidFill>
                      <a:prstDash val="solid"/>
                      <a:round/>
                      <a:headEnd type="none" w="med" len="med"/>
                      <a:tailEnd type="none" w="med" len="med"/>
                    </a:lnL>
                    <a:lnR w="19050" cap="flat" cmpd="sng" algn="ctr">
                      <a:solidFill>
                        <a:schemeClr val="tx2"/>
                      </a:solidFill>
                      <a:prstDash val="solid"/>
                      <a:round/>
                      <a:headEnd type="none" w="med" len="med"/>
                      <a:tailEnd type="none" w="med" len="med"/>
                    </a:lnR>
                    <a:lnT w="9106" cap="flat" cmpd="sng" algn="ctr">
                      <a:solidFill>
                        <a:srgbClr val="BCB7B7"/>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697562438"/>
                  </a:ext>
                </a:extLst>
              </a:tr>
            </a:tbl>
          </a:graphicData>
        </a:graphic>
      </p:graphicFrame>
      <p:grpSp>
        <p:nvGrpSpPr>
          <p:cNvPr id="42" name="Graphic 953">
            <a:extLst>
              <a:ext uri="{FF2B5EF4-FFF2-40B4-BE49-F238E27FC236}">
                <a16:creationId xmlns:a16="http://schemas.microsoft.com/office/drawing/2014/main" id="{7ABFE194-C03C-A4AE-D616-B62B2AA9CB07}"/>
              </a:ext>
            </a:extLst>
          </p:cNvPr>
          <p:cNvGrpSpPr/>
          <p:nvPr/>
        </p:nvGrpSpPr>
        <p:grpSpPr>
          <a:xfrm>
            <a:off x="1034958" y="3780821"/>
            <a:ext cx="4623982" cy="235898"/>
            <a:chOff x="996285" y="4806236"/>
            <a:chExt cx="5085048" cy="370984"/>
          </a:xfrm>
          <a:solidFill>
            <a:srgbClr val="0B41CD"/>
          </a:solidFill>
        </p:grpSpPr>
        <p:sp>
          <p:nvSpPr>
            <p:cNvPr id="147" name="TextBox 146">
              <a:extLst>
                <a:ext uri="{FF2B5EF4-FFF2-40B4-BE49-F238E27FC236}">
                  <a16:creationId xmlns:a16="http://schemas.microsoft.com/office/drawing/2014/main" id="{94538B13-1C2D-CAA3-8223-2B2F52A59C33}"/>
                </a:ext>
              </a:extLst>
            </p:cNvPr>
            <p:cNvSpPr txBox="1"/>
            <p:nvPr/>
          </p:nvSpPr>
          <p:spPr>
            <a:xfrm>
              <a:off x="996285" y="4806236"/>
              <a:ext cx="351158" cy="370984"/>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55</a:t>
              </a:r>
            </a:p>
          </p:txBody>
        </p:sp>
        <p:sp>
          <p:nvSpPr>
            <p:cNvPr id="148" name="TextBox 147">
              <a:extLst>
                <a:ext uri="{FF2B5EF4-FFF2-40B4-BE49-F238E27FC236}">
                  <a16:creationId xmlns:a16="http://schemas.microsoft.com/office/drawing/2014/main" id="{F8711D6E-BA2D-DCE9-9204-B86DC261E36F}"/>
                </a:ext>
              </a:extLst>
            </p:cNvPr>
            <p:cNvSpPr txBox="1"/>
            <p:nvPr/>
          </p:nvSpPr>
          <p:spPr>
            <a:xfrm>
              <a:off x="1670139" y="4806236"/>
              <a:ext cx="351158" cy="370984"/>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50</a:t>
              </a:r>
            </a:p>
          </p:txBody>
        </p:sp>
        <p:sp>
          <p:nvSpPr>
            <p:cNvPr id="149" name="TextBox 148">
              <a:extLst>
                <a:ext uri="{FF2B5EF4-FFF2-40B4-BE49-F238E27FC236}">
                  <a16:creationId xmlns:a16="http://schemas.microsoft.com/office/drawing/2014/main" id="{5EF65934-550F-C3A3-E462-8E6BC6192CE4}"/>
                </a:ext>
              </a:extLst>
            </p:cNvPr>
            <p:cNvSpPr txBox="1"/>
            <p:nvPr/>
          </p:nvSpPr>
          <p:spPr>
            <a:xfrm>
              <a:off x="2343995" y="4806236"/>
              <a:ext cx="351158" cy="370984"/>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49</a:t>
              </a:r>
            </a:p>
          </p:txBody>
        </p:sp>
        <p:sp>
          <p:nvSpPr>
            <p:cNvPr id="150" name="TextBox 149">
              <a:extLst>
                <a:ext uri="{FF2B5EF4-FFF2-40B4-BE49-F238E27FC236}">
                  <a16:creationId xmlns:a16="http://schemas.microsoft.com/office/drawing/2014/main" id="{19047252-A5CC-295E-B476-FEF82FE828FA}"/>
                </a:ext>
              </a:extLst>
            </p:cNvPr>
            <p:cNvSpPr txBox="1"/>
            <p:nvPr/>
          </p:nvSpPr>
          <p:spPr>
            <a:xfrm>
              <a:off x="3017722" y="4806236"/>
              <a:ext cx="351158" cy="370984"/>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40</a:t>
              </a:r>
            </a:p>
          </p:txBody>
        </p:sp>
        <p:sp>
          <p:nvSpPr>
            <p:cNvPr id="151" name="TextBox 150">
              <a:extLst>
                <a:ext uri="{FF2B5EF4-FFF2-40B4-BE49-F238E27FC236}">
                  <a16:creationId xmlns:a16="http://schemas.microsoft.com/office/drawing/2014/main" id="{3D23C0A8-542D-C07D-7A10-A14AA561F0A6}"/>
                </a:ext>
              </a:extLst>
            </p:cNvPr>
            <p:cNvSpPr txBox="1"/>
            <p:nvPr/>
          </p:nvSpPr>
          <p:spPr>
            <a:xfrm>
              <a:off x="3691579" y="4806236"/>
              <a:ext cx="351158" cy="370984"/>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30</a:t>
              </a:r>
            </a:p>
          </p:txBody>
        </p:sp>
        <p:sp>
          <p:nvSpPr>
            <p:cNvPr id="152" name="TextBox 151">
              <a:extLst>
                <a:ext uri="{FF2B5EF4-FFF2-40B4-BE49-F238E27FC236}">
                  <a16:creationId xmlns:a16="http://schemas.microsoft.com/office/drawing/2014/main" id="{D22F3191-3D55-7249-6528-BE9D97C8173B}"/>
                </a:ext>
              </a:extLst>
            </p:cNvPr>
            <p:cNvSpPr txBox="1"/>
            <p:nvPr/>
          </p:nvSpPr>
          <p:spPr>
            <a:xfrm>
              <a:off x="4365437" y="4806236"/>
              <a:ext cx="351158" cy="370984"/>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17</a:t>
              </a:r>
            </a:p>
          </p:txBody>
        </p:sp>
        <p:sp>
          <p:nvSpPr>
            <p:cNvPr id="153" name="TextBox 152">
              <a:extLst>
                <a:ext uri="{FF2B5EF4-FFF2-40B4-BE49-F238E27FC236}">
                  <a16:creationId xmlns:a16="http://schemas.microsoft.com/office/drawing/2014/main" id="{968DAAF9-4002-1DC0-8191-097C30D49401}"/>
                </a:ext>
              </a:extLst>
            </p:cNvPr>
            <p:cNvSpPr txBox="1"/>
            <p:nvPr/>
          </p:nvSpPr>
          <p:spPr>
            <a:xfrm>
              <a:off x="5075658" y="4806236"/>
              <a:ext cx="277119" cy="370984"/>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5</a:t>
              </a:r>
            </a:p>
          </p:txBody>
        </p:sp>
        <p:sp>
          <p:nvSpPr>
            <p:cNvPr id="154" name="TextBox 153">
              <a:extLst>
                <a:ext uri="{FF2B5EF4-FFF2-40B4-BE49-F238E27FC236}">
                  <a16:creationId xmlns:a16="http://schemas.microsoft.com/office/drawing/2014/main" id="{AAA2260B-4706-D598-495D-DBC03865E1A8}"/>
                </a:ext>
              </a:extLst>
            </p:cNvPr>
            <p:cNvSpPr txBox="1"/>
            <p:nvPr/>
          </p:nvSpPr>
          <p:spPr>
            <a:xfrm>
              <a:off x="5694918" y="4806236"/>
              <a:ext cx="386415" cy="370984"/>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NE</a:t>
              </a:r>
            </a:p>
          </p:txBody>
        </p:sp>
      </p:grpSp>
      <p:grpSp>
        <p:nvGrpSpPr>
          <p:cNvPr id="43" name="Graphic 953">
            <a:extLst>
              <a:ext uri="{FF2B5EF4-FFF2-40B4-BE49-F238E27FC236}">
                <a16:creationId xmlns:a16="http://schemas.microsoft.com/office/drawing/2014/main" id="{8F3500E5-C0BD-C329-79F0-7A0D24680FF8}"/>
              </a:ext>
            </a:extLst>
          </p:cNvPr>
          <p:cNvGrpSpPr/>
          <p:nvPr/>
        </p:nvGrpSpPr>
        <p:grpSpPr>
          <a:xfrm>
            <a:off x="1034958" y="3913029"/>
            <a:ext cx="4623982" cy="235898"/>
            <a:chOff x="996285" y="4953709"/>
            <a:chExt cx="5085048" cy="370984"/>
          </a:xfrm>
          <a:solidFill>
            <a:srgbClr val="FF1F26"/>
          </a:solidFill>
        </p:grpSpPr>
        <p:sp>
          <p:nvSpPr>
            <p:cNvPr id="139" name="TextBox 138">
              <a:extLst>
                <a:ext uri="{FF2B5EF4-FFF2-40B4-BE49-F238E27FC236}">
                  <a16:creationId xmlns:a16="http://schemas.microsoft.com/office/drawing/2014/main" id="{A240BC51-7E1E-5D4C-2DC1-97A9733EE3F9}"/>
                </a:ext>
              </a:extLst>
            </p:cNvPr>
            <p:cNvSpPr txBox="1"/>
            <p:nvPr/>
          </p:nvSpPr>
          <p:spPr>
            <a:xfrm>
              <a:off x="996285" y="4953709"/>
              <a:ext cx="351158" cy="370984"/>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18</a:t>
              </a:r>
            </a:p>
          </p:txBody>
        </p:sp>
        <p:sp>
          <p:nvSpPr>
            <p:cNvPr id="140" name="TextBox 139">
              <a:extLst>
                <a:ext uri="{FF2B5EF4-FFF2-40B4-BE49-F238E27FC236}">
                  <a16:creationId xmlns:a16="http://schemas.microsoft.com/office/drawing/2014/main" id="{F64B4F46-8ECB-5FD2-D60B-7DB9FA8E3F89}"/>
                </a:ext>
              </a:extLst>
            </p:cNvPr>
            <p:cNvSpPr txBox="1"/>
            <p:nvPr/>
          </p:nvSpPr>
          <p:spPr>
            <a:xfrm>
              <a:off x="1706634" y="4953709"/>
              <a:ext cx="277119" cy="370984"/>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8</a:t>
              </a:r>
            </a:p>
          </p:txBody>
        </p:sp>
        <p:sp>
          <p:nvSpPr>
            <p:cNvPr id="141" name="TextBox 140">
              <a:extLst>
                <a:ext uri="{FF2B5EF4-FFF2-40B4-BE49-F238E27FC236}">
                  <a16:creationId xmlns:a16="http://schemas.microsoft.com/office/drawing/2014/main" id="{34DC8A7F-B0ED-827F-66A8-10B2195A12E4}"/>
                </a:ext>
              </a:extLst>
            </p:cNvPr>
            <p:cNvSpPr txBox="1"/>
            <p:nvPr/>
          </p:nvSpPr>
          <p:spPr>
            <a:xfrm>
              <a:off x="2380362" y="4953709"/>
              <a:ext cx="277119" cy="370984"/>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7</a:t>
              </a:r>
            </a:p>
          </p:txBody>
        </p:sp>
        <p:sp>
          <p:nvSpPr>
            <p:cNvPr id="142" name="TextBox 141">
              <a:extLst>
                <a:ext uri="{FF2B5EF4-FFF2-40B4-BE49-F238E27FC236}">
                  <a16:creationId xmlns:a16="http://schemas.microsoft.com/office/drawing/2014/main" id="{CE738A75-C909-0C07-9C50-79206DBBF4D4}"/>
                </a:ext>
              </a:extLst>
            </p:cNvPr>
            <p:cNvSpPr txBox="1"/>
            <p:nvPr/>
          </p:nvSpPr>
          <p:spPr>
            <a:xfrm>
              <a:off x="3054220" y="4953709"/>
              <a:ext cx="277119" cy="370984"/>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7</a:t>
              </a:r>
            </a:p>
          </p:txBody>
        </p:sp>
        <p:sp>
          <p:nvSpPr>
            <p:cNvPr id="143" name="TextBox 142">
              <a:extLst>
                <a:ext uri="{FF2B5EF4-FFF2-40B4-BE49-F238E27FC236}">
                  <a16:creationId xmlns:a16="http://schemas.microsoft.com/office/drawing/2014/main" id="{9CAC428B-D062-6987-1E6F-7F879DBD35ED}"/>
                </a:ext>
              </a:extLst>
            </p:cNvPr>
            <p:cNvSpPr txBox="1"/>
            <p:nvPr/>
          </p:nvSpPr>
          <p:spPr>
            <a:xfrm>
              <a:off x="3728075" y="4953709"/>
              <a:ext cx="277119" cy="370984"/>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3</a:t>
              </a:r>
            </a:p>
          </p:txBody>
        </p:sp>
        <p:sp>
          <p:nvSpPr>
            <p:cNvPr id="144" name="TextBox 143">
              <a:extLst>
                <a:ext uri="{FF2B5EF4-FFF2-40B4-BE49-F238E27FC236}">
                  <a16:creationId xmlns:a16="http://schemas.microsoft.com/office/drawing/2014/main" id="{8F6B857B-B185-B1C6-8B7C-5E2E922DE679}"/>
                </a:ext>
              </a:extLst>
            </p:cNvPr>
            <p:cNvSpPr txBox="1"/>
            <p:nvPr/>
          </p:nvSpPr>
          <p:spPr>
            <a:xfrm>
              <a:off x="4401803" y="4953709"/>
              <a:ext cx="277119" cy="370984"/>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1</a:t>
              </a:r>
            </a:p>
          </p:txBody>
        </p:sp>
        <p:sp>
          <p:nvSpPr>
            <p:cNvPr id="145" name="TextBox 144">
              <a:extLst>
                <a:ext uri="{FF2B5EF4-FFF2-40B4-BE49-F238E27FC236}">
                  <a16:creationId xmlns:a16="http://schemas.microsoft.com/office/drawing/2014/main" id="{98B859F6-3BA7-2670-6419-F2CECDE18F1E}"/>
                </a:ext>
              </a:extLst>
            </p:cNvPr>
            <p:cNvSpPr txBox="1"/>
            <p:nvPr/>
          </p:nvSpPr>
          <p:spPr>
            <a:xfrm>
              <a:off x="5021191" y="4953709"/>
              <a:ext cx="386415" cy="370984"/>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NE</a:t>
              </a:r>
            </a:p>
          </p:txBody>
        </p:sp>
        <p:sp>
          <p:nvSpPr>
            <p:cNvPr id="146" name="TextBox 145">
              <a:extLst>
                <a:ext uri="{FF2B5EF4-FFF2-40B4-BE49-F238E27FC236}">
                  <a16:creationId xmlns:a16="http://schemas.microsoft.com/office/drawing/2014/main" id="{A2940E93-69CA-CDCC-CED1-38426567CCA3}"/>
                </a:ext>
              </a:extLst>
            </p:cNvPr>
            <p:cNvSpPr txBox="1"/>
            <p:nvPr/>
          </p:nvSpPr>
          <p:spPr>
            <a:xfrm>
              <a:off x="5694918" y="4953709"/>
              <a:ext cx="386415" cy="370984"/>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NE</a:t>
              </a:r>
            </a:p>
          </p:txBody>
        </p:sp>
      </p:grpSp>
      <p:grpSp>
        <p:nvGrpSpPr>
          <p:cNvPr id="44" name="Graphic 953">
            <a:extLst>
              <a:ext uri="{FF2B5EF4-FFF2-40B4-BE49-F238E27FC236}">
                <a16:creationId xmlns:a16="http://schemas.microsoft.com/office/drawing/2014/main" id="{6B2CB0F1-4EFC-BDC9-8FD6-CEC64003063D}"/>
              </a:ext>
            </a:extLst>
          </p:cNvPr>
          <p:cNvGrpSpPr/>
          <p:nvPr/>
        </p:nvGrpSpPr>
        <p:grpSpPr>
          <a:xfrm>
            <a:off x="1040298" y="4045234"/>
            <a:ext cx="4622272" cy="235899"/>
            <a:chOff x="1033788" y="5101182"/>
            <a:chExt cx="5046137" cy="370986"/>
          </a:xfrm>
          <a:solidFill>
            <a:srgbClr val="BC36F0"/>
          </a:solidFill>
        </p:grpSpPr>
        <p:sp>
          <p:nvSpPr>
            <p:cNvPr id="131" name="TextBox 130">
              <a:extLst>
                <a:ext uri="{FF2B5EF4-FFF2-40B4-BE49-F238E27FC236}">
                  <a16:creationId xmlns:a16="http://schemas.microsoft.com/office/drawing/2014/main" id="{E8C0E534-2B59-2FA7-704D-87A6C9358908}"/>
                </a:ext>
              </a:extLst>
            </p:cNvPr>
            <p:cNvSpPr txBox="1"/>
            <p:nvPr/>
          </p:nvSpPr>
          <p:spPr>
            <a:xfrm>
              <a:off x="1033788" y="5101182"/>
              <a:ext cx="275100" cy="370984"/>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3</a:t>
              </a:r>
            </a:p>
          </p:txBody>
        </p:sp>
        <p:sp>
          <p:nvSpPr>
            <p:cNvPr id="132" name="TextBox 131">
              <a:extLst>
                <a:ext uri="{FF2B5EF4-FFF2-40B4-BE49-F238E27FC236}">
                  <a16:creationId xmlns:a16="http://schemas.microsoft.com/office/drawing/2014/main" id="{B75CE562-C135-99B3-F758-0E49B68AB201}"/>
                </a:ext>
              </a:extLst>
            </p:cNvPr>
            <p:cNvSpPr txBox="1"/>
            <p:nvPr/>
          </p:nvSpPr>
          <p:spPr>
            <a:xfrm>
              <a:off x="1707642" y="5101182"/>
              <a:ext cx="275100" cy="370984"/>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1</a:t>
              </a:r>
            </a:p>
          </p:txBody>
        </p:sp>
        <p:sp>
          <p:nvSpPr>
            <p:cNvPr id="133" name="TextBox 132">
              <a:extLst>
                <a:ext uri="{FF2B5EF4-FFF2-40B4-BE49-F238E27FC236}">
                  <a16:creationId xmlns:a16="http://schemas.microsoft.com/office/drawing/2014/main" id="{C596DBA2-E9A1-6C47-9F05-C4F95489D3C3}"/>
                </a:ext>
              </a:extLst>
            </p:cNvPr>
            <p:cNvSpPr txBox="1"/>
            <p:nvPr/>
          </p:nvSpPr>
          <p:spPr>
            <a:xfrm>
              <a:off x="2381373" y="5101182"/>
              <a:ext cx="275100" cy="370984"/>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1</a:t>
              </a:r>
            </a:p>
          </p:txBody>
        </p:sp>
        <p:sp>
          <p:nvSpPr>
            <p:cNvPr id="134" name="TextBox 133">
              <a:extLst>
                <a:ext uri="{FF2B5EF4-FFF2-40B4-BE49-F238E27FC236}">
                  <a16:creationId xmlns:a16="http://schemas.microsoft.com/office/drawing/2014/main" id="{37E6F391-29EE-71D7-3764-5FC796BEFC7F}"/>
                </a:ext>
              </a:extLst>
            </p:cNvPr>
            <p:cNvSpPr txBox="1"/>
            <p:nvPr/>
          </p:nvSpPr>
          <p:spPr>
            <a:xfrm>
              <a:off x="3055226" y="5101182"/>
              <a:ext cx="275100" cy="370984"/>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1</a:t>
              </a:r>
            </a:p>
          </p:txBody>
        </p:sp>
        <p:sp>
          <p:nvSpPr>
            <p:cNvPr id="135" name="TextBox 134">
              <a:extLst>
                <a:ext uri="{FF2B5EF4-FFF2-40B4-BE49-F238E27FC236}">
                  <a16:creationId xmlns:a16="http://schemas.microsoft.com/office/drawing/2014/main" id="{A3B41F6C-A308-5D30-AD5A-B37101F2A1B6}"/>
                </a:ext>
              </a:extLst>
            </p:cNvPr>
            <p:cNvSpPr txBox="1"/>
            <p:nvPr/>
          </p:nvSpPr>
          <p:spPr>
            <a:xfrm>
              <a:off x="3674888" y="5101182"/>
              <a:ext cx="383600" cy="370984"/>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NE</a:t>
              </a:r>
            </a:p>
          </p:txBody>
        </p:sp>
        <p:sp>
          <p:nvSpPr>
            <p:cNvPr id="136" name="TextBox 135">
              <a:extLst>
                <a:ext uri="{FF2B5EF4-FFF2-40B4-BE49-F238E27FC236}">
                  <a16:creationId xmlns:a16="http://schemas.microsoft.com/office/drawing/2014/main" id="{2FBEF151-39B8-509F-7D98-933A4E8DDCD9}"/>
                </a:ext>
              </a:extLst>
            </p:cNvPr>
            <p:cNvSpPr txBox="1"/>
            <p:nvPr/>
          </p:nvSpPr>
          <p:spPr>
            <a:xfrm>
              <a:off x="4348742" y="5101182"/>
              <a:ext cx="383600" cy="370984"/>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NE</a:t>
              </a:r>
            </a:p>
          </p:txBody>
        </p:sp>
        <p:sp>
          <p:nvSpPr>
            <p:cNvPr id="137" name="TextBox 136">
              <a:extLst>
                <a:ext uri="{FF2B5EF4-FFF2-40B4-BE49-F238E27FC236}">
                  <a16:creationId xmlns:a16="http://schemas.microsoft.com/office/drawing/2014/main" id="{FE496C50-9BE4-D8AD-D06D-5146EF03499D}"/>
                </a:ext>
              </a:extLst>
            </p:cNvPr>
            <p:cNvSpPr txBox="1"/>
            <p:nvPr/>
          </p:nvSpPr>
          <p:spPr>
            <a:xfrm>
              <a:off x="5022597" y="5101184"/>
              <a:ext cx="383600" cy="370984"/>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NE</a:t>
              </a:r>
            </a:p>
          </p:txBody>
        </p:sp>
        <p:sp>
          <p:nvSpPr>
            <p:cNvPr id="138" name="TextBox 137">
              <a:extLst>
                <a:ext uri="{FF2B5EF4-FFF2-40B4-BE49-F238E27FC236}">
                  <a16:creationId xmlns:a16="http://schemas.microsoft.com/office/drawing/2014/main" id="{EFF9522B-0EC8-AA69-F542-317F9C554663}"/>
                </a:ext>
              </a:extLst>
            </p:cNvPr>
            <p:cNvSpPr txBox="1"/>
            <p:nvPr/>
          </p:nvSpPr>
          <p:spPr>
            <a:xfrm>
              <a:off x="5696325" y="5101182"/>
              <a:ext cx="383600" cy="370984"/>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NE</a:t>
              </a:r>
            </a:p>
          </p:txBody>
        </p:sp>
      </p:grpSp>
      <p:grpSp>
        <p:nvGrpSpPr>
          <p:cNvPr id="52" name="Graphic 953">
            <a:extLst>
              <a:ext uri="{FF2B5EF4-FFF2-40B4-BE49-F238E27FC236}">
                <a16:creationId xmlns:a16="http://schemas.microsoft.com/office/drawing/2014/main" id="{323DAF4B-92F8-E99D-93C3-8CC2E8939BDC}"/>
              </a:ext>
            </a:extLst>
          </p:cNvPr>
          <p:cNvGrpSpPr/>
          <p:nvPr/>
        </p:nvGrpSpPr>
        <p:grpSpPr>
          <a:xfrm>
            <a:off x="6663074" y="3775548"/>
            <a:ext cx="4842787" cy="235898"/>
            <a:chOff x="6722357" y="4806236"/>
            <a:chExt cx="5067143" cy="370983"/>
          </a:xfrm>
          <a:solidFill>
            <a:srgbClr val="0B41CD"/>
          </a:solidFill>
        </p:grpSpPr>
        <p:sp>
          <p:nvSpPr>
            <p:cNvPr id="113" name="TextBox 112">
              <a:extLst>
                <a:ext uri="{FF2B5EF4-FFF2-40B4-BE49-F238E27FC236}">
                  <a16:creationId xmlns:a16="http://schemas.microsoft.com/office/drawing/2014/main" id="{23434618-3A2A-7C5F-E696-A23E5F671A17}"/>
                </a:ext>
              </a:extLst>
            </p:cNvPr>
            <p:cNvSpPr txBox="1"/>
            <p:nvPr/>
          </p:nvSpPr>
          <p:spPr>
            <a:xfrm>
              <a:off x="6722357" y="4806236"/>
              <a:ext cx="334111" cy="370983"/>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55</a:t>
              </a:r>
            </a:p>
          </p:txBody>
        </p:sp>
        <p:sp>
          <p:nvSpPr>
            <p:cNvPr id="114" name="TextBox 113">
              <a:extLst>
                <a:ext uri="{FF2B5EF4-FFF2-40B4-BE49-F238E27FC236}">
                  <a16:creationId xmlns:a16="http://schemas.microsoft.com/office/drawing/2014/main" id="{B0C1A364-2561-79EE-DC89-22D622AE9C96}"/>
                </a:ext>
              </a:extLst>
            </p:cNvPr>
            <p:cNvSpPr txBox="1"/>
            <p:nvPr/>
          </p:nvSpPr>
          <p:spPr>
            <a:xfrm>
              <a:off x="7665627" y="4806236"/>
              <a:ext cx="334111" cy="370983"/>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43</a:t>
              </a:r>
            </a:p>
          </p:txBody>
        </p:sp>
        <p:sp>
          <p:nvSpPr>
            <p:cNvPr id="115" name="TextBox 114">
              <a:extLst>
                <a:ext uri="{FF2B5EF4-FFF2-40B4-BE49-F238E27FC236}">
                  <a16:creationId xmlns:a16="http://schemas.microsoft.com/office/drawing/2014/main" id="{C82C377C-002C-4952-BB1D-9F3214947214}"/>
                </a:ext>
              </a:extLst>
            </p:cNvPr>
            <p:cNvSpPr txBox="1"/>
            <p:nvPr/>
          </p:nvSpPr>
          <p:spPr>
            <a:xfrm>
              <a:off x="8609022" y="4806236"/>
              <a:ext cx="334111" cy="370983"/>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37</a:t>
              </a:r>
            </a:p>
          </p:txBody>
        </p:sp>
        <p:sp>
          <p:nvSpPr>
            <p:cNvPr id="116" name="TextBox 115">
              <a:extLst>
                <a:ext uri="{FF2B5EF4-FFF2-40B4-BE49-F238E27FC236}">
                  <a16:creationId xmlns:a16="http://schemas.microsoft.com/office/drawing/2014/main" id="{D940EFF7-E99F-7150-765D-CDBA5E434453}"/>
                </a:ext>
              </a:extLst>
            </p:cNvPr>
            <p:cNvSpPr txBox="1"/>
            <p:nvPr/>
          </p:nvSpPr>
          <p:spPr>
            <a:xfrm>
              <a:off x="9552422" y="4806236"/>
              <a:ext cx="334111" cy="370983"/>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26</a:t>
              </a:r>
            </a:p>
          </p:txBody>
        </p:sp>
        <p:sp>
          <p:nvSpPr>
            <p:cNvPr id="117" name="TextBox 116">
              <a:extLst>
                <a:ext uri="{FF2B5EF4-FFF2-40B4-BE49-F238E27FC236}">
                  <a16:creationId xmlns:a16="http://schemas.microsoft.com/office/drawing/2014/main" id="{AB7DB672-C8B0-E732-32DB-4C5E681D8CFA}"/>
                </a:ext>
              </a:extLst>
            </p:cNvPr>
            <p:cNvSpPr txBox="1"/>
            <p:nvPr/>
          </p:nvSpPr>
          <p:spPr>
            <a:xfrm>
              <a:off x="10530388" y="4806236"/>
              <a:ext cx="263666" cy="370983"/>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5</a:t>
              </a:r>
            </a:p>
          </p:txBody>
        </p:sp>
        <p:sp>
          <p:nvSpPr>
            <p:cNvPr id="118" name="TextBox 117">
              <a:extLst>
                <a:ext uri="{FF2B5EF4-FFF2-40B4-BE49-F238E27FC236}">
                  <a16:creationId xmlns:a16="http://schemas.microsoft.com/office/drawing/2014/main" id="{CEEE5074-1AED-AB30-2F6E-E04AEAE5FECB}"/>
                </a:ext>
              </a:extLst>
            </p:cNvPr>
            <p:cNvSpPr txBox="1"/>
            <p:nvPr/>
          </p:nvSpPr>
          <p:spPr>
            <a:xfrm>
              <a:off x="11421843" y="4806236"/>
              <a:ext cx="367657" cy="370983"/>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NE</a:t>
              </a:r>
            </a:p>
          </p:txBody>
        </p:sp>
      </p:grpSp>
      <p:grpSp>
        <p:nvGrpSpPr>
          <p:cNvPr id="53" name="Graphic 953">
            <a:extLst>
              <a:ext uri="{FF2B5EF4-FFF2-40B4-BE49-F238E27FC236}">
                <a16:creationId xmlns:a16="http://schemas.microsoft.com/office/drawing/2014/main" id="{8EE06872-C0EF-53D3-DA3A-1370DF81B51F}"/>
              </a:ext>
            </a:extLst>
          </p:cNvPr>
          <p:cNvGrpSpPr/>
          <p:nvPr/>
        </p:nvGrpSpPr>
        <p:grpSpPr>
          <a:xfrm>
            <a:off x="6663074" y="3900578"/>
            <a:ext cx="4842787" cy="235898"/>
            <a:chOff x="6722357" y="4953709"/>
            <a:chExt cx="5067143" cy="370983"/>
          </a:xfrm>
          <a:solidFill>
            <a:srgbClr val="FF1F26"/>
          </a:solidFill>
        </p:grpSpPr>
        <p:sp>
          <p:nvSpPr>
            <p:cNvPr id="107" name="TextBox 106">
              <a:extLst>
                <a:ext uri="{FF2B5EF4-FFF2-40B4-BE49-F238E27FC236}">
                  <a16:creationId xmlns:a16="http://schemas.microsoft.com/office/drawing/2014/main" id="{A6D21641-0319-C1D2-B71C-88475014489C}"/>
                </a:ext>
              </a:extLst>
            </p:cNvPr>
            <p:cNvSpPr txBox="1"/>
            <p:nvPr/>
          </p:nvSpPr>
          <p:spPr>
            <a:xfrm>
              <a:off x="6722357" y="4953709"/>
              <a:ext cx="334111" cy="370983"/>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14</a:t>
              </a:r>
            </a:p>
          </p:txBody>
        </p:sp>
        <p:sp>
          <p:nvSpPr>
            <p:cNvPr id="108" name="TextBox 107">
              <a:extLst>
                <a:ext uri="{FF2B5EF4-FFF2-40B4-BE49-F238E27FC236}">
                  <a16:creationId xmlns:a16="http://schemas.microsoft.com/office/drawing/2014/main" id="{4B089BED-3F5B-E74A-ECAC-870F7D1F8202}"/>
                </a:ext>
              </a:extLst>
            </p:cNvPr>
            <p:cNvSpPr txBox="1"/>
            <p:nvPr/>
          </p:nvSpPr>
          <p:spPr>
            <a:xfrm>
              <a:off x="7648505" y="4953709"/>
              <a:ext cx="367657" cy="370983"/>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NE</a:t>
              </a:r>
            </a:p>
          </p:txBody>
        </p:sp>
        <p:sp>
          <p:nvSpPr>
            <p:cNvPr id="109" name="TextBox 108">
              <a:extLst>
                <a:ext uri="{FF2B5EF4-FFF2-40B4-BE49-F238E27FC236}">
                  <a16:creationId xmlns:a16="http://schemas.microsoft.com/office/drawing/2014/main" id="{59A13B04-725C-0405-E28C-3C14607AF6BA}"/>
                </a:ext>
              </a:extLst>
            </p:cNvPr>
            <p:cNvSpPr txBox="1"/>
            <p:nvPr/>
          </p:nvSpPr>
          <p:spPr>
            <a:xfrm>
              <a:off x="8591778" y="4953709"/>
              <a:ext cx="367657" cy="370983"/>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NE</a:t>
              </a:r>
            </a:p>
          </p:txBody>
        </p:sp>
        <p:sp>
          <p:nvSpPr>
            <p:cNvPr id="110" name="TextBox 109">
              <a:extLst>
                <a:ext uri="{FF2B5EF4-FFF2-40B4-BE49-F238E27FC236}">
                  <a16:creationId xmlns:a16="http://schemas.microsoft.com/office/drawing/2014/main" id="{E7BA2B64-AB81-A05B-7B90-A97FAC1277B9}"/>
                </a:ext>
              </a:extLst>
            </p:cNvPr>
            <p:cNvSpPr txBox="1"/>
            <p:nvPr/>
          </p:nvSpPr>
          <p:spPr>
            <a:xfrm>
              <a:off x="9535174" y="4953709"/>
              <a:ext cx="367657" cy="370983"/>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NE</a:t>
              </a:r>
            </a:p>
          </p:txBody>
        </p:sp>
        <p:sp>
          <p:nvSpPr>
            <p:cNvPr id="111" name="TextBox 110">
              <a:extLst>
                <a:ext uri="{FF2B5EF4-FFF2-40B4-BE49-F238E27FC236}">
                  <a16:creationId xmlns:a16="http://schemas.microsoft.com/office/drawing/2014/main" id="{D66591E1-5BEE-EEB2-5281-C54A9541FE2C}"/>
                </a:ext>
              </a:extLst>
            </p:cNvPr>
            <p:cNvSpPr txBox="1"/>
            <p:nvPr/>
          </p:nvSpPr>
          <p:spPr>
            <a:xfrm>
              <a:off x="10478447" y="4953709"/>
              <a:ext cx="367657" cy="370983"/>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NE</a:t>
              </a:r>
            </a:p>
          </p:txBody>
        </p:sp>
        <p:sp>
          <p:nvSpPr>
            <p:cNvPr id="112" name="TextBox 111">
              <a:extLst>
                <a:ext uri="{FF2B5EF4-FFF2-40B4-BE49-F238E27FC236}">
                  <a16:creationId xmlns:a16="http://schemas.microsoft.com/office/drawing/2014/main" id="{5D686B68-D57D-9509-5655-78B7DF8CEF9D}"/>
                </a:ext>
              </a:extLst>
            </p:cNvPr>
            <p:cNvSpPr txBox="1"/>
            <p:nvPr/>
          </p:nvSpPr>
          <p:spPr>
            <a:xfrm>
              <a:off x="11421843" y="4953709"/>
              <a:ext cx="367657" cy="370983"/>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NE</a:t>
              </a:r>
            </a:p>
          </p:txBody>
        </p:sp>
      </p:grpSp>
      <p:grpSp>
        <p:nvGrpSpPr>
          <p:cNvPr id="54" name="Graphic 953">
            <a:extLst>
              <a:ext uri="{FF2B5EF4-FFF2-40B4-BE49-F238E27FC236}">
                <a16:creationId xmlns:a16="http://schemas.microsoft.com/office/drawing/2014/main" id="{641BFE16-9B13-70EC-AF29-4A6C92114415}"/>
              </a:ext>
            </a:extLst>
          </p:cNvPr>
          <p:cNvGrpSpPr/>
          <p:nvPr/>
        </p:nvGrpSpPr>
        <p:grpSpPr>
          <a:xfrm>
            <a:off x="6678412" y="4049047"/>
            <a:ext cx="4815428" cy="235898"/>
            <a:chOff x="6757883" y="5101182"/>
            <a:chExt cx="5001938" cy="370983"/>
          </a:xfrm>
          <a:solidFill>
            <a:srgbClr val="BC36F0"/>
          </a:solidFill>
        </p:grpSpPr>
        <p:sp>
          <p:nvSpPr>
            <p:cNvPr id="101" name="TextBox 100">
              <a:extLst>
                <a:ext uri="{FF2B5EF4-FFF2-40B4-BE49-F238E27FC236}">
                  <a16:creationId xmlns:a16="http://schemas.microsoft.com/office/drawing/2014/main" id="{166AE305-E8CC-B7A8-EFC8-CB7C360386C5}"/>
                </a:ext>
              </a:extLst>
            </p:cNvPr>
            <p:cNvSpPr txBox="1"/>
            <p:nvPr/>
          </p:nvSpPr>
          <p:spPr>
            <a:xfrm>
              <a:off x="6757883" y="5101182"/>
              <a:ext cx="261752" cy="370983"/>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3</a:t>
              </a:r>
            </a:p>
          </p:txBody>
        </p:sp>
        <p:sp>
          <p:nvSpPr>
            <p:cNvPr id="102" name="TextBox 101">
              <a:extLst>
                <a:ext uri="{FF2B5EF4-FFF2-40B4-BE49-F238E27FC236}">
                  <a16:creationId xmlns:a16="http://schemas.microsoft.com/office/drawing/2014/main" id="{C616BC88-7546-0708-33E6-D9558D5C3001}"/>
                </a:ext>
              </a:extLst>
            </p:cNvPr>
            <p:cNvSpPr txBox="1"/>
            <p:nvPr/>
          </p:nvSpPr>
          <p:spPr>
            <a:xfrm>
              <a:off x="7701283" y="5101182"/>
              <a:ext cx="261752" cy="370983"/>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1</a:t>
              </a:r>
            </a:p>
          </p:txBody>
        </p:sp>
        <p:sp>
          <p:nvSpPr>
            <p:cNvPr id="103" name="TextBox 102">
              <a:extLst>
                <a:ext uri="{FF2B5EF4-FFF2-40B4-BE49-F238E27FC236}">
                  <a16:creationId xmlns:a16="http://schemas.microsoft.com/office/drawing/2014/main" id="{87C499CF-4AD8-BCF4-BABF-DE9405B72620}"/>
                </a:ext>
              </a:extLst>
            </p:cNvPr>
            <p:cNvSpPr txBox="1"/>
            <p:nvPr/>
          </p:nvSpPr>
          <p:spPr>
            <a:xfrm>
              <a:off x="8593113" y="5101182"/>
              <a:ext cx="364987" cy="370983"/>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NE</a:t>
              </a:r>
            </a:p>
          </p:txBody>
        </p:sp>
        <p:sp>
          <p:nvSpPr>
            <p:cNvPr id="104" name="TextBox 103">
              <a:extLst>
                <a:ext uri="{FF2B5EF4-FFF2-40B4-BE49-F238E27FC236}">
                  <a16:creationId xmlns:a16="http://schemas.microsoft.com/office/drawing/2014/main" id="{71E888C1-6C5A-C777-29EB-20E61E87EEEE}"/>
                </a:ext>
              </a:extLst>
            </p:cNvPr>
            <p:cNvSpPr txBox="1"/>
            <p:nvPr/>
          </p:nvSpPr>
          <p:spPr>
            <a:xfrm>
              <a:off x="9536509" y="5101182"/>
              <a:ext cx="364987" cy="370983"/>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NE</a:t>
              </a:r>
            </a:p>
          </p:txBody>
        </p:sp>
        <p:sp>
          <p:nvSpPr>
            <p:cNvPr id="105" name="TextBox 104">
              <a:extLst>
                <a:ext uri="{FF2B5EF4-FFF2-40B4-BE49-F238E27FC236}">
                  <a16:creationId xmlns:a16="http://schemas.microsoft.com/office/drawing/2014/main" id="{436F2AF4-4712-85D0-766F-C63EB1307598}"/>
                </a:ext>
              </a:extLst>
            </p:cNvPr>
            <p:cNvSpPr txBox="1"/>
            <p:nvPr/>
          </p:nvSpPr>
          <p:spPr>
            <a:xfrm>
              <a:off x="10470330" y="5101182"/>
              <a:ext cx="364987" cy="370983"/>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NE</a:t>
              </a:r>
            </a:p>
          </p:txBody>
        </p:sp>
        <p:sp>
          <p:nvSpPr>
            <p:cNvPr id="106" name="TextBox 105">
              <a:extLst>
                <a:ext uri="{FF2B5EF4-FFF2-40B4-BE49-F238E27FC236}">
                  <a16:creationId xmlns:a16="http://schemas.microsoft.com/office/drawing/2014/main" id="{F270F826-93D6-3B06-20B4-AD03BC0B59A4}"/>
                </a:ext>
              </a:extLst>
            </p:cNvPr>
            <p:cNvSpPr txBox="1"/>
            <p:nvPr/>
          </p:nvSpPr>
          <p:spPr>
            <a:xfrm>
              <a:off x="11394834" y="5101182"/>
              <a:ext cx="364987" cy="370983"/>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NE</a:t>
              </a:r>
            </a:p>
          </p:txBody>
        </p:sp>
      </p:grpSp>
      <p:grpSp>
        <p:nvGrpSpPr>
          <p:cNvPr id="447" name="Group 446">
            <a:extLst>
              <a:ext uri="{FF2B5EF4-FFF2-40B4-BE49-F238E27FC236}">
                <a16:creationId xmlns:a16="http://schemas.microsoft.com/office/drawing/2014/main" id="{5C369053-B05B-5FCE-EFB0-BF476C07827B}"/>
              </a:ext>
            </a:extLst>
          </p:cNvPr>
          <p:cNvGrpSpPr/>
          <p:nvPr/>
        </p:nvGrpSpPr>
        <p:grpSpPr>
          <a:xfrm>
            <a:off x="541881" y="1278235"/>
            <a:ext cx="5127204" cy="2461654"/>
            <a:chOff x="403792" y="1123548"/>
            <a:chExt cx="3588006" cy="1684442"/>
          </a:xfrm>
        </p:grpSpPr>
        <p:sp>
          <p:nvSpPr>
            <p:cNvPr id="6" name="Freeform 5938">
              <a:extLst>
                <a:ext uri="{FF2B5EF4-FFF2-40B4-BE49-F238E27FC236}">
                  <a16:creationId xmlns:a16="http://schemas.microsoft.com/office/drawing/2014/main" id="{F8253FE8-FC96-46D3-2ABF-A7A4F731B926}"/>
                </a:ext>
              </a:extLst>
            </p:cNvPr>
            <p:cNvSpPr/>
            <p:nvPr/>
          </p:nvSpPr>
          <p:spPr>
            <a:xfrm>
              <a:off x="798437" y="1234375"/>
              <a:ext cx="1492803" cy="6060"/>
            </a:xfrm>
            <a:custGeom>
              <a:avLst/>
              <a:gdLst>
                <a:gd name="connsiteX0" fmla="*/ 0 w 2295046"/>
                <a:gd name="connsiteY0" fmla="*/ 0 h 12702"/>
                <a:gd name="connsiteX1" fmla="*/ 2295047 w 2295046"/>
                <a:gd name="connsiteY1" fmla="*/ 0 h 12702"/>
              </a:gdLst>
              <a:ahLst/>
              <a:cxnLst>
                <a:cxn ang="0">
                  <a:pos x="connsiteX0" y="connsiteY0"/>
                </a:cxn>
                <a:cxn ang="0">
                  <a:pos x="connsiteX1" y="connsiteY1"/>
                </a:cxn>
              </a:cxnLst>
              <a:rect l="l" t="t" r="r" b="b"/>
              <a:pathLst>
                <a:path w="2295046" h="12702">
                  <a:moveTo>
                    <a:pt x="0" y="0"/>
                  </a:moveTo>
                  <a:lnTo>
                    <a:pt x="2295047" y="0"/>
                  </a:lnTo>
                </a:path>
              </a:pathLst>
            </a:custGeom>
            <a:ln w="19045" cap="flat">
              <a:solidFill>
                <a:srgbClr val="BC36F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19" name="Graphic 953">
              <a:extLst>
                <a:ext uri="{FF2B5EF4-FFF2-40B4-BE49-F238E27FC236}">
                  <a16:creationId xmlns:a16="http://schemas.microsoft.com/office/drawing/2014/main" id="{BB67B170-1162-89CE-F809-0BF78184061B}"/>
                </a:ext>
              </a:extLst>
            </p:cNvPr>
            <p:cNvGrpSpPr/>
            <p:nvPr/>
          </p:nvGrpSpPr>
          <p:grpSpPr>
            <a:xfrm>
              <a:off x="822397" y="1213651"/>
              <a:ext cx="1490820" cy="41448"/>
              <a:chOff x="1205735" y="1697501"/>
              <a:chExt cx="2291998" cy="86883"/>
            </a:xfrm>
          </p:grpSpPr>
          <p:grpSp>
            <p:nvGrpSpPr>
              <p:cNvPr id="434" name="Graphic 953">
                <a:extLst>
                  <a:ext uri="{FF2B5EF4-FFF2-40B4-BE49-F238E27FC236}">
                    <a16:creationId xmlns:a16="http://schemas.microsoft.com/office/drawing/2014/main" id="{B795F053-AD2D-A72C-1809-37BBF2C813A4}"/>
                  </a:ext>
                </a:extLst>
              </p:cNvPr>
              <p:cNvGrpSpPr/>
              <p:nvPr/>
            </p:nvGrpSpPr>
            <p:grpSpPr>
              <a:xfrm>
                <a:off x="3424822" y="1697501"/>
                <a:ext cx="72911" cy="86883"/>
                <a:chOff x="3424822" y="1697501"/>
                <a:chExt cx="72911" cy="86883"/>
              </a:xfrm>
            </p:grpSpPr>
            <p:sp>
              <p:nvSpPr>
                <p:cNvPr id="441" name="Freeform 6353">
                  <a:extLst>
                    <a:ext uri="{FF2B5EF4-FFF2-40B4-BE49-F238E27FC236}">
                      <a16:creationId xmlns:a16="http://schemas.microsoft.com/office/drawing/2014/main" id="{909EC86D-977C-5461-7F0A-72CA8063507D}"/>
                    </a:ext>
                  </a:extLst>
                </p:cNvPr>
                <p:cNvSpPr/>
                <p:nvPr/>
              </p:nvSpPr>
              <p:spPr>
                <a:xfrm>
                  <a:off x="3461278" y="1697501"/>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BC36F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2" name="Freeform 6354">
                  <a:extLst>
                    <a:ext uri="{FF2B5EF4-FFF2-40B4-BE49-F238E27FC236}">
                      <a16:creationId xmlns:a16="http://schemas.microsoft.com/office/drawing/2014/main" id="{E54B5D85-1D9A-E5CD-3A38-FEC56E41B7A3}"/>
                    </a:ext>
                  </a:extLst>
                </p:cNvPr>
                <p:cNvSpPr/>
                <p:nvPr/>
              </p:nvSpPr>
              <p:spPr>
                <a:xfrm>
                  <a:off x="3424822" y="1740943"/>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BC36F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35" name="Graphic 953">
                <a:extLst>
                  <a:ext uri="{FF2B5EF4-FFF2-40B4-BE49-F238E27FC236}">
                    <a16:creationId xmlns:a16="http://schemas.microsoft.com/office/drawing/2014/main" id="{234A8F41-0F82-3194-F908-5C957686726A}"/>
                  </a:ext>
                </a:extLst>
              </p:cNvPr>
              <p:cNvGrpSpPr/>
              <p:nvPr/>
            </p:nvGrpSpPr>
            <p:grpSpPr>
              <a:xfrm>
                <a:off x="1524054" y="1697501"/>
                <a:ext cx="72911" cy="86883"/>
                <a:chOff x="1524054" y="1697501"/>
                <a:chExt cx="72911" cy="86883"/>
              </a:xfrm>
            </p:grpSpPr>
            <p:sp>
              <p:nvSpPr>
                <p:cNvPr id="439" name="Freeform 6351">
                  <a:extLst>
                    <a:ext uri="{FF2B5EF4-FFF2-40B4-BE49-F238E27FC236}">
                      <a16:creationId xmlns:a16="http://schemas.microsoft.com/office/drawing/2014/main" id="{32EE0D6F-3EDE-BA3A-7D3C-A8062D1BE0E8}"/>
                    </a:ext>
                  </a:extLst>
                </p:cNvPr>
                <p:cNvSpPr/>
                <p:nvPr/>
              </p:nvSpPr>
              <p:spPr>
                <a:xfrm>
                  <a:off x="1560510" y="1697501"/>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BC36F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0" name="Freeform 6352">
                  <a:extLst>
                    <a:ext uri="{FF2B5EF4-FFF2-40B4-BE49-F238E27FC236}">
                      <a16:creationId xmlns:a16="http://schemas.microsoft.com/office/drawing/2014/main" id="{D34A8BF6-E344-FD6B-0722-DA97021E2EF1}"/>
                    </a:ext>
                  </a:extLst>
                </p:cNvPr>
                <p:cNvSpPr/>
                <p:nvPr/>
              </p:nvSpPr>
              <p:spPr>
                <a:xfrm>
                  <a:off x="1524054" y="1740943"/>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BC36F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36" name="Graphic 953">
                <a:extLst>
                  <a:ext uri="{FF2B5EF4-FFF2-40B4-BE49-F238E27FC236}">
                    <a16:creationId xmlns:a16="http://schemas.microsoft.com/office/drawing/2014/main" id="{15A129CD-7F51-1D37-3C7C-591A910FB380}"/>
                  </a:ext>
                </a:extLst>
              </p:cNvPr>
              <p:cNvGrpSpPr/>
              <p:nvPr/>
            </p:nvGrpSpPr>
            <p:grpSpPr>
              <a:xfrm>
                <a:off x="1205735" y="1697501"/>
                <a:ext cx="72911" cy="86883"/>
                <a:chOff x="1205735" y="1697501"/>
                <a:chExt cx="72911" cy="86883"/>
              </a:xfrm>
            </p:grpSpPr>
            <p:sp>
              <p:nvSpPr>
                <p:cNvPr id="437" name="Freeform 6349">
                  <a:extLst>
                    <a:ext uri="{FF2B5EF4-FFF2-40B4-BE49-F238E27FC236}">
                      <a16:creationId xmlns:a16="http://schemas.microsoft.com/office/drawing/2014/main" id="{48C52743-FE92-B935-DD16-97BC7053580A}"/>
                    </a:ext>
                  </a:extLst>
                </p:cNvPr>
                <p:cNvSpPr/>
                <p:nvPr/>
              </p:nvSpPr>
              <p:spPr>
                <a:xfrm>
                  <a:off x="1242191" y="1697501"/>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BC36F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8" name="Freeform 6350">
                  <a:extLst>
                    <a:ext uri="{FF2B5EF4-FFF2-40B4-BE49-F238E27FC236}">
                      <a16:creationId xmlns:a16="http://schemas.microsoft.com/office/drawing/2014/main" id="{0DEAA6E9-8B7F-D2A4-6B15-05865CE9297B}"/>
                    </a:ext>
                  </a:extLst>
                </p:cNvPr>
                <p:cNvSpPr/>
                <p:nvPr/>
              </p:nvSpPr>
              <p:spPr>
                <a:xfrm>
                  <a:off x="1205735" y="1740943"/>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BC36F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sp>
          <p:nvSpPr>
            <p:cNvPr id="23" name="Freeform 5942">
              <a:extLst>
                <a:ext uri="{FF2B5EF4-FFF2-40B4-BE49-F238E27FC236}">
                  <a16:creationId xmlns:a16="http://schemas.microsoft.com/office/drawing/2014/main" id="{0D758DDD-EBFA-F0E4-3512-B2354E7AEA8E}"/>
                </a:ext>
              </a:extLst>
            </p:cNvPr>
            <p:cNvSpPr/>
            <p:nvPr/>
          </p:nvSpPr>
          <p:spPr>
            <a:xfrm>
              <a:off x="798437" y="1234375"/>
              <a:ext cx="2563907" cy="914766"/>
            </a:xfrm>
            <a:custGeom>
              <a:avLst/>
              <a:gdLst>
                <a:gd name="connsiteX0" fmla="*/ 0 w 3941769"/>
                <a:gd name="connsiteY0" fmla="*/ 0 h 1917534"/>
                <a:gd name="connsiteX1" fmla="*/ 85613 w 3941769"/>
                <a:gd name="connsiteY1" fmla="*/ 0 h 1917534"/>
                <a:gd name="connsiteX2" fmla="*/ 85613 w 3941769"/>
                <a:gd name="connsiteY2" fmla="*/ 145568 h 1917534"/>
                <a:gd name="connsiteX3" fmla="*/ 100475 w 3941769"/>
                <a:gd name="connsiteY3" fmla="*/ 145568 h 1917534"/>
                <a:gd name="connsiteX4" fmla="*/ 100475 w 3941769"/>
                <a:gd name="connsiteY4" fmla="*/ 291517 h 1917534"/>
                <a:gd name="connsiteX5" fmla="*/ 114320 w 3941769"/>
                <a:gd name="connsiteY5" fmla="*/ 291517 h 1917534"/>
                <a:gd name="connsiteX6" fmla="*/ 114320 w 3941769"/>
                <a:gd name="connsiteY6" fmla="*/ 580748 h 1917534"/>
                <a:gd name="connsiteX7" fmla="*/ 201077 w 3941769"/>
                <a:gd name="connsiteY7" fmla="*/ 580748 h 1917534"/>
                <a:gd name="connsiteX8" fmla="*/ 201077 w 3941769"/>
                <a:gd name="connsiteY8" fmla="*/ 871249 h 1917534"/>
                <a:gd name="connsiteX9" fmla="*/ 220130 w 3941769"/>
                <a:gd name="connsiteY9" fmla="*/ 871249 h 1917534"/>
                <a:gd name="connsiteX10" fmla="*/ 220130 w 3941769"/>
                <a:gd name="connsiteY10" fmla="*/ 1018849 h 1917534"/>
                <a:gd name="connsiteX11" fmla="*/ 329624 w 3941769"/>
                <a:gd name="connsiteY11" fmla="*/ 1018849 h 1917534"/>
                <a:gd name="connsiteX12" fmla="*/ 329624 w 3941769"/>
                <a:gd name="connsiteY12" fmla="*/ 1162131 h 1917534"/>
                <a:gd name="connsiteX13" fmla="*/ 348677 w 3941769"/>
                <a:gd name="connsiteY13" fmla="*/ 1162131 h 1917534"/>
                <a:gd name="connsiteX14" fmla="*/ 348677 w 3941769"/>
                <a:gd name="connsiteY14" fmla="*/ 1309731 h 1917534"/>
                <a:gd name="connsiteX15" fmla="*/ 589004 w 3941769"/>
                <a:gd name="connsiteY15" fmla="*/ 1309731 h 1917534"/>
                <a:gd name="connsiteX16" fmla="*/ 589004 w 3941769"/>
                <a:gd name="connsiteY16" fmla="*/ 1455553 h 1917534"/>
                <a:gd name="connsiteX17" fmla="*/ 2484057 w 3941769"/>
                <a:gd name="connsiteY17" fmla="*/ 1455553 h 1917534"/>
                <a:gd name="connsiteX18" fmla="*/ 2484057 w 3941769"/>
                <a:gd name="connsiteY18" fmla="*/ 1687243 h 1917534"/>
                <a:gd name="connsiteX19" fmla="*/ 2663667 w 3941769"/>
                <a:gd name="connsiteY19" fmla="*/ 1687243 h 1917534"/>
                <a:gd name="connsiteX20" fmla="*/ 2663667 w 3941769"/>
                <a:gd name="connsiteY20" fmla="*/ 1917535 h 1917534"/>
                <a:gd name="connsiteX21" fmla="*/ 3941769 w 3941769"/>
                <a:gd name="connsiteY21" fmla="*/ 1917535 h 191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41769" h="1917534">
                  <a:moveTo>
                    <a:pt x="0" y="0"/>
                  </a:moveTo>
                  <a:lnTo>
                    <a:pt x="85613" y="0"/>
                  </a:lnTo>
                  <a:lnTo>
                    <a:pt x="85613" y="145568"/>
                  </a:lnTo>
                  <a:lnTo>
                    <a:pt x="100475" y="145568"/>
                  </a:lnTo>
                  <a:lnTo>
                    <a:pt x="100475" y="291517"/>
                  </a:lnTo>
                  <a:lnTo>
                    <a:pt x="114320" y="291517"/>
                  </a:lnTo>
                  <a:lnTo>
                    <a:pt x="114320" y="580748"/>
                  </a:lnTo>
                  <a:lnTo>
                    <a:pt x="201077" y="580748"/>
                  </a:lnTo>
                  <a:lnTo>
                    <a:pt x="201077" y="871249"/>
                  </a:lnTo>
                  <a:lnTo>
                    <a:pt x="220130" y="871249"/>
                  </a:lnTo>
                  <a:lnTo>
                    <a:pt x="220130" y="1018849"/>
                  </a:lnTo>
                  <a:lnTo>
                    <a:pt x="329624" y="1018849"/>
                  </a:lnTo>
                  <a:lnTo>
                    <a:pt x="329624" y="1162131"/>
                  </a:lnTo>
                  <a:lnTo>
                    <a:pt x="348677" y="1162131"/>
                  </a:lnTo>
                  <a:lnTo>
                    <a:pt x="348677" y="1309731"/>
                  </a:lnTo>
                  <a:lnTo>
                    <a:pt x="589004" y="1309731"/>
                  </a:lnTo>
                  <a:lnTo>
                    <a:pt x="589004" y="1455553"/>
                  </a:lnTo>
                  <a:lnTo>
                    <a:pt x="2484057" y="1455553"/>
                  </a:lnTo>
                  <a:lnTo>
                    <a:pt x="2484057" y="1687243"/>
                  </a:lnTo>
                  <a:lnTo>
                    <a:pt x="2663667" y="1687243"/>
                  </a:lnTo>
                  <a:lnTo>
                    <a:pt x="2663667" y="1917535"/>
                  </a:lnTo>
                  <a:lnTo>
                    <a:pt x="3941769" y="1917535"/>
                  </a:lnTo>
                </a:path>
              </a:pathLst>
            </a:custGeom>
            <a:noFill/>
            <a:ln w="19045" cap="flat">
              <a:solidFill>
                <a:srgbClr val="FF1F26"/>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6" name="Graphic 953">
              <a:extLst>
                <a:ext uri="{FF2B5EF4-FFF2-40B4-BE49-F238E27FC236}">
                  <a16:creationId xmlns:a16="http://schemas.microsoft.com/office/drawing/2014/main" id="{48DB1742-A662-F36A-24E5-3C3003E0E2A4}"/>
                </a:ext>
              </a:extLst>
            </p:cNvPr>
            <p:cNvGrpSpPr/>
            <p:nvPr/>
          </p:nvGrpSpPr>
          <p:grpSpPr>
            <a:xfrm>
              <a:off x="1642662" y="1908027"/>
              <a:ext cx="1736784" cy="261838"/>
              <a:chOff x="2466817" y="3153055"/>
              <a:chExt cx="2670144" cy="548865"/>
            </a:xfrm>
          </p:grpSpPr>
          <p:grpSp>
            <p:nvGrpSpPr>
              <p:cNvPr id="414" name="Graphic 953">
                <a:extLst>
                  <a:ext uri="{FF2B5EF4-FFF2-40B4-BE49-F238E27FC236}">
                    <a16:creationId xmlns:a16="http://schemas.microsoft.com/office/drawing/2014/main" id="{ACD86B5C-1E3B-99FC-CA73-07BC83089D51}"/>
                  </a:ext>
                </a:extLst>
              </p:cNvPr>
              <p:cNvGrpSpPr/>
              <p:nvPr/>
            </p:nvGrpSpPr>
            <p:grpSpPr>
              <a:xfrm>
                <a:off x="5064051" y="3615036"/>
                <a:ext cx="72911" cy="86883"/>
                <a:chOff x="5064051" y="3615036"/>
                <a:chExt cx="72911" cy="86883"/>
              </a:xfrm>
            </p:grpSpPr>
            <p:sp>
              <p:nvSpPr>
                <p:cNvPr id="430" name="Freeform 6342">
                  <a:extLst>
                    <a:ext uri="{FF2B5EF4-FFF2-40B4-BE49-F238E27FC236}">
                      <a16:creationId xmlns:a16="http://schemas.microsoft.com/office/drawing/2014/main" id="{7D4E4A8C-466B-F8CE-8327-30662CE40866}"/>
                    </a:ext>
                  </a:extLst>
                </p:cNvPr>
                <p:cNvSpPr/>
                <p:nvPr/>
              </p:nvSpPr>
              <p:spPr>
                <a:xfrm>
                  <a:off x="5100506" y="3615036"/>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FF1F26"/>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 name="Freeform 6343">
                  <a:extLst>
                    <a:ext uri="{FF2B5EF4-FFF2-40B4-BE49-F238E27FC236}">
                      <a16:creationId xmlns:a16="http://schemas.microsoft.com/office/drawing/2014/main" id="{539B8272-509B-DEA3-4FE0-57D1914D5B69}"/>
                    </a:ext>
                  </a:extLst>
                </p:cNvPr>
                <p:cNvSpPr/>
                <p:nvPr/>
              </p:nvSpPr>
              <p:spPr>
                <a:xfrm>
                  <a:off x="5064051" y="3658478"/>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FF1F26"/>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15" name="Graphic 953">
                <a:extLst>
                  <a:ext uri="{FF2B5EF4-FFF2-40B4-BE49-F238E27FC236}">
                    <a16:creationId xmlns:a16="http://schemas.microsoft.com/office/drawing/2014/main" id="{A4A14EBB-7641-CE58-6AB5-13686BC68008}"/>
                  </a:ext>
                </a:extLst>
              </p:cNvPr>
              <p:cNvGrpSpPr/>
              <p:nvPr/>
            </p:nvGrpSpPr>
            <p:grpSpPr>
              <a:xfrm>
                <a:off x="3874229" y="3615036"/>
                <a:ext cx="72911" cy="86883"/>
                <a:chOff x="3874229" y="3615036"/>
                <a:chExt cx="72911" cy="86883"/>
              </a:xfrm>
            </p:grpSpPr>
            <p:sp>
              <p:nvSpPr>
                <p:cNvPr id="428" name="Freeform 6340">
                  <a:extLst>
                    <a:ext uri="{FF2B5EF4-FFF2-40B4-BE49-F238E27FC236}">
                      <a16:creationId xmlns:a16="http://schemas.microsoft.com/office/drawing/2014/main" id="{35EBA92F-C11C-A308-07B3-2FCDF57EAFCE}"/>
                    </a:ext>
                  </a:extLst>
                </p:cNvPr>
                <p:cNvSpPr/>
                <p:nvPr/>
              </p:nvSpPr>
              <p:spPr>
                <a:xfrm>
                  <a:off x="3910684" y="3615036"/>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FF1F26"/>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 name="Freeform 6341">
                  <a:extLst>
                    <a:ext uri="{FF2B5EF4-FFF2-40B4-BE49-F238E27FC236}">
                      <a16:creationId xmlns:a16="http://schemas.microsoft.com/office/drawing/2014/main" id="{DBF1C7CC-4DBF-EC60-6712-C14D497942F8}"/>
                    </a:ext>
                  </a:extLst>
                </p:cNvPr>
                <p:cNvSpPr/>
                <p:nvPr/>
              </p:nvSpPr>
              <p:spPr>
                <a:xfrm>
                  <a:off x="3874229" y="3658478"/>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FF1F26"/>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16" name="Graphic 953">
                <a:extLst>
                  <a:ext uri="{FF2B5EF4-FFF2-40B4-BE49-F238E27FC236}">
                    <a16:creationId xmlns:a16="http://schemas.microsoft.com/office/drawing/2014/main" id="{E6349703-FC5A-B97C-B5C8-095AAA85E9C4}"/>
                  </a:ext>
                </a:extLst>
              </p:cNvPr>
              <p:cNvGrpSpPr/>
              <p:nvPr/>
            </p:nvGrpSpPr>
            <p:grpSpPr>
              <a:xfrm>
                <a:off x="3852889" y="3615036"/>
                <a:ext cx="73038" cy="86883"/>
                <a:chOff x="3852889" y="3615036"/>
                <a:chExt cx="73038" cy="86883"/>
              </a:xfrm>
            </p:grpSpPr>
            <p:sp>
              <p:nvSpPr>
                <p:cNvPr id="426" name="Freeform 6338">
                  <a:extLst>
                    <a:ext uri="{FF2B5EF4-FFF2-40B4-BE49-F238E27FC236}">
                      <a16:creationId xmlns:a16="http://schemas.microsoft.com/office/drawing/2014/main" id="{BDB5FFF1-8738-E085-5ED1-383ED63BB8A2}"/>
                    </a:ext>
                  </a:extLst>
                </p:cNvPr>
                <p:cNvSpPr/>
                <p:nvPr/>
              </p:nvSpPr>
              <p:spPr>
                <a:xfrm>
                  <a:off x="3889472" y="3615036"/>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FF1F26"/>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 name="Freeform 6339">
                  <a:extLst>
                    <a:ext uri="{FF2B5EF4-FFF2-40B4-BE49-F238E27FC236}">
                      <a16:creationId xmlns:a16="http://schemas.microsoft.com/office/drawing/2014/main" id="{BCFBD902-6FF4-3175-4160-67DFA707199F}"/>
                    </a:ext>
                  </a:extLst>
                </p:cNvPr>
                <p:cNvSpPr/>
                <p:nvPr/>
              </p:nvSpPr>
              <p:spPr>
                <a:xfrm>
                  <a:off x="3852889" y="3658478"/>
                  <a:ext cx="73038" cy="12702"/>
                </a:xfrm>
                <a:custGeom>
                  <a:avLst/>
                  <a:gdLst>
                    <a:gd name="connsiteX0" fmla="*/ 0 w 73038"/>
                    <a:gd name="connsiteY0" fmla="*/ 0 h 12702"/>
                    <a:gd name="connsiteX1" fmla="*/ 73038 w 73038"/>
                    <a:gd name="connsiteY1" fmla="*/ 0 h 12702"/>
                  </a:gdLst>
                  <a:ahLst/>
                  <a:cxnLst>
                    <a:cxn ang="0">
                      <a:pos x="connsiteX0" y="connsiteY0"/>
                    </a:cxn>
                    <a:cxn ang="0">
                      <a:pos x="connsiteX1" y="connsiteY1"/>
                    </a:cxn>
                  </a:cxnLst>
                  <a:rect l="l" t="t" r="r" b="b"/>
                  <a:pathLst>
                    <a:path w="73038" h="12702">
                      <a:moveTo>
                        <a:pt x="0" y="0"/>
                      </a:moveTo>
                      <a:lnTo>
                        <a:pt x="73038" y="0"/>
                      </a:lnTo>
                    </a:path>
                  </a:pathLst>
                </a:custGeom>
                <a:ln w="19045" cap="flat">
                  <a:solidFill>
                    <a:srgbClr val="FF1F26"/>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17" name="Graphic 953">
                <a:extLst>
                  <a:ext uri="{FF2B5EF4-FFF2-40B4-BE49-F238E27FC236}">
                    <a16:creationId xmlns:a16="http://schemas.microsoft.com/office/drawing/2014/main" id="{6A232804-84EA-A039-4772-1835CCFB0648}"/>
                  </a:ext>
                </a:extLst>
              </p:cNvPr>
              <p:cNvGrpSpPr/>
              <p:nvPr/>
            </p:nvGrpSpPr>
            <p:grpSpPr>
              <a:xfrm>
                <a:off x="3591476" y="3153055"/>
                <a:ext cx="72911" cy="86883"/>
                <a:chOff x="3591476" y="3153055"/>
                <a:chExt cx="72911" cy="86883"/>
              </a:xfrm>
            </p:grpSpPr>
            <p:sp>
              <p:nvSpPr>
                <p:cNvPr id="424" name="Freeform 6336">
                  <a:extLst>
                    <a:ext uri="{FF2B5EF4-FFF2-40B4-BE49-F238E27FC236}">
                      <a16:creationId xmlns:a16="http://schemas.microsoft.com/office/drawing/2014/main" id="{686EBC19-46BD-3F4B-BAD8-0B4701ED49C0}"/>
                    </a:ext>
                  </a:extLst>
                </p:cNvPr>
                <p:cNvSpPr/>
                <p:nvPr/>
              </p:nvSpPr>
              <p:spPr>
                <a:xfrm>
                  <a:off x="3627932" y="3153055"/>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FF1F26"/>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 name="Freeform 6337">
                  <a:extLst>
                    <a:ext uri="{FF2B5EF4-FFF2-40B4-BE49-F238E27FC236}">
                      <a16:creationId xmlns:a16="http://schemas.microsoft.com/office/drawing/2014/main" id="{A36B5855-80C8-820B-185B-7A2D6B974755}"/>
                    </a:ext>
                  </a:extLst>
                </p:cNvPr>
                <p:cNvSpPr/>
                <p:nvPr/>
              </p:nvSpPr>
              <p:spPr>
                <a:xfrm>
                  <a:off x="3591476" y="3196496"/>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FF1F26"/>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18" name="Graphic 953">
                <a:extLst>
                  <a:ext uri="{FF2B5EF4-FFF2-40B4-BE49-F238E27FC236}">
                    <a16:creationId xmlns:a16="http://schemas.microsoft.com/office/drawing/2014/main" id="{60C7F667-AD05-0A46-D1BF-307359F12C46}"/>
                  </a:ext>
                </a:extLst>
              </p:cNvPr>
              <p:cNvGrpSpPr/>
              <p:nvPr/>
            </p:nvGrpSpPr>
            <p:grpSpPr>
              <a:xfrm>
                <a:off x="3354706" y="3153055"/>
                <a:ext cx="72911" cy="86883"/>
                <a:chOff x="3354706" y="3153055"/>
                <a:chExt cx="72911" cy="86883"/>
              </a:xfrm>
            </p:grpSpPr>
            <p:sp>
              <p:nvSpPr>
                <p:cNvPr id="422" name="Freeform 6334">
                  <a:extLst>
                    <a:ext uri="{FF2B5EF4-FFF2-40B4-BE49-F238E27FC236}">
                      <a16:creationId xmlns:a16="http://schemas.microsoft.com/office/drawing/2014/main" id="{FE2986BD-5BD7-A381-64E3-C21CE59D0244}"/>
                    </a:ext>
                  </a:extLst>
                </p:cNvPr>
                <p:cNvSpPr/>
                <p:nvPr/>
              </p:nvSpPr>
              <p:spPr>
                <a:xfrm>
                  <a:off x="3391161" y="3153055"/>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FF1F26"/>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 name="Freeform 6335">
                  <a:extLst>
                    <a:ext uri="{FF2B5EF4-FFF2-40B4-BE49-F238E27FC236}">
                      <a16:creationId xmlns:a16="http://schemas.microsoft.com/office/drawing/2014/main" id="{066E82EF-0670-F646-3AA3-3AF576B6D76B}"/>
                    </a:ext>
                  </a:extLst>
                </p:cNvPr>
                <p:cNvSpPr/>
                <p:nvPr/>
              </p:nvSpPr>
              <p:spPr>
                <a:xfrm>
                  <a:off x="3354706" y="3196496"/>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FF1F26"/>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19" name="Graphic 953">
                <a:extLst>
                  <a:ext uri="{FF2B5EF4-FFF2-40B4-BE49-F238E27FC236}">
                    <a16:creationId xmlns:a16="http://schemas.microsoft.com/office/drawing/2014/main" id="{7737AE7C-23B7-D8A1-9951-56C78AAA34EA}"/>
                  </a:ext>
                </a:extLst>
              </p:cNvPr>
              <p:cNvGrpSpPr/>
              <p:nvPr/>
            </p:nvGrpSpPr>
            <p:grpSpPr>
              <a:xfrm>
                <a:off x="2466817" y="3153055"/>
                <a:ext cx="72911" cy="86883"/>
                <a:chOff x="2466817" y="3153055"/>
                <a:chExt cx="72911" cy="86883"/>
              </a:xfrm>
            </p:grpSpPr>
            <p:sp>
              <p:nvSpPr>
                <p:cNvPr id="420" name="Freeform 6332">
                  <a:extLst>
                    <a:ext uri="{FF2B5EF4-FFF2-40B4-BE49-F238E27FC236}">
                      <a16:creationId xmlns:a16="http://schemas.microsoft.com/office/drawing/2014/main" id="{EC802E79-D7D6-63EB-F9D7-816C5939A1A8}"/>
                    </a:ext>
                  </a:extLst>
                </p:cNvPr>
                <p:cNvSpPr/>
                <p:nvPr/>
              </p:nvSpPr>
              <p:spPr>
                <a:xfrm>
                  <a:off x="2503273" y="3153055"/>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FF1F26"/>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 name="Freeform 6333">
                  <a:extLst>
                    <a:ext uri="{FF2B5EF4-FFF2-40B4-BE49-F238E27FC236}">
                      <a16:creationId xmlns:a16="http://schemas.microsoft.com/office/drawing/2014/main" id="{F6DCB50E-E871-CB41-66EB-B2EAE3E155E7}"/>
                    </a:ext>
                  </a:extLst>
                </p:cNvPr>
                <p:cNvSpPr/>
                <p:nvPr/>
              </p:nvSpPr>
              <p:spPr>
                <a:xfrm>
                  <a:off x="2466817" y="3196496"/>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FF1F26"/>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sp>
          <p:nvSpPr>
            <p:cNvPr id="28" name="Freeform 5946">
              <a:extLst>
                <a:ext uri="{FF2B5EF4-FFF2-40B4-BE49-F238E27FC236}">
                  <a16:creationId xmlns:a16="http://schemas.microsoft.com/office/drawing/2014/main" id="{9F1CF6AC-DD76-AB3C-C2A7-70590B0DDA0D}"/>
                </a:ext>
              </a:extLst>
            </p:cNvPr>
            <p:cNvSpPr/>
            <p:nvPr/>
          </p:nvSpPr>
          <p:spPr>
            <a:xfrm>
              <a:off x="798437" y="1234375"/>
              <a:ext cx="3001139" cy="185546"/>
            </a:xfrm>
            <a:custGeom>
              <a:avLst/>
              <a:gdLst>
                <a:gd name="connsiteX0" fmla="*/ 0 w 4613973"/>
                <a:gd name="connsiteY0" fmla="*/ 0 h 388943"/>
                <a:gd name="connsiteX1" fmla="*/ 143028 w 4613973"/>
                <a:gd name="connsiteY1" fmla="*/ 0 h 388943"/>
                <a:gd name="connsiteX2" fmla="*/ 143028 w 4613973"/>
                <a:gd name="connsiteY2" fmla="*/ 47888 h 388943"/>
                <a:gd name="connsiteX3" fmla="*/ 248329 w 4613973"/>
                <a:gd name="connsiteY3" fmla="*/ 47888 h 388943"/>
                <a:gd name="connsiteX4" fmla="*/ 248329 w 4613973"/>
                <a:gd name="connsiteY4" fmla="*/ 96029 h 388943"/>
                <a:gd name="connsiteX5" fmla="*/ 370906 w 4613973"/>
                <a:gd name="connsiteY5" fmla="*/ 96029 h 388943"/>
                <a:gd name="connsiteX6" fmla="*/ 370906 w 4613973"/>
                <a:gd name="connsiteY6" fmla="*/ 141122 h 388943"/>
                <a:gd name="connsiteX7" fmla="*/ 636892 w 4613973"/>
                <a:gd name="connsiteY7" fmla="*/ 141122 h 388943"/>
                <a:gd name="connsiteX8" fmla="*/ 636892 w 4613973"/>
                <a:gd name="connsiteY8" fmla="*/ 193329 h 388943"/>
                <a:gd name="connsiteX9" fmla="*/ 1314685 w 4613973"/>
                <a:gd name="connsiteY9" fmla="*/ 193329 h 388943"/>
                <a:gd name="connsiteX10" fmla="*/ 1314685 w 4613973"/>
                <a:gd name="connsiteY10" fmla="*/ 241978 h 388943"/>
                <a:gd name="connsiteX11" fmla="*/ 1397504 w 4613973"/>
                <a:gd name="connsiteY11" fmla="*/ 241978 h 388943"/>
                <a:gd name="connsiteX12" fmla="*/ 1397504 w 4613973"/>
                <a:gd name="connsiteY12" fmla="*/ 290247 h 388943"/>
                <a:gd name="connsiteX13" fmla="*/ 1528084 w 4613973"/>
                <a:gd name="connsiteY13" fmla="*/ 290247 h 388943"/>
                <a:gd name="connsiteX14" fmla="*/ 1528084 w 4613973"/>
                <a:gd name="connsiteY14" fmla="*/ 338897 h 388943"/>
                <a:gd name="connsiteX15" fmla="*/ 1803215 w 4613973"/>
                <a:gd name="connsiteY15" fmla="*/ 338897 h 388943"/>
                <a:gd name="connsiteX16" fmla="*/ 1803215 w 4613973"/>
                <a:gd name="connsiteY16" fmla="*/ 388944 h 388943"/>
                <a:gd name="connsiteX17" fmla="*/ 4613974 w 4613973"/>
                <a:gd name="connsiteY17" fmla="*/ 388944 h 388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13973" h="388943">
                  <a:moveTo>
                    <a:pt x="0" y="0"/>
                  </a:moveTo>
                  <a:lnTo>
                    <a:pt x="143028" y="0"/>
                  </a:lnTo>
                  <a:lnTo>
                    <a:pt x="143028" y="47888"/>
                  </a:lnTo>
                  <a:lnTo>
                    <a:pt x="248329" y="47888"/>
                  </a:lnTo>
                  <a:lnTo>
                    <a:pt x="248329" y="96029"/>
                  </a:lnTo>
                  <a:lnTo>
                    <a:pt x="370906" y="96029"/>
                  </a:lnTo>
                  <a:lnTo>
                    <a:pt x="370906" y="141122"/>
                  </a:lnTo>
                  <a:lnTo>
                    <a:pt x="636892" y="141122"/>
                  </a:lnTo>
                  <a:lnTo>
                    <a:pt x="636892" y="193329"/>
                  </a:lnTo>
                  <a:lnTo>
                    <a:pt x="1314685" y="193329"/>
                  </a:lnTo>
                  <a:lnTo>
                    <a:pt x="1314685" y="241978"/>
                  </a:lnTo>
                  <a:lnTo>
                    <a:pt x="1397504" y="241978"/>
                  </a:lnTo>
                  <a:lnTo>
                    <a:pt x="1397504" y="290247"/>
                  </a:lnTo>
                  <a:lnTo>
                    <a:pt x="1528084" y="290247"/>
                  </a:lnTo>
                  <a:lnTo>
                    <a:pt x="1528084" y="338897"/>
                  </a:lnTo>
                  <a:lnTo>
                    <a:pt x="1803215" y="338897"/>
                  </a:lnTo>
                  <a:lnTo>
                    <a:pt x="1803215" y="388944"/>
                  </a:lnTo>
                  <a:lnTo>
                    <a:pt x="4613974" y="388944"/>
                  </a:lnTo>
                </a:path>
              </a:pathLst>
            </a:custGeom>
            <a:noFill/>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31" name="Graphic 953">
              <a:extLst>
                <a:ext uri="{FF2B5EF4-FFF2-40B4-BE49-F238E27FC236}">
                  <a16:creationId xmlns:a16="http://schemas.microsoft.com/office/drawing/2014/main" id="{08126A97-2068-D06E-77D5-E270125D0A0D}"/>
                </a:ext>
              </a:extLst>
            </p:cNvPr>
            <p:cNvGrpSpPr/>
            <p:nvPr/>
          </p:nvGrpSpPr>
          <p:grpSpPr>
            <a:xfrm>
              <a:off x="1176595" y="1280973"/>
              <a:ext cx="2644215" cy="159672"/>
              <a:chOff x="1750282" y="1838623"/>
              <a:chExt cx="4065235" cy="334704"/>
            </a:xfrm>
          </p:grpSpPr>
          <p:grpSp>
            <p:nvGrpSpPr>
              <p:cNvPr id="277" name="Graphic 953">
                <a:extLst>
                  <a:ext uri="{FF2B5EF4-FFF2-40B4-BE49-F238E27FC236}">
                    <a16:creationId xmlns:a16="http://schemas.microsoft.com/office/drawing/2014/main" id="{DE22F60B-5A48-43C0-B91F-109F4E982195}"/>
                  </a:ext>
                </a:extLst>
              </p:cNvPr>
              <p:cNvGrpSpPr/>
              <p:nvPr/>
            </p:nvGrpSpPr>
            <p:grpSpPr>
              <a:xfrm>
                <a:off x="5742479" y="2086445"/>
                <a:ext cx="73038" cy="86883"/>
                <a:chOff x="5742479" y="2086445"/>
                <a:chExt cx="73038" cy="86883"/>
              </a:xfrm>
            </p:grpSpPr>
            <p:sp>
              <p:nvSpPr>
                <p:cNvPr id="410" name="Freeform 6322">
                  <a:extLst>
                    <a:ext uri="{FF2B5EF4-FFF2-40B4-BE49-F238E27FC236}">
                      <a16:creationId xmlns:a16="http://schemas.microsoft.com/office/drawing/2014/main" id="{F7A8FB42-0CE3-579A-CF37-9CF7EA17DC92}"/>
                    </a:ext>
                  </a:extLst>
                </p:cNvPr>
                <p:cNvSpPr/>
                <p:nvPr/>
              </p:nvSpPr>
              <p:spPr>
                <a:xfrm>
                  <a:off x="5778935" y="2086445"/>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 name="Freeform 6323">
                  <a:extLst>
                    <a:ext uri="{FF2B5EF4-FFF2-40B4-BE49-F238E27FC236}">
                      <a16:creationId xmlns:a16="http://schemas.microsoft.com/office/drawing/2014/main" id="{88FDB4C7-BAEB-84FD-7C50-761B675D7AA2}"/>
                    </a:ext>
                  </a:extLst>
                </p:cNvPr>
                <p:cNvSpPr/>
                <p:nvPr/>
              </p:nvSpPr>
              <p:spPr>
                <a:xfrm>
                  <a:off x="5742479" y="2129887"/>
                  <a:ext cx="73038" cy="12702"/>
                </a:xfrm>
                <a:custGeom>
                  <a:avLst/>
                  <a:gdLst>
                    <a:gd name="connsiteX0" fmla="*/ 0 w 73038"/>
                    <a:gd name="connsiteY0" fmla="*/ 0 h 12702"/>
                    <a:gd name="connsiteX1" fmla="*/ 73038 w 73038"/>
                    <a:gd name="connsiteY1" fmla="*/ 0 h 12702"/>
                  </a:gdLst>
                  <a:ahLst/>
                  <a:cxnLst>
                    <a:cxn ang="0">
                      <a:pos x="connsiteX0" y="connsiteY0"/>
                    </a:cxn>
                    <a:cxn ang="0">
                      <a:pos x="connsiteX1" y="connsiteY1"/>
                    </a:cxn>
                  </a:cxnLst>
                  <a:rect l="l" t="t" r="r" b="b"/>
                  <a:pathLst>
                    <a:path w="73038" h="12702">
                      <a:moveTo>
                        <a:pt x="0" y="0"/>
                      </a:moveTo>
                      <a:lnTo>
                        <a:pt x="73038"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78" name="Graphic 953">
                <a:extLst>
                  <a:ext uri="{FF2B5EF4-FFF2-40B4-BE49-F238E27FC236}">
                    <a16:creationId xmlns:a16="http://schemas.microsoft.com/office/drawing/2014/main" id="{13ECA17A-DDFE-303C-FDC6-EBBEA6076828}"/>
                  </a:ext>
                </a:extLst>
              </p:cNvPr>
              <p:cNvGrpSpPr/>
              <p:nvPr/>
            </p:nvGrpSpPr>
            <p:grpSpPr>
              <a:xfrm>
                <a:off x="5483988" y="2086445"/>
                <a:ext cx="72911" cy="86883"/>
                <a:chOff x="5483988" y="2086445"/>
                <a:chExt cx="72911" cy="86883"/>
              </a:xfrm>
            </p:grpSpPr>
            <p:sp>
              <p:nvSpPr>
                <p:cNvPr id="408" name="Freeform 6320">
                  <a:extLst>
                    <a:ext uri="{FF2B5EF4-FFF2-40B4-BE49-F238E27FC236}">
                      <a16:creationId xmlns:a16="http://schemas.microsoft.com/office/drawing/2014/main" id="{69F85EF1-3433-2829-B817-5E3CC56A0525}"/>
                    </a:ext>
                  </a:extLst>
                </p:cNvPr>
                <p:cNvSpPr/>
                <p:nvPr/>
              </p:nvSpPr>
              <p:spPr>
                <a:xfrm>
                  <a:off x="5520443" y="2086445"/>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 name="Freeform 6321">
                  <a:extLst>
                    <a:ext uri="{FF2B5EF4-FFF2-40B4-BE49-F238E27FC236}">
                      <a16:creationId xmlns:a16="http://schemas.microsoft.com/office/drawing/2014/main" id="{546C50A1-C8BF-CFF7-9D49-1639C4719598}"/>
                    </a:ext>
                  </a:extLst>
                </p:cNvPr>
                <p:cNvSpPr/>
                <p:nvPr/>
              </p:nvSpPr>
              <p:spPr>
                <a:xfrm>
                  <a:off x="5483988" y="2129887"/>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79" name="Graphic 953">
                <a:extLst>
                  <a:ext uri="{FF2B5EF4-FFF2-40B4-BE49-F238E27FC236}">
                    <a16:creationId xmlns:a16="http://schemas.microsoft.com/office/drawing/2014/main" id="{504E0A68-E64F-FA20-CBE0-F5472492946B}"/>
                  </a:ext>
                </a:extLst>
              </p:cNvPr>
              <p:cNvGrpSpPr/>
              <p:nvPr/>
            </p:nvGrpSpPr>
            <p:grpSpPr>
              <a:xfrm>
                <a:off x="5373605" y="2086445"/>
                <a:ext cx="72911" cy="86883"/>
                <a:chOff x="5373605" y="2086445"/>
                <a:chExt cx="72911" cy="86883"/>
              </a:xfrm>
            </p:grpSpPr>
            <p:sp>
              <p:nvSpPr>
                <p:cNvPr id="406" name="Freeform 6318">
                  <a:extLst>
                    <a:ext uri="{FF2B5EF4-FFF2-40B4-BE49-F238E27FC236}">
                      <a16:creationId xmlns:a16="http://schemas.microsoft.com/office/drawing/2014/main" id="{925BD962-0C78-4CB9-DAC6-62C841CD7D76}"/>
                    </a:ext>
                  </a:extLst>
                </p:cNvPr>
                <p:cNvSpPr/>
                <p:nvPr/>
              </p:nvSpPr>
              <p:spPr>
                <a:xfrm>
                  <a:off x="5410061" y="2086445"/>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 name="Freeform 6319">
                  <a:extLst>
                    <a:ext uri="{FF2B5EF4-FFF2-40B4-BE49-F238E27FC236}">
                      <a16:creationId xmlns:a16="http://schemas.microsoft.com/office/drawing/2014/main" id="{5A79E251-942C-B433-87C0-9250AC6BC15F}"/>
                    </a:ext>
                  </a:extLst>
                </p:cNvPr>
                <p:cNvSpPr/>
                <p:nvPr/>
              </p:nvSpPr>
              <p:spPr>
                <a:xfrm>
                  <a:off x="5373605" y="2129887"/>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80" name="Graphic 953">
                <a:extLst>
                  <a:ext uri="{FF2B5EF4-FFF2-40B4-BE49-F238E27FC236}">
                    <a16:creationId xmlns:a16="http://schemas.microsoft.com/office/drawing/2014/main" id="{2C0596BC-C46F-FD6A-4690-821CF9613BAE}"/>
                  </a:ext>
                </a:extLst>
              </p:cNvPr>
              <p:cNvGrpSpPr/>
              <p:nvPr/>
            </p:nvGrpSpPr>
            <p:grpSpPr>
              <a:xfrm>
                <a:off x="5365349" y="2086445"/>
                <a:ext cx="72911" cy="86883"/>
                <a:chOff x="5365349" y="2086445"/>
                <a:chExt cx="72911" cy="86883"/>
              </a:xfrm>
            </p:grpSpPr>
            <p:sp>
              <p:nvSpPr>
                <p:cNvPr id="404" name="Freeform 6316">
                  <a:extLst>
                    <a:ext uri="{FF2B5EF4-FFF2-40B4-BE49-F238E27FC236}">
                      <a16:creationId xmlns:a16="http://schemas.microsoft.com/office/drawing/2014/main" id="{61B37943-C9E6-79EF-0583-6E8FD9FAB50A}"/>
                    </a:ext>
                  </a:extLst>
                </p:cNvPr>
                <p:cNvSpPr/>
                <p:nvPr/>
              </p:nvSpPr>
              <p:spPr>
                <a:xfrm>
                  <a:off x="5401804" y="2086445"/>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 name="Freeform 6317">
                  <a:extLst>
                    <a:ext uri="{FF2B5EF4-FFF2-40B4-BE49-F238E27FC236}">
                      <a16:creationId xmlns:a16="http://schemas.microsoft.com/office/drawing/2014/main" id="{B075D64C-B937-1952-0157-1A60F0A0F361}"/>
                    </a:ext>
                  </a:extLst>
                </p:cNvPr>
                <p:cNvSpPr/>
                <p:nvPr/>
              </p:nvSpPr>
              <p:spPr>
                <a:xfrm>
                  <a:off x="5365349" y="2129887"/>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81" name="Graphic 953">
                <a:extLst>
                  <a:ext uri="{FF2B5EF4-FFF2-40B4-BE49-F238E27FC236}">
                    <a16:creationId xmlns:a16="http://schemas.microsoft.com/office/drawing/2014/main" id="{3C8C99CE-270F-3C1D-C4C9-122F5998EB2A}"/>
                  </a:ext>
                </a:extLst>
              </p:cNvPr>
              <p:cNvGrpSpPr/>
              <p:nvPr/>
            </p:nvGrpSpPr>
            <p:grpSpPr>
              <a:xfrm>
                <a:off x="5217748" y="2086445"/>
                <a:ext cx="72911" cy="86883"/>
                <a:chOff x="5217748" y="2086445"/>
                <a:chExt cx="72911" cy="86883"/>
              </a:xfrm>
            </p:grpSpPr>
            <p:sp>
              <p:nvSpPr>
                <p:cNvPr id="402" name="Freeform 6314">
                  <a:extLst>
                    <a:ext uri="{FF2B5EF4-FFF2-40B4-BE49-F238E27FC236}">
                      <a16:creationId xmlns:a16="http://schemas.microsoft.com/office/drawing/2014/main" id="{26D3A2D8-EB2D-EA2D-A042-7A45AA74F2A8}"/>
                    </a:ext>
                  </a:extLst>
                </p:cNvPr>
                <p:cNvSpPr/>
                <p:nvPr/>
              </p:nvSpPr>
              <p:spPr>
                <a:xfrm>
                  <a:off x="5254204" y="2086445"/>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 name="Freeform 6315">
                  <a:extLst>
                    <a:ext uri="{FF2B5EF4-FFF2-40B4-BE49-F238E27FC236}">
                      <a16:creationId xmlns:a16="http://schemas.microsoft.com/office/drawing/2014/main" id="{9DE0F128-DD17-D1DE-948E-D96EF64B3FC8}"/>
                    </a:ext>
                  </a:extLst>
                </p:cNvPr>
                <p:cNvSpPr/>
                <p:nvPr/>
              </p:nvSpPr>
              <p:spPr>
                <a:xfrm>
                  <a:off x="5217748" y="2129887"/>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82" name="Graphic 953">
                <a:extLst>
                  <a:ext uri="{FF2B5EF4-FFF2-40B4-BE49-F238E27FC236}">
                    <a16:creationId xmlns:a16="http://schemas.microsoft.com/office/drawing/2014/main" id="{80763F18-80D0-4AF4-1A91-C56640780E27}"/>
                  </a:ext>
                </a:extLst>
              </p:cNvPr>
              <p:cNvGrpSpPr/>
              <p:nvPr/>
            </p:nvGrpSpPr>
            <p:grpSpPr>
              <a:xfrm>
                <a:off x="5163128" y="2086445"/>
                <a:ext cx="72911" cy="86883"/>
                <a:chOff x="5163128" y="2086445"/>
                <a:chExt cx="72911" cy="86883"/>
              </a:xfrm>
            </p:grpSpPr>
            <p:sp>
              <p:nvSpPr>
                <p:cNvPr id="400" name="Freeform 6312">
                  <a:extLst>
                    <a:ext uri="{FF2B5EF4-FFF2-40B4-BE49-F238E27FC236}">
                      <a16:creationId xmlns:a16="http://schemas.microsoft.com/office/drawing/2014/main" id="{73C479EE-B488-51DB-481C-3415A143440A}"/>
                    </a:ext>
                  </a:extLst>
                </p:cNvPr>
                <p:cNvSpPr/>
                <p:nvPr/>
              </p:nvSpPr>
              <p:spPr>
                <a:xfrm>
                  <a:off x="5199584" y="2086445"/>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 name="Freeform 6313">
                  <a:extLst>
                    <a:ext uri="{FF2B5EF4-FFF2-40B4-BE49-F238E27FC236}">
                      <a16:creationId xmlns:a16="http://schemas.microsoft.com/office/drawing/2014/main" id="{0FDBA3CD-DB0F-F309-B2FB-049B876061F3}"/>
                    </a:ext>
                  </a:extLst>
                </p:cNvPr>
                <p:cNvSpPr/>
                <p:nvPr/>
              </p:nvSpPr>
              <p:spPr>
                <a:xfrm>
                  <a:off x="5163128" y="2129887"/>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83" name="Graphic 953">
                <a:extLst>
                  <a:ext uri="{FF2B5EF4-FFF2-40B4-BE49-F238E27FC236}">
                    <a16:creationId xmlns:a16="http://schemas.microsoft.com/office/drawing/2014/main" id="{ABEBF1DA-EE07-14B5-FD8B-1A719A81AC29}"/>
                  </a:ext>
                </a:extLst>
              </p:cNvPr>
              <p:cNvGrpSpPr/>
              <p:nvPr/>
            </p:nvGrpSpPr>
            <p:grpSpPr>
              <a:xfrm>
                <a:off x="5107238" y="2086445"/>
                <a:ext cx="73038" cy="86883"/>
                <a:chOff x="5107238" y="2086445"/>
                <a:chExt cx="73038" cy="86883"/>
              </a:xfrm>
            </p:grpSpPr>
            <p:sp>
              <p:nvSpPr>
                <p:cNvPr id="398" name="Freeform 6310">
                  <a:extLst>
                    <a:ext uri="{FF2B5EF4-FFF2-40B4-BE49-F238E27FC236}">
                      <a16:creationId xmlns:a16="http://schemas.microsoft.com/office/drawing/2014/main" id="{B111DC56-B471-0E83-372D-B2356ABBD85B}"/>
                    </a:ext>
                  </a:extLst>
                </p:cNvPr>
                <p:cNvSpPr/>
                <p:nvPr/>
              </p:nvSpPr>
              <p:spPr>
                <a:xfrm>
                  <a:off x="5143694" y="2086445"/>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 name="Freeform 6311">
                  <a:extLst>
                    <a:ext uri="{FF2B5EF4-FFF2-40B4-BE49-F238E27FC236}">
                      <a16:creationId xmlns:a16="http://schemas.microsoft.com/office/drawing/2014/main" id="{A5E0F3C2-F76A-4F9A-94BA-910E2DDE1E62}"/>
                    </a:ext>
                  </a:extLst>
                </p:cNvPr>
                <p:cNvSpPr/>
                <p:nvPr/>
              </p:nvSpPr>
              <p:spPr>
                <a:xfrm>
                  <a:off x="5107238" y="2129887"/>
                  <a:ext cx="73038" cy="12702"/>
                </a:xfrm>
                <a:custGeom>
                  <a:avLst/>
                  <a:gdLst>
                    <a:gd name="connsiteX0" fmla="*/ 0 w 73038"/>
                    <a:gd name="connsiteY0" fmla="*/ 0 h 12702"/>
                    <a:gd name="connsiteX1" fmla="*/ 73038 w 73038"/>
                    <a:gd name="connsiteY1" fmla="*/ 0 h 12702"/>
                  </a:gdLst>
                  <a:ahLst/>
                  <a:cxnLst>
                    <a:cxn ang="0">
                      <a:pos x="connsiteX0" y="connsiteY0"/>
                    </a:cxn>
                    <a:cxn ang="0">
                      <a:pos x="connsiteX1" y="connsiteY1"/>
                    </a:cxn>
                  </a:cxnLst>
                  <a:rect l="l" t="t" r="r" b="b"/>
                  <a:pathLst>
                    <a:path w="73038" h="12702">
                      <a:moveTo>
                        <a:pt x="0" y="0"/>
                      </a:moveTo>
                      <a:lnTo>
                        <a:pt x="73038"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84" name="Graphic 953">
                <a:extLst>
                  <a:ext uri="{FF2B5EF4-FFF2-40B4-BE49-F238E27FC236}">
                    <a16:creationId xmlns:a16="http://schemas.microsoft.com/office/drawing/2014/main" id="{0390F779-D37F-DDC2-52B8-80C175D564A6}"/>
                  </a:ext>
                </a:extLst>
              </p:cNvPr>
              <p:cNvGrpSpPr/>
              <p:nvPr/>
            </p:nvGrpSpPr>
            <p:grpSpPr>
              <a:xfrm>
                <a:off x="5098474" y="2086445"/>
                <a:ext cx="72911" cy="86883"/>
                <a:chOff x="5098474" y="2086445"/>
                <a:chExt cx="72911" cy="86883"/>
              </a:xfrm>
            </p:grpSpPr>
            <p:sp>
              <p:nvSpPr>
                <p:cNvPr id="396" name="Freeform 6308">
                  <a:extLst>
                    <a:ext uri="{FF2B5EF4-FFF2-40B4-BE49-F238E27FC236}">
                      <a16:creationId xmlns:a16="http://schemas.microsoft.com/office/drawing/2014/main" id="{A62948FF-E082-DF7A-0088-3BF469C89C33}"/>
                    </a:ext>
                  </a:extLst>
                </p:cNvPr>
                <p:cNvSpPr/>
                <p:nvPr/>
              </p:nvSpPr>
              <p:spPr>
                <a:xfrm>
                  <a:off x="5134929" y="2086445"/>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 name="Freeform 6309">
                  <a:extLst>
                    <a:ext uri="{FF2B5EF4-FFF2-40B4-BE49-F238E27FC236}">
                      <a16:creationId xmlns:a16="http://schemas.microsoft.com/office/drawing/2014/main" id="{416AC182-9249-7BBF-47C2-21B297094EC9}"/>
                    </a:ext>
                  </a:extLst>
                </p:cNvPr>
                <p:cNvSpPr/>
                <p:nvPr/>
              </p:nvSpPr>
              <p:spPr>
                <a:xfrm>
                  <a:off x="5098474" y="2129887"/>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85" name="Graphic 953">
                <a:extLst>
                  <a:ext uri="{FF2B5EF4-FFF2-40B4-BE49-F238E27FC236}">
                    <a16:creationId xmlns:a16="http://schemas.microsoft.com/office/drawing/2014/main" id="{4A6E9985-C747-9EB8-836C-6785297FACA4}"/>
                  </a:ext>
                </a:extLst>
              </p:cNvPr>
              <p:cNvGrpSpPr/>
              <p:nvPr/>
            </p:nvGrpSpPr>
            <p:grpSpPr>
              <a:xfrm>
                <a:off x="5085136" y="2086445"/>
                <a:ext cx="72911" cy="86883"/>
                <a:chOff x="5085136" y="2086445"/>
                <a:chExt cx="72911" cy="86883"/>
              </a:xfrm>
            </p:grpSpPr>
            <p:sp>
              <p:nvSpPr>
                <p:cNvPr id="394" name="Freeform 6306">
                  <a:extLst>
                    <a:ext uri="{FF2B5EF4-FFF2-40B4-BE49-F238E27FC236}">
                      <a16:creationId xmlns:a16="http://schemas.microsoft.com/office/drawing/2014/main" id="{6BC78EB1-E72F-430E-C752-B63C5407DB7D}"/>
                    </a:ext>
                  </a:extLst>
                </p:cNvPr>
                <p:cNvSpPr/>
                <p:nvPr/>
              </p:nvSpPr>
              <p:spPr>
                <a:xfrm>
                  <a:off x="5121592" y="2086445"/>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 name="Freeform 6307">
                  <a:extLst>
                    <a:ext uri="{FF2B5EF4-FFF2-40B4-BE49-F238E27FC236}">
                      <a16:creationId xmlns:a16="http://schemas.microsoft.com/office/drawing/2014/main" id="{10CDE660-771C-5946-0BD7-E279635C4134}"/>
                    </a:ext>
                  </a:extLst>
                </p:cNvPr>
                <p:cNvSpPr/>
                <p:nvPr/>
              </p:nvSpPr>
              <p:spPr>
                <a:xfrm>
                  <a:off x="5085136" y="2129887"/>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86" name="Graphic 953">
                <a:extLst>
                  <a:ext uri="{FF2B5EF4-FFF2-40B4-BE49-F238E27FC236}">
                    <a16:creationId xmlns:a16="http://schemas.microsoft.com/office/drawing/2014/main" id="{EA81F943-BFC7-29D9-A397-2CE1A650562D}"/>
                  </a:ext>
                </a:extLst>
              </p:cNvPr>
              <p:cNvGrpSpPr/>
              <p:nvPr/>
            </p:nvGrpSpPr>
            <p:grpSpPr>
              <a:xfrm>
                <a:off x="4959003" y="2086445"/>
                <a:ext cx="72911" cy="86883"/>
                <a:chOff x="4959003" y="2086445"/>
                <a:chExt cx="72911" cy="86883"/>
              </a:xfrm>
            </p:grpSpPr>
            <p:sp>
              <p:nvSpPr>
                <p:cNvPr id="392" name="Freeform 6304">
                  <a:extLst>
                    <a:ext uri="{FF2B5EF4-FFF2-40B4-BE49-F238E27FC236}">
                      <a16:creationId xmlns:a16="http://schemas.microsoft.com/office/drawing/2014/main" id="{79597B8D-B9E3-BD04-B6E2-C9EFEF3B507E}"/>
                    </a:ext>
                  </a:extLst>
                </p:cNvPr>
                <p:cNvSpPr/>
                <p:nvPr/>
              </p:nvSpPr>
              <p:spPr>
                <a:xfrm>
                  <a:off x="4995458" y="2086445"/>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 name="Freeform 6305">
                  <a:extLst>
                    <a:ext uri="{FF2B5EF4-FFF2-40B4-BE49-F238E27FC236}">
                      <a16:creationId xmlns:a16="http://schemas.microsoft.com/office/drawing/2014/main" id="{96DE0584-50B0-9455-3135-05C32C455E8B}"/>
                    </a:ext>
                  </a:extLst>
                </p:cNvPr>
                <p:cNvSpPr/>
                <p:nvPr/>
              </p:nvSpPr>
              <p:spPr>
                <a:xfrm>
                  <a:off x="4959003" y="2129887"/>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87" name="Graphic 953">
                <a:extLst>
                  <a:ext uri="{FF2B5EF4-FFF2-40B4-BE49-F238E27FC236}">
                    <a16:creationId xmlns:a16="http://schemas.microsoft.com/office/drawing/2014/main" id="{1385EDAF-B6F6-D6FB-7557-233EE6D033D8}"/>
                  </a:ext>
                </a:extLst>
              </p:cNvPr>
              <p:cNvGrpSpPr/>
              <p:nvPr/>
            </p:nvGrpSpPr>
            <p:grpSpPr>
              <a:xfrm>
                <a:off x="4867420" y="2086445"/>
                <a:ext cx="72911" cy="86883"/>
                <a:chOff x="4867420" y="2086445"/>
                <a:chExt cx="72911" cy="86883"/>
              </a:xfrm>
            </p:grpSpPr>
            <p:sp>
              <p:nvSpPr>
                <p:cNvPr id="390" name="Freeform 6302">
                  <a:extLst>
                    <a:ext uri="{FF2B5EF4-FFF2-40B4-BE49-F238E27FC236}">
                      <a16:creationId xmlns:a16="http://schemas.microsoft.com/office/drawing/2014/main" id="{31F9FD9F-80A2-A744-9FDD-9B50B77483E9}"/>
                    </a:ext>
                  </a:extLst>
                </p:cNvPr>
                <p:cNvSpPr/>
                <p:nvPr/>
              </p:nvSpPr>
              <p:spPr>
                <a:xfrm>
                  <a:off x="4903875" y="2086445"/>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 name="Freeform 6303">
                  <a:extLst>
                    <a:ext uri="{FF2B5EF4-FFF2-40B4-BE49-F238E27FC236}">
                      <a16:creationId xmlns:a16="http://schemas.microsoft.com/office/drawing/2014/main" id="{7416024F-5316-9146-A4F9-5B69EF5E904E}"/>
                    </a:ext>
                  </a:extLst>
                </p:cNvPr>
                <p:cNvSpPr/>
                <p:nvPr/>
              </p:nvSpPr>
              <p:spPr>
                <a:xfrm>
                  <a:off x="4867420" y="2129887"/>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88" name="Graphic 953">
                <a:extLst>
                  <a:ext uri="{FF2B5EF4-FFF2-40B4-BE49-F238E27FC236}">
                    <a16:creationId xmlns:a16="http://schemas.microsoft.com/office/drawing/2014/main" id="{AA2D2623-8877-8658-FB30-3C48645E6114}"/>
                  </a:ext>
                </a:extLst>
              </p:cNvPr>
              <p:cNvGrpSpPr/>
              <p:nvPr/>
            </p:nvGrpSpPr>
            <p:grpSpPr>
              <a:xfrm>
                <a:off x="4778631" y="2086445"/>
                <a:ext cx="72911" cy="86883"/>
                <a:chOff x="4778631" y="2086445"/>
                <a:chExt cx="72911" cy="86883"/>
              </a:xfrm>
            </p:grpSpPr>
            <p:sp>
              <p:nvSpPr>
                <p:cNvPr id="388" name="Freeform 6300">
                  <a:extLst>
                    <a:ext uri="{FF2B5EF4-FFF2-40B4-BE49-F238E27FC236}">
                      <a16:creationId xmlns:a16="http://schemas.microsoft.com/office/drawing/2014/main" id="{B843F2B1-E603-11EE-7B04-8AFB521B3DCA}"/>
                    </a:ext>
                  </a:extLst>
                </p:cNvPr>
                <p:cNvSpPr/>
                <p:nvPr/>
              </p:nvSpPr>
              <p:spPr>
                <a:xfrm>
                  <a:off x="4815086" y="2086445"/>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 name="Freeform 6301">
                  <a:extLst>
                    <a:ext uri="{FF2B5EF4-FFF2-40B4-BE49-F238E27FC236}">
                      <a16:creationId xmlns:a16="http://schemas.microsoft.com/office/drawing/2014/main" id="{891A4C79-1F1A-B917-474D-0C94E9D6A773}"/>
                    </a:ext>
                  </a:extLst>
                </p:cNvPr>
                <p:cNvSpPr/>
                <p:nvPr/>
              </p:nvSpPr>
              <p:spPr>
                <a:xfrm>
                  <a:off x="4778631" y="2129887"/>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89" name="Graphic 953">
                <a:extLst>
                  <a:ext uri="{FF2B5EF4-FFF2-40B4-BE49-F238E27FC236}">
                    <a16:creationId xmlns:a16="http://schemas.microsoft.com/office/drawing/2014/main" id="{3A680CFC-0C05-F937-50BF-882716F2B970}"/>
                  </a:ext>
                </a:extLst>
              </p:cNvPr>
              <p:cNvGrpSpPr/>
              <p:nvPr/>
            </p:nvGrpSpPr>
            <p:grpSpPr>
              <a:xfrm>
                <a:off x="4708387" y="2086445"/>
                <a:ext cx="72911" cy="86883"/>
                <a:chOff x="4708387" y="2086445"/>
                <a:chExt cx="72911" cy="86883"/>
              </a:xfrm>
            </p:grpSpPr>
            <p:sp>
              <p:nvSpPr>
                <p:cNvPr id="386" name="Freeform 6298">
                  <a:extLst>
                    <a:ext uri="{FF2B5EF4-FFF2-40B4-BE49-F238E27FC236}">
                      <a16:creationId xmlns:a16="http://schemas.microsoft.com/office/drawing/2014/main" id="{221DB1F9-5CE2-FA91-4D39-86CDA1FD06CC}"/>
                    </a:ext>
                  </a:extLst>
                </p:cNvPr>
                <p:cNvSpPr/>
                <p:nvPr/>
              </p:nvSpPr>
              <p:spPr>
                <a:xfrm>
                  <a:off x="4744843" y="2086445"/>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 name="Freeform 6299">
                  <a:extLst>
                    <a:ext uri="{FF2B5EF4-FFF2-40B4-BE49-F238E27FC236}">
                      <a16:creationId xmlns:a16="http://schemas.microsoft.com/office/drawing/2014/main" id="{E9979851-087E-0557-1036-6E62F2CCAC8E}"/>
                    </a:ext>
                  </a:extLst>
                </p:cNvPr>
                <p:cNvSpPr/>
                <p:nvPr/>
              </p:nvSpPr>
              <p:spPr>
                <a:xfrm>
                  <a:off x="4708387" y="2129887"/>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90" name="Graphic 953">
                <a:extLst>
                  <a:ext uri="{FF2B5EF4-FFF2-40B4-BE49-F238E27FC236}">
                    <a16:creationId xmlns:a16="http://schemas.microsoft.com/office/drawing/2014/main" id="{06F3435F-F7B7-1993-3883-AC6F94560AA9}"/>
                  </a:ext>
                </a:extLst>
              </p:cNvPr>
              <p:cNvGrpSpPr/>
              <p:nvPr/>
            </p:nvGrpSpPr>
            <p:grpSpPr>
              <a:xfrm>
                <a:off x="4641446" y="2086445"/>
                <a:ext cx="72911" cy="86883"/>
                <a:chOff x="4641446" y="2086445"/>
                <a:chExt cx="72911" cy="86883"/>
              </a:xfrm>
            </p:grpSpPr>
            <p:sp>
              <p:nvSpPr>
                <p:cNvPr id="384" name="Freeform 6296">
                  <a:extLst>
                    <a:ext uri="{FF2B5EF4-FFF2-40B4-BE49-F238E27FC236}">
                      <a16:creationId xmlns:a16="http://schemas.microsoft.com/office/drawing/2014/main" id="{7C592030-1E7B-DC4C-954F-04C49D3311A5}"/>
                    </a:ext>
                  </a:extLst>
                </p:cNvPr>
                <p:cNvSpPr/>
                <p:nvPr/>
              </p:nvSpPr>
              <p:spPr>
                <a:xfrm>
                  <a:off x="4677902" y="2086445"/>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 name="Freeform 6297">
                  <a:extLst>
                    <a:ext uri="{FF2B5EF4-FFF2-40B4-BE49-F238E27FC236}">
                      <a16:creationId xmlns:a16="http://schemas.microsoft.com/office/drawing/2014/main" id="{EB1217D3-54BA-9407-9E1B-9EE4884C45C0}"/>
                    </a:ext>
                  </a:extLst>
                </p:cNvPr>
                <p:cNvSpPr/>
                <p:nvPr/>
              </p:nvSpPr>
              <p:spPr>
                <a:xfrm>
                  <a:off x="4641446" y="2129887"/>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91" name="Graphic 953">
                <a:extLst>
                  <a:ext uri="{FF2B5EF4-FFF2-40B4-BE49-F238E27FC236}">
                    <a16:creationId xmlns:a16="http://schemas.microsoft.com/office/drawing/2014/main" id="{FCE32469-902C-D414-F6C6-92B5DC744FE6}"/>
                  </a:ext>
                </a:extLst>
              </p:cNvPr>
              <p:cNvGrpSpPr/>
              <p:nvPr/>
            </p:nvGrpSpPr>
            <p:grpSpPr>
              <a:xfrm>
                <a:off x="4601307" y="2086445"/>
                <a:ext cx="72911" cy="86883"/>
                <a:chOff x="4601307" y="2086445"/>
                <a:chExt cx="72911" cy="86883"/>
              </a:xfrm>
            </p:grpSpPr>
            <p:sp>
              <p:nvSpPr>
                <p:cNvPr id="382" name="Freeform 6294">
                  <a:extLst>
                    <a:ext uri="{FF2B5EF4-FFF2-40B4-BE49-F238E27FC236}">
                      <a16:creationId xmlns:a16="http://schemas.microsoft.com/office/drawing/2014/main" id="{71816FBF-AE50-AE47-8C0B-03847CB4ED27}"/>
                    </a:ext>
                  </a:extLst>
                </p:cNvPr>
                <p:cNvSpPr/>
                <p:nvPr/>
              </p:nvSpPr>
              <p:spPr>
                <a:xfrm>
                  <a:off x="4637762" y="2086445"/>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 name="Freeform 6295">
                  <a:extLst>
                    <a:ext uri="{FF2B5EF4-FFF2-40B4-BE49-F238E27FC236}">
                      <a16:creationId xmlns:a16="http://schemas.microsoft.com/office/drawing/2014/main" id="{D815A30D-CA20-F013-CC9F-70AC27329C0C}"/>
                    </a:ext>
                  </a:extLst>
                </p:cNvPr>
                <p:cNvSpPr/>
                <p:nvPr/>
              </p:nvSpPr>
              <p:spPr>
                <a:xfrm>
                  <a:off x="4601307" y="2129887"/>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92" name="Graphic 953">
                <a:extLst>
                  <a:ext uri="{FF2B5EF4-FFF2-40B4-BE49-F238E27FC236}">
                    <a16:creationId xmlns:a16="http://schemas.microsoft.com/office/drawing/2014/main" id="{1B66DFFF-DCD1-42C6-FEB1-D83CF96CE19D}"/>
                  </a:ext>
                </a:extLst>
              </p:cNvPr>
              <p:cNvGrpSpPr/>
              <p:nvPr/>
            </p:nvGrpSpPr>
            <p:grpSpPr>
              <a:xfrm>
                <a:off x="4506294" y="2086445"/>
                <a:ext cx="72911" cy="86883"/>
                <a:chOff x="4506294" y="2086445"/>
                <a:chExt cx="72911" cy="86883"/>
              </a:xfrm>
            </p:grpSpPr>
            <p:sp>
              <p:nvSpPr>
                <p:cNvPr id="380" name="Freeform 6292">
                  <a:extLst>
                    <a:ext uri="{FF2B5EF4-FFF2-40B4-BE49-F238E27FC236}">
                      <a16:creationId xmlns:a16="http://schemas.microsoft.com/office/drawing/2014/main" id="{EDF833E8-A9D7-63FD-8FFA-61FB4A58E003}"/>
                    </a:ext>
                  </a:extLst>
                </p:cNvPr>
                <p:cNvSpPr/>
                <p:nvPr/>
              </p:nvSpPr>
              <p:spPr>
                <a:xfrm>
                  <a:off x="4542749" y="2086445"/>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 name="Freeform 6293">
                  <a:extLst>
                    <a:ext uri="{FF2B5EF4-FFF2-40B4-BE49-F238E27FC236}">
                      <a16:creationId xmlns:a16="http://schemas.microsoft.com/office/drawing/2014/main" id="{364F3FBC-D341-DDAF-E4AD-F71D7E7340F4}"/>
                    </a:ext>
                  </a:extLst>
                </p:cNvPr>
                <p:cNvSpPr/>
                <p:nvPr/>
              </p:nvSpPr>
              <p:spPr>
                <a:xfrm>
                  <a:off x="4506294" y="2129887"/>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93" name="Graphic 953">
                <a:extLst>
                  <a:ext uri="{FF2B5EF4-FFF2-40B4-BE49-F238E27FC236}">
                    <a16:creationId xmlns:a16="http://schemas.microsoft.com/office/drawing/2014/main" id="{7E222167-4215-9595-3094-65E69E921099}"/>
                  </a:ext>
                </a:extLst>
              </p:cNvPr>
              <p:cNvGrpSpPr/>
              <p:nvPr/>
            </p:nvGrpSpPr>
            <p:grpSpPr>
              <a:xfrm>
                <a:off x="4460820" y="2086445"/>
                <a:ext cx="72911" cy="86883"/>
                <a:chOff x="4460820" y="2086445"/>
                <a:chExt cx="72911" cy="86883"/>
              </a:xfrm>
            </p:grpSpPr>
            <p:sp>
              <p:nvSpPr>
                <p:cNvPr id="378" name="Freeform 6290">
                  <a:extLst>
                    <a:ext uri="{FF2B5EF4-FFF2-40B4-BE49-F238E27FC236}">
                      <a16:creationId xmlns:a16="http://schemas.microsoft.com/office/drawing/2014/main" id="{EA2E6897-9060-52E0-6F08-0E13647B4209}"/>
                    </a:ext>
                  </a:extLst>
                </p:cNvPr>
                <p:cNvSpPr/>
                <p:nvPr/>
              </p:nvSpPr>
              <p:spPr>
                <a:xfrm>
                  <a:off x="4497275" y="2086445"/>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 name="Freeform 6291">
                  <a:extLst>
                    <a:ext uri="{FF2B5EF4-FFF2-40B4-BE49-F238E27FC236}">
                      <a16:creationId xmlns:a16="http://schemas.microsoft.com/office/drawing/2014/main" id="{A80953DE-DD8A-094D-3931-58197F516B4F}"/>
                    </a:ext>
                  </a:extLst>
                </p:cNvPr>
                <p:cNvSpPr/>
                <p:nvPr/>
              </p:nvSpPr>
              <p:spPr>
                <a:xfrm>
                  <a:off x="4460820" y="2129887"/>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94" name="Graphic 953">
                <a:extLst>
                  <a:ext uri="{FF2B5EF4-FFF2-40B4-BE49-F238E27FC236}">
                    <a16:creationId xmlns:a16="http://schemas.microsoft.com/office/drawing/2014/main" id="{11B08482-41B5-D09B-8441-51A6398AB009}"/>
                  </a:ext>
                </a:extLst>
              </p:cNvPr>
              <p:cNvGrpSpPr/>
              <p:nvPr/>
            </p:nvGrpSpPr>
            <p:grpSpPr>
              <a:xfrm>
                <a:off x="4442274" y="2086445"/>
                <a:ext cx="72911" cy="86883"/>
                <a:chOff x="4442274" y="2086445"/>
                <a:chExt cx="72911" cy="86883"/>
              </a:xfrm>
            </p:grpSpPr>
            <p:sp>
              <p:nvSpPr>
                <p:cNvPr id="376" name="Freeform 6288">
                  <a:extLst>
                    <a:ext uri="{FF2B5EF4-FFF2-40B4-BE49-F238E27FC236}">
                      <a16:creationId xmlns:a16="http://schemas.microsoft.com/office/drawing/2014/main" id="{9764EA2B-5BDB-5892-E8F2-A059D026FB6F}"/>
                    </a:ext>
                  </a:extLst>
                </p:cNvPr>
                <p:cNvSpPr/>
                <p:nvPr/>
              </p:nvSpPr>
              <p:spPr>
                <a:xfrm>
                  <a:off x="4478730" y="2086445"/>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 name="Freeform 6289">
                  <a:extLst>
                    <a:ext uri="{FF2B5EF4-FFF2-40B4-BE49-F238E27FC236}">
                      <a16:creationId xmlns:a16="http://schemas.microsoft.com/office/drawing/2014/main" id="{2146D510-946D-6356-3FE9-B71647AF876A}"/>
                    </a:ext>
                  </a:extLst>
                </p:cNvPr>
                <p:cNvSpPr/>
                <p:nvPr/>
              </p:nvSpPr>
              <p:spPr>
                <a:xfrm>
                  <a:off x="4442274" y="2129887"/>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95" name="Graphic 953">
                <a:extLst>
                  <a:ext uri="{FF2B5EF4-FFF2-40B4-BE49-F238E27FC236}">
                    <a16:creationId xmlns:a16="http://schemas.microsoft.com/office/drawing/2014/main" id="{3ED26B36-FE57-B138-F58F-5FE93BFCD4BA}"/>
                  </a:ext>
                </a:extLst>
              </p:cNvPr>
              <p:cNvGrpSpPr/>
              <p:nvPr/>
            </p:nvGrpSpPr>
            <p:grpSpPr>
              <a:xfrm>
                <a:off x="4307503" y="2086445"/>
                <a:ext cx="73038" cy="86883"/>
                <a:chOff x="4307503" y="2086445"/>
                <a:chExt cx="73038" cy="86883"/>
              </a:xfrm>
            </p:grpSpPr>
            <p:sp>
              <p:nvSpPr>
                <p:cNvPr id="374" name="Freeform 6286">
                  <a:extLst>
                    <a:ext uri="{FF2B5EF4-FFF2-40B4-BE49-F238E27FC236}">
                      <a16:creationId xmlns:a16="http://schemas.microsoft.com/office/drawing/2014/main" id="{35C0038F-35E7-B831-1DEF-ED4B61FA7516}"/>
                    </a:ext>
                  </a:extLst>
                </p:cNvPr>
                <p:cNvSpPr/>
                <p:nvPr/>
              </p:nvSpPr>
              <p:spPr>
                <a:xfrm>
                  <a:off x="4344086" y="2086445"/>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 name="Freeform 6287">
                  <a:extLst>
                    <a:ext uri="{FF2B5EF4-FFF2-40B4-BE49-F238E27FC236}">
                      <a16:creationId xmlns:a16="http://schemas.microsoft.com/office/drawing/2014/main" id="{9A228054-7E84-75D2-FBE7-E51A8C268781}"/>
                    </a:ext>
                  </a:extLst>
                </p:cNvPr>
                <p:cNvSpPr/>
                <p:nvPr/>
              </p:nvSpPr>
              <p:spPr>
                <a:xfrm>
                  <a:off x="4307503" y="2129887"/>
                  <a:ext cx="73038" cy="12702"/>
                </a:xfrm>
                <a:custGeom>
                  <a:avLst/>
                  <a:gdLst>
                    <a:gd name="connsiteX0" fmla="*/ 0 w 73038"/>
                    <a:gd name="connsiteY0" fmla="*/ 0 h 12702"/>
                    <a:gd name="connsiteX1" fmla="*/ 73038 w 73038"/>
                    <a:gd name="connsiteY1" fmla="*/ 0 h 12702"/>
                  </a:gdLst>
                  <a:ahLst/>
                  <a:cxnLst>
                    <a:cxn ang="0">
                      <a:pos x="connsiteX0" y="connsiteY0"/>
                    </a:cxn>
                    <a:cxn ang="0">
                      <a:pos x="connsiteX1" y="connsiteY1"/>
                    </a:cxn>
                  </a:cxnLst>
                  <a:rect l="l" t="t" r="r" b="b"/>
                  <a:pathLst>
                    <a:path w="73038" h="12702">
                      <a:moveTo>
                        <a:pt x="0" y="0"/>
                      </a:moveTo>
                      <a:lnTo>
                        <a:pt x="73038"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96" name="Graphic 953">
                <a:extLst>
                  <a:ext uri="{FF2B5EF4-FFF2-40B4-BE49-F238E27FC236}">
                    <a16:creationId xmlns:a16="http://schemas.microsoft.com/office/drawing/2014/main" id="{C123A97B-774A-C4A7-5CB2-EE975E6B2007}"/>
                  </a:ext>
                </a:extLst>
              </p:cNvPr>
              <p:cNvGrpSpPr/>
              <p:nvPr/>
            </p:nvGrpSpPr>
            <p:grpSpPr>
              <a:xfrm>
                <a:off x="4183529" y="2086445"/>
                <a:ext cx="72911" cy="86883"/>
                <a:chOff x="4183529" y="2086445"/>
                <a:chExt cx="72911" cy="86883"/>
              </a:xfrm>
            </p:grpSpPr>
            <p:sp>
              <p:nvSpPr>
                <p:cNvPr id="372" name="Freeform 6284">
                  <a:extLst>
                    <a:ext uri="{FF2B5EF4-FFF2-40B4-BE49-F238E27FC236}">
                      <a16:creationId xmlns:a16="http://schemas.microsoft.com/office/drawing/2014/main" id="{E1519514-30C7-97E5-FAC2-378499EB0FDA}"/>
                    </a:ext>
                  </a:extLst>
                </p:cNvPr>
                <p:cNvSpPr/>
                <p:nvPr/>
              </p:nvSpPr>
              <p:spPr>
                <a:xfrm>
                  <a:off x="4219985" y="2086445"/>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 name="Freeform 6285">
                  <a:extLst>
                    <a:ext uri="{FF2B5EF4-FFF2-40B4-BE49-F238E27FC236}">
                      <a16:creationId xmlns:a16="http://schemas.microsoft.com/office/drawing/2014/main" id="{E5065A35-D948-BBC0-DB50-516CA8B3A7E8}"/>
                    </a:ext>
                  </a:extLst>
                </p:cNvPr>
                <p:cNvSpPr/>
                <p:nvPr/>
              </p:nvSpPr>
              <p:spPr>
                <a:xfrm>
                  <a:off x="4183529" y="2129887"/>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97" name="Graphic 953">
                <a:extLst>
                  <a:ext uri="{FF2B5EF4-FFF2-40B4-BE49-F238E27FC236}">
                    <a16:creationId xmlns:a16="http://schemas.microsoft.com/office/drawing/2014/main" id="{6B915708-865D-EF21-01E6-C53122A86F44}"/>
                  </a:ext>
                </a:extLst>
              </p:cNvPr>
              <p:cNvGrpSpPr/>
              <p:nvPr/>
            </p:nvGrpSpPr>
            <p:grpSpPr>
              <a:xfrm>
                <a:off x="4130815" y="2086445"/>
                <a:ext cx="72911" cy="86883"/>
                <a:chOff x="4130815" y="2086445"/>
                <a:chExt cx="72911" cy="86883"/>
              </a:xfrm>
            </p:grpSpPr>
            <p:sp>
              <p:nvSpPr>
                <p:cNvPr id="370" name="Freeform 6282">
                  <a:extLst>
                    <a:ext uri="{FF2B5EF4-FFF2-40B4-BE49-F238E27FC236}">
                      <a16:creationId xmlns:a16="http://schemas.microsoft.com/office/drawing/2014/main" id="{1A052965-186F-31D6-E9D9-BECDFF966B77}"/>
                    </a:ext>
                  </a:extLst>
                </p:cNvPr>
                <p:cNvSpPr/>
                <p:nvPr/>
              </p:nvSpPr>
              <p:spPr>
                <a:xfrm>
                  <a:off x="4167270" y="2086445"/>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 name="Freeform 6283">
                  <a:extLst>
                    <a:ext uri="{FF2B5EF4-FFF2-40B4-BE49-F238E27FC236}">
                      <a16:creationId xmlns:a16="http://schemas.microsoft.com/office/drawing/2014/main" id="{36267361-FA29-4A62-3EB7-6A206CA76CFA}"/>
                    </a:ext>
                  </a:extLst>
                </p:cNvPr>
                <p:cNvSpPr/>
                <p:nvPr/>
              </p:nvSpPr>
              <p:spPr>
                <a:xfrm>
                  <a:off x="4130815" y="2129887"/>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98" name="Graphic 953">
                <a:extLst>
                  <a:ext uri="{FF2B5EF4-FFF2-40B4-BE49-F238E27FC236}">
                    <a16:creationId xmlns:a16="http://schemas.microsoft.com/office/drawing/2014/main" id="{028E71A1-7567-F901-CE14-00521BBFF174}"/>
                  </a:ext>
                </a:extLst>
              </p:cNvPr>
              <p:cNvGrpSpPr/>
              <p:nvPr/>
            </p:nvGrpSpPr>
            <p:grpSpPr>
              <a:xfrm>
                <a:off x="4130815" y="2086191"/>
                <a:ext cx="72911" cy="86883"/>
                <a:chOff x="4130815" y="2086191"/>
                <a:chExt cx="72911" cy="86883"/>
              </a:xfrm>
            </p:grpSpPr>
            <p:sp>
              <p:nvSpPr>
                <p:cNvPr id="368" name="Freeform 6280">
                  <a:extLst>
                    <a:ext uri="{FF2B5EF4-FFF2-40B4-BE49-F238E27FC236}">
                      <a16:creationId xmlns:a16="http://schemas.microsoft.com/office/drawing/2014/main" id="{5FDF3810-4804-86AB-8381-AF55162A662C}"/>
                    </a:ext>
                  </a:extLst>
                </p:cNvPr>
                <p:cNvSpPr/>
                <p:nvPr/>
              </p:nvSpPr>
              <p:spPr>
                <a:xfrm>
                  <a:off x="4167270" y="2086191"/>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 name="Freeform 6281">
                  <a:extLst>
                    <a:ext uri="{FF2B5EF4-FFF2-40B4-BE49-F238E27FC236}">
                      <a16:creationId xmlns:a16="http://schemas.microsoft.com/office/drawing/2014/main" id="{B937AF63-E72E-61A3-693E-7708B746EC9F}"/>
                    </a:ext>
                  </a:extLst>
                </p:cNvPr>
                <p:cNvSpPr/>
                <p:nvPr/>
              </p:nvSpPr>
              <p:spPr>
                <a:xfrm>
                  <a:off x="4130815" y="2129632"/>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99" name="Graphic 953">
                <a:extLst>
                  <a:ext uri="{FF2B5EF4-FFF2-40B4-BE49-F238E27FC236}">
                    <a16:creationId xmlns:a16="http://schemas.microsoft.com/office/drawing/2014/main" id="{030EA775-528B-0A44-6DF6-43BA1D9D55F4}"/>
                  </a:ext>
                </a:extLst>
              </p:cNvPr>
              <p:cNvGrpSpPr/>
              <p:nvPr/>
            </p:nvGrpSpPr>
            <p:grpSpPr>
              <a:xfrm>
                <a:off x="4123320" y="2086191"/>
                <a:ext cx="73038" cy="86883"/>
                <a:chOff x="4123320" y="2086191"/>
                <a:chExt cx="73038" cy="86883"/>
              </a:xfrm>
            </p:grpSpPr>
            <p:sp>
              <p:nvSpPr>
                <p:cNvPr id="366" name="Freeform 6278">
                  <a:extLst>
                    <a:ext uri="{FF2B5EF4-FFF2-40B4-BE49-F238E27FC236}">
                      <a16:creationId xmlns:a16="http://schemas.microsoft.com/office/drawing/2014/main" id="{DD510BC6-D6C6-8E1D-E6F1-43F86733319F}"/>
                    </a:ext>
                  </a:extLst>
                </p:cNvPr>
                <p:cNvSpPr/>
                <p:nvPr/>
              </p:nvSpPr>
              <p:spPr>
                <a:xfrm>
                  <a:off x="4159903" y="2086191"/>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 name="Freeform 6279">
                  <a:extLst>
                    <a:ext uri="{FF2B5EF4-FFF2-40B4-BE49-F238E27FC236}">
                      <a16:creationId xmlns:a16="http://schemas.microsoft.com/office/drawing/2014/main" id="{28195D68-F2EE-0B3A-4F2C-B2FAAB3DEA8B}"/>
                    </a:ext>
                  </a:extLst>
                </p:cNvPr>
                <p:cNvSpPr/>
                <p:nvPr/>
              </p:nvSpPr>
              <p:spPr>
                <a:xfrm>
                  <a:off x="4123320" y="2129632"/>
                  <a:ext cx="73038" cy="12702"/>
                </a:xfrm>
                <a:custGeom>
                  <a:avLst/>
                  <a:gdLst>
                    <a:gd name="connsiteX0" fmla="*/ 0 w 73038"/>
                    <a:gd name="connsiteY0" fmla="*/ 0 h 12702"/>
                    <a:gd name="connsiteX1" fmla="*/ 73038 w 73038"/>
                    <a:gd name="connsiteY1" fmla="*/ 0 h 12702"/>
                  </a:gdLst>
                  <a:ahLst/>
                  <a:cxnLst>
                    <a:cxn ang="0">
                      <a:pos x="connsiteX0" y="connsiteY0"/>
                    </a:cxn>
                    <a:cxn ang="0">
                      <a:pos x="connsiteX1" y="connsiteY1"/>
                    </a:cxn>
                  </a:cxnLst>
                  <a:rect l="l" t="t" r="r" b="b"/>
                  <a:pathLst>
                    <a:path w="73038" h="12702">
                      <a:moveTo>
                        <a:pt x="0" y="0"/>
                      </a:moveTo>
                      <a:lnTo>
                        <a:pt x="73038"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00" name="Graphic 953">
                <a:extLst>
                  <a:ext uri="{FF2B5EF4-FFF2-40B4-BE49-F238E27FC236}">
                    <a16:creationId xmlns:a16="http://schemas.microsoft.com/office/drawing/2014/main" id="{82318B85-E011-C3B3-65CF-DF0BED9ACCBD}"/>
                  </a:ext>
                </a:extLst>
              </p:cNvPr>
              <p:cNvGrpSpPr/>
              <p:nvPr/>
            </p:nvGrpSpPr>
            <p:grpSpPr>
              <a:xfrm>
                <a:off x="4121923" y="2086191"/>
                <a:ext cx="72911" cy="86883"/>
                <a:chOff x="4121923" y="2086191"/>
                <a:chExt cx="72911" cy="86883"/>
              </a:xfrm>
            </p:grpSpPr>
            <p:sp>
              <p:nvSpPr>
                <p:cNvPr id="364" name="Freeform 6276">
                  <a:extLst>
                    <a:ext uri="{FF2B5EF4-FFF2-40B4-BE49-F238E27FC236}">
                      <a16:creationId xmlns:a16="http://schemas.microsoft.com/office/drawing/2014/main" id="{9F5B697F-C7EC-39FF-37AB-926AB89A29A8}"/>
                    </a:ext>
                  </a:extLst>
                </p:cNvPr>
                <p:cNvSpPr/>
                <p:nvPr/>
              </p:nvSpPr>
              <p:spPr>
                <a:xfrm>
                  <a:off x="4158379" y="2086191"/>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 name="Freeform 6277">
                  <a:extLst>
                    <a:ext uri="{FF2B5EF4-FFF2-40B4-BE49-F238E27FC236}">
                      <a16:creationId xmlns:a16="http://schemas.microsoft.com/office/drawing/2014/main" id="{A5823940-8571-9B19-A01B-369CCF36E03E}"/>
                    </a:ext>
                  </a:extLst>
                </p:cNvPr>
                <p:cNvSpPr/>
                <p:nvPr/>
              </p:nvSpPr>
              <p:spPr>
                <a:xfrm>
                  <a:off x="4121923" y="2129632"/>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01" name="Graphic 953">
                <a:extLst>
                  <a:ext uri="{FF2B5EF4-FFF2-40B4-BE49-F238E27FC236}">
                    <a16:creationId xmlns:a16="http://schemas.microsoft.com/office/drawing/2014/main" id="{F5DB12CC-2AD3-386B-15B3-2937A19A7954}"/>
                  </a:ext>
                </a:extLst>
              </p:cNvPr>
              <p:cNvGrpSpPr/>
              <p:nvPr/>
            </p:nvGrpSpPr>
            <p:grpSpPr>
              <a:xfrm>
                <a:off x="4108586" y="2086191"/>
                <a:ext cx="73038" cy="86883"/>
                <a:chOff x="4108586" y="2086191"/>
                <a:chExt cx="73038" cy="86883"/>
              </a:xfrm>
            </p:grpSpPr>
            <p:sp>
              <p:nvSpPr>
                <p:cNvPr id="362" name="Freeform 6274">
                  <a:extLst>
                    <a:ext uri="{FF2B5EF4-FFF2-40B4-BE49-F238E27FC236}">
                      <a16:creationId xmlns:a16="http://schemas.microsoft.com/office/drawing/2014/main" id="{6B8F017D-46B9-73EF-6F87-6C573076D6BB}"/>
                    </a:ext>
                  </a:extLst>
                </p:cNvPr>
                <p:cNvSpPr/>
                <p:nvPr/>
              </p:nvSpPr>
              <p:spPr>
                <a:xfrm>
                  <a:off x="4145168" y="2086191"/>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 name="Freeform 6275">
                  <a:extLst>
                    <a:ext uri="{FF2B5EF4-FFF2-40B4-BE49-F238E27FC236}">
                      <a16:creationId xmlns:a16="http://schemas.microsoft.com/office/drawing/2014/main" id="{19689782-463C-33E6-689A-8199D5692E7E}"/>
                    </a:ext>
                  </a:extLst>
                </p:cNvPr>
                <p:cNvSpPr/>
                <p:nvPr/>
              </p:nvSpPr>
              <p:spPr>
                <a:xfrm>
                  <a:off x="4108586" y="2129632"/>
                  <a:ext cx="73038" cy="12702"/>
                </a:xfrm>
                <a:custGeom>
                  <a:avLst/>
                  <a:gdLst>
                    <a:gd name="connsiteX0" fmla="*/ 0 w 73038"/>
                    <a:gd name="connsiteY0" fmla="*/ 0 h 12702"/>
                    <a:gd name="connsiteX1" fmla="*/ 73038 w 73038"/>
                    <a:gd name="connsiteY1" fmla="*/ 0 h 12702"/>
                  </a:gdLst>
                  <a:ahLst/>
                  <a:cxnLst>
                    <a:cxn ang="0">
                      <a:pos x="connsiteX0" y="connsiteY0"/>
                    </a:cxn>
                    <a:cxn ang="0">
                      <a:pos x="connsiteX1" y="connsiteY1"/>
                    </a:cxn>
                  </a:cxnLst>
                  <a:rect l="l" t="t" r="r" b="b"/>
                  <a:pathLst>
                    <a:path w="73038" h="12702">
                      <a:moveTo>
                        <a:pt x="0" y="0"/>
                      </a:moveTo>
                      <a:lnTo>
                        <a:pt x="73038"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02" name="Graphic 953">
                <a:extLst>
                  <a:ext uri="{FF2B5EF4-FFF2-40B4-BE49-F238E27FC236}">
                    <a16:creationId xmlns:a16="http://schemas.microsoft.com/office/drawing/2014/main" id="{EE855C23-839E-05CA-96C0-E1335C101D43}"/>
                  </a:ext>
                </a:extLst>
              </p:cNvPr>
              <p:cNvGrpSpPr/>
              <p:nvPr/>
            </p:nvGrpSpPr>
            <p:grpSpPr>
              <a:xfrm>
                <a:off x="3982071" y="2086191"/>
                <a:ext cx="73038" cy="86883"/>
                <a:chOff x="3982071" y="2086191"/>
                <a:chExt cx="73038" cy="86883"/>
              </a:xfrm>
            </p:grpSpPr>
            <p:sp>
              <p:nvSpPr>
                <p:cNvPr id="360" name="Freeform 6272">
                  <a:extLst>
                    <a:ext uri="{FF2B5EF4-FFF2-40B4-BE49-F238E27FC236}">
                      <a16:creationId xmlns:a16="http://schemas.microsoft.com/office/drawing/2014/main" id="{4A8E8FA3-B2D8-27E1-3C6D-1629CE7C515E}"/>
                    </a:ext>
                  </a:extLst>
                </p:cNvPr>
                <p:cNvSpPr/>
                <p:nvPr/>
              </p:nvSpPr>
              <p:spPr>
                <a:xfrm>
                  <a:off x="4018527" y="2086191"/>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 name="Freeform 6273">
                  <a:extLst>
                    <a:ext uri="{FF2B5EF4-FFF2-40B4-BE49-F238E27FC236}">
                      <a16:creationId xmlns:a16="http://schemas.microsoft.com/office/drawing/2014/main" id="{09544A25-13E0-CA96-E794-D7BB7285990D}"/>
                    </a:ext>
                  </a:extLst>
                </p:cNvPr>
                <p:cNvSpPr/>
                <p:nvPr/>
              </p:nvSpPr>
              <p:spPr>
                <a:xfrm>
                  <a:off x="3982071" y="2129632"/>
                  <a:ext cx="73038" cy="12702"/>
                </a:xfrm>
                <a:custGeom>
                  <a:avLst/>
                  <a:gdLst>
                    <a:gd name="connsiteX0" fmla="*/ 0 w 73038"/>
                    <a:gd name="connsiteY0" fmla="*/ 0 h 12702"/>
                    <a:gd name="connsiteX1" fmla="*/ 73038 w 73038"/>
                    <a:gd name="connsiteY1" fmla="*/ 0 h 12702"/>
                  </a:gdLst>
                  <a:ahLst/>
                  <a:cxnLst>
                    <a:cxn ang="0">
                      <a:pos x="connsiteX0" y="connsiteY0"/>
                    </a:cxn>
                    <a:cxn ang="0">
                      <a:pos x="connsiteX1" y="connsiteY1"/>
                    </a:cxn>
                  </a:cxnLst>
                  <a:rect l="l" t="t" r="r" b="b"/>
                  <a:pathLst>
                    <a:path w="73038" h="12702">
                      <a:moveTo>
                        <a:pt x="0" y="0"/>
                      </a:moveTo>
                      <a:lnTo>
                        <a:pt x="73038"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03" name="Graphic 953">
                <a:extLst>
                  <a:ext uri="{FF2B5EF4-FFF2-40B4-BE49-F238E27FC236}">
                    <a16:creationId xmlns:a16="http://schemas.microsoft.com/office/drawing/2014/main" id="{6F2FFEDB-832B-90E4-BCB6-68DFF4D8D504}"/>
                  </a:ext>
                </a:extLst>
              </p:cNvPr>
              <p:cNvGrpSpPr/>
              <p:nvPr/>
            </p:nvGrpSpPr>
            <p:grpSpPr>
              <a:xfrm>
                <a:off x="3896331" y="2086191"/>
                <a:ext cx="72911" cy="86883"/>
                <a:chOff x="3896331" y="2086191"/>
                <a:chExt cx="72911" cy="86883"/>
              </a:xfrm>
            </p:grpSpPr>
            <p:sp>
              <p:nvSpPr>
                <p:cNvPr id="358" name="Freeform 6270">
                  <a:extLst>
                    <a:ext uri="{FF2B5EF4-FFF2-40B4-BE49-F238E27FC236}">
                      <a16:creationId xmlns:a16="http://schemas.microsoft.com/office/drawing/2014/main" id="{96ACC663-20E9-0D29-1D81-48B2D3F11A1F}"/>
                    </a:ext>
                  </a:extLst>
                </p:cNvPr>
                <p:cNvSpPr/>
                <p:nvPr/>
              </p:nvSpPr>
              <p:spPr>
                <a:xfrm>
                  <a:off x="3932786" y="2086191"/>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 name="Freeform 6271">
                  <a:extLst>
                    <a:ext uri="{FF2B5EF4-FFF2-40B4-BE49-F238E27FC236}">
                      <a16:creationId xmlns:a16="http://schemas.microsoft.com/office/drawing/2014/main" id="{F7933FE3-C693-5318-1280-26A08A321FFB}"/>
                    </a:ext>
                  </a:extLst>
                </p:cNvPr>
                <p:cNvSpPr/>
                <p:nvPr/>
              </p:nvSpPr>
              <p:spPr>
                <a:xfrm>
                  <a:off x="3896331" y="2129632"/>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04" name="Graphic 953">
                <a:extLst>
                  <a:ext uri="{FF2B5EF4-FFF2-40B4-BE49-F238E27FC236}">
                    <a16:creationId xmlns:a16="http://schemas.microsoft.com/office/drawing/2014/main" id="{015D69FB-8939-F264-9462-89FDED79F718}"/>
                  </a:ext>
                </a:extLst>
              </p:cNvPr>
              <p:cNvGrpSpPr/>
              <p:nvPr/>
            </p:nvGrpSpPr>
            <p:grpSpPr>
              <a:xfrm>
                <a:off x="3844378" y="2086191"/>
                <a:ext cx="72911" cy="86883"/>
                <a:chOff x="3844378" y="2086191"/>
                <a:chExt cx="72911" cy="86883"/>
              </a:xfrm>
            </p:grpSpPr>
            <p:sp>
              <p:nvSpPr>
                <p:cNvPr id="356" name="Freeform 6268">
                  <a:extLst>
                    <a:ext uri="{FF2B5EF4-FFF2-40B4-BE49-F238E27FC236}">
                      <a16:creationId xmlns:a16="http://schemas.microsoft.com/office/drawing/2014/main" id="{BDFB55BD-2EFD-86C8-5473-0E67AA69AD3A}"/>
                    </a:ext>
                  </a:extLst>
                </p:cNvPr>
                <p:cNvSpPr/>
                <p:nvPr/>
              </p:nvSpPr>
              <p:spPr>
                <a:xfrm>
                  <a:off x="3880834" y="2086191"/>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 name="Freeform 6269">
                  <a:extLst>
                    <a:ext uri="{FF2B5EF4-FFF2-40B4-BE49-F238E27FC236}">
                      <a16:creationId xmlns:a16="http://schemas.microsoft.com/office/drawing/2014/main" id="{76A99095-1D21-E0A7-8A56-E3701795A192}"/>
                    </a:ext>
                  </a:extLst>
                </p:cNvPr>
                <p:cNvSpPr/>
                <p:nvPr/>
              </p:nvSpPr>
              <p:spPr>
                <a:xfrm>
                  <a:off x="3844378" y="2129632"/>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05" name="Graphic 953">
                <a:extLst>
                  <a:ext uri="{FF2B5EF4-FFF2-40B4-BE49-F238E27FC236}">
                    <a16:creationId xmlns:a16="http://schemas.microsoft.com/office/drawing/2014/main" id="{8116A5B4-19E5-8685-3BC4-4B6499C8B44A}"/>
                  </a:ext>
                </a:extLst>
              </p:cNvPr>
              <p:cNvGrpSpPr/>
              <p:nvPr/>
            </p:nvGrpSpPr>
            <p:grpSpPr>
              <a:xfrm>
                <a:off x="3833963" y="2086191"/>
                <a:ext cx="72911" cy="86883"/>
                <a:chOff x="3833963" y="2086191"/>
                <a:chExt cx="72911" cy="86883"/>
              </a:xfrm>
            </p:grpSpPr>
            <p:sp>
              <p:nvSpPr>
                <p:cNvPr id="354" name="Freeform 6266">
                  <a:extLst>
                    <a:ext uri="{FF2B5EF4-FFF2-40B4-BE49-F238E27FC236}">
                      <a16:creationId xmlns:a16="http://schemas.microsoft.com/office/drawing/2014/main" id="{6B71D3D8-30FD-BAD7-9768-DC42EC574DCA}"/>
                    </a:ext>
                  </a:extLst>
                </p:cNvPr>
                <p:cNvSpPr/>
                <p:nvPr/>
              </p:nvSpPr>
              <p:spPr>
                <a:xfrm>
                  <a:off x="3870418" y="2086191"/>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 name="Freeform 6267">
                  <a:extLst>
                    <a:ext uri="{FF2B5EF4-FFF2-40B4-BE49-F238E27FC236}">
                      <a16:creationId xmlns:a16="http://schemas.microsoft.com/office/drawing/2014/main" id="{BC586CCD-A8DF-D3DB-E475-5F79285538C8}"/>
                    </a:ext>
                  </a:extLst>
                </p:cNvPr>
                <p:cNvSpPr/>
                <p:nvPr/>
              </p:nvSpPr>
              <p:spPr>
                <a:xfrm>
                  <a:off x="3833963" y="2129632"/>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06" name="Graphic 953">
                <a:extLst>
                  <a:ext uri="{FF2B5EF4-FFF2-40B4-BE49-F238E27FC236}">
                    <a16:creationId xmlns:a16="http://schemas.microsoft.com/office/drawing/2014/main" id="{924320AC-C713-1891-DBBA-57F65619F1A9}"/>
                  </a:ext>
                </a:extLst>
              </p:cNvPr>
              <p:cNvGrpSpPr/>
              <p:nvPr/>
            </p:nvGrpSpPr>
            <p:grpSpPr>
              <a:xfrm>
                <a:off x="3793061" y="2086191"/>
                <a:ext cx="72911" cy="86883"/>
                <a:chOff x="3793061" y="2086191"/>
                <a:chExt cx="72911" cy="86883"/>
              </a:xfrm>
            </p:grpSpPr>
            <p:sp>
              <p:nvSpPr>
                <p:cNvPr id="352" name="Freeform 6264">
                  <a:extLst>
                    <a:ext uri="{FF2B5EF4-FFF2-40B4-BE49-F238E27FC236}">
                      <a16:creationId xmlns:a16="http://schemas.microsoft.com/office/drawing/2014/main" id="{E217F81B-F755-A3F2-3F06-D40F1F0C6611}"/>
                    </a:ext>
                  </a:extLst>
                </p:cNvPr>
                <p:cNvSpPr/>
                <p:nvPr/>
              </p:nvSpPr>
              <p:spPr>
                <a:xfrm>
                  <a:off x="3829517" y="2086191"/>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 name="Freeform 6265">
                  <a:extLst>
                    <a:ext uri="{FF2B5EF4-FFF2-40B4-BE49-F238E27FC236}">
                      <a16:creationId xmlns:a16="http://schemas.microsoft.com/office/drawing/2014/main" id="{8C22B447-7320-10B5-E041-A10CD0ACD99B}"/>
                    </a:ext>
                  </a:extLst>
                </p:cNvPr>
                <p:cNvSpPr/>
                <p:nvPr/>
              </p:nvSpPr>
              <p:spPr>
                <a:xfrm>
                  <a:off x="3793061" y="2129632"/>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07" name="Graphic 953">
                <a:extLst>
                  <a:ext uri="{FF2B5EF4-FFF2-40B4-BE49-F238E27FC236}">
                    <a16:creationId xmlns:a16="http://schemas.microsoft.com/office/drawing/2014/main" id="{2821BA66-8576-7D22-F7A4-76FBC43AEBB9}"/>
                  </a:ext>
                </a:extLst>
              </p:cNvPr>
              <p:cNvGrpSpPr/>
              <p:nvPr/>
            </p:nvGrpSpPr>
            <p:grpSpPr>
              <a:xfrm>
                <a:off x="3734123" y="2086191"/>
                <a:ext cx="72911" cy="86883"/>
                <a:chOff x="3734123" y="2086191"/>
                <a:chExt cx="72911" cy="86883"/>
              </a:xfrm>
            </p:grpSpPr>
            <p:sp>
              <p:nvSpPr>
                <p:cNvPr id="350" name="Freeform 6262">
                  <a:extLst>
                    <a:ext uri="{FF2B5EF4-FFF2-40B4-BE49-F238E27FC236}">
                      <a16:creationId xmlns:a16="http://schemas.microsoft.com/office/drawing/2014/main" id="{A9226A26-AA18-D86A-E5E3-44C9404B0A5C}"/>
                    </a:ext>
                  </a:extLst>
                </p:cNvPr>
                <p:cNvSpPr/>
                <p:nvPr/>
              </p:nvSpPr>
              <p:spPr>
                <a:xfrm>
                  <a:off x="3770578" y="2086191"/>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 name="Freeform 6263">
                  <a:extLst>
                    <a:ext uri="{FF2B5EF4-FFF2-40B4-BE49-F238E27FC236}">
                      <a16:creationId xmlns:a16="http://schemas.microsoft.com/office/drawing/2014/main" id="{65E6D528-3B8F-A49A-3FB8-A0A6CEF54F55}"/>
                    </a:ext>
                  </a:extLst>
                </p:cNvPr>
                <p:cNvSpPr/>
                <p:nvPr/>
              </p:nvSpPr>
              <p:spPr>
                <a:xfrm>
                  <a:off x="3734123" y="2129632"/>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08" name="Graphic 953">
                <a:extLst>
                  <a:ext uri="{FF2B5EF4-FFF2-40B4-BE49-F238E27FC236}">
                    <a16:creationId xmlns:a16="http://schemas.microsoft.com/office/drawing/2014/main" id="{8A567C45-AB4C-D93F-2029-BDFFD367BC2E}"/>
                  </a:ext>
                </a:extLst>
              </p:cNvPr>
              <p:cNvGrpSpPr/>
              <p:nvPr/>
            </p:nvGrpSpPr>
            <p:grpSpPr>
              <a:xfrm>
                <a:off x="3674930" y="2086191"/>
                <a:ext cx="72911" cy="86883"/>
                <a:chOff x="3674930" y="2086191"/>
                <a:chExt cx="72911" cy="86883"/>
              </a:xfrm>
            </p:grpSpPr>
            <p:sp>
              <p:nvSpPr>
                <p:cNvPr id="348" name="Freeform 6260">
                  <a:extLst>
                    <a:ext uri="{FF2B5EF4-FFF2-40B4-BE49-F238E27FC236}">
                      <a16:creationId xmlns:a16="http://schemas.microsoft.com/office/drawing/2014/main" id="{ABFCA5C0-E5F1-430A-E648-C73C6470F2B6}"/>
                    </a:ext>
                  </a:extLst>
                </p:cNvPr>
                <p:cNvSpPr/>
                <p:nvPr/>
              </p:nvSpPr>
              <p:spPr>
                <a:xfrm>
                  <a:off x="3711386" y="2086191"/>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 name="Freeform 6261">
                  <a:extLst>
                    <a:ext uri="{FF2B5EF4-FFF2-40B4-BE49-F238E27FC236}">
                      <a16:creationId xmlns:a16="http://schemas.microsoft.com/office/drawing/2014/main" id="{29912BA1-8252-C720-FA5B-F10EB48450AB}"/>
                    </a:ext>
                  </a:extLst>
                </p:cNvPr>
                <p:cNvSpPr/>
                <p:nvPr/>
              </p:nvSpPr>
              <p:spPr>
                <a:xfrm>
                  <a:off x="3674930" y="2129632"/>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09" name="Graphic 953">
                <a:extLst>
                  <a:ext uri="{FF2B5EF4-FFF2-40B4-BE49-F238E27FC236}">
                    <a16:creationId xmlns:a16="http://schemas.microsoft.com/office/drawing/2014/main" id="{B0134474-C680-E8EB-21C9-86E2FC8A32CA}"/>
                  </a:ext>
                </a:extLst>
              </p:cNvPr>
              <p:cNvGrpSpPr/>
              <p:nvPr/>
            </p:nvGrpSpPr>
            <p:grpSpPr>
              <a:xfrm>
                <a:off x="3594017" y="2086191"/>
                <a:ext cx="72911" cy="86883"/>
                <a:chOff x="3594017" y="2086191"/>
                <a:chExt cx="72911" cy="86883"/>
              </a:xfrm>
            </p:grpSpPr>
            <p:sp>
              <p:nvSpPr>
                <p:cNvPr id="346" name="Freeform 6258">
                  <a:extLst>
                    <a:ext uri="{FF2B5EF4-FFF2-40B4-BE49-F238E27FC236}">
                      <a16:creationId xmlns:a16="http://schemas.microsoft.com/office/drawing/2014/main" id="{52121D12-6A89-442B-28A2-9AFC703060F3}"/>
                    </a:ext>
                  </a:extLst>
                </p:cNvPr>
                <p:cNvSpPr/>
                <p:nvPr/>
              </p:nvSpPr>
              <p:spPr>
                <a:xfrm>
                  <a:off x="3630472" y="2086191"/>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 name="Freeform 6259">
                  <a:extLst>
                    <a:ext uri="{FF2B5EF4-FFF2-40B4-BE49-F238E27FC236}">
                      <a16:creationId xmlns:a16="http://schemas.microsoft.com/office/drawing/2014/main" id="{41B63941-9589-9BE0-39C3-A9FDF80ED458}"/>
                    </a:ext>
                  </a:extLst>
                </p:cNvPr>
                <p:cNvSpPr/>
                <p:nvPr/>
              </p:nvSpPr>
              <p:spPr>
                <a:xfrm>
                  <a:off x="3594017" y="2129632"/>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10" name="Graphic 953">
                <a:extLst>
                  <a:ext uri="{FF2B5EF4-FFF2-40B4-BE49-F238E27FC236}">
                    <a16:creationId xmlns:a16="http://schemas.microsoft.com/office/drawing/2014/main" id="{F39ECB3C-2CBF-A868-5B8F-7AF8836CA9CF}"/>
                  </a:ext>
                </a:extLst>
              </p:cNvPr>
              <p:cNvGrpSpPr/>
              <p:nvPr/>
            </p:nvGrpSpPr>
            <p:grpSpPr>
              <a:xfrm>
                <a:off x="3543462" y="2086191"/>
                <a:ext cx="72911" cy="86883"/>
                <a:chOff x="3543462" y="2086191"/>
                <a:chExt cx="72911" cy="86883"/>
              </a:xfrm>
            </p:grpSpPr>
            <p:sp>
              <p:nvSpPr>
                <p:cNvPr id="344" name="Freeform 6256">
                  <a:extLst>
                    <a:ext uri="{FF2B5EF4-FFF2-40B4-BE49-F238E27FC236}">
                      <a16:creationId xmlns:a16="http://schemas.microsoft.com/office/drawing/2014/main" id="{B31A4610-F3F1-2660-6D9A-4F6EA9623A51}"/>
                    </a:ext>
                  </a:extLst>
                </p:cNvPr>
                <p:cNvSpPr/>
                <p:nvPr/>
              </p:nvSpPr>
              <p:spPr>
                <a:xfrm>
                  <a:off x="3579917" y="2086191"/>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 name="Freeform 6257">
                  <a:extLst>
                    <a:ext uri="{FF2B5EF4-FFF2-40B4-BE49-F238E27FC236}">
                      <a16:creationId xmlns:a16="http://schemas.microsoft.com/office/drawing/2014/main" id="{8180BF32-EE97-6556-2E3C-B786F846348B}"/>
                    </a:ext>
                  </a:extLst>
                </p:cNvPr>
                <p:cNvSpPr/>
                <p:nvPr/>
              </p:nvSpPr>
              <p:spPr>
                <a:xfrm>
                  <a:off x="3543462" y="2129632"/>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11" name="Graphic 953">
                <a:extLst>
                  <a:ext uri="{FF2B5EF4-FFF2-40B4-BE49-F238E27FC236}">
                    <a16:creationId xmlns:a16="http://schemas.microsoft.com/office/drawing/2014/main" id="{9B1A074C-E2C0-1907-B7E7-FB26D8FEF73D}"/>
                  </a:ext>
                </a:extLst>
              </p:cNvPr>
              <p:cNvGrpSpPr/>
              <p:nvPr/>
            </p:nvGrpSpPr>
            <p:grpSpPr>
              <a:xfrm>
                <a:off x="3541429" y="2086191"/>
                <a:ext cx="73038" cy="86883"/>
                <a:chOff x="3541429" y="2086191"/>
                <a:chExt cx="73038" cy="86883"/>
              </a:xfrm>
            </p:grpSpPr>
            <p:sp>
              <p:nvSpPr>
                <p:cNvPr id="342" name="Freeform 6254">
                  <a:extLst>
                    <a:ext uri="{FF2B5EF4-FFF2-40B4-BE49-F238E27FC236}">
                      <a16:creationId xmlns:a16="http://schemas.microsoft.com/office/drawing/2014/main" id="{F03CA250-7D2F-B308-77A0-264594926D73}"/>
                    </a:ext>
                  </a:extLst>
                </p:cNvPr>
                <p:cNvSpPr/>
                <p:nvPr/>
              </p:nvSpPr>
              <p:spPr>
                <a:xfrm>
                  <a:off x="3577885" y="2086191"/>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 name="Freeform 6255">
                  <a:extLst>
                    <a:ext uri="{FF2B5EF4-FFF2-40B4-BE49-F238E27FC236}">
                      <a16:creationId xmlns:a16="http://schemas.microsoft.com/office/drawing/2014/main" id="{506F59E2-F18E-8B2D-3554-B9E2850BE841}"/>
                    </a:ext>
                  </a:extLst>
                </p:cNvPr>
                <p:cNvSpPr/>
                <p:nvPr/>
              </p:nvSpPr>
              <p:spPr>
                <a:xfrm>
                  <a:off x="3541429" y="2129632"/>
                  <a:ext cx="73038" cy="12702"/>
                </a:xfrm>
                <a:custGeom>
                  <a:avLst/>
                  <a:gdLst>
                    <a:gd name="connsiteX0" fmla="*/ 0 w 73038"/>
                    <a:gd name="connsiteY0" fmla="*/ 0 h 12702"/>
                    <a:gd name="connsiteX1" fmla="*/ 73038 w 73038"/>
                    <a:gd name="connsiteY1" fmla="*/ 0 h 12702"/>
                  </a:gdLst>
                  <a:ahLst/>
                  <a:cxnLst>
                    <a:cxn ang="0">
                      <a:pos x="connsiteX0" y="connsiteY0"/>
                    </a:cxn>
                    <a:cxn ang="0">
                      <a:pos x="connsiteX1" y="connsiteY1"/>
                    </a:cxn>
                  </a:cxnLst>
                  <a:rect l="l" t="t" r="r" b="b"/>
                  <a:pathLst>
                    <a:path w="73038" h="12702">
                      <a:moveTo>
                        <a:pt x="0" y="0"/>
                      </a:moveTo>
                      <a:lnTo>
                        <a:pt x="73038"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12" name="Graphic 953">
                <a:extLst>
                  <a:ext uri="{FF2B5EF4-FFF2-40B4-BE49-F238E27FC236}">
                    <a16:creationId xmlns:a16="http://schemas.microsoft.com/office/drawing/2014/main" id="{2251C88F-94E9-9F50-879C-9B362CCFBAEE}"/>
                  </a:ext>
                </a:extLst>
              </p:cNvPr>
              <p:cNvGrpSpPr/>
              <p:nvPr/>
            </p:nvGrpSpPr>
            <p:grpSpPr>
              <a:xfrm>
                <a:off x="3445781" y="2086191"/>
                <a:ext cx="73038" cy="86883"/>
                <a:chOff x="3445781" y="2086191"/>
                <a:chExt cx="73038" cy="86883"/>
              </a:xfrm>
            </p:grpSpPr>
            <p:sp>
              <p:nvSpPr>
                <p:cNvPr id="340" name="Freeform 6252">
                  <a:extLst>
                    <a:ext uri="{FF2B5EF4-FFF2-40B4-BE49-F238E27FC236}">
                      <a16:creationId xmlns:a16="http://schemas.microsoft.com/office/drawing/2014/main" id="{F92A1F49-AFC7-C566-BAF0-C275094F0E0E}"/>
                    </a:ext>
                  </a:extLst>
                </p:cNvPr>
                <p:cNvSpPr/>
                <p:nvPr/>
              </p:nvSpPr>
              <p:spPr>
                <a:xfrm>
                  <a:off x="3482364" y="2086191"/>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 name="Freeform 6253">
                  <a:extLst>
                    <a:ext uri="{FF2B5EF4-FFF2-40B4-BE49-F238E27FC236}">
                      <a16:creationId xmlns:a16="http://schemas.microsoft.com/office/drawing/2014/main" id="{98A515A1-A31A-ADA4-75D2-3C9A36D9AEE1}"/>
                    </a:ext>
                  </a:extLst>
                </p:cNvPr>
                <p:cNvSpPr/>
                <p:nvPr/>
              </p:nvSpPr>
              <p:spPr>
                <a:xfrm>
                  <a:off x="3445781" y="2129632"/>
                  <a:ext cx="73038" cy="12702"/>
                </a:xfrm>
                <a:custGeom>
                  <a:avLst/>
                  <a:gdLst>
                    <a:gd name="connsiteX0" fmla="*/ 0 w 73038"/>
                    <a:gd name="connsiteY0" fmla="*/ 0 h 12702"/>
                    <a:gd name="connsiteX1" fmla="*/ 73038 w 73038"/>
                    <a:gd name="connsiteY1" fmla="*/ 0 h 12702"/>
                  </a:gdLst>
                  <a:ahLst/>
                  <a:cxnLst>
                    <a:cxn ang="0">
                      <a:pos x="connsiteX0" y="connsiteY0"/>
                    </a:cxn>
                    <a:cxn ang="0">
                      <a:pos x="connsiteX1" y="connsiteY1"/>
                    </a:cxn>
                  </a:cxnLst>
                  <a:rect l="l" t="t" r="r" b="b"/>
                  <a:pathLst>
                    <a:path w="73038" h="12702">
                      <a:moveTo>
                        <a:pt x="0" y="0"/>
                      </a:moveTo>
                      <a:lnTo>
                        <a:pt x="73038"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13" name="Graphic 953">
                <a:extLst>
                  <a:ext uri="{FF2B5EF4-FFF2-40B4-BE49-F238E27FC236}">
                    <a16:creationId xmlns:a16="http://schemas.microsoft.com/office/drawing/2014/main" id="{4450E4FE-6FC6-5C94-5AF4-834637132A3A}"/>
                  </a:ext>
                </a:extLst>
              </p:cNvPr>
              <p:cNvGrpSpPr/>
              <p:nvPr/>
            </p:nvGrpSpPr>
            <p:grpSpPr>
              <a:xfrm>
                <a:off x="3424695" y="2086191"/>
                <a:ext cx="72911" cy="86883"/>
                <a:chOff x="3424695" y="2086191"/>
                <a:chExt cx="72911" cy="86883"/>
              </a:xfrm>
            </p:grpSpPr>
            <p:sp>
              <p:nvSpPr>
                <p:cNvPr id="338" name="Freeform 6250">
                  <a:extLst>
                    <a:ext uri="{FF2B5EF4-FFF2-40B4-BE49-F238E27FC236}">
                      <a16:creationId xmlns:a16="http://schemas.microsoft.com/office/drawing/2014/main" id="{2EF63CC3-C239-38BB-68E0-47A7709F0D84}"/>
                    </a:ext>
                  </a:extLst>
                </p:cNvPr>
                <p:cNvSpPr/>
                <p:nvPr/>
              </p:nvSpPr>
              <p:spPr>
                <a:xfrm>
                  <a:off x="3461151" y="2086191"/>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 name="Freeform 6251">
                  <a:extLst>
                    <a:ext uri="{FF2B5EF4-FFF2-40B4-BE49-F238E27FC236}">
                      <a16:creationId xmlns:a16="http://schemas.microsoft.com/office/drawing/2014/main" id="{262D8746-4F60-1BFD-D7F9-37A961933B09}"/>
                    </a:ext>
                  </a:extLst>
                </p:cNvPr>
                <p:cNvSpPr/>
                <p:nvPr/>
              </p:nvSpPr>
              <p:spPr>
                <a:xfrm>
                  <a:off x="3424695" y="2129632"/>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14" name="Graphic 953">
                <a:extLst>
                  <a:ext uri="{FF2B5EF4-FFF2-40B4-BE49-F238E27FC236}">
                    <a16:creationId xmlns:a16="http://schemas.microsoft.com/office/drawing/2014/main" id="{F089A794-F74C-8401-325E-1A23EA457BFC}"/>
                  </a:ext>
                </a:extLst>
              </p:cNvPr>
              <p:cNvGrpSpPr/>
              <p:nvPr/>
            </p:nvGrpSpPr>
            <p:grpSpPr>
              <a:xfrm>
                <a:off x="3413644" y="2086191"/>
                <a:ext cx="72911" cy="86883"/>
                <a:chOff x="3413644" y="2086191"/>
                <a:chExt cx="72911" cy="86883"/>
              </a:xfrm>
            </p:grpSpPr>
            <p:sp>
              <p:nvSpPr>
                <p:cNvPr id="336" name="Freeform 6248">
                  <a:extLst>
                    <a:ext uri="{FF2B5EF4-FFF2-40B4-BE49-F238E27FC236}">
                      <a16:creationId xmlns:a16="http://schemas.microsoft.com/office/drawing/2014/main" id="{DA1D902D-932A-8C0E-C784-FF535CD73484}"/>
                    </a:ext>
                  </a:extLst>
                </p:cNvPr>
                <p:cNvSpPr/>
                <p:nvPr/>
              </p:nvSpPr>
              <p:spPr>
                <a:xfrm>
                  <a:off x="3450100" y="2086191"/>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 name="Freeform 6249">
                  <a:extLst>
                    <a:ext uri="{FF2B5EF4-FFF2-40B4-BE49-F238E27FC236}">
                      <a16:creationId xmlns:a16="http://schemas.microsoft.com/office/drawing/2014/main" id="{620B666A-4DE7-1558-01D4-2FCCD4134318}"/>
                    </a:ext>
                  </a:extLst>
                </p:cNvPr>
                <p:cNvSpPr/>
                <p:nvPr/>
              </p:nvSpPr>
              <p:spPr>
                <a:xfrm>
                  <a:off x="3413644" y="2129632"/>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15" name="Graphic 953">
                <a:extLst>
                  <a:ext uri="{FF2B5EF4-FFF2-40B4-BE49-F238E27FC236}">
                    <a16:creationId xmlns:a16="http://schemas.microsoft.com/office/drawing/2014/main" id="{635EEA87-78D9-1A81-876F-4AD794CDC47A}"/>
                  </a:ext>
                </a:extLst>
              </p:cNvPr>
              <p:cNvGrpSpPr/>
              <p:nvPr/>
            </p:nvGrpSpPr>
            <p:grpSpPr>
              <a:xfrm>
                <a:off x="3047565" y="2086191"/>
                <a:ext cx="72911" cy="86883"/>
                <a:chOff x="3047565" y="2086191"/>
                <a:chExt cx="72911" cy="86883"/>
              </a:xfrm>
            </p:grpSpPr>
            <p:sp>
              <p:nvSpPr>
                <p:cNvPr id="334" name="Freeform 6246">
                  <a:extLst>
                    <a:ext uri="{FF2B5EF4-FFF2-40B4-BE49-F238E27FC236}">
                      <a16:creationId xmlns:a16="http://schemas.microsoft.com/office/drawing/2014/main" id="{E9EF1058-AC51-3143-4418-ECF44867DE22}"/>
                    </a:ext>
                  </a:extLst>
                </p:cNvPr>
                <p:cNvSpPr/>
                <p:nvPr/>
              </p:nvSpPr>
              <p:spPr>
                <a:xfrm>
                  <a:off x="3084020" y="2086191"/>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 name="Freeform 6247">
                  <a:extLst>
                    <a:ext uri="{FF2B5EF4-FFF2-40B4-BE49-F238E27FC236}">
                      <a16:creationId xmlns:a16="http://schemas.microsoft.com/office/drawing/2014/main" id="{37696B83-82F0-0463-8918-F9C9DA690A86}"/>
                    </a:ext>
                  </a:extLst>
                </p:cNvPr>
                <p:cNvSpPr/>
                <p:nvPr/>
              </p:nvSpPr>
              <p:spPr>
                <a:xfrm>
                  <a:off x="3047565" y="2129632"/>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16" name="Graphic 953">
                <a:extLst>
                  <a:ext uri="{FF2B5EF4-FFF2-40B4-BE49-F238E27FC236}">
                    <a16:creationId xmlns:a16="http://schemas.microsoft.com/office/drawing/2014/main" id="{0F86F16D-76F1-5C2B-7859-74A39F0DE6DE}"/>
                  </a:ext>
                </a:extLst>
              </p:cNvPr>
              <p:cNvGrpSpPr/>
              <p:nvPr/>
            </p:nvGrpSpPr>
            <p:grpSpPr>
              <a:xfrm>
                <a:off x="3015555" y="2086191"/>
                <a:ext cx="72911" cy="86883"/>
                <a:chOff x="3015555" y="2086191"/>
                <a:chExt cx="72911" cy="86883"/>
              </a:xfrm>
            </p:grpSpPr>
            <p:sp>
              <p:nvSpPr>
                <p:cNvPr id="332" name="Freeform 6244">
                  <a:extLst>
                    <a:ext uri="{FF2B5EF4-FFF2-40B4-BE49-F238E27FC236}">
                      <a16:creationId xmlns:a16="http://schemas.microsoft.com/office/drawing/2014/main" id="{3DF52711-DE1F-9184-3DA8-2B0A5269C7AD}"/>
                    </a:ext>
                  </a:extLst>
                </p:cNvPr>
                <p:cNvSpPr/>
                <p:nvPr/>
              </p:nvSpPr>
              <p:spPr>
                <a:xfrm>
                  <a:off x="3052011" y="2086191"/>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 name="Freeform 6245">
                  <a:extLst>
                    <a:ext uri="{FF2B5EF4-FFF2-40B4-BE49-F238E27FC236}">
                      <a16:creationId xmlns:a16="http://schemas.microsoft.com/office/drawing/2014/main" id="{01526665-EE6A-CDB8-B79B-D748B7AC404A}"/>
                    </a:ext>
                  </a:extLst>
                </p:cNvPr>
                <p:cNvSpPr/>
                <p:nvPr/>
              </p:nvSpPr>
              <p:spPr>
                <a:xfrm>
                  <a:off x="3015555" y="2129632"/>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17" name="Graphic 953">
                <a:extLst>
                  <a:ext uri="{FF2B5EF4-FFF2-40B4-BE49-F238E27FC236}">
                    <a16:creationId xmlns:a16="http://schemas.microsoft.com/office/drawing/2014/main" id="{48E2004D-784C-4E63-F7D0-3F5544FC3926}"/>
                  </a:ext>
                </a:extLst>
              </p:cNvPr>
              <p:cNvGrpSpPr/>
              <p:nvPr/>
            </p:nvGrpSpPr>
            <p:grpSpPr>
              <a:xfrm>
                <a:off x="2983037" y="2086191"/>
                <a:ext cx="72911" cy="86883"/>
                <a:chOff x="2983037" y="2086191"/>
                <a:chExt cx="72911" cy="86883"/>
              </a:xfrm>
            </p:grpSpPr>
            <p:sp>
              <p:nvSpPr>
                <p:cNvPr id="330" name="Freeform 6242">
                  <a:extLst>
                    <a:ext uri="{FF2B5EF4-FFF2-40B4-BE49-F238E27FC236}">
                      <a16:creationId xmlns:a16="http://schemas.microsoft.com/office/drawing/2014/main" id="{2F0A63EF-1D08-649C-2B83-4CE93E47D009}"/>
                    </a:ext>
                  </a:extLst>
                </p:cNvPr>
                <p:cNvSpPr/>
                <p:nvPr/>
              </p:nvSpPr>
              <p:spPr>
                <a:xfrm>
                  <a:off x="3019493" y="2086191"/>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 name="Freeform 6243">
                  <a:extLst>
                    <a:ext uri="{FF2B5EF4-FFF2-40B4-BE49-F238E27FC236}">
                      <a16:creationId xmlns:a16="http://schemas.microsoft.com/office/drawing/2014/main" id="{165A3B9D-529C-726D-2CC9-0B82E3803B75}"/>
                    </a:ext>
                  </a:extLst>
                </p:cNvPr>
                <p:cNvSpPr/>
                <p:nvPr/>
              </p:nvSpPr>
              <p:spPr>
                <a:xfrm>
                  <a:off x="2983037" y="2129632"/>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18" name="Graphic 953">
                <a:extLst>
                  <a:ext uri="{FF2B5EF4-FFF2-40B4-BE49-F238E27FC236}">
                    <a16:creationId xmlns:a16="http://schemas.microsoft.com/office/drawing/2014/main" id="{F443F9AA-1E2A-A2C7-7714-9A4E2064A6E8}"/>
                  </a:ext>
                </a:extLst>
              </p:cNvPr>
              <p:cNvGrpSpPr/>
              <p:nvPr/>
            </p:nvGrpSpPr>
            <p:grpSpPr>
              <a:xfrm>
                <a:off x="2958649" y="2086191"/>
                <a:ext cx="72911" cy="86883"/>
                <a:chOff x="2958649" y="2086191"/>
                <a:chExt cx="72911" cy="86883"/>
              </a:xfrm>
            </p:grpSpPr>
            <p:sp>
              <p:nvSpPr>
                <p:cNvPr id="328" name="Freeform 6240">
                  <a:extLst>
                    <a:ext uri="{FF2B5EF4-FFF2-40B4-BE49-F238E27FC236}">
                      <a16:creationId xmlns:a16="http://schemas.microsoft.com/office/drawing/2014/main" id="{F589BAF1-CA07-7187-A595-12B4B6E16F3E}"/>
                    </a:ext>
                  </a:extLst>
                </p:cNvPr>
                <p:cNvSpPr/>
                <p:nvPr/>
              </p:nvSpPr>
              <p:spPr>
                <a:xfrm>
                  <a:off x="2995105" y="2086191"/>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 name="Freeform 6241">
                  <a:extLst>
                    <a:ext uri="{FF2B5EF4-FFF2-40B4-BE49-F238E27FC236}">
                      <a16:creationId xmlns:a16="http://schemas.microsoft.com/office/drawing/2014/main" id="{E10939DB-AC95-A73B-AB7E-5F82690B2D87}"/>
                    </a:ext>
                  </a:extLst>
                </p:cNvPr>
                <p:cNvSpPr/>
                <p:nvPr/>
              </p:nvSpPr>
              <p:spPr>
                <a:xfrm>
                  <a:off x="2958649" y="2129632"/>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19" name="Graphic 953">
                <a:extLst>
                  <a:ext uri="{FF2B5EF4-FFF2-40B4-BE49-F238E27FC236}">
                    <a16:creationId xmlns:a16="http://schemas.microsoft.com/office/drawing/2014/main" id="{AB74548B-326B-ABC4-19A6-97C3D29000A0}"/>
                  </a:ext>
                </a:extLst>
              </p:cNvPr>
              <p:cNvGrpSpPr/>
              <p:nvPr/>
            </p:nvGrpSpPr>
            <p:grpSpPr>
              <a:xfrm>
                <a:off x="2894248" y="2036398"/>
                <a:ext cx="72911" cy="86883"/>
                <a:chOff x="2894248" y="2036398"/>
                <a:chExt cx="72911" cy="86883"/>
              </a:xfrm>
            </p:grpSpPr>
            <p:sp>
              <p:nvSpPr>
                <p:cNvPr id="326" name="Freeform 6238">
                  <a:extLst>
                    <a:ext uri="{FF2B5EF4-FFF2-40B4-BE49-F238E27FC236}">
                      <a16:creationId xmlns:a16="http://schemas.microsoft.com/office/drawing/2014/main" id="{DFA8FEB2-6BFD-4261-6FCE-C0F67EB54F29}"/>
                    </a:ext>
                  </a:extLst>
                </p:cNvPr>
                <p:cNvSpPr/>
                <p:nvPr/>
              </p:nvSpPr>
              <p:spPr>
                <a:xfrm>
                  <a:off x="2930704" y="2036398"/>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 name="Freeform 6239">
                  <a:extLst>
                    <a:ext uri="{FF2B5EF4-FFF2-40B4-BE49-F238E27FC236}">
                      <a16:creationId xmlns:a16="http://schemas.microsoft.com/office/drawing/2014/main" id="{9F5A8D90-C26F-94C6-EC78-B81DD4879387}"/>
                    </a:ext>
                  </a:extLst>
                </p:cNvPr>
                <p:cNvSpPr/>
                <p:nvPr/>
              </p:nvSpPr>
              <p:spPr>
                <a:xfrm>
                  <a:off x="2894248" y="2079840"/>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20" name="Graphic 953">
                <a:extLst>
                  <a:ext uri="{FF2B5EF4-FFF2-40B4-BE49-F238E27FC236}">
                    <a16:creationId xmlns:a16="http://schemas.microsoft.com/office/drawing/2014/main" id="{1245361D-77DB-AEB9-6672-D475EF900D1A}"/>
                  </a:ext>
                </a:extLst>
              </p:cNvPr>
              <p:cNvGrpSpPr/>
              <p:nvPr/>
            </p:nvGrpSpPr>
            <p:grpSpPr>
              <a:xfrm>
                <a:off x="2608955" y="1987748"/>
                <a:ext cx="72911" cy="86883"/>
                <a:chOff x="2608955" y="1987748"/>
                <a:chExt cx="72911" cy="86883"/>
              </a:xfrm>
            </p:grpSpPr>
            <p:sp>
              <p:nvSpPr>
                <p:cNvPr id="324" name="Freeform 6236">
                  <a:extLst>
                    <a:ext uri="{FF2B5EF4-FFF2-40B4-BE49-F238E27FC236}">
                      <a16:creationId xmlns:a16="http://schemas.microsoft.com/office/drawing/2014/main" id="{0688E5BF-C457-B860-6729-CFFB3AC9B626}"/>
                    </a:ext>
                  </a:extLst>
                </p:cNvPr>
                <p:cNvSpPr/>
                <p:nvPr/>
              </p:nvSpPr>
              <p:spPr>
                <a:xfrm>
                  <a:off x="2645411" y="1987748"/>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 name="Freeform 6237">
                  <a:extLst>
                    <a:ext uri="{FF2B5EF4-FFF2-40B4-BE49-F238E27FC236}">
                      <a16:creationId xmlns:a16="http://schemas.microsoft.com/office/drawing/2014/main" id="{D05C5195-3AA8-6C23-894D-31508095042E}"/>
                    </a:ext>
                  </a:extLst>
                </p:cNvPr>
                <p:cNvSpPr/>
                <p:nvPr/>
              </p:nvSpPr>
              <p:spPr>
                <a:xfrm>
                  <a:off x="2608955" y="2031190"/>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21" name="Graphic 953">
                <a:extLst>
                  <a:ext uri="{FF2B5EF4-FFF2-40B4-BE49-F238E27FC236}">
                    <a16:creationId xmlns:a16="http://schemas.microsoft.com/office/drawing/2014/main" id="{A766356F-5302-A866-FF80-3CE2D3FFCCA0}"/>
                  </a:ext>
                </a:extLst>
              </p:cNvPr>
              <p:cNvGrpSpPr/>
              <p:nvPr/>
            </p:nvGrpSpPr>
            <p:grpSpPr>
              <a:xfrm>
                <a:off x="1750282" y="1838623"/>
                <a:ext cx="73038" cy="86883"/>
                <a:chOff x="1750282" y="1838623"/>
                <a:chExt cx="73038" cy="86883"/>
              </a:xfrm>
            </p:grpSpPr>
            <p:sp>
              <p:nvSpPr>
                <p:cNvPr id="322" name="Freeform 6234">
                  <a:extLst>
                    <a:ext uri="{FF2B5EF4-FFF2-40B4-BE49-F238E27FC236}">
                      <a16:creationId xmlns:a16="http://schemas.microsoft.com/office/drawing/2014/main" id="{82CBE70E-290C-98ED-05FD-A4AFC5E8E6FF}"/>
                    </a:ext>
                  </a:extLst>
                </p:cNvPr>
                <p:cNvSpPr/>
                <p:nvPr/>
              </p:nvSpPr>
              <p:spPr>
                <a:xfrm>
                  <a:off x="1786864" y="1838623"/>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 name="Freeform 6235">
                  <a:extLst>
                    <a:ext uri="{FF2B5EF4-FFF2-40B4-BE49-F238E27FC236}">
                      <a16:creationId xmlns:a16="http://schemas.microsoft.com/office/drawing/2014/main" id="{5341CEDE-2371-9A68-37B0-DCBA16856B82}"/>
                    </a:ext>
                  </a:extLst>
                </p:cNvPr>
                <p:cNvSpPr/>
                <p:nvPr/>
              </p:nvSpPr>
              <p:spPr>
                <a:xfrm>
                  <a:off x="1750282" y="1882065"/>
                  <a:ext cx="73038" cy="12702"/>
                </a:xfrm>
                <a:custGeom>
                  <a:avLst/>
                  <a:gdLst>
                    <a:gd name="connsiteX0" fmla="*/ 0 w 73038"/>
                    <a:gd name="connsiteY0" fmla="*/ 0 h 12702"/>
                    <a:gd name="connsiteX1" fmla="*/ 73038 w 73038"/>
                    <a:gd name="connsiteY1" fmla="*/ 0 h 12702"/>
                  </a:gdLst>
                  <a:ahLst/>
                  <a:cxnLst>
                    <a:cxn ang="0">
                      <a:pos x="connsiteX0" y="connsiteY0"/>
                    </a:cxn>
                    <a:cxn ang="0">
                      <a:pos x="connsiteX1" y="connsiteY1"/>
                    </a:cxn>
                  </a:cxnLst>
                  <a:rect l="l" t="t" r="r" b="b"/>
                  <a:pathLst>
                    <a:path w="73038" h="12702">
                      <a:moveTo>
                        <a:pt x="0" y="0"/>
                      </a:moveTo>
                      <a:lnTo>
                        <a:pt x="73038"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sp>
          <p:nvSpPr>
            <p:cNvPr id="36" name="TextBox 35">
              <a:extLst>
                <a:ext uri="{FF2B5EF4-FFF2-40B4-BE49-F238E27FC236}">
                  <a16:creationId xmlns:a16="http://schemas.microsoft.com/office/drawing/2014/main" id="{AF92FFF7-67CB-BCB8-424E-1FE88A1B8652}"/>
                </a:ext>
              </a:extLst>
            </p:cNvPr>
            <p:cNvSpPr txBox="1"/>
            <p:nvPr/>
          </p:nvSpPr>
          <p:spPr>
            <a:xfrm rot="16200000">
              <a:off x="264772" y="1765635"/>
              <a:ext cx="471883" cy="193843"/>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solidFill>
                    <a:srgbClr val="000000"/>
                  </a:solidFill>
                  <a:effectLst/>
                  <a:uLnTx/>
                  <a:uFillTx/>
                  <a:latin typeface="Arial"/>
                  <a:ea typeface="+mn-ea"/>
                  <a:cs typeface="Arial"/>
                  <a:sym typeface="Arial"/>
                  <a:rtl val="0"/>
                </a:rPr>
                <a:t>OS (%)</a:t>
              </a:r>
            </a:p>
          </p:txBody>
        </p:sp>
        <p:grpSp>
          <p:nvGrpSpPr>
            <p:cNvPr id="37" name="Graphic 953">
              <a:extLst>
                <a:ext uri="{FF2B5EF4-FFF2-40B4-BE49-F238E27FC236}">
                  <a16:creationId xmlns:a16="http://schemas.microsoft.com/office/drawing/2014/main" id="{1DBE89EC-1E3F-65A4-CC4A-E8A65D53D2E2}"/>
                </a:ext>
              </a:extLst>
            </p:cNvPr>
            <p:cNvGrpSpPr/>
            <p:nvPr/>
          </p:nvGrpSpPr>
          <p:grpSpPr>
            <a:xfrm>
              <a:off x="522895" y="1123548"/>
              <a:ext cx="307592" cy="1436438"/>
              <a:chOff x="706228" y="1593817"/>
              <a:chExt cx="472894" cy="3011066"/>
            </a:xfrm>
            <a:solidFill>
              <a:srgbClr val="000000"/>
            </a:solidFill>
          </p:grpSpPr>
          <p:sp>
            <p:nvSpPr>
              <p:cNvPr id="163" name="TextBox 162">
                <a:extLst>
                  <a:ext uri="{FF2B5EF4-FFF2-40B4-BE49-F238E27FC236}">
                    <a16:creationId xmlns:a16="http://schemas.microsoft.com/office/drawing/2014/main" id="{1DED3ECA-63E2-CD50-1C04-135B62789F0C}"/>
                  </a:ext>
                </a:extLst>
              </p:cNvPr>
              <p:cNvSpPr txBox="1"/>
              <p:nvPr/>
            </p:nvSpPr>
            <p:spPr>
              <a:xfrm>
                <a:off x="888698" y="4207563"/>
                <a:ext cx="290083" cy="397320"/>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000000"/>
                    </a:solidFill>
                    <a:effectLst/>
                    <a:uLnTx/>
                    <a:uFillTx/>
                    <a:latin typeface="Arial"/>
                    <a:ea typeface="+mn-ea"/>
                    <a:cs typeface="Arial"/>
                    <a:sym typeface="Arial"/>
                    <a:rtl val="0"/>
                  </a:rPr>
                  <a:t>0</a:t>
                </a:r>
              </a:p>
            </p:txBody>
          </p:sp>
          <p:sp>
            <p:nvSpPr>
              <p:cNvPr id="164" name="TextBox 163">
                <a:extLst>
                  <a:ext uri="{FF2B5EF4-FFF2-40B4-BE49-F238E27FC236}">
                    <a16:creationId xmlns:a16="http://schemas.microsoft.com/office/drawing/2014/main" id="{E0F0B365-4247-7A13-518E-4558C19C1985}"/>
                  </a:ext>
                </a:extLst>
              </p:cNvPr>
              <p:cNvSpPr txBox="1"/>
              <p:nvPr/>
            </p:nvSpPr>
            <p:spPr>
              <a:xfrm>
                <a:off x="797522" y="3684862"/>
                <a:ext cx="381487" cy="397320"/>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000000"/>
                    </a:solidFill>
                    <a:effectLst/>
                    <a:uLnTx/>
                    <a:uFillTx/>
                    <a:latin typeface="Arial"/>
                    <a:ea typeface="+mn-ea"/>
                    <a:cs typeface="Arial"/>
                    <a:sym typeface="Arial"/>
                    <a:rtl val="0"/>
                  </a:rPr>
                  <a:t>20</a:t>
                </a:r>
              </a:p>
            </p:txBody>
          </p:sp>
          <p:sp>
            <p:nvSpPr>
              <p:cNvPr id="165" name="TextBox 164">
                <a:extLst>
                  <a:ext uri="{FF2B5EF4-FFF2-40B4-BE49-F238E27FC236}">
                    <a16:creationId xmlns:a16="http://schemas.microsoft.com/office/drawing/2014/main" id="{4BC61C1D-D3BC-CEA5-8944-FBA92F4F6CEE}"/>
                  </a:ext>
                </a:extLst>
              </p:cNvPr>
              <p:cNvSpPr txBox="1"/>
              <p:nvPr/>
            </p:nvSpPr>
            <p:spPr>
              <a:xfrm>
                <a:off x="797526" y="3162040"/>
                <a:ext cx="381487" cy="397320"/>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000000"/>
                    </a:solidFill>
                    <a:effectLst/>
                    <a:uLnTx/>
                    <a:uFillTx/>
                    <a:latin typeface="Arial"/>
                    <a:ea typeface="+mn-ea"/>
                    <a:cs typeface="Arial"/>
                    <a:sym typeface="Arial"/>
                    <a:rtl val="0"/>
                  </a:rPr>
                  <a:t>40</a:t>
                </a:r>
              </a:p>
            </p:txBody>
          </p:sp>
          <p:sp>
            <p:nvSpPr>
              <p:cNvPr id="166" name="TextBox 165">
                <a:extLst>
                  <a:ext uri="{FF2B5EF4-FFF2-40B4-BE49-F238E27FC236}">
                    <a16:creationId xmlns:a16="http://schemas.microsoft.com/office/drawing/2014/main" id="{E246A9D1-F8C0-EAD2-9CF1-88F51AC35C75}"/>
                  </a:ext>
                </a:extLst>
              </p:cNvPr>
              <p:cNvSpPr txBox="1"/>
              <p:nvPr/>
            </p:nvSpPr>
            <p:spPr>
              <a:xfrm>
                <a:off x="797526" y="2639340"/>
                <a:ext cx="381487" cy="397320"/>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000000"/>
                    </a:solidFill>
                    <a:effectLst/>
                    <a:uLnTx/>
                    <a:uFillTx/>
                    <a:latin typeface="Arial"/>
                    <a:ea typeface="+mn-ea"/>
                    <a:cs typeface="Arial"/>
                    <a:sym typeface="Arial"/>
                    <a:rtl val="0"/>
                  </a:rPr>
                  <a:t>60</a:t>
                </a:r>
              </a:p>
            </p:txBody>
          </p:sp>
          <p:sp>
            <p:nvSpPr>
              <p:cNvPr id="167" name="TextBox 166">
                <a:extLst>
                  <a:ext uri="{FF2B5EF4-FFF2-40B4-BE49-F238E27FC236}">
                    <a16:creationId xmlns:a16="http://schemas.microsoft.com/office/drawing/2014/main" id="{825C4B8E-10CE-736C-E074-AF7E0291D32E}"/>
                  </a:ext>
                </a:extLst>
              </p:cNvPr>
              <p:cNvSpPr txBox="1"/>
              <p:nvPr/>
            </p:nvSpPr>
            <p:spPr>
              <a:xfrm>
                <a:off x="797526" y="2116516"/>
                <a:ext cx="381487" cy="397320"/>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000000"/>
                    </a:solidFill>
                    <a:effectLst/>
                    <a:uLnTx/>
                    <a:uFillTx/>
                    <a:latin typeface="Arial"/>
                    <a:ea typeface="+mn-ea"/>
                    <a:cs typeface="Arial"/>
                    <a:sym typeface="Arial"/>
                    <a:rtl val="0"/>
                  </a:rPr>
                  <a:t>80</a:t>
                </a:r>
              </a:p>
            </p:txBody>
          </p:sp>
          <p:sp>
            <p:nvSpPr>
              <p:cNvPr id="168" name="TextBox 167">
                <a:extLst>
                  <a:ext uri="{FF2B5EF4-FFF2-40B4-BE49-F238E27FC236}">
                    <a16:creationId xmlns:a16="http://schemas.microsoft.com/office/drawing/2014/main" id="{8F40A975-B754-DD9D-8AAC-E8AF271D10B7}"/>
                  </a:ext>
                </a:extLst>
              </p:cNvPr>
              <p:cNvSpPr txBox="1"/>
              <p:nvPr/>
            </p:nvSpPr>
            <p:spPr>
              <a:xfrm>
                <a:off x="706228" y="1593817"/>
                <a:ext cx="472894" cy="397320"/>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rial"/>
                    <a:ea typeface="+mn-ea"/>
                    <a:cs typeface="Arial"/>
                    <a:sym typeface="Arial"/>
                    <a:rtl val="0"/>
                  </a:rPr>
                  <a:t>100</a:t>
                </a:r>
              </a:p>
            </p:txBody>
          </p:sp>
        </p:grpSp>
        <p:sp>
          <p:nvSpPr>
            <p:cNvPr id="40" name="TextBox 39">
              <a:extLst>
                <a:ext uri="{FF2B5EF4-FFF2-40B4-BE49-F238E27FC236}">
                  <a16:creationId xmlns:a16="http://schemas.microsoft.com/office/drawing/2014/main" id="{D3F2E8D7-27BD-2187-70B0-D0443727B03F}"/>
                </a:ext>
              </a:extLst>
            </p:cNvPr>
            <p:cNvSpPr txBox="1"/>
            <p:nvPr/>
          </p:nvSpPr>
          <p:spPr>
            <a:xfrm>
              <a:off x="1853996" y="2618447"/>
              <a:ext cx="869917" cy="189543"/>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solidFill>
                    <a:srgbClr val="000000"/>
                  </a:solidFill>
                  <a:effectLst/>
                  <a:uLnTx/>
                  <a:uFillTx/>
                  <a:latin typeface="Arial"/>
                  <a:ea typeface="+mn-ea"/>
                  <a:cs typeface="Arial"/>
                  <a:sym typeface="Arial"/>
                  <a:rtl val="0"/>
                </a:rPr>
                <a:t>Time (months)</a:t>
              </a:r>
            </a:p>
          </p:txBody>
        </p:sp>
        <p:grpSp>
          <p:nvGrpSpPr>
            <p:cNvPr id="41" name="Graphic 953">
              <a:extLst>
                <a:ext uri="{FF2B5EF4-FFF2-40B4-BE49-F238E27FC236}">
                  <a16:creationId xmlns:a16="http://schemas.microsoft.com/office/drawing/2014/main" id="{C8D312C9-2011-12F5-2CC5-8D2AB00AA3B6}"/>
                </a:ext>
              </a:extLst>
            </p:cNvPr>
            <p:cNvGrpSpPr/>
            <p:nvPr/>
          </p:nvGrpSpPr>
          <p:grpSpPr>
            <a:xfrm>
              <a:off x="705373" y="2490829"/>
              <a:ext cx="3286425" cy="189543"/>
              <a:chOff x="1025821" y="4374726"/>
              <a:chExt cx="5052573" cy="397321"/>
            </a:xfrm>
            <a:solidFill>
              <a:srgbClr val="000000"/>
            </a:solidFill>
          </p:grpSpPr>
          <p:sp>
            <p:nvSpPr>
              <p:cNvPr id="155" name="TextBox 154">
                <a:extLst>
                  <a:ext uri="{FF2B5EF4-FFF2-40B4-BE49-F238E27FC236}">
                    <a16:creationId xmlns:a16="http://schemas.microsoft.com/office/drawing/2014/main" id="{56DAD1AD-2303-3377-E09C-CE62947499B6}"/>
                  </a:ext>
                </a:extLst>
              </p:cNvPr>
              <p:cNvSpPr txBox="1"/>
              <p:nvPr/>
            </p:nvSpPr>
            <p:spPr>
              <a:xfrm>
                <a:off x="1025821" y="4374726"/>
                <a:ext cx="290083" cy="397321"/>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000000"/>
                    </a:solidFill>
                    <a:effectLst/>
                    <a:uLnTx/>
                    <a:uFillTx/>
                    <a:latin typeface="Arial"/>
                    <a:ea typeface="+mn-ea"/>
                    <a:cs typeface="Arial"/>
                    <a:sym typeface="Arial"/>
                    <a:rtl val="0"/>
                  </a:rPr>
                  <a:t>0</a:t>
                </a:r>
              </a:p>
            </p:txBody>
          </p:sp>
          <p:sp>
            <p:nvSpPr>
              <p:cNvPr id="156" name="TextBox 155">
                <a:extLst>
                  <a:ext uri="{FF2B5EF4-FFF2-40B4-BE49-F238E27FC236}">
                    <a16:creationId xmlns:a16="http://schemas.microsoft.com/office/drawing/2014/main" id="{E5D2EBB6-D56D-C91A-FE18-3A14A26890BB}"/>
                  </a:ext>
                </a:extLst>
              </p:cNvPr>
              <p:cNvSpPr txBox="1"/>
              <p:nvPr/>
            </p:nvSpPr>
            <p:spPr>
              <a:xfrm>
                <a:off x="1699552" y="4374726"/>
                <a:ext cx="290083" cy="397321"/>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000000"/>
                    </a:solidFill>
                    <a:effectLst/>
                    <a:uLnTx/>
                    <a:uFillTx/>
                    <a:latin typeface="Arial"/>
                    <a:ea typeface="+mn-ea"/>
                    <a:cs typeface="Arial"/>
                    <a:sym typeface="Arial"/>
                    <a:rtl val="0"/>
                  </a:rPr>
                  <a:t>6</a:t>
                </a:r>
              </a:p>
            </p:txBody>
          </p:sp>
          <p:sp>
            <p:nvSpPr>
              <p:cNvPr id="157" name="TextBox 156">
                <a:extLst>
                  <a:ext uri="{FF2B5EF4-FFF2-40B4-BE49-F238E27FC236}">
                    <a16:creationId xmlns:a16="http://schemas.microsoft.com/office/drawing/2014/main" id="{B01EEC51-7946-BC51-75F7-66BAC97B8559}"/>
                  </a:ext>
                </a:extLst>
              </p:cNvPr>
              <p:cNvSpPr txBox="1"/>
              <p:nvPr/>
            </p:nvSpPr>
            <p:spPr>
              <a:xfrm>
                <a:off x="2327755" y="4374726"/>
                <a:ext cx="381488" cy="397321"/>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000000"/>
                    </a:solidFill>
                    <a:effectLst/>
                    <a:uLnTx/>
                    <a:uFillTx/>
                    <a:latin typeface="Arial"/>
                    <a:ea typeface="+mn-ea"/>
                    <a:cs typeface="Arial"/>
                    <a:sym typeface="Arial"/>
                    <a:rtl val="0"/>
                  </a:rPr>
                  <a:t>12</a:t>
                </a:r>
              </a:p>
            </p:txBody>
          </p:sp>
          <p:sp>
            <p:nvSpPr>
              <p:cNvPr id="158" name="TextBox 157">
                <a:extLst>
                  <a:ext uri="{FF2B5EF4-FFF2-40B4-BE49-F238E27FC236}">
                    <a16:creationId xmlns:a16="http://schemas.microsoft.com/office/drawing/2014/main" id="{F9E1FAE8-7AC7-9BC4-3B53-1FCBD761D7A6}"/>
                  </a:ext>
                </a:extLst>
              </p:cNvPr>
              <p:cNvSpPr txBox="1"/>
              <p:nvPr/>
            </p:nvSpPr>
            <p:spPr>
              <a:xfrm>
                <a:off x="3001611" y="4374726"/>
                <a:ext cx="381488" cy="397321"/>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rial"/>
                    <a:ea typeface="+mn-ea"/>
                    <a:cs typeface="Arial"/>
                    <a:sym typeface="Arial"/>
                    <a:rtl val="0"/>
                  </a:rPr>
                  <a:t>18</a:t>
                </a:r>
              </a:p>
            </p:txBody>
          </p:sp>
          <p:sp>
            <p:nvSpPr>
              <p:cNvPr id="159" name="TextBox 158">
                <a:extLst>
                  <a:ext uri="{FF2B5EF4-FFF2-40B4-BE49-F238E27FC236}">
                    <a16:creationId xmlns:a16="http://schemas.microsoft.com/office/drawing/2014/main" id="{CF1E2CF3-0FB4-62A6-DBAF-E8CA814AC885}"/>
                  </a:ext>
                </a:extLst>
              </p:cNvPr>
              <p:cNvSpPr txBox="1"/>
              <p:nvPr/>
            </p:nvSpPr>
            <p:spPr>
              <a:xfrm>
                <a:off x="3675468" y="4374726"/>
                <a:ext cx="381488" cy="397321"/>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000000"/>
                    </a:solidFill>
                    <a:effectLst/>
                    <a:uLnTx/>
                    <a:uFillTx/>
                    <a:latin typeface="Arial"/>
                    <a:ea typeface="+mn-ea"/>
                    <a:cs typeface="Arial"/>
                    <a:sym typeface="Arial"/>
                    <a:rtl val="0"/>
                  </a:rPr>
                  <a:t>24</a:t>
                </a:r>
              </a:p>
            </p:txBody>
          </p:sp>
          <p:sp>
            <p:nvSpPr>
              <p:cNvPr id="160" name="TextBox 159">
                <a:extLst>
                  <a:ext uri="{FF2B5EF4-FFF2-40B4-BE49-F238E27FC236}">
                    <a16:creationId xmlns:a16="http://schemas.microsoft.com/office/drawing/2014/main" id="{BAD91AED-956B-22DA-7BCB-1B03F5A2EF41}"/>
                  </a:ext>
                </a:extLst>
              </p:cNvPr>
              <p:cNvSpPr txBox="1"/>
              <p:nvPr/>
            </p:nvSpPr>
            <p:spPr>
              <a:xfrm>
                <a:off x="4349196" y="4374726"/>
                <a:ext cx="381488" cy="397321"/>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rial"/>
                    <a:ea typeface="+mn-ea"/>
                    <a:cs typeface="Arial"/>
                    <a:sym typeface="Arial"/>
                    <a:rtl val="0"/>
                  </a:rPr>
                  <a:t>30</a:t>
                </a:r>
              </a:p>
            </p:txBody>
          </p:sp>
          <p:sp>
            <p:nvSpPr>
              <p:cNvPr id="161" name="TextBox 160">
                <a:extLst>
                  <a:ext uri="{FF2B5EF4-FFF2-40B4-BE49-F238E27FC236}">
                    <a16:creationId xmlns:a16="http://schemas.microsoft.com/office/drawing/2014/main" id="{8B82A9A7-BAD2-7B6B-2E6C-CE385585D740}"/>
                  </a:ext>
                </a:extLst>
              </p:cNvPr>
              <p:cNvSpPr txBox="1"/>
              <p:nvPr/>
            </p:nvSpPr>
            <p:spPr>
              <a:xfrm>
                <a:off x="5023050" y="4374726"/>
                <a:ext cx="381488" cy="397321"/>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000000"/>
                    </a:solidFill>
                    <a:effectLst/>
                    <a:uLnTx/>
                    <a:uFillTx/>
                    <a:latin typeface="Arial"/>
                    <a:ea typeface="+mn-ea"/>
                    <a:cs typeface="Arial"/>
                    <a:sym typeface="Arial"/>
                    <a:rtl val="0"/>
                  </a:rPr>
                  <a:t>36</a:t>
                </a:r>
              </a:p>
            </p:txBody>
          </p:sp>
          <p:sp>
            <p:nvSpPr>
              <p:cNvPr id="162" name="TextBox 161">
                <a:extLst>
                  <a:ext uri="{FF2B5EF4-FFF2-40B4-BE49-F238E27FC236}">
                    <a16:creationId xmlns:a16="http://schemas.microsoft.com/office/drawing/2014/main" id="{D825E753-BC5E-9DA7-40AD-6C3C29FD5F30}"/>
                  </a:ext>
                </a:extLst>
              </p:cNvPr>
              <p:cNvSpPr txBox="1"/>
              <p:nvPr/>
            </p:nvSpPr>
            <p:spPr>
              <a:xfrm>
                <a:off x="5696906" y="4374726"/>
                <a:ext cx="381488" cy="397321"/>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rial"/>
                    <a:ea typeface="+mn-ea"/>
                    <a:cs typeface="Arial"/>
                    <a:sym typeface="Arial"/>
                    <a:rtl val="0"/>
                  </a:rPr>
                  <a:t>42</a:t>
                </a:r>
              </a:p>
            </p:txBody>
          </p:sp>
        </p:grpSp>
        <p:sp>
          <p:nvSpPr>
            <p:cNvPr id="55" name="Freeform 5980">
              <a:extLst>
                <a:ext uri="{FF2B5EF4-FFF2-40B4-BE49-F238E27FC236}">
                  <a16:creationId xmlns:a16="http://schemas.microsoft.com/office/drawing/2014/main" id="{972C5F55-5BDE-77A7-52DD-872FA78C254E}"/>
                </a:ext>
              </a:extLst>
            </p:cNvPr>
            <p:cNvSpPr/>
            <p:nvPr/>
          </p:nvSpPr>
          <p:spPr>
            <a:xfrm>
              <a:off x="799015" y="1234375"/>
              <a:ext cx="3067980" cy="1247683"/>
            </a:xfrm>
            <a:custGeom>
              <a:avLst/>
              <a:gdLst>
                <a:gd name="connsiteX0" fmla="*/ 0 w 4716734"/>
                <a:gd name="connsiteY0" fmla="*/ 0 h 2615397"/>
                <a:gd name="connsiteX1" fmla="*/ 0 w 4716734"/>
                <a:gd name="connsiteY1" fmla="*/ 2615398 h 2615397"/>
                <a:gd name="connsiteX2" fmla="*/ 4716735 w 4716734"/>
                <a:gd name="connsiteY2" fmla="*/ 2615398 h 2615397"/>
              </a:gdLst>
              <a:ahLst/>
              <a:cxnLst>
                <a:cxn ang="0">
                  <a:pos x="connsiteX0" y="connsiteY0"/>
                </a:cxn>
                <a:cxn ang="0">
                  <a:pos x="connsiteX1" y="connsiteY1"/>
                </a:cxn>
                <a:cxn ang="0">
                  <a:pos x="connsiteX2" y="connsiteY2"/>
                </a:cxn>
              </a:cxnLst>
              <a:rect l="l" t="t" r="r" b="b"/>
              <a:pathLst>
                <a:path w="4716734" h="2615397">
                  <a:moveTo>
                    <a:pt x="0" y="0"/>
                  </a:moveTo>
                  <a:lnTo>
                    <a:pt x="0" y="2615398"/>
                  </a:lnTo>
                  <a:lnTo>
                    <a:pt x="4716735" y="2615398"/>
                  </a:lnTo>
                </a:path>
              </a:pathLst>
            </a:custGeom>
            <a:noFill/>
            <a:ln w="19045" cap="sq">
              <a:solidFill>
                <a:srgbClr val="00000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56" name="Graphic 953">
              <a:extLst>
                <a:ext uri="{FF2B5EF4-FFF2-40B4-BE49-F238E27FC236}">
                  <a16:creationId xmlns:a16="http://schemas.microsoft.com/office/drawing/2014/main" id="{5A44B997-E9CD-30B0-2F6C-D43BFF9FABFD}"/>
                </a:ext>
              </a:extLst>
            </p:cNvPr>
            <p:cNvGrpSpPr/>
            <p:nvPr/>
          </p:nvGrpSpPr>
          <p:grpSpPr>
            <a:xfrm>
              <a:off x="799015" y="2482059"/>
              <a:ext cx="3067980" cy="25935"/>
              <a:chOff x="1169788" y="4356341"/>
              <a:chExt cx="4716734" cy="54365"/>
            </a:xfrm>
          </p:grpSpPr>
          <p:sp>
            <p:nvSpPr>
              <p:cNvPr id="93" name="Freeform 6003">
                <a:extLst>
                  <a:ext uri="{FF2B5EF4-FFF2-40B4-BE49-F238E27FC236}">
                    <a16:creationId xmlns:a16="http://schemas.microsoft.com/office/drawing/2014/main" id="{9B72888D-E38D-9A4A-EBF2-79D35950D79B}"/>
                  </a:ext>
                </a:extLst>
              </p:cNvPr>
              <p:cNvSpPr/>
              <p:nvPr/>
            </p:nvSpPr>
            <p:spPr>
              <a:xfrm>
                <a:off x="1169788" y="4356341"/>
                <a:ext cx="12702" cy="54365"/>
              </a:xfrm>
              <a:custGeom>
                <a:avLst/>
                <a:gdLst>
                  <a:gd name="connsiteX0" fmla="*/ 0 w 12702"/>
                  <a:gd name="connsiteY0" fmla="*/ 0 h 54365"/>
                  <a:gd name="connsiteX1" fmla="*/ 0 w 12702"/>
                  <a:gd name="connsiteY1" fmla="*/ 54366 h 54365"/>
                </a:gdLst>
                <a:ahLst/>
                <a:cxnLst>
                  <a:cxn ang="0">
                    <a:pos x="connsiteX0" y="connsiteY0"/>
                  </a:cxn>
                  <a:cxn ang="0">
                    <a:pos x="connsiteX1" y="connsiteY1"/>
                  </a:cxn>
                </a:cxnLst>
                <a:rect l="l" t="t" r="r" b="b"/>
                <a:pathLst>
                  <a:path w="12702" h="54365">
                    <a:moveTo>
                      <a:pt x="0" y="0"/>
                    </a:moveTo>
                    <a:lnTo>
                      <a:pt x="0" y="54366"/>
                    </a:lnTo>
                  </a:path>
                </a:pathLst>
              </a:custGeom>
              <a:ln w="19045" cap="flat">
                <a:solidFill>
                  <a:srgbClr val="00000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 name="Freeform 6004">
                <a:extLst>
                  <a:ext uri="{FF2B5EF4-FFF2-40B4-BE49-F238E27FC236}">
                    <a16:creationId xmlns:a16="http://schemas.microsoft.com/office/drawing/2014/main" id="{48C32D22-4610-772D-BF42-AB16B91AC50F}"/>
                  </a:ext>
                </a:extLst>
              </p:cNvPr>
              <p:cNvSpPr/>
              <p:nvPr/>
            </p:nvSpPr>
            <p:spPr>
              <a:xfrm>
                <a:off x="1843643" y="4356341"/>
                <a:ext cx="12702" cy="54365"/>
              </a:xfrm>
              <a:custGeom>
                <a:avLst/>
                <a:gdLst>
                  <a:gd name="connsiteX0" fmla="*/ 0 w 12702"/>
                  <a:gd name="connsiteY0" fmla="*/ 0 h 54365"/>
                  <a:gd name="connsiteX1" fmla="*/ 0 w 12702"/>
                  <a:gd name="connsiteY1" fmla="*/ 54366 h 54365"/>
                </a:gdLst>
                <a:ahLst/>
                <a:cxnLst>
                  <a:cxn ang="0">
                    <a:pos x="connsiteX0" y="connsiteY0"/>
                  </a:cxn>
                  <a:cxn ang="0">
                    <a:pos x="connsiteX1" y="connsiteY1"/>
                  </a:cxn>
                </a:cxnLst>
                <a:rect l="l" t="t" r="r" b="b"/>
                <a:pathLst>
                  <a:path w="12702" h="54365">
                    <a:moveTo>
                      <a:pt x="0" y="0"/>
                    </a:moveTo>
                    <a:lnTo>
                      <a:pt x="0" y="54366"/>
                    </a:lnTo>
                  </a:path>
                </a:pathLst>
              </a:custGeom>
              <a:ln w="19045" cap="flat">
                <a:solidFill>
                  <a:srgbClr val="00000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 name="Freeform 6005">
                <a:extLst>
                  <a:ext uri="{FF2B5EF4-FFF2-40B4-BE49-F238E27FC236}">
                    <a16:creationId xmlns:a16="http://schemas.microsoft.com/office/drawing/2014/main" id="{536D7B70-E7D9-F853-AAC9-111C7525777D}"/>
                  </a:ext>
                </a:extLst>
              </p:cNvPr>
              <p:cNvSpPr/>
              <p:nvPr/>
            </p:nvSpPr>
            <p:spPr>
              <a:xfrm>
                <a:off x="2517499" y="4356341"/>
                <a:ext cx="12702" cy="54365"/>
              </a:xfrm>
              <a:custGeom>
                <a:avLst/>
                <a:gdLst>
                  <a:gd name="connsiteX0" fmla="*/ 0 w 12702"/>
                  <a:gd name="connsiteY0" fmla="*/ 0 h 54365"/>
                  <a:gd name="connsiteX1" fmla="*/ 0 w 12702"/>
                  <a:gd name="connsiteY1" fmla="*/ 54366 h 54365"/>
                </a:gdLst>
                <a:ahLst/>
                <a:cxnLst>
                  <a:cxn ang="0">
                    <a:pos x="connsiteX0" y="connsiteY0"/>
                  </a:cxn>
                  <a:cxn ang="0">
                    <a:pos x="connsiteX1" y="connsiteY1"/>
                  </a:cxn>
                </a:cxnLst>
                <a:rect l="l" t="t" r="r" b="b"/>
                <a:pathLst>
                  <a:path w="12702" h="54365">
                    <a:moveTo>
                      <a:pt x="0" y="0"/>
                    </a:moveTo>
                    <a:lnTo>
                      <a:pt x="0" y="54366"/>
                    </a:lnTo>
                  </a:path>
                </a:pathLst>
              </a:custGeom>
              <a:ln w="19045" cap="flat">
                <a:solidFill>
                  <a:srgbClr val="00000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 name="Freeform 6006">
                <a:extLst>
                  <a:ext uri="{FF2B5EF4-FFF2-40B4-BE49-F238E27FC236}">
                    <a16:creationId xmlns:a16="http://schemas.microsoft.com/office/drawing/2014/main" id="{B594D98B-A90B-AC47-13F0-ED4051AE2825}"/>
                  </a:ext>
                </a:extLst>
              </p:cNvPr>
              <p:cNvSpPr/>
              <p:nvPr/>
            </p:nvSpPr>
            <p:spPr>
              <a:xfrm>
                <a:off x="3191228" y="4356341"/>
                <a:ext cx="12702" cy="54365"/>
              </a:xfrm>
              <a:custGeom>
                <a:avLst/>
                <a:gdLst>
                  <a:gd name="connsiteX0" fmla="*/ 0 w 12702"/>
                  <a:gd name="connsiteY0" fmla="*/ 0 h 54365"/>
                  <a:gd name="connsiteX1" fmla="*/ 0 w 12702"/>
                  <a:gd name="connsiteY1" fmla="*/ 54366 h 54365"/>
                </a:gdLst>
                <a:ahLst/>
                <a:cxnLst>
                  <a:cxn ang="0">
                    <a:pos x="connsiteX0" y="connsiteY0"/>
                  </a:cxn>
                  <a:cxn ang="0">
                    <a:pos x="connsiteX1" y="connsiteY1"/>
                  </a:cxn>
                </a:cxnLst>
                <a:rect l="l" t="t" r="r" b="b"/>
                <a:pathLst>
                  <a:path w="12702" h="54365">
                    <a:moveTo>
                      <a:pt x="0" y="0"/>
                    </a:moveTo>
                    <a:lnTo>
                      <a:pt x="0" y="54366"/>
                    </a:lnTo>
                  </a:path>
                </a:pathLst>
              </a:custGeom>
              <a:ln w="19045" cap="flat">
                <a:solidFill>
                  <a:srgbClr val="00000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 name="Freeform 6007">
                <a:extLst>
                  <a:ext uri="{FF2B5EF4-FFF2-40B4-BE49-F238E27FC236}">
                    <a16:creationId xmlns:a16="http://schemas.microsoft.com/office/drawing/2014/main" id="{6AABFFFB-250D-A39B-1997-7208E9109168}"/>
                  </a:ext>
                </a:extLst>
              </p:cNvPr>
              <p:cNvSpPr/>
              <p:nvPr/>
            </p:nvSpPr>
            <p:spPr>
              <a:xfrm>
                <a:off x="3865083" y="4356341"/>
                <a:ext cx="12702" cy="54365"/>
              </a:xfrm>
              <a:custGeom>
                <a:avLst/>
                <a:gdLst>
                  <a:gd name="connsiteX0" fmla="*/ 0 w 12702"/>
                  <a:gd name="connsiteY0" fmla="*/ 0 h 54365"/>
                  <a:gd name="connsiteX1" fmla="*/ 0 w 12702"/>
                  <a:gd name="connsiteY1" fmla="*/ 54366 h 54365"/>
                </a:gdLst>
                <a:ahLst/>
                <a:cxnLst>
                  <a:cxn ang="0">
                    <a:pos x="connsiteX0" y="connsiteY0"/>
                  </a:cxn>
                  <a:cxn ang="0">
                    <a:pos x="connsiteX1" y="connsiteY1"/>
                  </a:cxn>
                </a:cxnLst>
                <a:rect l="l" t="t" r="r" b="b"/>
                <a:pathLst>
                  <a:path w="12702" h="54365">
                    <a:moveTo>
                      <a:pt x="0" y="0"/>
                    </a:moveTo>
                    <a:lnTo>
                      <a:pt x="0" y="54366"/>
                    </a:lnTo>
                  </a:path>
                </a:pathLst>
              </a:custGeom>
              <a:ln w="19045" cap="flat">
                <a:solidFill>
                  <a:srgbClr val="00000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 name="Freeform 6008">
                <a:extLst>
                  <a:ext uri="{FF2B5EF4-FFF2-40B4-BE49-F238E27FC236}">
                    <a16:creationId xmlns:a16="http://schemas.microsoft.com/office/drawing/2014/main" id="{CB162102-ED3D-7DBC-636B-1F948CAEBEAD}"/>
                  </a:ext>
                </a:extLst>
              </p:cNvPr>
              <p:cNvSpPr/>
              <p:nvPr/>
            </p:nvSpPr>
            <p:spPr>
              <a:xfrm>
                <a:off x="4538939" y="4356341"/>
                <a:ext cx="12702" cy="54365"/>
              </a:xfrm>
              <a:custGeom>
                <a:avLst/>
                <a:gdLst>
                  <a:gd name="connsiteX0" fmla="*/ 0 w 12702"/>
                  <a:gd name="connsiteY0" fmla="*/ 0 h 54365"/>
                  <a:gd name="connsiteX1" fmla="*/ 0 w 12702"/>
                  <a:gd name="connsiteY1" fmla="*/ 54366 h 54365"/>
                </a:gdLst>
                <a:ahLst/>
                <a:cxnLst>
                  <a:cxn ang="0">
                    <a:pos x="connsiteX0" y="connsiteY0"/>
                  </a:cxn>
                  <a:cxn ang="0">
                    <a:pos x="connsiteX1" y="connsiteY1"/>
                  </a:cxn>
                </a:cxnLst>
                <a:rect l="l" t="t" r="r" b="b"/>
                <a:pathLst>
                  <a:path w="12702" h="54365">
                    <a:moveTo>
                      <a:pt x="0" y="0"/>
                    </a:moveTo>
                    <a:lnTo>
                      <a:pt x="0" y="54366"/>
                    </a:lnTo>
                  </a:path>
                </a:pathLst>
              </a:custGeom>
              <a:ln w="19045" cap="flat">
                <a:solidFill>
                  <a:srgbClr val="00000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 name="Freeform 6009">
                <a:extLst>
                  <a:ext uri="{FF2B5EF4-FFF2-40B4-BE49-F238E27FC236}">
                    <a16:creationId xmlns:a16="http://schemas.microsoft.com/office/drawing/2014/main" id="{E87B8F1F-A329-E148-D8DC-718FB38D33C8}"/>
                  </a:ext>
                </a:extLst>
              </p:cNvPr>
              <p:cNvSpPr/>
              <p:nvPr/>
            </p:nvSpPr>
            <p:spPr>
              <a:xfrm>
                <a:off x="5212794" y="4356341"/>
                <a:ext cx="12702" cy="54365"/>
              </a:xfrm>
              <a:custGeom>
                <a:avLst/>
                <a:gdLst>
                  <a:gd name="connsiteX0" fmla="*/ 0 w 12702"/>
                  <a:gd name="connsiteY0" fmla="*/ 0 h 54365"/>
                  <a:gd name="connsiteX1" fmla="*/ 0 w 12702"/>
                  <a:gd name="connsiteY1" fmla="*/ 54366 h 54365"/>
                </a:gdLst>
                <a:ahLst/>
                <a:cxnLst>
                  <a:cxn ang="0">
                    <a:pos x="connsiteX0" y="connsiteY0"/>
                  </a:cxn>
                  <a:cxn ang="0">
                    <a:pos x="connsiteX1" y="connsiteY1"/>
                  </a:cxn>
                </a:cxnLst>
                <a:rect l="l" t="t" r="r" b="b"/>
                <a:pathLst>
                  <a:path w="12702" h="54365">
                    <a:moveTo>
                      <a:pt x="0" y="0"/>
                    </a:moveTo>
                    <a:lnTo>
                      <a:pt x="0" y="54366"/>
                    </a:lnTo>
                  </a:path>
                </a:pathLst>
              </a:custGeom>
              <a:ln w="19045" cap="flat">
                <a:solidFill>
                  <a:srgbClr val="00000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 name="Freeform 6010">
                <a:extLst>
                  <a:ext uri="{FF2B5EF4-FFF2-40B4-BE49-F238E27FC236}">
                    <a16:creationId xmlns:a16="http://schemas.microsoft.com/office/drawing/2014/main" id="{4C4E7162-6C1A-1B78-4A04-5A85CC6D686D}"/>
                  </a:ext>
                </a:extLst>
              </p:cNvPr>
              <p:cNvSpPr/>
              <p:nvPr/>
            </p:nvSpPr>
            <p:spPr>
              <a:xfrm>
                <a:off x="5886523" y="4356341"/>
                <a:ext cx="12702" cy="54365"/>
              </a:xfrm>
              <a:custGeom>
                <a:avLst/>
                <a:gdLst>
                  <a:gd name="connsiteX0" fmla="*/ 0 w 12702"/>
                  <a:gd name="connsiteY0" fmla="*/ 0 h 54365"/>
                  <a:gd name="connsiteX1" fmla="*/ 0 w 12702"/>
                  <a:gd name="connsiteY1" fmla="*/ 54366 h 54365"/>
                </a:gdLst>
                <a:ahLst/>
                <a:cxnLst>
                  <a:cxn ang="0">
                    <a:pos x="connsiteX0" y="connsiteY0"/>
                  </a:cxn>
                  <a:cxn ang="0">
                    <a:pos x="connsiteX1" y="connsiteY1"/>
                  </a:cxn>
                </a:cxnLst>
                <a:rect l="l" t="t" r="r" b="b"/>
                <a:pathLst>
                  <a:path w="12702" h="54365">
                    <a:moveTo>
                      <a:pt x="0" y="0"/>
                    </a:moveTo>
                    <a:lnTo>
                      <a:pt x="0" y="54366"/>
                    </a:lnTo>
                  </a:path>
                </a:pathLst>
              </a:custGeom>
              <a:ln w="19045" cap="flat">
                <a:solidFill>
                  <a:srgbClr val="00000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7" name="Graphic 953">
              <a:extLst>
                <a:ext uri="{FF2B5EF4-FFF2-40B4-BE49-F238E27FC236}">
                  <a16:creationId xmlns:a16="http://schemas.microsoft.com/office/drawing/2014/main" id="{5F938953-5F95-C96D-5ED4-F4310A8C4D29}"/>
                </a:ext>
              </a:extLst>
            </p:cNvPr>
            <p:cNvGrpSpPr/>
            <p:nvPr/>
          </p:nvGrpSpPr>
          <p:grpSpPr>
            <a:xfrm>
              <a:off x="759770" y="1234375"/>
              <a:ext cx="39245" cy="1246956"/>
              <a:chOff x="1109452" y="1740943"/>
              <a:chExt cx="60335" cy="2613873"/>
            </a:xfrm>
          </p:grpSpPr>
          <p:sp>
            <p:nvSpPr>
              <p:cNvPr id="87" name="Freeform 5997">
                <a:extLst>
                  <a:ext uri="{FF2B5EF4-FFF2-40B4-BE49-F238E27FC236}">
                    <a16:creationId xmlns:a16="http://schemas.microsoft.com/office/drawing/2014/main" id="{E41E0474-6C2E-AABE-F2C0-FD0147CD7FF6}"/>
                  </a:ext>
                </a:extLst>
              </p:cNvPr>
              <p:cNvSpPr/>
              <p:nvPr/>
            </p:nvSpPr>
            <p:spPr>
              <a:xfrm>
                <a:off x="1109452" y="4354817"/>
                <a:ext cx="60335" cy="12702"/>
              </a:xfrm>
              <a:custGeom>
                <a:avLst/>
                <a:gdLst>
                  <a:gd name="connsiteX0" fmla="*/ 60336 w 60335"/>
                  <a:gd name="connsiteY0" fmla="*/ 0 h 12702"/>
                  <a:gd name="connsiteX1" fmla="*/ 0 w 60335"/>
                  <a:gd name="connsiteY1" fmla="*/ 0 h 12702"/>
                </a:gdLst>
                <a:ahLst/>
                <a:cxnLst>
                  <a:cxn ang="0">
                    <a:pos x="connsiteX0" y="connsiteY0"/>
                  </a:cxn>
                  <a:cxn ang="0">
                    <a:pos x="connsiteX1" y="connsiteY1"/>
                  </a:cxn>
                </a:cxnLst>
                <a:rect l="l" t="t" r="r" b="b"/>
                <a:pathLst>
                  <a:path w="60335" h="12702">
                    <a:moveTo>
                      <a:pt x="60336" y="0"/>
                    </a:moveTo>
                    <a:lnTo>
                      <a:pt x="0" y="0"/>
                    </a:lnTo>
                  </a:path>
                </a:pathLst>
              </a:custGeom>
              <a:ln w="19045" cap="flat">
                <a:solidFill>
                  <a:srgbClr val="00000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 name="Freeform 5998">
                <a:extLst>
                  <a:ext uri="{FF2B5EF4-FFF2-40B4-BE49-F238E27FC236}">
                    <a16:creationId xmlns:a16="http://schemas.microsoft.com/office/drawing/2014/main" id="{0ACA1E17-9372-D2C0-20A9-9D5D406E96E0}"/>
                  </a:ext>
                </a:extLst>
              </p:cNvPr>
              <p:cNvSpPr/>
              <p:nvPr/>
            </p:nvSpPr>
            <p:spPr>
              <a:xfrm>
                <a:off x="1109452" y="3831991"/>
                <a:ext cx="60335" cy="12702"/>
              </a:xfrm>
              <a:custGeom>
                <a:avLst/>
                <a:gdLst>
                  <a:gd name="connsiteX0" fmla="*/ 60336 w 60335"/>
                  <a:gd name="connsiteY0" fmla="*/ 0 h 12702"/>
                  <a:gd name="connsiteX1" fmla="*/ 0 w 60335"/>
                  <a:gd name="connsiteY1" fmla="*/ 0 h 12702"/>
                </a:gdLst>
                <a:ahLst/>
                <a:cxnLst>
                  <a:cxn ang="0">
                    <a:pos x="connsiteX0" y="connsiteY0"/>
                  </a:cxn>
                  <a:cxn ang="0">
                    <a:pos x="connsiteX1" y="connsiteY1"/>
                  </a:cxn>
                </a:cxnLst>
                <a:rect l="l" t="t" r="r" b="b"/>
                <a:pathLst>
                  <a:path w="60335" h="12702">
                    <a:moveTo>
                      <a:pt x="60336" y="0"/>
                    </a:moveTo>
                    <a:lnTo>
                      <a:pt x="0" y="0"/>
                    </a:lnTo>
                  </a:path>
                </a:pathLst>
              </a:custGeom>
              <a:ln w="19045" cap="flat">
                <a:solidFill>
                  <a:srgbClr val="00000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 name="Freeform 5999">
                <a:extLst>
                  <a:ext uri="{FF2B5EF4-FFF2-40B4-BE49-F238E27FC236}">
                    <a16:creationId xmlns:a16="http://schemas.microsoft.com/office/drawing/2014/main" id="{2C1385CC-88B5-CB1B-665B-4011829F6D22}"/>
                  </a:ext>
                </a:extLst>
              </p:cNvPr>
              <p:cNvSpPr/>
              <p:nvPr/>
            </p:nvSpPr>
            <p:spPr>
              <a:xfrm>
                <a:off x="1109452" y="3309293"/>
                <a:ext cx="60335" cy="12702"/>
              </a:xfrm>
              <a:custGeom>
                <a:avLst/>
                <a:gdLst>
                  <a:gd name="connsiteX0" fmla="*/ 60336 w 60335"/>
                  <a:gd name="connsiteY0" fmla="*/ 0 h 12702"/>
                  <a:gd name="connsiteX1" fmla="*/ 0 w 60335"/>
                  <a:gd name="connsiteY1" fmla="*/ 0 h 12702"/>
                </a:gdLst>
                <a:ahLst/>
                <a:cxnLst>
                  <a:cxn ang="0">
                    <a:pos x="connsiteX0" y="connsiteY0"/>
                  </a:cxn>
                  <a:cxn ang="0">
                    <a:pos x="connsiteX1" y="connsiteY1"/>
                  </a:cxn>
                </a:cxnLst>
                <a:rect l="l" t="t" r="r" b="b"/>
                <a:pathLst>
                  <a:path w="60335" h="12702">
                    <a:moveTo>
                      <a:pt x="60336" y="0"/>
                    </a:moveTo>
                    <a:lnTo>
                      <a:pt x="0" y="0"/>
                    </a:lnTo>
                  </a:path>
                </a:pathLst>
              </a:custGeom>
              <a:ln w="19045" cap="flat">
                <a:solidFill>
                  <a:srgbClr val="00000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 name="Freeform 6000">
                <a:extLst>
                  <a:ext uri="{FF2B5EF4-FFF2-40B4-BE49-F238E27FC236}">
                    <a16:creationId xmlns:a16="http://schemas.microsoft.com/office/drawing/2014/main" id="{CC22D9C2-D1EB-A657-4CBA-3EBE412E36F5}"/>
                  </a:ext>
                </a:extLst>
              </p:cNvPr>
              <p:cNvSpPr/>
              <p:nvPr/>
            </p:nvSpPr>
            <p:spPr>
              <a:xfrm>
                <a:off x="1109452" y="2786467"/>
                <a:ext cx="60335" cy="12702"/>
              </a:xfrm>
              <a:custGeom>
                <a:avLst/>
                <a:gdLst>
                  <a:gd name="connsiteX0" fmla="*/ 60336 w 60335"/>
                  <a:gd name="connsiteY0" fmla="*/ 0 h 12702"/>
                  <a:gd name="connsiteX1" fmla="*/ 0 w 60335"/>
                  <a:gd name="connsiteY1" fmla="*/ 0 h 12702"/>
                </a:gdLst>
                <a:ahLst/>
                <a:cxnLst>
                  <a:cxn ang="0">
                    <a:pos x="connsiteX0" y="connsiteY0"/>
                  </a:cxn>
                  <a:cxn ang="0">
                    <a:pos x="connsiteX1" y="connsiteY1"/>
                  </a:cxn>
                </a:cxnLst>
                <a:rect l="l" t="t" r="r" b="b"/>
                <a:pathLst>
                  <a:path w="60335" h="12702">
                    <a:moveTo>
                      <a:pt x="60336" y="0"/>
                    </a:moveTo>
                    <a:lnTo>
                      <a:pt x="0" y="0"/>
                    </a:lnTo>
                  </a:path>
                </a:pathLst>
              </a:custGeom>
              <a:ln w="19045" cap="flat">
                <a:solidFill>
                  <a:srgbClr val="00000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 name="Freeform 6001">
                <a:extLst>
                  <a:ext uri="{FF2B5EF4-FFF2-40B4-BE49-F238E27FC236}">
                    <a16:creationId xmlns:a16="http://schemas.microsoft.com/office/drawing/2014/main" id="{73D01C90-1834-D9CF-7550-6625F8E10134}"/>
                  </a:ext>
                </a:extLst>
              </p:cNvPr>
              <p:cNvSpPr/>
              <p:nvPr/>
            </p:nvSpPr>
            <p:spPr>
              <a:xfrm>
                <a:off x="1109452" y="2263768"/>
                <a:ext cx="60335" cy="12702"/>
              </a:xfrm>
              <a:custGeom>
                <a:avLst/>
                <a:gdLst>
                  <a:gd name="connsiteX0" fmla="*/ 60336 w 60335"/>
                  <a:gd name="connsiteY0" fmla="*/ 0 h 12702"/>
                  <a:gd name="connsiteX1" fmla="*/ 0 w 60335"/>
                  <a:gd name="connsiteY1" fmla="*/ 0 h 12702"/>
                </a:gdLst>
                <a:ahLst/>
                <a:cxnLst>
                  <a:cxn ang="0">
                    <a:pos x="connsiteX0" y="connsiteY0"/>
                  </a:cxn>
                  <a:cxn ang="0">
                    <a:pos x="connsiteX1" y="connsiteY1"/>
                  </a:cxn>
                </a:cxnLst>
                <a:rect l="l" t="t" r="r" b="b"/>
                <a:pathLst>
                  <a:path w="60335" h="12702">
                    <a:moveTo>
                      <a:pt x="60336" y="0"/>
                    </a:moveTo>
                    <a:lnTo>
                      <a:pt x="0" y="0"/>
                    </a:lnTo>
                  </a:path>
                </a:pathLst>
              </a:custGeom>
              <a:ln w="19045" cap="flat">
                <a:solidFill>
                  <a:srgbClr val="00000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 name="Freeform 6002">
                <a:extLst>
                  <a:ext uri="{FF2B5EF4-FFF2-40B4-BE49-F238E27FC236}">
                    <a16:creationId xmlns:a16="http://schemas.microsoft.com/office/drawing/2014/main" id="{4F08DD1F-2B2D-BCDC-94FE-FEDA81BB81DA}"/>
                  </a:ext>
                </a:extLst>
              </p:cNvPr>
              <p:cNvSpPr/>
              <p:nvPr/>
            </p:nvSpPr>
            <p:spPr>
              <a:xfrm>
                <a:off x="1109452" y="1740943"/>
                <a:ext cx="60335" cy="12702"/>
              </a:xfrm>
              <a:custGeom>
                <a:avLst/>
                <a:gdLst>
                  <a:gd name="connsiteX0" fmla="*/ 60336 w 60335"/>
                  <a:gd name="connsiteY0" fmla="*/ 0 h 12702"/>
                  <a:gd name="connsiteX1" fmla="*/ 0 w 60335"/>
                  <a:gd name="connsiteY1" fmla="*/ 0 h 12702"/>
                </a:gdLst>
                <a:ahLst/>
                <a:cxnLst>
                  <a:cxn ang="0">
                    <a:pos x="connsiteX0" y="connsiteY0"/>
                  </a:cxn>
                  <a:cxn ang="0">
                    <a:pos x="connsiteX1" y="connsiteY1"/>
                  </a:cxn>
                </a:cxnLst>
                <a:rect l="l" t="t" r="r" b="b"/>
                <a:pathLst>
                  <a:path w="60335" h="12702">
                    <a:moveTo>
                      <a:pt x="60336" y="0"/>
                    </a:moveTo>
                    <a:lnTo>
                      <a:pt x="0" y="0"/>
                    </a:lnTo>
                  </a:path>
                </a:pathLst>
              </a:custGeom>
              <a:ln w="19045" cap="flat">
                <a:solidFill>
                  <a:srgbClr val="00000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nvGrpSpPr>
          <p:cNvPr id="446" name="Group 445">
            <a:extLst>
              <a:ext uri="{FF2B5EF4-FFF2-40B4-BE49-F238E27FC236}">
                <a16:creationId xmlns:a16="http://schemas.microsoft.com/office/drawing/2014/main" id="{5D793114-81F2-518A-9831-BF8B9A2DF862}"/>
              </a:ext>
            </a:extLst>
          </p:cNvPr>
          <p:cNvGrpSpPr/>
          <p:nvPr/>
        </p:nvGrpSpPr>
        <p:grpSpPr>
          <a:xfrm>
            <a:off x="6195423" y="1283098"/>
            <a:ext cx="5229870" cy="2478763"/>
            <a:chOff x="4084133" y="1123548"/>
            <a:chExt cx="3583299" cy="1688730"/>
          </a:xfrm>
        </p:grpSpPr>
        <p:sp>
          <p:nvSpPr>
            <p:cNvPr id="5" name="Freeform 5937">
              <a:extLst>
                <a:ext uri="{FF2B5EF4-FFF2-40B4-BE49-F238E27FC236}">
                  <a16:creationId xmlns:a16="http://schemas.microsoft.com/office/drawing/2014/main" id="{0879A072-E655-B291-B58F-743C24E67032}"/>
                </a:ext>
              </a:extLst>
            </p:cNvPr>
            <p:cNvSpPr/>
            <p:nvPr/>
          </p:nvSpPr>
          <p:spPr>
            <a:xfrm>
              <a:off x="4477329" y="1234375"/>
              <a:ext cx="3067980" cy="1247683"/>
            </a:xfrm>
            <a:custGeom>
              <a:avLst/>
              <a:gdLst>
                <a:gd name="connsiteX0" fmla="*/ 0 w 4716734"/>
                <a:gd name="connsiteY0" fmla="*/ 0 h 2615397"/>
                <a:gd name="connsiteX1" fmla="*/ 0 w 4716734"/>
                <a:gd name="connsiteY1" fmla="*/ 2615398 h 2615397"/>
                <a:gd name="connsiteX2" fmla="*/ 4716735 w 4716734"/>
                <a:gd name="connsiteY2" fmla="*/ 2615398 h 2615397"/>
              </a:gdLst>
              <a:ahLst/>
              <a:cxnLst>
                <a:cxn ang="0">
                  <a:pos x="connsiteX0" y="connsiteY0"/>
                </a:cxn>
                <a:cxn ang="0">
                  <a:pos x="connsiteX1" y="connsiteY1"/>
                </a:cxn>
                <a:cxn ang="0">
                  <a:pos x="connsiteX2" y="connsiteY2"/>
                </a:cxn>
              </a:cxnLst>
              <a:rect l="l" t="t" r="r" b="b"/>
              <a:pathLst>
                <a:path w="4716734" h="2615397">
                  <a:moveTo>
                    <a:pt x="0" y="0"/>
                  </a:moveTo>
                  <a:lnTo>
                    <a:pt x="0" y="2615398"/>
                  </a:lnTo>
                  <a:lnTo>
                    <a:pt x="4716735" y="2615398"/>
                  </a:lnTo>
                </a:path>
              </a:pathLst>
            </a:custGeom>
            <a:noFill/>
            <a:ln w="19045" cap="sq">
              <a:solidFill>
                <a:srgbClr val="00000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 name="Freeform 5939">
              <a:extLst>
                <a:ext uri="{FF2B5EF4-FFF2-40B4-BE49-F238E27FC236}">
                  <a16:creationId xmlns:a16="http://schemas.microsoft.com/office/drawing/2014/main" id="{61CF6A5F-2D18-EE3A-D478-6897691B5563}"/>
                </a:ext>
              </a:extLst>
            </p:cNvPr>
            <p:cNvSpPr/>
            <p:nvPr/>
          </p:nvSpPr>
          <p:spPr>
            <a:xfrm>
              <a:off x="4479643" y="1233345"/>
              <a:ext cx="1003437" cy="1248714"/>
            </a:xfrm>
            <a:custGeom>
              <a:avLst/>
              <a:gdLst>
                <a:gd name="connsiteX0" fmla="*/ 0 w 1542691"/>
                <a:gd name="connsiteY0" fmla="*/ 2159 h 2617557"/>
                <a:gd name="connsiteX1" fmla="*/ 1542691 w 1542691"/>
                <a:gd name="connsiteY1" fmla="*/ 0 h 2617557"/>
                <a:gd name="connsiteX2" fmla="*/ 1542691 w 1542691"/>
                <a:gd name="connsiteY2" fmla="*/ 2617557 h 2617557"/>
              </a:gdLst>
              <a:ahLst/>
              <a:cxnLst>
                <a:cxn ang="0">
                  <a:pos x="connsiteX0" y="connsiteY0"/>
                </a:cxn>
                <a:cxn ang="0">
                  <a:pos x="connsiteX1" y="connsiteY1"/>
                </a:cxn>
                <a:cxn ang="0">
                  <a:pos x="connsiteX2" y="connsiteY2"/>
                </a:cxn>
              </a:cxnLst>
              <a:rect l="l" t="t" r="r" b="b"/>
              <a:pathLst>
                <a:path w="1542691" h="2617557">
                  <a:moveTo>
                    <a:pt x="0" y="2159"/>
                  </a:moveTo>
                  <a:lnTo>
                    <a:pt x="1542691" y="0"/>
                  </a:lnTo>
                  <a:lnTo>
                    <a:pt x="1542691" y="2617557"/>
                  </a:lnTo>
                </a:path>
              </a:pathLst>
            </a:custGeom>
            <a:noFill/>
            <a:ln w="19045" cap="flat">
              <a:solidFill>
                <a:srgbClr val="BC36F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1" name="Graphic 953">
              <a:extLst>
                <a:ext uri="{FF2B5EF4-FFF2-40B4-BE49-F238E27FC236}">
                  <a16:creationId xmlns:a16="http://schemas.microsoft.com/office/drawing/2014/main" id="{BC8BE944-6787-5175-1868-EBC3FBC194E8}"/>
                </a:ext>
              </a:extLst>
            </p:cNvPr>
            <p:cNvGrpSpPr/>
            <p:nvPr/>
          </p:nvGrpSpPr>
          <p:grpSpPr>
            <a:xfrm>
              <a:off x="4457666" y="1213651"/>
              <a:ext cx="47425" cy="41448"/>
              <a:chOff x="6857104" y="1697501"/>
              <a:chExt cx="72911" cy="86883"/>
            </a:xfrm>
          </p:grpSpPr>
          <p:sp>
            <p:nvSpPr>
              <p:cNvPr id="432" name="Freeform 6344">
                <a:extLst>
                  <a:ext uri="{FF2B5EF4-FFF2-40B4-BE49-F238E27FC236}">
                    <a16:creationId xmlns:a16="http://schemas.microsoft.com/office/drawing/2014/main" id="{0FC3584C-BB16-C0C0-4365-3908B5A831F7}"/>
                  </a:ext>
                </a:extLst>
              </p:cNvPr>
              <p:cNvSpPr/>
              <p:nvPr/>
            </p:nvSpPr>
            <p:spPr>
              <a:xfrm>
                <a:off x="6893559" y="1697501"/>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BC36F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 name="Freeform 6345">
                <a:extLst>
                  <a:ext uri="{FF2B5EF4-FFF2-40B4-BE49-F238E27FC236}">
                    <a16:creationId xmlns:a16="http://schemas.microsoft.com/office/drawing/2014/main" id="{EA29F1B1-106E-F88D-EA29-73987A7D76A7}"/>
                  </a:ext>
                </a:extLst>
              </p:cNvPr>
              <p:cNvSpPr/>
              <p:nvPr/>
            </p:nvSpPr>
            <p:spPr>
              <a:xfrm>
                <a:off x="6857104" y="1740943"/>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BC36F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4" name="Freeform 5943">
              <a:extLst>
                <a:ext uri="{FF2B5EF4-FFF2-40B4-BE49-F238E27FC236}">
                  <a16:creationId xmlns:a16="http://schemas.microsoft.com/office/drawing/2014/main" id="{0E6C7BFD-5FBF-0503-84B8-4346177F390C}"/>
                </a:ext>
              </a:extLst>
            </p:cNvPr>
            <p:cNvSpPr/>
            <p:nvPr/>
          </p:nvSpPr>
          <p:spPr>
            <a:xfrm>
              <a:off x="4476669" y="1234375"/>
              <a:ext cx="363451" cy="1244957"/>
            </a:xfrm>
            <a:custGeom>
              <a:avLst/>
              <a:gdLst>
                <a:gd name="connsiteX0" fmla="*/ 558773 w 558772"/>
                <a:gd name="connsiteY0" fmla="*/ 2609682 h 2609681"/>
                <a:gd name="connsiteX1" fmla="*/ 558773 w 558772"/>
                <a:gd name="connsiteY1" fmla="*/ 2238014 h 2609681"/>
                <a:gd name="connsiteX2" fmla="*/ 7240 w 558772"/>
                <a:gd name="connsiteY2" fmla="*/ 2238014 h 2609681"/>
                <a:gd name="connsiteX3" fmla="*/ 7240 w 558772"/>
                <a:gd name="connsiteY3" fmla="*/ 0 h 2609681"/>
                <a:gd name="connsiteX4" fmla="*/ 0 w 558772"/>
                <a:gd name="connsiteY4" fmla="*/ 0 h 2609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772" h="2609681">
                  <a:moveTo>
                    <a:pt x="558773" y="2609682"/>
                  </a:moveTo>
                  <a:lnTo>
                    <a:pt x="558773" y="2238014"/>
                  </a:lnTo>
                  <a:lnTo>
                    <a:pt x="7240" y="2238014"/>
                  </a:lnTo>
                  <a:lnTo>
                    <a:pt x="7240" y="0"/>
                  </a:lnTo>
                  <a:lnTo>
                    <a:pt x="0" y="0"/>
                  </a:lnTo>
                </a:path>
              </a:pathLst>
            </a:custGeom>
            <a:noFill/>
            <a:ln w="19045" cap="flat">
              <a:solidFill>
                <a:srgbClr val="FF1F26"/>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7" name="Graphic 953">
              <a:extLst>
                <a:ext uri="{FF2B5EF4-FFF2-40B4-BE49-F238E27FC236}">
                  <a16:creationId xmlns:a16="http://schemas.microsoft.com/office/drawing/2014/main" id="{843A058F-30EA-2EB8-5B60-28DC0FC1AE7A}"/>
                </a:ext>
              </a:extLst>
            </p:cNvPr>
            <p:cNvGrpSpPr/>
            <p:nvPr/>
          </p:nvGrpSpPr>
          <p:grpSpPr>
            <a:xfrm>
              <a:off x="4457666" y="2281302"/>
              <a:ext cx="47425" cy="41448"/>
              <a:chOff x="6857104" y="3935515"/>
              <a:chExt cx="72911" cy="86883"/>
            </a:xfrm>
          </p:grpSpPr>
          <p:sp>
            <p:nvSpPr>
              <p:cNvPr id="412" name="Freeform 6324">
                <a:extLst>
                  <a:ext uri="{FF2B5EF4-FFF2-40B4-BE49-F238E27FC236}">
                    <a16:creationId xmlns:a16="http://schemas.microsoft.com/office/drawing/2014/main" id="{E7BEA055-AD09-25F3-C890-0660C82F5D26}"/>
                  </a:ext>
                </a:extLst>
              </p:cNvPr>
              <p:cNvSpPr/>
              <p:nvPr/>
            </p:nvSpPr>
            <p:spPr>
              <a:xfrm>
                <a:off x="6893559" y="3935515"/>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FF1F26"/>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 name="Freeform 6325">
                <a:extLst>
                  <a:ext uri="{FF2B5EF4-FFF2-40B4-BE49-F238E27FC236}">
                    <a16:creationId xmlns:a16="http://schemas.microsoft.com/office/drawing/2014/main" id="{44941971-CA8F-2F82-5658-EC4200C9539D}"/>
                  </a:ext>
                </a:extLst>
              </p:cNvPr>
              <p:cNvSpPr/>
              <p:nvPr/>
            </p:nvSpPr>
            <p:spPr>
              <a:xfrm>
                <a:off x="6857104" y="3978956"/>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FF1F26"/>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9" name="Freeform 5947">
              <a:extLst>
                <a:ext uri="{FF2B5EF4-FFF2-40B4-BE49-F238E27FC236}">
                  <a16:creationId xmlns:a16="http://schemas.microsoft.com/office/drawing/2014/main" id="{954F5144-C5FA-3803-A795-EBFB268A3129}"/>
                </a:ext>
              </a:extLst>
            </p:cNvPr>
            <p:cNvSpPr/>
            <p:nvPr/>
          </p:nvSpPr>
          <p:spPr>
            <a:xfrm>
              <a:off x="4476669" y="1234375"/>
              <a:ext cx="3046994" cy="313708"/>
            </a:xfrm>
            <a:custGeom>
              <a:avLst/>
              <a:gdLst>
                <a:gd name="connsiteX0" fmla="*/ 0 w 4684470"/>
                <a:gd name="connsiteY0" fmla="*/ 0 h 657596"/>
                <a:gd name="connsiteX1" fmla="*/ 203236 w 4684470"/>
                <a:gd name="connsiteY1" fmla="*/ 0 h 657596"/>
                <a:gd name="connsiteX2" fmla="*/ 203236 w 4684470"/>
                <a:gd name="connsiteY2" fmla="*/ 53223 h 657596"/>
                <a:gd name="connsiteX3" fmla="*/ 345375 w 4684470"/>
                <a:gd name="connsiteY3" fmla="*/ 53223 h 657596"/>
                <a:gd name="connsiteX4" fmla="*/ 345375 w 4684470"/>
                <a:gd name="connsiteY4" fmla="*/ 105048 h 657596"/>
                <a:gd name="connsiteX5" fmla="*/ 517871 w 4684470"/>
                <a:gd name="connsiteY5" fmla="*/ 105048 h 657596"/>
                <a:gd name="connsiteX6" fmla="*/ 517871 w 4684470"/>
                <a:gd name="connsiteY6" fmla="*/ 161446 h 657596"/>
                <a:gd name="connsiteX7" fmla="*/ 889159 w 4684470"/>
                <a:gd name="connsiteY7" fmla="*/ 161446 h 657596"/>
                <a:gd name="connsiteX8" fmla="*/ 889159 w 4684470"/>
                <a:gd name="connsiteY8" fmla="*/ 213525 h 657596"/>
                <a:gd name="connsiteX9" fmla="*/ 1840940 w 4684470"/>
                <a:gd name="connsiteY9" fmla="*/ 213525 h 657596"/>
                <a:gd name="connsiteX10" fmla="*/ 1840940 w 4684470"/>
                <a:gd name="connsiteY10" fmla="*/ 275766 h 657596"/>
                <a:gd name="connsiteX11" fmla="*/ 2521655 w 4684470"/>
                <a:gd name="connsiteY11" fmla="*/ 275766 h 657596"/>
                <a:gd name="connsiteX12" fmla="*/ 2521655 w 4684470"/>
                <a:gd name="connsiteY12" fmla="*/ 341945 h 657596"/>
                <a:gd name="connsiteX13" fmla="*/ 2795262 w 4684470"/>
                <a:gd name="connsiteY13" fmla="*/ 341945 h 657596"/>
                <a:gd name="connsiteX14" fmla="*/ 2795262 w 4684470"/>
                <a:gd name="connsiteY14" fmla="*/ 484719 h 657596"/>
                <a:gd name="connsiteX15" fmla="*/ 2841879 w 4684470"/>
                <a:gd name="connsiteY15" fmla="*/ 484719 h 657596"/>
                <a:gd name="connsiteX16" fmla="*/ 2841879 w 4684470"/>
                <a:gd name="connsiteY16" fmla="*/ 570967 h 657596"/>
                <a:gd name="connsiteX17" fmla="*/ 2852295 w 4684470"/>
                <a:gd name="connsiteY17" fmla="*/ 570967 h 657596"/>
                <a:gd name="connsiteX18" fmla="*/ 2852295 w 4684470"/>
                <a:gd name="connsiteY18" fmla="*/ 657597 h 657596"/>
                <a:gd name="connsiteX19" fmla="*/ 4684471 w 4684470"/>
                <a:gd name="connsiteY19" fmla="*/ 657597 h 657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84470" h="657596">
                  <a:moveTo>
                    <a:pt x="0" y="0"/>
                  </a:moveTo>
                  <a:lnTo>
                    <a:pt x="203236" y="0"/>
                  </a:lnTo>
                  <a:lnTo>
                    <a:pt x="203236" y="53223"/>
                  </a:lnTo>
                  <a:lnTo>
                    <a:pt x="345375" y="53223"/>
                  </a:lnTo>
                  <a:lnTo>
                    <a:pt x="345375" y="105048"/>
                  </a:lnTo>
                  <a:lnTo>
                    <a:pt x="517871" y="105048"/>
                  </a:lnTo>
                  <a:lnTo>
                    <a:pt x="517871" y="161446"/>
                  </a:lnTo>
                  <a:lnTo>
                    <a:pt x="889159" y="161446"/>
                  </a:lnTo>
                  <a:lnTo>
                    <a:pt x="889159" y="213525"/>
                  </a:lnTo>
                  <a:lnTo>
                    <a:pt x="1840940" y="213525"/>
                  </a:lnTo>
                  <a:lnTo>
                    <a:pt x="1840940" y="275766"/>
                  </a:lnTo>
                  <a:lnTo>
                    <a:pt x="2521655" y="275766"/>
                  </a:lnTo>
                  <a:lnTo>
                    <a:pt x="2521655" y="341945"/>
                  </a:lnTo>
                  <a:lnTo>
                    <a:pt x="2795262" y="341945"/>
                  </a:lnTo>
                  <a:lnTo>
                    <a:pt x="2795262" y="484719"/>
                  </a:lnTo>
                  <a:lnTo>
                    <a:pt x="2841879" y="484719"/>
                  </a:lnTo>
                  <a:lnTo>
                    <a:pt x="2841879" y="570967"/>
                  </a:lnTo>
                  <a:lnTo>
                    <a:pt x="2852295" y="570967"/>
                  </a:lnTo>
                  <a:lnTo>
                    <a:pt x="2852295" y="657597"/>
                  </a:lnTo>
                  <a:lnTo>
                    <a:pt x="4684471" y="657597"/>
                  </a:lnTo>
                </a:path>
              </a:pathLst>
            </a:custGeom>
            <a:noFill/>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32" name="Graphic 953">
              <a:extLst>
                <a:ext uri="{FF2B5EF4-FFF2-40B4-BE49-F238E27FC236}">
                  <a16:creationId xmlns:a16="http://schemas.microsoft.com/office/drawing/2014/main" id="{C489A929-358C-7E6D-DF62-0F02ED9CDC30}"/>
                </a:ext>
              </a:extLst>
            </p:cNvPr>
            <p:cNvGrpSpPr/>
            <p:nvPr/>
          </p:nvGrpSpPr>
          <p:grpSpPr>
            <a:xfrm>
              <a:off x="4793356" y="1290669"/>
              <a:ext cx="2747492" cy="278138"/>
              <a:chOff x="7373197" y="1858947"/>
              <a:chExt cx="4224013" cy="583034"/>
            </a:xfrm>
          </p:grpSpPr>
          <p:grpSp>
            <p:nvGrpSpPr>
              <p:cNvPr id="169" name="Graphic 953">
                <a:extLst>
                  <a:ext uri="{FF2B5EF4-FFF2-40B4-BE49-F238E27FC236}">
                    <a16:creationId xmlns:a16="http://schemas.microsoft.com/office/drawing/2014/main" id="{5C1FF414-6A78-2820-14B9-09956682A140}"/>
                  </a:ext>
                </a:extLst>
              </p:cNvPr>
              <p:cNvGrpSpPr/>
              <p:nvPr/>
            </p:nvGrpSpPr>
            <p:grpSpPr>
              <a:xfrm>
                <a:off x="11524300" y="2355098"/>
                <a:ext cx="72911" cy="86883"/>
                <a:chOff x="11524300" y="2355098"/>
                <a:chExt cx="72911" cy="86883"/>
              </a:xfrm>
            </p:grpSpPr>
            <p:sp>
              <p:nvSpPr>
                <p:cNvPr id="275" name="Freeform 6187">
                  <a:extLst>
                    <a:ext uri="{FF2B5EF4-FFF2-40B4-BE49-F238E27FC236}">
                      <a16:creationId xmlns:a16="http://schemas.microsoft.com/office/drawing/2014/main" id="{A4B46F2D-EEE2-DF4C-1016-71B632DF7AD6}"/>
                    </a:ext>
                  </a:extLst>
                </p:cNvPr>
                <p:cNvSpPr/>
                <p:nvPr/>
              </p:nvSpPr>
              <p:spPr>
                <a:xfrm>
                  <a:off x="11560755" y="2355098"/>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 name="Freeform 6188">
                  <a:extLst>
                    <a:ext uri="{FF2B5EF4-FFF2-40B4-BE49-F238E27FC236}">
                      <a16:creationId xmlns:a16="http://schemas.microsoft.com/office/drawing/2014/main" id="{A2446B22-5EF7-E389-7C6B-EB08A7A8F609}"/>
                    </a:ext>
                  </a:extLst>
                </p:cNvPr>
                <p:cNvSpPr/>
                <p:nvPr/>
              </p:nvSpPr>
              <p:spPr>
                <a:xfrm>
                  <a:off x="11524300" y="2398540"/>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70" name="Graphic 953">
                <a:extLst>
                  <a:ext uri="{FF2B5EF4-FFF2-40B4-BE49-F238E27FC236}">
                    <a16:creationId xmlns:a16="http://schemas.microsoft.com/office/drawing/2014/main" id="{E87DDE08-9932-7F03-0F6F-A11EFE383E8F}"/>
                  </a:ext>
                </a:extLst>
              </p:cNvPr>
              <p:cNvGrpSpPr/>
              <p:nvPr/>
            </p:nvGrpSpPr>
            <p:grpSpPr>
              <a:xfrm>
                <a:off x="10667785" y="2355098"/>
                <a:ext cx="72911" cy="86883"/>
                <a:chOff x="10667785" y="2355098"/>
                <a:chExt cx="72911" cy="86883"/>
              </a:xfrm>
            </p:grpSpPr>
            <p:sp>
              <p:nvSpPr>
                <p:cNvPr id="273" name="Freeform 6185">
                  <a:extLst>
                    <a:ext uri="{FF2B5EF4-FFF2-40B4-BE49-F238E27FC236}">
                      <a16:creationId xmlns:a16="http://schemas.microsoft.com/office/drawing/2014/main" id="{6AC852C7-4420-CF40-F24E-92BDA8ACE099}"/>
                    </a:ext>
                  </a:extLst>
                </p:cNvPr>
                <p:cNvSpPr/>
                <p:nvPr/>
              </p:nvSpPr>
              <p:spPr>
                <a:xfrm>
                  <a:off x="10704241" y="2355098"/>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 name="Freeform 6186">
                  <a:extLst>
                    <a:ext uri="{FF2B5EF4-FFF2-40B4-BE49-F238E27FC236}">
                      <a16:creationId xmlns:a16="http://schemas.microsoft.com/office/drawing/2014/main" id="{5094314C-34C7-3D64-343D-AEBFED94024D}"/>
                    </a:ext>
                  </a:extLst>
                </p:cNvPr>
                <p:cNvSpPr/>
                <p:nvPr/>
              </p:nvSpPr>
              <p:spPr>
                <a:xfrm>
                  <a:off x="10667785" y="2398540"/>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71" name="Graphic 953">
                <a:extLst>
                  <a:ext uri="{FF2B5EF4-FFF2-40B4-BE49-F238E27FC236}">
                    <a16:creationId xmlns:a16="http://schemas.microsoft.com/office/drawing/2014/main" id="{51D0E938-9884-24AB-6D8F-8242F41E6C48}"/>
                  </a:ext>
                </a:extLst>
              </p:cNvPr>
              <p:cNvGrpSpPr/>
              <p:nvPr/>
            </p:nvGrpSpPr>
            <p:grpSpPr>
              <a:xfrm>
                <a:off x="10662831" y="2355098"/>
                <a:ext cx="73038" cy="86883"/>
                <a:chOff x="10662831" y="2355098"/>
                <a:chExt cx="73038" cy="86883"/>
              </a:xfrm>
            </p:grpSpPr>
            <p:sp>
              <p:nvSpPr>
                <p:cNvPr id="271" name="Freeform 6183">
                  <a:extLst>
                    <a:ext uri="{FF2B5EF4-FFF2-40B4-BE49-F238E27FC236}">
                      <a16:creationId xmlns:a16="http://schemas.microsoft.com/office/drawing/2014/main" id="{DB78B84C-191A-0110-634D-66C468C741F1}"/>
                    </a:ext>
                  </a:extLst>
                </p:cNvPr>
                <p:cNvSpPr/>
                <p:nvPr/>
              </p:nvSpPr>
              <p:spPr>
                <a:xfrm>
                  <a:off x="10699287" y="2355098"/>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 name="Freeform 6184">
                  <a:extLst>
                    <a:ext uri="{FF2B5EF4-FFF2-40B4-BE49-F238E27FC236}">
                      <a16:creationId xmlns:a16="http://schemas.microsoft.com/office/drawing/2014/main" id="{0D260386-7399-4492-719B-5FD8CC1A59BB}"/>
                    </a:ext>
                  </a:extLst>
                </p:cNvPr>
                <p:cNvSpPr/>
                <p:nvPr/>
              </p:nvSpPr>
              <p:spPr>
                <a:xfrm>
                  <a:off x="10662831" y="2398540"/>
                  <a:ext cx="73038" cy="12702"/>
                </a:xfrm>
                <a:custGeom>
                  <a:avLst/>
                  <a:gdLst>
                    <a:gd name="connsiteX0" fmla="*/ 0 w 73038"/>
                    <a:gd name="connsiteY0" fmla="*/ 0 h 12702"/>
                    <a:gd name="connsiteX1" fmla="*/ 73038 w 73038"/>
                    <a:gd name="connsiteY1" fmla="*/ 0 h 12702"/>
                  </a:gdLst>
                  <a:ahLst/>
                  <a:cxnLst>
                    <a:cxn ang="0">
                      <a:pos x="connsiteX0" y="connsiteY0"/>
                    </a:cxn>
                    <a:cxn ang="0">
                      <a:pos x="connsiteX1" y="connsiteY1"/>
                    </a:cxn>
                  </a:cxnLst>
                  <a:rect l="l" t="t" r="r" b="b"/>
                  <a:pathLst>
                    <a:path w="73038" h="12702">
                      <a:moveTo>
                        <a:pt x="0" y="0"/>
                      </a:moveTo>
                      <a:lnTo>
                        <a:pt x="73038"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72" name="Graphic 953">
                <a:extLst>
                  <a:ext uri="{FF2B5EF4-FFF2-40B4-BE49-F238E27FC236}">
                    <a16:creationId xmlns:a16="http://schemas.microsoft.com/office/drawing/2014/main" id="{25967593-45BA-E334-AC12-BF723DDFD3F9}"/>
                  </a:ext>
                </a:extLst>
              </p:cNvPr>
              <p:cNvGrpSpPr/>
              <p:nvPr/>
            </p:nvGrpSpPr>
            <p:grpSpPr>
              <a:xfrm>
                <a:off x="10628408" y="2355098"/>
                <a:ext cx="72911" cy="86883"/>
                <a:chOff x="10628408" y="2355098"/>
                <a:chExt cx="72911" cy="86883"/>
              </a:xfrm>
            </p:grpSpPr>
            <p:sp>
              <p:nvSpPr>
                <p:cNvPr id="269" name="Freeform 6181">
                  <a:extLst>
                    <a:ext uri="{FF2B5EF4-FFF2-40B4-BE49-F238E27FC236}">
                      <a16:creationId xmlns:a16="http://schemas.microsoft.com/office/drawing/2014/main" id="{D8B3842E-0BB1-6AA8-558E-763C3C194125}"/>
                    </a:ext>
                  </a:extLst>
                </p:cNvPr>
                <p:cNvSpPr/>
                <p:nvPr/>
              </p:nvSpPr>
              <p:spPr>
                <a:xfrm>
                  <a:off x="10664864" y="2355098"/>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 name="Freeform 6182">
                  <a:extLst>
                    <a:ext uri="{FF2B5EF4-FFF2-40B4-BE49-F238E27FC236}">
                      <a16:creationId xmlns:a16="http://schemas.microsoft.com/office/drawing/2014/main" id="{BDD85CEE-A7FA-C8EE-A5AD-DF80FF17A4BF}"/>
                    </a:ext>
                  </a:extLst>
                </p:cNvPr>
                <p:cNvSpPr/>
                <p:nvPr/>
              </p:nvSpPr>
              <p:spPr>
                <a:xfrm>
                  <a:off x="10628408" y="2398540"/>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73" name="Graphic 953">
                <a:extLst>
                  <a:ext uri="{FF2B5EF4-FFF2-40B4-BE49-F238E27FC236}">
                    <a16:creationId xmlns:a16="http://schemas.microsoft.com/office/drawing/2014/main" id="{9C7FEE2E-BC5F-DDCA-F105-21C79788BD40}"/>
                  </a:ext>
                </a:extLst>
              </p:cNvPr>
              <p:cNvGrpSpPr/>
              <p:nvPr/>
            </p:nvGrpSpPr>
            <p:grpSpPr>
              <a:xfrm>
                <a:off x="10622184" y="2355098"/>
                <a:ext cx="73038" cy="86883"/>
                <a:chOff x="10622184" y="2355098"/>
                <a:chExt cx="73038" cy="86883"/>
              </a:xfrm>
            </p:grpSpPr>
            <p:sp>
              <p:nvSpPr>
                <p:cNvPr id="267" name="Freeform 6179">
                  <a:extLst>
                    <a:ext uri="{FF2B5EF4-FFF2-40B4-BE49-F238E27FC236}">
                      <a16:creationId xmlns:a16="http://schemas.microsoft.com/office/drawing/2014/main" id="{CFE00FED-416E-16B1-7DBA-677E40D37775}"/>
                    </a:ext>
                  </a:extLst>
                </p:cNvPr>
                <p:cNvSpPr/>
                <p:nvPr/>
              </p:nvSpPr>
              <p:spPr>
                <a:xfrm>
                  <a:off x="10658767" y="2355098"/>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 name="Freeform 6180">
                  <a:extLst>
                    <a:ext uri="{FF2B5EF4-FFF2-40B4-BE49-F238E27FC236}">
                      <a16:creationId xmlns:a16="http://schemas.microsoft.com/office/drawing/2014/main" id="{6AC35E6F-BB86-F979-FF66-966A477DF67F}"/>
                    </a:ext>
                  </a:extLst>
                </p:cNvPr>
                <p:cNvSpPr/>
                <p:nvPr/>
              </p:nvSpPr>
              <p:spPr>
                <a:xfrm>
                  <a:off x="10622184" y="2398540"/>
                  <a:ext cx="73038" cy="12702"/>
                </a:xfrm>
                <a:custGeom>
                  <a:avLst/>
                  <a:gdLst>
                    <a:gd name="connsiteX0" fmla="*/ 0 w 73038"/>
                    <a:gd name="connsiteY0" fmla="*/ 0 h 12702"/>
                    <a:gd name="connsiteX1" fmla="*/ 73038 w 73038"/>
                    <a:gd name="connsiteY1" fmla="*/ 0 h 12702"/>
                  </a:gdLst>
                  <a:ahLst/>
                  <a:cxnLst>
                    <a:cxn ang="0">
                      <a:pos x="connsiteX0" y="connsiteY0"/>
                    </a:cxn>
                    <a:cxn ang="0">
                      <a:pos x="connsiteX1" y="connsiteY1"/>
                    </a:cxn>
                  </a:cxnLst>
                  <a:rect l="l" t="t" r="r" b="b"/>
                  <a:pathLst>
                    <a:path w="73038" h="12702">
                      <a:moveTo>
                        <a:pt x="0" y="0"/>
                      </a:moveTo>
                      <a:lnTo>
                        <a:pt x="73038"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74" name="Graphic 953">
                <a:extLst>
                  <a:ext uri="{FF2B5EF4-FFF2-40B4-BE49-F238E27FC236}">
                    <a16:creationId xmlns:a16="http://schemas.microsoft.com/office/drawing/2014/main" id="{9119549C-5DEE-08EB-280F-8A85A41DC5F1}"/>
                  </a:ext>
                </a:extLst>
              </p:cNvPr>
              <p:cNvGrpSpPr/>
              <p:nvPr/>
            </p:nvGrpSpPr>
            <p:grpSpPr>
              <a:xfrm>
                <a:off x="10617484" y="2355098"/>
                <a:ext cx="72911" cy="86883"/>
                <a:chOff x="10617484" y="2355098"/>
                <a:chExt cx="72911" cy="86883"/>
              </a:xfrm>
            </p:grpSpPr>
            <p:sp>
              <p:nvSpPr>
                <p:cNvPr id="265" name="Freeform 6177">
                  <a:extLst>
                    <a:ext uri="{FF2B5EF4-FFF2-40B4-BE49-F238E27FC236}">
                      <a16:creationId xmlns:a16="http://schemas.microsoft.com/office/drawing/2014/main" id="{55E41532-FCF0-55CE-46D5-27022CECBA64}"/>
                    </a:ext>
                  </a:extLst>
                </p:cNvPr>
                <p:cNvSpPr/>
                <p:nvPr/>
              </p:nvSpPr>
              <p:spPr>
                <a:xfrm>
                  <a:off x="10653940" y="2355098"/>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 name="Freeform 6178">
                  <a:extLst>
                    <a:ext uri="{FF2B5EF4-FFF2-40B4-BE49-F238E27FC236}">
                      <a16:creationId xmlns:a16="http://schemas.microsoft.com/office/drawing/2014/main" id="{6CC2C678-2D90-9578-5702-F9D45C9FAF17}"/>
                    </a:ext>
                  </a:extLst>
                </p:cNvPr>
                <p:cNvSpPr/>
                <p:nvPr/>
              </p:nvSpPr>
              <p:spPr>
                <a:xfrm>
                  <a:off x="10617484" y="2398540"/>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75" name="Graphic 953">
                <a:extLst>
                  <a:ext uri="{FF2B5EF4-FFF2-40B4-BE49-F238E27FC236}">
                    <a16:creationId xmlns:a16="http://schemas.microsoft.com/office/drawing/2014/main" id="{E28D8A56-01AD-6413-A846-2D4D28F8D49D}"/>
                  </a:ext>
                </a:extLst>
              </p:cNvPr>
              <p:cNvGrpSpPr/>
              <p:nvPr/>
            </p:nvGrpSpPr>
            <p:grpSpPr>
              <a:xfrm>
                <a:off x="10610879" y="2355098"/>
                <a:ext cx="72911" cy="86883"/>
                <a:chOff x="10610879" y="2355098"/>
                <a:chExt cx="72911" cy="86883"/>
              </a:xfrm>
            </p:grpSpPr>
            <p:sp>
              <p:nvSpPr>
                <p:cNvPr id="263" name="Freeform 6175">
                  <a:extLst>
                    <a:ext uri="{FF2B5EF4-FFF2-40B4-BE49-F238E27FC236}">
                      <a16:creationId xmlns:a16="http://schemas.microsoft.com/office/drawing/2014/main" id="{1DE1A35F-1DC4-DFC4-49A8-53EB71682AC5}"/>
                    </a:ext>
                  </a:extLst>
                </p:cNvPr>
                <p:cNvSpPr/>
                <p:nvPr/>
              </p:nvSpPr>
              <p:spPr>
                <a:xfrm>
                  <a:off x="10647335" y="2355098"/>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 name="Freeform 6176">
                  <a:extLst>
                    <a:ext uri="{FF2B5EF4-FFF2-40B4-BE49-F238E27FC236}">
                      <a16:creationId xmlns:a16="http://schemas.microsoft.com/office/drawing/2014/main" id="{66AD86C7-4382-7E1D-E927-A2193ACFC4D5}"/>
                    </a:ext>
                  </a:extLst>
                </p:cNvPr>
                <p:cNvSpPr/>
                <p:nvPr/>
              </p:nvSpPr>
              <p:spPr>
                <a:xfrm>
                  <a:off x="10610879" y="2398540"/>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76" name="Graphic 953">
                <a:extLst>
                  <a:ext uri="{FF2B5EF4-FFF2-40B4-BE49-F238E27FC236}">
                    <a16:creationId xmlns:a16="http://schemas.microsoft.com/office/drawing/2014/main" id="{10F73779-8408-76F7-26B1-FA4B2BFB2159}"/>
                  </a:ext>
                </a:extLst>
              </p:cNvPr>
              <p:cNvGrpSpPr/>
              <p:nvPr/>
            </p:nvGrpSpPr>
            <p:grpSpPr>
              <a:xfrm>
                <a:off x="10590428" y="2355098"/>
                <a:ext cx="73038" cy="86883"/>
                <a:chOff x="10590428" y="2355098"/>
                <a:chExt cx="73038" cy="86883"/>
              </a:xfrm>
            </p:grpSpPr>
            <p:sp>
              <p:nvSpPr>
                <p:cNvPr id="261" name="Freeform 6173">
                  <a:extLst>
                    <a:ext uri="{FF2B5EF4-FFF2-40B4-BE49-F238E27FC236}">
                      <a16:creationId xmlns:a16="http://schemas.microsoft.com/office/drawing/2014/main" id="{B461D355-1FF0-9A8F-4709-89CA426DF60E}"/>
                    </a:ext>
                  </a:extLst>
                </p:cNvPr>
                <p:cNvSpPr/>
                <p:nvPr/>
              </p:nvSpPr>
              <p:spPr>
                <a:xfrm>
                  <a:off x="10626884" y="2355098"/>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 name="Freeform 6174">
                  <a:extLst>
                    <a:ext uri="{FF2B5EF4-FFF2-40B4-BE49-F238E27FC236}">
                      <a16:creationId xmlns:a16="http://schemas.microsoft.com/office/drawing/2014/main" id="{1A7DE215-7318-2C1B-6B4C-E82043FFDDE2}"/>
                    </a:ext>
                  </a:extLst>
                </p:cNvPr>
                <p:cNvSpPr/>
                <p:nvPr/>
              </p:nvSpPr>
              <p:spPr>
                <a:xfrm>
                  <a:off x="10590428" y="2398540"/>
                  <a:ext cx="73038" cy="12702"/>
                </a:xfrm>
                <a:custGeom>
                  <a:avLst/>
                  <a:gdLst>
                    <a:gd name="connsiteX0" fmla="*/ 0 w 73038"/>
                    <a:gd name="connsiteY0" fmla="*/ 0 h 12702"/>
                    <a:gd name="connsiteX1" fmla="*/ 73038 w 73038"/>
                    <a:gd name="connsiteY1" fmla="*/ 0 h 12702"/>
                  </a:gdLst>
                  <a:ahLst/>
                  <a:cxnLst>
                    <a:cxn ang="0">
                      <a:pos x="connsiteX0" y="connsiteY0"/>
                    </a:cxn>
                    <a:cxn ang="0">
                      <a:pos x="connsiteX1" y="connsiteY1"/>
                    </a:cxn>
                  </a:cxnLst>
                  <a:rect l="l" t="t" r="r" b="b"/>
                  <a:pathLst>
                    <a:path w="73038" h="12702">
                      <a:moveTo>
                        <a:pt x="0" y="0"/>
                      </a:moveTo>
                      <a:lnTo>
                        <a:pt x="73038"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77" name="Graphic 953">
                <a:extLst>
                  <a:ext uri="{FF2B5EF4-FFF2-40B4-BE49-F238E27FC236}">
                    <a16:creationId xmlns:a16="http://schemas.microsoft.com/office/drawing/2014/main" id="{DA00F463-28E7-F49F-737D-D80B31C68B28}"/>
                  </a:ext>
                </a:extLst>
              </p:cNvPr>
              <p:cNvGrpSpPr/>
              <p:nvPr/>
            </p:nvGrpSpPr>
            <p:grpSpPr>
              <a:xfrm>
                <a:off x="10584458" y="2355098"/>
                <a:ext cx="72911" cy="86883"/>
                <a:chOff x="10584458" y="2355098"/>
                <a:chExt cx="72911" cy="86883"/>
              </a:xfrm>
            </p:grpSpPr>
            <p:sp>
              <p:nvSpPr>
                <p:cNvPr id="259" name="Freeform 6171">
                  <a:extLst>
                    <a:ext uri="{FF2B5EF4-FFF2-40B4-BE49-F238E27FC236}">
                      <a16:creationId xmlns:a16="http://schemas.microsoft.com/office/drawing/2014/main" id="{C9BAA119-4705-F59C-4443-16A7E122C6DD}"/>
                    </a:ext>
                  </a:extLst>
                </p:cNvPr>
                <p:cNvSpPr/>
                <p:nvPr/>
              </p:nvSpPr>
              <p:spPr>
                <a:xfrm>
                  <a:off x="10620914" y="2355098"/>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 name="Freeform 6172">
                  <a:extLst>
                    <a:ext uri="{FF2B5EF4-FFF2-40B4-BE49-F238E27FC236}">
                      <a16:creationId xmlns:a16="http://schemas.microsoft.com/office/drawing/2014/main" id="{361A9691-161B-0902-680F-5A52DD11BF22}"/>
                    </a:ext>
                  </a:extLst>
                </p:cNvPr>
                <p:cNvSpPr/>
                <p:nvPr/>
              </p:nvSpPr>
              <p:spPr>
                <a:xfrm>
                  <a:off x="10584458" y="2398540"/>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78" name="Graphic 953">
                <a:extLst>
                  <a:ext uri="{FF2B5EF4-FFF2-40B4-BE49-F238E27FC236}">
                    <a16:creationId xmlns:a16="http://schemas.microsoft.com/office/drawing/2014/main" id="{DADCBD38-8447-55A5-DBE7-A2741A3ABAE3}"/>
                  </a:ext>
                </a:extLst>
              </p:cNvPr>
              <p:cNvGrpSpPr/>
              <p:nvPr/>
            </p:nvGrpSpPr>
            <p:grpSpPr>
              <a:xfrm>
                <a:off x="10574805" y="2355098"/>
                <a:ext cx="72911" cy="86883"/>
                <a:chOff x="10574805" y="2355098"/>
                <a:chExt cx="72911" cy="86883"/>
              </a:xfrm>
            </p:grpSpPr>
            <p:sp>
              <p:nvSpPr>
                <p:cNvPr id="257" name="Freeform 6169">
                  <a:extLst>
                    <a:ext uri="{FF2B5EF4-FFF2-40B4-BE49-F238E27FC236}">
                      <a16:creationId xmlns:a16="http://schemas.microsoft.com/office/drawing/2014/main" id="{51600B5C-489F-735A-3097-312038867CCC}"/>
                    </a:ext>
                  </a:extLst>
                </p:cNvPr>
                <p:cNvSpPr/>
                <p:nvPr/>
              </p:nvSpPr>
              <p:spPr>
                <a:xfrm>
                  <a:off x="10611260" y="2355098"/>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 name="Freeform 6170">
                  <a:extLst>
                    <a:ext uri="{FF2B5EF4-FFF2-40B4-BE49-F238E27FC236}">
                      <a16:creationId xmlns:a16="http://schemas.microsoft.com/office/drawing/2014/main" id="{808C207A-BBED-DAE5-CF10-AC3009A54096}"/>
                    </a:ext>
                  </a:extLst>
                </p:cNvPr>
                <p:cNvSpPr/>
                <p:nvPr/>
              </p:nvSpPr>
              <p:spPr>
                <a:xfrm>
                  <a:off x="10574805" y="2398540"/>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79" name="Graphic 953">
                <a:extLst>
                  <a:ext uri="{FF2B5EF4-FFF2-40B4-BE49-F238E27FC236}">
                    <a16:creationId xmlns:a16="http://schemas.microsoft.com/office/drawing/2014/main" id="{BD687684-770C-3668-AE8F-0FAC217F4EB2}"/>
                  </a:ext>
                </a:extLst>
              </p:cNvPr>
              <p:cNvGrpSpPr/>
              <p:nvPr/>
            </p:nvGrpSpPr>
            <p:grpSpPr>
              <a:xfrm>
                <a:off x="10573661" y="2355098"/>
                <a:ext cx="72911" cy="86883"/>
                <a:chOff x="10573661" y="2355098"/>
                <a:chExt cx="72911" cy="86883"/>
              </a:xfrm>
            </p:grpSpPr>
            <p:sp>
              <p:nvSpPr>
                <p:cNvPr id="255" name="Freeform 6167">
                  <a:extLst>
                    <a:ext uri="{FF2B5EF4-FFF2-40B4-BE49-F238E27FC236}">
                      <a16:creationId xmlns:a16="http://schemas.microsoft.com/office/drawing/2014/main" id="{C3D0F981-90D0-66DC-EB66-26C230B5FFBA}"/>
                    </a:ext>
                  </a:extLst>
                </p:cNvPr>
                <p:cNvSpPr/>
                <p:nvPr/>
              </p:nvSpPr>
              <p:spPr>
                <a:xfrm>
                  <a:off x="10610117" y="2355098"/>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 name="Freeform 6168">
                  <a:extLst>
                    <a:ext uri="{FF2B5EF4-FFF2-40B4-BE49-F238E27FC236}">
                      <a16:creationId xmlns:a16="http://schemas.microsoft.com/office/drawing/2014/main" id="{E7608DDD-499F-2CA7-D457-5C1B45C77814}"/>
                    </a:ext>
                  </a:extLst>
                </p:cNvPr>
                <p:cNvSpPr/>
                <p:nvPr/>
              </p:nvSpPr>
              <p:spPr>
                <a:xfrm>
                  <a:off x="10573661" y="2398540"/>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0" name="Graphic 953">
                <a:extLst>
                  <a:ext uri="{FF2B5EF4-FFF2-40B4-BE49-F238E27FC236}">
                    <a16:creationId xmlns:a16="http://schemas.microsoft.com/office/drawing/2014/main" id="{F1B6F44B-EA5C-9D0D-DB77-A48EC7991E49}"/>
                  </a:ext>
                </a:extLst>
              </p:cNvPr>
              <p:cNvGrpSpPr/>
              <p:nvPr/>
            </p:nvGrpSpPr>
            <p:grpSpPr>
              <a:xfrm>
                <a:off x="10561213" y="2355098"/>
                <a:ext cx="72911" cy="86883"/>
                <a:chOff x="10561213" y="2355098"/>
                <a:chExt cx="72911" cy="86883"/>
              </a:xfrm>
            </p:grpSpPr>
            <p:sp>
              <p:nvSpPr>
                <p:cNvPr id="253" name="Freeform 6165">
                  <a:extLst>
                    <a:ext uri="{FF2B5EF4-FFF2-40B4-BE49-F238E27FC236}">
                      <a16:creationId xmlns:a16="http://schemas.microsoft.com/office/drawing/2014/main" id="{A0D0292C-5D20-8D8C-7A66-DFD70896719C}"/>
                    </a:ext>
                  </a:extLst>
                </p:cNvPr>
                <p:cNvSpPr/>
                <p:nvPr/>
              </p:nvSpPr>
              <p:spPr>
                <a:xfrm>
                  <a:off x="10597669" y="2355098"/>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 name="Freeform 6166">
                  <a:extLst>
                    <a:ext uri="{FF2B5EF4-FFF2-40B4-BE49-F238E27FC236}">
                      <a16:creationId xmlns:a16="http://schemas.microsoft.com/office/drawing/2014/main" id="{C99AB011-CE5D-16C1-537A-4D99885013C6}"/>
                    </a:ext>
                  </a:extLst>
                </p:cNvPr>
                <p:cNvSpPr/>
                <p:nvPr/>
              </p:nvSpPr>
              <p:spPr>
                <a:xfrm>
                  <a:off x="10561213" y="2398540"/>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1" name="Graphic 953">
                <a:extLst>
                  <a:ext uri="{FF2B5EF4-FFF2-40B4-BE49-F238E27FC236}">
                    <a16:creationId xmlns:a16="http://schemas.microsoft.com/office/drawing/2014/main" id="{82571CD5-D743-402C-416A-AA1EDADD0BC6}"/>
                  </a:ext>
                </a:extLst>
              </p:cNvPr>
              <p:cNvGrpSpPr/>
              <p:nvPr/>
            </p:nvGrpSpPr>
            <p:grpSpPr>
              <a:xfrm>
                <a:off x="10554862" y="2355098"/>
                <a:ext cx="73038" cy="86883"/>
                <a:chOff x="10554862" y="2355098"/>
                <a:chExt cx="73038" cy="86883"/>
              </a:xfrm>
            </p:grpSpPr>
            <p:sp>
              <p:nvSpPr>
                <p:cNvPr id="251" name="Freeform 6163">
                  <a:extLst>
                    <a:ext uri="{FF2B5EF4-FFF2-40B4-BE49-F238E27FC236}">
                      <a16:creationId xmlns:a16="http://schemas.microsoft.com/office/drawing/2014/main" id="{D5E45267-2400-3CF9-244C-4B01B1084F34}"/>
                    </a:ext>
                  </a:extLst>
                </p:cNvPr>
                <p:cNvSpPr/>
                <p:nvPr/>
              </p:nvSpPr>
              <p:spPr>
                <a:xfrm>
                  <a:off x="10591445" y="2355098"/>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 name="Freeform 6164">
                  <a:extLst>
                    <a:ext uri="{FF2B5EF4-FFF2-40B4-BE49-F238E27FC236}">
                      <a16:creationId xmlns:a16="http://schemas.microsoft.com/office/drawing/2014/main" id="{95746B36-EB9A-0072-721D-A31A6A1ADBE9}"/>
                    </a:ext>
                  </a:extLst>
                </p:cNvPr>
                <p:cNvSpPr/>
                <p:nvPr/>
              </p:nvSpPr>
              <p:spPr>
                <a:xfrm>
                  <a:off x="10554862" y="2398540"/>
                  <a:ext cx="73038" cy="12702"/>
                </a:xfrm>
                <a:custGeom>
                  <a:avLst/>
                  <a:gdLst>
                    <a:gd name="connsiteX0" fmla="*/ 0 w 73038"/>
                    <a:gd name="connsiteY0" fmla="*/ 0 h 12702"/>
                    <a:gd name="connsiteX1" fmla="*/ 73038 w 73038"/>
                    <a:gd name="connsiteY1" fmla="*/ 0 h 12702"/>
                  </a:gdLst>
                  <a:ahLst/>
                  <a:cxnLst>
                    <a:cxn ang="0">
                      <a:pos x="connsiteX0" y="connsiteY0"/>
                    </a:cxn>
                    <a:cxn ang="0">
                      <a:pos x="connsiteX1" y="connsiteY1"/>
                    </a:cxn>
                  </a:cxnLst>
                  <a:rect l="l" t="t" r="r" b="b"/>
                  <a:pathLst>
                    <a:path w="73038" h="12702">
                      <a:moveTo>
                        <a:pt x="0" y="0"/>
                      </a:moveTo>
                      <a:lnTo>
                        <a:pt x="73038"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2" name="Graphic 953">
                <a:extLst>
                  <a:ext uri="{FF2B5EF4-FFF2-40B4-BE49-F238E27FC236}">
                    <a16:creationId xmlns:a16="http://schemas.microsoft.com/office/drawing/2014/main" id="{925E2335-7A1B-D15C-26C4-3752D89B0AEF}"/>
                  </a:ext>
                </a:extLst>
              </p:cNvPr>
              <p:cNvGrpSpPr/>
              <p:nvPr/>
            </p:nvGrpSpPr>
            <p:grpSpPr>
              <a:xfrm>
                <a:off x="10512564" y="2355098"/>
                <a:ext cx="72911" cy="86883"/>
                <a:chOff x="10512564" y="2355098"/>
                <a:chExt cx="72911" cy="86883"/>
              </a:xfrm>
            </p:grpSpPr>
            <p:sp>
              <p:nvSpPr>
                <p:cNvPr id="249" name="Freeform 6161">
                  <a:extLst>
                    <a:ext uri="{FF2B5EF4-FFF2-40B4-BE49-F238E27FC236}">
                      <a16:creationId xmlns:a16="http://schemas.microsoft.com/office/drawing/2014/main" id="{D39F88DF-F6DE-3F71-DE88-F7A27029BF1D}"/>
                    </a:ext>
                  </a:extLst>
                </p:cNvPr>
                <p:cNvSpPr/>
                <p:nvPr/>
              </p:nvSpPr>
              <p:spPr>
                <a:xfrm>
                  <a:off x="10549019" y="2355098"/>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 name="Freeform 6162">
                  <a:extLst>
                    <a:ext uri="{FF2B5EF4-FFF2-40B4-BE49-F238E27FC236}">
                      <a16:creationId xmlns:a16="http://schemas.microsoft.com/office/drawing/2014/main" id="{BFE422A8-25AD-EBB7-9449-04758B8FF701}"/>
                    </a:ext>
                  </a:extLst>
                </p:cNvPr>
                <p:cNvSpPr/>
                <p:nvPr/>
              </p:nvSpPr>
              <p:spPr>
                <a:xfrm>
                  <a:off x="10512564" y="2398540"/>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3" name="Graphic 953">
                <a:extLst>
                  <a:ext uri="{FF2B5EF4-FFF2-40B4-BE49-F238E27FC236}">
                    <a16:creationId xmlns:a16="http://schemas.microsoft.com/office/drawing/2014/main" id="{4FF3107C-47D4-C352-394E-C555B8E1E736}"/>
                  </a:ext>
                </a:extLst>
              </p:cNvPr>
              <p:cNvGrpSpPr/>
              <p:nvPr/>
            </p:nvGrpSpPr>
            <p:grpSpPr>
              <a:xfrm>
                <a:off x="10506339" y="2355098"/>
                <a:ext cx="72911" cy="86883"/>
                <a:chOff x="10506339" y="2355098"/>
                <a:chExt cx="72911" cy="86883"/>
              </a:xfrm>
            </p:grpSpPr>
            <p:sp>
              <p:nvSpPr>
                <p:cNvPr id="247" name="Freeform 6159">
                  <a:extLst>
                    <a:ext uri="{FF2B5EF4-FFF2-40B4-BE49-F238E27FC236}">
                      <a16:creationId xmlns:a16="http://schemas.microsoft.com/office/drawing/2014/main" id="{EF62406A-530E-EF2E-8EAB-74116A1FBFA8}"/>
                    </a:ext>
                  </a:extLst>
                </p:cNvPr>
                <p:cNvSpPr/>
                <p:nvPr/>
              </p:nvSpPr>
              <p:spPr>
                <a:xfrm>
                  <a:off x="10542795" y="2355098"/>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 name="Freeform 6160">
                  <a:extLst>
                    <a:ext uri="{FF2B5EF4-FFF2-40B4-BE49-F238E27FC236}">
                      <a16:creationId xmlns:a16="http://schemas.microsoft.com/office/drawing/2014/main" id="{6C85262C-4DD4-5138-CDDD-5875D3AFAFB2}"/>
                    </a:ext>
                  </a:extLst>
                </p:cNvPr>
                <p:cNvSpPr/>
                <p:nvPr/>
              </p:nvSpPr>
              <p:spPr>
                <a:xfrm>
                  <a:off x="10506339" y="2398540"/>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4" name="Graphic 953">
                <a:extLst>
                  <a:ext uri="{FF2B5EF4-FFF2-40B4-BE49-F238E27FC236}">
                    <a16:creationId xmlns:a16="http://schemas.microsoft.com/office/drawing/2014/main" id="{D01CCED9-F834-234D-8A9E-3F7F8EBA6578}"/>
                  </a:ext>
                </a:extLst>
              </p:cNvPr>
              <p:cNvGrpSpPr/>
              <p:nvPr/>
            </p:nvGrpSpPr>
            <p:grpSpPr>
              <a:xfrm>
                <a:off x="10493637" y="2355098"/>
                <a:ext cx="72911" cy="86883"/>
                <a:chOff x="10493637" y="2355098"/>
                <a:chExt cx="72911" cy="86883"/>
              </a:xfrm>
            </p:grpSpPr>
            <p:sp>
              <p:nvSpPr>
                <p:cNvPr id="245" name="Freeform 6157">
                  <a:extLst>
                    <a:ext uri="{FF2B5EF4-FFF2-40B4-BE49-F238E27FC236}">
                      <a16:creationId xmlns:a16="http://schemas.microsoft.com/office/drawing/2014/main" id="{DD48A893-2C9D-306C-4FD9-5AA5BD9C13D1}"/>
                    </a:ext>
                  </a:extLst>
                </p:cNvPr>
                <p:cNvSpPr/>
                <p:nvPr/>
              </p:nvSpPr>
              <p:spPr>
                <a:xfrm>
                  <a:off x="10530093" y="2355098"/>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 name="Freeform 6158">
                  <a:extLst>
                    <a:ext uri="{FF2B5EF4-FFF2-40B4-BE49-F238E27FC236}">
                      <a16:creationId xmlns:a16="http://schemas.microsoft.com/office/drawing/2014/main" id="{E498B588-C08E-ABAC-CFD2-3FB4FB41A24E}"/>
                    </a:ext>
                  </a:extLst>
                </p:cNvPr>
                <p:cNvSpPr/>
                <p:nvPr/>
              </p:nvSpPr>
              <p:spPr>
                <a:xfrm>
                  <a:off x="10493637" y="2398540"/>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5" name="Graphic 953">
                <a:extLst>
                  <a:ext uri="{FF2B5EF4-FFF2-40B4-BE49-F238E27FC236}">
                    <a16:creationId xmlns:a16="http://schemas.microsoft.com/office/drawing/2014/main" id="{6DE0F7D3-0D19-4747-F882-B7037B3A184F}"/>
                  </a:ext>
                </a:extLst>
              </p:cNvPr>
              <p:cNvGrpSpPr/>
              <p:nvPr/>
            </p:nvGrpSpPr>
            <p:grpSpPr>
              <a:xfrm>
                <a:off x="10476870" y="2355098"/>
                <a:ext cx="72911" cy="86883"/>
                <a:chOff x="10476870" y="2355098"/>
                <a:chExt cx="72911" cy="86883"/>
              </a:xfrm>
            </p:grpSpPr>
            <p:sp>
              <p:nvSpPr>
                <p:cNvPr id="243" name="Freeform 6155">
                  <a:extLst>
                    <a:ext uri="{FF2B5EF4-FFF2-40B4-BE49-F238E27FC236}">
                      <a16:creationId xmlns:a16="http://schemas.microsoft.com/office/drawing/2014/main" id="{585143AA-1072-B347-4F4B-ABF7A107623A}"/>
                    </a:ext>
                  </a:extLst>
                </p:cNvPr>
                <p:cNvSpPr/>
                <p:nvPr/>
              </p:nvSpPr>
              <p:spPr>
                <a:xfrm>
                  <a:off x="10513326" y="2355098"/>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 name="Freeform 6156">
                  <a:extLst>
                    <a:ext uri="{FF2B5EF4-FFF2-40B4-BE49-F238E27FC236}">
                      <a16:creationId xmlns:a16="http://schemas.microsoft.com/office/drawing/2014/main" id="{22A14A5D-EB22-3CD2-86BD-81DB10C0142E}"/>
                    </a:ext>
                  </a:extLst>
                </p:cNvPr>
                <p:cNvSpPr/>
                <p:nvPr/>
              </p:nvSpPr>
              <p:spPr>
                <a:xfrm>
                  <a:off x="10476870" y="2398540"/>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6" name="Graphic 953">
                <a:extLst>
                  <a:ext uri="{FF2B5EF4-FFF2-40B4-BE49-F238E27FC236}">
                    <a16:creationId xmlns:a16="http://schemas.microsoft.com/office/drawing/2014/main" id="{C16165B6-2635-EF66-50CE-6F035746B991}"/>
                  </a:ext>
                </a:extLst>
              </p:cNvPr>
              <p:cNvGrpSpPr/>
              <p:nvPr/>
            </p:nvGrpSpPr>
            <p:grpSpPr>
              <a:xfrm>
                <a:off x="10471535" y="2355098"/>
                <a:ext cx="73038" cy="86883"/>
                <a:chOff x="10471535" y="2355098"/>
                <a:chExt cx="73038" cy="86883"/>
              </a:xfrm>
            </p:grpSpPr>
            <p:sp>
              <p:nvSpPr>
                <p:cNvPr id="241" name="Freeform 6153">
                  <a:extLst>
                    <a:ext uri="{FF2B5EF4-FFF2-40B4-BE49-F238E27FC236}">
                      <a16:creationId xmlns:a16="http://schemas.microsoft.com/office/drawing/2014/main" id="{D060CBFF-49BC-CE32-3C98-BBCD2577934E}"/>
                    </a:ext>
                  </a:extLst>
                </p:cNvPr>
                <p:cNvSpPr/>
                <p:nvPr/>
              </p:nvSpPr>
              <p:spPr>
                <a:xfrm>
                  <a:off x="10507991" y="2355098"/>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 name="Freeform 6154">
                  <a:extLst>
                    <a:ext uri="{FF2B5EF4-FFF2-40B4-BE49-F238E27FC236}">
                      <a16:creationId xmlns:a16="http://schemas.microsoft.com/office/drawing/2014/main" id="{C46E9664-52BE-C41A-78B3-8A37EEE3E77A}"/>
                    </a:ext>
                  </a:extLst>
                </p:cNvPr>
                <p:cNvSpPr/>
                <p:nvPr/>
              </p:nvSpPr>
              <p:spPr>
                <a:xfrm>
                  <a:off x="10471535" y="2398540"/>
                  <a:ext cx="73038" cy="12702"/>
                </a:xfrm>
                <a:custGeom>
                  <a:avLst/>
                  <a:gdLst>
                    <a:gd name="connsiteX0" fmla="*/ 0 w 73038"/>
                    <a:gd name="connsiteY0" fmla="*/ 0 h 12702"/>
                    <a:gd name="connsiteX1" fmla="*/ 73038 w 73038"/>
                    <a:gd name="connsiteY1" fmla="*/ 0 h 12702"/>
                  </a:gdLst>
                  <a:ahLst/>
                  <a:cxnLst>
                    <a:cxn ang="0">
                      <a:pos x="connsiteX0" y="connsiteY0"/>
                    </a:cxn>
                    <a:cxn ang="0">
                      <a:pos x="connsiteX1" y="connsiteY1"/>
                    </a:cxn>
                  </a:cxnLst>
                  <a:rect l="l" t="t" r="r" b="b"/>
                  <a:pathLst>
                    <a:path w="73038" h="12702">
                      <a:moveTo>
                        <a:pt x="0" y="0"/>
                      </a:moveTo>
                      <a:lnTo>
                        <a:pt x="73038"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7" name="Graphic 953">
                <a:extLst>
                  <a:ext uri="{FF2B5EF4-FFF2-40B4-BE49-F238E27FC236}">
                    <a16:creationId xmlns:a16="http://schemas.microsoft.com/office/drawing/2014/main" id="{C729B4AD-DC58-4D85-8911-5ED1201D52E3}"/>
                  </a:ext>
                </a:extLst>
              </p:cNvPr>
              <p:cNvGrpSpPr/>
              <p:nvPr/>
            </p:nvGrpSpPr>
            <p:grpSpPr>
              <a:xfrm>
                <a:off x="10285701" y="2355098"/>
                <a:ext cx="73038" cy="86883"/>
                <a:chOff x="10285701" y="2355098"/>
                <a:chExt cx="73038" cy="86883"/>
              </a:xfrm>
            </p:grpSpPr>
            <p:sp>
              <p:nvSpPr>
                <p:cNvPr id="239" name="Freeform 6151">
                  <a:extLst>
                    <a:ext uri="{FF2B5EF4-FFF2-40B4-BE49-F238E27FC236}">
                      <a16:creationId xmlns:a16="http://schemas.microsoft.com/office/drawing/2014/main" id="{7F942D51-693D-6010-3617-3EA4A954F017}"/>
                    </a:ext>
                  </a:extLst>
                </p:cNvPr>
                <p:cNvSpPr/>
                <p:nvPr/>
              </p:nvSpPr>
              <p:spPr>
                <a:xfrm>
                  <a:off x="10322156" y="2355098"/>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 name="Freeform 6152">
                  <a:extLst>
                    <a:ext uri="{FF2B5EF4-FFF2-40B4-BE49-F238E27FC236}">
                      <a16:creationId xmlns:a16="http://schemas.microsoft.com/office/drawing/2014/main" id="{3ADBC12E-8CB2-A431-BBFD-A2C4712199F1}"/>
                    </a:ext>
                  </a:extLst>
                </p:cNvPr>
                <p:cNvSpPr/>
                <p:nvPr/>
              </p:nvSpPr>
              <p:spPr>
                <a:xfrm>
                  <a:off x="10285701" y="2398540"/>
                  <a:ext cx="73038" cy="12702"/>
                </a:xfrm>
                <a:custGeom>
                  <a:avLst/>
                  <a:gdLst>
                    <a:gd name="connsiteX0" fmla="*/ 0 w 73038"/>
                    <a:gd name="connsiteY0" fmla="*/ 0 h 12702"/>
                    <a:gd name="connsiteX1" fmla="*/ 73038 w 73038"/>
                    <a:gd name="connsiteY1" fmla="*/ 0 h 12702"/>
                  </a:gdLst>
                  <a:ahLst/>
                  <a:cxnLst>
                    <a:cxn ang="0">
                      <a:pos x="connsiteX0" y="connsiteY0"/>
                    </a:cxn>
                    <a:cxn ang="0">
                      <a:pos x="connsiteX1" y="connsiteY1"/>
                    </a:cxn>
                  </a:cxnLst>
                  <a:rect l="l" t="t" r="r" b="b"/>
                  <a:pathLst>
                    <a:path w="73038" h="12702">
                      <a:moveTo>
                        <a:pt x="0" y="0"/>
                      </a:moveTo>
                      <a:lnTo>
                        <a:pt x="73038"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8" name="Graphic 953">
                <a:extLst>
                  <a:ext uri="{FF2B5EF4-FFF2-40B4-BE49-F238E27FC236}">
                    <a16:creationId xmlns:a16="http://schemas.microsoft.com/office/drawing/2014/main" id="{55565FA6-BAC3-F9B3-704B-94A4DADA4B06}"/>
                  </a:ext>
                </a:extLst>
              </p:cNvPr>
              <p:cNvGrpSpPr/>
              <p:nvPr/>
            </p:nvGrpSpPr>
            <p:grpSpPr>
              <a:xfrm>
                <a:off x="10157027" y="2355098"/>
                <a:ext cx="72911" cy="86883"/>
                <a:chOff x="10157027" y="2355098"/>
                <a:chExt cx="72911" cy="86883"/>
              </a:xfrm>
            </p:grpSpPr>
            <p:sp>
              <p:nvSpPr>
                <p:cNvPr id="237" name="Freeform 6149">
                  <a:extLst>
                    <a:ext uri="{FF2B5EF4-FFF2-40B4-BE49-F238E27FC236}">
                      <a16:creationId xmlns:a16="http://schemas.microsoft.com/office/drawing/2014/main" id="{7CFF035E-3280-6996-06BC-B7E0360AE1A0}"/>
                    </a:ext>
                  </a:extLst>
                </p:cNvPr>
                <p:cNvSpPr/>
                <p:nvPr/>
              </p:nvSpPr>
              <p:spPr>
                <a:xfrm>
                  <a:off x="10193482" y="2355098"/>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 name="Freeform 6150">
                  <a:extLst>
                    <a:ext uri="{FF2B5EF4-FFF2-40B4-BE49-F238E27FC236}">
                      <a16:creationId xmlns:a16="http://schemas.microsoft.com/office/drawing/2014/main" id="{F970AE7D-88A7-46E4-7AA5-52EF20A3BE26}"/>
                    </a:ext>
                  </a:extLst>
                </p:cNvPr>
                <p:cNvSpPr/>
                <p:nvPr/>
              </p:nvSpPr>
              <p:spPr>
                <a:xfrm>
                  <a:off x="10157027" y="2398540"/>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9" name="Graphic 953">
                <a:extLst>
                  <a:ext uri="{FF2B5EF4-FFF2-40B4-BE49-F238E27FC236}">
                    <a16:creationId xmlns:a16="http://schemas.microsoft.com/office/drawing/2014/main" id="{66DBE416-9048-044C-E154-6DF5C5523A0E}"/>
                  </a:ext>
                </a:extLst>
              </p:cNvPr>
              <p:cNvGrpSpPr/>
              <p:nvPr/>
            </p:nvGrpSpPr>
            <p:grpSpPr>
              <a:xfrm>
                <a:off x="10124763" y="2355098"/>
                <a:ext cx="73038" cy="86883"/>
                <a:chOff x="10124763" y="2355098"/>
                <a:chExt cx="73038" cy="86883"/>
              </a:xfrm>
            </p:grpSpPr>
            <p:sp>
              <p:nvSpPr>
                <p:cNvPr id="235" name="Freeform 6147">
                  <a:extLst>
                    <a:ext uri="{FF2B5EF4-FFF2-40B4-BE49-F238E27FC236}">
                      <a16:creationId xmlns:a16="http://schemas.microsoft.com/office/drawing/2014/main" id="{5256F45F-1A54-9708-D0C4-43E6CF59031C}"/>
                    </a:ext>
                  </a:extLst>
                </p:cNvPr>
                <p:cNvSpPr/>
                <p:nvPr/>
              </p:nvSpPr>
              <p:spPr>
                <a:xfrm>
                  <a:off x="10161346" y="2355098"/>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 name="Freeform 6148">
                  <a:extLst>
                    <a:ext uri="{FF2B5EF4-FFF2-40B4-BE49-F238E27FC236}">
                      <a16:creationId xmlns:a16="http://schemas.microsoft.com/office/drawing/2014/main" id="{1E9DF1C7-48EA-4065-AB48-F4F30ECE7B4B}"/>
                    </a:ext>
                  </a:extLst>
                </p:cNvPr>
                <p:cNvSpPr/>
                <p:nvPr/>
              </p:nvSpPr>
              <p:spPr>
                <a:xfrm>
                  <a:off x="10124763" y="2398540"/>
                  <a:ext cx="73038" cy="12702"/>
                </a:xfrm>
                <a:custGeom>
                  <a:avLst/>
                  <a:gdLst>
                    <a:gd name="connsiteX0" fmla="*/ 0 w 73038"/>
                    <a:gd name="connsiteY0" fmla="*/ 0 h 12702"/>
                    <a:gd name="connsiteX1" fmla="*/ 73038 w 73038"/>
                    <a:gd name="connsiteY1" fmla="*/ 0 h 12702"/>
                  </a:gdLst>
                  <a:ahLst/>
                  <a:cxnLst>
                    <a:cxn ang="0">
                      <a:pos x="connsiteX0" y="connsiteY0"/>
                    </a:cxn>
                    <a:cxn ang="0">
                      <a:pos x="connsiteX1" y="connsiteY1"/>
                    </a:cxn>
                  </a:cxnLst>
                  <a:rect l="l" t="t" r="r" b="b"/>
                  <a:pathLst>
                    <a:path w="73038" h="12702">
                      <a:moveTo>
                        <a:pt x="0" y="0"/>
                      </a:moveTo>
                      <a:lnTo>
                        <a:pt x="73038"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0" name="Graphic 953">
                <a:extLst>
                  <a:ext uri="{FF2B5EF4-FFF2-40B4-BE49-F238E27FC236}">
                    <a16:creationId xmlns:a16="http://schemas.microsoft.com/office/drawing/2014/main" id="{309E3EA5-FBDC-8D9B-3AF6-046ADE8B64AE}"/>
                  </a:ext>
                </a:extLst>
              </p:cNvPr>
              <p:cNvGrpSpPr/>
              <p:nvPr/>
            </p:nvGrpSpPr>
            <p:grpSpPr>
              <a:xfrm>
                <a:off x="9680946" y="2182220"/>
                <a:ext cx="72911" cy="86883"/>
                <a:chOff x="9680946" y="2182220"/>
                <a:chExt cx="72911" cy="86883"/>
              </a:xfrm>
            </p:grpSpPr>
            <p:sp>
              <p:nvSpPr>
                <p:cNvPr id="233" name="Freeform 6145">
                  <a:extLst>
                    <a:ext uri="{FF2B5EF4-FFF2-40B4-BE49-F238E27FC236}">
                      <a16:creationId xmlns:a16="http://schemas.microsoft.com/office/drawing/2014/main" id="{C448C8D9-7DE0-672E-D996-79E583DB755B}"/>
                    </a:ext>
                  </a:extLst>
                </p:cNvPr>
                <p:cNvSpPr/>
                <p:nvPr/>
              </p:nvSpPr>
              <p:spPr>
                <a:xfrm>
                  <a:off x="9717401" y="2182220"/>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 name="Freeform 6146">
                  <a:extLst>
                    <a:ext uri="{FF2B5EF4-FFF2-40B4-BE49-F238E27FC236}">
                      <a16:creationId xmlns:a16="http://schemas.microsoft.com/office/drawing/2014/main" id="{A58A6742-766F-3337-C5E1-D65D79531CBA}"/>
                    </a:ext>
                  </a:extLst>
                </p:cNvPr>
                <p:cNvSpPr/>
                <p:nvPr/>
              </p:nvSpPr>
              <p:spPr>
                <a:xfrm>
                  <a:off x="9680946" y="2225662"/>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1" name="Graphic 953">
                <a:extLst>
                  <a:ext uri="{FF2B5EF4-FFF2-40B4-BE49-F238E27FC236}">
                    <a16:creationId xmlns:a16="http://schemas.microsoft.com/office/drawing/2014/main" id="{169AECED-6DF0-C50A-6E60-8FF60D21B590}"/>
                  </a:ext>
                </a:extLst>
              </p:cNvPr>
              <p:cNvGrpSpPr/>
              <p:nvPr/>
            </p:nvGrpSpPr>
            <p:grpSpPr>
              <a:xfrm>
                <a:off x="9677770" y="2182220"/>
                <a:ext cx="72911" cy="86883"/>
                <a:chOff x="9677770" y="2182220"/>
                <a:chExt cx="72911" cy="86883"/>
              </a:xfrm>
            </p:grpSpPr>
            <p:sp>
              <p:nvSpPr>
                <p:cNvPr id="231" name="Freeform 6143">
                  <a:extLst>
                    <a:ext uri="{FF2B5EF4-FFF2-40B4-BE49-F238E27FC236}">
                      <a16:creationId xmlns:a16="http://schemas.microsoft.com/office/drawing/2014/main" id="{884F4796-4C9B-746F-6EC1-C66B3307A098}"/>
                    </a:ext>
                  </a:extLst>
                </p:cNvPr>
                <p:cNvSpPr/>
                <p:nvPr/>
              </p:nvSpPr>
              <p:spPr>
                <a:xfrm>
                  <a:off x="9714226" y="2182220"/>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 name="Freeform 6144">
                  <a:extLst>
                    <a:ext uri="{FF2B5EF4-FFF2-40B4-BE49-F238E27FC236}">
                      <a16:creationId xmlns:a16="http://schemas.microsoft.com/office/drawing/2014/main" id="{6344492A-B042-81C1-7444-E1BED06EA551}"/>
                    </a:ext>
                  </a:extLst>
                </p:cNvPr>
                <p:cNvSpPr/>
                <p:nvPr/>
              </p:nvSpPr>
              <p:spPr>
                <a:xfrm>
                  <a:off x="9677770" y="2225662"/>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2" name="Graphic 953">
                <a:extLst>
                  <a:ext uri="{FF2B5EF4-FFF2-40B4-BE49-F238E27FC236}">
                    <a16:creationId xmlns:a16="http://schemas.microsoft.com/office/drawing/2014/main" id="{BBE17924-46B9-2CE2-6803-CFBAA30C49C3}"/>
                  </a:ext>
                </a:extLst>
              </p:cNvPr>
              <p:cNvGrpSpPr/>
              <p:nvPr/>
            </p:nvGrpSpPr>
            <p:grpSpPr>
              <a:xfrm>
                <a:off x="9656684" y="2182220"/>
                <a:ext cx="72911" cy="86883"/>
                <a:chOff x="9656684" y="2182220"/>
                <a:chExt cx="72911" cy="86883"/>
              </a:xfrm>
            </p:grpSpPr>
            <p:sp>
              <p:nvSpPr>
                <p:cNvPr id="229" name="Freeform 6141">
                  <a:extLst>
                    <a:ext uri="{FF2B5EF4-FFF2-40B4-BE49-F238E27FC236}">
                      <a16:creationId xmlns:a16="http://schemas.microsoft.com/office/drawing/2014/main" id="{E402A58B-59AB-A9F9-0869-2957192369C7}"/>
                    </a:ext>
                  </a:extLst>
                </p:cNvPr>
                <p:cNvSpPr/>
                <p:nvPr/>
              </p:nvSpPr>
              <p:spPr>
                <a:xfrm>
                  <a:off x="9693140" y="2182220"/>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 name="Freeform 6142">
                  <a:extLst>
                    <a:ext uri="{FF2B5EF4-FFF2-40B4-BE49-F238E27FC236}">
                      <a16:creationId xmlns:a16="http://schemas.microsoft.com/office/drawing/2014/main" id="{95703D28-2C61-6E8B-4A8C-1E4EEB4D5EF5}"/>
                    </a:ext>
                  </a:extLst>
                </p:cNvPr>
                <p:cNvSpPr/>
                <p:nvPr/>
              </p:nvSpPr>
              <p:spPr>
                <a:xfrm>
                  <a:off x="9656684" y="2225662"/>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3" name="Graphic 953">
                <a:extLst>
                  <a:ext uri="{FF2B5EF4-FFF2-40B4-BE49-F238E27FC236}">
                    <a16:creationId xmlns:a16="http://schemas.microsoft.com/office/drawing/2014/main" id="{E860976B-54E4-383C-81E6-7E0284828FF5}"/>
                  </a:ext>
                </a:extLst>
              </p:cNvPr>
              <p:cNvGrpSpPr/>
              <p:nvPr/>
            </p:nvGrpSpPr>
            <p:grpSpPr>
              <a:xfrm>
                <a:off x="9645760" y="2182220"/>
                <a:ext cx="72911" cy="86883"/>
                <a:chOff x="9645760" y="2182220"/>
                <a:chExt cx="72911" cy="86883"/>
              </a:xfrm>
            </p:grpSpPr>
            <p:sp>
              <p:nvSpPr>
                <p:cNvPr id="227" name="Freeform 6139">
                  <a:extLst>
                    <a:ext uri="{FF2B5EF4-FFF2-40B4-BE49-F238E27FC236}">
                      <a16:creationId xmlns:a16="http://schemas.microsoft.com/office/drawing/2014/main" id="{B3BB112D-958E-4FD2-A6E0-EA1915E1BCB4}"/>
                    </a:ext>
                  </a:extLst>
                </p:cNvPr>
                <p:cNvSpPr/>
                <p:nvPr/>
              </p:nvSpPr>
              <p:spPr>
                <a:xfrm>
                  <a:off x="9682216" y="2182220"/>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 name="Freeform 6140">
                  <a:extLst>
                    <a:ext uri="{FF2B5EF4-FFF2-40B4-BE49-F238E27FC236}">
                      <a16:creationId xmlns:a16="http://schemas.microsoft.com/office/drawing/2014/main" id="{440C38FD-3DEF-0F3E-CA7E-1553396DEC44}"/>
                    </a:ext>
                  </a:extLst>
                </p:cNvPr>
                <p:cNvSpPr/>
                <p:nvPr/>
              </p:nvSpPr>
              <p:spPr>
                <a:xfrm>
                  <a:off x="9645760" y="2225662"/>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4" name="Graphic 953">
                <a:extLst>
                  <a:ext uri="{FF2B5EF4-FFF2-40B4-BE49-F238E27FC236}">
                    <a16:creationId xmlns:a16="http://schemas.microsoft.com/office/drawing/2014/main" id="{4CD8A667-16A0-1289-161B-5A44605318B1}"/>
                  </a:ext>
                </a:extLst>
              </p:cNvPr>
              <p:cNvGrpSpPr/>
              <p:nvPr/>
            </p:nvGrpSpPr>
            <p:grpSpPr>
              <a:xfrm>
                <a:off x="9612989" y="2039446"/>
                <a:ext cx="73038" cy="86883"/>
                <a:chOff x="9612989" y="2039446"/>
                <a:chExt cx="73038" cy="86883"/>
              </a:xfrm>
            </p:grpSpPr>
            <p:sp>
              <p:nvSpPr>
                <p:cNvPr id="225" name="Freeform 6137">
                  <a:extLst>
                    <a:ext uri="{FF2B5EF4-FFF2-40B4-BE49-F238E27FC236}">
                      <a16:creationId xmlns:a16="http://schemas.microsoft.com/office/drawing/2014/main" id="{A75BBBEB-D160-D454-5F63-57ADE6A96373}"/>
                    </a:ext>
                  </a:extLst>
                </p:cNvPr>
                <p:cNvSpPr/>
                <p:nvPr/>
              </p:nvSpPr>
              <p:spPr>
                <a:xfrm>
                  <a:off x="9649444" y="2039446"/>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 name="Freeform 6138">
                  <a:extLst>
                    <a:ext uri="{FF2B5EF4-FFF2-40B4-BE49-F238E27FC236}">
                      <a16:creationId xmlns:a16="http://schemas.microsoft.com/office/drawing/2014/main" id="{2DBECE8E-CCA3-CC01-FE44-6E387090D41D}"/>
                    </a:ext>
                  </a:extLst>
                </p:cNvPr>
                <p:cNvSpPr/>
                <p:nvPr/>
              </p:nvSpPr>
              <p:spPr>
                <a:xfrm>
                  <a:off x="9612989" y="2082888"/>
                  <a:ext cx="73038" cy="12702"/>
                </a:xfrm>
                <a:custGeom>
                  <a:avLst/>
                  <a:gdLst>
                    <a:gd name="connsiteX0" fmla="*/ 0 w 73038"/>
                    <a:gd name="connsiteY0" fmla="*/ 0 h 12702"/>
                    <a:gd name="connsiteX1" fmla="*/ 73038 w 73038"/>
                    <a:gd name="connsiteY1" fmla="*/ 0 h 12702"/>
                  </a:gdLst>
                  <a:ahLst/>
                  <a:cxnLst>
                    <a:cxn ang="0">
                      <a:pos x="connsiteX0" y="connsiteY0"/>
                    </a:cxn>
                    <a:cxn ang="0">
                      <a:pos x="connsiteX1" y="connsiteY1"/>
                    </a:cxn>
                  </a:cxnLst>
                  <a:rect l="l" t="t" r="r" b="b"/>
                  <a:pathLst>
                    <a:path w="73038" h="12702">
                      <a:moveTo>
                        <a:pt x="0" y="0"/>
                      </a:moveTo>
                      <a:lnTo>
                        <a:pt x="73038"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5" name="Graphic 953">
                <a:extLst>
                  <a:ext uri="{FF2B5EF4-FFF2-40B4-BE49-F238E27FC236}">
                    <a16:creationId xmlns:a16="http://schemas.microsoft.com/office/drawing/2014/main" id="{D646D000-9B3B-AE1B-53CC-4CE4B161052E}"/>
                  </a:ext>
                </a:extLst>
              </p:cNvPr>
              <p:cNvGrpSpPr/>
              <p:nvPr/>
            </p:nvGrpSpPr>
            <p:grpSpPr>
              <a:xfrm>
                <a:off x="9634328" y="2039446"/>
                <a:ext cx="72911" cy="86883"/>
                <a:chOff x="9634328" y="2039446"/>
                <a:chExt cx="72911" cy="86883"/>
              </a:xfrm>
            </p:grpSpPr>
            <p:sp>
              <p:nvSpPr>
                <p:cNvPr id="223" name="Freeform 6135">
                  <a:extLst>
                    <a:ext uri="{FF2B5EF4-FFF2-40B4-BE49-F238E27FC236}">
                      <a16:creationId xmlns:a16="http://schemas.microsoft.com/office/drawing/2014/main" id="{85CF778F-E6D3-D4D2-0056-9E3F416ABF4B}"/>
                    </a:ext>
                  </a:extLst>
                </p:cNvPr>
                <p:cNvSpPr/>
                <p:nvPr/>
              </p:nvSpPr>
              <p:spPr>
                <a:xfrm>
                  <a:off x="9670784" y="2039446"/>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 name="Freeform 6136">
                  <a:extLst>
                    <a:ext uri="{FF2B5EF4-FFF2-40B4-BE49-F238E27FC236}">
                      <a16:creationId xmlns:a16="http://schemas.microsoft.com/office/drawing/2014/main" id="{61CB8C64-6025-0098-0074-60310A6855EB}"/>
                    </a:ext>
                  </a:extLst>
                </p:cNvPr>
                <p:cNvSpPr/>
                <p:nvPr/>
              </p:nvSpPr>
              <p:spPr>
                <a:xfrm>
                  <a:off x="9634328" y="2082888"/>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6" name="Graphic 953">
                <a:extLst>
                  <a:ext uri="{FF2B5EF4-FFF2-40B4-BE49-F238E27FC236}">
                    <a16:creationId xmlns:a16="http://schemas.microsoft.com/office/drawing/2014/main" id="{D70C1E15-E283-0111-0BCC-987A774BED09}"/>
                  </a:ext>
                </a:extLst>
              </p:cNvPr>
              <p:cNvGrpSpPr/>
              <p:nvPr/>
            </p:nvGrpSpPr>
            <p:grpSpPr>
              <a:xfrm>
                <a:off x="9489014" y="2039446"/>
                <a:ext cx="73038" cy="86883"/>
                <a:chOff x="9489014" y="2039446"/>
                <a:chExt cx="73038" cy="86883"/>
              </a:xfrm>
            </p:grpSpPr>
            <p:sp>
              <p:nvSpPr>
                <p:cNvPr id="221" name="Freeform 6133">
                  <a:extLst>
                    <a:ext uri="{FF2B5EF4-FFF2-40B4-BE49-F238E27FC236}">
                      <a16:creationId xmlns:a16="http://schemas.microsoft.com/office/drawing/2014/main" id="{A76381EA-A6FF-AD7E-D680-27F27C716CE6}"/>
                    </a:ext>
                  </a:extLst>
                </p:cNvPr>
                <p:cNvSpPr/>
                <p:nvPr/>
              </p:nvSpPr>
              <p:spPr>
                <a:xfrm>
                  <a:off x="9525470" y="2039446"/>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 name="Freeform 6134">
                  <a:extLst>
                    <a:ext uri="{FF2B5EF4-FFF2-40B4-BE49-F238E27FC236}">
                      <a16:creationId xmlns:a16="http://schemas.microsoft.com/office/drawing/2014/main" id="{73D515F0-E8DE-741F-E5A7-CA8ABB38E50E}"/>
                    </a:ext>
                  </a:extLst>
                </p:cNvPr>
                <p:cNvSpPr/>
                <p:nvPr/>
              </p:nvSpPr>
              <p:spPr>
                <a:xfrm>
                  <a:off x="9489014" y="2082888"/>
                  <a:ext cx="73038" cy="12702"/>
                </a:xfrm>
                <a:custGeom>
                  <a:avLst/>
                  <a:gdLst>
                    <a:gd name="connsiteX0" fmla="*/ 0 w 73038"/>
                    <a:gd name="connsiteY0" fmla="*/ 0 h 12702"/>
                    <a:gd name="connsiteX1" fmla="*/ 73038 w 73038"/>
                    <a:gd name="connsiteY1" fmla="*/ 0 h 12702"/>
                  </a:gdLst>
                  <a:ahLst/>
                  <a:cxnLst>
                    <a:cxn ang="0">
                      <a:pos x="connsiteX0" y="connsiteY0"/>
                    </a:cxn>
                    <a:cxn ang="0">
                      <a:pos x="connsiteX1" y="connsiteY1"/>
                    </a:cxn>
                  </a:cxnLst>
                  <a:rect l="l" t="t" r="r" b="b"/>
                  <a:pathLst>
                    <a:path w="73038" h="12702">
                      <a:moveTo>
                        <a:pt x="0" y="0"/>
                      </a:moveTo>
                      <a:lnTo>
                        <a:pt x="73038"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7" name="Graphic 953">
                <a:extLst>
                  <a:ext uri="{FF2B5EF4-FFF2-40B4-BE49-F238E27FC236}">
                    <a16:creationId xmlns:a16="http://schemas.microsoft.com/office/drawing/2014/main" id="{E8A5FF66-F13E-C95D-908A-D01BAC55DE77}"/>
                  </a:ext>
                </a:extLst>
              </p:cNvPr>
              <p:cNvGrpSpPr/>
              <p:nvPr/>
            </p:nvGrpSpPr>
            <p:grpSpPr>
              <a:xfrm>
                <a:off x="9133859" y="1973268"/>
                <a:ext cx="72911" cy="86883"/>
                <a:chOff x="9133859" y="1973268"/>
                <a:chExt cx="72911" cy="86883"/>
              </a:xfrm>
            </p:grpSpPr>
            <p:sp>
              <p:nvSpPr>
                <p:cNvPr id="219" name="Freeform 6131">
                  <a:extLst>
                    <a:ext uri="{FF2B5EF4-FFF2-40B4-BE49-F238E27FC236}">
                      <a16:creationId xmlns:a16="http://schemas.microsoft.com/office/drawing/2014/main" id="{AB610EAB-074E-4B36-9CAD-DA64332B4FDC}"/>
                    </a:ext>
                  </a:extLst>
                </p:cNvPr>
                <p:cNvSpPr/>
                <p:nvPr/>
              </p:nvSpPr>
              <p:spPr>
                <a:xfrm>
                  <a:off x="9170314" y="1973268"/>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 name="Freeform 6132">
                  <a:extLst>
                    <a:ext uri="{FF2B5EF4-FFF2-40B4-BE49-F238E27FC236}">
                      <a16:creationId xmlns:a16="http://schemas.microsoft.com/office/drawing/2014/main" id="{3D2C7298-EA5D-80C9-A46C-9167023E1B6E}"/>
                    </a:ext>
                  </a:extLst>
                </p:cNvPr>
                <p:cNvSpPr/>
                <p:nvPr/>
              </p:nvSpPr>
              <p:spPr>
                <a:xfrm>
                  <a:off x="9133859" y="2016709"/>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8" name="Graphic 953">
                <a:extLst>
                  <a:ext uri="{FF2B5EF4-FFF2-40B4-BE49-F238E27FC236}">
                    <a16:creationId xmlns:a16="http://schemas.microsoft.com/office/drawing/2014/main" id="{2D0515C8-BD8A-97C8-9EA8-FBF68ACE76FA}"/>
                  </a:ext>
                </a:extLst>
              </p:cNvPr>
              <p:cNvGrpSpPr/>
              <p:nvPr/>
            </p:nvGrpSpPr>
            <p:grpSpPr>
              <a:xfrm>
                <a:off x="8721162" y="1973268"/>
                <a:ext cx="72911" cy="86883"/>
                <a:chOff x="8721162" y="1973268"/>
                <a:chExt cx="72911" cy="86883"/>
              </a:xfrm>
            </p:grpSpPr>
            <p:sp>
              <p:nvSpPr>
                <p:cNvPr id="217" name="Freeform 6129">
                  <a:extLst>
                    <a:ext uri="{FF2B5EF4-FFF2-40B4-BE49-F238E27FC236}">
                      <a16:creationId xmlns:a16="http://schemas.microsoft.com/office/drawing/2014/main" id="{C2CFC504-D107-9DAA-F4A6-FBD3F554DCC2}"/>
                    </a:ext>
                  </a:extLst>
                </p:cNvPr>
                <p:cNvSpPr/>
                <p:nvPr/>
              </p:nvSpPr>
              <p:spPr>
                <a:xfrm>
                  <a:off x="8757618" y="1973268"/>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8" name="Freeform 6130">
                  <a:extLst>
                    <a:ext uri="{FF2B5EF4-FFF2-40B4-BE49-F238E27FC236}">
                      <a16:creationId xmlns:a16="http://schemas.microsoft.com/office/drawing/2014/main" id="{7570082C-72ED-7E39-6892-6DE07AAF174A}"/>
                    </a:ext>
                  </a:extLst>
                </p:cNvPr>
                <p:cNvSpPr/>
                <p:nvPr/>
              </p:nvSpPr>
              <p:spPr>
                <a:xfrm>
                  <a:off x="8721162" y="2016709"/>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9" name="Graphic 953">
                <a:extLst>
                  <a:ext uri="{FF2B5EF4-FFF2-40B4-BE49-F238E27FC236}">
                    <a16:creationId xmlns:a16="http://schemas.microsoft.com/office/drawing/2014/main" id="{4447C457-E5D5-55A2-FDA0-6C21F774FB3B}"/>
                  </a:ext>
                </a:extLst>
              </p:cNvPr>
              <p:cNvGrpSpPr/>
              <p:nvPr/>
            </p:nvGrpSpPr>
            <p:grpSpPr>
              <a:xfrm>
                <a:off x="8673020" y="1911026"/>
                <a:ext cx="72911" cy="86883"/>
                <a:chOff x="8673020" y="1911026"/>
                <a:chExt cx="72911" cy="86883"/>
              </a:xfrm>
            </p:grpSpPr>
            <p:sp>
              <p:nvSpPr>
                <p:cNvPr id="215" name="Freeform 6127">
                  <a:extLst>
                    <a:ext uri="{FF2B5EF4-FFF2-40B4-BE49-F238E27FC236}">
                      <a16:creationId xmlns:a16="http://schemas.microsoft.com/office/drawing/2014/main" id="{B4F2BD79-1CC0-4820-0163-70F307F08600}"/>
                    </a:ext>
                  </a:extLst>
                </p:cNvPr>
                <p:cNvSpPr/>
                <p:nvPr/>
              </p:nvSpPr>
              <p:spPr>
                <a:xfrm>
                  <a:off x="8709476" y="1911026"/>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6" name="Freeform 6128">
                  <a:extLst>
                    <a:ext uri="{FF2B5EF4-FFF2-40B4-BE49-F238E27FC236}">
                      <a16:creationId xmlns:a16="http://schemas.microsoft.com/office/drawing/2014/main" id="{26CACA71-1B4C-8665-B29F-E129E6BB17F4}"/>
                    </a:ext>
                  </a:extLst>
                </p:cNvPr>
                <p:cNvSpPr/>
                <p:nvPr/>
              </p:nvSpPr>
              <p:spPr>
                <a:xfrm>
                  <a:off x="8673020" y="1954468"/>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0" name="Graphic 953">
                <a:extLst>
                  <a:ext uri="{FF2B5EF4-FFF2-40B4-BE49-F238E27FC236}">
                    <a16:creationId xmlns:a16="http://schemas.microsoft.com/office/drawing/2014/main" id="{DE5E1C15-B7E8-370E-EB9B-B1A6B48DB6E9}"/>
                  </a:ext>
                </a:extLst>
              </p:cNvPr>
              <p:cNvGrpSpPr/>
              <p:nvPr/>
            </p:nvGrpSpPr>
            <p:grpSpPr>
              <a:xfrm>
                <a:off x="8627927" y="1911026"/>
                <a:ext cx="72911" cy="86883"/>
                <a:chOff x="8627927" y="1911026"/>
                <a:chExt cx="72911" cy="86883"/>
              </a:xfrm>
            </p:grpSpPr>
            <p:sp>
              <p:nvSpPr>
                <p:cNvPr id="213" name="Freeform 6125">
                  <a:extLst>
                    <a:ext uri="{FF2B5EF4-FFF2-40B4-BE49-F238E27FC236}">
                      <a16:creationId xmlns:a16="http://schemas.microsoft.com/office/drawing/2014/main" id="{134D5A68-7B95-6070-8445-0FEEA4B11914}"/>
                    </a:ext>
                  </a:extLst>
                </p:cNvPr>
                <p:cNvSpPr/>
                <p:nvPr/>
              </p:nvSpPr>
              <p:spPr>
                <a:xfrm>
                  <a:off x="8664383" y="1911026"/>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4" name="Freeform 6126">
                  <a:extLst>
                    <a:ext uri="{FF2B5EF4-FFF2-40B4-BE49-F238E27FC236}">
                      <a16:creationId xmlns:a16="http://schemas.microsoft.com/office/drawing/2014/main" id="{174A8DB4-3CEB-92B2-A521-41C3E875ADC1}"/>
                    </a:ext>
                  </a:extLst>
                </p:cNvPr>
                <p:cNvSpPr/>
                <p:nvPr/>
              </p:nvSpPr>
              <p:spPr>
                <a:xfrm>
                  <a:off x="8627927" y="1954468"/>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1" name="Graphic 953">
                <a:extLst>
                  <a:ext uri="{FF2B5EF4-FFF2-40B4-BE49-F238E27FC236}">
                    <a16:creationId xmlns:a16="http://schemas.microsoft.com/office/drawing/2014/main" id="{5BDF8ED2-83B9-9B66-4899-C0BD53A6D989}"/>
                  </a:ext>
                </a:extLst>
              </p:cNvPr>
              <p:cNvGrpSpPr/>
              <p:nvPr/>
            </p:nvGrpSpPr>
            <p:grpSpPr>
              <a:xfrm>
                <a:off x="8229076" y="1911026"/>
                <a:ext cx="72911" cy="86883"/>
                <a:chOff x="8229076" y="1911026"/>
                <a:chExt cx="72911" cy="86883"/>
              </a:xfrm>
            </p:grpSpPr>
            <p:sp>
              <p:nvSpPr>
                <p:cNvPr id="211" name="Freeform 6123">
                  <a:extLst>
                    <a:ext uri="{FF2B5EF4-FFF2-40B4-BE49-F238E27FC236}">
                      <a16:creationId xmlns:a16="http://schemas.microsoft.com/office/drawing/2014/main" id="{66F9A50C-A221-291D-E189-0519FE0B7C9D}"/>
                    </a:ext>
                  </a:extLst>
                </p:cNvPr>
                <p:cNvSpPr/>
                <p:nvPr/>
              </p:nvSpPr>
              <p:spPr>
                <a:xfrm>
                  <a:off x="8265532" y="1911026"/>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2" name="Freeform 6124">
                  <a:extLst>
                    <a:ext uri="{FF2B5EF4-FFF2-40B4-BE49-F238E27FC236}">
                      <a16:creationId xmlns:a16="http://schemas.microsoft.com/office/drawing/2014/main" id="{59D5CF5D-2C81-0D41-1256-B3BD64302ECC}"/>
                    </a:ext>
                  </a:extLst>
                </p:cNvPr>
                <p:cNvSpPr/>
                <p:nvPr/>
              </p:nvSpPr>
              <p:spPr>
                <a:xfrm>
                  <a:off x="8229076" y="1954468"/>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2" name="Graphic 953">
                <a:extLst>
                  <a:ext uri="{FF2B5EF4-FFF2-40B4-BE49-F238E27FC236}">
                    <a16:creationId xmlns:a16="http://schemas.microsoft.com/office/drawing/2014/main" id="{DF791350-9CCB-0C7D-2F18-1976C510800D}"/>
                  </a:ext>
                </a:extLst>
              </p:cNvPr>
              <p:cNvGrpSpPr/>
              <p:nvPr/>
            </p:nvGrpSpPr>
            <p:grpSpPr>
              <a:xfrm>
                <a:off x="7795801" y="1911026"/>
                <a:ext cx="72911" cy="86883"/>
                <a:chOff x="7795801" y="1911026"/>
                <a:chExt cx="72911" cy="86883"/>
              </a:xfrm>
            </p:grpSpPr>
            <p:sp>
              <p:nvSpPr>
                <p:cNvPr id="209" name="Freeform 6121">
                  <a:extLst>
                    <a:ext uri="{FF2B5EF4-FFF2-40B4-BE49-F238E27FC236}">
                      <a16:creationId xmlns:a16="http://schemas.microsoft.com/office/drawing/2014/main" id="{85B4D6D0-12EA-E2EE-C9AA-6E5764932012}"/>
                    </a:ext>
                  </a:extLst>
                </p:cNvPr>
                <p:cNvSpPr/>
                <p:nvPr/>
              </p:nvSpPr>
              <p:spPr>
                <a:xfrm>
                  <a:off x="7832257" y="1911026"/>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0" name="Freeform 6122">
                  <a:extLst>
                    <a:ext uri="{FF2B5EF4-FFF2-40B4-BE49-F238E27FC236}">
                      <a16:creationId xmlns:a16="http://schemas.microsoft.com/office/drawing/2014/main" id="{8F0AA67A-21AE-5F24-C86E-0D5AC9057ADF}"/>
                    </a:ext>
                  </a:extLst>
                </p:cNvPr>
                <p:cNvSpPr/>
                <p:nvPr/>
              </p:nvSpPr>
              <p:spPr>
                <a:xfrm>
                  <a:off x="7795801" y="1954468"/>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3" name="Graphic 953">
                <a:extLst>
                  <a:ext uri="{FF2B5EF4-FFF2-40B4-BE49-F238E27FC236}">
                    <a16:creationId xmlns:a16="http://schemas.microsoft.com/office/drawing/2014/main" id="{6EDE74FC-F9F6-C56E-E07B-ADB55777AAD0}"/>
                  </a:ext>
                </a:extLst>
              </p:cNvPr>
              <p:cNvGrpSpPr/>
              <p:nvPr/>
            </p:nvGrpSpPr>
            <p:grpSpPr>
              <a:xfrm>
                <a:off x="7445854" y="1858947"/>
                <a:ext cx="72911" cy="86883"/>
                <a:chOff x="7445854" y="1858947"/>
                <a:chExt cx="72911" cy="86883"/>
              </a:xfrm>
            </p:grpSpPr>
            <p:sp>
              <p:nvSpPr>
                <p:cNvPr id="207" name="Freeform 6119">
                  <a:extLst>
                    <a:ext uri="{FF2B5EF4-FFF2-40B4-BE49-F238E27FC236}">
                      <a16:creationId xmlns:a16="http://schemas.microsoft.com/office/drawing/2014/main" id="{E89A6BE2-0034-EF0F-7FB8-DD279C143367}"/>
                    </a:ext>
                  </a:extLst>
                </p:cNvPr>
                <p:cNvSpPr/>
                <p:nvPr/>
              </p:nvSpPr>
              <p:spPr>
                <a:xfrm>
                  <a:off x="7482309" y="1858947"/>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8" name="Freeform 6120">
                  <a:extLst>
                    <a:ext uri="{FF2B5EF4-FFF2-40B4-BE49-F238E27FC236}">
                      <a16:creationId xmlns:a16="http://schemas.microsoft.com/office/drawing/2014/main" id="{6043DD14-1389-2DA8-12D9-9DC00F8F7E88}"/>
                    </a:ext>
                  </a:extLst>
                </p:cNvPr>
                <p:cNvSpPr/>
                <p:nvPr/>
              </p:nvSpPr>
              <p:spPr>
                <a:xfrm>
                  <a:off x="7445854" y="1902389"/>
                  <a:ext cx="72911" cy="12702"/>
                </a:xfrm>
                <a:custGeom>
                  <a:avLst/>
                  <a:gdLst>
                    <a:gd name="connsiteX0" fmla="*/ 0 w 72911"/>
                    <a:gd name="connsiteY0" fmla="*/ 0 h 12702"/>
                    <a:gd name="connsiteX1" fmla="*/ 72911 w 72911"/>
                    <a:gd name="connsiteY1" fmla="*/ 0 h 12702"/>
                  </a:gdLst>
                  <a:ahLst/>
                  <a:cxnLst>
                    <a:cxn ang="0">
                      <a:pos x="connsiteX0" y="connsiteY0"/>
                    </a:cxn>
                    <a:cxn ang="0">
                      <a:pos x="connsiteX1" y="connsiteY1"/>
                    </a:cxn>
                  </a:cxnLst>
                  <a:rect l="l" t="t" r="r" b="b"/>
                  <a:pathLst>
                    <a:path w="72911" h="12702">
                      <a:moveTo>
                        <a:pt x="0" y="0"/>
                      </a:moveTo>
                      <a:lnTo>
                        <a:pt x="72911"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4" name="Graphic 953">
                <a:extLst>
                  <a:ext uri="{FF2B5EF4-FFF2-40B4-BE49-F238E27FC236}">
                    <a16:creationId xmlns:a16="http://schemas.microsoft.com/office/drawing/2014/main" id="{3A05FD36-44A9-F9A0-128B-6D3BF0E5B990}"/>
                  </a:ext>
                </a:extLst>
              </p:cNvPr>
              <p:cNvGrpSpPr/>
              <p:nvPr/>
            </p:nvGrpSpPr>
            <p:grpSpPr>
              <a:xfrm>
                <a:off x="7373197" y="1858947"/>
                <a:ext cx="73038" cy="86883"/>
                <a:chOff x="7373197" y="1858947"/>
                <a:chExt cx="73038" cy="86883"/>
              </a:xfrm>
            </p:grpSpPr>
            <p:sp>
              <p:nvSpPr>
                <p:cNvPr id="205" name="Freeform 6117">
                  <a:extLst>
                    <a:ext uri="{FF2B5EF4-FFF2-40B4-BE49-F238E27FC236}">
                      <a16:creationId xmlns:a16="http://schemas.microsoft.com/office/drawing/2014/main" id="{71B820DB-FBDF-9847-5AAA-09D7B6B19645}"/>
                    </a:ext>
                  </a:extLst>
                </p:cNvPr>
                <p:cNvSpPr/>
                <p:nvPr/>
              </p:nvSpPr>
              <p:spPr>
                <a:xfrm>
                  <a:off x="7409652" y="1858947"/>
                  <a:ext cx="12702" cy="86883"/>
                </a:xfrm>
                <a:custGeom>
                  <a:avLst/>
                  <a:gdLst>
                    <a:gd name="connsiteX0" fmla="*/ 0 w 12702"/>
                    <a:gd name="connsiteY0" fmla="*/ 0 h 86883"/>
                    <a:gd name="connsiteX1" fmla="*/ 0 w 12702"/>
                    <a:gd name="connsiteY1" fmla="*/ 86884 h 86883"/>
                  </a:gdLst>
                  <a:ahLst/>
                  <a:cxnLst>
                    <a:cxn ang="0">
                      <a:pos x="connsiteX0" y="connsiteY0"/>
                    </a:cxn>
                    <a:cxn ang="0">
                      <a:pos x="connsiteX1" y="connsiteY1"/>
                    </a:cxn>
                  </a:cxnLst>
                  <a:rect l="l" t="t" r="r" b="b"/>
                  <a:pathLst>
                    <a:path w="12702" h="86883">
                      <a:moveTo>
                        <a:pt x="0" y="0"/>
                      </a:moveTo>
                      <a:lnTo>
                        <a:pt x="0" y="86884"/>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6" name="Freeform 6118">
                  <a:extLst>
                    <a:ext uri="{FF2B5EF4-FFF2-40B4-BE49-F238E27FC236}">
                      <a16:creationId xmlns:a16="http://schemas.microsoft.com/office/drawing/2014/main" id="{B951A2B1-892F-9229-59D8-8B01A3EDA6AD}"/>
                    </a:ext>
                  </a:extLst>
                </p:cNvPr>
                <p:cNvSpPr/>
                <p:nvPr/>
              </p:nvSpPr>
              <p:spPr>
                <a:xfrm>
                  <a:off x="7373197" y="1902389"/>
                  <a:ext cx="73038" cy="12702"/>
                </a:xfrm>
                <a:custGeom>
                  <a:avLst/>
                  <a:gdLst>
                    <a:gd name="connsiteX0" fmla="*/ 0 w 73038"/>
                    <a:gd name="connsiteY0" fmla="*/ 0 h 12702"/>
                    <a:gd name="connsiteX1" fmla="*/ 73038 w 73038"/>
                    <a:gd name="connsiteY1" fmla="*/ 0 h 12702"/>
                  </a:gdLst>
                  <a:ahLst/>
                  <a:cxnLst>
                    <a:cxn ang="0">
                      <a:pos x="connsiteX0" y="connsiteY0"/>
                    </a:cxn>
                    <a:cxn ang="0">
                      <a:pos x="connsiteX1" y="connsiteY1"/>
                    </a:cxn>
                  </a:cxnLst>
                  <a:rect l="l" t="t" r="r" b="b"/>
                  <a:pathLst>
                    <a:path w="73038" h="12702">
                      <a:moveTo>
                        <a:pt x="0" y="0"/>
                      </a:moveTo>
                      <a:lnTo>
                        <a:pt x="73038"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sp>
          <p:nvSpPr>
            <p:cNvPr id="48" name="TextBox 47">
              <a:extLst>
                <a:ext uri="{FF2B5EF4-FFF2-40B4-BE49-F238E27FC236}">
                  <a16:creationId xmlns:a16="http://schemas.microsoft.com/office/drawing/2014/main" id="{FA1265E0-FB18-538B-6443-6B3CFC6F17E8}"/>
                </a:ext>
              </a:extLst>
            </p:cNvPr>
            <p:cNvSpPr txBox="1"/>
            <p:nvPr/>
          </p:nvSpPr>
          <p:spPr>
            <a:xfrm rot="16200000">
              <a:off x="3917908" y="1777823"/>
              <a:ext cx="522239" cy="189789"/>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solidFill>
                    <a:srgbClr val="000000"/>
                  </a:solidFill>
                  <a:effectLst/>
                  <a:uLnTx/>
                  <a:uFillTx/>
                  <a:latin typeface="Arial"/>
                  <a:ea typeface="+mn-ea"/>
                  <a:cs typeface="Arial"/>
                  <a:sym typeface="Arial"/>
                  <a:rtl val="0"/>
                </a:rPr>
                <a:t>PFS (%)</a:t>
              </a:r>
            </a:p>
          </p:txBody>
        </p:sp>
        <p:grpSp>
          <p:nvGrpSpPr>
            <p:cNvPr id="49" name="Graphic 953">
              <a:extLst>
                <a:ext uri="{FF2B5EF4-FFF2-40B4-BE49-F238E27FC236}">
                  <a16:creationId xmlns:a16="http://schemas.microsoft.com/office/drawing/2014/main" id="{4415717B-4F2B-3025-2EB9-A61E14D66879}"/>
                </a:ext>
              </a:extLst>
            </p:cNvPr>
            <p:cNvGrpSpPr/>
            <p:nvPr/>
          </p:nvGrpSpPr>
          <p:grpSpPr>
            <a:xfrm>
              <a:off x="4217807" y="1123548"/>
              <a:ext cx="301159" cy="1435608"/>
              <a:chOff x="6433666" y="1593817"/>
              <a:chExt cx="463003" cy="3009327"/>
            </a:xfrm>
            <a:solidFill>
              <a:srgbClr val="000000"/>
            </a:solidFill>
          </p:grpSpPr>
          <p:sp>
            <p:nvSpPr>
              <p:cNvPr id="125" name="TextBox 124">
                <a:extLst>
                  <a:ext uri="{FF2B5EF4-FFF2-40B4-BE49-F238E27FC236}">
                    <a16:creationId xmlns:a16="http://schemas.microsoft.com/office/drawing/2014/main" id="{60B29180-0CF1-57A8-D377-4DD1884512F7}"/>
                  </a:ext>
                </a:extLst>
              </p:cNvPr>
              <p:cNvSpPr txBox="1"/>
              <p:nvPr/>
            </p:nvSpPr>
            <p:spPr>
              <a:xfrm>
                <a:off x="6612183" y="4207562"/>
                <a:ext cx="284016" cy="395582"/>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000000"/>
                    </a:solidFill>
                    <a:effectLst/>
                    <a:uLnTx/>
                    <a:uFillTx/>
                    <a:latin typeface="Arial"/>
                    <a:ea typeface="+mn-ea"/>
                    <a:cs typeface="Arial"/>
                    <a:sym typeface="Arial"/>
                    <a:rtl val="0"/>
                  </a:rPr>
                  <a:t>0</a:t>
                </a:r>
              </a:p>
            </p:txBody>
          </p:sp>
          <p:sp>
            <p:nvSpPr>
              <p:cNvPr id="126" name="TextBox 125">
                <a:extLst>
                  <a:ext uri="{FF2B5EF4-FFF2-40B4-BE49-F238E27FC236}">
                    <a16:creationId xmlns:a16="http://schemas.microsoft.com/office/drawing/2014/main" id="{8B295EA8-B0E0-8581-5E4A-2D7E1C1FE7B7}"/>
                  </a:ext>
                </a:extLst>
              </p:cNvPr>
              <p:cNvSpPr txBox="1"/>
              <p:nvPr/>
            </p:nvSpPr>
            <p:spPr>
              <a:xfrm>
                <a:off x="6522924" y="3684863"/>
                <a:ext cx="373508" cy="395582"/>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000000"/>
                    </a:solidFill>
                    <a:effectLst/>
                    <a:uLnTx/>
                    <a:uFillTx/>
                    <a:latin typeface="Arial"/>
                    <a:ea typeface="+mn-ea"/>
                    <a:cs typeface="Arial"/>
                    <a:sym typeface="Arial"/>
                    <a:rtl val="0"/>
                  </a:rPr>
                  <a:t>20</a:t>
                </a:r>
              </a:p>
            </p:txBody>
          </p:sp>
          <p:sp>
            <p:nvSpPr>
              <p:cNvPr id="127" name="TextBox 126">
                <a:extLst>
                  <a:ext uri="{FF2B5EF4-FFF2-40B4-BE49-F238E27FC236}">
                    <a16:creationId xmlns:a16="http://schemas.microsoft.com/office/drawing/2014/main" id="{64E8B6FE-766A-68B8-190C-C194F88B7971}"/>
                  </a:ext>
                </a:extLst>
              </p:cNvPr>
              <p:cNvSpPr txBox="1"/>
              <p:nvPr/>
            </p:nvSpPr>
            <p:spPr>
              <a:xfrm>
                <a:off x="6522924" y="3162040"/>
                <a:ext cx="373508" cy="395582"/>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000000"/>
                    </a:solidFill>
                    <a:effectLst/>
                    <a:uLnTx/>
                    <a:uFillTx/>
                    <a:latin typeface="Arial"/>
                    <a:ea typeface="+mn-ea"/>
                    <a:cs typeface="Arial"/>
                    <a:sym typeface="Arial"/>
                    <a:rtl val="0"/>
                  </a:rPr>
                  <a:t>40</a:t>
                </a:r>
              </a:p>
            </p:txBody>
          </p:sp>
          <p:sp>
            <p:nvSpPr>
              <p:cNvPr id="128" name="TextBox 127">
                <a:extLst>
                  <a:ext uri="{FF2B5EF4-FFF2-40B4-BE49-F238E27FC236}">
                    <a16:creationId xmlns:a16="http://schemas.microsoft.com/office/drawing/2014/main" id="{1156F00B-775E-A2D6-72BF-4A674C055A39}"/>
                  </a:ext>
                </a:extLst>
              </p:cNvPr>
              <p:cNvSpPr txBox="1"/>
              <p:nvPr/>
            </p:nvSpPr>
            <p:spPr>
              <a:xfrm>
                <a:off x="6522928" y="2639339"/>
                <a:ext cx="373508" cy="395582"/>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000000"/>
                    </a:solidFill>
                    <a:effectLst/>
                    <a:uLnTx/>
                    <a:uFillTx/>
                    <a:latin typeface="Arial"/>
                    <a:ea typeface="+mn-ea"/>
                    <a:cs typeface="Arial"/>
                    <a:sym typeface="Arial"/>
                    <a:rtl val="0"/>
                  </a:rPr>
                  <a:t>60</a:t>
                </a:r>
              </a:p>
            </p:txBody>
          </p:sp>
          <p:sp>
            <p:nvSpPr>
              <p:cNvPr id="129" name="TextBox 128">
                <a:extLst>
                  <a:ext uri="{FF2B5EF4-FFF2-40B4-BE49-F238E27FC236}">
                    <a16:creationId xmlns:a16="http://schemas.microsoft.com/office/drawing/2014/main" id="{3CE5B14C-3DCC-A0F9-0C94-E88CCA49CD29}"/>
                  </a:ext>
                </a:extLst>
              </p:cNvPr>
              <p:cNvSpPr txBox="1"/>
              <p:nvPr/>
            </p:nvSpPr>
            <p:spPr>
              <a:xfrm>
                <a:off x="6522928" y="2116515"/>
                <a:ext cx="373508" cy="395582"/>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000000"/>
                    </a:solidFill>
                    <a:effectLst/>
                    <a:uLnTx/>
                    <a:uFillTx/>
                    <a:latin typeface="Arial"/>
                    <a:ea typeface="+mn-ea"/>
                    <a:cs typeface="Arial"/>
                    <a:sym typeface="Arial"/>
                    <a:rtl val="0"/>
                  </a:rPr>
                  <a:t>80</a:t>
                </a:r>
              </a:p>
            </p:txBody>
          </p:sp>
          <p:sp>
            <p:nvSpPr>
              <p:cNvPr id="130" name="TextBox 129">
                <a:extLst>
                  <a:ext uri="{FF2B5EF4-FFF2-40B4-BE49-F238E27FC236}">
                    <a16:creationId xmlns:a16="http://schemas.microsoft.com/office/drawing/2014/main" id="{BCFB164A-0045-AB6B-2724-D9FDD65DC55D}"/>
                  </a:ext>
                </a:extLst>
              </p:cNvPr>
              <p:cNvSpPr txBox="1"/>
              <p:nvPr/>
            </p:nvSpPr>
            <p:spPr>
              <a:xfrm>
                <a:off x="6433666" y="1593817"/>
                <a:ext cx="463003" cy="395582"/>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000000"/>
                    </a:solidFill>
                    <a:effectLst/>
                    <a:uLnTx/>
                    <a:uFillTx/>
                    <a:latin typeface="Arial"/>
                    <a:ea typeface="+mn-ea"/>
                    <a:cs typeface="Arial"/>
                    <a:sym typeface="Arial"/>
                    <a:rtl val="0"/>
                  </a:rPr>
                  <a:t>100</a:t>
                </a:r>
              </a:p>
            </p:txBody>
          </p:sp>
        </p:grpSp>
        <p:sp>
          <p:nvSpPr>
            <p:cNvPr id="50" name="TextBox 49">
              <a:extLst>
                <a:ext uri="{FF2B5EF4-FFF2-40B4-BE49-F238E27FC236}">
                  <a16:creationId xmlns:a16="http://schemas.microsoft.com/office/drawing/2014/main" id="{B8CCBC49-7502-5047-943F-739600F02BF5}"/>
                </a:ext>
              </a:extLst>
            </p:cNvPr>
            <p:cNvSpPr txBox="1"/>
            <p:nvPr/>
          </p:nvSpPr>
          <p:spPr>
            <a:xfrm>
              <a:off x="5541326" y="2623564"/>
              <a:ext cx="851721" cy="188714"/>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solidFill>
                    <a:srgbClr val="000000"/>
                  </a:solidFill>
                  <a:effectLst/>
                  <a:uLnTx/>
                  <a:uFillTx/>
                  <a:latin typeface="Arial"/>
                  <a:ea typeface="+mn-ea"/>
                  <a:cs typeface="Arial"/>
                  <a:sym typeface="Arial"/>
                  <a:rtl val="0"/>
                </a:rPr>
                <a:t>Time (months)</a:t>
              </a:r>
            </a:p>
          </p:txBody>
        </p:sp>
        <p:grpSp>
          <p:nvGrpSpPr>
            <p:cNvPr id="51" name="Graphic 953">
              <a:extLst>
                <a:ext uri="{FF2B5EF4-FFF2-40B4-BE49-F238E27FC236}">
                  <a16:creationId xmlns:a16="http://schemas.microsoft.com/office/drawing/2014/main" id="{E64DD175-D22F-175D-57C6-A13F69A18EA4}"/>
                </a:ext>
              </a:extLst>
            </p:cNvPr>
            <p:cNvGrpSpPr/>
            <p:nvPr/>
          </p:nvGrpSpPr>
          <p:grpSpPr>
            <a:xfrm>
              <a:off x="4385576" y="2490824"/>
              <a:ext cx="3281856" cy="188713"/>
              <a:chOff x="6746274" y="4374726"/>
              <a:chExt cx="5045550" cy="395582"/>
            </a:xfrm>
            <a:solidFill>
              <a:srgbClr val="000000"/>
            </a:solidFill>
          </p:grpSpPr>
          <p:sp>
            <p:nvSpPr>
              <p:cNvPr id="119" name="TextBox 118">
                <a:extLst>
                  <a:ext uri="{FF2B5EF4-FFF2-40B4-BE49-F238E27FC236}">
                    <a16:creationId xmlns:a16="http://schemas.microsoft.com/office/drawing/2014/main" id="{9BBE22E8-01E6-51EB-80D9-B34F5A8073D5}"/>
                  </a:ext>
                </a:extLst>
              </p:cNvPr>
              <p:cNvSpPr txBox="1"/>
              <p:nvPr/>
            </p:nvSpPr>
            <p:spPr>
              <a:xfrm>
                <a:off x="6746274" y="4374726"/>
                <a:ext cx="284015" cy="395582"/>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000000"/>
                    </a:solidFill>
                    <a:effectLst/>
                    <a:uLnTx/>
                    <a:uFillTx/>
                    <a:latin typeface="Arial"/>
                    <a:ea typeface="+mn-ea"/>
                    <a:cs typeface="Arial"/>
                    <a:sym typeface="Arial"/>
                    <a:rtl val="0"/>
                  </a:rPr>
                  <a:t>0</a:t>
                </a:r>
              </a:p>
            </p:txBody>
          </p:sp>
          <p:sp>
            <p:nvSpPr>
              <p:cNvPr id="120" name="TextBox 119">
                <a:extLst>
                  <a:ext uri="{FF2B5EF4-FFF2-40B4-BE49-F238E27FC236}">
                    <a16:creationId xmlns:a16="http://schemas.microsoft.com/office/drawing/2014/main" id="{9E0A6241-1A68-AF62-479E-9C5F90DD1952}"/>
                  </a:ext>
                </a:extLst>
              </p:cNvPr>
              <p:cNvSpPr txBox="1"/>
              <p:nvPr/>
            </p:nvSpPr>
            <p:spPr>
              <a:xfrm>
                <a:off x="7689672" y="4374726"/>
                <a:ext cx="284015" cy="395582"/>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000000"/>
                    </a:solidFill>
                    <a:effectLst/>
                    <a:uLnTx/>
                    <a:uFillTx/>
                    <a:latin typeface="Arial"/>
                    <a:ea typeface="+mn-ea"/>
                    <a:cs typeface="Arial"/>
                    <a:sym typeface="Arial"/>
                    <a:rtl val="0"/>
                  </a:rPr>
                  <a:t>6</a:t>
                </a:r>
              </a:p>
            </p:txBody>
          </p:sp>
          <p:sp>
            <p:nvSpPr>
              <p:cNvPr id="121" name="TextBox 120">
                <a:extLst>
                  <a:ext uri="{FF2B5EF4-FFF2-40B4-BE49-F238E27FC236}">
                    <a16:creationId xmlns:a16="http://schemas.microsoft.com/office/drawing/2014/main" id="{F5748D7B-4C36-56C7-41C4-CB27B052FDFF}"/>
                  </a:ext>
                </a:extLst>
              </p:cNvPr>
              <p:cNvSpPr txBox="1"/>
              <p:nvPr/>
            </p:nvSpPr>
            <p:spPr>
              <a:xfrm>
                <a:off x="8588376" y="4374726"/>
                <a:ext cx="373508" cy="395582"/>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000000"/>
                    </a:solidFill>
                    <a:effectLst/>
                    <a:uLnTx/>
                    <a:uFillTx/>
                    <a:latin typeface="Arial"/>
                    <a:ea typeface="+mn-ea"/>
                    <a:cs typeface="Arial"/>
                    <a:sym typeface="Arial"/>
                    <a:rtl val="0"/>
                  </a:rPr>
                  <a:t>12</a:t>
                </a:r>
              </a:p>
            </p:txBody>
          </p:sp>
          <p:sp>
            <p:nvSpPr>
              <p:cNvPr id="122" name="TextBox 121">
                <a:extLst>
                  <a:ext uri="{FF2B5EF4-FFF2-40B4-BE49-F238E27FC236}">
                    <a16:creationId xmlns:a16="http://schemas.microsoft.com/office/drawing/2014/main" id="{1B89CC2E-2FB6-70A4-EC10-8FB6C5769250}"/>
                  </a:ext>
                </a:extLst>
              </p:cNvPr>
              <p:cNvSpPr txBox="1"/>
              <p:nvPr/>
            </p:nvSpPr>
            <p:spPr>
              <a:xfrm>
                <a:off x="9531647" y="4374726"/>
                <a:ext cx="373508" cy="395582"/>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000000"/>
                    </a:solidFill>
                    <a:effectLst/>
                    <a:uLnTx/>
                    <a:uFillTx/>
                    <a:latin typeface="Arial"/>
                    <a:ea typeface="+mn-ea"/>
                    <a:cs typeface="Arial"/>
                    <a:sym typeface="Arial"/>
                    <a:rtl val="0"/>
                  </a:rPr>
                  <a:t>18</a:t>
                </a:r>
              </a:p>
            </p:txBody>
          </p:sp>
          <p:sp>
            <p:nvSpPr>
              <p:cNvPr id="123" name="TextBox 122">
                <a:extLst>
                  <a:ext uri="{FF2B5EF4-FFF2-40B4-BE49-F238E27FC236}">
                    <a16:creationId xmlns:a16="http://schemas.microsoft.com/office/drawing/2014/main" id="{B143D502-7333-3D74-00B2-5FEB2A649832}"/>
                  </a:ext>
                </a:extLst>
              </p:cNvPr>
              <p:cNvSpPr txBox="1"/>
              <p:nvPr/>
            </p:nvSpPr>
            <p:spPr>
              <a:xfrm>
                <a:off x="10475047" y="4374726"/>
                <a:ext cx="373508" cy="395582"/>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000000"/>
                    </a:solidFill>
                    <a:effectLst/>
                    <a:uLnTx/>
                    <a:uFillTx/>
                    <a:latin typeface="Arial"/>
                    <a:ea typeface="+mn-ea"/>
                    <a:cs typeface="Arial"/>
                    <a:sym typeface="Arial"/>
                    <a:rtl val="0"/>
                  </a:rPr>
                  <a:t>24</a:t>
                </a:r>
              </a:p>
            </p:txBody>
          </p:sp>
          <p:sp>
            <p:nvSpPr>
              <p:cNvPr id="124" name="TextBox 123">
                <a:extLst>
                  <a:ext uri="{FF2B5EF4-FFF2-40B4-BE49-F238E27FC236}">
                    <a16:creationId xmlns:a16="http://schemas.microsoft.com/office/drawing/2014/main" id="{CBC289DF-3730-0A28-FAE6-2A34FF39E343}"/>
                  </a:ext>
                </a:extLst>
              </p:cNvPr>
              <p:cNvSpPr txBox="1"/>
              <p:nvPr/>
            </p:nvSpPr>
            <p:spPr>
              <a:xfrm>
                <a:off x="11418316" y="4374726"/>
                <a:ext cx="373508" cy="395582"/>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rial"/>
                    <a:ea typeface="+mn-ea"/>
                    <a:cs typeface="Arial"/>
                    <a:sym typeface="Arial"/>
                    <a:rtl val="0"/>
                  </a:rPr>
                  <a:t>30</a:t>
                </a:r>
              </a:p>
            </p:txBody>
          </p:sp>
        </p:grpSp>
        <p:grpSp>
          <p:nvGrpSpPr>
            <p:cNvPr id="58" name="Graphic 953">
              <a:extLst>
                <a:ext uri="{FF2B5EF4-FFF2-40B4-BE49-F238E27FC236}">
                  <a16:creationId xmlns:a16="http://schemas.microsoft.com/office/drawing/2014/main" id="{5AE52461-A728-E2AD-8601-794A5E539C13}"/>
                </a:ext>
              </a:extLst>
            </p:cNvPr>
            <p:cNvGrpSpPr/>
            <p:nvPr/>
          </p:nvGrpSpPr>
          <p:grpSpPr>
            <a:xfrm>
              <a:off x="4477329" y="2482059"/>
              <a:ext cx="3067980" cy="25935"/>
              <a:chOff x="6887335" y="4356341"/>
              <a:chExt cx="4716734" cy="54365"/>
            </a:xfrm>
          </p:grpSpPr>
          <p:sp>
            <p:nvSpPr>
              <p:cNvPr id="81" name="Freeform 5991">
                <a:extLst>
                  <a:ext uri="{FF2B5EF4-FFF2-40B4-BE49-F238E27FC236}">
                    <a16:creationId xmlns:a16="http://schemas.microsoft.com/office/drawing/2014/main" id="{9DDED48A-2847-F93A-17F6-5318DBF91ECB}"/>
                  </a:ext>
                </a:extLst>
              </p:cNvPr>
              <p:cNvSpPr/>
              <p:nvPr/>
            </p:nvSpPr>
            <p:spPr>
              <a:xfrm>
                <a:off x="6887335" y="4356341"/>
                <a:ext cx="12702" cy="54365"/>
              </a:xfrm>
              <a:custGeom>
                <a:avLst/>
                <a:gdLst>
                  <a:gd name="connsiteX0" fmla="*/ 0 w 12702"/>
                  <a:gd name="connsiteY0" fmla="*/ 0 h 54365"/>
                  <a:gd name="connsiteX1" fmla="*/ 0 w 12702"/>
                  <a:gd name="connsiteY1" fmla="*/ 54366 h 54365"/>
                </a:gdLst>
                <a:ahLst/>
                <a:cxnLst>
                  <a:cxn ang="0">
                    <a:pos x="connsiteX0" y="connsiteY0"/>
                  </a:cxn>
                  <a:cxn ang="0">
                    <a:pos x="connsiteX1" y="connsiteY1"/>
                  </a:cxn>
                </a:cxnLst>
                <a:rect l="l" t="t" r="r" b="b"/>
                <a:pathLst>
                  <a:path w="12702" h="54365">
                    <a:moveTo>
                      <a:pt x="0" y="0"/>
                    </a:moveTo>
                    <a:lnTo>
                      <a:pt x="0" y="54366"/>
                    </a:lnTo>
                  </a:path>
                </a:pathLst>
              </a:custGeom>
              <a:ln w="19045" cap="flat">
                <a:solidFill>
                  <a:srgbClr val="000000"/>
                </a:solidFill>
                <a:prstDash val="solid"/>
                <a:miter/>
              </a:ln>
            </p:spPr>
            <p:txBody>
              <a:bodyPr rtlCol="0" anchor="ct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 name="Freeform 5992">
                <a:extLst>
                  <a:ext uri="{FF2B5EF4-FFF2-40B4-BE49-F238E27FC236}">
                    <a16:creationId xmlns:a16="http://schemas.microsoft.com/office/drawing/2014/main" id="{9728F75F-9F59-6E91-6442-7E77B6EDCB9A}"/>
                  </a:ext>
                </a:extLst>
              </p:cNvPr>
              <p:cNvSpPr/>
              <p:nvPr/>
            </p:nvSpPr>
            <p:spPr>
              <a:xfrm>
                <a:off x="7830606" y="4356341"/>
                <a:ext cx="12702" cy="54365"/>
              </a:xfrm>
              <a:custGeom>
                <a:avLst/>
                <a:gdLst>
                  <a:gd name="connsiteX0" fmla="*/ 0 w 12702"/>
                  <a:gd name="connsiteY0" fmla="*/ 0 h 54365"/>
                  <a:gd name="connsiteX1" fmla="*/ 0 w 12702"/>
                  <a:gd name="connsiteY1" fmla="*/ 54366 h 54365"/>
                </a:gdLst>
                <a:ahLst/>
                <a:cxnLst>
                  <a:cxn ang="0">
                    <a:pos x="connsiteX0" y="connsiteY0"/>
                  </a:cxn>
                  <a:cxn ang="0">
                    <a:pos x="connsiteX1" y="connsiteY1"/>
                  </a:cxn>
                </a:cxnLst>
                <a:rect l="l" t="t" r="r" b="b"/>
                <a:pathLst>
                  <a:path w="12702" h="54365">
                    <a:moveTo>
                      <a:pt x="0" y="0"/>
                    </a:moveTo>
                    <a:lnTo>
                      <a:pt x="0" y="54366"/>
                    </a:lnTo>
                  </a:path>
                </a:pathLst>
              </a:custGeom>
              <a:ln w="19045" cap="flat">
                <a:solidFill>
                  <a:srgbClr val="000000"/>
                </a:solidFill>
                <a:prstDash val="solid"/>
                <a:miter/>
              </a:ln>
            </p:spPr>
            <p:txBody>
              <a:bodyPr rtlCol="0" anchor="ct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 name="Freeform 5993">
                <a:extLst>
                  <a:ext uri="{FF2B5EF4-FFF2-40B4-BE49-F238E27FC236}">
                    <a16:creationId xmlns:a16="http://schemas.microsoft.com/office/drawing/2014/main" id="{4BB8E456-9B39-2AF1-16D0-F215A2F3D801}"/>
                  </a:ext>
                </a:extLst>
              </p:cNvPr>
              <p:cNvSpPr/>
              <p:nvPr/>
            </p:nvSpPr>
            <p:spPr>
              <a:xfrm>
                <a:off x="8774003" y="4356341"/>
                <a:ext cx="12702" cy="54365"/>
              </a:xfrm>
              <a:custGeom>
                <a:avLst/>
                <a:gdLst>
                  <a:gd name="connsiteX0" fmla="*/ 0 w 12702"/>
                  <a:gd name="connsiteY0" fmla="*/ 0 h 54365"/>
                  <a:gd name="connsiteX1" fmla="*/ 0 w 12702"/>
                  <a:gd name="connsiteY1" fmla="*/ 54366 h 54365"/>
                </a:gdLst>
                <a:ahLst/>
                <a:cxnLst>
                  <a:cxn ang="0">
                    <a:pos x="connsiteX0" y="connsiteY0"/>
                  </a:cxn>
                  <a:cxn ang="0">
                    <a:pos x="connsiteX1" y="connsiteY1"/>
                  </a:cxn>
                </a:cxnLst>
                <a:rect l="l" t="t" r="r" b="b"/>
                <a:pathLst>
                  <a:path w="12702" h="54365">
                    <a:moveTo>
                      <a:pt x="0" y="0"/>
                    </a:moveTo>
                    <a:lnTo>
                      <a:pt x="0" y="54366"/>
                    </a:lnTo>
                  </a:path>
                </a:pathLst>
              </a:custGeom>
              <a:ln w="19045" cap="flat">
                <a:solidFill>
                  <a:srgbClr val="000000"/>
                </a:solidFill>
                <a:prstDash val="solid"/>
                <a:miter/>
              </a:ln>
            </p:spPr>
            <p:txBody>
              <a:bodyPr rtlCol="0" anchor="ct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 name="Freeform 5994">
                <a:extLst>
                  <a:ext uri="{FF2B5EF4-FFF2-40B4-BE49-F238E27FC236}">
                    <a16:creationId xmlns:a16="http://schemas.microsoft.com/office/drawing/2014/main" id="{C2183C7F-E2BB-6396-3EF7-B89C4500419E}"/>
                  </a:ext>
                </a:extLst>
              </p:cNvPr>
              <p:cNvSpPr/>
              <p:nvPr/>
            </p:nvSpPr>
            <p:spPr>
              <a:xfrm>
                <a:off x="9717401" y="4356341"/>
                <a:ext cx="12702" cy="54365"/>
              </a:xfrm>
              <a:custGeom>
                <a:avLst/>
                <a:gdLst>
                  <a:gd name="connsiteX0" fmla="*/ 0 w 12702"/>
                  <a:gd name="connsiteY0" fmla="*/ 0 h 54365"/>
                  <a:gd name="connsiteX1" fmla="*/ 0 w 12702"/>
                  <a:gd name="connsiteY1" fmla="*/ 54366 h 54365"/>
                </a:gdLst>
                <a:ahLst/>
                <a:cxnLst>
                  <a:cxn ang="0">
                    <a:pos x="connsiteX0" y="connsiteY0"/>
                  </a:cxn>
                  <a:cxn ang="0">
                    <a:pos x="connsiteX1" y="connsiteY1"/>
                  </a:cxn>
                </a:cxnLst>
                <a:rect l="l" t="t" r="r" b="b"/>
                <a:pathLst>
                  <a:path w="12702" h="54365">
                    <a:moveTo>
                      <a:pt x="0" y="0"/>
                    </a:moveTo>
                    <a:lnTo>
                      <a:pt x="0" y="54366"/>
                    </a:lnTo>
                  </a:path>
                </a:pathLst>
              </a:custGeom>
              <a:ln w="19045" cap="flat">
                <a:solidFill>
                  <a:srgbClr val="000000"/>
                </a:solidFill>
                <a:prstDash val="solid"/>
                <a:miter/>
              </a:ln>
            </p:spPr>
            <p:txBody>
              <a:bodyPr rtlCol="0" anchor="ct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 name="Freeform 5995">
                <a:extLst>
                  <a:ext uri="{FF2B5EF4-FFF2-40B4-BE49-F238E27FC236}">
                    <a16:creationId xmlns:a16="http://schemas.microsoft.com/office/drawing/2014/main" id="{B9395448-C045-A1FB-99F9-C409BE9B1B26}"/>
                  </a:ext>
                </a:extLst>
              </p:cNvPr>
              <p:cNvSpPr/>
              <p:nvPr/>
            </p:nvSpPr>
            <p:spPr>
              <a:xfrm>
                <a:off x="10660672" y="4356341"/>
                <a:ext cx="12702" cy="54365"/>
              </a:xfrm>
              <a:custGeom>
                <a:avLst/>
                <a:gdLst>
                  <a:gd name="connsiteX0" fmla="*/ 0 w 12702"/>
                  <a:gd name="connsiteY0" fmla="*/ 0 h 54365"/>
                  <a:gd name="connsiteX1" fmla="*/ 0 w 12702"/>
                  <a:gd name="connsiteY1" fmla="*/ 54366 h 54365"/>
                </a:gdLst>
                <a:ahLst/>
                <a:cxnLst>
                  <a:cxn ang="0">
                    <a:pos x="connsiteX0" y="connsiteY0"/>
                  </a:cxn>
                  <a:cxn ang="0">
                    <a:pos x="connsiteX1" y="connsiteY1"/>
                  </a:cxn>
                </a:cxnLst>
                <a:rect l="l" t="t" r="r" b="b"/>
                <a:pathLst>
                  <a:path w="12702" h="54365">
                    <a:moveTo>
                      <a:pt x="0" y="0"/>
                    </a:moveTo>
                    <a:lnTo>
                      <a:pt x="0" y="54366"/>
                    </a:lnTo>
                  </a:path>
                </a:pathLst>
              </a:custGeom>
              <a:ln w="19045" cap="flat">
                <a:solidFill>
                  <a:srgbClr val="000000"/>
                </a:solidFill>
                <a:prstDash val="solid"/>
                <a:miter/>
              </a:ln>
            </p:spPr>
            <p:txBody>
              <a:bodyPr rtlCol="0" anchor="ct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 name="Freeform 5996">
                <a:extLst>
                  <a:ext uri="{FF2B5EF4-FFF2-40B4-BE49-F238E27FC236}">
                    <a16:creationId xmlns:a16="http://schemas.microsoft.com/office/drawing/2014/main" id="{4A568C68-6669-CA26-48BB-DF1B992FB024}"/>
                  </a:ext>
                </a:extLst>
              </p:cNvPr>
              <p:cNvSpPr/>
              <p:nvPr/>
            </p:nvSpPr>
            <p:spPr>
              <a:xfrm>
                <a:off x="11604070" y="4356341"/>
                <a:ext cx="12702" cy="54365"/>
              </a:xfrm>
              <a:custGeom>
                <a:avLst/>
                <a:gdLst>
                  <a:gd name="connsiteX0" fmla="*/ 0 w 12702"/>
                  <a:gd name="connsiteY0" fmla="*/ 0 h 54365"/>
                  <a:gd name="connsiteX1" fmla="*/ 0 w 12702"/>
                  <a:gd name="connsiteY1" fmla="*/ 54366 h 54365"/>
                </a:gdLst>
                <a:ahLst/>
                <a:cxnLst>
                  <a:cxn ang="0">
                    <a:pos x="connsiteX0" y="connsiteY0"/>
                  </a:cxn>
                  <a:cxn ang="0">
                    <a:pos x="connsiteX1" y="connsiteY1"/>
                  </a:cxn>
                </a:cxnLst>
                <a:rect l="l" t="t" r="r" b="b"/>
                <a:pathLst>
                  <a:path w="12702" h="54365">
                    <a:moveTo>
                      <a:pt x="0" y="0"/>
                    </a:moveTo>
                    <a:lnTo>
                      <a:pt x="0" y="54366"/>
                    </a:lnTo>
                  </a:path>
                </a:pathLst>
              </a:custGeom>
              <a:ln w="19045" cap="flat">
                <a:solidFill>
                  <a:srgbClr val="000000"/>
                </a:solidFill>
                <a:prstDash val="solid"/>
                <a:miter/>
              </a:ln>
            </p:spPr>
            <p:txBody>
              <a:bodyPr rtlCol="0" anchor="ct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9" name="Graphic 953">
              <a:extLst>
                <a:ext uri="{FF2B5EF4-FFF2-40B4-BE49-F238E27FC236}">
                  <a16:creationId xmlns:a16="http://schemas.microsoft.com/office/drawing/2014/main" id="{9B27545F-5CD2-015D-037E-15D502747C63}"/>
                </a:ext>
              </a:extLst>
            </p:cNvPr>
            <p:cNvGrpSpPr/>
            <p:nvPr/>
          </p:nvGrpSpPr>
          <p:grpSpPr>
            <a:xfrm>
              <a:off x="4438084" y="1234375"/>
              <a:ext cx="39245" cy="1246956"/>
              <a:chOff x="6826999" y="1740943"/>
              <a:chExt cx="60335" cy="2613873"/>
            </a:xfrm>
          </p:grpSpPr>
          <p:sp>
            <p:nvSpPr>
              <p:cNvPr id="75" name="Freeform 5985">
                <a:extLst>
                  <a:ext uri="{FF2B5EF4-FFF2-40B4-BE49-F238E27FC236}">
                    <a16:creationId xmlns:a16="http://schemas.microsoft.com/office/drawing/2014/main" id="{7BDC5CF9-DB89-14DD-7B82-A94C43E528B9}"/>
                  </a:ext>
                </a:extLst>
              </p:cNvPr>
              <p:cNvSpPr/>
              <p:nvPr/>
            </p:nvSpPr>
            <p:spPr>
              <a:xfrm>
                <a:off x="6826999" y="4354817"/>
                <a:ext cx="60335" cy="12702"/>
              </a:xfrm>
              <a:custGeom>
                <a:avLst/>
                <a:gdLst>
                  <a:gd name="connsiteX0" fmla="*/ 60336 w 60335"/>
                  <a:gd name="connsiteY0" fmla="*/ 0 h 12702"/>
                  <a:gd name="connsiteX1" fmla="*/ 0 w 60335"/>
                  <a:gd name="connsiteY1" fmla="*/ 0 h 12702"/>
                </a:gdLst>
                <a:ahLst/>
                <a:cxnLst>
                  <a:cxn ang="0">
                    <a:pos x="connsiteX0" y="connsiteY0"/>
                  </a:cxn>
                  <a:cxn ang="0">
                    <a:pos x="connsiteX1" y="connsiteY1"/>
                  </a:cxn>
                </a:cxnLst>
                <a:rect l="l" t="t" r="r" b="b"/>
                <a:pathLst>
                  <a:path w="60335" h="12702">
                    <a:moveTo>
                      <a:pt x="60336" y="0"/>
                    </a:moveTo>
                    <a:lnTo>
                      <a:pt x="0" y="0"/>
                    </a:lnTo>
                  </a:path>
                </a:pathLst>
              </a:custGeom>
              <a:ln w="19045" cap="flat">
                <a:solidFill>
                  <a:srgbClr val="00000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 name="Freeform 5986">
                <a:extLst>
                  <a:ext uri="{FF2B5EF4-FFF2-40B4-BE49-F238E27FC236}">
                    <a16:creationId xmlns:a16="http://schemas.microsoft.com/office/drawing/2014/main" id="{F34CA144-2EBC-CF24-443A-5A02408EF5EB}"/>
                  </a:ext>
                </a:extLst>
              </p:cNvPr>
              <p:cNvSpPr/>
              <p:nvPr/>
            </p:nvSpPr>
            <p:spPr>
              <a:xfrm>
                <a:off x="6826999" y="3831991"/>
                <a:ext cx="60335" cy="12702"/>
              </a:xfrm>
              <a:custGeom>
                <a:avLst/>
                <a:gdLst>
                  <a:gd name="connsiteX0" fmla="*/ 60336 w 60335"/>
                  <a:gd name="connsiteY0" fmla="*/ 0 h 12702"/>
                  <a:gd name="connsiteX1" fmla="*/ 0 w 60335"/>
                  <a:gd name="connsiteY1" fmla="*/ 0 h 12702"/>
                </a:gdLst>
                <a:ahLst/>
                <a:cxnLst>
                  <a:cxn ang="0">
                    <a:pos x="connsiteX0" y="connsiteY0"/>
                  </a:cxn>
                  <a:cxn ang="0">
                    <a:pos x="connsiteX1" y="connsiteY1"/>
                  </a:cxn>
                </a:cxnLst>
                <a:rect l="l" t="t" r="r" b="b"/>
                <a:pathLst>
                  <a:path w="60335" h="12702">
                    <a:moveTo>
                      <a:pt x="60336" y="0"/>
                    </a:moveTo>
                    <a:lnTo>
                      <a:pt x="0" y="0"/>
                    </a:lnTo>
                  </a:path>
                </a:pathLst>
              </a:custGeom>
              <a:ln w="19045" cap="flat">
                <a:solidFill>
                  <a:srgbClr val="00000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 name="Freeform 5987">
                <a:extLst>
                  <a:ext uri="{FF2B5EF4-FFF2-40B4-BE49-F238E27FC236}">
                    <a16:creationId xmlns:a16="http://schemas.microsoft.com/office/drawing/2014/main" id="{E9EBB303-11F7-110E-56BF-AB8DA17E62B8}"/>
                  </a:ext>
                </a:extLst>
              </p:cNvPr>
              <p:cNvSpPr/>
              <p:nvPr/>
            </p:nvSpPr>
            <p:spPr>
              <a:xfrm>
                <a:off x="6826999" y="3309293"/>
                <a:ext cx="60335" cy="12702"/>
              </a:xfrm>
              <a:custGeom>
                <a:avLst/>
                <a:gdLst>
                  <a:gd name="connsiteX0" fmla="*/ 60336 w 60335"/>
                  <a:gd name="connsiteY0" fmla="*/ 0 h 12702"/>
                  <a:gd name="connsiteX1" fmla="*/ 0 w 60335"/>
                  <a:gd name="connsiteY1" fmla="*/ 0 h 12702"/>
                </a:gdLst>
                <a:ahLst/>
                <a:cxnLst>
                  <a:cxn ang="0">
                    <a:pos x="connsiteX0" y="connsiteY0"/>
                  </a:cxn>
                  <a:cxn ang="0">
                    <a:pos x="connsiteX1" y="connsiteY1"/>
                  </a:cxn>
                </a:cxnLst>
                <a:rect l="l" t="t" r="r" b="b"/>
                <a:pathLst>
                  <a:path w="60335" h="12702">
                    <a:moveTo>
                      <a:pt x="60336" y="0"/>
                    </a:moveTo>
                    <a:lnTo>
                      <a:pt x="0" y="0"/>
                    </a:lnTo>
                  </a:path>
                </a:pathLst>
              </a:custGeom>
              <a:ln w="19045" cap="flat">
                <a:solidFill>
                  <a:srgbClr val="00000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 name="Freeform 5988">
                <a:extLst>
                  <a:ext uri="{FF2B5EF4-FFF2-40B4-BE49-F238E27FC236}">
                    <a16:creationId xmlns:a16="http://schemas.microsoft.com/office/drawing/2014/main" id="{237C0A84-6702-CF22-9509-E6B3EE317045}"/>
                  </a:ext>
                </a:extLst>
              </p:cNvPr>
              <p:cNvSpPr/>
              <p:nvPr/>
            </p:nvSpPr>
            <p:spPr>
              <a:xfrm>
                <a:off x="6826999" y="2786467"/>
                <a:ext cx="60335" cy="12702"/>
              </a:xfrm>
              <a:custGeom>
                <a:avLst/>
                <a:gdLst>
                  <a:gd name="connsiteX0" fmla="*/ 60336 w 60335"/>
                  <a:gd name="connsiteY0" fmla="*/ 0 h 12702"/>
                  <a:gd name="connsiteX1" fmla="*/ 0 w 60335"/>
                  <a:gd name="connsiteY1" fmla="*/ 0 h 12702"/>
                </a:gdLst>
                <a:ahLst/>
                <a:cxnLst>
                  <a:cxn ang="0">
                    <a:pos x="connsiteX0" y="connsiteY0"/>
                  </a:cxn>
                  <a:cxn ang="0">
                    <a:pos x="connsiteX1" y="connsiteY1"/>
                  </a:cxn>
                </a:cxnLst>
                <a:rect l="l" t="t" r="r" b="b"/>
                <a:pathLst>
                  <a:path w="60335" h="12702">
                    <a:moveTo>
                      <a:pt x="60336" y="0"/>
                    </a:moveTo>
                    <a:lnTo>
                      <a:pt x="0" y="0"/>
                    </a:lnTo>
                  </a:path>
                </a:pathLst>
              </a:custGeom>
              <a:ln w="19045" cap="flat">
                <a:solidFill>
                  <a:srgbClr val="00000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 name="Freeform 5989">
                <a:extLst>
                  <a:ext uri="{FF2B5EF4-FFF2-40B4-BE49-F238E27FC236}">
                    <a16:creationId xmlns:a16="http://schemas.microsoft.com/office/drawing/2014/main" id="{2BC73AFC-DFC3-5771-FFE5-6959153F24AA}"/>
                  </a:ext>
                </a:extLst>
              </p:cNvPr>
              <p:cNvSpPr/>
              <p:nvPr/>
            </p:nvSpPr>
            <p:spPr>
              <a:xfrm>
                <a:off x="6826999" y="2263768"/>
                <a:ext cx="60335" cy="12702"/>
              </a:xfrm>
              <a:custGeom>
                <a:avLst/>
                <a:gdLst>
                  <a:gd name="connsiteX0" fmla="*/ 60336 w 60335"/>
                  <a:gd name="connsiteY0" fmla="*/ 0 h 12702"/>
                  <a:gd name="connsiteX1" fmla="*/ 0 w 60335"/>
                  <a:gd name="connsiteY1" fmla="*/ 0 h 12702"/>
                </a:gdLst>
                <a:ahLst/>
                <a:cxnLst>
                  <a:cxn ang="0">
                    <a:pos x="connsiteX0" y="connsiteY0"/>
                  </a:cxn>
                  <a:cxn ang="0">
                    <a:pos x="connsiteX1" y="connsiteY1"/>
                  </a:cxn>
                </a:cxnLst>
                <a:rect l="l" t="t" r="r" b="b"/>
                <a:pathLst>
                  <a:path w="60335" h="12702">
                    <a:moveTo>
                      <a:pt x="60336" y="0"/>
                    </a:moveTo>
                    <a:lnTo>
                      <a:pt x="0" y="0"/>
                    </a:lnTo>
                  </a:path>
                </a:pathLst>
              </a:custGeom>
              <a:ln w="19045" cap="flat">
                <a:solidFill>
                  <a:srgbClr val="00000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 name="Freeform 5990">
                <a:extLst>
                  <a:ext uri="{FF2B5EF4-FFF2-40B4-BE49-F238E27FC236}">
                    <a16:creationId xmlns:a16="http://schemas.microsoft.com/office/drawing/2014/main" id="{BFAB35DF-57D6-1281-563D-AD8751C59BE4}"/>
                  </a:ext>
                </a:extLst>
              </p:cNvPr>
              <p:cNvSpPr/>
              <p:nvPr/>
            </p:nvSpPr>
            <p:spPr>
              <a:xfrm>
                <a:off x="6826999" y="1740943"/>
                <a:ext cx="60335" cy="12702"/>
              </a:xfrm>
              <a:custGeom>
                <a:avLst/>
                <a:gdLst>
                  <a:gd name="connsiteX0" fmla="*/ 60336 w 60335"/>
                  <a:gd name="connsiteY0" fmla="*/ 0 h 12702"/>
                  <a:gd name="connsiteX1" fmla="*/ 0 w 60335"/>
                  <a:gd name="connsiteY1" fmla="*/ 0 h 12702"/>
                </a:gdLst>
                <a:ahLst/>
                <a:cxnLst>
                  <a:cxn ang="0">
                    <a:pos x="connsiteX0" y="connsiteY0"/>
                  </a:cxn>
                  <a:cxn ang="0">
                    <a:pos x="connsiteX1" y="connsiteY1"/>
                  </a:cxn>
                </a:cxnLst>
                <a:rect l="l" t="t" r="r" b="b"/>
                <a:pathLst>
                  <a:path w="60335" h="12702">
                    <a:moveTo>
                      <a:pt x="60336" y="0"/>
                    </a:moveTo>
                    <a:lnTo>
                      <a:pt x="0" y="0"/>
                    </a:lnTo>
                  </a:path>
                </a:pathLst>
              </a:custGeom>
              <a:ln w="19045" cap="flat">
                <a:solidFill>
                  <a:srgbClr val="00000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sp>
        <p:nvSpPr>
          <p:cNvPr id="61" name="Freeform 4">
            <a:extLst>
              <a:ext uri="{FF2B5EF4-FFF2-40B4-BE49-F238E27FC236}">
                <a16:creationId xmlns:a16="http://schemas.microsoft.com/office/drawing/2014/main" id="{4CEF6855-A33B-1D7F-C398-785913C93A92}"/>
              </a:ext>
            </a:extLst>
          </p:cNvPr>
          <p:cNvSpPr/>
          <p:nvPr/>
        </p:nvSpPr>
        <p:spPr>
          <a:xfrm>
            <a:off x="4837067" y="4327476"/>
            <a:ext cx="247568" cy="8077"/>
          </a:xfrm>
          <a:custGeom>
            <a:avLst/>
            <a:gdLst>
              <a:gd name="connsiteX0" fmla="*/ 285547 w 285547"/>
              <a:gd name="connsiteY0" fmla="*/ 0 h 12702"/>
              <a:gd name="connsiteX1" fmla="*/ 0 w 285547"/>
              <a:gd name="connsiteY1" fmla="*/ 0 h 12702"/>
            </a:gdLst>
            <a:ahLst/>
            <a:cxnLst>
              <a:cxn ang="0">
                <a:pos x="connsiteX0" y="connsiteY0"/>
              </a:cxn>
              <a:cxn ang="0">
                <a:pos x="connsiteX1" y="connsiteY1"/>
              </a:cxn>
            </a:cxnLst>
            <a:rect l="l" t="t" r="r" b="b"/>
            <a:pathLst>
              <a:path w="285547" h="12702">
                <a:moveTo>
                  <a:pt x="285547" y="0"/>
                </a:moveTo>
                <a:lnTo>
                  <a:pt x="0" y="0"/>
                </a:lnTo>
              </a:path>
            </a:pathLst>
          </a:custGeom>
          <a:ln w="19045" cap="flat">
            <a:solidFill>
              <a:srgbClr val="FF1F26"/>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 name="Freeform 27">
            <a:extLst>
              <a:ext uri="{FF2B5EF4-FFF2-40B4-BE49-F238E27FC236}">
                <a16:creationId xmlns:a16="http://schemas.microsoft.com/office/drawing/2014/main" id="{85D34434-8CFE-9126-C2FC-2D7DDD1ECD76}"/>
              </a:ext>
            </a:extLst>
          </p:cNvPr>
          <p:cNvSpPr/>
          <p:nvPr/>
        </p:nvSpPr>
        <p:spPr>
          <a:xfrm>
            <a:off x="6572691" y="4327476"/>
            <a:ext cx="247568" cy="8077"/>
          </a:xfrm>
          <a:custGeom>
            <a:avLst/>
            <a:gdLst>
              <a:gd name="connsiteX0" fmla="*/ 285547 w 285547"/>
              <a:gd name="connsiteY0" fmla="*/ 0 h 12702"/>
              <a:gd name="connsiteX1" fmla="*/ 0 w 285547"/>
              <a:gd name="connsiteY1" fmla="*/ 0 h 12702"/>
            </a:gdLst>
            <a:ahLst/>
            <a:cxnLst>
              <a:cxn ang="0">
                <a:pos x="connsiteX0" y="connsiteY0"/>
              </a:cxn>
              <a:cxn ang="0">
                <a:pos x="connsiteX1" y="connsiteY1"/>
              </a:cxn>
            </a:cxnLst>
            <a:rect l="l" t="t" r="r" b="b"/>
            <a:pathLst>
              <a:path w="285547" h="12702">
                <a:moveTo>
                  <a:pt x="285547" y="0"/>
                </a:moveTo>
                <a:lnTo>
                  <a:pt x="0" y="0"/>
                </a:lnTo>
              </a:path>
            </a:pathLst>
          </a:custGeom>
          <a:ln w="19045" cap="flat">
            <a:solidFill>
              <a:srgbClr val="BC36F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 name="Freeform 28">
            <a:extLst>
              <a:ext uri="{FF2B5EF4-FFF2-40B4-BE49-F238E27FC236}">
                <a16:creationId xmlns:a16="http://schemas.microsoft.com/office/drawing/2014/main" id="{574B13A4-903F-86BD-9706-85AD75F06744}"/>
              </a:ext>
            </a:extLst>
          </p:cNvPr>
          <p:cNvSpPr/>
          <p:nvPr/>
        </p:nvSpPr>
        <p:spPr>
          <a:xfrm>
            <a:off x="3733445" y="4336710"/>
            <a:ext cx="247568" cy="8077"/>
          </a:xfrm>
          <a:custGeom>
            <a:avLst/>
            <a:gdLst>
              <a:gd name="connsiteX0" fmla="*/ 285547 w 285547"/>
              <a:gd name="connsiteY0" fmla="*/ 0 h 12702"/>
              <a:gd name="connsiteX1" fmla="*/ 0 w 285547"/>
              <a:gd name="connsiteY1" fmla="*/ 0 h 12702"/>
            </a:gdLst>
            <a:ahLst/>
            <a:cxnLst>
              <a:cxn ang="0">
                <a:pos x="connsiteX0" y="connsiteY0"/>
              </a:cxn>
              <a:cxn ang="0">
                <a:pos x="connsiteX1" y="connsiteY1"/>
              </a:cxn>
            </a:cxnLst>
            <a:rect l="l" t="t" r="r" b="b"/>
            <a:pathLst>
              <a:path w="285547" h="12702">
                <a:moveTo>
                  <a:pt x="285547" y="0"/>
                </a:moveTo>
                <a:lnTo>
                  <a:pt x="0"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 name="TextBox 64">
            <a:extLst>
              <a:ext uri="{FF2B5EF4-FFF2-40B4-BE49-F238E27FC236}">
                <a16:creationId xmlns:a16="http://schemas.microsoft.com/office/drawing/2014/main" id="{70B9C760-B86A-05DD-D605-8275284A1058}"/>
              </a:ext>
            </a:extLst>
          </p:cNvPr>
          <p:cNvSpPr txBox="1"/>
          <p:nvPr/>
        </p:nvSpPr>
        <p:spPr>
          <a:xfrm>
            <a:off x="3922219" y="4200605"/>
            <a:ext cx="817853" cy="256545"/>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CR (n=55)</a:t>
            </a:r>
          </a:p>
        </p:txBody>
      </p:sp>
      <p:sp>
        <p:nvSpPr>
          <p:cNvPr id="66" name="TextBox 65">
            <a:extLst>
              <a:ext uri="{FF2B5EF4-FFF2-40B4-BE49-F238E27FC236}">
                <a16:creationId xmlns:a16="http://schemas.microsoft.com/office/drawing/2014/main" id="{9174DF0C-037A-D712-00B9-DF888AD5ABF7}"/>
              </a:ext>
            </a:extLst>
          </p:cNvPr>
          <p:cNvSpPr txBox="1"/>
          <p:nvPr/>
        </p:nvSpPr>
        <p:spPr>
          <a:xfrm>
            <a:off x="5031268" y="4200605"/>
            <a:ext cx="1391728" cy="256545"/>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No response (n=18)</a:t>
            </a:r>
          </a:p>
        </p:txBody>
      </p:sp>
      <p:sp>
        <p:nvSpPr>
          <p:cNvPr id="67" name="TextBox 66">
            <a:extLst>
              <a:ext uri="{FF2B5EF4-FFF2-40B4-BE49-F238E27FC236}">
                <a16:creationId xmlns:a16="http://schemas.microsoft.com/office/drawing/2014/main" id="{65384A54-7E1D-7B9D-B7DA-CA6B75C1706A}"/>
              </a:ext>
            </a:extLst>
          </p:cNvPr>
          <p:cNvSpPr txBox="1"/>
          <p:nvPr/>
        </p:nvSpPr>
        <p:spPr>
          <a:xfrm>
            <a:off x="6809147" y="4200604"/>
            <a:ext cx="833612" cy="256545"/>
          </a:xfrm>
          <a:prstGeom prst="rect">
            <a:avLst/>
          </a:prstGeom>
          <a:noFill/>
        </p:spPr>
        <p:txBody>
          <a:bodyPr wrap="squar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PR (n=3)</a:t>
            </a:r>
          </a:p>
        </p:txBody>
      </p:sp>
      <p:sp>
        <p:nvSpPr>
          <p:cNvPr id="68" name="TextBox 67">
            <a:extLst>
              <a:ext uri="{FF2B5EF4-FFF2-40B4-BE49-F238E27FC236}">
                <a16:creationId xmlns:a16="http://schemas.microsoft.com/office/drawing/2014/main" id="{AA52E24A-F5F6-2053-85F4-AD7069C4CC16}"/>
              </a:ext>
            </a:extLst>
          </p:cNvPr>
          <p:cNvSpPr txBox="1"/>
          <p:nvPr/>
        </p:nvSpPr>
        <p:spPr>
          <a:xfrm>
            <a:off x="7827114" y="4200605"/>
            <a:ext cx="774571" cy="256545"/>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Censored</a:t>
            </a:r>
          </a:p>
        </p:txBody>
      </p:sp>
      <p:sp>
        <p:nvSpPr>
          <p:cNvPr id="444" name="TextBox 443">
            <a:extLst>
              <a:ext uri="{FF2B5EF4-FFF2-40B4-BE49-F238E27FC236}">
                <a16:creationId xmlns:a16="http://schemas.microsoft.com/office/drawing/2014/main" id="{26698723-CDC7-0BCE-17E9-C39AE205052F}"/>
              </a:ext>
            </a:extLst>
          </p:cNvPr>
          <p:cNvSpPr txBox="1"/>
          <p:nvPr/>
        </p:nvSpPr>
        <p:spPr>
          <a:xfrm>
            <a:off x="6050153" y="3623681"/>
            <a:ext cx="1592103" cy="235898"/>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panose="020B0604020202020204"/>
                <a:ea typeface="+mn-ea"/>
                <a:cs typeface="Arial"/>
                <a:sym typeface="Arial"/>
                <a:rtl val="0"/>
              </a:rPr>
              <a:t>Number of patients at risk:</a:t>
            </a:r>
          </a:p>
        </p:txBody>
      </p:sp>
      <p:sp>
        <p:nvSpPr>
          <p:cNvPr id="445" name="TextBox 444">
            <a:extLst>
              <a:ext uri="{FF2B5EF4-FFF2-40B4-BE49-F238E27FC236}">
                <a16:creationId xmlns:a16="http://schemas.microsoft.com/office/drawing/2014/main" id="{A03F69E4-D717-53BA-7B9F-C0899ACB6B2F}"/>
              </a:ext>
            </a:extLst>
          </p:cNvPr>
          <p:cNvSpPr txBox="1"/>
          <p:nvPr/>
        </p:nvSpPr>
        <p:spPr>
          <a:xfrm>
            <a:off x="418822" y="3640548"/>
            <a:ext cx="1592103" cy="235898"/>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panose="020B0604020202020204"/>
                <a:ea typeface="+mn-ea"/>
                <a:cs typeface="Arial"/>
                <a:sym typeface="Arial"/>
                <a:rtl val="0"/>
              </a:rPr>
              <a:t>Number of patients at risk:</a:t>
            </a:r>
          </a:p>
        </p:txBody>
      </p:sp>
      <p:sp>
        <p:nvSpPr>
          <p:cNvPr id="3" name="Freeform 39">
            <a:extLst>
              <a:ext uri="{FF2B5EF4-FFF2-40B4-BE49-F238E27FC236}">
                <a16:creationId xmlns:a16="http://schemas.microsoft.com/office/drawing/2014/main" id="{C39BAB0F-E58C-C86E-8129-C2C7CD2B2E65}"/>
              </a:ext>
            </a:extLst>
          </p:cNvPr>
          <p:cNvSpPr/>
          <p:nvPr/>
        </p:nvSpPr>
        <p:spPr>
          <a:xfrm>
            <a:off x="7771068" y="4301651"/>
            <a:ext cx="16939" cy="101637"/>
          </a:xfrm>
          <a:custGeom>
            <a:avLst/>
            <a:gdLst>
              <a:gd name="connsiteX0" fmla="*/ 0 w 12708"/>
              <a:gd name="connsiteY0" fmla="*/ 0 h 76252"/>
              <a:gd name="connsiteX1" fmla="*/ 0 w 12708"/>
              <a:gd name="connsiteY1" fmla="*/ 76253 h 76252"/>
            </a:gdLst>
            <a:ahLst/>
            <a:cxnLst>
              <a:cxn ang="0">
                <a:pos x="connsiteX0" y="connsiteY0"/>
              </a:cxn>
              <a:cxn ang="0">
                <a:pos x="connsiteX1" y="connsiteY1"/>
              </a:cxn>
            </a:cxnLst>
            <a:rect l="l" t="t" r="r" b="b"/>
            <a:pathLst>
              <a:path w="12708" h="76252">
                <a:moveTo>
                  <a:pt x="0" y="0"/>
                </a:moveTo>
                <a:lnTo>
                  <a:pt x="0" y="76253"/>
                </a:lnTo>
              </a:path>
            </a:pathLst>
          </a:custGeom>
          <a:ln w="19050" cap="flat">
            <a:solidFill>
              <a:srgbClr val="00000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Freeform 40">
            <a:extLst>
              <a:ext uri="{FF2B5EF4-FFF2-40B4-BE49-F238E27FC236}">
                <a16:creationId xmlns:a16="http://schemas.microsoft.com/office/drawing/2014/main" id="{2805A354-1E02-9D6C-54AF-2E8EEE1F1D76}"/>
              </a:ext>
            </a:extLst>
          </p:cNvPr>
          <p:cNvSpPr/>
          <p:nvPr/>
        </p:nvSpPr>
        <p:spPr>
          <a:xfrm>
            <a:off x="7720250" y="4352471"/>
            <a:ext cx="101639" cy="16939"/>
          </a:xfrm>
          <a:custGeom>
            <a:avLst/>
            <a:gdLst>
              <a:gd name="connsiteX0" fmla="*/ 76253 w 76253"/>
              <a:gd name="connsiteY0" fmla="*/ 0 h 12708"/>
              <a:gd name="connsiteX1" fmla="*/ 0 w 76253"/>
              <a:gd name="connsiteY1" fmla="*/ 0 h 12708"/>
            </a:gdLst>
            <a:ahLst/>
            <a:cxnLst>
              <a:cxn ang="0">
                <a:pos x="connsiteX0" y="connsiteY0"/>
              </a:cxn>
              <a:cxn ang="0">
                <a:pos x="connsiteX1" y="connsiteY1"/>
              </a:cxn>
            </a:cxnLst>
            <a:rect l="l" t="t" r="r" b="b"/>
            <a:pathLst>
              <a:path w="76253" h="12708">
                <a:moveTo>
                  <a:pt x="76253" y="0"/>
                </a:moveTo>
                <a:lnTo>
                  <a:pt x="0" y="0"/>
                </a:lnTo>
              </a:path>
            </a:pathLst>
          </a:custGeom>
          <a:ln w="19050" cap="flat">
            <a:solidFill>
              <a:srgbClr val="00000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 name="Freeform 4">
            <a:extLst>
              <a:ext uri="{FF2B5EF4-FFF2-40B4-BE49-F238E27FC236}">
                <a16:creationId xmlns:a16="http://schemas.microsoft.com/office/drawing/2014/main" id="{BC7B9906-256D-CEEB-FC4D-B05351893298}"/>
              </a:ext>
            </a:extLst>
          </p:cNvPr>
          <p:cNvSpPr/>
          <p:nvPr/>
        </p:nvSpPr>
        <p:spPr>
          <a:xfrm>
            <a:off x="6431788" y="4029866"/>
            <a:ext cx="247568" cy="8077"/>
          </a:xfrm>
          <a:custGeom>
            <a:avLst/>
            <a:gdLst>
              <a:gd name="connsiteX0" fmla="*/ 285547 w 285547"/>
              <a:gd name="connsiteY0" fmla="*/ 0 h 12702"/>
              <a:gd name="connsiteX1" fmla="*/ 0 w 285547"/>
              <a:gd name="connsiteY1" fmla="*/ 0 h 12702"/>
            </a:gdLst>
            <a:ahLst/>
            <a:cxnLst>
              <a:cxn ang="0">
                <a:pos x="connsiteX0" y="connsiteY0"/>
              </a:cxn>
              <a:cxn ang="0">
                <a:pos x="connsiteX1" y="connsiteY1"/>
              </a:cxn>
            </a:cxnLst>
            <a:rect l="l" t="t" r="r" b="b"/>
            <a:pathLst>
              <a:path w="285547" h="12702">
                <a:moveTo>
                  <a:pt x="285547" y="0"/>
                </a:moveTo>
                <a:lnTo>
                  <a:pt x="0" y="0"/>
                </a:lnTo>
              </a:path>
            </a:pathLst>
          </a:custGeom>
          <a:ln w="19045" cap="flat">
            <a:solidFill>
              <a:srgbClr val="FF1F26"/>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Freeform 27">
            <a:extLst>
              <a:ext uri="{FF2B5EF4-FFF2-40B4-BE49-F238E27FC236}">
                <a16:creationId xmlns:a16="http://schemas.microsoft.com/office/drawing/2014/main" id="{A38EFB9F-F81E-CFF8-DF5A-FEBE929B174B}"/>
              </a:ext>
            </a:extLst>
          </p:cNvPr>
          <p:cNvSpPr/>
          <p:nvPr/>
        </p:nvSpPr>
        <p:spPr>
          <a:xfrm>
            <a:off x="6431505" y="4174740"/>
            <a:ext cx="247568" cy="8077"/>
          </a:xfrm>
          <a:custGeom>
            <a:avLst/>
            <a:gdLst>
              <a:gd name="connsiteX0" fmla="*/ 285547 w 285547"/>
              <a:gd name="connsiteY0" fmla="*/ 0 h 12702"/>
              <a:gd name="connsiteX1" fmla="*/ 0 w 285547"/>
              <a:gd name="connsiteY1" fmla="*/ 0 h 12702"/>
            </a:gdLst>
            <a:ahLst/>
            <a:cxnLst>
              <a:cxn ang="0">
                <a:pos x="connsiteX0" y="connsiteY0"/>
              </a:cxn>
              <a:cxn ang="0">
                <a:pos x="connsiteX1" y="connsiteY1"/>
              </a:cxn>
            </a:cxnLst>
            <a:rect l="l" t="t" r="r" b="b"/>
            <a:pathLst>
              <a:path w="285547" h="12702">
                <a:moveTo>
                  <a:pt x="285547" y="0"/>
                </a:moveTo>
                <a:lnTo>
                  <a:pt x="0" y="0"/>
                </a:lnTo>
              </a:path>
            </a:pathLst>
          </a:custGeom>
          <a:ln w="19045" cap="flat">
            <a:solidFill>
              <a:srgbClr val="BC36F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 name="Freeform 28">
            <a:extLst>
              <a:ext uri="{FF2B5EF4-FFF2-40B4-BE49-F238E27FC236}">
                <a16:creationId xmlns:a16="http://schemas.microsoft.com/office/drawing/2014/main" id="{CA6A00CC-5092-E26F-F0FD-EE48E3177DDB}"/>
              </a:ext>
            </a:extLst>
          </p:cNvPr>
          <p:cNvSpPr/>
          <p:nvPr/>
        </p:nvSpPr>
        <p:spPr>
          <a:xfrm>
            <a:off x="6428605" y="3891154"/>
            <a:ext cx="247568" cy="8077"/>
          </a:xfrm>
          <a:custGeom>
            <a:avLst/>
            <a:gdLst>
              <a:gd name="connsiteX0" fmla="*/ 285547 w 285547"/>
              <a:gd name="connsiteY0" fmla="*/ 0 h 12702"/>
              <a:gd name="connsiteX1" fmla="*/ 0 w 285547"/>
              <a:gd name="connsiteY1" fmla="*/ 0 h 12702"/>
            </a:gdLst>
            <a:ahLst/>
            <a:cxnLst>
              <a:cxn ang="0">
                <a:pos x="connsiteX0" y="connsiteY0"/>
              </a:cxn>
              <a:cxn ang="0">
                <a:pos x="connsiteX1" y="connsiteY1"/>
              </a:cxn>
            </a:cxnLst>
            <a:rect l="l" t="t" r="r" b="b"/>
            <a:pathLst>
              <a:path w="285547" h="12702">
                <a:moveTo>
                  <a:pt x="285547" y="0"/>
                </a:moveTo>
                <a:lnTo>
                  <a:pt x="0"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 name="Freeform 4">
            <a:extLst>
              <a:ext uri="{FF2B5EF4-FFF2-40B4-BE49-F238E27FC236}">
                <a16:creationId xmlns:a16="http://schemas.microsoft.com/office/drawing/2014/main" id="{42DF1828-C792-67FE-FDCE-82CFCA554C7C}"/>
              </a:ext>
            </a:extLst>
          </p:cNvPr>
          <p:cNvSpPr/>
          <p:nvPr/>
        </p:nvSpPr>
        <p:spPr>
          <a:xfrm>
            <a:off x="731397" y="4021788"/>
            <a:ext cx="247568" cy="8077"/>
          </a:xfrm>
          <a:custGeom>
            <a:avLst/>
            <a:gdLst>
              <a:gd name="connsiteX0" fmla="*/ 285547 w 285547"/>
              <a:gd name="connsiteY0" fmla="*/ 0 h 12702"/>
              <a:gd name="connsiteX1" fmla="*/ 0 w 285547"/>
              <a:gd name="connsiteY1" fmla="*/ 0 h 12702"/>
            </a:gdLst>
            <a:ahLst/>
            <a:cxnLst>
              <a:cxn ang="0">
                <a:pos x="connsiteX0" y="connsiteY0"/>
              </a:cxn>
              <a:cxn ang="0">
                <a:pos x="connsiteX1" y="connsiteY1"/>
              </a:cxn>
            </a:cxnLst>
            <a:rect l="l" t="t" r="r" b="b"/>
            <a:pathLst>
              <a:path w="285547" h="12702">
                <a:moveTo>
                  <a:pt x="285547" y="0"/>
                </a:moveTo>
                <a:lnTo>
                  <a:pt x="0" y="0"/>
                </a:lnTo>
              </a:path>
            </a:pathLst>
          </a:custGeom>
          <a:ln w="19045" cap="flat">
            <a:solidFill>
              <a:srgbClr val="FF1F26"/>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 name="Freeform 27">
            <a:extLst>
              <a:ext uri="{FF2B5EF4-FFF2-40B4-BE49-F238E27FC236}">
                <a16:creationId xmlns:a16="http://schemas.microsoft.com/office/drawing/2014/main" id="{C3C826EB-98A8-C189-CA81-66D47632C709}"/>
              </a:ext>
            </a:extLst>
          </p:cNvPr>
          <p:cNvSpPr/>
          <p:nvPr/>
        </p:nvSpPr>
        <p:spPr>
          <a:xfrm>
            <a:off x="731115" y="4166663"/>
            <a:ext cx="247568" cy="8077"/>
          </a:xfrm>
          <a:custGeom>
            <a:avLst/>
            <a:gdLst>
              <a:gd name="connsiteX0" fmla="*/ 285547 w 285547"/>
              <a:gd name="connsiteY0" fmla="*/ 0 h 12702"/>
              <a:gd name="connsiteX1" fmla="*/ 0 w 285547"/>
              <a:gd name="connsiteY1" fmla="*/ 0 h 12702"/>
            </a:gdLst>
            <a:ahLst/>
            <a:cxnLst>
              <a:cxn ang="0">
                <a:pos x="connsiteX0" y="connsiteY0"/>
              </a:cxn>
              <a:cxn ang="0">
                <a:pos x="connsiteX1" y="connsiteY1"/>
              </a:cxn>
            </a:cxnLst>
            <a:rect l="l" t="t" r="r" b="b"/>
            <a:pathLst>
              <a:path w="285547" h="12702">
                <a:moveTo>
                  <a:pt x="285547" y="0"/>
                </a:moveTo>
                <a:lnTo>
                  <a:pt x="0" y="0"/>
                </a:lnTo>
              </a:path>
            </a:pathLst>
          </a:custGeom>
          <a:ln w="19045" cap="flat">
            <a:solidFill>
              <a:srgbClr val="BC36F0"/>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 name="Freeform 28">
            <a:extLst>
              <a:ext uri="{FF2B5EF4-FFF2-40B4-BE49-F238E27FC236}">
                <a16:creationId xmlns:a16="http://schemas.microsoft.com/office/drawing/2014/main" id="{895B9EA2-B92F-01D6-418C-3E1A2F02B28B}"/>
              </a:ext>
            </a:extLst>
          </p:cNvPr>
          <p:cNvSpPr/>
          <p:nvPr/>
        </p:nvSpPr>
        <p:spPr>
          <a:xfrm>
            <a:off x="728216" y="3883076"/>
            <a:ext cx="247568" cy="8077"/>
          </a:xfrm>
          <a:custGeom>
            <a:avLst/>
            <a:gdLst>
              <a:gd name="connsiteX0" fmla="*/ 285547 w 285547"/>
              <a:gd name="connsiteY0" fmla="*/ 0 h 12702"/>
              <a:gd name="connsiteX1" fmla="*/ 0 w 285547"/>
              <a:gd name="connsiteY1" fmla="*/ 0 h 12702"/>
            </a:gdLst>
            <a:ahLst/>
            <a:cxnLst>
              <a:cxn ang="0">
                <a:pos x="connsiteX0" y="connsiteY0"/>
              </a:cxn>
              <a:cxn ang="0">
                <a:pos x="connsiteX1" y="connsiteY1"/>
              </a:cxn>
            </a:cxnLst>
            <a:rect l="l" t="t" r="r" b="b"/>
            <a:pathLst>
              <a:path w="285547" h="12702">
                <a:moveTo>
                  <a:pt x="285547" y="0"/>
                </a:moveTo>
                <a:lnTo>
                  <a:pt x="0" y="0"/>
                </a:lnTo>
              </a:path>
            </a:pathLst>
          </a:custGeom>
          <a:ln w="19045" cap="flat">
            <a:solidFill>
              <a:srgbClr val="0B41CD"/>
            </a:solidFill>
            <a:prstDash val="solid"/>
            <a:miter/>
          </a:ln>
        </p:spPr>
        <p:txBody>
          <a:bodyPr rtlCol="0" anchor="ct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 name="Text Placeholder 3">
            <a:extLst>
              <a:ext uri="{FF2B5EF4-FFF2-40B4-BE49-F238E27FC236}">
                <a16:creationId xmlns:a16="http://schemas.microsoft.com/office/drawing/2014/main" id="{43E0D22E-316B-D1E8-C5CD-1EF083B26D89}"/>
              </a:ext>
            </a:extLst>
          </p:cNvPr>
          <p:cNvSpPr txBox="1">
            <a:spLocks/>
          </p:cNvSpPr>
          <p:nvPr/>
        </p:nvSpPr>
        <p:spPr>
          <a:xfrm>
            <a:off x="533951" y="6295358"/>
            <a:ext cx="9651679" cy="368965"/>
          </a:xfrm>
          <a:prstGeom prst="rect">
            <a:avLst/>
          </a:prstGeom>
        </p:spPr>
        <p:txBody>
          <a:bodyPr lIns="0" tIns="0" rIns="0" bIns="0" anchor="b"/>
          <a:lstStyle>
            <a:lvl1pPr marL="0" indent="0" algn="l" rtl="0" eaLnBrk="1" fontAlgn="base" hangingPunct="1">
              <a:spcBef>
                <a:spcPts val="0"/>
              </a:spcBef>
              <a:spcAft>
                <a:spcPts val="225"/>
              </a:spcAft>
              <a:buClr>
                <a:schemeClr val="accent6">
                  <a:lumMod val="40000"/>
                  <a:lumOff val="60000"/>
                </a:schemeClr>
              </a:buClr>
              <a:buFont typeface="Arial" pitchFamily="34" charset="0"/>
              <a:buNone/>
              <a:tabLst/>
              <a:defRPr sz="810" kern="1200">
                <a:solidFill>
                  <a:schemeClr val="tx1"/>
                </a:solidFill>
                <a:latin typeface="+mn-lt"/>
                <a:ea typeface="+mn-ea"/>
                <a:cs typeface="Arial" panose="020B0604020202020204" pitchFamily="34" charset="0"/>
              </a:defRPr>
            </a:lvl1pPr>
            <a:lvl2pPr marL="380310" indent="-207983" algn="l" rtl="0" eaLnBrk="1" fontAlgn="base" hangingPunct="1">
              <a:spcBef>
                <a:spcPts val="0"/>
              </a:spcBef>
              <a:spcAft>
                <a:spcPts val="225"/>
              </a:spcAft>
              <a:buClr>
                <a:schemeClr val="accent6">
                  <a:lumMod val="40000"/>
                  <a:lumOff val="60000"/>
                </a:schemeClr>
              </a:buClr>
              <a:buFont typeface="Arial" pitchFamily="34" charset="0"/>
              <a:buChar char="–"/>
              <a:defRPr sz="1500" kern="1200">
                <a:solidFill>
                  <a:schemeClr val="tx2">
                    <a:lumMod val="50000"/>
                  </a:schemeClr>
                </a:solidFill>
                <a:latin typeface="Arial Narrow" panose="020B0606020202030204" pitchFamily="34" charset="0"/>
                <a:ea typeface="+mn-ea"/>
                <a:cs typeface="Arial" pitchFamily="34" charset="0"/>
              </a:defRPr>
            </a:lvl2pPr>
            <a:lvl3pPr marL="547885" indent="-164007" algn="l" rtl="0" eaLnBrk="1" fontAlgn="base" hangingPunct="1">
              <a:spcBef>
                <a:spcPts val="0"/>
              </a:spcBef>
              <a:spcAft>
                <a:spcPts val="225"/>
              </a:spcAft>
              <a:buClr>
                <a:schemeClr val="accent6">
                  <a:lumMod val="40000"/>
                  <a:lumOff val="60000"/>
                </a:schemeClr>
              </a:buClr>
              <a:buFont typeface="Arial" pitchFamily="34" charset="0"/>
              <a:buChar char="•"/>
              <a:defRPr sz="1500" kern="1200">
                <a:solidFill>
                  <a:schemeClr val="tx2">
                    <a:lumMod val="50000"/>
                  </a:schemeClr>
                </a:solidFill>
                <a:latin typeface="Arial Narrow" panose="020B0606020202030204" pitchFamily="34" charset="0"/>
                <a:ea typeface="+mn-ea"/>
                <a:cs typeface="Arial" pitchFamily="34" charset="0"/>
              </a:defRPr>
            </a:lvl3pPr>
            <a:lvl4pPr marL="710707" indent="-158069" algn="l" rtl="0" eaLnBrk="1" fontAlgn="base" hangingPunct="1">
              <a:spcBef>
                <a:spcPts val="0"/>
              </a:spcBef>
              <a:spcAft>
                <a:spcPts val="225"/>
              </a:spcAft>
              <a:buClr>
                <a:schemeClr val="accent6">
                  <a:lumMod val="40000"/>
                  <a:lumOff val="60000"/>
                </a:schemeClr>
              </a:buClr>
              <a:buFont typeface="Arial" pitchFamily="34" charset="0"/>
              <a:buChar char="•"/>
              <a:defRPr sz="1500" kern="1200">
                <a:solidFill>
                  <a:schemeClr val="tx2">
                    <a:lumMod val="50000"/>
                  </a:schemeClr>
                </a:solidFill>
                <a:latin typeface="Arial Narrow" panose="020B0606020202030204" pitchFamily="34" charset="0"/>
                <a:ea typeface="+mn-ea"/>
                <a:cs typeface="Arial" pitchFamily="34" charset="0"/>
              </a:defRPr>
            </a:lvl4pPr>
            <a:lvl5pPr marL="1540261" indent="-171140" algn="l" rtl="0" eaLnBrk="1" fontAlgn="base" hangingPunct="1">
              <a:spcBef>
                <a:spcPct val="20000"/>
              </a:spcBef>
              <a:spcAft>
                <a:spcPct val="0"/>
              </a:spcAft>
              <a:buFont typeface="Arial" charset="0"/>
              <a:buChar char="»"/>
              <a:defRPr sz="1500" kern="1200">
                <a:solidFill>
                  <a:schemeClr val="tx1"/>
                </a:solidFill>
                <a:latin typeface="Arial" pitchFamily="34" charset="0"/>
                <a:ea typeface="+mn-ea"/>
                <a:cs typeface="Arial" pitchFamily="34" charset="0"/>
              </a:defRPr>
            </a:lvl5pPr>
            <a:lvl6pPr marL="1882540" indent="-171140" algn="l" defTabSz="68456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4821" indent="-171140" algn="l" defTabSz="68456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7102" indent="-171140" algn="l" defTabSz="68456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09381" indent="-171140" algn="l" defTabSz="68456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1218804" rtl="0" eaLnBrk="1" fontAlgn="base" latinLnBrk="0" hangingPunct="1">
              <a:lnSpc>
                <a:spcPct val="100000"/>
              </a:lnSpc>
              <a:spcBef>
                <a:spcPts val="0"/>
              </a:spcBef>
              <a:spcAft>
                <a:spcPts val="225"/>
              </a:spcAft>
              <a:buClr>
                <a:srgbClr val="ED4A0D">
                  <a:lumMod val="40000"/>
                  <a:lumOff val="60000"/>
                </a:srgbClr>
              </a:buClr>
              <a:buSzTx/>
              <a:buFont typeface="Arial" pitchFamily="34" charset="0"/>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Data cut-off: May 1, 2025. EOT, end of treatment; PR, partial response.</a:t>
            </a:r>
          </a:p>
        </p:txBody>
      </p:sp>
      <p:sp>
        <p:nvSpPr>
          <p:cNvPr id="4" name="TextBox 3">
            <a:extLst>
              <a:ext uri="{FF2B5EF4-FFF2-40B4-BE49-F238E27FC236}">
                <a16:creationId xmlns:a16="http://schemas.microsoft.com/office/drawing/2014/main" id="{D1E2DB66-770A-5EC7-1E0F-5B2926658E17}"/>
              </a:ext>
            </a:extLst>
          </p:cNvPr>
          <p:cNvSpPr txBox="1"/>
          <p:nvPr/>
        </p:nvSpPr>
        <p:spPr>
          <a:xfrm>
            <a:off x="4076803" y="6421404"/>
            <a:ext cx="3121624" cy="400110"/>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bdulhaq et al, ASH 2025</a:t>
            </a:r>
          </a:p>
        </p:txBody>
      </p:sp>
    </p:spTree>
    <p:extLst>
      <p:ext uri="{BB962C8B-B14F-4D97-AF65-F5344CB8AC3E}">
        <p14:creationId xmlns:p14="http://schemas.microsoft.com/office/powerpoint/2010/main" val="27684244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8402D-E108-E50F-6D17-6BB5F4D2E6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CBD168C-7EF2-7792-F38D-B6ED51878B45}"/>
              </a:ext>
            </a:extLst>
          </p:cNvPr>
          <p:cNvSpPr>
            <a:spLocks noGrp="1"/>
          </p:cNvSpPr>
          <p:nvPr>
            <p:ph type="title"/>
          </p:nvPr>
        </p:nvSpPr>
        <p:spPr>
          <a:xfrm>
            <a:off x="564995" y="533039"/>
            <a:ext cx="11887200" cy="685801"/>
          </a:xfrm>
        </p:spPr>
        <p:txBody>
          <a:bodyPr/>
          <a:lstStyle/>
          <a:p>
            <a:r>
              <a:rPr lang="en-US" sz="2800" dirty="0"/>
              <a:t>Phase </a:t>
            </a:r>
            <a:r>
              <a:rPr lang="en-US" sz="2800" dirty="0" err="1"/>
              <a:t>Ib</a:t>
            </a:r>
            <a:r>
              <a:rPr lang="en-US" sz="2800" dirty="0"/>
              <a:t>/II EPCORE NHL-2 Trial: Epcor-</a:t>
            </a:r>
            <a:r>
              <a:rPr lang="en-US" sz="2800" dirty="0" err="1"/>
              <a:t>GemOx</a:t>
            </a:r>
            <a:r>
              <a:rPr lang="en-US" sz="2800" dirty="0"/>
              <a:t> ≥ 2L R/R DLBCL</a:t>
            </a:r>
            <a:br>
              <a:rPr lang="en-US" sz="2800" dirty="0"/>
            </a:br>
            <a:r>
              <a:rPr lang="en-US" sz="2800" dirty="0">
                <a:solidFill>
                  <a:srgbClr val="C00000"/>
                </a:solidFill>
              </a:rPr>
              <a:t>Response and Overall Survival</a:t>
            </a:r>
            <a:endParaRPr lang="en-US" sz="2800" kern="0" dirty="0">
              <a:solidFill>
                <a:srgbClr val="C00000"/>
              </a:solidFill>
            </a:endParaRPr>
          </a:p>
        </p:txBody>
      </p:sp>
      <p:sp>
        <p:nvSpPr>
          <p:cNvPr id="8" name="TextBox 7">
            <a:extLst>
              <a:ext uri="{FF2B5EF4-FFF2-40B4-BE49-F238E27FC236}">
                <a16:creationId xmlns:a16="http://schemas.microsoft.com/office/drawing/2014/main" id="{0F1E95F5-323D-E666-614E-BD83A9CD9E6E}"/>
              </a:ext>
            </a:extLst>
          </p:cNvPr>
          <p:cNvSpPr txBox="1"/>
          <p:nvPr/>
        </p:nvSpPr>
        <p:spPr>
          <a:xfrm>
            <a:off x="8168229" y="6400801"/>
            <a:ext cx="3992905" cy="27699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Brody et al Blood 2025;145:1621–1631</a:t>
            </a:r>
            <a:endParaRPr kumimoji="0" lang="en-US" sz="1050" b="0" i="0" u="none" strike="noStrike" kern="1200" cap="none" spc="0" normalizeH="0" baseline="0" noProof="0" dirty="0">
              <a:ln>
                <a:noFill/>
              </a:ln>
              <a:solidFill>
                <a:srgbClr val="000000"/>
              </a:solidFill>
              <a:effectLst/>
              <a:highlight>
                <a:srgbClr val="FFFF00"/>
              </a:highlight>
              <a:uLnTx/>
              <a:uFillTx/>
              <a:latin typeface="Arial" panose="020B0604020202020204" pitchFamily="34" charset="0"/>
              <a:ea typeface="ＭＳ Ｐゴシック" panose="020B0600070205080204" pitchFamily="34" charset="-128"/>
              <a:cs typeface="+mn-cs"/>
            </a:endParaRPr>
          </a:p>
        </p:txBody>
      </p:sp>
      <p:pic>
        <p:nvPicPr>
          <p:cNvPr id="4" name="Picture 3">
            <a:extLst>
              <a:ext uri="{FF2B5EF4-FFF2-40B4-BE49-F238E27FC236}">
                <a16:creationId xmlns:a16="http://schemas.microsoft.com/office/drawing/2014/main" id="{0E75AD19-997E-D0DB-7231-5F227F53855F}"/>
              </a:ext>
            </a:extLst>
          </p:cNvPr>
          <p:cNvPicPr>
            <a:picLocks noChangeAspect="1"/>
          </p:cNvPicPr>
          <p:nvPr/>
        </p:nvPicPr>
        <p:blipFill>
          <a:blip r:embed="rId3"/>
          <a:stretch>
            <a:fillRect/>
          </a:stretch>
        </p:blipFill>
        <p:spPr>
          <a:xfrm>
            <a:off x="349096" y="2386981"/>
            <a:ext cx="5605144" cy="2123688"/>
          </a:xfrm>
          <a:prstGeom prst="rect">
            <a:avLst/>
          </a:prstGeom>
        </p:spPr>
      </p:pic>
      <p:pic>
        <p:nvPicPr>
          <p:cNvPr id="7" name="Picture 6" descr="A graph of a patient's life&#10;&#10;AI-generated content may be incorrect.">
            <a:extLst>
              <a:ext uri="{FF2B5EF4-FFF2-40B4-BE49-F238E27FC236}">
                <a16:creationId xmlns:a16="http://schemas.microsoft.com/office/drawing/2014/main" id="{1427C1E0-650E-1341-61FB-0498EE9A7046}"/>
              </a:ext>
            </a:extLst>
          </p:cNvPr>
          <p:cNvPicPr>
            <a:picLocks noChangeAspect="1"/>
          </p:cNvPicPr>
          <p:nvPr/>
        </p:nvPicPr>
        <p:blipFill>
          <a:blip r:embed="rId4"/>
          <a:stretch>
            <a:fillRect/>
          </a:stretch>
        </p:blipFill>
        <p:spPr>
          <a:xfrm>
            <a:off x="5875609" y="1737731"/>
            <a:ext cx="6083300" cy="3962400"/>
          </a:xfrm>
          <a:prstGeom prst="rect">
            <a:avLst/>
          </a:prstGeom>
        </p:spPr>
      </p:pic>
    </p:spTree>
    <p:extLst>
      <p:ext uri="{BB962C8B-B14F-4D97-AF65-F5344CB8AC3E}">
        <p14:creationId xmlns:p14="http://schemas.microsoft.com/office/powerpoint/2010/main" val="35781434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74484F-FCBB-2D33-7F5F-6D0C76D4ED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AC53593-2C52-7D32-E335-06ACA1D6A5B3}"/>
              </a:ext>
            </a:extLst>
          </p:cNvPr>
          <p:cNvSpPr>
            <a:spLocks noGrp="1"/>
          </p:cNvSpPr>
          <p:nvPr>
            <p:ph type="title"/>
          </p:nvPr>
        </p:nvSpPr>
        <p:spPr>
          <a:xfrm>
            <a:off x="564995" y="533039"/>
            <a:ext cx="11887200" cy="685801"/>
          </a:xfrm>
        </p:spPr>
        <p:txBody>
          <a:bodyPr/>
          <a:lstStyle/>
          <a:p>
            <a:r>
              <a:rPr lang="en-US" sz="2800" dirty="0"/>
              <a:t>Phase </a:t>
            </a:r>
            <a:r>
              <a:rPr lang="en-US" sz="2800" dirty="0" err="1"/>
              <a:t>Ib</a:t>
            </a:r>
            <a:r>
              <a:rPr lang="en-US" sz="2800" dirty="0"/>
              <a:t>/II EPCORE NHL-2 Trial: </a:t>
            </a:r>
            <a:r>
              <a:rPr lang="en-US" sz="2800" dirty="0" err="1"/>
              <a:t>Epcor-GemOx</a:t>
            </a:r>
            <a:r>
              <a:rPr lang="en-US" sz="2800" dirty="0"/>
              <a:t> ≥ 2L R/R DLBCL</a:t>
            </a:r>
            <a:br>
              <a:rPr lang="en-US" sz="2800" dirty="0"/>
            </a:br>
            <a:r>
              <a:rPr lang="en-US" sz="2800" dirty="0">
                <a:solidFill>
                  <a:srgbClr val="C00000"/>
                </a:solidFill>
              </a:rPr>
              <a:t>2</a:t>
            </a:r>
            <a:r>
              <a:rPr lang="en-US" sz="2800" baseline="30000" dirty="0">
                <a:solidFill>
                  <a:srgbClr val="C00000"/>
                </a:solidFill>
              </a:rPr>
              <a:t>nd</a:t>
            </a:r>
            <a:r>
              <a:rPr lang="en-US" sz="2800" dirty="0">
                <a:solidFill>
                  <a:srgbClr val="C00000"/>
                </a:solidFill>
              </a:rPr>
              <a:t> vs later line of therapy significantly affected outcomes </a:t>
            </a:r>
            <a:endParaRPr lang="en-US" sz="2800" kern="0" dirty="0">
              <a:solidFill>
                <a:srgbClr val="C00000"/>
              </a:solidFill>
            </a:endParaRPr>
          </a:p>
        </p:txBody>
      </p:sp>
      <p:grpSp>
        <p:nvGrpSpPr>
          <p:cNvPr id="18" name="Group 17">
            <a:extLst>
              <a:ext uri="{FF2B5EF4-FFF2-40B4-BE49-F238E27FC236}">
                <a16:creationId xmlns:a16="http://schemas.microsoft.com/office/drawing/2014/main" id="{C800111B-D9B6-98C4-F6DF-4EF6ED10868F}"/>
              </a:ext>
            </a:extLst>
          </p:cNvPr>
          <p:cNvGrpSpPr/>
          <p:nvPr/>
        </p:nvGrpSpPr>
        <p:grpSpPr>
          <a:xfrm>
            <a:off x="1752600" y="1839687"/>
            <a:ext cx="7543800" cy="4572000"/>
            <a:chOff x="5715000" y="1524000"/>
            <a:chExt cx="5649252" cy="2828747"/>
          </a:xfrm>
        </p:grpSpPr>
        <p:grpSp>
          <p:nvGrpSpPr>
            <p:cNvPr id="17" name="Group 16">
              <a:extLst>
                <a:ext uri="{FF2B5EF4-FFF2-40B4-BE49-F238E27FC236}">
                  <a16:creationId xmlns:a16="http://schemas.microsoft.com/office/drawing/2014/main" id="{533C2D39-24FC-3BF6-7E17-3CD98E81105D}"/>
                </a:ext>
              </a:extLst>
            </p:cNvPr>
            <p:cNvGrpSpPr/>
            <p:nvPr/>
          </p:nvGrpSpPr>
          <p:grpSpPr>
            <a:xfrm>
              <a:off x="5715000" y="1524000"/>
              <a:ext cx="5649252" cy="2504475"/>
              <a:chOff x="5715000" y="1524000"/>
              <a:chExt cx="5649252" cy="2504475"/>
            </a:xfrm>
          </p:grpSpPr>
          <p:pic>
            <p:nvPicPr>
              <p:cNvPr id="13" name="Picture 12">
                <a:extLst>
                  <a:ext uri="{FF2B5EF4-FFF2-40B4-BE49-F238E27FC236}">
                    <a16:creationId xmlns:a16="http://schemas.microsoft.com/office/drawing/2014/main" id="{E84CA21E-91B6-21CD-742B-5F12FDFD9FA0}"/>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5715000" y="1524000"/>
                <a:ext cx="5649252" cy="2504475"/>
              </a:xfrm>
              <a:prstGeom prst="rect">
                <a:avLst/>
              </a:prstGeom>
            </p:spPr>
          </p:pic>
          <p:sp>
            <p:nvSpPr>
              <p:cNvPr id="14" name="Rectangle 13">
                <a:extLst>
                  <a:ext uri="{FF2B5EF4-FFF2-40B4-BE49-F238E27FC236}">
                    <a16:creationId xmlns:a16="http://schemas.microsoft.com/office/drawing/2014/main" id="{106D4718-A596-0117-4727-D05EAC655496}"/>
                  </a:ext>
                </a:extLst>
              </p:cNvPr>
              <p:cNvSpPr/>
              <p:nvPr/>
            </p:nvSpPr>
            <p:spPr bwMode="auto">
              <a:xfrm>
                <a:off x="5715000" y="1524000"/>
                <a:ext cx="228600" cy="3048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ＭＳ Ｐゴシック" pitchFamily="1" charset="-128"/>
                  <a:cs typeface="ＭＳ Ｐゴシック" pitchFamily="1" charset="-128"/>
                </a:endParaRPr>
              </a:p>
            </p:txBody>
          </p:sp>
        </p:grpSp>
        <p:sp>
          <p:nvSpPr>
            <p:cNvPr id="15" name="Rectangle 14">
              <a:extLst>
                <a:ext uri="{FF2B5EF4-FFF2-40B4-BE49-F238E27FC236}">
                  <a16:creationId xmlns:a16="http://schemas.microsoft.com/office/drawing/2014/main" id="{C8877D9B-4DEF-0904-7FC5-8FCD60504DED}"/>
                </a:ext>
              </a:extLst>
            </p:cNvPr>
            <p:cNvSpPr/>
            <p:nvPr/>
          </p:nvSpPr>
          <p:spPr bwMode="auto">
            <a:xfrm>
              <a:off x="5737393" y="4047947"/>
              <a:ext cx="228600" cy="3048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ＭＳ Ｐゴシック" pitchFamily="1" charset="-128"/>
                <a:cs typeface="ＭＳ Ｐゴシック" pitchFamily="1" charset="-128"/>
              </a:endParaRPr>
            </a:p>
          </p:txBody>
        </p:sp>
      </p:grpSp>
      <p:sp>
        <p:nvSpPr>
          <p:cNvPr id="8" name="TextBox 7">
            <a:extLst>
              <a:ext uri="{FF2B5EF4-FFF2-40B4-BE49-F238E27FC236}">
                <a16:creationId xmlns:a16="http://schemas.microsoft.com/office/drawing/2014/main" id="{979DEF3C-9E76-CE17-53D1-A18DFA9A96E0}"/>
              </a:ext>
            </a:extLst>
          </p:cNvPr>
          <p:cNvSpPr txBox="1"/>
          <p:nvPr/>
        </p:nvSpPr>
        <p:spPr>
          <a:xfrm>
            <a:off x="8168229" y="6400801"/>
            <a:ext cx="3992905" cy="27699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Brody et al Blood 2025;145:1621–1631</a:t>
            </a:r>
            <a:endParaRPr kumimoji="0" lang="en-US" sz="1050" b="0" i="0" u="none" strike="noStrike" kern="1200" cap="none" spc="0" normalizeH="0" baseline="0" noProof="0" dirty="0">
              <a:ln>
                <a:noFill/>
              </a:ln>
              <a:solidFill>
                <a:srgbClr val="000000"/>
              </a:solidFill>
              <a:effectLst/>
              <a:highlight>
                <a:srgbClr val="FFFF00"/>
              </a:highlight>
              <a:uLnTx/>
              <a:uFillTx/>
              <a:latin typeface="Arial" panose="020B0604020202020204" pitchFamily="34" charset="0"/>
              <a:ea typeface="ＭＳ Ｐゴシック" panose="020B0600070205080204" pitchFamily="34" charset="-128"/>
              <a:cs typeface="+mn-cs"/>
            </a:endParaRPr>
          </a:p>
        </p:txBody>
      </p:sp>
      <p:sp>
        <p:nvSpPr>
          <p:cNvPr id="6" name="TextBox 5">
            <a:extLst>
              <a:ext uri="{FF2B5EF4-FFF2-40B4-BE49-F238E27FC236}">
                <a16:creationId xmlns:a16="http://schemas.microsoft.com/office/drawing/2014/main" id="{E54C7AFB-879E-E5A3-EAF0-65A9ACF69513}"/>
              </a:ext>
            </a:extLst>
          </p:cNvPr>
          <p:cNvSpPr txBox="1"/>
          <p:nvPr/>
        </p:nvSpPr>
        <p:spPr>
          <a:xfrm>
            <a:off x="9296400" y="3657600"/>
            <a:ext cx="1981200" cy="92333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12mo PFS 63%</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12mo PFS 44%</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12mo PFS 33%</a:t>
            </a:r>
          </a:p>
        </p:txBody>
      </p:sp>
    </p:spTree>
    <p:extLst>
      <p:ext uri="{BB962C8B-B14F-4D97-AF65-F5344CB8AC3E}">
        <p14:creationId xmlns:p14="http://schemas.microsoft.com/office/powerpoint/2010/main" val="34099759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0B7E8C-37F7-8EC0-C247-27DEF0532FFA}"/>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14F1182C-42BE-8284-4729-96FA624DF980}"/>
              </a:ext>
            </a:extLst>
          </p:cNvPr>
          <p:cNvSpPr/>
          <p:nvPr/>
        </p:nvSpPr>
        <p:spPr>
          <a:xfrm>
            <a:off x="7657731" y="6001877"/>
            <a:ext cx="2711701" cy="640521"/>
          </a:xfrm>
          <a:prstGeom prst="rect">
            <a:avLst/>
          </a:prstGeom>
          <a:solidFill>
            <a:schemeClr val="bg1">
              <a:lumMod val="9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US" sz="2133"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7" name="Google Shape;774;p17 Cell 10, 1 to Text">
            <a:extLst>
              <a:ext uri="{FF2B5EF4-FFF2-40B4-BE49-F238E27FC236}">
                <a16:creationId xmlns:a16="http://schemas.microsoft.com/office/drawing/2014/main" id="{809A4AB3-6986-0529-479B-A063086024D9}"/>
              </a:ext>
            </a:extLst>
          </p:cNvPr>
          <p:cNvSpPr txBox="1"/>
          <p:nvPr/>
        </p:nvSpPr>
        <p:spPr>
          <a:xfrm>
            <a:off x="7830159" y="4782276"/>
            <a:ext cx="3834783" cy="414416"/>
          </a:xfrm>
          <a:prstGeom prst="rect">
            <a:avLst/>
          </a:prstGeom>
          <a:solidFill>
            <a:schemeClr val="accent2"/>
          </a:solidFill>
          <a:ln w="12700">
            <a:solidFill>
              <a:schemeClr val="bg1">
                <a:lumMod val="75000"/>
              </a:schemeClr>
            </a:solidFill>
          </a:ln>
        </p:spPr>
        <p:txBody>
          <a:bodyPr vert="horz" wrap="square" lIns="24392" tIns="24392" rIns="24392" bIns="24392" rtlCol="0" anchor="ctr" anchorCtr="0">
            <a:noAutofit/>
          </a:bodyPr>
          <a:lstStyle/>
          <a:p>
            <a:pPr marL="0" marR="0" lvl="0" indent="0" algn="ctr" defTabSz="912724" rtl="0" eaLnBrk="1" fontAlgn="auto" latinLnBrk="0" hangingPunct="1">
              <a:lnSpc>
                <a:spcPct val="100000"/>
              </a:lnSpc>
              <a:spcBef>
                <a:spcPts val="0"/>
              </a:spcBef>
              <a:spcAft>
                <a:spcPts val="0"/>
              </a:spcAft>
              <a:buClr>
                <a:srgbClr val="000000"/>
              </a:buClr>
              <a:buSzPts val="900"/>
              <a:buFontTx/>
              <a:buNone/>
              <a:tabLst/>
              <a:defRPr/>
            </a:pPr>
            <a:r>
              <a:rPr kumimoji="0" lang="en-GB" sz="1200" b="0" i="0" u="none" strike="noStrike" kern="1200" cap="none" spc="0" normalizeH="0" baseline="0" noProof="0" dirty="0">
                <a:ln>
                  <a:noFill/>
                </a:ln>
                <a:solidFill>
                  <a:srgbClr val="FFFFFF"/>
                </a:solidFill>
                <a:effectLst/>
                <a:uLnTx/>
                <a:uFillTx/>
                <a:latin typeface="Arial"/>
                <a:ea typeface="Arial"/>
                <a:cs typeface="Arial"/>
                <a:sym typeface="Arial"/>
              </a:rPr>
              <a:t>Follow up after drug completion</a:t>
            </a:r>
            <a:endParaRPr kumimoji="0" lang="en-GB" sz="12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2" name="Title 1">
            <a:extLst>
              <a:ext uri="{FF2B5EF4-FFF2-40B4-BE49-F238E27FC236}">
                <a16:creationId xmlns:a16="http://schemas.microsoft.com/office/drawing/2014/main" id="{187D499B-B0B2-0F54-A9E9-9BF6B345B514}"/>
              </a:ext>
            </a:extLst>
          </p:cNvPr>
          <p:cNvSpPr>
            <a:spLocks noGrp="1"/>
          </p:cNvSpPr>
          <p:nvPr>
            <p:ph type="title"/>
          </p:nvPr>
        </p:nvSpPr>
        <p:spPr/>
        <p:txBody>
          <a:bodyPr/>
          <a:lstStyle/>
          <a:p>
            <a:r>
              <a:rPr lang="en-US" dirty="0"/>
              <a:t>SUNMO Study design</a:t>
            </a:r>
          </a:p>
        </p:txBody>
      </p:sp>
      <p:sp>
        <p:nvSpPr>
          <p:cNvPr id="3" name="Text Placeholder 2">
            <a:extLst>
              <a:ext uri="{FF2B5EF4-FFF2-40B4-BE49-F238E27FC236}">
                <a16:creationId xmlns:a16="http://schemas.microsoft.com/office/drawing/2014/main" id="{64ACB41D-F2C3-FED3-6C78-5FDE001573DA}"/>
              </a:ext>
            </a:extLst>
          </p:cNvPr>
          <p:cNvSpPr>
            <a:spLocks noGrp="1"/>
          </p:cNvSpPr>
          <p:nvPr>
            <p:ph type="body" sz="quarter" idx="11"/>
          </p:nvPr>
        </p:nvSpPr>
        <p:spPr>
          <a:xfrm>
            <a:off x="527048" y="6259494"/>
            <a:ext cx="7550109" cy="359985"/>
          </a:xfrm>
        </p:spPr>
        <p:txBody>
          <a:bodyPr/>
          <a:lstStyle/>
          <a:p>
            <a:pPr>
              <a:spcAft>
                <a:spcPts val="0"/>
              </a:spcAft>
              <a:buSzPts val="600"/>
            </a:pPr>
            <a:endParaRPr lang="en-US" sz="933" dirty="0"/>
          </a:p>
          <a:p>
            <a:pPr>
              <a:spcBef>
                <a:spcPts val="300"/>
              </a:spcBef>
              <a:spcAft>
                <a:spcPts val="0"/>
              </a:spcAft>
              <a:buSzPts val="600"/>
            </a:pPr>
            <a:endParaRPr lang="en-US" sz="933" dirty="0"/>
          </a:p>
        </p:txBody>
      </p:sp>
      <p:sp>
        <p:nvSpPr>
          <p:cNvPr id="96" name="Google Shape;805;p17">
            <a:extLst>
              <a:ext uri="{FF2B5EF4-FFF2-40B4-BE49-F238E27FC236}">
                <a16:creationId xmlns:a16="http://schemas.microsoft.com/office/drawing/2014/main" id="{D851E957-AD2D-983E-7145-5D84DA73282D}"/>
              </a:ext>
            </a:extLst>
          </p:cNvPr>
          <p:cNvSpPr txBox="1"/>
          <p:nvPr/>
        </p:nvSpPr>
        <p:spPr>
          <a:xfrm>
            <a:off x="526869" y="4747647"/>
            <a:ext cx="2400744" cy="1046440"/>
          </a:xfrm>
          <a:prstGeom prst="rect">
            <a:avLst/>
          </a:prstGeom>
          <a:noFill/>
          <a:ln>
            <a:noFill/>
          </a:ln>
        </p:spPr>
        <p:txBody>
          <a:bodyPr spcFirstLastPara="1" wrap="square" lIns="0" tIns="0" rIns="0" bIns="0" anchor="t" anchorCtr="0">
            <a:spAutoFit/>
          </a:bodyPr>
          <a:lstStyle/>
          <a:p>
            <a:pPr marL="0" marR="0" lvl="0" indent="0" algn="l" defTabSz="609402" rtl="0" eaLnBrk="1" fontAlgn="auto" latinLnBrk="0" hangingPunct="1">
              <a:lnSpc>
                <a:spcPct val="100000"/>
              </a:lnSpc>
              <a:spcBef>
                <a:spcPts val="0"/>
              </a:spcBef>
              <a:spcAft>
                <a:spcPts val="800"/>
              </a:spcAft>
              <a:buClr>
                <a:srgbClr val="000000"/>
              </a:buClr>
              <a:buSzPts val="900"/>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Arial"/>
                <a:cs typeface="Arial"/>
                <a:sym typeface="Arial"/>
              </a:rPr>
              <a:t>Stratification factors</a:t>
            </a:r>
            <a:endParaRPr kumimoji="0"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endParaRPr>
          </a:p>
          <a:p>
            <a:pPr marL="220061" marR="0" lvl="0" indent="-228526" algn="l" defTabSz="609402" rtl="0" eaLnBrk="1" fontAlgn="auto" latinLnBrk="0" hangingPunct="1">
              <a:lnSpc>
                <a:spcPct val="100000"/>
              </a:lnSpc>
              <a:spcBef>
                <a:spcPts val="0"/>
              </a:spcBef>
              <a:spcAft>
                <a:spcPts val="800"/>
              </a:spcAft>
              <a:buClr>
                <a:srgbClr val="0B41CD"/>
              </a:buClr>
              <a:buSzPts val="1100"/>
              <a:buFont typeface="Arial"/>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1 vs ≥2 p</a:t>
            </a:r>
            <a: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rior lines of</a:t>
            </a:r>
            <a:b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br>
            <a: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systemic therapy</a:t>
            </a:r>
            <a:endParaRPr kumimoji="0"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endParaRPr>
          </a:p>
          <a:p>
            <a:pPr marL="220061" marR="0" lvl="0" indent="-228526" algn="l" defTabSz="609402" rtl="0" eaLnBrk="1" fontAlgn="auto" latinLnBrk="0" hangingPunct="1">
              <a:lnSpc>
                <a:spcPct val="100000"/>
              </a:lnSpc>
              <a:spcBef>
                <a:spcPts val="0"/>
              </a:spcBef>
              <a:spcAft>
                <a:spcPts val="800"/>
              </a:spcAft>
              <a:buClr>
                <a:srgbClr val="0B41CD"/>
              </a:buClr>
              <a:buSzPts val="1100"/>
              <a:buFont typeface="Arial"/>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Relapsed</a:t>
            </a:r>
            <a: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 vs refractory</a:t>
            </a: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 disease</a:t>
            </a:r>
            <a:endParaRPr kumimoji="0"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endParaRPr>
          </a:p>
        </p:txBody>
      </p:sp>
      <p:sp>
        <p:nvSpPr>
          <p:cNvPr id="8" name="Google Shape;771;p17">
            <a:extLst>
              <a:ext uri="{FF2B5EF4-FFF2-40B4-BE49-F238E27FC236}">
                <a16:creationId xmlns:a16="http://schemas.microsoft.com/office/drawing/2014/main" id="{8D382206-1EA0-F4EC-68C1-03113EA78603}"/>
              </a:ext>
            </a:extLst>
          </p:cNvPr>
          <p:cNvSpPr txBox="1"/>
          <p:nvPr/>
        </p:nvSpPr>
        <p:spPr>
          <a:xfrm>
            <a:off x="3368253" y="1656561"/>
            <a:ext cx="8296683" cy="383867"/>
          </a:xfrm>
          <a:prstGeom prst="rect">
            <a:avLst/>
          </a:prstGeom>
          <a:solidFill>
            <a:srgbClr val="E6F6EF"/>
          </a:solidFill>
          <a:ln w="22225" cap="flat" cmpd="sng">
            <a:solidFill>
              <a:srgbClr val="00B050"/>
            </a:solidFill>
            <a:prstDash val="solid"/>
            <a:round/>
            <a:headEnd type="none" w="sm" len="sm"/>
            <a:tailEnd type="none" w="sm" len="sm"/>
          </a:ln>
        </p:spPr>
        <p:txBody>
          <a:bodyPr spcFirstLastPara="1" wrap="square" lIns="121824" tIns="60879" rIns="121824" bIns="60879" anchor="ctr" anchorCtr="0">
            <a:no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000000"/>
                </a:solidFill>
                <a:effectLst/>
                <a:uLnTx/>
                <a:uFillTx/>
                <a:latin typeface="Arial" panose="020B0604020202020204"/>
                <a:ea typeface="+mn-ea"/>
                <a:cs typeface="+mn-cs"/>
              </a:rPr>
              <a:t>Outpatient </a:t>
            </a:r>
            <a:r>
              <a:rPr kumimoji="0" lang="fr-FR" sz="1400" b="1" i="0" u="none" strike="noStrike" kern="1200" cap="none" spc="0" normalizeH="0" baseline="0" noProof="0" dirty="0">
                <a:ln>
                  <a:noFill/>
                </a:ln>
                <a:solidFill>
                  <a:srgbClr val="00B050"/>
                </a:solidFill>
                <a:effectLst/>
                <a:uLnTx/>
                <a:uFillTx/>
                <a:latin typeface="Arial" panose="020B0604020202020204"/>
                <a:ea typeface="Arial"/>
                <a:cs typeface="Arial"/>
                <a:sym typeface="Arial"/>
              </a:rPr>
              <a:t>Mosun SC (8 cycles) </a:t>
            </a:r>
            <a:r>
              <a:rPr kumimoji="0" lang="fr-FR" sz="1400" b="1" i="0" u="none" strike="noStrike" kern="1200" cap="none" spc="0" normalizeH="0" baseline="0" noProof="0" dirty="0">
                <a:ln>
                  <a:noFill/>
                </a:ln>
                <a:solidFill>
                  <a:srgbClr val="000000"/>
                </a:solidFill>
                <a:effectLst/>
                <a:uLnTx/>
                <a:uFillTx/>
                <a:latin typeface="Arial" panose="020B0604020202020204"/>
                <a:ea typeface="Arial"/>
                <a:cs typeface="Arial"/>
                <a:sym typeface="Arial"/>
              </a:rPr>
              <a:t>+</a:t>
            </a:r>
            <a:r>
              <a:rPr kumimoji="0" lang="fr-FR" sz="1400" b="1" i="0" u="none" strike="noStrike" kern="1200" cap="none" spc="0" normalizeH="0" baseline="0" noProof="0" dirty="0">
                <a:ln>
                  <a:noFill/>
                </a:ln>
                <a:solidFill>
                  <a:srgbClr val="BC36F0"/>
                </a:solidFill>
                <a:effectLst/>
                <a:uLnTx/>
                <a:uFillTx/>
                <a:latin typeface="Arial" panose="020B0604020202020204"/>
                <a:ea typeface="Arial"/>
                <a:cs typeface="Arial"/>
                <a:sym typeface="Arial"/>
              </a:rPr>
              <a:t> </a:t>
            </a:r>
            <a:r>
              <a:rPr kumimoji="0" lang="fr-FR" sz="1400" b="1" i="0" u="none" strike="noStrike" kern="1200" cap="none" spc="0" normalizeH="0" baseline="0" noProof="0" dirty="0">
                <a:ln>
                  <a:noFill/>
                </a:ln>
                <a:solidFill>
                  <a:srgbClr val="7F7F7F"/>
                </a:solidFill>
                <a:effectLst/>
                <a:uLnTx/>
                <a:uFillTx/>
                <a:latin typeface="Arial" panose="020B0604020202020204"/>
                <a:ea typeface="Arial"/>
                <a:cs typeface="Arial"/>
                <a:sym typeface="Arial"/>
              </a:rPr>
              <a:t>Pola </a:t>
            </a:r>
            <a:r>
              <a:rPr kumimoji="0" lang="fr-FR" sz="1400" b="1" i="0" u="none" strike="noStrike" kern="1200" cap="none" spc="0" normalizeH="0" baseline="0" noProof="0" dirty="0">
                <a:ln>
                  <a:noFill/>
                </a:ln>
                <a:solidFill>
                  <a:srgbClr val="7F7F7F"/>
                </a:solidFill>
                <a:effectLst/>
                <a:uLnTx/>
                <a:uFillTx/>
                <a:latin typeface="Arial" panose="020B0604020202020204"/>
                <a:ea typeface="+mn-ea"/>
                <a:cs typeface="+mn-cs"/>
              </a:rPr>
              <a:t>IV</a:t>
            </a:r>
            <a:r>
              <a:rPr kumimoji="0" lang="fr-FR" sz="1400" b="1" i="0" u="none" strike="noStrike" kern="1200" cap="none" spc="0" normalizeH="0" baseline="0" noProof="0" dirty="0">
                <a:ln>
                  <a:noFill/>
                </a:ln>
                <a:solidFill>
                  <a:srgbClr val="7F7F7F"/>
                </a:solidFill>
                <a:effectLst/>
                <a:uLnTx/>
                <a:uFillTx/>
                <a:latin typeface="Arial" panose="020B0604020202020204"/>
                <a:ea typeface="Arial"/>
                <a:cs typeface="Arial"/>
                <a:sym typeface="Arial"/>
              </a:rPr>
              <a:t> (6 cycles) (21-day cycles)</a:t>
            </a:r>
            <a:endParaRPr kumimoji="0" lang="fr-FR" sz="1400" b="0" i="0" u="none" strike="noStrike" kern="1200" cap="none" spc="0" normalizeH="0" baseline="0" noProof="0" dirty="0">
              <a:ln>
                <a:noFill/>
              </a:ln>
              <a:solidFill>
                <a:srgbClr val="7F7F7F"/>
              </a:solidFill>
              <a:effectLst/>
              <a:uLnTx/>
              <a:uFillTx/>
              <a:latin typeface="Arial" panose="020B0604020202020204"/>
              <a:ea typeface="Arial"/>
              <a:cs typeface="Arial"/>
              <a:sym typeface="Arial"/>
            </a:endParaRPr>
          </a:p>
        </p:txBody>
      </p:sp>
      <p:sp>
        <p:nvSpPr>
          <p:cNvPr id="9" name="Google Shape;770;p17">
            <a:extLst>
              <a:ext uri="{FF2B5EF4-FFF2-40B4-BE49-F238E27FC236}">
                <a16:creationId xmlns:a16="http://schemas.microsoft.com/office/drawing/2014/main" id="{EBE3CDAD-8CF8-12B3-85D8-EAE141A6D417}"/>
              </a:ext>
            </a:extLst>
          </p:cNvPr>
          <p:cNvSpPr txBox="1"/>
          <p:nvPr/>
        </p:nvSpPr>
        <p:spPr>
          <a:xfrm>
            <a:off x="3395271" y="4023685"/>
            <a:ext cx="8269659" cy="383867"/>
          </a:xfrm>
          <a:prstGeom prst="rect">
            <a:avLst/>
          </a:prstGeom>
          <a:solidFill>
            <a:srgbClr val="E5EBFA"/>
          </a:solidFill>
          <a:ln w="22225" cap="flat" cmpd="sng">
            <a:solidFill>
              <a:schemeClr val="tx2"/>
            </a:solidFill>
            <a:prstDash val="solid"/>
            <a:round/>
            <a:headEnd type="none" w="sm" len="sm"/>
            <a:tailEnd type="none" w="sm" len="sm"/>
          </a:ln>
        </p:spPr>
        <p:txBody>
          <a:bodyPr spcFirstLastPara="1" wrap="square" lIns="121824" tIns="60879" rIns="121824" bIns="60879" anchor="ctr" anchorCtr="0">
            <a:no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B41CD"/>
                </a:solidFill>
                <a:effectLst/>
                <a:uLnTx/>
                <a:uFillTx/>
                <a:latin typeface="Arial" panose="020B0604020202020204"/>
                <a:ea typeface="Arial"/>
                <a:cs typeface="Arial"/>
                <a:sym typeface="Arial"/>
              </a:rPr>
              <a:t>R-GemOx IV </a:t>
            </a:r>
            <a:r>
              <a:rPr kumimoji="0" lang="en-GB" sz="1400" b="0" i="0" u="none" strike="noStrike" kern="1200" cap="none" spc="0" normalizeH="0" baseline="0" noProof="0" dirty="0">
                <a:ln>
                  <a:noFill/>
                </a:ln>
                <a:solidFill>
                  <a:srgbClr val="0B41CD"/>
                </a:solidFill>
                <a:effectLst/>
                <a:uLnTx/>
                <a:uFillTx/>
                <a:latin typeface="Arial" panose="020B0604020202020204"/>
                <a:ea typeface="Arial"/>
                <a:cs typeface="Arial"/>
                <a:sym typeface="Arial"/>
              </a:rPr>
              <a:t>(8 x 14–21-day cycles*)</a:t>
            </a:r>
          </a:p>
        </p:txBody>
      </p:sp>
      <p:sp>
        <p:nvSpPr>
          <p:cNvPr id="7" name="Google Shape;772;p17">
            <a:extLst>
              <a:ext uri="{FF2B5EF4-FFF2-40B4-BE49-F238E27FC236}">
                <a16:creationId xmlns:a16="http://schemas.microsoft.com/office/drawing/2014/main" id="{6F8C2765-F138-C3F2-2C9F-FD5C6A6CF924}"/>
              </a:ext>
            </a:extLst>
          </p:cNvPr>
          <p:cNvSpPr/>
          <p:nvPr/>
        </p:nvSpPr>
        <p:spPr>
          <a:xfrm>
            <a:off x="526869" y="1652675"/>
            <a:ext cx="1844851" cy="2754879"/>
          </a:xfrm>
          <a:prstGeom prst="roundRect">
            <a:avLst>
              <a:gd name="adj" fmla="val 14045"/>
            </a:avLst>
          </a:prstGeom>
          <a:solidFill>
            <a:srgbClr val="FFFFFF"/>
          </a:solidFill>
          <a:ln w="19050" cap="flat" cmpd="sng">
            <a:solidFill>
              <a:schemeClr val="dk2"/>
            </a:solidFill>
            <a:prstDash val="solid"/>
            <a:round/>
            <a:headEnd type="none" w="sm" len="sm"/>
            <a:tailEnd type="none" w="sm" len="sm"/>
          </a:ln>
        </p:spPr>
        <p:txBody>
          <a:bodyPr spcFirstLastPara="1" wrap="square" lIns="0" tIns="45684" rIns="0" bIns="45684" anchor="ctr" anchorCtr="0">
            <a:noAutofit/>
          </a:bodyPr>
          <a:lstStyle/>
          <a:p>
            <a:pPr marL="0" marR="0" lvl="0" indent="0" algn="ctr" defTabSz="609402" rtl="0" eaLnBrk="1" fontAlgn="auto" latinLnBrk="0" hangingPunct="1">
              <a:lnSpc>
                <a:spcPct val="100000"/>
              </a:lnSpc>
              <a:spcBef>
                <a:spcPts val="0"/>
              </a:spcBef>
              <a:spcAft>
                <a:spcPts val="80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panose="020B0604020202020204"/>
                <a:ea typeface="+mn-ea"/>
                <a:cs typeface="Arial"/>
                <a:sym typeface="Arial"/>
              </a:rPr>
              <a:t>Key eligibility </a:t>
            </a:r>
            <a:endParaRPr kumimoji="0" sz="1600" b="1" i="0" u="none" strike="noStrike" kern="1200" cap="none" spc="0" normalizeH="0" baseline="0" noProof="0" dirty="0">
              <a:ln>
                <a:noFill/>
              </a:ln>
              <a:solidFill>
                <a:srgbClr val="000000"/>
              </a:solidFill>
              <a:effectLst/>
              <a:uLnTx/>
              <a:uFillTx/>
              <a:latin typeface="Arial" panose="020B0604020202020204"/>
              <a:ea typeface="+mn-ea"/>
              <a:cs typeface="+mn-cs"/>
            </a:endParaRPr>
          </a:p>
          <a:p>
            <a:pPr marL="116380" marR="0" lvl="0" indent="0" algn="l" defTabSz="609402" rtl="0" eaLnBrk="1" fontAlgn="auto" latinLnBrk="0" hangingPunct="1">
              <a:lnSpc>
                <a:spcPct val="100000"/>
              </a:lnSpc>
              <a:spcBef>
                <a:spcPts val="0"/>
              </a:spcBef>
              <a:spcAft>
                <a:spcPts val="800"/>
              </a:spcAft>
              <a:buClr>
                <a:srgbClr val="000000"/>
              </a:buClr>
              <a:buSzPts val="900"/>
              <a:buFontTx/>
              <a:buNone/>
              <a:tabLst/>
              <a:defRPr/>
            </a:pPr>
            <a:r>
              <a:rPr kumimoji="0" lang="en-GB" sz="1333" b="0" i="0" u="none" strike="noStrike" kern="1200" cap="none" spc="0" normalizeH="0" baseline="0" noProof="0" dirty="0">
                <a:ln>
                  <a:noFill/>
                </a:ln>
                <a:solidFill>
                  <a:srgbClr val="000000"/>
                </a:solidFill>
                <a:effectLst/>
                <a:uLnTx/>
                <a:uFillTx/>
                <a:latin typeface="Arial" panose="020B0604020202020204"/>
                <a:ea typeface="+mn-ea"/>
                <a:cs typeface="+mn-cs"/>
              </a:rPr>
              <a:t>R/R LBCL with</a:t>
            </a:r>
            <a:br>
              <a:rPr kumimoji="0" lang="en-GB" sz="1333"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1333" b="0" i="0" u="none" strike="noStrike" kern="1200" cap="none" spc="0" normalizeH="0" baseline="0" noProof="0" dirty="0">
                <a:ln>
                  <a:noFill/>
                </a:ln>
                <a:solidFill>
                  <a:srgbClr val="000000"/>
                </a:solidFill>
                <a:effectLst/>
                <a:uLnTx/>
                <a:uFillTx/>
                <a:latin typeface="Arial" panose="020B0604020202020204"/>
                <a:ea typeface="+mn-ea"/>
                <a:cs typeface="+mn-cs"/>
              </a:rPr>
              <a:t>≥1 prior therapy and ASCT-ineligible:</a:t>
            </a:r>
          </a:p>
          <a:p>
            <a:pPr marL="243338" marR="0" lvl="0" indent="116380" algn="l" defTabSz="609402" rtl="0" eaLnBrk="1" fontAlgn="auto" latinLnBrk="0" hangingPunct="1">
              <a:lnSpc>
                <a:spcPct val="100000"/>
              </a:lnSpc>
              <a:spcBef>
                <a:spcPts val="0"/>
              </a:spcBef>
              <a:spcAft>
                <a:spcPts val="800"/>
              </a:spcAft>
              <a:buClr>
                <a:srgbClr val="000000"/>
              </a:buClr>
              <a:buSzPts val="900"/>
              <a:buFontTx/>
              <a:buChar char="•"/>
              <a:tabLst/>
              <a:defRPr/>
            </a:pPr>
            <a:r>
              <a:rPr kumimoji="0" lang="en-GB" sz="1333" b="0" i="0" u="none" strike="noStrike" kern="1200" cap="none" spc="0" normalizeH="0" baseline="0" noProof="0" dirty="0">
                <a:ln>
                  <a:noFill/>
                </a:ln>
                <a:solidFill>
                  <a:srgbClr val="000000"/>
                </a:solidFill>
                <a:effectLst/>
                <a:uLnTx/>
                <a:uFillTx/>
                <a:latin typeface="Arial" panose="020B0604020202020204"/>
                <a:ea typeface="+mn-ea"/>
                <a:cs typeface="+mn-cs"/>
              </a:rPr>
              <a:t>DLBCL NOS </a:t>
            </a:r>
          </a:p>
          <a:p>
            <a:pPr marL="243338" marR="0" lvl="0" indent="116380" algn="l" defTabSz="609402" rtl="0" eaLnBrk="1" fontAlgn="auto" latinLnBrk="0" hangingPunct="1">
              <a:lnSpc>
                <a:spcPct val="100000"/>
              </a:lnSpc>
              <a:spcBef>
                <a:spcPts val="0"/>
              </a:spcBef>
              <a:spcAft>
                <a:spcPts val="800"/>
              </a:spcAft>
              <a:buClr>
                <a:srgbClr val="000000"/>
              </a:buClr>
              <a:buSzPts val="900"/>
              <a:buFontTx/>
              <a:buChar char="•"/>
              <a:tabLst/>
              <a:defRPr/>
            </a:pPr>
            <a:r>
              <a:rPr kumimoji="0" lang="en-GB" sz="1333" b="0" i="0" u="none" strike="noStrike" kern="1200" cap="none" spc="0" normalizeH="0" baseline="0" noProof="0" dirty="0">
                <a:ln>
                  <a:noFill/>
                </a:ln>
                <a:solidFill>
                  <a:srgbClr val="000000"/>
                </a:solidFill>
                <a:effectLst/>
                <a:uLnTx/>
                <a:uFillTx/>
                <a:latin typeface="Arial" panose="020B0604020202020204"/>
                <a:ea typeface="+mn-ea"/>
                <a:cs typeface="+mn-cs"/>
              </a:rPr>
              <a:t>Transformed FL </a:t>
            </a:r>
          </a:p>
          <a:p>
            <a:pPr marL="243338" marR="0" lvl="0" indent="116380" algn="l" defTabSz="609402" rtl="0" eaLnBrk="1" fontAlgn="auto" latinLnBrk="0" hangingPunct="1">
              <a:lnSpc>
                <a:spcPct val="100000"/>
              </a:lnSpc>
              <a:spcBef>
                <a:spcPts val="0"/>
              </a:spcBef>
              <a:spcAft>
                <a:spcPts val="800"/>
              </a:spcAft>
              <a:buClr>
                <a:srgbClr val="000000"/>
              </a:buClr>
              <a:buSzPts val="900"/>
              <a:buFontTx/>
              <a:buChar char="•"/>
              <a:tabLst/>
              <a:defRPr/>
            </a:pPr>
            <a:r>
              <a:rPr kumimoji="0" lang="en-GB" sz="1333" b="0" i="0" u="none" strike="noStrike" kern="1200" cap="none" spc="0" normalizeH="0" baseline="0" noProof="0" dirty="0">
                <a:ln>
                  <a:noFill/>
                </a:ln>
                <a:solidFill>
                  <a:srgbClr val="000000"/>
                </a:solidFill>
                <a:effectLst/>
                <a:uLnTx/>
                <a:uFillTx/>
                <a:latin typeface="Arial" panose="020B0604020202020204"/>
                <a:ea typeface="+mn-ea"/>
                <a:cs typeface="+mn-cs"/>
              </a:rPr>
              <a:t>HGBCL </a:t>
            </a:r>
          </a:p>
          <a:p>
            <a:pPr marL="243338" marR="0" lvl="0" indent="116380" algn="l" defTabSz="609402" rtl="0" eaLnBrk="1" fontAlgn="auto" latinLnBrk="0" hangingPunct="1">
              <a:lnSpc>
                <a:spcPct val="100000"/>
              </a:lnSpc>
              <a:spcBef>
                <a:spcPts val="0"/>
              </a:spcBef>
              <a:spcAft>
                <a:spcPts val="800"/>
              </a:spcAft>
              <a:buClr>
                <a:srgbClr val="000000"/>
              </a:buClr>
              <a:buSzPts val="900"/>
              <a:buFontTx/>
              <a:buChar char="•"/>
              <a:tabLst/>
              <a:defRPr/>
            </a:pPr>
            <a:r>
              <a:rPr kumimoji="0" lang="en-GB" sz="1333" b="0" i="0" u="none" strike="noStrike" kern="1200" cap="none" spc="0" normalizeH="0" baseline="0" noProof="0" dirty="0">
                <a:ln>
                  <a:noFill/>
                </a:ln>
                <a:solidFill>
                  <a:srgbClr val="000000"/>
                </a:solidFill>
                <a:effectLst/>
                <a:uLnTx/>
                <a:uFillTx/>
                <a:latin typeface="Arial" panose="020B0604020202020204"/>
                <a:ea typeface="+mn-ea"/>
                <a:cs typeface="+mn-cs"/>
              </a:rPr>
              <a:t>Grade 3B FL  </a:t>
            </a:r>
            <a:endParaRPr kumimoji="0" sz="1333"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12" name="Google Shape;774;p17" hidden="1">
            <a:extLst>
              <a:ext uri="{FF2B5EF4-FFF2-40B4-BE49-F238E27FC236}">
                <a16:creationId xmlns:a16="http://schemas.microsoft.com/office/drawing/2014/main" id="{5EBD21F1-616D-E28B-2374-53ABD364C7C0}"/>
              </a:ext>
            </a:extLst>
          </p:cNvPr>
          <p:cNvGraphicFramePr/>
          <p:nvPr/>
        </p:nvGraphicFramePr>
        <p:xfrm>
          <a:off x="3608832" y="4893521"/>
          <a:ext cx="8056109" cy="414416"/>
        </p:xfrm>
        <a:graphic>
          <a:graphicData uri="http://schemas.openxmlformats.org/drawingml/2006/table">
            <a:tbl>
              <a:tblPr>
                <a:noFill/>
              </a:tblPr>
              <a:tblGrid>
                <a:gridCol w="691796">
                  <a:extLst>
                    <a:ext uri="{9D8B030D-6E8A-4147-A177-3AD203B41FA5}">
                      <a16:colId xmlns:a16="http://schemas.microsoft.com/office/drawing/2014/main" val="20000"/>
                    </a:ext>
                  </a:extLst>
                </a:gridCol>
                <a:gridCol w="691796">
                  <a:extLst>
                    <a:ext uri="{9D8B030D-6E8A-4147-A177-3AD203B41FA5}">
                      <a16:colId xmlns:a16="http://schemas.microsoft.com/office/drawing/2014/main" val="20001"/>
                    </a:ext>
                  </a:extLst>
                </a:gridCol>
                <a:gridCol w="691796">
                  <a:extLst>
                    <a:ext uri="{9D8B030D-6E8A-4147-A177-3AD203B41FA5}">
                      <a16:colId xmlns:a16="http://schemas.microsoft.com/office/drawing/2014/main" val="20002"/>
                    </a:ext>
                  </a:extLst>
                </a:gridCol>
                <a:gridCol w="691796">
                  <a:extLst>
                    <a:ext uri="{9D8B030D-6E8A-4147-A177-3AD203B41FA5}">
                      <a16:colId xmlns:a16="http://schemas.microsoft.com/office/drawing/2014/main" val="20003"/>
                    </a:ext>
                  </a:extLst>
                </a:gridCol>
                <a:gridCol w="691796">
                  <a:extLst>
                    <a:ext uri="{9D8B030D-6E8A-4147-A177-3AD203B41FA5}">
                      <a16:colId xmlns:a16="http://schemas.microsoft.com/office/drawing/2014/main" val="20004"/>
                    </a:ext>
                  </a:extLst>
                </a:gridCol>
                <a:gridCol w="691796">
                  <a:extLst>
                    <a:ext uri="{9D8B030D-6E8A-4147-A177-3AD203B41FA5}">
                      <a16:colId xmlns:a16="http://schemas.microsoft.com/office/drawing/2014/main" val="20005"/>
                    </a:ext>
                  </a:extLst>
                </a:gridCol>
                <a:gridCol w="691796">
                  <a:extLst>
                    <a:ext uri="{9D8B030D-6E8A-4147-A177-3AD203B41FA5}">
                      <a16:colId xmlns:a16="http://schemas.microsoft.com/office/drawing/2014/main" val="20006"/>
                    </a:ext>
                  </a:extLst>
                </a:gridCol>
                <a:gridCol w="691796">
                  <a:extLst>
                    <a:ext uri="{9D8B030D-6E8A-4147-A177-3AD203B41FA5}">
                      <a16:colId xmlns:a16="http://schemas.microsoft.com/office/drawing/2014/main" val="20007"/>
                    </a:ext>
                  </a:extLst>
                </a:gridCol>
                <a:gridCol w="691796">
                  <a:extLst>
                    <a:ext uri="{9D8B030D-6E8A-4147-A177-3AD203B41FA5}">
                      <a16:colId xmlns:a16="http://schemas.microsoft.com/office/drawing/2014/main" val="20008"/>
                    </a:ext>
                  </a:extLst>
                </a:gridCol>
                <a:gridCol w="1829947">
                  <a:extLst>
                    <a:ext uri="{9D8B030D-6E8A-4147-A177-3AD203B41FA5}">
                      <a16:colId xmlns:a16="http://schemas.microsoft.com/office/drawing/2014/main" val="20009"/>
                    </a:ext>
                  </a:extLst>
                </a:gridCol>
              </a:tblGrid>
              <a:tr h="414544">
                <a:tc>
                  <a:txBody>
                    <a:bodyPr/>
                    <a:lstStyle/>
                    <a:p>
                      <a:pPr marL="0" marR="0" lvl="0" indent="0" algn="ctr" rtl="0">
                        <a:lnSpc>
                          <a:spcPct val="100000"/>
                        </a:lnSpc>
                        <a:spcBef>
                          <a:spcPts val="0"/>
                        </a:spcBef>
                        <a:spcAft>
                          <a:spcPts val="0"/>
                        </a:spcAft>
                        <a:buClr>
                          <a:srgbClr val="000000"/>
                        </a:buClr>
                        <a:buSzPts val="800"/>
                        <a:buFont typeface="Arial"/>
                        <a:buNone/>
                      </a:pPr>
                      <a:r>
                        <a:rPr lang="en-GB" sz="1100" b="0" u="none" strike="noStrike" cap="none" dirty="0">
                          <a:solidFill>
                            <a:srgbClr val="000000"/>
                          </a:solidFill>
                          <a:latin typeface="Arial"/>
                          <a:ea typeface="Arial"/>
                          <a:cs typeface="Arial"/>
                          <a:sym typeface="Arial"/>
                        </a:rPr>
                        <a:t>Screen </a:t>
                      </a:r>
                      <a:endParaRPr sz="1100" u="none" strike="noStrike" cap="none" dirty="0">
                        <a:latin typeface="Arial"/>
                        <a:ea typeface="Arial"/>
                        <a:cs typeface="Arial"/>
                        <a:sym typeface="Arial"/>
                      </a:endParaRPr>
                    </a:p>
                  </a:txBody>
                  <a:tcPr marL="24392" marR="24392" marT="24392" marB="24392" anchor="ctr">
                    <a:lnL w="12700" cap="flat" cmpd="sng">
                      <a:solidFill>
                        <a:srgbClr val="D8D8D8"/>
                      </a:solidFill>
                      <a:prstDash val="solid"/>
                      <a:round/>
                      <a:headEnd type="none" w="sm" len="sm"/>
                      <a:tailEnd type="none" w="sm" len="sm"/>
                    </a:lnL>
                    <a:lnR w="12700" cap="flat" cmpd="sng">
                      <a:solidFill>
                        <a:srgbClr val="D8D8D8"/>
                      </a:solidFill>
                      <a:prstDash val="solid"/>
                      <a:round/>
                      <a:headEnd type="none" w="sm" len="sm"/>
                      <a:tailEnd type="none" w="sm" len="sm"/>
                    </a:lnR>
                    <a:lnT w="12700" cap="flat" cmpd="sng">
                      <a:solidFill>
                        <a:srgbClr val="D8D8D8"/>
                      </a:solidFill>
                      <a:prstDash val="solid"/>
                      <a:round/>
                      <a:headEnd type="none" w="sm" len="sm"/>
                      <a:tailEnd type="none" w="sm" len="sm"/>
                    </a:lnT>
                    <a:lnB w="12700" cap="flat" cmpd="sng">
                      <a:solidFill>
                        <a:srgbClr val="D8D8D8"/>
                      </a:solidFill>
                      <a:prstDash val="solid"/>
                      <a:round/>
                      <a:headEnd type="none" w="sm" len="sm"/>
                      <a:tailEnd type="none" w="sm" len="sm"/>
                    </a:lnB>
                    <a:solidFill>
                      <a:srgbClr val="FFFFFF"/>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GB" sz="1100" b="0" u="none" strike="noStrike" cap="none" dirty="0">
                          <a:solidFill>
                            <a:srgbClr val="000000"/>
                          </a:solidFill>
                          <a:latin typeface="Arial"/>
                          <a:ea typeface="Arial"/>
                          <a:cs typeface="Arial"/>
                          <a:sym typeface="Arial"/>
                        </a:rPr>
                        <a:t>C1</a:t>
                      </a:r>
                      <a:endParaRPr sz="1100" u="none" strike="noStrike" cap="none" dirty="0">
                        <a:latin typeface="Arial"/>
                        <a:ea typeface="Arial"/>
                        <a:cs typeface="Arial"/>
                        <a:sym typeface="Arial"/>
                      </a:endParaRPr>
                    </a:p>
                  </a:txBody>
                  <a:tcPr marL="24392" marR="24392" marT="24392" marB="24392" anchor="ctr">
                    <a:lnL w="12700" cap="flat" cmpd="sng">
                      <a:solidFill>
                        <a:srgbClr val="D8D8D8"/>
                      </a:solidFill>
                      <a:prstDash val="solid"/>
                      <a:round/>
                      <a:headEnd type="none" w="sm" len="sm"/>
                      <a:tailEnd type="none" w="sm" len="sm"/>
                    </a:lnL>
                    <a:lnR w="12700" cap="flat" cmpd="sng">
                      <a:solidFill>
                        <a:srgbClr val="D8D8D8"/>
                      </a:solidFill>
                      <a:prstDash val="solid"/>
                      <a:round/>
                      <a:headEnd type="none" w="sm" len="sm"/>
                      <a:tailEnd type="none" w="sm" len="sm"/>
                    </a:lnR>
                    <a:lnT w="12700" cap="flat" cmpd="sng">
                      <a:solidFill>
                        <a:srgbClr val="D8D8D8"/>
                      </a:solidFill>
                      <a:prstDash val="solid"/>
                      <a:round/>
                      <a:headEnd type="none" w="sm" len="sm"/>
                      <a:tailEnd type="none" w="sm" len="sm"/>
                    </a:lnT>
                    <a:lnB w="12700" cap="flat" cmpd="sng">
                      <a:solidFill>
                        <a:srgbClr val="D8D8D8"/>
                      </a:solidFill>
                      <a:prstDash val="solid"/>
                      <a:round/>
                      <a:headEnd type="none" w="sm" len="sm"/>
                      <a:tailEnd type="none" w="sm" len="sm"/>
                    </a:lnB>
                    <a:solidFill>
                      <a:srgbClr val="FFFFFF"/>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GB" sz="1100" b="0" u="none" strike="noStrike" cap="none" dirty="0">
                          <a:solidFill>
                            <a:srgbClr val="000000"/>
                          </a:solidFill>
                          <a:latin typeface="Arial"/>
                          <a:ea typeface="Arial"/>
                          <a:cs typeface="Arial"/>
                          <a:sym typeface="Arial"/>
                        </a:rPr>
                        <a:t>C2</a:t>
                      </a:r>
                      <a:endParaRPr sz="1100" u="none" strike="noStrike" cap="none" dirty="0">
                        <a:latin typeface="Arial"/>
                        <a:ea typeface="Arial"/>
                        <a:cs typeface="Arial"/>
                        <a:sym typeface="Arial"/>
                      </a:endParaRPr>
                    </a:p>
                  </a:txBody>
                  <a:tcPr marL="24392" marR="24392" marT="24392" marB="24392" anchor="ctr">
                    <a:lnL w="12700" cap="flat" cmpd="sng">
                      <a:solidFill>
                        <a:srgbClr val="D8D8D8"/>
                      </a:solidFill>
                      <a:prstDash val="solid"/>
                      <a:round/>
                      <a:headEnd type="none" w="sm" len="sm"/>
                      <a:tailEnd type="none" w="sm" len="sm"/>
                    </a:lnL>
                    <a:lnR w="12700" cap="flat" cmpd="sng">
                      <a:solidFill>
                        <a:srgbClr val="D8D8D8"/>
                      </a:solidFill>
                      <a:prstDash val="solid"/>
                      <a:round/>
                      <a:headEnd type="none" w="sm" len="sm"/>
                      <a:tailEnd type="none" w="sm" len="sm"/>
                    </a:lnR>
                    <a:lnT w="12700" cap="flat" cmpd="sng">
                      <a:solidFill>
                        <a:srgbClr val="D8D8D8"/>
                      </a:solidFill>
                      <a:prstDash val="solid"/>
                      <a:round/>
                      <a:headEnd type="none" w="sm" len="sm"/>
                      <a:tailEnd type="none" w="sm" len="sm"/>
                    </a:lnT>
                    <a:lnB w="12700" cap="flat" cmpd="sng">
                      <a:solidFill>
                        <a:srgbClr val="D8D8D8"/>
                      </a:solidFill>
                      <a:prstDash val="solid"/>
                      <a:round/>
                      <a:headEnd type="none" w="sm" len="sm"/>
                      <a:tailEnd type="none" w="sm" len="sm"/>
                    </a:lnB>
                    <a:solidFill>
                      <a:srgbClr val="FFFFFF"/>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GB" sz="1100" b="0" u="none" strike="noStrike" cap="none" dirty="0">
                          <a:solidFill>
                            <a:srgbClr val="000000"/>
                          </a:solidFill>
                          <a:latin typeface="Arial"/>
                          <a:ea typeface="Arial"/>
                          <a:cs typeface="Arial"/>
                          <a:sym typeface="Arial"/>
                        </a:rPr>
                        <a:t>C3</a:t>
                      </a:r>
                      <a:endParaRPr sz="1100" u="none" strike="noStrike" cap="none" dirty="0">
                        <a:latin typeface="Arial"/>
                        <a:ea typeface="Arial"/>
                        <a:cs typeface="Arial"/>
                        <a:sym typeface="Arial"/>
                      </a:endParaRPr>
                    </a:p>
                  </a:txBody>
                  <a:tcPr marL="24392" marR="24392" marT="24392" marB="24392" anchor="ctr">
                    <a:lnL w="12700" cap="flat" cmpd="sng">
                      <a:solidFill>
                        <a:srgbClr val="D8D8D8"/>
                      </a:solidFill>
                      <a:prstDash val="solid"/>
                      <a:round/>
                      <a:headEnd type="none" w="sm" len="sm"/>
                      <a:tailEnd type="none" w="sm" len="sm"/>
                    </a:lnL>
                    <a:lnR w="12700" cap="flat" cmpd="sng">
                      <a:solidFill>
                        <a:srgbClr val="D8D8D8"/>
                      </a:solidFill>
                      <a:prstDash val="solid"/>
                      <a:round/>
                      <a:headEnd type="none" w="sm" len="sm"/>
                      <a:tailEnd type="none" w="sm" len="sm"/>
                    </a:lnR>
                    <a:lnT w="12700" cap="flat" cmpd="sng">
                      <a:solidFill>
                        <a:srgbClr val="D8D8D8"/>
                      </a:solidFill>
                      <a:prstDash val="solid"/>
                      <a:round/>
                      <a:headEnd type="none" w="sm" len="sm"/>
                      <a:tailEnd type="none" w="sm" len="sm"/>
                    </a:lnT>
                    <a:lnB w="12700" cap="flat" cmpd="sng">
                      <a:solidFill>
                        <a:srgbClr val="D8D8D8"/>
                      </a:solidFill>
                      <a:prstDash val="solid"/>
                      <a:round/>
                      <a:headEnd type="none" w="sm" len="sm"/>
                      <a:tailEnd type="none" w="sm" len="sm"/>
                    </a:lnB>
                    <a:solidFill>
                      <a:srgbClr val="FFFFFF"/>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GB" sz="1100" b="0" u="none" strike="noStrike" cap="none" dirty="0">
                          <a:solidFill>
                            <a:srgbClr val="000000"/>
                          </a:solidFill>
                          <a:latin typeface="Arial"/>
                          <a:ea typeface="Arial"/>
                          <a:cs typeface="Arial"/>
                          <a:sym typeface="Arial"/>
                        </a:rPr>
                        <a:t>C4</a:t>
                      </a:r>
                      <a:endParaRPr sz="1100" u="none" strike="noStrike" cap="none" dirty="0">
                        <a:latin typeface="Arial"/>
                        <a:ea typeface="Arial"/>
                        <a:cs typeface="Arial"/>
                        <a:sym typeface="Arial"/>
                      </a:endParaRPr>
                    </a:p>
                  </a:txBody>
                  <a:tcPr marL="24392" marR="24392" marT="24392" marB="24392" anchor="ctr">
                    <a:lnL w="12700" cap="flat" cmpd="sng">
                      <a:solidFill>
                        <a:srgbClr val="D8D8D8"/>
                      </a:solidFill>
                      <a:prstDash val="solid"/>
                      <a:round/>
                      <a:headEnd type="none" w="sm" len="sm"/>
                      <a:tailEnd type="none" w="sm" len="sm"/>
                    </a:lnL>
                    <a:lnR w="12700" cap="flat" cmpd="sng">
                      <a:solidFill>
                        <a:srgbClr val="D8D8D8"/>
                      </a:solidFill>
                      <a:prstDash val="solid"/>
                      <a:round/>
                      <a:headEnd type="none" w="sm" len="sm"/>
                      <a:tailEnd type="none" w="sm" len="sm"/>
                    </a:lnR>
                    <a:lnT w="12700" cap="flat" cmpd="sng">
                      <a:solidFill>
                        <a:srgbClr val="D8D8D8"/>
                      </a:solidFill>
                      <a:prstDash val="solid"/>
                      <a:round/>
                      <a:headEnd type="none" w="sm" len="sm"/>
                      <a:tailEnd type="none" w="sm" len="sm"/>
                    </a:lnT>
                    <a:lnB w="12700" cap="flat" cmpd="sng">
                      <a:solidFill>
                        <a:srgbClr val="D8D8D8"/>
                      </a:solidFill>
                      <a:prstDash val="solid"/>
                      <a:round/>
                      <a:headEnd type="none" w="sm" len="sm"/>
                      <a:tailEnd type="none" w="sm" len="sm"/>
                    </a:lnB>
                    <a:solidFill>
                      <a:srgbClr val="FFFFFF"/>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GB" sz="1100" b="0" u="none" strike="noStrike" cap="none" dirty="0">
                          <a:solidFill>
                            <a:srgbClr val="000000"/>
                          </a:solidFill>
                          <a:latin typeface="Arial"/>
                          <a:ea typeface="Arial"/>
                          <a:cs typeface="Arial"/>
                          <a:sym typeface="Arial"/>
                        </a:rPr>
                        <a:t>C5</a:t>
                      </a:r>
                      <a:endParaRPr sz="1100" u="none" strike="noStrike" cap="none" dirty="0">
                        <a:latin typeface="Arial"/>
                        <a:ea typeface="Arial"/>
                        <a:cs typeface="Arial"/>
                        <a:sym typeface="Arial"/>
                      </a:endParaRPr>
                    </a:p>
                  </a:txBody>
                  <a:tcPr marL="24392" marR="24392" marT="24392" marB="24392" anchor="ctr">
                    <a:lnL w="12700" cap="flat" cmpd="sng">
                      <a:solidFill>
                        <a:srgbClr val="D8D8D8"/>
                      </a:solidFill>
                      <a:prstDash val="solid"/>
                      <a:round/>
                      <a:headEnd type="none" w="sm" len="sm"/>
                      <a:tailEnd type="none" w="sm" len="sm"/>
                    </a:lnL>
                    <a:lnR w="12700" cap="flat" cmpd="sng">
                      <a:solidFill>
                        <a:srgbClr val="D8D8D8"/>
                      </a:solidFill>
                      <a:prstDash val="solid"/>
                      <a:round/>
                      <a:headEnd type="none" w="sm" len="sm"/>
                      <a:tailEnd type="none" w="sm" len="sm"/>
                    </a:lnR>
                    <a:lnT w="12700" cap="flat" cmpd="sng">
                      <a:solidFill>
                        <a:srgbClr val="D8D8D8"/>
                      </a:solidFill>
                      <a:prstDash val="solid"/>
                      <a:round/>
                      <a:headEnd type="none" w="sm" len="sm"/>
                      <a:tailEnd type="none" w="sm" len="sm"/>
                    </a:lnT>
                    <a:lnB w="12700" cap="flat" cmpd="sng">
                      <a:solidFill>
                        <a:srgbClr val="D8D8D8"/>
                      </a:solidFill>
                      <a:prstDash val="solid"/>
                      <a:round/>
                      <a:headEnd type="none" w="sm" len="sm"/>
                      <a:tailEnd type="none" w="sm" len="sm"/>
                    </a:lnB>
                    <a:solidFill>
                      <a:srgbClr val="FFFFFF"/>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GB" sz="1100" b="0" u="none" strike="noStrike" cap="none" dirty="0">
                          <a:solidFill>
                            <a:srgbClr val="000000"/>
                          </a:solidFill>
                          <a:latin typeface="Arial"/>
                          <a:ea typeface="Arial"/>
                          <a:cs typeface="Arial"/>
                          <a:sym typeface="Arial"/>
                        </a:rPr>
                        <a:t>C6</a:t>
                      </a:r>
                      <a:endParaRPr sz="1100" u="none" strike="noStrike" cap="none" dirty="0">
                        <a:latin typeface="Arial"/>
                        <a:ea typeface="Arial"/>
                        <a:cs typeface="Arial"/>
                        <a:sym typeface="Arial"/>
                      </a:endParaRPr>
                    </a:p>
                  </a:txBody>
                  <a:tcPr marL="24392" marR="24392" marT="24392" marB="24392" anchor="ctr">
                    <a:lnL w="12700" cap="flat" cmpd="sng">
                      <a:solidFill>
                        <a:srgbClr val="D8D8D8"/>
                      </a:solidFill>
                      <a:prstDash val="solid"/>
                      <a:round/>
                      <a:headEnd type="none" w="sm" len="sm"/>
                      <a:tailEnd type="none" w="sm" len="sm"/>
                    </a:lnL>
                    <a:lnR w="12700" cap="flat" cmpd="sng">
                      <a:solidFill>
                        <a:srgbClr val="D8D8D8"/>
                      </a:solidFill>
                      <a:prstDash val="solid"/>
                      <a:round/>
                      <a:headEnd type="none" w="sm" len="sm"/>
                      <a:tailEnd type="none" w="sm" len="sm"/>
                    </a:lnR>
                    <a:lnT w="12700" cap="flat" cmpd="sng">
                      <a:solidFill>
                        <a:srgbClr val="D8D8D8"/>
                      </a:solidFill>
                      <a:prstDash val="solid"/>
                      <a:round/>
                      <a:headEnd type="none" w="sm" len="sm"/>
                      <a:tailEnd type="none" w="sm" len="sm"/>
                    </a:lnT>
                    <a:lnB w="12700" cap="flat" cmpd="sng">
                      <a:solidFill>
                        <a:srgbClr val="D8D8D8"/>
                      </a:solidFill>
                      <a:prstDash val="solid"/>
                      <a:round/>
                      <a:headEnd type="none" w="sm" len="sm"/>
                      <a:tailEnd type="none" w="sm" len="sm"/>
                    </a:lnB>
                    <a:solidFill>
                      <a:srgbClr val="FFFFFF"/>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GB" sz="1100" b="0" u="none" strike="noStrike" cap="none" dirty="0">
                          <a:solidFill>
                            <a:srgbClr val="000000"/>
                          </a:solidFill>
                          <a:latin typeface="Arial"/>
                          <a:ea typeface="Arial"/>
                          <a:cs typeface="Arial"/>
                          <a:sym typeface="Arial"/>
                        </a:rPr>
                        <a:t>C7</a:t>
                      </a:r>
                      <a:endParaRPr sz="1100" u="none" strike="noStrike" cap="none" dirty="0">
                        <a:latin typeface="Arial"/>
                        <a:ea typeface="Arial"/>
                        <a:cs typeface="Arial"/>
                        <a:sym typeface="Arial"/>
                      </a:endParaRPr>
                    </a:p>
                  </a:txBody>
                  <a:tcPr marL="24392" marR="24392" marT="24392" marB="24392" anchor="ctr">
                    <a:lnL w="12700" cap="flat" cmpd="sng">
                      <a:solidFill>
                        <a:srgbClr val="D8D8D8"/>
                      </a:solidFill>
                      <a:prstDash val="solid"/>
                      <a:round/>
                      <a:headEnd type="none" w="sm" len="sm"/>
                      <a:tailEnd type="none" w="sm" len="sm"/>
                    </a:lnL>
                    <a:lnR w="12700" cap="flat" cmpd="sng">
                      <a:solidFill>
                        <a:srgbClr val="D8D8D8"/>
                      </a:solidFill>
                      <a:prstDash val="solid"/>
                      <a:round/>
                      <a:headEnd type="none" w="sm" len="sm"/>
                      <a:tailEnd type="none" w="sm" len="sm"/>
                    </a:lnR>
                    <a:lnT w="12700" cap="flat" cmpd="sng">
                      <a:solidFill>
                        <a:srgbClr val="D8D8D8"/>
                      </a:solidFill>
                      <a:prstDash val="solid"/>
                      <a:round/>
                      <a:headEnd type="none" w="sm" len="sm"/>
                      <a:tailEnd type="none" w="sm" len="sm"/>
                    </a:lnT>
                    <a:lnB w="12700" cap="flat" cmpd="sng">
                      <a:solidFill>
                        <a:srgbClr val="D8D8D8"/>
                      </a:solidFill>
                      <a:prstDash val="solid"/>
                      <a:round/>
                      <a:headEnd type="none" w="sm" len="sm"/>
                      <a:tailEnd type="none" w="sm" len="sm"/>
                    </a:lnB>
                    <a:solidFill>
                      <a:srgbClr val="FFFFFF"/>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GB" sz="1100" b="0" u="none" strike="noStrike" cap="none" dirty="0">
                          <a:solidFill>
                            <a:srgbClr val="000000"/>
                          </a:solidFill>
                          <a:latin typeface="Arial"/>
                          <a:ea typeface="Arial"/>
                          <a:cs typeface="Arial"/>
                          <a:sym typeface="Arial"/>
                        </a:rPr>
                        <a:t>C8</a:t>
                      </a:r>
                      <a:endParaRPr sz="1100" u="none" strike="noStrike" cap="none" dirty="0">
                        <a:latin typeface="Arial"/>
                        <a:ea typeface="Arial"/>
                        <a:cs typeface="Arial"/>
                        <a:sym typeface="Arial"/>
                      </a:endParaRPr>
                    </a:p>
                  </a:txBody>
                  <a:tcPr marL="24392" marR="24392" marT="24392" marB="24392" anchor="ctr">
                    <a:lnL w="12700" cap="flat" cmpd="sng">
                      <a:solidFill>
                        <a:srgbClr val="D8D8D8"/>
                      </a:solidFill>
                      <a:prstDash val="solid"/>
                      <a:round/>
                      <a:headEnd type="none" w="sm" len="sm"/>
                      <a:tailEnd type="none" w="sm" len="sm"/>
                    </a:lnL>
                    <a:lnR w="12700" cap="flat" cmpd="sng">
                      <a:solidFill>
                        <a:srgbClr val="D8D8D8"/>
                      </a:solidFill>
                      <a:prstDash val="solid"/>
                      <a:round/>
                      <a:headEnd type="none" w="sm" len="sm"/>
                      <a:tailEnd type="none" w="sm" len="sm"/>
                    </a:lnR>
                    <a:lnT w="12700" cap="flat" cmpd="sng">
                      <a:solidFill>
                        <a:srgbClr val="D8D8D8"/>
                      </a:solidFill>
                      <a:prstDash val="solid"/>
                      <a:round/>
                      <a:headEnd type="none" w="sm" len="sm"/>
                      <a:tailEnd type="none" w="sm" len="sm"/>
                    </a:lnT>
                    <a:lnB w="12700" cap="flat" cmpd="sng">
                      <a:solidFill>
                        <a:srgbClr val="D8D8D8"/>
                      </a:solidFill>
                      <a:prstDash val="solid"/>
                      <a:round/>
                      <a:headEnd type="none" w="sm" len="sm"/>
                      <a:tailEnd type="none" w="sm" len="sm"/>
                    </a:lnB>
                    <a:solidFill>
                      <a:srgbClr val="FFFFFF"/>
                    </a:solidFill>
                  </a:tcPr>
                </a:tc>
                <a:tc>
                  <a:txBody>
                    <a:bodyPr/>
                    <a:lstStyle/>
                    <a:p>
                      <a:pPr marL="0" marR="0" lvl="0" indent="0" algn="ctr" rtl="0">
                        <a:lnSpc>
                          <a:spcPct val="100000"/>
                        </a:lnSpc>
                        <a:spcBef>
                          <a:spcPts val="0"/>
                        </a:spcBef>
                        <a:spcAft>
                          <a:spcPts val="0"/>
                        </a:spcAft>
                        <a:buClr>
                          <a:srgbClr val="000000"/>
                        </a:buClr>
                        <a:buSzPts val="900"/>
                        <a:buFont typeface="Arial"/>
                        <a:buNone/>
                      </a:pPr>
                      <a:r>
                        <a:rPr lang="en-GB" sz="1200" b="0" u="none" strike="noStrike" cap="none" dirty="0">
                          <a:solidFill>
                            <a:schemeClr val="lt1"/>
                          </a:solidFill>
                          <a:latin typeface="Arial"/>
                          <a:ea typeface="Arial"/>
                          <a:cs typeface="Arial"/>
                          <a:sym typeface="Arial"/>
                        </a:rPr>
                        <a:t>Follow up after </a:t>
                      </a:r>
                      <a:br>
                        <a:rPr lang="en-GB" sz="1200" b="0" u="none" strike="noStrike" cap="none" dirty="0">
                          <a:solidFill>
                            <a:schemeClr val="lt1"/>
                          </a:solidFill>
                          <a:latin typeface="Arial"/>
                          <a:ea typeface="Arial"/>
                          <a:cs typeface="Arial"/>
                          <a:sym typeface="Arial"/>
                        </a:rPr>
                      </a:br>
                      <a:r>
                        <a:rPr lang="en-GB" sz="1200" b="0" u="none" strike="noStrike" cap="none" dirty="0">
                          <a:solidFill>
                            <a:schemeClr val="lt1"/>
                          </a:solidFill>
                          <a:latin typeface="Arial"/>
                          <a:ea typeface="Arial"/>
                          <a:cs typeface="Arial"/>
                          <a:sym typeface="Arial"/>
                        </a:rPr>
                        <a:t>drug completion</a:t>
                      </a:r>
                      <a:endParaRPr sz="1200" b="0" u="none" strike="noStrike" cap="none" dirty="0">
                        <a:latin typeface="Arial"/>
                        <a:ea typeface="Arial"/>
                        <a:cs typeface="Arial"/>
                        <a:sym typeface="Arial"/>
                      </a:endParaRPr>
                    </a:p>
                  </a:txBody>
                  <a:tcPr marL="24392" marR="24392" marT="24392" marB="24392" anchor="ctr">
                    <a:lnL w="12700" cap="flat" cmpd="sng">
                      <a:solidFill>
                        <a:srgbClr val="D8D8D8"/>
                      </a:solidFill>
                      <a:prstDash val="solid"/>
                      <a:round/>
                      <a:headEnd type="none" w="sm" len="sm"/>
                      <a:tailEnd type="none" w="sm" len="sm"/>
                    </a:lnL>
                    <a:lnR w="12700" cap="flat" cmpd="sng">
                      <a:solidFill>
                        <a:srgbClr val="D8D8D8"/>
                      </a:solidFill>
                      <a:prstDash val="solid"/>
                      <a:round/>
                      <a:headEnd type="none" w="sm" len="sm"/>
                      <a:tailEnd type="none" w="sm" len="sm"/>
                    </a:lnR>
                    <a:lnT w="12700" cap="flat" cmpd="sng">
                      <a:solidFill>
                        <a:srgbClr val="D8D8D8"/>
                      </a:solidFill>
                      <a:prstDash val="solid"/>
                      <a:round/>
                      <a:headEnd type="none" w="sm" len="sm"/>
                      <a:tailEnd type="none" w="sm" len="sm"/>
                    </a:lnT>
                    <a:lnB w="12700" cap="flat" cmpd="sng">
                      <a:solidFill>
                        <a:srgbClr val="D8D8D8"/>
                      </a:solidFill>
                      <a:prstDash val="solid"/>
                      <a:round/>
                      <a:headEnd type="none" w="sm" len="sm"/>
                      <a:tailEnd type="none" w="sm" len="sm"/>
                    </a:lnB>
                    <a:solidFill>
                      <a:schemeClr val="accent2"/>
                    </a:solidFill>
                  </a:tcPr>
                </a:tc>
                <a:extLst>
                  <a:ext uri="{0D108BD9-81ED-4DB2-BD59-A6C34878D82A}">
                    <a16:rowId xmlns:a16="http://schemas.microsoft.com/office/drawing/2014/main" val="10000"/>
                  </a:ext>
                </a:extLst>
              </a:tr>
            </a:tbl>
          </a:graphicData>
        </a:graphic>
      </p:graphicFrame>
      <p:sp>
        <p:nvSpPr>
          <p:cNvPr id="59" name="Google Shape;774;p17 Cell 2, 1 to Text">
            <a:extLst>
              <a:ext uri="{FF2B5EF4-FFF2-40B4-BE49-F238E27FC236}">
                <a16:creationId xmlns:a16="http://schemas.microsoft.com/office/drawing/2014/main" id="{6AE50EFF-F5C0-0B22-CBC2-850111D3DB99}"/>
              </a:ext>
            </a:extLst>
          </p:cNvPr>
          <p:cNvSpPr txBox="1"/>
          <p:nvPr/>
        </p:nvSpPr>
        <p:spPr>
          <a:xfrm>
            <a:off x="4087067" y="4782276"/>
            <a:ext cx="467652" cy="414416"/>
          </a:xfrm>
          <a:prstGeom prst="rect">
            <a:avLst/>
          </a:prstGeom>
          <a:solidFill>
            <a:schemeClr val="bg1"/>
          </a:solidFill>
          <a:ln w="12700">
            <a:solidFill>
              <a:schemeClr val="bg1">
                <a:lumMod val="75000"/>
              </a:schemeClr>
            </a:solidFill>
          </a:ln>
        </p:spPr>
        <p:txBody>
          <a:bodyPr vert="horz" wrap="square" lIns="24392" tIns="24392" rIns="24392" bIns="24392" rtlCol="0" anchor="ctr" anchorCtr="0">
            <a:noAutofit/>
          </a:bodyPr>
          <a:lstStyle/>
          <a:p>
            <a:pPr marL="0" marR="0" lvl="0" indent="0" algn="ctr" defTabSz="912724" rtl="0" eaLnBrk="1" fontAlgn="auto" latinLnBrk="0" hangingPunct="1">
              <a:lnSpc>
                <a:spcPct val="100000"/>
              </a:lnSpc>
              <a:spcBef>
                <a:spcPts val="0"/>
              </a:spcBef>
              <a:spcAft>
                <a:spcPts val="0"/>
              </a:spcAft>
              <a:buClr>
                <a:srgbClr val="000000"/>
              </a:buClr>
              <a:buSzPts val="800"/>
              <a:buFontTx/>
              <a:buNone/>
              <a:tabLst/>
              <a:defRPr/>
            </a:pPr>
            <a:r>
              <a:rPr kumimoji="0" lang="en-GB" sz="1067" b="0" i="0" u="none" strike="noStrike" kern="1200" cap="none" spc="0" normalizeH="0" baseline="0" noProof="0" dirty="0">
                <a:ln>
                  <a:noFill/>
                </a:ln>
                <a:solidFill>
                  <a:srgbClr val="000000"/>
                </a:solidFill>
                <a:effectLst/>
                <a:uLnTx/>
                <a:uFillTx/>
                <a:latin typeface="Arial"/>
                <a:ea typeface="Arial"/>
                <a:cs typeface="Arial"/>
                <a:sym typeface="Arial"/>
              </a:rPr>
              <a:t>C1</a:t>
            </a:r>
          </a:p>
        </p:txBody>
      </p:sp>
      <p:sp>
        <p:nvSpPr>
          <p:cNvPr id="60" name="Google Shape;774;p17 Cell 3, 1 to Text">
            <a:extLst>
              <a:ext uri="{FF2B5EF4-FFF2-40B4-BE49-F238E27FC236}">
                <a16:creationId xmlns:a16="http://schemas.microsoft.com/office/drawing/2014/main" id="{696D4807-EE98-2B1D-AA07-9F31CBD719B4}"/>
              </a:ext>
            </a:extLst>
          </p:cNvPr>
          <p:cNvSpPr txBox="1"/>
          <p:nvPr/>
        </p:nvSpPr>
        <p:spPr>
          <a:xfrm>
            <a:off x="4554719" y="4782276"/>
            <a:ext cx="467652" cy="414416"/>
          </a:xfrm>
          <a:prstGeom prst="rect">
            <a:avLst/>
          </a:prstGeom>
          <a:solidFill>
            <a:schemeClr val="bg1"/>
          </a:solidFill>
          <a:ln w="12700">
            <a:solidFill>
              <a:schemeClr val="bg1">
                <a:lumMod val="75000"/>
              </a:schemeClr>
            </a:solidFill>
          </a:ln>
        </p:spPr>
        <p:txBody>
          <a:bodyPr vert="horz" wrap="square" lIns="24392" tIns="24392" rIns="24392" bIns="24392" rtlCol="0" anchor="ctr" anchorCtr="0">
            <a:noAutofit/>
          </a:bodyPr>
          <a:lstStyle/>
          <a:p>
            <a:pPr marL="0" marR="0" lvl="0" indent="0" algn="ctr" defTabSz="912724" rtl="0" eaLnBrk="1" fontAlgn="auto" latinLnBrk="0" hangingPunct="1">
              <a:lnSpc>
                <a:spcPct val="100000"/>
              </a:lnSpc>
              <a:spcBef>
                <a:spcPts val="0"/>
              </a:spcBef>
              <a:spcAft>
                <a:spcPts val="0"/>
              </a:spcAft>
              <a:buClr>
                <a:srgbClr val="000000"/>
              </a:buClr>
              <a:buSzPts val="800"/>
              <a:buFontTx/>
              <a:buNone/>
              <a:tabLst/>
              <a:defRPr/>
            </a:pPr>
            <a:r>
              <a:rPr kumimoji="0" lang="en-GB" sz="1067" b="0" i="0" u="none" strike="noStrike" kern="1200" cap="none" spc="0" normalizeH="0" baseline="0" noProof="0" dirty="0">
                <a:ln>
                  <a:noFill/>
                </a:ln>
                <a:solidFill>
                  <a:srgbClr val="000000"/>
                </a:solidFill>
                <a:effectLst/>
                <a:uLnTx/>
                <a:uFillTx/>
                <a:latin typeface="Arial"/>
                <a:ea typeface="Arial"/>
                <a:cs typeface="Arial"/>
                <a:sym typeface="Arial"/>
              </a:rPr>
              <a:t>C2</a:t>
            </a:r>
          </a:p>
        </p:txBody>
      </p:sp>
      <p:sp>
        <p:nvSpPr>
          <p:cNvPr id="61" name="Google Shape;774;p17 Cell 4, 1 to Text">
            <a:extLst>
              <a:ext uri="{FF2B5EF4-FFF2-40B4-BE49-F238E27FC236}">
                <a16:creationId xmlns:a16="http://schemas.microsoft.com/office/drawing/2014/main" id="{77E88B42-E6FC-35A2-446C-48B8E4ECD45D}"/>
              </a:ext>
            </a:extLst>
          </p:cNvPr>
          <p:cNvSpPr txBox="1"/>
          <p:nvPr/>
        </p:nvSpPr>
        <p:spPr>
          <a:xfrm>
            <a:off x="5022371" y="4782276"/>
            <a:ext cx="467652" cy="414416"/>
          </a:xfrm>
          <a:prstGeom prst="rect">
            <a:avLst/>
          </a:prstGeom>
          <a:solidFill>
            <a:schemeClr val="bg1"/>
          </a:solidFill>
          <a:ln w="12700">
            <a:solidFill>
              <a:schemeClr val="bg1">
                <a:lumMod val="75000"/>
              </a:schemeClr>
            </a:solidFill>
          </a:ln>
        </p:spPr>
        <p:txBody>
          <a:bodyPr vert="horz" wrap="square" lIns="24392" tIns="24392" rIns="24392" bIns="24392" rtlCol="0" anchor="ctr" anchorCtr="0">
            <a:noAutofit/>
          </a:bodyPr>
          <a:lstStyle/>
          <a:p>
            <a:pPr marL="0" marR="0" lvl="0" indent="0" algn="ctr" defTabSz="912724" rtl="0" eaLnBrk="1" fontAlgn="auto" latinLnBrk="0" hangingPunct="1">
              <a:lnSpc>
                <a:spcPct val="100000"/>
              </a:lnSpc>
              <a:spcBef>
                <a:spcPts val="0"/>
              </a:spcBef>
              <a:spcAft>
                <a:spcPts val="0"/>
              </a:spcAft>
              <a:buClr>
                <a:srgbClr val="000000"/>
              </a:buClr>
              <a:buSzPts val="800"/>
              <a:buFontTx/>
              <a:buNone/>
              <a:tabLst/>
              <a:defRPr/>
            </a:pPr>
            <a:r>
              <a:rPr kumimoji="0" lang="en-GB" sz="1067" b="0" i="0" u="none" strike="noStrike" kern="1200" cap="none" spc="0" normalizeH="0" baseline="0" noProof="0" dirty="0">
                <a:ln>
                  <a:noFill/>
                </a:ln>
                <a:solidFill>
                  <a:srgbClr val="000000"/>
                </a:solidFill>
                <a:effectLst/>
                <a:uLnTx/>
                <a:uFillTx/>
                <a:latin typeface="Arial"/>
                <a:ea typeface="Arial"/>
                <a:cs typeface="Arial"/>
                <a:sym typeface="Arial"/>
              </a:rPr>
              <a:t>C3</a:t>
            </a:r>
          </a:p>
        </p:txBody>
      </p:sp>
      <p:sp>
        <p:nvSpPr>
          <p:cNvPr id="62" name="Google Shape;774;p17 Cell 5, 1 to Text">
            <a:extLst>
              <a:ext uri="{FF2B5EF4-FFF2-40B4-BE49-F238E27FC236}">
                <a16:creationId xmlns:a16="http://schemas.microsoft.com/office/drawing/2014/main" id="{F2224D22-DE10-5071-9592-4ECDB1C87FC7}"/>
              </a:ext>
            </a:extLst>
          </p:cNvPr>
          <p:cNvSpPr txBox="1"/>
          <p:nvPr/>
        </p:nvSpPr>
        <p:spPr>
          <a:xfrm>
            <a:off x="5490022" y="4782276"/>
            <a:ext cx="467652" cy="414416"/>
          </a:xfrm>
          <a:prstGeom prst="rect">
            <a:avLst/>
          </a:prstGeom>
          <a:solidFill>
            <a:schemeClr val="bg1"/>
          </a:solidFill>
          <a:ln w="12700">
            <a:solidFill>
              <a:schemeClr val="bg1">
                <a:lumMod val="75000"/>
              </a:schemeClr>
            </a:solidFill>
          </a:ln>
        </p:spPr>
        <p:txBody>
          <a:bodyPr vert="horz" wrap="square" lIns="24392" tIns="24392" rIns="24392" bIns="24392" rtlCol="0" anchor="ctr" anchorCtr="0">
            <a:noAutofit/>
          </a:bodyPr>
          <a:lstStyle/>
          <a:p>
            <a:pPr marL="0" marR="0" lvl="0" indent="0" algn="ctr" defTabSz="912724" rtl="0" eaLnBrk="1" fontAlgn="auto" latinLnBrk="0" hangingPunct="1">
              <a:lnSpc>
                <a:spcPct val="100000"/>
              </a:lnSpc>
              <a:spcBef>
                <a:spcPts val="0"/>
              </a:spcBef>
              <a:spcAft>
                <a:spcPts val="0"/>
              </a:spcAft>
              <a:buClr>
                <a:srgbClr val="000000"/>
              </a:buClr>
              <a:buSzPts val="800"/>
              <a:buFontTx/>
              <a:buNone/>
              <a:tabLst/>
              <a:defRPr/>
            </a:pPr>
            <a:r>
              <a:rPr kumimoji="0" lang="en-GB" sz="1067" b="0" i="0" u="none" strike="noStrike" kern="1200" cap="none" spc="0" normalizeH="0" baseline="0" noProof="0" dirty="0">
                <a:ln>
                  <a:noFill/>
                </a:ln>
                <a:solidFill>
                  <a:srgbClr val="000000"/>
                </a:solidFill>
                <a:effectLst/>
                <a:uLnTx/>
                <a:uFillTx/>
                <a:latin typeface="Arial"/>
                <a:ea typeface="Arial"/>
                <a:cs typeface="Arial"/>
                <a:sym typeface="Arial"/>
              </a:rPr>
              <a:t>C4</a:t>
            </a:r>
          </a:p>
        </p:txBody>
      </p:sp>
      <p:sp>
        <p:nvSpPr>
          <p:cNvPr id="63" name="Google Shape;774;p17 Cell 6, 1 to Text">
            <a:extLst>
              <a:ext uri="{FF2B5EF4-FFF2-40B4-BE49-F238E27FC236}">
                <a16:creationId xmlns:a16="http://schemas.microsoft.com/office/drawing/2014/main" id="{54024325-EDE1-018F-45CE-CA6D53228E12}"/>
              </a:ext>
            </a:extLst>
          </p:cNvPr>
          <p:cNvSpPr txBox="1"/>
          <p:nvPr/>
        </p:nvSpPr>
        <p:spPr>
          <a:xfrm>
            <a:off x="5957675" y="4782276"/>
            <a:ext cx="467652" cy="414416"/>
          </a:xfrm>
          <a:prstGeom prst="rect">
            <a:avLst/>
          </a:prstGeom>
          <a:solidFill>
            <a:schemeClr val="bg1"/>
          </a:solidFill>
          <a:ln w="12700">
            <a:solidFill>
              <a:schemeClr val="bg1">
                <a:lumMod val="75000"/>
              </a:schemeClr>
            </a:solidFill>
          </a:ln>
        </p:spPr>
        <p:txBody>
          <a:bodyPr vert="horz" wrap="square" lIns="24392" tIns="24392" rIns="24392" bIns="24392" rtlCol="0" anchor="ctr" anchorCtr="0">
            <a:noAutofit/>
          </a:bodyPr>
          <a:lstStyle/>
          <a:p>
            <a:pPr marL="0" marR="0" lvl="0" indent="0" algn="ctr" defTabSz="912724" rtl="0" eaLnBrk="1" fontAlgn="auto" latinLnBrk="0" hangingPunct="1">
              <a:lnSpc>
                <a:spcPct val="100000"/>
              </a:lnSpc>
              <a:spcBef>
                <a:spcPts val="0"/>
              </a:spcBef>
              <a:spcAft>
                <a:spcPts val="0"/>
              </a:spcAft>
              <a:buClr>
                <a:srgbClr val="000000"/>
              </a:buClr>
              <a:buSzPts val="800"/>
              <a:buFontTx/>
              <a:buNone/>
              <a:tabLst/>
              <a:defRPr/>
            </a:pPr>
            <a:r>
              <a:rPr kumimoji="0" lang="en-GB" sz="1067" b="0" i="0" u="none" strike="noStrike" kern="1200" cap="none" spc="0" normalizeH="0" baseline="0" noProof="0" dirty="0">
                <a:ln>
                  <a:noFill/>
                </a:ln>
                <a:solidFill>
                  <a:srgbClr val="000000"/>
                </a:solidFill>
                <a:effectLst/>
                <a:uLnTx/>
                <a:uFillTx/>
                <a:latin typeface="Arial"/>
                <a:ea typeface="Arial"/>
                <a:cs typeface="Arial"/>
                <a:sym typeface="Arial"/>
              </a:rPr>
              <a:t>C5</a:t>
            </a:r>
          </a:p>
        </p:txBody>
      </p:sp>
      <p:sp>
        <p:nvSpPr>
          <p:cNvPr id="64" name="Google Shape;774;p17 Cell 7, 1 to Text">
            <a:extLst>
              <a:ext uri="{FF2B5EF4-FFF2-40B4-BE49-F238E27FC236}">
                <a16:creationId xmlns:a16="http://schemas.microsoft.com/office/drawing/2014/main" id="{FF788BA5-A0C9-B0F0-2D95-F58C7219B544}"/>
              </a:ext>
            </a:extLst>
          </p:cNvPr>
          <p:cNvSpPr txBox="1"/>
          <p:nvPr/>
        </p:nvSpPr>
        <p:spPr>
          <a:xfrm>
            <a:off x="6425327" y="4782276"/>
            <a:ext cx="467652" cy="414416"/>
          </a:xfrm>
          <a:prstGeom prst="rect">
            <a:avLst/>
          </a:prstGeom>
          <a:solidFill>
            <a:schemeClr val="bg1"/>
          </a:solidFill>
          <a:ln w="12700">
            <a:solidFill>
              <a:schemeClr val="bg1">
                <a:lumMod val="75000"/>
              </a:schemeClr>
            </a:solidFill>
          </a:ln>
        </p:spPr>
        <p:txBody>
          <a:bodyPr vert="horz" wrap="square" lIns="24392" tIns="24392" rIns="24392" bIns="24392" rtlCol="0" anchor="ctr" anchorCtr="0">
            <a:noAutofit/>
          </a:bodyPr>
          <a:lstStyle/>
          <a:p>
            <a:pPr marL="0" marR="0" lvl="0" indent="0" algn="ctr" defTabSz="912724" rtl="0" eaLnBrk="1" fontAlgn="auto" latinLnBrk="0" hangingPunct="1">
              <a:lnSpc>
                <a:spcPct val="100000"/>
              </a:lnSpc>
              <a:spcBef>
                <a:spcPts val="0"/>
              </a:spcBef>
              <a:spcAft>
                <a:spcPts val="0"/>
              </a:spcAft>
              <a:buClr>
                <a:srgbClr val="000000"/>
              </a:buClr>
              <a:buSzPts val="800"/>
              <a:buFontTx/>
              <a:buNone/>
              <a:tabLst/>
              <a:defRPr/>
            </a:pPr>
            <a:r>
              <a:rPr kumimoji="0" lang="en-GB" sz="1067" b="0" i="0" u="none" strike="noStrike" kern="1200" cap="none" spc="0" normalizeH="0" baseline="0" noProof="0" dirty="0">
                <a:ln>
                  <a:noFill/>
                </a:ln>
                <a:solidFill>
                  <a:srgbClr val="000000"/>
                </a:solidFill>
                <a:effectLst/>
                <a:uLnTx/>
                <a:uFillTx/>
                <a:latin typeface="Arial"/>
                <a:ea typeface="Arial"/>
                <a:cs typeface="Arial"/>
                <a:sym typeface="Arial"/>
              </a:rPr>
              <a:t>C6</a:t>
            </a:r>
          </a:p>
        </p:txBody>
      </p:sp>
      <p:sp>
        <p:nvSpPr>
          <p:cNvPr id="65" name="Google Shape;774;p17 Cell 8, 1 to Text">
            <a:extLst>
              <a:ext uri="{FF2B5EF4-FFF2-40B4-BE49-F238E27FC236}">
                <a16:creationId xmlns:a16="http://schemas.microsoft.com/office/drawing/2014/main" id="{2BE4D38F-30D7-FD8F-E11B-1FCF977DB2D9}"/>
              </a:ext>
            </a:extLst>
          </p:cNvPr>
          <p:cNvSpPr txBox="1"/>
          <p:nvPr/>
        </p:nvSpPr>
        <p:spPr>
          <a:xfrm>
            <a:off x="6892979" y="4782276"/>
            <a:ext cx="467652" cy="414416"/>
          </a:xfrm>
          <a:prstGeom prst="rect">
            <a:avLst/>
          </a:prstGeom>
          <a:solidFill>
            <a:schemeClr val="bg1"/>
          </a:solidFill>
          <a:ln w="12700">
            <a:solidFill>
              <a:schemeClr val="bg1">
                <a:lumMod val="75000"/>
              </a:schemeClr>
            </a:solidFill>
          </a:ln>
        </p:spPr>
        <p:txBody>
          <a:bodyPr vert="horz" wrap="square" lIns="24392" tIns="24392" rIns="24392" bIns="24392" rtlCol="0" anchor="ctr" anchorCtr="0">
            <a:noAutofit/>
          </a:bodyPr>
          <a:lstStyle/>
          <a:p>
            <a:pPr marL="0" marR="0" lvl="0" indent="0" algn="ctr" defTabSz="912724" rtl="0" eaLnBrk="1" fontAlgn="auto" latinLnBrk="0" hangingPunct="1">
              <a:lnSpc>
                <a:spcPct val="100000"/>
              </a:lnSpc>
              <a:spcBef>
                <a:spcPts val="0"/>
              </a:spcBef>
              <a:spcAft>
                <a:spcPts val="0"/>
              </a:spcAft>
              <a:buClr>
                <a:srgbClr val="000000"/>
              </a:buClr>
              <a:buSzPts val="800"/>
              <a:buFontTx/>
              <a:buNone/>
              <a:tabLst/>
              <a:defRPr/>
            </a:pPr>
            <a:r>
              <a:rPr kumimoji="0" lang="en-GB" sz="1067" b="0" i="0" u="none" strike="noStrike" kern="1200" cap="none" spc="0" normalizeH="0" baseline="0" noProof="0" dirty="0">
                <a:ln>
                  <a:noFill/>
                </a:ln>
                <a:solidFill>
                  <a:srgbClr val="000000"/>
                </a:solidFill>
                <a:effectLst/>
                <a:uLnTx/>
                <a:uFillTx/>
                <a:latin typeface="Arial"/>
                <a:ea typeface="Arial"/>
                <a:cs typeface="Arial"/>
                <a:sym typeface="Arial"/>
              </a:rPr>
              <a:t>C7</a:t>
            </a:r>
          </a:p>
        </p:txBody>
      </p:sp>
      <p:sp>
        <p:nvSpPr>
          <p:cNvPr id="66" name="Google Shape;774;p17 Cell 9, 1 to Text">
            <a:extLst>
              <a:ext uri="{FF2B5EF4-FFF2-40B4-BE49-F238E27FC236}">
                <a16:creationId xmlns:a16="http://schemas.microsoft.com/office/drawing/2014/main" id="{635C44F6-9660-6943-C49E-8CFFF5E79205}"/>
              </a:ext>
            </a:extLst>
          </p:cNvPr>
          <p:cNvSpPr txBox="1"/>
          <p:nvPr/>
        </p:nvSpPr>
        <p:spPr>
          <a:xfrm>
            <a:off x="7360630" y="4782276"/>
            <a:ext cx="467652" cy="414416"/>
          </a:xfrm>
          <a:prstGeom prst="rect">
            <a:avLst/>
          </a:prstGeom>
          <a:solidFill>
            <a:schemeClr val="bg1"/>
          </a:solidFill>
          <a:ln w="12700">
            <a:solidFill>
              <a:schemeClr val="bg1">
                <a:lumMod val="75000"/>
              </a:schemeClr>
            </a:solidFill>
          </a:ln>
        </p:spPr>
        <p:txBody>
          <a:bodyPr vert="horz" wrap="square" lIns="24392" tIns="24392" rIns="24392" bIns="24392" rtlCol="0" anchor="ctr" anchorCtr="0">
            <a:noAutofit/>
          </a:bodyPr>
          <a:lstStyle/>
          <a:p>
            <a:pPr marL="0" marR="0" lvl="0" indent="0" algn="ctr" defTabSz="912724" rtl="0" eaLnBrk="1" fontAlgn="auto" latinLnBrk="0" hangingPunct="1">
              <a:lnSpc>
                <a:spcPct val="100000"/>
              </a:lnSpc>
              <a:spcBef>
                <a:spcPts val="0"/>
              </a:spcBef>
              <a:spcAft>
                <a:spcPts val="0"/>
              </a:spcAft>
              <a:buClr>
                <a:srgbClr val="000000"/>
              </a:buClr>
              <a:buSzPts val="800"/>
              <a:buFontTx/>
              <a:buNone/>
              <a:tabLst/>
              <a:defRPr/>
            </a:pPr>
            <a:r>
              <a:rPr kumimoji="0" lang="en-GB" sz="1067" b="0" i="0" u="none" strike="noStrike" kern="1200" cap="none" spc="0" normalizeH="0" baseline="0" noProof="0" dirty="0">
                <a:ln>
                  <a:noFill/>
                </a:ln>
                <a:solidFill>
                  <a:srgbClr val="000000"/>
                </a:solidFill>
                <a:effectLst/>
                <a:uLnTx/>
                <a:uFillTx/>
                <a:latin typeface="Arial"/>
                <a:ea typeface="Arial"/>
                <a:cs typeface="Arial"/>
                <a:sym typeface="Arial"/>
              </a:rPr>
              <a:t>C8</a:t>
            </a:r>
          </a:p>
        </p:txBody>
      </p:sp>
      <p:grpSp>
        <p:nvGrpSpPr>
          <p:cNvPr id="161" name="Group 160">
            <a:extLst>
              <a:ext uri="{FF2B5EF4-FFF2-40B4-BE49-F238E27FC236}">
                <a16:creationId xmlns:a16="http://schemas.microsoft.com/office/drawing/2014/main" id="{CC3B2E56-5A0D-00EF-E6B7-1407A635E5FA}"/>
              </a:ext>
            </a:extLst>
          </p:cNvPr>
          <p:cNvGrpSpPr/>
          <p:nvPr/>
        </p:nvGrpSpPr>
        <p:grpSpPr>
          <a:xfrm>
            <a:off x="4084421" y="4521264"/>
            <a:ext cx="3278443" cy="244715"/>
            <a:chOff x="3269199" y="3428316"/>
            <a:chExt cx="2459686" cy="183600"/>
          </a:xfrm>
        </p:grpSpPr>
        <p:cxnSp>
          <p:nvCxnSpPr>
            <p:cNvPr id="16" name="Google Shape;775;p17">
              <a:extLst>
                <a:ext uri="{FF2B5EF4-FFF2-40B4-BE49-F238E27FC236}">
                  <a16:creationId xmlns:a16="http://schemas.microsoft.com/office/drawing/2014/main" id="{40EDEFCC-B649-60B3-326E-AF0ED55C31DA}"/>
                </a:ext>
              </a:extLst>
            </p:cNvPr>
            <p:cNvCxnSpPr>
              <a:cxnSpLocks/>
            </p:cNvCxnSpPr>
            <p:nvPr/>
          </p:nvCxnSpPr>
          <p:spPr>
            <a:xfrm>
              <a:off x="3269199" y="3428316"/>
              <a:ext cx="0" cy="183600"/>
            </a:xfrm>
            <a:prstGeom prst="straightConnector1">
              <a:avLst/>
            </a:prstGeom>
            <a:noFill/>
            <a:ln w="38100" cap="flat" cmpd="sng">
              <a:solidFill>
                <a:schemeClr val="tx2"/>
              </a:solidFill>
              <a:prstDash val="solid"/>
              <a:round/>
              <a:headEnd type="none" w="sm" len="sm"/>
              <a:tailEnd type="stealth" w="med" len="med"/>
            </a:ln>
          </p:spPr>
        </p:cxnSp>
        <p:cxnSp>
          <p:nvCxnSpPr>
            <p:cNvPr id="19" name="Google Shape;776;p17">
              <a:extLst>
                <a:ext uri="{FF2B5EF4-FFF2-40B4-BE49-F238E27FC236}">
                  <a16:creationId xmlns:a16="http://schemas.microsoft.com/office/drawing/2014/main" id="{05FB3E04-5AF1-9F7D-BA19-55F49F8CD55A}"/>
                </a:ext>
              </a:extLst>
            </p:cNvPr>
            <p:cNvCxnSpPr>
              <a:cxnSpLocks/>
            </p:cNvCxnSpPr>
            <p:nvPr/>
          </p:nvCxnSpPr>
          <p:spPr>
            <a:xfrm>
              <a:off x="3617718" y="3428316"/>
              <a:ext cx="0" cy="183600"/>
            </a:xfrm>
            <a:prstGeom prst="straightConnector1">
              <a:avLst/>
            </a:prstGeom>
            <a:noFill/>
            <a:ln w="38100" cap="flat" cmpd="sng">
              <a:solidFill>
                <a:schemeClr val="tx2"/>
              </a:solidFill>
              <a:prstDash val="solid"/>
              <a:round/>
              <a:headEnd type="none" w="sm" len="sm"/>
              <a:tailEnd type="stealth" w="med" len="med"/>
            </a:ln>
          </p:spPr>
        </p:cxnSp>
        <p:cxnSp>
          <p:nvCxnSpPr>
            <p:cNvPr id="20" name="Google Shape;777;p17">
              <a:extLst>
                <a:ext uri="{FF2B5EF4-FFF2-40B4-BE49-F238E27FC236}">
                  <a16:creationId xmlns:a16="http://schemas.microsoft.com/office/drawing/2014/main" id="{080AD6D4-D34B-C283-E605-6159666544E7}"/>
                </a:ext>
              </a:extLst>
            </p:cNvPr>
            <p:cNvCxnSpPr>
              <a:cxnSpLocks/>
            </p:cNvCxnSpPr>
            <p:nvPr/>
          </p:nvCxnSpPr>
          <p:spPr>
            <a:xfrm>
              <a:off x="3968801" y="3428316"/>
              <a:ext cx="0" cy="183600"/>
            </a:xfrm>
            <a:prstGeom prst="straightConnector1">
              <a:avLst/>
            </a:prstGeom>
            <a:noFill/>
            <a:ln w="38100" cap="flat" cmpd="sng">
              <a:solidFill>
                <a:schemeClr val="tx2"/>
              </a:solidFill>
              <a:prstDash val="solid"/>
              <a:round/>
              <a:headEnd type="none" w="sm" len="sm"/>
              <a:tailEnd type="stealth" w="med" len="med"/>
            </a:ln>
          </p:spPr>
        </p:cxnSp>
        <p:cxnSp>
          <p:nvCxnSpPr>
            <p:cNvPr id="24" name="Google Shape;778;p17">
              <a:extLst>
                <a:ext uri="{FF2B5EF4-FFF2-40B4-BE49-F238E27FC236}">
                  <a16:creationId xmlns:a16="http://schemas.microsoft.com/office/drawing/2014/main" id="{D07F80D0-249B-7F0A-CEF2-34681804FFF0}"/>
                </a:ext>
              </a:extLst>
            </p:cNvPr>
            <p:cNvCxnSpPr>
              <a:cxnSpLocks/>
            </p:cNvCxnSpPr>
            <p:nvPr/>
          </p:nvCxnSpPr>
          <p:spPr>
            <a:xfrm>
              <a:off x="4325919" y="3428316"/>
              <a:ext cx="0" cy="183600"/>
            </a:xfrm>
            <a:prstGeom prst="straightConnector1">
              <a:avLst/>
            </a:prstGeom>
            <a:noFill/>
            <a:ln w="38100" cap="flat" cmpd="sng">
              <a:solidFill>
                <a:schemeClr val="tx2"/>
              </a:solidFill>
              <a:prstDash val="solid"/>
              <a:round/>
              <a:headEnd type="none" w="sm" len="sm"/>
              <a:tailEnd type="stealth" w="med" len="med"/>
            </a:ln>
          </p:spPr>
        </p:cxnSp>
        <p:cxnSp>
          <p:nvCxnSpPr>
            <p:cNvPr id="71" name="Google Shape;779;p17">
              <a:extLst>
                <a:ext uri="{FF2B5EF4-FFF2-40B4-BE49-F238E27FC236}">
                  <a16:creationId xmlns:a16="http://schemas.microsoft.com/office/drawing/2014/main" id="{7907827F-72FD-2752-1EF8-A3057322C1A3}"/>
                </a:ext>
              </a:extLst>
            </p:cNvPr>
            <p:cNvCxnSpPr>
              <a:cxnSpLocks/>
            </p:cNvCxnSpPr>
            <p:nvPr/>
          </p:nvCxnSpPr>
          <p:spPr>
            <a:xfrm>
              <a:off x="4673812" y="3428316"/>
              <a:ext cx="0" cy="183600"/>
            </a:xfrm>
            <a:prstGeom prst="straightConnector1">
              <a:avLst/>
            </a:prstGeom>
            <a:noFill/>
            <a:ln w="38100" cap="flat" cmpd="sng">
              <a:solidFill>
                <a:schemeClr val="tx2"/>
              </a:solidFill>
              <a:prstDash val="solid"/>
              <a:round/>
              <a:headEnd type="none" w="sm" len="sm"/>
              <a:tailEnd type="stealth" w="med" len="med"/>
            </a:ln>
          </p:spPr>
        </p:cxnSp>
        <p:cxnSp>
          <p:nvCxnSpPr>
            <p:cNvPr id="72" name="Google Shape;780;p17">
              <a:extLst>
                <a:ext uri="{FF2B5EF4-FFF2-40B4-BE49-F238E27FC236}">
                  <a16:creationId xmlns:a16="http://schemas.microsoft.com/office/drawing/2014/main" id="{28376092-CED7-58B8-B420-F9B6EDBF09F3}"/>
                </a:ext>
              </a:extLst>
            </p:cNvPr>
            <p:cNvCxnSpPr>
              <a:cxnSpLocks/>
            </p:cNvCxnSpPr>
            <p:nvPr/>
          </p:nvCxnSpPr>
          <p:spPr>
            <a:xfrm>
              <a:off x="5026439" y="3428316"/>
              <a:ext cx="0" cy="183600"/>
            </a:xfrm>
            <a:prstGeom prst="straightConnector1">
              <a:avLst/>
            </a:prstGeom>
            <a:noFill/>
            <a:ln w="38100" cap="flat" cmpd="sng">
              <a:solidFill>
                <a:schemeClr val="tx2"/>
              </a:solidFill>
              <a:prstDash val="solid"/>
              <a:round/>
              <a:headEnd type="none" w="sm" len="sm"/>
              <a:tailEnd type="stealth" w="med" len="med"/>
            </a:ln>
          </p:spPr>
        </p:cxnSp>
        <p:cxnSp>
          <p:nvCxnSpPr>
            <p:cNvPr id="73" name="Google Shape;781;p17">
              <a:extLst>
                <a:ext uri="{FF2B5EF4-FFF2-40B4-BE49-F238E27FC236}">
                  <a16:creationId xmlns:a16="http://schemas.microsoft.com/office/drawing/2014/main" id="{E95B73FD-F11D-B2CB-DA2B-A94CBEBE4672}"/>
                </a:ext>
              </a:extLst>
            </p:cNvPr>
            <p:cNvCxnSpPr>
              <a:cxnSpLocks/>
            </p:cNvCxnSpPr>
            <p:nvPr/>
          </p:nvCxnSpPr>
          <p:spPr>
            <a:xfrm>
              <a:off x="5378626" y="3428316"/>
              <a:ext cx="0" cy="183600"/>
            </a:xfrm>
            <a:prstGeom prst="straightConnector1">
              <a:avLst/>
            </a:prstGeom>
            <a:noFill/>
            <a:ln w="38100" cap="flat" cmpd="sng">
              <a:solidFill>
                <a:schemeClr val="tx2"/>
              </a:solidFill>
              <a:prstDash val="solid"/>
              <a:round/>
              <a:headEnd type="none" w="sm" len="sm"/>
              <a:tailEnd type="stealth" w="med" len="med"/>
            </a:ln>
          </p:spPr>
        </p:cxnSp>
        <p:cxnSp>
          <p:nvCxnSpPr>
            <p:cNvPr id="74" name="Google Shape;782;p17">
              <a:extLst>
                <a:ext uri="{FF2B5EF4-FFF2-40B4-BE49-F238E27FC236}">
                  <a16:creationId xmlns:a16="http://schemas.microsoft.com/office/drawing/2014/main" id="{341373AF-1B66-C3C4-30C9-572377A22F98}"/>
                </a:ext>
              </a:extLst>
            </p:cNvPr>
            <p:cNvCxnSpPr>
              <a:cxnSpLocks/>
            </p:cNvCxnSpPr>
            <p:nvPr/>
          </p:nvCxnSpPr>
          <p:spPr>
            <a:xfrm>
              <a:off x="5728885" y="3428316"/>
              <a:ext cx="0" cy="183600"/>
            </a:xfrm>
            <a:prstGeom prst="straightConnector1">
              <a:avLst/>
            </a:prstGeom>
            <a:noFill/>
            <a:ln w="38100" cap="flat" cmpd="sng">
              <a:solidFill>
                <a:schemeClr val="tx2"/>
              </a:solidFill>
              <a:prstDash val="solid"/>
              <a:round/>
              <a:headEnd type="none" w="sm" len="sm"/>
              <a:tailEnd type="stealth" w="med" len="med"/>
            </a:ln>
          </p:spPr>
        </p:cxnSp>
      </p:grpSp>
      <p:grpSp>
        <p:nvGrpSpPr>
          <p:cNvPr id="159" name="Group 158">
            <a:extLst>
              <a:ext uri="{FF2B5EF4-FFF2-40B4-BE49-F238E27FC236}">
                <a16:creationId xmlns:a16="http://schemas.microsoft.com/office/drawing/2014/main" id="{CADBD453-2FFC-FF00-103D-895A8796D7F6}"/>
              </a:ext>
            </a:extLst>
          </p:cNvPr>
          <p:cNvGrpSpPr/>
          <p:nvPr/>
        </p:nvGrpSpPr>
        <p:grpSpPr>
          <a:xfrm>
            <a:off x="3702748" y="5195245"/>
            <a:ext cx="7670317" cy="246315"/>
            <a:chOff x="2778024" y="3984779"/>
            <a:chExt cx="5754735" cy="184800"/>
          </a:xfrm>
        </p:grpSpPr>
        <p:cxnSp>
          <p:nvCxnSpPr>
            <p:cNvPr id="75" name="Google Shape;783;p17">
              <a:extLst>
                <a:ext uri="{FF2B5EF4-FFF2-40B4-BE49-F238E27FC236}">
                  <a16:creationId xmlns:a16="http://schemas.microsoft.com/office/drawing/2014/main" id="{9B9DEC17-5A87-02A9-B514-F0BA71FB0F3F}"/>
                </a:ext>
              </a:extLst>
            </p:cNvPr>
            <p:cNvCxnSpPr>
              <a:cxnSpLocks/>
            </p:cNvCxnSpPr>
            <p:nvPr/>
          </p:nvCxnSpPr>
          <p:spPr>
            <a:xfrm rot="10800000">
              <a:off x="8532759" y="3984779"/>
              <a:ext cx="0" cy="184800"/>
            </a:xfrm>
            <a:prstGeom prst="straightConnector1">
              <a:avLst/>
            </a:prstGeom>
            <a:noFill/>
            <a:ln w="38100" cap="flat" cmpd="sng">
              <a:solidFill>
                <a:schemeClr val="tx1"/>
              </a:solidFill>
              <a:prstDash val="solid"/>
              <a:round/>
              <a:headEnd type="none" w="sm" len="sm"/>
              <a:tailEnd type="stealth" w="med" len="med"/>
            </a:ln>
          </p:spPr>
        </p:cxnSp>
        <p:cxnSp>
          <p:nvCxnSpPr>
            <p:cNvPr id="76" name="Google Shape;784;p17">
              <a:extLst>
                <a:ext uri="{FF2B5EF4-FFF2-40B4-BE49-F238E27FC236}">
                  <a16:creationId xmlns:a16="http://schemas.microsoft.com/office/drawing/2014/main" id="{9B316FED-0912-7A12-679E-10B287B5B5F2}"/>
                </a:ext>
              </a:extLst>
            </p:cNvPr>
            <p:cNvCxnSpPr>
              <a:cxnSpLocks/>
            </p:cNvCxnSpPr>
            <p:nvPr/>
          </p:nvCxnSpPr>
          <p:spPr>
            <a:xfrm rot="10800000">
              <a:off x="2778024" y="3984779"/>
              <a:ext cx="0" cy="184800"/>
            </a:xfrm>
            <a:prstGeom prst="straightConnector1">
              <a:avLst/>
            </a:prstGeom>
            <a:noFill/>
            <a:ln w="38100" cap="flat" cmpd="sng">
              <a:solidFill>
                <a:schemeClr val="tx1"/>
              </a:solidFill>
              <a:prstDash val="solid"/>
              <a:round/>
              <a:headEnd type="none" w="sm" len="sm"/>
              <a:tailEnd type="stealth" w="med" len="med"/>
            </a:ln>
          </p:spPr>
        </p:cxnSp>
        <p:cxnSp>
          <p:nvCxnSpPr>
            <p:cNvPr id="78" name="Google Shape;786;p17">
              <a:extLst>
                <a:ext uri="{FF2B5EF4-FFF2-40B4-BE49-F238E27FC236}">
                  <a16:creationId xmlns:a16="http://schemas.microsoft.com/office/drawing/2014/main" id="{BB7EE201-305E-77ED-92DD-6BB50A5D6211}"/>
                </a:ext>
              </a:extLst>
            </p:cNvPr>
            <p:cNvCxnSpPr>
              <a:cxnSpLocks/>
            </p:cNvCxnSpPr>
            <p:nvPr/>
          </p:nvCxnSpPr>
          <p:spPr>
            <a:xfrm rot="10800000">
              <a:off x="4469319" y="3984779"/>
              <a:ext cx="0" cy="184800"/>
            </a:xfrm>
            <a:prstGeom prst="straightConnector1">
              <a:avLst/>
            </a:prstGeom>
            <a:noFill/>
            <a:ln w="38100" cap="flat" cmpd="sng">
              <a:solidFill>
                <a:schemeClr val="tx1"/>
              </a:solidFill>
              <a:prstDash val="solid"/>
              <a:round/>
              <a:headEnd type="none" w="sm" len="sm"/>
              <a:tailEnd type="stealth" w="med" len="med"/>
            </a:ln>
          </p:spPr>
        </p:cxnSp>
        <p:cxnSp>
          <p:nvCxnSpPr>
            <p:cNvPr id="80" name="Google Shape;788;p17">
              <a:extLst>
                <a:ext uri="{FF2B5EF4-FFF2-40B4-BE49-F238E27FC236}">
                  <a16:creationId xmlns:a16="http://schemas.microsoft.com/office/drawing/2014/main" id="{B806DEC4-1348-7369-4B56-615DF957366D}"/>
                </a:ext>
              </a:extLst>
            </p:cNvPr>
            <p:cNvCxnSpPr>
              <a:cxnSpLocks/>
            </p:cNvCxnSpPr>
            <p:nvPr/>
          </p:nvCxnSpPr>
          <p:spPr>
            <a:xfrm rot="10800000">
              <a:off x="5874085" y="3984779"/>
              <a:ext cx="0" cy="184800"/>
            </a:xfrm>
            <a:prstGeom prst="straightConnector1">
              <a:avLst/>
            </a:prstGeom>
            <a:noFill/>
            <a:ln w="38100" cap="flat" cmpd="sng">
              <a:solidFill>
                <a:schemeClr val="tx1"/>
              </a:solidFill>
              <a:prstDash val="solid"/>
              <a:round/>
              <a:headEnd type="none" w="sm" len="sm"/>
              <a:tailEnd type="stealth" w="med" len="med"/>
            </a:ln>
          </p:spPr>
        </p:cxnSp>
        <p:cxnSp>
          <p:nvCxnSpPr>
            <p:cNvPr id="86" name="Google Shape;794;p17">
              <a:extLst>
                <a:ext uri="{FF2B5EF4-FFF2-40B4-BE49-F238E27FC236}">
                  <a16:creationId xmlns:a16="http://schemas.microsoft.com/office/drawing/2014/main" id="{FBAD54D5-05D0-5F8E-A47F-9BDB3780A5DA}"/>
                </a:ext>
              </a:extLst>
            </p:cNvPr>
            <p:cNvCxnSpPr>
              <a:cxnSpLocks/>
            </p:cNvCxnSpPr>
            <p:nvPr/>
          </p:nvCxnSpPr>
          <p:spPr>
            <a:xfrm rot="10800000">
              <a:off x="7958418" y="3984779"/>
              <a:ext cx="0" cy="184800"/>
            </a:xfrm>
            <a:prstGeom prst="straightConnector1">
              <a:avLst/>
            </a:prstGeom>
            <a:noFill/>
            <a:ln w="38100" cap="flat" cmpd="sng">
              <a:solidFill>
                <a:schemeClr val="tx1"/>
              </a:solidFill>
              <a:prstDash val="solid"/>
              <a:round/>
              <a:headEnd type="none" w="sm" len="sm"/>
              <a:tailEnd type="stealth" w="med" len="med"/>
            </a:ln>
          </p:spPr>
        </p:cxnSp>
      </p:grpSp>
      <p:graphicFrame>
        <p:nvGraphicFramePr>
          <p:cNvPr id="87" name="Google Shape;795;p17" hidden="1">
            <a:extLst>
              <a:ext uri="{FF2B5EF4-FFF2-40B4-BE49-F238E27FC236}">
                <a16:creationId xmlns:a16="http://schemas.microsoft.com/office/drawing/2014/main" id="{B333FC7A-EB8D-D47E-4078-BA92EB8DD61A}"/>
              </a:ext>
            </a:extLst>
          </p:cNvPr>
          <p:cNvGraphicFramePr/>
          <p:nvPr/>
        </p:nvGraphicFramePr>
        <p:xfrm>
          <a:off x="3608831" y="2884780"/>
          <a:ext cx="8056117" cy="414416"/>
        </p:xfrm>
        <a:graphic>
          <a:graphicData uri="http://schemas.openxmlformats.org/drawingml/2006/table">
            <a:tbl>
              <a:tblPr>
                <a:noFill/>
              </a:tblPr>
              <a:tblGrid>
                <a:gridCol w="687477">
                  <a:extLst>
                    <a:ext uri="{9D8B030D-6E8A-4147-A177-3AD203B41FA5}">
                      <a16:colId xmlns:a16="http://schemas.microsoft.com/office/drawing/2014/main" val="20000"/>
                    </a:ext>
                  </a:extLst>
                </a:gridCol>
                <a:gridCol w="686787">
                  <a:extLst>
                    <a:ext uri="{9D8B030D-6E8A-4147-A177-3AD203B41FA5}">
                      <a16:colId xmlns:a16="http://schemas.microsoft.com/office/drawing/2014/main" val="20001"/>
                    </a:ext>
                  </a:extLst>
                </a:gridCol>
                <a:gridCol w="688563">
                  <a:extLst>
                    <a:ext uri="{9D8B030D-6E8A-4147-A177-3AD203B41FA5}">
                      <a16:colId xmlns:a16="http://schemas.microsoft.com/office/drawing/2014/main" val="20004"/>
                    </a:ext>
                  </a:extLst>
                </a:gridCol>
                <a:gridCol w="688563">
                  <a:extLst>
                    <a:ext uri="{9D8B030D-6E8A-4147-A177-3AD203B41FA5}">
                      <a16:colId xmlns:a16="http://schemas.microsoft.com/office/drawing/2014/main" val="20005"/>
                    </a:ext>
                  </a:extLst>
                </a:gridCol>
                <a:gridCol w="688563">
                  <a:extLst>
                    <a:ext uri="{9D8B030D-6E8A-4147-A177-3AD203B41FA5}">
                      <a16:colId xmlns:a16="http://schemas.microsoft.com/office/drawing/2014/main" val="20006"/>
                    </a:ext>
                  </a:extLst>
                </a:gridCol>
                <a:gridCol w="688563">
                  <a:extLst>
                    <a:ext uri="{9D8B030D-6E8A-4147-A177-3AD203B41FA5}">
                      <a16:colId xmlns:a16="http://schemas.microsoft.com/office/drawing/2014/main" val="20007"/>
                    </a:ext>
                  </a:extLst>
                </a:gridCol>
                <a:gridCol w="688563">
                  <a:extLst>
                    <a:ext uri="{9D8B030D-6E8A-4147-A177-3AD203B41FA5}">
                      <a16:colId xmlns:a16="http://schemas.microsoft.com/office/drawing/2014/main" val="20008"/>
                    </a:ext>
                  </a:extLst>
                </a:gridCol>
                <a:gridCol w="688563">
                  <a:extLst>
                    <a:ext uri="{9D8B030D-6E8A-4147-A177-3AD203B41FA5}">
                      <a16:colId xmlns:a16="http://schemas.microsoft.com/office/drawing/2014/main" val="20009"/>
                    </a:ext>
                  </a:extLst>
                </a:gridCol>
                <a:gridCol w="720531">
                  <a:extLst>
                    <a:ext uri="{9D8B030D-6E8A-4147-A177-3AD203B41FA5}">
                      <a16:colId xmlns:a16="http://schemas.microsoft.com/office/drawing/2014/main" val="20010"/>
                    </a:ext>
                  </a:extLst>
                </a:gridCol>
                <a:gridCol w="1829948">
                  <a:extLst>
                    <a:ext uri="{9D8B030D-6E8A-4147-A177-3AD203B41FA5}">
                      <a16:colId xmlns:a16="http://schemas.microsoft.com/office/drawing/2014/main" val="20011"/>
                    </a:ext>
                  </a:extLst>
                </a:gridCol>
              </a:tblGrid>
              <a:tr h="414544">
                <a:tc>
                  <a:txBody>
                    <a:bodyPr/>
                    <a:lstStyle/>
                    <a:p>
                      <a:pPr marL="0" marR="0" lvl="0" indent="0" algn="ctr" rtl="0">
                        <a:lnSpc>
                          <a:spcPct val="100000"/>
                        </a:lnSpc>
                        <a:spcBef>
                          <a:spcPts val="0"/>
                        </a:spcBef>
                        <a:spcAft>
                          <a:spcPts val="0"/>
                        </a:spcAft>
                        <a:buClr>
                          <a:srgbClr val="000000"/>
                        </a:buClr>
                        <a:buSzPts val="800"/>
                        <a:buFont typeface="Arial"/>
                        <a:buNone/>
                      </a:pPr>
                      <a:r>
                        <a:rPr lang="en-GB" sz="1100" b="0" u="none" strike="noStrike" cap="none" dirty="0">
                          <a:solidFill>
                            <a:srgbClr val="000000"/>
                          </a:solidFill>
                          <a:latin typeface="+mn-lt"/>
                          <a:ea typeface="Arial"/>
                          <a:cs typeface="Arial"/>
                          <a:sym typeface="Arial"/>
                        </a:rPr>
                        <a:t>Screen </a:t>
                      </a:r>
                      <a:endParaRPr sz="1100" u="none" strike="noStrike" cap="none" dirty="0">
                        <a:latin typeface="+mn-lt"/>
                        <a:ea typeface="Arial"/>
                        <a:cs typeface="Arial"/>
                        <a:sym typeface="Arial"/>
                      </a:endParaRPr>
                    </a:p>
                  </a:txBody>
                  <a:tcPr marL="24392" marR="24392" marT="24392" marB="24392" anchor="ctr">
                    <a:lnL w="12700" cap="flat" cmpd="sng">
                      <a:solidFill>
                        <a:srgbClr val="BFBFBF"/>
                      </a:solidFill>
                      <a:prstDash val="solid"/>
                      <a:round/>
                      <a:headEnd type="none" w="sm" len="sm"/>
                      <a:tailEnd type="none" w="sm" len="sm"/>
                    </a:lnL>
                    <a:lnR w="12700" cap="flat" cmpd="sng">
                      <a:solidFill>
                        <a:srgbClr val="BFBFBF"/>
                      </a:solidFill>
                      <a:prstDash val="solid"/>
                      <a:round/>
                      <a:headEnd type="none" w="sm" len="sm"/>
                      <a:tailEnd type="none" w="sm" len="sm"/>
                    </a:lnR>
                    <a:lnT w="12700" cap="flat" cmpd="sng">
                      <a:solidFill>
                        <a:srgbClr val="BFBFBF"/>
                      </a:solidFill>
                      <a:prstDash val="solid"/>
                      <a:round/>
                      <a:headEnd type="none" w="sm" len="sm"/>
                      <a:tailEnd type="none" w="sm" len="sm"/>
                    </a:lnT>
                    <a:lnB w="12700" cap="flat" cmpd="sng">
                      <a:solidFill>
                        <a:srgbClr val="BFBFBF"/>
                      </a:solidFill>
                      <a:prstDash val="solid"/>
                      <a:round/>
                      <a:headEnd type="none" w="sm" len="sm"/>
                      <a:tailEnd type="none" w="sm" len="sm"/>
                    </a:lnB>
                    <a:solidFill>
                      <a:srgbClr val="FFFFFF"/>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GB" sz="1100" b="0" u="none" strike="noStrike" cap="none" dirty="0">
                          <a:solidFill>
                            <a:srgbClr val="000000"/>
                          </a:solidFill>
                          <a:latin typeface="+mn-lt"/>
                          <a:ea typeface="Arial"/>
                          <a:cs typeface="Arial"/>
                          <a:sym typeface="Arial"/>
                        </a:rPr>
                        <a:t>C1 </a:t>
                      </a:r>
                      <a:br>
                        <a:rPr lang="en-GB" sz="1100" b="0" u="none" strike="noStrike" cap="none" dirty="0">
                          <a:solidFill>
                            <a:srgbClr val="000000"/>
                          </a:solidFill>
                          <a:latin typeface="+mn-lt"/>
                          <a:ea typeface="Arial"/>
                          <a:cs typeface="Arial"/>
                          <a:sym typeface="Arial"/>
                        </a:rPr>
                      </a:br>
                      <a:r>
                        <a:rPr lang="en-GB" sz="1100" b="0" u="none" strike="noStrike" cap="none" dirty="0">
                          <a:solidFill>
                            <a:srgbClr val="000000"/>
                          </a:solidFill>
                          <a:latin typeface="+mn-lt"/>
                          <a:ea typeface="Arial"/>
                          <a:cs typeface="Arial"/>
                          <a:sym typeface="Arial"/>
                        </a:rPr>
                        <a:t>D1 </a:t>
                      </a:r>
                      <a:r>
                        <a:rPr lang="en-GB" sz="1100" b="0" u="none" strike="noStrike" cap="none" dirty="0">
                          <a:solidFill>
                            <a:srgbClr val="000000"/>
                          </a:solidFill>
                          <a:latin typeface="+mn-lt"/>
                          <a:cs typeface="Arial"/>
                          <a:sym typeface="Arial"/>
                        </a:rPr>
                        <a:t>D8 D15</a:t>
                      </a:r>
                      <a:endParaRPr sz="1100" u="none" strike="noStrike" cap="none" dirty="0">
                        <a:latin typeface="+mn-lt"/>
                        <a:cs typeface="Arial"/>
                        <a:sym typeface="Arial"/>
                      </a:endParaRPr>
                    </a:p>
                  </a:txBody>
                  <a:tcPr marL="0" marR="0" marT="0" marB="0" anchor="ctr">
                    <a:lnL w="12700" cap="flat" cmpd="sng">
                      <a:solidFill>
                        <a:srgbClr val="BFBFBF"/>
                      </a:solidFill>
                      <a:prstDash val="solid"/>
                      <a:round/>
                      <a:headEnd type="none" w="sm" len="sm"/>
                      <a:tailEnd type="none" w="sm" len="sm"/>
                    </a:lnL>
                    <a:lnR w="12700" cap="flat" cmpd="sng">
                      <a:solidFill>
                        <a:srgbClr val="BFBFBF"/>
                      </a:solidFill>
                      <a:prstDash val="solid"/>
                      <a:round/>
                      <a:headEnd type="none" w="sm" len="sm"/>
                      <a:tailEnd type="none" w="sm" len="sm"/>
                    </a:lnR>
                    <a:lnT w="12700" cap="flat" cmpd="sng">
                      <a:solidFill>
                        <a:srgbClr val="BFBFBF"/>
                      </a:solidFill>
                      <a:prstDash val="solid"/>
                      <a:round/>
                      <a:headEnd type="none" w="sm" len="sm"/>
                      <a:tailEnd type="none" w="sm" len="sm"/>
                    </a:lnT>
                    <a:lnB w="12700" cap="flat" cmpd="sng">
                      <a:solidFill>
                        <a:srgbClr val="BFBFBF"/>
                      </a:solidFill>
                      <a:prstDash val="solid"/>
                      <a:round/>
                      <a:headEnd type="none" w="sm" len="sm"/>
                      <a:tailEnd type="none" w="sm" len="sm"/>
                    </a:lnB>
                    <a:solidFill>
                      <a:srgbClr val="FFFFFF"/>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GB" sz="1100" b="0" u="none" strike="noStrike" cap="none" dirty="0">
                          <a:solidFill>
                            <a:srgbClr val="000000"/>
                          </a:solidFill>
                          <a:latin typeface="+mn-lt"/>
                          <a:ea typeface="Arial"/>
                          <a:cs typeface="Arial"/>
                          <a:sym typeface="Arial"/>
                        </a:rPr>
                        <a:t>C2</a:t>
                      </a:r>
                      <a:endParaRPr sz="1100" u="none" strike="noStrike" cap="none" dirty="0">
                        <a:latin typeface="+mn-lt"/>
                        <a:ea typeface="Arial"/>
                        <a:cs typeface="Arial"/>
                        <a:sym typeface="Arial"/>
                      </a:endParaRPr>
                    </a:p>
                  </a:txBody>
                  <a:tcPr marL="24392" marR="24392" marT="24392" marB="24392" anchor="ctr">
                    <a:lnL w="12700" cap="flat" cmpd="sng" algn="ctr">
                      <a:solidFill>
                        <a:srgbClr val="BFBFBF"/>
                      </a:solidFill>
                      <a:prstDash val="solid"/>
                      <a:round/>
                      <a:headEnd type="none" w="sm" len="sm"/>
                      <a:tailEnd type="none" w="sm" len="sm"/>
                    </a:lnL>
                    <a:lnR w="12700" cap="flat" cmpd="sng">
                      <a:solidFill>
                        <a:srgbClr val="BFBFBF"/>
                      </a:solidFill>
                      <a:prstDash val="solid"/>
                      <a:round/>
                      <a:headEnd type="none" w="sm" len="sm"/>
                      <a:tailEnd type="none" w="sm" len="sm"/>
                    </a:lnR>
                    <a:lnT w="12700" cap="flat" cmpd="sng">
                      <a:solidFill>
                        <a:srgbClr val="BFBFBF"/>
                      </a:solidFill>
                      <a:prstDash val="solid"/>
                      <a:round/>
                      <a:headEnd type="none" w="sm" len="sm"/>
                      <a:tailEnd type="none" w="sm" len="sm"/>
                    </a:lnT>
                    <a:lnB w="12700" cap="flat" cmpd="sng">
                      <a:solidFill>
                        <a:srgbClr val="BFBFBF"/>
                      </a:solidFill>
                      <a:prstDash val="solid"/>
                      <a:round/>
                      <a:headEnd type="none" w="sm" len="sm"/>
                      <a:tailEnd type="none" w="sm" len="sm"/>
                    </a:lnB>
                    <a:solidFill>
                      <a:srgbClr val="FFFFFF"/>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GB" sz="1100" b="0" u="none" strike="noStrike" cap="none" dirty="0">
                          <a:solidFill>
                            <a:srgbClr val="000000"/>
                          </a:solidFill>
                          <a:latin typeface="+mn-lt"/>
                          <a:ea typeface="Arial"/>
                          <a:cs typeface="Arial"/>
                          <a:sym typeface="Arial"/>
                        </a:rPr>
                        <a:t>C3</a:t>
                      </a:r>
                      <a:endParaRPr sz="1100" u="none" strike="noStrike" cap="none" dirty="0">
                        <a:latin typeface="+mn-lt"/>
                        <a:ea typeface="Arial"/>
                        <a:cs typeface="Arial"/>
                        <a:sym typeface="Arial"/>
                      </a:endParaRPr>
                    </a:p>
                  </a:txBody>
                  <a:tcPr marL="24392" marR="24392" marT="24392" marB="24392" anchor="ctr">
                    <a:lnL w="12700" cap="flat" cmpd="sng">
                      <a:solidFill>
                        <a:srgbClr val="BFBFBF"/>
                      </a:solidFill>
                      <a:prstDash val="solid"/>
                      <a:round/>
                      <a:headEnd type="none" w="sm" len="sm"/>
                      <a:tailEnd type="none" w="sm" len="sm"/>
                    </a:lnL>
                    <a:lnR w="12700" cap="flat" cmpd="sng">
                      <a:solidFill>
                        <a:srgbClr val="BFBFBF"/>
                      </a:solidFill>
                      <a:prstDash val="solid"/>
                      <a:round/>
                      <a:headEnd type="none" w="sm" len="sm"/>
                      <a:tailEnd type="none" w="sm" len="sm"/>
                    </a:lnR>
                    <a:lnT w="12700" cap="flat" cmpd="sng">
                      <a:solidFill>
                        <a:srgbClr val="BFBFBF"/>
                      </a:solidFill>
                      <a:prstDash val="solid"/>
                      <a:round/>
                      <a:headEnd type="none" w="sm" len="sm"/>
                      <a:tailEnd type="none" w="sm" len="sm"/>
                    </a:lnT>
                    <a:lnB w="12700" cap="flat" cmpd="sng">
                      <a:solidFill>
                        <a:srgbClr val="BFBFBF"/>
                      </a:solidFill>
                      <a:prstDash val="solid"/>
                      <a:round/>
                      <a:headEnd type="none" w="sm" len="sm"/>
                      <a:tailEnd type="none" w="sm" len="sm"/>
                    </a:lnB>
                    <a:solidFill>
                      <a:srgbClr val="FFFFFF"/>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GB" sz="1100" b="0" u="none" strike="noStrike" cap="none" dirty="0">
                          <a:solidFill>
                            <a:srgbClr val="000000"/>
                          </a:solidFill>
                          <a:latin typeface="+mn-lt"/>
                          <a:ea typeface="Arial"/>
                          <a:cs typeface="Arial"/>
                          <a:sym typeface="Arial"/>
                        </a:rPr>
                        <a:t>C4</a:t>
                      </a:r>
                      <a:endParaRPr sz="1100" u="none" strike="noStrike" cap="none" dirty="0">
                        <a:latin typeface="+mn-lt"/>
                        <a:ea typeface="Arial"/>
                        <a:cs typeface="Arial"/>
                        <a:sym typeface="Arial"/>
                      </a:endParaRPr>
                    </a:p>
                  </a:txBody>
                  <a:tcPr marL="24392" marR="24392" marT="24392" marB="24392" anchor="ctr">
                    <a:lnL w="12700" cap="flat" cmpd="sng">
                      <a:solidFill>
                        <a:srgbClr val="BFBFBF"/>
                      </a:solidFill>
                      <a:prstDash val="solid"/>
                      <a:round/>
                      <a:headEnd type="none" w="sm" len="sm"/>
                      <a:tailEnd type="none" w="sm" len="sm"/>
                    </a:lnL>
                    <a:lnR w="12700" cap="flat" cmpd="sng">
                      <a:solidFill>
                        <a:srgbClr val="BFBFBF"/>
                      </a:solidFill>
                      <a:prstDash val="solid"/>
                      <a:round/>
                      <a:headEnd type="none" w="sm" len="sm"/>
                      <a:tailEnd type="none" w="sm" len="sm"/>
                    </a:lnR>
                    <a:lnT w="12700" cap="flat" cmpd="sng">
                      <a:solidFill>
                        <a:srgbClr val="BFBFBF"/>
                      </a:solidFill>
                      <a:prstDash val="solid"/>
                      <a:round/>
                      <a:headEnd type="none" w="sm" len="sm"/>
                      <a:tailEnd type="none" w="sm" len="sm"/>
                    </a:lnT>
                    <a:lnB w="12700" cap="flat" cmpd="sng">
                      <a:solidFill>
                        <a:srgbClr val="BFBFBF"/>
                      </a:solidFill>
                      <a:prstDash val="solid"/>
                      <a:round/>
                      <a:headEnd type="none" w="sm" len="sm"/>
                      <a:tailEnd type="none" w="sm" len="sm"/>
                    </a:lnB>
                    <a:solidFill>
                      <a:srgbClr val="FFFFFF"/>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GB" sz="1100" b="0" u="none" strike="noStrike" cap="none" dirty="0">
                          <a:solidFill>
                            <a:srgbClr val="000000"/>
                          </a:solidFill>
                          <a:latin typeface="+mn-lt"/>
                          <a:ea typeface="Arial"/>
                          <a:cs typeface="Arial"/>
                          <a:sym typeface="Arial"/>
                        </a:rPr>
                        <a:t>C5</a:t>
                      </a:r>
                      <a:endParaRPr sz="1100" u="none" strike="noStrike" cap="none" dirty="0">
                        <a:latin typeface="+mn-lt"/>
                        <a:ea typeface="Arial"/>
                        <a:cs typeface="Arial"/>
                        <a:sym typeface="Arial"/>
                      </a:endParaRPr>
                    </a:p>
                  </a:txBody>
                  <a:tcPr marL="24392" marR="24392" marT="24392" marB="24392" anchor="ctr">
                    <a:lnL w="12700" cap="flat" cmpd="sng">
                      <a:solidFill>
                        <a:srgbClr val="BFBFBF"/>
                      </a:solidFill>
                      <a:prstDash val="solid"/>
                      <a:round/>
                      <a:headEnd type="none" w="sm" len="sm"/>
                      <a:tailEnd type="none" w="sm" len="sm"/>
                    </a:lnL>
                    <a:lnR w="12700" cap="flat" cmpd="sng">
                      <a:solidFill>
                        <a:srgbClr val="BFBFBF"/>
                      </a:solidFill>
                      <a:prstDash val="solid"/>
                      <a:round/>
                      <a:headEnd type="none" w="sm" len="sm"/>
                      <a:tailEnd type="none" w="sm" len="sm"/>
                    </a:lnR>
                    <a:lnT w="12700" cap="flat" cmpd="sng">
                      <a:solidFill>
                        <a:srgbClr val="BFBFBF"/>
                      </a:solidFill>
                      <a:prstDash val="solid"/>
                      <a:round/>
                      <a:headEnd type="none" w="sm" len="sm"/>
                      <a:tailEnd type="none" w="sm" len="sm"/>
                    </a:lnT>
                    <a:lnB w="12700" cap="flat" cmpd="sng">
                      <a:solidFill>
                        <a:srgbClr val="BFBFBF"/>
                      </a:solidFill>
                      <a:prstDash val="solid"/>
                      <a:round/>
                      <a:headEnd type="none" w="sm" len="sm"/>
                      <a:tailEnd type="none" w="sm" len="sm"/>
                    </a:lnB>
                    <a:solidFill>
                      <a:srgbClr val="FFFFFF"/>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GB" sz="1100" b="0" u="none" strike="noStrike" cap="none" dirty="0">
                          <a:solidFill>
                            <a:srgbClr val="000000"/>
                          </a:solidFill>
                          <a:latin typeface="+mn-lt"/>
                          <a:ea typeface="Arial"/>
                          <a:cs typeface="Arial"/>
                          <a:sym typeface="Arial"/>
                        </a:rPr>
                        <a:t>C6</a:t>
                      </a:r>
                      <a:endParaRPr sz="1100" u="none" strike="noStrike" cap="none" dirty="0">
                        <a:latin typeface="+mn-lt"/>
                        <a:ea typeface="Arial"/>
                        <a:cs typeface="Arial"/>
                        <a:sym typeface="Arial"/>
                      </a:endParaRPr>
                    </a:p>
                  </a:txBody>
                  <a:tcPr marL="24392" marR="24392" marT="24392" marB="24392" anchor="ctr">
                    <a:lnL w="12700" cap="flat" cmpd="sng">
                      <a:solidFill>
                        <a:srgbClr val="BFBFBF"/>
                      </a:solidFill>
                      <a:prstDash val="solid"/>
                      <a:round/>
                      <a:headEnd type="none" w="sm" len="sm"/>
                      <a:tailEnd type="none" w="sm" len="sm"/>
                    </a:lnL>
                    <a:lnR w="12700" cap="flat" cmpd="sng">
                      <a:solidFill>
                        <a:srgbClr val="BFBFBF"/>
                      </a:solidFill>
                      <a:prstDash val="solid"/>
                      <a:round/>
                      <a:headEnd type="none" w="sm" len="sm"/>
                      <a:tailEnd type="none" w="sm" len="sm"/>
                    </a:lnR>
                    <a:lnT w="12700" cap="flat" cmpd="sng">
                      <a:solidFill>
                        <a:srgbClr val="BFBFBF"/>
                      </a:solidFill>
                      <a:prstDash val="solid"/>
                      <a:round/>
                      <a:headEnd type="none" w="sm" len="sm"/>
                      <a:tailEnd type="none" w="sm" len="sm"/>
                    </a:lnT>
                    <a:lnB w="12700" cap="flat" cmpd="sng">
                      <a:solidFill>
                        <a:srgbClr val="BFBFBF"/>
                      </a:solidFill>
                      <a:prstDash val="solid"/>
                      <a:round/>
                      <a:headEnd type="none" w="sm" len="sm"/>
                      <a:tailEnd type="none" w="sm" len="sm"/>
                    </a:lnB>
                    <a:solidFill>
                      <a:srgbClr val="FFFFFF"/>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GB" sz="1100" u="none" strike="noStrike" cap="none" dirty="0">
                          <a:latin typeface="+mn-lt"/>
                          <a:ea typeface="Arial"/>
                          <a:cs typeface="Arial"/>
                          <a:sym typeface="Arial"/>
                        </a:rPr>
                        <a:t>C7</a:t>
                      </a:r>
                      <a:endParaRPr sz="1100" u="none" strike="noStrike" cap="none" dirty="0">
                        <a:latin typeface="+mn-lt"/>
                        <a:ea typeface="Arial"/>
                        <a:cs typeface="Arial"/>
                        <a:sym typeface="Arial"/>
                      </a:endParaRPr>
                    </a:p>
                  </a:txBody>
                  <a:tcPr marL="24392" marR="24392" marT="24392" marB="24392" anchor="ctr">
                    <a:lnL w="12700" cap="flat" cmpd="sng">
                      <a:solidFill>
                        <a:srgbClr val="BFBFBF"/>
                      </a:solidFill>
                      <a:prstDash val="solid"/>
                      <a:round/>
                      <a:headEnd type="none" w="sm" len="sm"/>
                      <a:tailEnd type="none" w="sm" len="sm"/>
                    </a:lnL>
                    <a:lnR w="12700" cap="flat" cmpd="sng">
                      <a:solidFill>
                        <a:srgbClr val="BFBFBF"/>
                      </a:solidFill>
                      <a:prstDash val="solid"/>
                      <a:round/>
                      <a:headEnd type="none" w="sm" len="sm"/>
                      <a:tailEnd type="none" w="sm" len="sm"/>
                    </a:lnR>
                    <a:lnT w="12700" cap="flat" cmpd="sng">
                      <a:solidFill>
                        <a:srgbClr val="BFBFBF"/>
                      </a:solidFill>
                      <a:prstDash val="solid"/>
                      <a:round/>
                      <a:headEnd type="none" w="sm" len="sm"/>
                      <a:tailEnd type="none" w="sm" len="sm"/>
                    </a:lnT>
                    <a:lnB w="12700" cap="flat" cmpd="sng">
                      <a:solidFill>
                        <a:srgbClr val="BFBFBF"/>
                      </a:solidFill>
                      <a:prstDash val="solid"/>
                      <a:round/>
                      <a:headEnd type="none" w="sm" len="sm"/>
                      <a:tailEnd type="none" w="sm" len="sm"/>
                    </a:lnB>
                    <a:solidFill>
                      <a:srgbClr val="FFFFFF"/>
                    </a:solidFill>
                  </a:tcPr>
                </a:tc>
                <a:tc>
                  <a:txBody>
                    <a:bodyPr/>
                    <a:lstStyle/>
                    <a:p>
                      <a:pPr marL="0" marR="0" lvl="0" indent="0" algn="ctr" rtl="0">
                        <a:lnSpc>
                          <a:spcPct val="100000"/>
                        </a:lnSpc>
                        <a:spcBef>
                          <a:spcPts val="0"/>
                        </a:spcBef>
                        <a:spcAft>
                          <a:spcPts val="0"/>
                        </a:spcAft>
                        <a:buClr>
                          <a:srgbClr val="000000"/>
                        </a:buClr>
                        <a:buSzPts val="800"/>
                        <a:buFont typeface="Arial"/>
                        <a:buNone/>
                      </a:pPr>
                      <a:r>
                        <a:rPr lang="en-GB" sz="1100" u="none" strike="noStrike" cap="none" dirty="0">
                          <a:latin typeface="+mn-lt"/>
                          <a:ea typeface="Arial"/>
                          <a:cs typeface="Arial"/>
                          <a:sym typeface="Arial"/>
                        </a:rPr>
                        <a:t>C8</a:t>
                      </a:r>
                      <a:endParaRPr sz="1100" u="none" strike="noStrike" cap="none" dirty="0">
                        <a:latin typeface="+mn-lt"/>
                        <a:ea typeface="Arial"/>
                        <a:cs typeface="Arial"/>
                        <a:sym typeface="Arial"/>
                      </a:endParaRPr>
                    </a:p>
                  </a:txBody>
                  <a:tcPr marL="24392" marR="24392" marT="24392" marB="24392" anchor="ctr">
                    <a:lnL w="12700" cap="flat" cmpd="sng">
                      <a:solidFill>
                        <a:srgbClr val="BFBFBF"/>
                      </a:solidFill>
                      <a:prstDash val="solid"/>
                      <a:round/>
                      <a:headEnd type="none" w="sm" len="sm"/>
                      <a:tailEnd type="none" w="sm" len="sm"/>
                    </a:lnL>
                    <a:lnR w="12700" cap="flat" cmpd="sng">
                      <a:solidFill>
                        <a:srgbClr val="BFBFBF"/>
                      </a:solidFill>
                      <a:prstDash val="solid"/>
                      <a:round/>
                      <a:headEnd type="none" w="sm" len="sm"/>
                      <a:tailEnd type="none" w="sm" len="sm"/>
                    </a:lnR>
                    <a:lnT w="12700" cap="flat" cmpd="sng">
                      <a:solidFill>
                        <a:srgbClr val="BFBFBF"/>
                      </a:solidFill>
                      <a:prstDash val="solid"/>
                      <a:round/>
                      <a:headEnd type="none" w="sm" len="sm"/>
                      <a:tailEnd type="none" w="sm" len="sm"/>
                    </a:lnT>
                    <a:lnB w="12700" cap="flat" cmpd="sng">
                      <a:solidFill>
                        <a:srgbClr val="BFBFBF"/>
                      </a:solidFill>
                      <a:prstDash val="solid"/>
                      <a:round/>
                      <a:headEnd type="none" w="sm" len="sm"/>
                      <a:tailEnd type="none" w="sm" len="sm"/>
                    </a:lnB>
                    <a:solidFill>
                      <a:srgbClr val="FFFFFF"/>
                    </a:solidFill>
                  </a:tcPr>
                </a:tc>
                <a:tc>
                  <a:txBody>
                    <a:bodyPr/>
                    <a:lstStyle/>
                    <a:p>
                      <a:pPr marL="0" marR="0" lvl="0" indent="0" algn="ctr" rtl="0">
                        <a:lnSpc>
                          <a:spcPct val="100000"/>
                        </a:lnSpc>
                        <a:spcBef>
                          <a:spcPts val="0"/>
                        </a:spcBef>
                        <a:spcAft>
                          <a:spcPts val="0"/>
                        </a:spcAft>
                        <a:buClr>
                          <a:srgbClr val="000000"/>
                        </a:buClr>
                        <a:buSzPts val="900"/>
                        <a:buFont typeface="Arial"/>
                        <a:buNone/>
                      </a:pPr>
                      <a:r>
                        <a:rPr lang="en-GB" sz="1200" b="0" u="none" strike="noStrike" cap="none" dirty="0">
                          <a:solidFill>
                            <a:schemeClr val="lt1"/>
                          </a:solidFill>
                          <a:latin typeface="+mn-lt"/>
                          <a:ea typeface="Arial"/>
                          <a:cs typeface="Arial"/>
                          <a:sym typeface="Arial"/>
                        </a:rPr>
                        <a:t>Follow up after </a:t>
                      </a:r>
                      <a:br>
                        <a:rPr lang="en-GB" sz="1200" b="0" u="none" strike="noStrike" cap="none" dirty="0">
                          <a:solidFill>
                            <a:schemeClr val="lt1"/>
                          </a:solidFill>
                          <a:latin typeface="+mn-lt"/>
                          <a:ea typeface="Arial"/>
                          <a:cs typeface="Arial"/>
                          <a:sym typeface="Arial"/>
                        </a:rPr>
                      </a:br>
                      <a:r>
                        <a:rPr lang="en-GB" sz="1200" b="0" u="none" strike="noStrike" cap="none" dirty="0">
                          <a:solidFill>
                            <a:schemeClr val="lt1"/>
                          </a:solidFill>
                          <a:latin typeface="+mn-lt"/>
                          <a:ea typeface="Arial"/>
                          <a:cs typeface="Arial"/>
                          <a:sym typeface="Arial"/>
                        </a:rPr>
                        <a:t>drug completion</a:t>
                      </a:r>
                      <a:endParaRPr sz="1200" u="none" strike="noStrike" cap="none" dirty="0">
                        <a:latin typeface="+mn-lt"/>
                        <a:ea typeface="Arial"/>
                        <a:cs typeface="Arial"/>
                        <a:sym typeface="Arial"/>
                      </a:endParaRPr>
                    </a:p>
                  </a:txBody>
                  <a:tcPr marL="24392" marR="24392" marT="24392" marB="24392" anchor="ctr">
                    <a:lnL w="12700" cap="flat" cmpd="sng">
                      <a:solidFill>
                        <a:srgbClr val="BFBFBF"/>
                      </a:solidFill>
                      <a:prstDash val="solid"/>
                      <a:round/>
                      <a:headEnd type="none" w="sm" len="sm"/>
                      <a:tailEnd type="none" w="sm" len="sm"/>
                    </a:lnL>
                    <a:lnR w="12700" cap="flat" cmpd="sng">
                      <a:solidFill>
                        <a:srgbClr val="BFBFBF"/>
                      </a:solidFill>
                      <a:prstDash val="solid"/>
                      <a:round/>
                      <a:headEnd type="none" w="sm" len="sm"/>
                      <a:tailEnd type="none" w="sm" len="sm"/>
                    </a:lnR>
                    <a:lnT w="12700" cap="flat" cmpd="sng">
                      <a:solidFill>
                        <a:srgbClr val="BFBFBF"/>
                      </a:solidFill>
                      <a:prstDash val="solid"/>
                      <a:round/>
                      <a:headEnd type="none" w="sm" len="sm"/>
                      <a:tailEnd type="none" w="sm" len="sm"/>
                    </a:lnT>
                    <a:lnB w="12700" cap="flat" cmpd="sng">
                      <a:solidFill>
                        <a:srgbClr val="BFBFBF"/>
                      </a:solidFill>
                      <a:prstDash val="solid"/>
                      <a:round/>
                      <a:headEnd type="none" w="sm" len="sm"/>
                      <a:tailEnd type="none" w="sm" len="sm"/>
                    </a:lnB>
                    <a:solidFill>
                      <a:schemeClr val="accent2"/>
                    </a:solidFill>
                  </a:tcPr>
                </a:tc>
                <a:extLst>
                  <a:ext uri="{0D108BD9-81ED-4DB2-BD59-A6C34878D82A}">
                    <a16:rowId xmlns:a16="http://schemas.microsoft.com/office/drawing/2014/main" val="10000"/>
                  </a:ext>
                </a:extLst>
              </a:tr>
            </a:tbl>
          </a:graphicData>
        </a:graphic>
      </p:graphicFrame>
      <p:sp>
        <p:nvSpPr>
          <p:cNvPr id="89" name="Google Shape;797;p17">
            <a:extLst>
              <a:ext uri="{FF2B5EF4-FFF2-40B4-BE49-F238E27FC236}">
                <a16:creationId xmlns:a16="http://schemas.microsoft.com/office/drawing/2014/main" id="{7C50696A-A7C0-83A6-B3E6-F28A73F6ABE2}"/>
              </a:ext>
            </a:extLst>
          </p:cNvPr>
          <p:cNvSpPr txBox="1"/>
          <p:nvPr/>
        </p:nvSpPr>
        <p:spPr>
          <a:xfrm>
            <a:off x="3918905" y="2160230"/>
            <a:ext cx="424652" cy="287130"/>
          </a:xfrm>
          <a:prstGeom prst="rect">
            <a:avLst/>
          </a:prstGeom>
          <a:noFill/>
          <a:ln>
            <a:noFill/>
          </a:ln>
        </p:spPr>
        <p:txBody>
          <a:bodyPr spcFirstLastPara="1" wrap="square" lIns="0" tIns="0" rIns="0" bIns="0" anchor="ctr" anchorCtr="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Mosun</a:t>
            </a:r>
            <a:endParaRPr kumimoji="0" sz="2133"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 5mg</a:t>
            </a:r>
            <a:endParaRPr kumimoji="0" sz="933" b="0" i="0" u="none" strike="noStrike" kern="1200" cap="none" spc="0" normalizeH="0" baseline="0" noProof="0" dirty="0">
              <a:ln>
                <a:noFill/>
              </a:ln>
              <a:solidFill>
                <a:srgbClr val="000000"/>
              </a:solidFill>
              <a:effectLst/>
              <a:uLnTx/>
              <a:uFillTx/>
              <a:latin typeface="Arial" panose="020B0604020202020204"/>
              <a:ea typeface="Arial"/>
              <a:cs typeface="Arial"/>
              <a:sym typeface="Arial"/>
            </a:endParaRPr>
          </a:p>
        </p:txBody>
      </p:sp>
      <p:sp>
        <p:nvSpPr>
          <p:cNvPr id="91" name="Google Shape;799;p17">
            <a:extLst>
              <a:ext uri="{FF2B5EF4-FFF2-40B4-BE49-F238E27FC236}">
                <a16:creationId xmlns:a16="http://schemas.microsoft.com/office/drawing/2014/main" id="{599E573E-208E-D822-6470-6E49C747F135}"/>
              </a:ext>
            </a:extLst>
          </p:cNvPr>
          <p:cNvSpPr txBox="1"/>
          <p:nvPr/>
        </p:nvSpPr>
        <p:spPr>
          <a:xfrm>
            <a:off x="4197709" y="2162200"/>
            <a:ext cx="630387" cy="287130"/>
          </a:xfrm>
          <a:prstGeom prst="rect">
            <a:avLst/>
          </a:prstGeom>
          <a:noFill/>
          <a:ln>
            <a:noFill/>
          </a:ln>
        </p:spPr>
        <p:txBody>
          <a:bodyPr spcFirstLastPara="1" wrap="square" lIns="0" tIns="0" rIns="0" bIns="0" anchor="ctr" anchorCtr="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Mosun</a:t>
            </a:r>
            <a:endParaRPr kumimoji="0" sz="2133"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45mg</a:t>
            </a:r>
            <a:endParaRPr kumimoji="0" sz="933" b="0" i="0" u="none" strike="noStrike" kern="1200" cap="none" spc="0" normalizeH="0" baseline="0" noProof="0" dirty="0">
              <a:ln>
                <a:noFill/>
              </a:ln>
              <a:solidFill>
                <a:srgbClr val="000000"/>
              </a:solidFill>
              <a:effectLst/>
              <a:uLnTx/>
              <a:uFillTx/>
              <a:latin typeface="Arial" panose="020B0604020202020204"/>
              <a:ea typeface="Arial"/>
              <a:cs typeface="Arial"/>
              <a:sym typeface="Arial"/>
            </a:endParaRPr>
          </a:p>
        </p:txBody>
      </p:sp>
      <p:sp>
        <p:nvSpPr>
          <p:cNvPr id="92" name="Google Shape;800;p17">
            <a:extLst>
              <a:ext uri="{FF2B5EF4-FFF2-40B4-BE49-F238E27FC236}">
                <a16:creationId xmlns:a16="http://schemas.microsoft.com/office/drawing/2014/main" id="{0B7083C8-A918-661C-0062-271CAA5B1C5F}"/>
              </a:ext>
            </a:extLst>
          </p:cNvPr>
          <p:cNvSpPr txBox="1"/>
          <p:nvPr/>
        </p:nvSpPr>
        <p:spPr>
          <a:xfrm>
            <a:off x="4679211" y="2161688"/>
            <a:ext cx="424652" cy="287130"/>
          </a:xfrm>
          <a:prstGeom prst="rect">
            <a:avLst/>
          </a:prstGeom>
          <a:noFill/>
          <a:ln>
            <a:noFill/>
          </a:ln>
        </p:spPr>
        <p:txBody>
          <a:bodyPr spcFirstLastPara="1" wrap="square" lIns="0" tIns="0" rIns="0" bIns="0" anchor="ctr" anchorCtr="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Mosun</a:t>
            </a:r>
            <a:endParaRPr kumimoji="0" sz="2133"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45mg</a:t>
            </a:r>
            <a:endParaRPr kumimoji="0" sz="933" b="0" i="0" u="none" strike="noStrike" kern="1200" cap="none" spc="0" normalizeH="0" baseline="0" noProof="0" dirty="0">
              <a:ln>
                <a:noFill/>
              </a:ln>
              <a:solidFill>
                <a:srgbClr val="000000"/>
              </a:solidFill>
              <a:effectLst/>
              <a:uLnTx/>
              <a:uFillTx/>
              <a:latin typeface="Arial" panose="020B0604020202020204"/>
              <a:ea typeface="Arial"/>
              <a:cs typeface="Arial"/>
              <a:sym typeface="Arial"/>
            </a:endParaRPr>
          </a:p>
        </p:txBody>
      </p:sp>
      <p:cxnSp>
        <p:nvCxnSpPr>
          <p:cNvPr id="93" name="Google Shape;802;p17">
            <a:extLst>
              <a:ext uri="{FF2B5EF4-FFF2-40B4-BE49-F238E27FC236}">
                <a16:creationId xmlns:a16="http://schemas.microsoft.com/office/drawing/2014/main" id="{B4BAD67A-B1FC-82F8-2AC0-45B3A777039D}"/>
              </a:ext>
            </a:extLst>
          </p:cNvPr>
          <p:cNvCxnSpPr>
            <a:cxnSpLocks/>
            <a:stCxn id="94" idx="4"/>
            <a:endCxn id="9" idx="1"/>
          </p:cNvCxnSpPr>
          <p:nvPr/>
        </p:nvCxnSpPr>
        <p:spPr>
          <a:xfrm rot="16200000" flipH="1">
            <a:off x="2662461" y="3482811"/>
            <a:ext cx="923211" cy="542405"/>
          </a:xfrm>
          <a:prstGeom prst="bentConnector2">
            <a:avLst/>
          </a:prstGeom>
          <a:noFill/>
          <a:ln w="19050" cap="flat" cmpd="sng">
            <a:solidFill>
              <a:schemeClr val="dk1"/>
            </a:solidFill>
            <a:prstDash val="solid"/>
            <a:round/>
            <a:headEnd type="none" w="sm" len="sm"/>
            <a:tailEnd type="triangle" w="med" len="med"/>
          </a:ln>
        </p:spPr>
      </p:cxnSp>
      <p:sp>
        <p:nvSpPr>
          <p:cNvPr id="94" name="Google Shape;803;p17">
            <a:extLst>
              <a:ext uri="{FF2B5EF4-FFF2-40B4-BE49-F238E27FC236}">
                <a16:creationId xmlns:a16="http://schemas.microsoft.com/office/drawing/2014/main" id="{CF35FE55-1F57-AEAF-128A-959813EFCF29}"/>
              </a:ext>
            </a:extLst>
          </p:cNvPr>
          <p:cNvSpPr/>
          <p:nvPr/>
        </p:nvSpPr>
        <p:spPr>
          <a:xfrm>
            <a:off x="2636940" y="2860559"/>
            <a:ext cx="431851" cy="431851"/>
          </a:xfrm>
          <a:prstGeom prst="ellipse">
            <a:avLst/>
          </a:prstGeom>
          <a:solidFill>
            <a:srgbClr val="FFFFFF"/>
          </a:solidFill>
          <a:ln w="15875" cap="flat" cmpd="sng">
            <a:solidFill>
              <a:schemeClr val="dk1"/>
            </a:solidFill>
            <a:prstDash val="solid"/>
            <a:round/>
            <a:headEnd type="none" w="sm" len="sm"/>
            <a:tailEnd type="none" w="sm" len="sm"/>
          </a:ln>
        </p:spPr>
        <p:txBody>
          <a:bodyPr spcFirstLastPara="1" wrap="square" lIns="0" tIns="45484" rIns="0" bIns="45484" anchor="ctr" anchorCtr="0">
            <a:noAutofit/>
          </a:bodyPr>
          <a:lstStyle/>
          <a:p>
            <a:pPr marL="0" marR="0" lvl="0" indent="0" algn="ctr" defTabSz="609402" rtl="0" eaLnBrk="1" fontAlgn="auto" latinLnBrk="0" hangingPunct="1">
              <a:lnSpc>
                <a:spcPct val="100000"/>
              </a:lnSpc>
              <a:spcBef>
                <a:spcPts val="0"/>
              </a:spcBef>
              <a:spcAft>
                <a:spcPts val="0"/>
              </a:spcAft>
              <a:buClr>
                <a:srgbClr val="000000"/>
              </a:buClr>
              <a:buSzPts val="900"/>
              <a:buFontTx/>
              <a:buNone/>
              <a:tabLst/>
              <a:defRPr/>
            </a:pPr>
            <a:r>
              <a:rPr kumimoji="0" lang="en-GB" sz="1333" b="1" i="0" u="none" strike="noStrike" kern="1200" cap="none" spc="0" normalizeH="0" baseline="0" noProof="0" dirty="0">
                <a:ln>
                  <a:noFill/>
                </a:ln>
                <a:solidFill>
                  <a:srgbClr val="000000"/>
                </a:solidFill>
                <a:effectLst/>
                <a:uLnTx/>
                <a:uFillTx/>
                <a:latin typeface="Arial"/>
                <a:ea typeface="Arial"/>
                <a:cs typeface="Arial"/>
                <a:sym typeface="Arial"/>
              </a:rPr>
              <a:t>2:1</a:t>
            </a:r>
            <a:endParaRPr kumimoji="0" sz="1333" b="0" i="0" u="none" strike="noStrike" kern="1200" cap="none" spc="0" normalizeH="0" baseline="0" noProof="0" dirty="0">
              <a:ln>
                <a:noFill/>
              </a:ln>
              <a:solidFill>
                <a:srgbClr val="000000"/>
              </a:solidFill>
              <a:effectLst/>
              <a:uLnTx/>
              <a:uFillTx/>
              <a:latin typeface="Arial"/>
              <a:ea typeface="Arial"/>
              <a:cs typeface="Arial"/>
              <a:sym typeface="Arial"/>
            </a:endParaRPr>
          </a:p>
        </p:txBody>
      </p:sp>
      <p:cxnSp>
        <p:nvCxnSpPr>
          <p:cNvPr id="95" name="Google Shape;804;p17">
            <a:extLst>
              <a:ext uri="{FF2B5EF4-FFF2-40B4-BE49-F238E27FC236}">
                <a16:creationId xmlns:a16="http://schemas.microsoft.com/office/drawing/2014/main" id="{23725F21-210D-34E5-7A5B-5697902A1ADC}"/>
              </a:ext>
            </a:extLst>
          </p:cNvPr>
          <p:cNvCxnSpPr>
            <a:cxnSpLocks/>
            <a:stCxn id="94" idx="0"/>
            <a:endCxn id="8" idx="1"/>
          </p:cNvCxnSpPr>
          <p:nvPr/>
        </p:nvCxnSpPr>
        <p:spPr>
          <a:xfrm rot="5400000" flipH="1" flipV="1">
            <a:off x="2604525" y="2096834"/>
            <a:ext cx="1012064" cy="515388"/>
          </a:xfrm>
          <a:prstGeom prst="bentConnector2">
            <a:avLst/>
          </a:prstGeom>
          <a:noFill/>
          <a:ln w="19050" cap="flat" cmpd="sng">
            <a:solidFill>
              <a:schemeClr val="dk1"/>
            </a:solidFill>
            <a:prstDash val="solid"/>
            <a:round/>
            <a:headEnd type="none" w="sm" len="sm"/>
            <a:tailEnd type="triangle" w="med" len="med"/>
          </a:ln>
        </p:spPr>
      </p:cxnSp>
      <p:cxnSp>
        <p:nvCxnSpPr>
          <p:cNvPr id="106" name="Google Shape;815;p17">
            <a:extLst>
              <a:ext uri="{FF2B5EF4-FFF2-40B4-BE49-F238E27FC236}">
                <a16:creationId xmlns:a16="http://schemas.microsoft.com/office/drawing/2014/main" id="{FB7E4ED9-9B63-8A7F-1D8D-8B6953916C01}"/>
              </a:ext>
            </a:extLst>
          </p:cNvPr>
          <p:cNvCxnSpPr>
            <a:cxnSpLocks/>
            <a:endCxn id="94" idx="2"/>
          </p:cNvCxnSpPr>
          <p:nvPr/>
        </p:nvCxnSpPr>
        <p:spPr>
          <a:xfrm>
            <a:off x="2364446" y="3076484"/>
            <a:ext cx="272495" cy="0"/>
          </a:xfrm>
          <a:prstGeom prst="straightConnector1">
            <a:avLst/>
          </a:prstGeom>
          <a:noFill/>
          <a:ln w="19050" cap="flat" cmpd="sng">
            <a:solidFill>
              <a:schemeClr val="dk1"/>
            </a:solidFill>
            <a:prstDash val="solid"/>
            <a:round/>
            <a:headEnd type="none" w="sm" len="sm"/>
            <a:tailEnd type="none" w="sm" len="sm"/>
          </a:ln>
        </p:spPr>
      </p:cxnSp>
      <p:sp>
        <p:nvSpPr>
          <p:cNvPr id="77" name="Google Shape;785;p17">
            <a:extLst>
              <a:ext uri="{FF2B5EF4-FFF2-40B4-BE49-F238E27FC236}">
                <a16:creationId xmlns:a16="http://schemas.microsoft.com/office/drawing/2014/main" id="{3B07A13A-5555-46D7-272B-D39919A1F624}"/>
              </a:ext>
            </a:extLst>
          </p:cNvPr>
          <p:cNvSpPr txBox="1"/>
          <p:nvPr/>
        </p:nvSpPr>
        <p:spPr>
          <a:xfrm>
            <a:off x="3362216" y="5487365"/>
            <a:ext cx="689291" cy="184666"/>
          </a:xfrm>
          <a:prstGeom prst="rect">
            <a:avLst/>
          </a:prstGeom>
          <a:noFill/>
          <a:ln>
            <a:noFill/>
          </a:ln>
        </p:spPr>
        <p:txBody>
          <a:bodyPr spcFirstLastPara="1" wrap="none" lIns="0" tIns="0" rIns="0" bIns="0" anchor="ctr" anchorCtr="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Screening</a:t>
            </a:r>
            <a:endParaRPr kumimoji="0"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endParaRPr>
          </a:p>
        </p:txBody>
      </p:sp>
      <p:sp>
        <p:nvSpPr>
          <p:cNvPr id="79" name="Google Shape;787;p17">
            <a:extLst>
              <a:ext uri="{FF2B5EF4-FFF2-40B4-BE49-F238E27FC236}">
                <a16:creationId xmlns:a16="http://schemas.microsoft.com/office/drawing/2014/main" id="{2ACA1144-34E8-DDF2-5CDD-DB438F205398}"/>
              </a:ext>
            </a:extLst>
          </p:cNvPr>
          <p:cNvSpPr txBox="1"/>
          <p:nvPr/>
        </p:nvSpPr>
        <p:spPr>
          <a:xfrm>
            <a:off x="5743888" y="5487421"/>
            <a:ext cx="435865" cy="369332"/>
          </a:xfrm>
          <a:prstGeom prst="rect">
            <a:avLst/>
          </a:prstGeom>
          <a:noFill/>
          <a:ln>
            <a:noFill/>
          </a:ln>
        </p:spPr>
        <p:txBody>
          <a:bodyPr spcFirstLastPara="1" wrap="square" lIns="0" tIns="0" rIns="0" bIns="0" anchor="ctr" anchorCtr="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8 </a:t>
            </a:r>
            <a:b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br>
            <a: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weeks</a:t>
            </a:r>
            <a:endParaRPr kumimoji="0"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endParaRPr>
          </a:p>
        </p:txBody>
      </p:sp>
      <p:sp>
        <p:nvSpPr>
          <p:cNvPr id="81" name="Google Shape;789;p17">
            <a:extLst>
              <a:ext uri="{FF2B5EF4-FFF2-40B4-BE49-F238E27FC236}">
                <a16:creationId xmlns:a16="http://schemas.microsoft.com/office/drawing/2014/main" id="{3A085418-8C8C-9969-A489-1A8D5F9D8C2E}"/>
              </a:ext>
            </a:extLst>
          </p:cNvPr>
          <p:cNvSpPr txBox="1"/>
          <p:nvPr/>
        </p:nvSpPr>
        <p:spPr>
          <a:xfrm>
            <a:off x="7620069" y="5487420"/>
            <a:ext cx="434414" cy="369332"/>
          </a:xfrm>
          <a:prstGeom prst="rect">
            <a:avLst/>
          </a:prstGeom>
          <a:noFill/>
          <a:ln>
            <a:noFill/>
          </a:ln>
        </p:spPr>
        <p:txBody>
          <a:bodyPr spcFirstLastPara="1" wrap="none" lIns="0" tIns="0" rIns="0" bIns="0" anchor="ctr" anchorCtr="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16 </a:t>
            </a:r>
            <a:b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br>
            <a: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weeks</a:t>
            </a:r>
            <a:endParaRPr kumimoji="0"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endParaRPr>
          </a:p>
        </p:txBody>
      </p:sp>
      <p:sp>
        <p:nvSpPr>
          <p:cNvPr id="83" name="Google Shape;791;p17">
            <a:extLst>
              <a:ext uri="{FF2B5EF4-FFF2-40B4-BE49-F238E27FC236}">
                <a16:creationId xmlns:a16="http://schemas.microsoft.com/office/drawing/2014/main" id="{AA0D3E56-7ACC-1742-6ECF-4937150EC7A4}"/>
              </a:ext>
            </a:extLst>
          </p:cNvPr>
          <p:cNvSpPr txBox="1"/>
          <p:nvPr/>
        </p:nvSpPr>
        <p:spPr>
          <a:xfrm>
            <a:off x="10383272" y="5487420"/>
            <a:ext cx="503343" cy="369332"/>
          </a:xfrm>
          <a:prstGeom prst="rect">
            <a:avLst/>
          </a:prstGeom>
          <a:noFill/>
          <a:ln>
            <a:noFill/>
          </a:ln>
        </p:spPr>
        <p:txBody>
          <a:bodyPr spcFirstLastPara="1" wrap="none" lIns="0" tIns="0" rIns="0" bIns="0" anchor="ctr" anchorCtr="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9 </a:t>
            </a:r>
            <a:b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br>
            <a: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months</a:t>
            </a:r>
            <a:endParaRPr kumimoji="0"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endParaRPr>
          </a:p>
        </p:txBody>
      </p:sp>
      <p:sp>
        <p:nvSpPr>
          <p:cNvPr id="84" name="Google Shape;792;p17">
            <a:extLst>
              <a:ext uri="{FF2B5EF4-FFF2-40B4-BE49-F238E27FC236}">
                <a16:creationId xmlns:a16="http://schemas.microsoft.com/office/drawing/2014/main" id="{5E64A1BE-CCB2-9DEC-36CE-CD200BAD3748}"/>
              </a:ext>
            </a:extLst>
          </p:cNvPr>
          <p:cNvSpPr txBox="1"/>
          <p:nvPr/>
        </p:nvSpPr>
        <p:spPr>
          <a:xfrm>
            <a:off x="11124892" y="5487420"/>
            <a:ext cx="503343" cy="369332"/>
          </a:xfrm>
          <a:prstGeom prst="rect">
            <a:avLst/>
          </a:prstGeom>
          <a:noFill/>
          <a:ln>
            <a:noFill/>
          </a:ln>
        </p:spPr>
        <p:txBody>
          <a:bodyPr spcFirstLastPara="1" wrap="none" lIns="0" tIns="0" rIns="0" bIns="0" anchor="ctr" anchorCtr="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30</a:t>
            </a:r>
            <a:b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br>
            <a: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months</a:t>
            </a:r>
            <a:endParaRPr kumimoji="0"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endParaRPr>
          </a:p>
        </p:txBody>
      </p:sp>
      <p:sp>
        <p:nvSpPr>
          <p:cNvPr id="134" name="Google Shape;843;p17">
            <a:extLst>
              <a:ext uri="{FF2B5EF4-FFF2-40B4-BE49-F238E27FC236}">
                <a16:creationId xmlns:a16="http://schemas.microsoft.com/office/drawing/2014/main" id="{18B4FF79-A60B-80C6-5F2B-12C93D9D6A30}"/>
              </a:ext>
            </a:extLst>
          </p:cNvPr>
          <p:cNvSpPr txBox="1"/>
          <p:nvPr/>
        </p:nvSpPr>
        <p:spPr>
          <a:xfrm>
            <a:off x="10931938" y="5487394"/>
            <a:ext cx="171522" cy="205121"/>
          </a:xfrm>
          <a:prstGeom prst="rect">
            <a:avLst/>
          </a:prstGeom>
          <a:noFill/>
          <a:ln>
            <a:noFill/>
          </a:ln>
        </p:spPr>
        <p:txBody>
          <a:bodyPr spcFirstLastPara="1" wrap="none" lIns="0" tIns="0" rIns="0" bIns="0" anchor="ctr" anchorCtr="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333" b="1" i="0" u="none" strike="noStrike" kern="1200" cap="none" spc="0" normalizeH="0" baseline="0" noProof="0" dirty="0">
                <a:ln>
                  <a:noFill/>
                </a:ln>
                <a:solidFill>
                  <a:srgbClr val="000000"/>
                </a:solidFill>
                <a:effectLst/>
                <a:uLnTx/>
                <a:uFillTx/>
                <a:latin typeface="Arial" panose="020B0604020202020204"/>
                <a:ea typeface="+mn-ea"/>
                <a:cs typeface="+mn-cs"/>
              </a:rPr>
              <a:t>…</a:t>
            </a:r>
            <a:endParaRPr kumimoji="0" sz="1333"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158" name="Group 157">
            <a:extLst>
              <a:ext uri="{FF2B5EF4-FFF2-40B4-BE49-F238E27FC236}">
                <a16:creationId xmlns:a16="http://schemas.microsoft.com/office/drawing/2014/main" id="{AA133E46-E5F3-71E2-4740-506907C11F79}"/>
              </a:ext>
            </a:extLst>
          </p:cNvPr>
          <p:cNvGrpSpPr/>
          <p:nvPr/>
        </p:nvGrpSpPr>
        <p:grpSpPr>
          <a:xfrm>
            <a:off x="3369735" y="3468267"/>
            <a:ext cx="8265791" cy="393168"/>
            <a:chOff x="2528178" y="2670955"/>
            <a:chExt cx="6201496" cy="294978"/>
          </a:xfrm>
        </p:grpSpPr>
        <p:sp>
          <p:nvSpPr>
            <p:cNvPr id="124" name="Google Shape;833;p17">
              <a:extLst>
                <a:ext uri="{FF2B5EF4-FFF2-40B4-BE49-F238E27FC236}">
                  <a16:creationId xmlns:a16="http://schemas.microsoft.com/office/drawing/2014/main" id="{9E758B98-CE89-C001-5C06-FDEF54B2BF7C}"/>
                </a:ext>
              </a:extLst>
            </p:cNvPr>
            <p:cNvSpPr txBox="1"/>
            <p:nvPr/>
          </p:nvSpPr>
          <p:spPr>
            <a:xfrm>
              <a:off x="2528178" y="2688862"/>
              <a:ext cx="517148" cy="138547"/>
            </a:xfrm>
            <a:prstGeom prst="rect">
              <a:avLst/>
            </a:prstGeom>
            <a:noFill/>
            <a:ln>
              <a:noFill/>
            </a:ln>
          </p:spPr>
          <p:txBody>
            <a:bodyPr spcFirstLastPara="1" wrap="none" lIns="0" tIns="0" rIns="0" bIns="0" anchor="ctr" anchorCtr="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Screening</a:t>
              </a:r>
              <a:endParaRPr kumimoji="0"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endParaRPr>
            </a:p>
          </p:txBody>
        </p:sp>
        <p:sp>
          <p:nvSpPr>
            <p:cNvPr id="126" name="Google Shape;835;p17">
              <a:extLst>
                <a:ext uri="{FF2B5EF4-FFF2-40B4-BE49-F238E27FC236}">
                  <a16:creationId xmlns:a16="http://schemas.microsoft.com/office/drawing/2014/main" id="{27F83C13-CFEA-D427-A4CD-B70627F64D30}"/>
                </a:ext>
              </a:extLst>
            </p:cNvPr>
            <p:cNvSpPr txBox="1"/>
            <p:nvPr/>
          </p:nvSpPr>
          <p:spPr>
            <a:xfrm>
              <a:off x="4300594" y="2688838"/>
              <a:ext cx="325924" cy="277095"/>
            </a:xfrm>
            <a:prstGeom prst="rect">
              <a:avLst/>
            </a:prstGeom>
            <a:noFill/>
            <a:ln>
              <a:noFill/>
            </a:ln>
          </p:spPr>
          <p:txBody>
            <a:bodyPr spcFirstLastPara="1" wrap="none" lIns="0" tIns="0" rIns="0" bIns="0" anchor="ctr" anchorCtr="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8</a:t>
              </a:r>
              <a:b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br>
              <a: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weeks</a:t>
              </a:r>
              <a:endParaRPr kumimoji="0"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endParaRPr>
            </a:p>
          </p:txBody>
        </p:sp>
        <p:sp>
          <p:nvSpPr>
            <p:cNvPr id="128" name="Google Shape;837;p17">
              <a:extLst>
                <a:ext uri="{FF2B5EF4-FFF2-40B4-BE49-F238E27FC236}">
                  <a16:creationId xmlns:a16="http://schemas.microsoft.com/office/drawing/2014/main" id="{E71540A8-F13E-9F42-A55A-A3A2B96D3362}"/>
                </a:ext>
              </a:extLst>
            </p:cNvPr>
            <p:cNvSpPr txBox="1"/>
            <p:nvPr/>
          </p:nvSpPr>
          <p:spPr>
            <a:xfrm>
              <a:off x="5718240" y="2688838"/>
              <a:ext cx="325924" cy="277095"/>
            </a:xfrm>
            <a:prstGeom prst="rect">
              <a:avLst/>
            </a:prstGeom>
            <a:noFill/>
            <a:ln>
              <a:noFill/>
            </a:ln>
          </p:spPr>
          <p:txBody>
            <a:bodyPr spcFirstLastPara="1" wrap="none" lIns="0" tIns="0" rIns="0" bIns="0" anchor="ctr" anchorCtr="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16 </a:t>
              </a:r>
              <a:b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br>
              <a: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weeks</a:t>
              </a:r>
              <a:endParaRPr kumimoji="0"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endParaRPr>
            </a:p>
          </p:txBody>
        </p:sp>
        <p:sp>
          <p:nvSpPr>
            <p:cNvPr id="129" name="Google Shape;838;p17">
              <a:extLst>
                <a:ext uri="{FF2B5EF4-FFF2-40B4-BE49-F238E27FC236}">
                  <a16:creationId xmlns:a16="http://schemas.microsoft.com/office/drawing/2014/main" id="{047E0F24-9BFB-FDBA-5B8B-6CBAE062C35E}"/>
                </a:ext>
              </a:extLst>
            </p:cNvPr>
            <p:cNvSpPr txBox="1"/>
            <p:nvPr/>
          </p:nvSpPr>
          <p:spPr>
            <a:xfrm>
              <a:off x="7225337" y="2688838"/>
              <a:ext cx="325924" cy="277095"/>
            </a:xfrm>
            <a:prstGeom prst="rect">
              <a:avLst/>
            </a:prstGeom>
            <a:noFill/>
            <a:ln>
              <a:noFill/>
            </a:ln>
          </p:spPr>
          <p:txBody>
            <a:bodyPr spcFirstLastPara="1" wrap="none" lIns="0" tIns="0" rIns="0" bIns="0" anchor="ctr" anchorCtr="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24 </a:t>
              </a:r>
              <a:b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br>
              <a: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weeks</a:t>
              </a:r>
              <a:endParaRPr kumimoji="0"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endParaRPr>
            </a:p>
          </p:txBody>
        </p:sp>
        <p:sp>
          <p:nvSpPr>
            <p:cNvPr id="130" name="Google Shape;839;p17">
              <a:extLst>
                <a:ext uri="{FF2B5EF4-FFF2-40B4-BE49-F238E27FC236}">
                  <a16:creationId xmlns:a16="http://schemas.microsoft.com/office/drawing/2014/main" id="{D78A4298-8CF5-A6B3-AD68-FCE8E3DC97F3}"/>
                </a:ext>
              </a:extLst>
            </p:cNvPr>
            <p:cNvSpPr txBox="1"/>
            <p:nvPr/>
          </p:nvSpPr>
          <p:spPr>
            <a:xfrm>
              <a:off x="7775091" y="2688838"/>
              <a:ext cx="377638" cy="277095"/>
            </a:xfrm>
            <a:prstGeom prst="rect">
              <a:avLst/>
            </a:prstGeom>
            <a:noFill/>
            <a:ln>
              <a:noFill/>
            </a:ln>
          </p:spPr>
          <p:txBody>
            <a:bodyPr spcFirstLastPara="1" wrap="none" lIns="0" tIns="0" rIns="0" bIns="0" anchor="ctr" anchorCtr="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9</a:t>
              </a:r>
              <a:b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br>
              <a: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months</a:t>
              </a:r>
              <a:endParaRPr kumimoji="0"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endParaRPr>
            </a:p>
          </p:txBody>
        </p:sp>
        <p:sp>
          <p:nvSpPr>
            <p:cNvPr id="131" name="Google Shape;840;p17">
              <a:extLst>
                <a:ext uri="{FF2B5EF4-FFF2-40B4-BE49-F238E27FC236}">
                  <a16:creationId xmlns:a16="http://schemas.microsoft.com/office/drawing/2014/main" id="{C879FFAE-B5E5-B4FF-4684-40287B5AE94D}"/>
                </a:ext>
              </a:extLst>
            </p:cNvPr>
            <p:cNvSpPr txBox="1"/>
            <p:nvPr/>
          </p:nvSpPr>
          <p:spPr>
            <a:xfrm>
              <a:off x="8352036" y="2688838"/>
              <a:ext cx="377638" cy="277095"/>
            </a:xfrm>
            <a:prstGeom prst="rect">
              <a:avLst/>
            </a:prstGeom>
            <a:noFill/>
            <a:ln>
              <a:noFill/>
            </a:ln>
          </p:spPr>
          <p:txBody>
            <a:bodyPr spcFirstLastPara="1" wrap="none" lIns="0" tIns="0" rIns="0" bIns="0" anchor="ctr" anchorCtr="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30</a:t>
              </a:r>
              <a: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 </a:t>
              </a:r>
              <a:b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br>
              <a: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months</a:t>
              </a:r>
              <a:endParaRPr kumimoji="0"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endParaRPr>
            </a:p>
          </p:txBody>
        </p:sp>
        <p:sp>
          <p:nvSpPr>
            <p:cNvPr id="135" name="Google Shape;844;p17">
              <a:extLst>
                <a:ext uri="{FF2B5EF4-FFF2-40B4-BE49-F238E27FC236}">
                  <a16:creationId xmlns:a16="http://schemas.microsoft.com/office/drawing/2014/main" id="{F9A87666-4BDA-C125-F571-4D5B65CC0ABB}"/>
                </a:ext>
              </a:extLst>
            </p:cNvPr>
            <p:cNvSpPr txBox="1"/>
            <p:nvPr/>
          </p:nvSpPr>
          <p:spPr>
            <a:xfrm>
              <a:off x="8204979" y="2670955"/>
              <a:ext cx="128686" cy="153894"/>
            </a:xfrm>
            <a:prstGeom prst="rect">
              <a:avLst/>
            </a:prstGeom>
            <a:noFill/>
            <a:ln>
              <a:noFill/>
            </a:ln>
          </p:spPr>
          <p:txBody>
            <a:bodyPr spcFirstLastPara="1" wrap="none" lIns="0" tIns="0" rIns="0" bIns="0" anchor="ctr" anchorCtr="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333" b="1" i="0" u="none" strike="noStrike" kern="1200" cap="none" spc="0" normalizeH="0" baseline="0" noProof="0" dirty="0">
                  <a:ln>
                    <a:noFill/>
                  </a:ln>
                  <a:solidFill>
                    <a:srgbClr val="000000"/>
                  </a:solidFill>
                  <a:effectLst/>
                  <a:uLnTx/>
                  <a:uFillTx/>
                  <a:latin typeface="Arial" panose="020B0604020202020204"/>
                  <a:ea typeface="+mn-ea"/>
                  <a:cs typeface="+mn-cs"/>
                </a:rPr>
                <a:t>…</a:t>
              </a:r>
              <a:endParaRPr kumimoji="0" sz="1333"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58" name="Google Shape;774;p17 Cell 1, 1 to Text">
            <a:extLst>
              <a:ext uri="{FF2B5EF4-FFF2-40B4-BE49-F238E27FC236}">
                <a16:creationId xmlns:a16="http://schemas.microsoft.com/office/drawing/2014/main" id="{CA8B8A21-434F-68BE-777D-62A6F5F1CBC4}"/>
              </a:ext>
            </a:extLst>
          </p:cNvPr>
          <p:cNvSpPr txBox="1"/>
          <p:nvPr/>
        </p:nvSpPr>
        <p:spPr>
          <a:xfrm>
            <a:off x="3395271" y="4782276"/>
            <a:ext cx="691796" cy="414416"/>
          </a:xfrm>
          <a:prstGeom prst="rect">
            <a:avLst/>
          </a:prstGeom>
          <a:solidFill>
            <a:schemeClr val="bg1"/>
          </a:solidFill>
          <a:ln w="12700">
            <a:solidFill>
              <a:schemeClr val="bg1">
                <a:lumMod val="75000"/>
              </a:schemeClr>
            </a:solidFill>
          </a:ln>
        </p:spPr>
        <p:txBody>
          <a:bodyPr vert="horz" wrap="square" lIns="24392" tIns="24392" rIns="24392" bIns="24392" rtlCol="0" anchor="ctr" anchorCtr="0">
            <a:noAutofit/>
          </a:bodyPr>
          <a:lstStyle/>
          <a:p>
            <a:pPr marL="0" marR="0" lvl="0" indent="0" algn="ctr" defTabSz="912724" rtl="0" eaLnBrk="1" fontAlgn="auto" latinLnBrk="0" hangingPunct="1">
              <a:lnSpc>
                <a:spcPct val="100000"/>
              </a:lnSpc>
              <a:spcBef>
                <a:spcPts val="0"/>
              </a:spcBef>
              <a:spcAft>
                <a:spcPts val="0"/>
              </a:spcAft>
              <a:buClr>
                <a:srgbClr val="000000"/>
              </a:buClr>
              <a:buSzPts val="800"/>
              <a:buFontTx/>
              <a:buNone/>
              <a:tabLst/>
              <a:defRPr/>
            </a:pPr>
            <a:r>
              <a:rPr kumimoji="0" lang="en-GB" sz="1067" b="0" i="0" u="none" strike="noStrike" kern="1200" cap="none" spc="0" normalizeH="0" baseline="0" noProof="0" dirty="0">
                <a:ln>
                  <a:noFill/>
                </a:ln>
                <a:solidFill>
                  <a:srgbClr val="000000"/>
                </a:solidFill>
                <a:effectLst/>
                <a:uLnTx/>
                <a:uFillTx/>
                <a:latin typeface="Arial"/>
                <a:ea typeface="Arial"/>
                <a:cs typeface="Arial"/>
                <a:sym typeface="Arial"/>
              </a:rPr>
              <a:t>Screen </a:t>
            </a:r>
          </a:p>
        </p:txBody>
      </p:sp>
      <p:sp>
        <p:nvSpPr>
          <p:cNvPr id="69" name="Google Shape;795;p17 Cell 1, 1 to Text">
            <a:extLst>
              <a:ext uri="{FF2B5EF4-FFF2-40B4-BE49-F238E27FC236}">
                <a16:creationId xmlns:a16="http://schemas.microsoft.com/office/drawing/2014/main" id="{B015CCB1-EA22-EAF5-74A1-4020E7F7086D}"/>
              </a:ext>
            </a:extLst>
          </p:cNvPr>
          <p:cNvSpPr txBox="1"/>
          <p:nvPr/>
        </p:nvSpPr>
        <p:spPr>
          <a:xfrm>
            <a:off x="3368252" y="2773535"/>
            <a:ext cx="714952" cy="414416"/>
          </a:xfrm>
          <a:prstGeom prst="rect">
            <a:avLst/>
          </a:prstGeom>
          <a:solidFill>
            <a:schemeClr val="bg1"/>
          </a:solidFill>
          <a:ln w="12700">
            <a:solidFill>
              <a:schemeClr val="bg1">
                <a:lumMod val="75000"/>
              </a:schemeClr>
            </a:solidFill>
          </a:ln>
        </p:spPr>
        <p:txBody>
          <a:bodyPr vert="horz" wrap="square" lIns="24392" tIns="24392" rIns="24392" bIns="24392" rtlCol="0" anchor="ctr" anchorCtr="0">
            <a:noAutofit/>
          </a:bodyPr>
          <a:lstStyle/>
          <a:p>
            <a:pPr marL="0" marR="0" lvl="0" indent="0" algn="ctr" defTabSz="912724" rtl="0" eaLnBrk="1" fontAlgn="auto" latinLnBrk="0" hangingPunct="1">
              <a:lnSpc>
                <a:spcPct val="100000"/>
              </a:lnSpc>
              <a:spcBef>
                <a:spcPts val="0"/>
              </a:spcBef>
              <a:spcAft>
                <a:spcPts val="0"/>
              </a:spcAft>
              <a:buClr>
                <a:srgbClr val="000000"/>
              </a:buClr>
              <a:buSzPts val="800"/>
              <a:buFontTx/>
              <a:buNone/>
              <a:tabLst/>
              <a:defRPr/>
            </a:pPr>
            <a:r>
              <a:rPr kumimoji="0" lang="en-GB" sz="1067"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Screen </a:t>
            </a:r>
          </a:p>
        </p:txBody>
      </p:sp>
      <p:grpSp>
        <p:nvGrpSpPr>
          <p:cNvPr id="162" name="Group 161">
            <a:extLst>
              <a:ext uri="{FF2B5EF4-FFF2-40B4-BE49-F238E27FC236}">
                <a16:creationId xmlns:a16="http://schemas.microsoft.com/office/drawing/2014/main" id="{EAA485B1-09A1-6CCF-DD7C-9106FB5D13A9}"/>
              </a:ext>
            </a:extLst>
          </p:cNvPr>
          <p:cNvGrpSpPr/>
          <p:nvPr/>
        </p:nvGrpSpPr>
        <p:grpSpPr>
          <a:xfrm>
            <a:off x="4082747" y="2517367"/>
            <a:ext cx="5002725" cy="244715"/>
            <a:chOff x="3063122" y="1924870"/>
            <a:chExt cx="3753347" cy="183600"/>
          </a:xfrm>
        </p:grpSpPr>
        <p:cxnSp>
          <p:nvCxnSpPr>
            <p:cNvPr id="88" name="Google Shape;796;p17">
              <a:extLst>
                <a:ext uri="{FF2B5EF4-FFF2-40B4-BE49-F238E27FC236}">
                  <a16:creationId xmlns:a16="http://schemas.microsoft.com/office/drawing/2014/main" id="{707ED50D-C45F-67B5-81F4-AE7841C848B2}"/>
                </a:ext>
              </a:extLst>
            </p:cNvPr>
            <p:cNvCxnSpPr>
              <a:cxnSpLocks/>
            </p:cNvCxnSpPr>
            <p:nvPr/>
          </p:nvCxnSpPr>
          <p:spPr>
            <a:xfrm>
              <a:off x="3063122" y="1924870"/>
              <a:ext cx="0" cy="183600"/>
            </a:xfrm>
            <a:prstGeom prst="straightConnector1">
              <a:avLst/>
            </a:prstGeom>
            <a:noFill/>
            <a:ln w="38100" cap="flat" cmpd="sng">
              <a:solidFill>
                <a:srgbClr val="7F7F7F"/>
              </a:solidFill>
              <a:prstDash val="solid"/>
              <a:round/>
              <a:headEnd type="none" w="sm" len="sm"/>
              <a:tailEnd type="stealth" w="med" len="med"/>
            </a:ln>
          </p:spPr>
        </p:cxnSp>
        <p:cxnSp>
          <p:nvCxnSpPr>
            <p:cNvPr id="107" name="Google Shape;816;p17">
              <a:extLst>
                <a:ext uri="{FF2B5EF4-FFF2-40B4-BE49-F238E27FC236}">
                  <a16:creationId xmlns:a16="http://schemas.microsoft.com/office/drawing/2014/main" id="{F176783D-0AC0-3B8F-1FC0-BB2EA1586FDA}"/>
                </a:ext>
              </a:extLst>
            </p:cNvPr>
            <p:cNvCxnSpPr>
              <a:cxnSpLocks/>
            </p:cNvCxnSpPr>
            <p:nvPr/>
          </p:nvCxnSpPr>
          <p:spPr>
            <a:xfrm>
              <a:off x="3120910" y="1924870"/>
              <a:ext cx="0" cy="183600"/>
            </a:xfrm>
            <a:prstGeom prst="straightConnector1">
              <a:avLst/>
            </a:prstGeom>
            <a:noFill/>
            <a:ln w="38100" cap="flat" cmpd="sng">
              <a:solidFill>
                <a:srgbClr val="00B050"/>
              </a:solidFill>
              <a:prstDash val="solid"/>
              <a:round/>
              <a:headEnd type="none" w="sm" len="sm"/>
              <a:tailEnd type="stealth" w="med" len="med"/>
            </a:ln>
          </p:spPr>
        </p:cxnSp>
        <p:cxnSp>
          <p:nvCxnSpPr>
            <p:cNvPr id="108" name="Google Shape;817;p17">
              <a:extLst>
                <a:ext uri="{FF2B5EF4-FFF2-40B4-BE49-F238E27FC236}">
                  <a16:creationId xmlns:a16="http://schemas.microsoft.com/office/drawing/2014/main" id="{95D629E6-F2CA-1D56-F5E0-E1407C24381D}"/>
                </a:ext>
              </a:extLst>
            </p:cNvPr>
            <p:cNvCxnSpPr>
              <a:cxnSpLocks/>
            </p:cNvCxnSpPr>
            <p:nvPr/>
          </p:nvCxnSpPr>
          <p:spPr>
            <a:xfrm>
              <a:off x="3600026" y="1924870"/>
              <a:ext cx="0" cy="183600"/>
            </a:xfrm>
            <a:prstGeom prst="straightConnector1">
              <a:avLst/>
            </a:prstGeom>
            <a:noFill/>
            <a:ln w="38100" cap="flat" cmpd="sng">
              <a:solidFill>
                <a:srgbClr val="7F7F7F"/>
              </a:solidFill>
              <a:prstDash val="solid"/>
              <a:round/>
              <a:headEnd type="none" w="sm" len="sm"/>
              <a:tailEnd type="stealth" w="med" len="med"/>
            </a:ln>
          </p:spPr>
        </p:cxnSp>
        <p:cxnSp>
          <p:nvCxnSpPr>
            <p:cNvPr id="109" name="Google Shape;818;p17">
              <a:extLst>
                <a:ext uri="{FF2B5EF4-FFF2-40B4-BE49-F238E27FC236}">
                  <a16:creationId xmlns:a16="http://schemas.microsoft.com/office/drawing/2014/main" id="{D2DEAAD7-63A7-D3F7-14D1-CB6A984D6817}"/>
                </a:ext>
              </a:extLst>
            </p:cNvPr>
            <p:cNvCxnSpPr>
              <a:cxnSpLocks/>
            </p:cNvCxnSpPr>
            <p:nvPr/>
          </p:nvCxnSpPr>
          <p:spPr>
            <a:xfrm>
              <a:off x="3653823" y="1924870"/>
              <a:ext cx="0" cy="183600"/>
            </a:xfrm>
            <a:prstGeom prst="straightConnector1">
              <a:avLst/>
            </a:prstGeom>
            <a:noFill/>
            <a:ln w="38100" cap="flat" cmpd="sng">
              <a:solidFill>
                <a:srgbClr val="00B050"/>
              </a:solidFill>
              <a:prstDash val="solid"/>
              <a:round/>
              <a:headEnd type="none" w="sm" len="sm"/>
              <a:tailEnd type="stealth" w="med" len="med"/>
            </a:ln>
          </p:spPr>
        </p:cxnSp>
        <p:cxnSp>
          <p:nvCxnSpPr>
            <p:cNvPr id="110" name="Google Shape;819;p17">
              <a:extLst>
                <a:ext uri="{FF2B5EF4-FFF2-40B4-BE49-F238E27FC236}">
                  <a16:creationId xmlns:a16="http://schemas.microsoft.com/office/drawing/2014/main" id="{39DAF203-48D5-734C-4001-429852F502F3}"/>
                </a:ext>
              </a:extLst>
            </p:cNvPr>
            <p:cNvCxnSpPr>
              <a:cxnSpLocks/>
            </p:cNvCxnSpPr>
            <p:nvPr/>
          </p:nvCxnSpPr>
          <p:spPr>
            <a:xfrm>
              <a:off x="4127000" y="1924870"/>
              <a:ext cx="0" cy="183600"/>
            </a:xfrm>
            <a:prstGeom prst="straightConnector1">
              <a:avLst/>
            </a:prstGeom>
            <a:noFill/>
            <a:ln w="38100" cap="flat" cmpd="sng">
              <a:solidFill>
                <a:srgbClr val="7F7F7F"/>
              </a:solidFill>
              <a:prstDash val="solid"/>
              <a:round/>
              <a:headEnd type="none" w="sm" len="sm"/>
              <a:tailEnd type="stealth" w="med" len="med"/>
            </a:ln>
          </p:spPr>
        </p:cxnSp>
        <p:cxnSp>
          <p:nvCxnSpPr>
            <p:cNvPr id="111" name="Google Shape;820;p17">
              <a:extLst>
                <a:ext uri="{FF2B5EF4-FFF2-40B4-BE49-F238E27FC236}">
                  <a16:creationId xmlns:a16="http://schemas.microsoft.com/office/drawing/2014/main" id="{ECB5B932-0369-D928-9702-D405DEF77D4B}"/>
                </a:ext>
              </a:extLst>
            </p:cNvPr>
            <p:cNvCxnSpPr>
              <a:cxnSpLocks/>
            </p:cNvCxnSpPr>
            <p:nvPr/>
          </p:nvCxnSpPr>
          <p:spPr>
            <a:xfrm>
              <a:off x="4182145" y="1924870"/>
              <a:ext cx="0" cy="183600"/>
            </a:xfrm>
            <a:prstGeom prst="straightConnector1">
              <a:avLst/>
            </a:prstGeom>
            <a:noFill/>
            <a:ln w="38100" cap="flat" cmpd="sng">
              <a:solidFill>
                <a:srgbClr val="00B050"/>
              </a:solidFill>
              <a:prstDash val="solid"/>
              <a:round/>
              <a:headEnd type="none" w="sm" len="sm"/>
              <a:tailEnd type="stealth" w="med" len="med"/>
            </a:ln>
          </p:spPr>
        </p:cxnSp>
        <p:cxnSp>
          <p:nvCxnSpPr>
            <p:cNvPr id="112" name="Google Shape;821;p17">
              <a:extLst>
                <a:ext uri="{FF2B5EF4-FFF2-40B4-BE49-F238E27FC236}">
                  <a16:creationId xmlns:a16="http://schemas.microsoft.com/office/drawing/2014/main" id="{422ECF41-E49D-D9E9-0F4F-0D47D44F54F1}"/>
                </a:ext>
              </a:extLst>
            </p:cNvPr>
            <p:cNvCxnSpPr>
              <a:cxnSpLocks/>
            </p:cNvCxnSpPr>
            <p:nvPr/>
          </p:nvCxnSpPr>
          <p:spPr>
            <a:xfrm>
              <a:off x="4669078" y="1924870"/>
              <a:ext cx="0" cy="183600"/>
            </a:xfrm>
            <a:prstGeom prst="straightConnector1">
              <a:avLst/>
            </a:prstGeom>
            <a:noFill/>
            <a:ln w="38100" cap="flat" cmpd="sng">
              <a:solidFill>
                <a:srgbClr val="7F7F7F"/>
              </a:solidFill>
              <a:prstDash val="solid"/>
              <a:round/>
              <a:headEnd type="none" w="sm" len="sm"/>
              <a:tailEnd type="stealth" w="med" len="med"/>
            </a:ln>
          </p:spPr>
        </p:cxnSp>
        <p:cxnSp>
          <p:nvCxnSpPr>
            <p:cNvPr id="113" name="Google Shape;822;p17">
              <a:extLst>
                <a:ext uri="{FF2B5EF4-FFF2-40B4-BE49-F238E27FC236}">
                  <a16:creationId xmlns:a16="http://schemas.microsoft.com/office/drawing/2014/main" id="{FDD58300-D34C-9F02-CA0E-C6D1FBBA44CF}"/>
                </a:ext>
              </a:extLst>
            </p:cNvPr>
            <p:cNvCxnSpPr>
              <a:cxnSpLocks/>
            </p:cNvCxnSpPr>
            <p:nvPr/>
          </p:nvCxnSpPr>
          <p:spPr>
            <a:xfrm>
              <a:off x="4724884" y="1924870"/>
              <a:ext cx="0" cy="183600"/>
            </a:xfrm>
            <a:prstGeom prst="straightConnector1">
              <a:avLst/>
            </a:prstGeom>
            <a:noFill/>
            <a:ln w="38100" cap="flat" cmpd="sng">
              <a:solidFill>
                <a:srgbClr val="00B050"/>
              </a:solidFill>
              <a:prstDash val="solid"/>
              <a:round/>
              <a:headEnd type="none" w="sm" len="sm"/>
              <a:tailEnd type="stealth" w="med" len="med"/>
            </a:ln>
          </p:spPr>
        </p:cxnSp>
        <p:cxnSp>
          <p:nvCxnSpPr>
            <p:cNvPr id="114" name="Google Shape;823;p17">
              <a:extLst>
                <a:ext uri="{FF2B5EF4-FFF2-40B4-BE49-F238E27FC236}">
                  <a16:creationId xmlns:a16="http://schemas.microsoft.com/office/drawing/2014/main" id="{FC2EE5FA-B35F-6C9F-9399-1CBE756FBC99}"/>
                </a:ext>
              </a:extLst>
            </p:cNvPr>
            <p:cNvCxnSpPr>
              <a:cxnSpLocks/>
            </p:cNvCxnSpPr>
            <p:nvPr/>
          </p:nvCxnSpPr>
          <p:spPr>
            <a:xfrm>
              <a:off x="5199662" y="1924870"/>
              <a:ext cx="0" cy="183600"/>
            </a:xfrm>
            <a:prstGeom prst="straightConnector1">
              <a:avLst/>
            </a:prstGeom>
            <a:noFill/>
            <a:ln w="38100" cap="flat" cmpd="sng">
              <a:solidFill>
                <a:srgbClr val="7F7F7F"/>
              </a:solidFill>
              <a:prstDash val="solid"/>
              <a:round/>
              <a:headEnd type="none" w="sm" len="sm"/>
              <a:tailEnd type="stealth" w="med" len="med"/>
            </a:ln>
          </p:spPr>
        </p:cxnSp>
        <p:cxnSp>
          <p:nvCxnSpPr>
            <p:cNvPr id="115" name="Google Shape;824;p17">
              <a:extLst>
                <a:ext uri="{FF2B5EF4-FFF2-40B4-BE49-F238E27FC236}">
                  <a16:creationId xmlns:a16="http://schemas.microsoft.com/office/drawing/2014/main" id="{FBB8CC0C-5021-C023-F858-5000BD69553C}"/>
                </a:ext>
              </a:extLst>
            </p:cNvPr>
            <p:cNvCxnSpPr>
              <a:cxnSpLocks/>
            </p:cNvCxnSpPr>
            <p:nvPr/>
          </p:nvCxnSpPr>
          <p:spPr>
            <a:xfrm>
              <a:off x="5262122" y="1924870"/>
              <a:ext cx="0" cy="183600"/>
            </a:xfrm>
            <a:prstGeom prst="straightConnector1">
              <a:avLst/>
            </a:prstGeom>
            <a:noFill/>
            <a:ln w="38100" cap="flat" cmpd="sng">
              <a:solidFill>
                <a:srgbClr val="00B050"/>
              </a:solidFill>
              <a:prstDash val="solid"/>
              <a:round/>
              <a:headEnd type="none" w="sm" len="sm"/>
              <a:tailEnd type="stealth" w="med" len="med"/>
            </a:ln>
          </p:spPr>
        </p:cxnSp>
        <p:cxnSp>
          <p:nvCxnSpPr>
            <p:cNvPr id="116" name="Google Shape;825;p17">
              <a:extLst>
                <a:ext uri="{FF2B5EF4-FFF2-40B4-BE49-F238E27FC236}">
                  <a16:creationId xmlns:a16="http://schemas.microsoft.com/office/drawing/2014/main" id="{6902D87C-75EE-F2BA-3FDF-54C08D9B2950}"/>
                </a:ext>
              </a:extLst>
            </p:cNvPr>
            <p:cNvCxnSpPr>
              <a:cxnSpLocks/>
            </p:cNvCxnSpPr>
            <p:nvPr/>
          </p:nvCxnSpPr>
          <p:spPr>
            <a:xfrm>
              <a:off x="5734800" y="1924870"/>
              <a:ext cx="0" cy="183600"/>
            </a:xfrm>
            <a:prstGeom prst="straightConnector1">
              <a:avLst/>
            </a:prstGeom>
            <a:noFill/>
            <a:ln w="38100" cap="flat" cmpd="sng">
              <a:solidFill>
                <a:srgbClr val="7F7F7F"/>
              </a:solidFill>
              <a:prstDash val="solid"/>
              <a:round/>
              <a:headEnd type="none" w="sm" len="sm"/>
              <a:tailEnd type="stealth" w="med" len="med"/>
            </a:ln>
          </p:spPr>
        </p:cxnSp>
        <p:cxnSp>
          <p:nvCxnSpPr>
            <p:cNvPr id="117" name="Google Shape;826;p17">
              <a:extLst>
                <a:ext uri="{FF2B5EF4-FFF2-40B4-BE49-F238E27FC236}">
                  <a16:creationId xmlns:a16="http://schemas.microsoft.com/office/drawing/2014/main" id="{2509FCC1-D66A-E54E-D4E5-30F87BB1E2B6}"/>
                </a:ext>
              </a:extLst>
            </p:cNvPr>
            <p:cNvCxnSpPr>
              <a:cxnSpLocks/>
            </p:cNvCxnSpPr>
            <p:nvPr/>
          </p:nvCxnSpPr>
          <p:spPr>
            <a:xfrm>
              <a:off x="5784241" y="1924870"/>
              <a:ext cx="0" cy="183600"/>
            </a:xfrm>
            <a:prstGeom prst="straightConnector1">
              <a:avLst/>
            </a:prstGeom>
            <a:noFill/>
            <a:ln w="38100" cap="flat" cmpd="sng">
              <a:solidFill>
                <a:srgbClr val="00B050"/>
              </a:solidFill>
              <a:prstDash val="solid"/>
              <a:round/>
              <a:headEnd type="none" w="sm" len="sm"/>
              <a:tailEnd type="stealth" w="med" len="med"/>
            </a:ln>
          </p:spPr>
        </p:cxnSp>
        <p:cxnSp>
          <p:nvCxnSpPr>
            <p:cNvPr id="118" name="Google Shape;827;p17">
              <a:extLst>
                <a:ext uri="{FF2B5EF4-FFF2-40B4-BE49-F238E27FC236}">
                  <a16:creationId xmlns:a16="http://schemas.microsoft.com/office/drawing/2014/main" id="{9628192B-E0FA-FE73-A691-62E86C503973}"/>
                </a:ext>
              </a:extLst>
            </p:cNvPr>
            <p:cNvCxnSpPr>
              <a:cxnSpLocks/>
            </p:cNvCxnSpPr>
            <p:nvPr/>
          </p:nvCxnSpPr>
          <p:spPr>
            <a:xfrm>
              <a:off x="3342809" y="1924870"/>
              <a:ext cx="0" cy="183600"/>
            </a:xfrm>
            <a:prstGeom prst="straightConnector1">
              <a:avLst/>
            </a:prstGeom>
            <a:noFill/>
            <a:ln w="38100" cap="flat" cmpd="sng">
              <a:solidFill>
                <a:srgbClr val="00B050"/>
              </a:solidFill>
              <a:prstDash val="solid"/>
              <a:round/>
              <a:headEnd type="none" w="sm" len="sm"/>
              <a:tailEnd type="stealth" w="med" len="med"/>
            </a:ln>
          </p:spPr>
        </p:cxnSp>
        <p:cxnSp>
          <p:nvCxnSpPr>
            <p:cNvPr id="119" name="Google Shape;828;p17">
              <a:extLst>
                <a:ext uri="{FF2B5EF4-FFF2-40B4-BE49-F238E27FC236}">
                  <a16:creationId xmlns:a16="http://schemas.microsoft.com/office/drawing/2014/main" id="{C4A691F1-113C-DB77-04F3-9E4C55CB9537}"/>
                </a:ext>
              </a:extLst>
            </p:cNvPr>
            <p:cNvCxnSpPr>
              <a:cxnSpLocks/>
            </p:cNvCxnSpPr>
            <p:nvPr/>
          </p:nvCxnSpPr>
          <p:spPr>
            <a:xfrm>
              <a:off x="3490692" y="1924870"/>
              <a:ext cx="0" cy="183600"/>
            </a:xfrm>
            <a:prstGeom prst="straightConnector1">
              <a:avLst/>
            </a:prstGeom>
            <a:noFill/>
            <a:ln w="38100" cap="flat" cmpd="sng">
              <a:solidFill>
                <a:srgbClr val="00B050"/>
              </a:solidFill>
              <a:prstDash val="solid"/>
              <a:round/>
              <a:headEnd type="none" w="sm" len="sm"/>
              <a:tailEnd type="stealth" w="med" len="med"/>
            </a:ln>
          </p:spPr>
        </p:cxnSp>
        <p:cxnSp>
          <p:nvCxnSpPr>
            <p:cNvPr id="120" name="Google Shape;829;p17">
              <a:extLst>
                <a:ext uri="{FF2B5EF4-FFF2-40B4-BE49-F238E27FC236}">
                  <a16:creationId xmlns:a16="http://schemas.microsoft.com/office/drawing/2014/main" id="{D967D7A1-E124-A48D-5533-30DDE152ADA2}"/>
                </a:ext>
              </a:extLst>
            </p:cNvPr>
            <p:cNvCxnSpPr>
              <a:cxnSpLocks/>
            </p:cNvCxnSpPr>
            <p:nvPr/>
          </p:nvCxnSpPr>
          <p:spPr>
            <a:xfrm>
              <a:off x="6816469" y="1924870"/>
              <a:ext cx="0" cy="183600"/>
            </a:xfrm>
            <a:prstGeom prst="straightConnector1">
              <a:avLst/>
            </a:prstGeom>
            <a:noFill/>
            <a:ln w="38100" cap="flat" cmpd="sng">
              <a:solidFill>
                <a:srgbClr val="00B050"/>
              </a:solidFill>
              <a:prstDash val="solid"/>
              <a:round/>
              <a:headEnd type="none" w="sm" len="sm"/>
              <a:tailEnd type="stealth" w="med" len="med"/>
            </a:ln>
          </p:spPr>
        </p:cxnSp>
        <p:cxnSp>
          <p:nvCxnSpPr>
            <p:cNvPr id="121" name="Google Shape;830;p17">
              <a:extLst>
                <a:ext uri="{FF2B5EF4-FFF2-40B4-BE49-F238E27FC236}">
                  <a16:creationId xmlns:a16="http://schemas.microsoft.com/office/drawing/2014/main" id="{8346D7CB-37C4-603F-5DD6-7CC38495C6B3}"/>
                </a:ext>
              </a:extLst>
            </p:cNvPr>
            <p:cNvCxnSpPr>
              <a:cxnSpLocks/>
            </p:cNvCxnSpPr>
            <p:nvPr/>
          </p:nvCxnSpPr>
          <p:spPr>
            <a:xfrm>
              <a:off x="6279328" y="1924870"/>
              <a:ext cx="0" cy="183600"/>
            </a:xfrm>
            <a:prstGeom prst="straightConnector1">
              <a:avLst/>
            </a:prstGeom>
            <a:noFill/>
            <a:ln w="38100" cap="flat" cmpd="sng">
              <a:solidFill>
                <a:srgbClr val="00B050"/>
              </a:solidFill>
              <a:prstDash val="solid"/>
              <a:round/>
              <a:headEnd type="none" w="sm" len="sm"/>
              <a:tailEnd type="stealth" w="med" len="med"/>
            </a:ln>
          </p:spPr>
        </p:cxnSp>
      </p:grpSp>
      <p:grpSp>
        <p:nvGrpSpPr>
          <p:cNvPr id="160" name="Group 159">
            <a:extLst>
              <a:ext uri="{FF2B5EF4-FFF2-40B4-BE49-F238E27FC236}">
                <a16:creationId xmlns:a16="http://schemas.microsoft.com/office/drawing/2014/main" id="{A3C1BF36-CB21-0BE3-AC23-0E90E2452F3E}"/>
              </a:ext>
            </a:extLst>
          </p:cNvPr>
          <p:cNvGrpSpPr/>
          <p:nvPr/>
        </p:nvGrpSpPr>
        <p:grpSpPr>
          <a:xfrm>
            <a:off x="3701580" y="3192689"/>
            <a:ext cx="7676955" cy="246315"/>
            <a:chOff x="2777148" y="2478712"/>
            <a:chExt cx="5759715" cy="184800"/>
          </a:xfrm>
        </p:grpSpPr>
        <p:cxnSp>
          <p:nvCxnSpPr>
            <p:cNvPr id="122" name="Google Shape;831;p17">
              <a:extLst>
                <a:ext uri="{FF2B5EF4-FFF2-40B4-BE49-F238E27FC236}">
                  <a16:creationId xmlns:a16="http://schemas.microsoft.com/office/drawing/2014/main" id="{1D12A9E0-EE1D-E805-EA96-1C35167A2180}"/>
                </a:ext>
              </a:extLst>
            </p:cNvPr>
            <p:cNvCxnSpPr>
              <a:cxnSpLocks/>
            </p:cNvCxnSpPr>
            <p:nvPr/>
          </p:nvCxnSpPr>
          <p:spPr>
            <a:xfrm rot="10800000">
              <a:off x="8536863" y="2478712"/>
              <a:ext cx="0" cy="184800"/>
            </a:xfrm>
            <a:prstGeom prst="straightConnector1">
              <a:avLst/>
            </a:prstGeom>
            <a:noFill/>
            <a:ln w="38100" cap="flat" cmpd="sng">
              <a:solidFill>
                <a:schemeClr val="tx1"/>
              </a:solidFill>
              <a:prstDash val="solid"/>
              <a:round/>
              <a:headEnd type="none" w="sm" len="sm"/>
              <a:tailEnd type="stealth" w="med" len="med"/>
            </a:ln>
          </p:spPr>
        </p:cxnSp>
        <p:cxnSp>
          <p:nvCxnSpPr>
            <p:cNvPr id="123" name="Google Shape;832;p17">
              <a:extLst>
                <a:ext uri="{FF2B5EF4-FFF2-40B4-BE49-F238E27FC236}">
                  <a16:creationId xmlns:a16="http://schemas.microsoft.com/office/drawing/2014/main" id="{CB60CE50-62E2-41E5-2923-6A4DB5B3353F}"/>
                </a:ext>
              </a:extLst>
            </p:cNvPr>
            <p:cNvCxnSpPr>
              <a:cxnSpLocks/>
            </p:cNvCxnSpPr>
            <p:nvPr/>
          </p:nvCxnSpPr>
          <p:spPr>
            <a:xfrm rot="10800000">
              <a:off x="2777148" y="2478712"/>
              <a:ext cx="0" cy="184800"/>
            </a:xfrm>
            <a:prstGeom prst="straightConnector1">
              <a:avLst/>
            </a:prstGeom>
            <a:noFill/>
            <a:ln w="38100" cap="flat" cmpd="sng">
              <a:solidFill>
                <a:schemeClr val="tx1"/>
              </a:solidFill>
              <a:prstDash val="solid"/>
              <a:round/>
              <a:headEnd type="none" w="sm" len="sm"/>
              <a:tailEnd type="stealth" w="med" len="med"/>
            </a:ln>
          </p:spPr>
        </p:cxnSp>
        <p:cxnSp>
          <p:nvCxnSpPr>
            <p:cNvPr id="133" name="Google Shape;842;p17">
              <a:extLst>
                <a:ext uri="{FF2B5EF4-FFF2-40B4-BE49-F238E27FC236}">
                  <a16:creationId xmlns:a16="http://schemas.microsoft.com/office/drawing/2014/main" id="{45945301-5C86-1764-1537-26053445EB49}"/>
                </a:ext>
              </a:extLst>
            </p:cNvPr>
            <p:cNvCxnSpPr>
              <a:cxnSpLocks/>
            </p:cNvCxnSpPr>
            <p:nvPr/>
          </p:nvCxnSpPr>
          <p:spPr>
            <a:xfrm rot="10800000">
              <a:off x="7958846" y="2478712"/>
              <a:ext cx="0" cy="184800"/>
            </a:xfrm>
            <a:prstGeom prst="straightConnector1">
              <a:avLst/>
            </a:prstGeom>
            <a:noFill/>
            <a:ln w="38100" cap="flat" cmpd="sng">
              <a:solidFill>
                <a:schemeClr val="tx1"/>
              </a:solidFill>
              <a:prstDash val="solid"/>
              <a:round/>
              <a:headEnd type="none" w="sm" len="sm"/>
              <a:tailEnd type="stealth" w="med" len="med"/>
            </a:ln>
          </p:spPr>
        </p:cxnSp>
        <p:cxnSp>
          <p:nvCxnSpPr>
            <p:cNvPr id="125" name="Google Shape;834;p17">
              <a:extLst>
                <a:ext uri="{FF2B5EF4-FFF2-40B4-BE49-F238E27FC236}">
                  <a16:creationId xmlns:a16="http://schemas.microsoft.com/office/drawing/2014/main" id="{2B0C0C75-31B7-B9B0-05EC-AF568941B5E3}"/>
                </a:ext>
              </a:extLst>
            </p:cNvPr>
            <p:cNvCxnSpPr>
              <a:cxnSpLocks/>
            </p:cNvCxnSpPr>
            <p:nvPr/>
          </p:nvCxnSpPr>
          <p:spPr>
            <a:xfrm rot="10800000">
              <a:off x="4462148" y="2478712"/>
              <a:ext cx="0" cy="184800"/>
            </a:xfrm>
            <a:prstGeom prst="straightConnector1">
              <a:avLst/>
            </a:prstGeom>
            <a:noFill/>
            <a:ln w="38100" cap="flat" cmpd="sng">
              <a:solidFill>
                <a:schemeClr val="tx1"/>
              </a:solidFill>
              <a:prstDash val="solid"/>
              <a:round/>
              <a:headEnd type="none" w="sm" len="sm"/>
              <a:tailEnd type="stealth" w="med" len="med"/>
            </a:ln>
          </p:spPr>
        </p:cxnSp>
        <p:cxnSp>
          <p:nvCxnSpPr>
            <p:cNvPr id="127" name="Google Shape;836;p17">
              <a:extLst>
                <a:ext uri="{FF2B5EF4-FFF2-40B4-BE49-F238E27FC236}">
                  <a16:creationId xmlns:a16="http://schemas.microsoft.com/office/drawing/2014/main" id="{66D14764-D218-5B43-1C47-4E0B6CD55130}"/>
                </a:ext>
              </a:extLst>
            </p:cNvPr>
            <p:cNvCxnSpPr>
              <a:cxnSpLocks/>
            </p:cNvCxnSpPr>
            <p:nvPr/>
          </p:nvCxnSpPr>
          <p:spPr>
            <a:xfrm rot="10800000">
              <a:off x="5877907" y="2478712"/>
              <a:ext cx="0" cy="184800"/>
            </a:xfrm>
            <a:prstGeom prst="straightConnector1">
              <a:avLst/>
            </a:prstGeom>
            <a:noFill/>
            <a:ln w="38100" cap="flat" cmpd="sng">
              <a:solidFill>
                <a:schemeClr val="tx1"/>
              </a:solidFill>
              <a:prstDash val="solid"/>
              <a:round/>
              <a:headEnd type="none" w="sm" len="sm"/>
              <a:tailEnd type="stealth" w="med" len="med"/>
            </a:ln>
          </p:spPr>
        </p:cxnSp>
        <p:cxnSp>
          <p:nvCxnSpPr>
            <p:cNvPr id="132" name="Google Shape;841;p17">
              <a:extLst>
                <a:ext uri="{FF2B5EF4-FFF2-40B4-BE49-F238E27FC236}">
                  <a16:creationId xmlns:a16="http://schemas.microsoft.com/office/drawing/2014/main" id="{2079B61A-303D-EDE0-17EC-7B0852048B12}"/>
                </a:ext>
              </a:extLst>
            </p:cNvPr>
            <p:cNvCxnSpPr>
              <a:cxnSpLocks/>
            </p:cNvCxnSpPr>
            <p:nvPr/>
          </p:nvCxnSpPr>
          <p:spPr>
            <a:xfrm rot="10800000">
              <a:off x="7380829" y="2478712"/>
              <a:ext cx="0" cy="184800"/>
            </a:xfrm>
            <a:prstGeom prst="straightConnector1">
              <a:avLst/>
            </a:prstGeom>
            <a:noFill/>
            <a:ln w="38100" cap="flat" cmpd="sng">
              <a:solidFill>
                <a:schemeClr val="tx1"/>
              </a:solidFill>
              <a:prstDash val="solid"/>
              <a:round/>
              <a:headEnd type="none" w="sm" len="sm"/>
              <a:tailEnd type="stealth" w="med" len="med"/>
            </a:ln>
          </p:spPr>
        </p:cxnSp>
      </p:grpSp>
      <p:sp>
        <p:nvSpPr>
          <p:cNvPr id="70" name="Google Shape;795;p17 Cell 2, 1 to Text">
            <a:extLst>
              <a:ext uri="{FF2B5EF4-FFF2-40B4-BE49-F238E27FC236}">
                <a16:creationId xmlns:a16="http://schemas.microsoft.com/office/drawing/2014/main" id="{3C02715C-15E5-00D5-DA1F-33DB5EDE2277}"/>
              </a:ext>
            </a:extLst>
          </p:cNvPr>
          <p:cNvSpPr txBox="1"/>
          <p:nvPr/>
        </p:nvSpPr>
        <p:spPr>
          <a:xfrm>
            <a:off x="4082748" y="2773535"/>
            <a:ext cx="713521" cy="414416"/>
          </a:xfrm>
          <a:prstGeom prst="rect">
            <a:avLst/>
          </a:prstGeom>
          <a:solidFill>
            <a:schemeClr val="bg1"/>
          </a:solidFill>
          <a:ln w="12700">
            <a:solidFill>
              <a:schemeClr val="bg1">
                <a:lumMod val="75000"/>
              </a:schemeClr>
            </a:solidFill>
          </a:ln>
        </p:spPr>
        <p:txBody>
          <a:bodyPr vert="horz" wrap="square" lIns="0" tIns="0" rIns="0" bIns="0" rtlCol="0" anchor="ctr" anchorCtr="0">
            <a:noAutofit/>
          </a:bodyPr>
          <a:lstStyle/>
          <a:p>
            <a:pPr marL="0" marR="0" lvl="0" indent="0" algn="ctr" defTabSz="912724" rtl="0" eaLnBrk="1" fontAlgn="auto" latinLnBrk="0" hangingPunct="1">
              <a:lnSpc>
                <a:spcPct val="100000"/>
              </a:lnSpc>
              <a:spcBef>
                <a:spcPts val="0"/>
              </a:spcBef>
              <a:spcAft>
                <a:spcPts val="0"/>
              </a:spcAft>
              <a:buClr>
                <a:srgbClr val="000000"/>
              </a:buClr>
              <a:buSzPts val="800"/>
              <a:buFontTx/>
              <a:buNone/>
              <a:tabLst/>
              <a:defRPr/>
            </a:pPr>
            <a:r>
              <a:rPr kumimoji="0" lang="en-GB" sz="1067"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C1 </a:t>
            </a:r>
            <a:br>
              <a:rPr kumimoji="0" lang="en-GB" sz="1067"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br>
            <a:r>
              <a:rPr kumimoji="0" lang="en-GB" sz="1067"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D1 </a:t>
            </a:r>
            <a:r>
              <a:rPr kumimoji="0" lang="en-GB" sz="1067" b="0" i="0" u="none" strike="noStrike" kern="1200" cap="none" spc="0" normalizeH="0" baseline="0" noProof="0" dirty="0">
                <a:ln>
                  <a:noFill/>
                </a:ln>
                <a:solidFill>
                  <a:srgbClr val="000000"/>
                </a:solidFill>
                <a:effectLst/>
                <a:uLnTx/>
                <a:uFillTx/>
                <a:latin typeface="Arial" panose="020B0604020202020204"/>
                <a:ea typeface="+mn-ea"/>
                <a:cs typeface="Arial"/>
                <a:sym typeface="Arial"/>
              </a:rPr>
              <a:t>D8 D15</a:t>
            </a:r>
          </a:p>
        </p:txBody>
      </p:sp>
      <p:sp>
        <p:nvSpPr>
          <p:cNvPr id="82" name="Google Shape;795;p17 Cell 3, 1 to Text">
            <a:extLst>
              <a:ext uri="{FF2B5EF4-FFF2-40B4-BE49-F238E27FC236}">
                <a16:creationId xmlns:a16="http://schemas.microsoft.com/office/drawing/2014/main" id="{FE5E9903-9510-DAA8-47BB-3A973E5705D5}"/>
              </a:ext>
            </a:extLst>
          </p:cNvPr>
          <p:cNvSpPr txBox="1"/>
          <p:nvPr/>
        </p:nvSpPr>
        <p:spPr>
          <a:xfrm>
            <a:off x="4796269" y="2773535"/>
            <a:ext cx="715367" cy="414416"/>
          </a:xfrm>
          <a:prstGeom prst="rect">
            <a:avLst/>
          </a:prstGeom>
          <a:solidFill>
            <a:schemeClr val="bg1"/>
          </a:solidFill>
          <a:ln w="12700">
            <a:solidFill>
              <a:schemeClr val="bg1">
                <a:lumMod val="75000"/>
              </a:schemeClr>
            </a:solidFill>
          </a:ln>
        </p:spPr>
        <p:txBody>
          <a:bodyPr vert="horz" wrap="square" lIns="24392" tIns="24392" rIns="24392" bIns="24392" rtlCol="0" anchor="ctr" anchorCtr="0">
            <a:noAutofit/>
          </a:bodyPr>
          <a:lstStyle/>
          <a:p>
            <a:pPr marL="0" marR="0" lvl="0" indent="0" algn="ctr" defTabSz="912724" rtl="0" eaLnBrk="1" fontAlgn="auto" latinLnBrk="0" hangingPunct="1">
              <a:lnSpc>
                <a:spcPct val="100000"/>
              </a:lnSpc>
              <a:spcBef>
                <a:spcPts val="0"/>
              </a:spcBef>
              <a:spcAft>
                <a:spcPts val="0"/>
              </a:spcAft>
              <a:buClr>
                <a:srgbClr val="000000"/>
              </a:buClr>
              <a:buSzPts val="800"/>
              <a:buFontTx/>
              <a:buNone/>
              <a:tabLst/>
              <a:defRPr/>
            </a:pPr>
            <a:r>
              <a:rPr kumimoji="0" lang="en-GB" sz="1067"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C2</a:t>
            </a:r>
          </a:p>
        </p:txBody>
      </p:sp>
      <p:sp>
        <p:nvSpPr>
          <p:cNvPr id="85" name="Google Shape;795;p17 Cell 4, 1 to Text">
            <a:extLst>
              <a:ext uri="{FF2B5EF4-FFF2-40B4-BE49-F238E27FC236}">
                <a16:creationId xmlns:a16="http://schemas.microsoft.com/office/drawing/2014/main" id="{1F4A8244-4085-78D4-428E-260A0C194399}"/>
              </a:ext>
            </a:extLst>
          </p:cNvPr>
          <p:cNvSpPr txBox="1"/>
          <p:nvPr/>
        </p:nvSpPr>
        <p:spPr>
          <a:xfrm>
            <a:off x="5511635" y="2773535"/>
            <a:ext cx="715367" cy="414416"/>
          </a:xfrm>
          <a:prstGeom prst="rect">
            <a:avLst/>
          </a:prstGeom>
          <a:solidFill>
            <a:schemeClr val="bg1"/>
          </a:solidFill>
          <a:ln w="12700">
            <a:solidFill>
              <a:schemeClr val="bg1">
                <a:lumMod val="75000"/>
              </a:schemeClr>
            </a:solidFill>
          </a:ln>
        </p:spPr>
        <p:txBody>
          <a:bodyPr vert="horz" wrap="square" lIns="24392" tIns="24392" rIns="24392" bIns="24392" rtlCol="0" anchor="ctr" anchorCtr="0">
            <a:no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000000"/>
                </a:solidFill>
                <a:effectLst/>
                <a:uLnTx/>
                <a:uFillTx/>
                <a:latin typeface="Arial" panose="020B0604020202020204"/>
                <a:ea typeface="+mn-ea"/>
                <a:cs typeface="+mn-cs"/>
              </a:rPr>
              <a:t>C3</a:t>
            </a:r>
          </a:p>
        </p:txBody>
      </p:sp>
      <p:sp>
        <p:nvSpPr>
          <p:cNvPr id="90" name="Google Shape;795;p17 Cell 5, 1 to Text">
            <a:extLst>
              <a:ext uri="{FF2B5EF4-FFF2-40B4-BE49-F238E27FC236}">
                <a16:creationId xmlns:a16="http://schemas.microsoft.com/office/drawing/2014/main" id="{6FCB6049-47DD-CFAB-CC88-A469F6263F4E}"/>
              </a:ext>
            </a:extLst>
          </p:cNvPr>
          <p:cNvSpPr txBox="1"/>
          <p:nvPr/>
        </p:nvSpPr>
        <p:spPr>
          <a:xfrm>
            <a:off x="6226999" y="2773535"/>
            <a:ext cx="715367" cy="414416"/>
          </a:xfrm>
          <a:prstGeom prst="rect">
            <a:avLst/>
          </a:prstGeom>
          <a:solidFill>
            <a:schemeClr val="bg1"/>
          </a:solidFill>
          <a:ln w="12700">
            <a:solidFill>
              <a:schemeClr val="bg1">
                <a:lumMod val="75000"/>
              </a:schemeClr>
            </a:solidFill>
          </a:ln>
        </p:spPr>
        <p:txBody>
          <a:bodyPr vert="horz" wrap="square" lIns="24392" tIns="24392" rIns="24392" bIns="24392" rtlCol="0" anchor="ctr" anchorCtr="0">
            <a:noAutofit/>
          </a:bodyPr>
          <a:lstStyle/>
          <a:p>
            <a:pPr marL="0" marR="0" lvl="0" indent="0" algn="ctr" defTabSz="912724" rtl="0" eaLnBrk="1" fontAlgn="auto" latinLnBrk="0" hangingPunct="1">
              <a:lnSpc>
                <a:spcPct val="100000"/>
              </a:lnSpc>
              <a:spcBef>
                <a:spcPts val="0"/>
              </a:spcBef>
              <a:spcAft>
                <a:spcPts val="0"/>
              </a:spcAft>
              <a:buClr>
                <a:srgbClr val="000000"/>
              </a:buClr>
              <a:buSzPts val="800"/>
              <a:buFontTx/>
              <a:buNone/>
              <a:tabLst/>
              <a:defRPr/>
            </a:pPr>
            <a:r>
              <a:rPr kumimoji="0" lang="en-GB" sz="1067"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C4</a:t>
            </a:r>
          </a:p>
        </p:txBody>
      </p:sp>
      <p:sp>
        <p:nvSpPr>
          <p:cNvPr id="137" name="Google Shape;795;p17 Cell 6, 1 to Text">
            <a:extLst>
              <a:ext uri="{FF2B5EF4-FFF2-40B4-BE49-F238E27FC236}">
                <a16:creationId xmlns:a16="http://schemas.microsoft.com/office/drawing/2014/main" id="{808F9D49-938A-F0DE-10A2-059F4D7CAA2A}"/>
              </a:ext>
            </a:extLst>
          </p:cNvPr>
          <p:cNvSpPr txBox="1"/>
          <p:nvPr/>
        </p:nvSpPr>
        <p:spPr>
          <a:xfrm>
            <a:off x="6942366" y="2773535"/>
            <a:ext cx="715367" cy="414416"/>
          </a:xfrm>
          <a:prstGeom prst="rect">
            <a:avLst/>
          </a:prstGeom>
          <a:solidFill>
            <a:schemeClr val="bg1"/>
          </a:solidFill>
          <a:ln w="12700">
            <a:solidFill>
              <a:schemeClr val="bg1">
                <a:lumMod val="75000"/>
              </a:schemeClr>
            </a:solidFill>
          </a:ln>
        </p:spPr>
        <p:txBody>
          <a:bodyPr vert="horz" wrap="square" lIns="24392" tIns="24392" rIns="24392" bIns="24392" rtlCol="0" anchor="ctr" anchorCtr="0">
            <a:noAutofit/>
          </a:bodyPr>
          <a:lstStyle/>
          <a:p>
            <a:pPr marL="0" marR="0" lvl="0" indent="0" algn="ctr" defTabSz="912724" rtl="0" eaLnBrk="1" fontAlgn="auto" latinLnBrk="0" hangingPunct="1">
              <a:lnSpc>
                <a:spcPct val="100000"/>
              </a:lnSpc>
              <a:spcBef>
                <a:spcPts val="0"/>
              </a:spcBef>
              <a:spcAft>
                <a:spcPts val="0"/>
              </a:spcAft>
              <a:buClr>
                <a:srgbClr val="000000"/>
              </a:buClr>
              <a:buSzPts val="800"/>
              <a:buFontTx/>
              <a:buNone/>
              <a:tabLst/>
              <a:defRPr/>
            </a:pPr>
            <a:r>
              <a:rPr kumimoji="0" lang="en-GB" sz="1067"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C5</a:t>
            </a:r>
          </a:p>
        </p:txBody>
      </p:sp>
      <p:sp>
        <p:nvSpPr>
          <p:cNvPr id="138" name="Google Shape;795;p17 Cell 7, 1 to Text">
            <a:extLst>
              <a:ext uri="{FF2B5EF4-FFF2-40B4-BE49-F238E27FC236}">
                <a16:creationId xmlns:a16="http://schemas.microsoft.com/office/drawing/2014/main" id="{A73BF975-E563-3734-82BF-E936A0327C0C}"/>
              </a:ext>
            </a:extLst>
          </p:cNvPr>
          <p:cNvSpPr txBox="1"/>
          <p:nvPr/>
        </p:nvSpPr>
        <p:spPr>
          <a:xfrm>
            <a:off x="7657733" y="2773535"/>
            <a:ext cx="715367" cy="414416"/>
          </a:xfrm>
          <a:prstGeom prst="rect">
            <a:avLst/>
          </a:prstGeom>
          <a:solidFill>
            <a:schemeClr val="bg1"/>
          </a:solidFill>
          <a:ln w="12700">
            <a:solidFill>
              <a:schemeClr val="bg1">
                <a:lumMod val="75000"/>
              </a:schemeClr>
            </a:solidFill>
          </a:ln>
        </p:spPr>
        <p:txBody>
          <a:bodyPr vert="horz" wrap="square" lIns="24392" tIns="24392" rIns="24392" bIns="24392" rtlCol="0" anchor="ctr" anchorCtr="0">
            <a:noAutofit/>
          </a:bodyPr>
          <a:lstStyle/>
          <a:p>
            <a:pPr marL="0" marR="0" lvl="0" indent="0" algn="ctr" defTabSz="912724" rtl="0" eaLnBrk="1" fontAlgn="auto" latinLnBrk="0" hangingPunct="1">
              <a:lnSpc>
                <a:spcPct val="100000"/>
              </a:lnSpc>
              <a:spcBef>
                <a:spcPts val="0"/>
              </a:spcBef>
              <a:spcAft>
                <a:spcPts val="0"/>
              </a:spcAft>
              <a:buClr>
                <a:srgbClr val="000000"/>
              </a:buClr>
              <a:buSzPts val="800"/>
              <a:buFontTx/>
              <a:buNone/>
              <a:tabLst/>
              <a:defRPr/>
            </a:pPr>
            <a:r>
              <a:rPr kumimoji="0" lang="en-GB" sz="1067"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C6</a:t>
            </a:r>
          </a:p>
        </p:txBody>
      </p:sp>
      <p:sp>
        <p:nvSpPr>
          <p:cNvPr id="139" name="Google Shape;795;p17 Cell 8, 1 to Text">
            <a:extLst>
              <a:ext uri="{FF2B5EF4-FFF2-40B4-BE49-F238E27FC236}">
                <a16:creationId xmlns:a16="http://schemas.microsoft.com/office/drawing/2014/main" id="{35D2C00D-9CC7-8142-5804-38DCA05B5404}"/>
              </a:ext>
            </a:extLst>
          </p:cNvPr>
          <p:cNvSpPr txBox="1"/>
          <p:nvPr/>
        </p:nvSpPr>
        <p:spPr>
          <a:xfrm>
            <a:off x="8373098" y="2773535"/>
            <a:ext cx="715367" cy="414416"/>
          </a:xfrm>
          <a:prstGeom prst="rect">
            <a:avLst/>
          </a:prstGeom>
          <a:solidFill>
            <a:schemeClr val="bg1"/>
          </a:solidFill>
          <a:ln w="12700">
            <a:solidFill>
              <a:schemeClr val="bg1">
                <a:lumMod val="75000"/>
              </a:schemeClr>
            </a:solidFill>
          </a:ln>
        </p:spPr>
        <p:txBody>
          <a:bodyPr vert="horz" wrap="square" lIns="24392" tIns="24392" rIns="24392" bIns="24392" rtlCol="0" anchor="ctr" anchorCtr="0">
            <a:noAutofit/>
          </a:bodyPr>
          <a:lstStyle/>
          <a:p>
            <a:pPr marL="0" marR="0" lvl="0" indent="0" algn="ctr" defTabSz="912724" rtl="0" eaLnBrk="1" fontAlgn="auto" latinLnBrk="0" hangingPunct="1">
              <a:lnSpc>
                <a:spcPct val="100000"/>
              </a:lnSpc>
              <a:spcBef>
                <a:spcPts val="0"/>
              </a:spcBef>
              <a:spcAft>
                <a:spcPts val="0"/>
              </a:spcAft>
              <a:buClr>
                <a:srgbClr val="000000"/>
              </a:buClr>
              <a:buSzPts val="800"/>
              <a:buFontTx/>
              <a:buNone/>
              <a:tabLst/>
              <a:defRPr/>
            </a:pPr>
            <a:r>
              <a:rPr kumimoji="0" lang="en-GB" sz="1067"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C7</a:t>
            </a:r>
          </a:p>
        </p:txBody>
      </p:sp>
      <p:sp>
        <p:nvSpPr>
          <p:cNvPr id="140" name="Google Shape;795;p17 Cell 9, 1 to Text">
            <a:extLst>
              <a:ext uri="{FF2B5EF4-FFF2-40B4-BE49-F238E27FC236}">
                <a16:creationId xmlns:a16="http://schemas.microsoft.com/office/drawing/2014/main" id="{ED3558E7-8B2D-30C4-6133-E0D1D0997B8B}"/>
              </a:ext>
            </a:extLst>
          </p:cNvPr>
          <p:cNvSpPr txBox="1"/>
          <p:nvPr/>
        </p:nvSpPr>
        <p:spPr>
          <a:xfrm>
            <a:off x="9088464" y="2773535"/>
            <a:ext cx="748579" cy="414416"/>
          </a:xfrm>
          <a:prstGeom prst="rect">
            <a:avLst/>
          </a:prstGeom>
          <a:solidFill>
            <a:schemeClr val="bg1"/>
          </a:solidFill>
          <a:ln w="12700">
            <a:solidFill>
              <a:schemeClr val="bg1">
                <a:lumMod val="75000"/>
              </a:schemeClr>
            </a:solidFill>
          </a:ln>
        </p:spPr>
        <p:txBody>
          <a:bodyPr vert="horz" wrap="square" lIns="24392" tIns="24392" rIns="24392" bIns="24392" rtlCol="0" anchor="ctr" anchorCtr="0">
            <a:noAutofit/>
          </a:bodyPr>
          <a:lstStyle/>
          <a:p>
            <a:pPr marL="0" marR="0" lvl="0" indent="0" algn="ctr" defTabSz="912724" rtl="0" eaLnBrk="1" fontAlgn="auto" latinLnBrk="0" hangingPunct="1">
              <a:lnSpc>
                <a:spcPct val="100000"/>
              </a:lnSpc>
              <a:spcBef>
                <a:spcPts val="0"/>
              </a:spcBef>
              <a:spcAft>
                <a:spcPts val="0"/>
              </a:spcAft>
              <a:buClr>
                <a:srgbClr val="000000"/>
              </a:buClr>
              <a:buSzPts val="800"/>
              <a:buFontTx/>
              <a:buNone/>
              <a:tabLst/>
              <a:defRPr/>
            </a:pPr>
            <a:r>
              <a:rPr kumimoji="0" lang="en-GB" sz="1067"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C8</a:t>
            </a:r>
          </a:p>
        </p:txBody>
      </p:sp>
      <p:sp>
        <p:nvSpPr>
          <p:cNvPr id="141" name="Google Shape;795;p17 Cell 10, 1 to Text">
            <a:extLst>
              <a:ext uri="{FF2B5EF4-FFF2-40B4-BE49-F238E27FC236}">
                <a16:creationId xmlns:a16="http://schemas.microsoft.com/office/drawing/2014/main" id="{82F058B4-6C4E-9C29-4EE1-AC58D972E998}"/>
              </a:ext>
            </a:extLst>
          </p:cNvPr>
          <p:cNvSpPr txBox="1"/>
          <p:nvPr/>
        </p:nvSpPr>
        <p:spPr>
          <a:xfrm>
            <a:off x="9837272" y="2773535"/>
            <a:ext cx="1827677" cy="414416"/>
          </a:xfrm>
          <a:prstGeom prst="rect">
            <a:avLst/>
          </a:prstGeom>
          <a:solidFill>
            <a:schemeClr val="accent2"/>
          </a:solidFill>
          <a:ln w="12700">
            <a:solidFill>
              <a:schemeClr val="bg1">
                <a:lumMod val="75000"/>
              </a:schemeClr>
            </a:solidFill>
          </a:ln>
        </p:spPr>
        <p:txBody>
          <a:bodyPr vert="horz" wrap="square" lIns="24392" tIns="24392" rIns="24392" bIns="24392" rtlCol="0" anchor="ctr" anchorCtr="0">
            <a:noAutofit/>
          </a:bodyPr>
          <a:lstStyle/>
          <a:p>
            <a:pPr marL="0" marR="0" lvl="0" indent="0" algn="ctr" defTabSz="912724" rtl="0" eaLnBrk="1" fontAlgn="auto" latinLnBrk="0" hangingPunct="1">
              <a:lnSpc>
                <a:spcPct val="100000"/>
              </a:lnSpc>
              <a:spcBef>
                <a:spcPts val="0"/>
              </a:spcBef>
              <a:spcAft>
                <a:spcPts val="0"/>
              </a:spcAft>
              <a:buClr>
                <a:srgbClr val="000000"/>
              </a:buClr>
              <a:buSzPts val="900"/>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Arial"/>
                <a:cs typeface="Arial"/>
                <a:sym typeface="Arial"/>
              </a:rPr>
              <a:t>Follow up after </a:t>
            </a:r>
            <a:br>
              <a:rPr kumimoji="0" lang="en-GB" sz="1200" b="0" i="0" u="none" strike="noStrike" kern="1200" cap="none" spc="0" normalizeH="0" baseline="0" noProof="0" dirty="0">
                <a:ln>
                  <a:noFill/>
                </a:ln>
                <a:solidFill>
                  <a:srgbClr val="FFFFFF"/>
                </a:solidFill>
                <a:effectLst/>
                <a:uLnTx/>
                <a:uFillTx/>
                <a:latin typeface="Arial" panose="020B0604020202020204"/>
                <a:ea typeface="Arial"/>
                <a:cs typeface="Arial"/>
                <a:sym typeface="Arial"/>
              </a:rPr>
            </a:br>
            <a:r>
              <a:rPr kumimoji="0" lang="en-GB" sz="1200" b="0" i="0" u="none" strike="noStrike" kern="1200" cap="none" spc="0" normalizeH="0" baseline="0" noProof="0" dirty="0">
                <a:ln>
                  <a:noFill/>
                </a:ln>
                <a:solidFill>
                  <a:srgbClr val="FFFFFF"/>
                </a:solidFill>
                <a:effectLst/>
                <a:uLnTx/>
                <a:uFillTx/>
                <a:latin typeface="Arial" panose="020B0604020202020204"/>
                <a:ea typeface="Arial"/>
                <a:cs typeface="Arial"/>
                <a:sym typeface="Arial"/>
              </a:rPr>
              <a:t>drug completion</a:t>
            </a:r>
            <a:endPar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endParaRPr>
          </a:p>
        </p:txBody>
      </p:sp>
      <p:grpSp>
        <p:nvGrpSpPr>
          <p:cNvPr id="164" name="Group 163">
            <a:extLst>
              <a:ext uri="{FF2B5EF4-FFF2-40B4-BE49-F238E27FC236}">
                <a16:creationId xmlns:a16="http://schemas.microsoft.com/office/drawing/2014/main" id="{D0E5A846-88DD-F7C4-C202-165818E1C89A}"/>
              </a:ext>
            </a:extLst>
          </p:cNvPr>
          <p:cNvGrpSpPr/>
          <p:nvPr/>
        </p:nvGrpSpPr>
        <p:grpSpPr>
          <a:xfrm>
            <a:off x="7742541" y="6030979"/>
            <a:ext cx="2535981" cy="600548"/>
            <a:chOff x="6203283" y="4524706"/>
            <a:chExt cx="1902646" cy="450567"/>
          </a:xfrm>
        </p:grpSpPr>
        <p:sp>
          <p:nvSpPr>
            <p:cNvPr id="165" name="Google Shape;807;p17">
              <a:extLst>
                <a:ext uri="{FF2B5EF4-FFF2-40B4-BE49-F238E27FC236}">
                  <a16:creationId xmlns:a16="http://schemas.microsoft.com/office/drawing/2014/main" id="{9C4B4DCE-4DEB-7E6B-72CD-7749244ED62A}"/>
                </a:ext>
              </a:extLst>
            </p:cNvPr>
            <p:cNvSpPr txBox="1"/>
            <p:nvPr/>
          </p:nvSpPr>
          <p:spPr>
            <a:xfrm>
              <a:off x="7556098" y="4728870"/>
              <a:ext cx="549831" cy="246403"/>
            </a:xfrm>
            <a:prstGeom prst="rect">
              <a:avLst/>
            </a:prstGeom>
            <a:noFill/>
            <a:ln>
              <a:noFill/>
            </a:ln>
          </p:spPr>
          <p:txBody>
            <a:bodyPr spcFirstLastPara="1" wrap="square" lIns="0" tIns="0" rIns="0" bIns="0" anchor="ctr" anchorCtr="0">
              <a:spAutoFit/>
            </a:bodyPr>
            <a:lstStyle/>
            <a:p>
              <a:pPr marL="0" marR="0" lvl="0" indent="0" algn="ctr" defTabSz="609402" rtl="0" eaLnBrk="1" fontAlgn="auto" latinLnBrk="0" hangingPunct="1">
                <a:lnSpc>
                  <a:spcPct val="100000"/>
                </a:lnSpc>
                <a:spcBef>
                  <a:spcPts val="0"/>
                </a:spcBef>
                <a:spcAft>
                  <a:spcPts val="0"/>
                </a:spcAft>
                <a:buClr>
                  <a:srgbClr val="000000"/>
                </a:buClr>
                <a:buSzPts val="1100"/>
                <a:buFontTx/>
                <a:buNone/>
                <a:tabLst/>
                <a:defRPr/>
              </a:pPr>
              <a:r>
                <a:rPr kumimoji="0" lang="en-GB" sz="1067" b="0" i="0" u="none" strike="noStrike" kern="1200" cap="none" spc="0" normalizeH="0" baseline="0" noProof="0" dirty="0">
                  <a:ln>
                    <a:noFill/>
                  </a:ln>
                  <a:solidFill>
                    <a:srgbClr val="000000"/>
                  </a:solidFill>
                  <a:effectLst/>
                  <a:uLnTx/>
                  <a:uFillTx/>
                  <a:latin typeface="Arial"/>
                  <a:ea typeface="Arial"/>
                  <a:cs typeface="Arial"/>
                  <a:sym typeface="Arial"/>
                </a:rPr>
                <a:t>Tumor</a:t>
              </a:r>
              <a:br>
                <a:rPr kumimoji="0" lang="en-GB" sz="1067" b="0" i="0" u="none" strike="noStrike" kern="1200" cap="none" spc="0" normalizeH="0" baseline="0" noProof="0" dirty="0">
                  <a:ln>
                    <a:noFill/>
                  </a:ln>
                  <a:solidFill>
                    <a:srgbClr val="000000"/>
                  </a:solidFill>
                  <a:effectLst/>
                  <a:uLnTx/>
                  <a:uFillTx/>
                  <a:latin typeface="Arial"/>
                  <a:ea typeface="Arial"/>
                  <a:cs typeface="Arial"/>
                  <a:sym typeface="Arial"/>
                </a:rPr>
              </a:br>
              <a:r>
                <a:rPr kumimoji="0" lang="en-GB" sz="1067" b="0" i="0" u="none" strike="noStrike" kern="1200" cap="none" spc="0" normalizeH="0" baseline="0" noProof="0" dirty="0">
                  <a:ln>
                    <a:noFill/>
                  </a:ln>
                  <a:solidFill>
                    <a:srgbClr val="000000"/>
                  </a:solidFill>
                  <a:effectLst/>
                  <a:uLnTx/>
                  <a:uFillTx/>
                  <a:latin typeface="Arial"/>
                  <a:ea typeface="Arial"/>
                  <a:cs typeface="Arial"/>
                  <a:sym typeface="Arial"/>
                </a:rPr>
                <a:t>assessment</a:t>
              </a:r>
              <a:endParaRPr kumimoji="0" sz="1067" b="0" i="0" u="none" strike="noStrike" kern="1200" cap="none" spc="0" normalizeH="0" baseline="0" noProof="0" dirty="0">
                <a:ln>
                  <a:noFill/>
                </a:ln>
                <a:solidFill>
                  <a:srgbClr val="000000"/>
                </a:solidFill>
                <a:effectLst/>
                <a:uLnTx/>
                <a:uFillTx/>
                <a:latin typeface="Arial"/>
                <a:ea typeface="Arial"/>
                <a:cs typeface="Arial"/>
                <a:sym typeface="Arial"/>
              </a:endParaRPr>
            </a:p>
          </p:txBody>
        </p:sp>
        <p:cxnSp>
          <p:nvCxnSpPr>
            <p:cNvPr id="166" name="Google Shape;808;p17">
              <a:extLst>
                <a:ext uri="{FF2B5EF4-FFF2-40B4-BE49-F238E27FC236}">
                  <a16:creationId xmlns:a16="http://schemas.microsoft.com/office/drawing/2014/main" id="{5A4C5255-DCEC-17D7-1610-449F6733108D}"/>
                </a:ext>
              </a:extLst>
            </p:cNvPr>
            <p:cNvCxnSpPr>
              <a:cxnSpLocks/>
            </p:cNvCxnSpPr>
            <p:nvPr/>
          </p:nvCxnSpPr>
          <p:spPr>
            <a:xfrm rot="10800000">
              <a:off x="7831013" y="4524706"/>
              <a:ext cx="0" cy="180171"/>
            </a:xfrm>
            <a:prstGeom prst="straightConnector1">
              <a:avLst/>
            </a:prstGeom>
            <a:noFill/>
            <a:ln w="38100" cap="flat" cmpd="sng">
              <a:solidFill>
                <a:schemeClr val="tx1"/>
              </a:solidFill>
              <a:prstDash val="solid"/>
              <a:round/>
              <a:headEnd type="none" w="sm" len="sm"/>
              <a:tailEnd type="stealth" w="med" len="med"/>
            </a:ln>
          </p:spPr>
        </p:cxnSp>
        <p:cxnSp>
          <p:nvCxnSpPr>
            <p:cNvPr id="167" name="Google Shape;809;p17">
              <a:extLst>
                <a:ext uri="{FF2B5EF4-FFF2-40B4-BE49-F238E27FC236}">
                  <a16:creationId xmlns:a16="http://schemas.microsoft.com/office/drawing/2014/main" id="{F90E248E-25DB-1DCE-C5E0-514CD670A102}"/>
                </a:ext>
              </a:extLst>
            </p:cNvPr>
            <p:cNvCxnSpPr>
              <a:cxnSpLocks/>
            </p:cNvCxnSpPr>
            <p:nvPr/>
          </p:nvCxnSpPr>
          <p:spPr>
            <a:xfrm>
              <a:off x="7306604" y="4541149"/>
              <a:ext cx="0" cy="180170"/>
            </a:xfrm>
            <a:prstGeom prst="straightConnector1">
              <a:avLst/>
            </a:prstGeom>
            <a:noFill/>
            <a:ln w="38100" cap="flat" cmpd="sng">
              <a:solidFill>
                <a:schemeClr val="tx2"/>
              </a:solidFill>
              <a:prstDash val="solid"/>
              <a:round/>
              <a:headEnd type="none" w="sm" len="sm"/>
              <a:tailEnd type="stealth" w="med" len="med"/>
            </a:ln>
          </p:spPr>
        </p:cxnSp>
        <p:cxnSp>
          <p:nvCxnSpPr>
            <p:cNvPr id="168" name="Google Shape;810;p17">
              <a:extLst>
                <a:ext uri="{FF2B5EF4-FFF2-40B4-BE49-F238E27FC236}">
                  <a16:creationId xmlns:a16="http://schemas.microsoft.com/office/drawing/2014/main" id="{160ECEAD-2712-BF29-9EE5-850EE50E3B3B}"/>
                </a:ext>
              </a:extLst>
            </p:cNvPr>
            <p:cNvCxnSpPr>
              <a:cxnSpLocks/>
            </p:cNvCxnSpPr>
            <p:nvPr/>
          </p:nvCxnSpPr>
          <p:spPr>
            <a:xfrm>
              <a:off x="6793542" y="4541149"/>
              <a:ext cx="0" cy="180170"/>
            </a:xfrm>
            <a:prstGeom prst="straightConnector1">
              <a:avLst/>
            </a:prstGeom>
            <a:noFill/>
            <a:ln w="38100" cap="flat" cmpd="sng">
              <a:solidFill>
                <a:srgbClr val="7F7F7F"/>
              </a:solidFill>
              <a:prstDash val="solid"/>
              <a:round/>
              <a:headEnd type="none" w="sm" len="sm"/>
              <a:tailEnd type="stealth" w="med" len="med"/>
            </a:ln>
          </p:spPr>
        </p:cxnSp>
        <p:sp>
          <p:nvSpPr>
            <p:cNvPr id="169" name="Google Shape;811;p17">
              <a:extLst>
                <a:ext uri="{FF2B5EF4-FFF2-40B4-BE49-F238E27FC236}">
                  <a16:creationId xmlns:a16="http://schemas.microsoft.com/office/drawing/2014/main" id="{89C049D9-9A9C-0AC4-3B44-D87B94DDD04B}"/>
                </a:ext>
              </a:extLst>
            </p:cNvPr>
            <p:cNvSpPr txBox="1"/>
            <p:nvPr/>
          </p:nvSpPr>
          <p:spPr>
            <a:xfrm>
              <a:off x="6203283" y="4729089"/>
              <a:ext cx="306681" cy="123202"/>
            </a:xfrm>
            <a:prstGeom prst="rect">
              <a:avLst/>
            </a:prstGeom>
            <a:noFill/>
            <a:ln>
              <a:noFill/>
            </a:ln>
          </p:spPr>
          <p:txBody>
            <a:bodyPr spcFirstLastPara="1" wrap="none" lIns="0" tIns="0" rIns="0" bIns="0" anchor="ctr" anchorCtr="0">
              <a:spAutoFit/>
            </a:bodyPr>
            <a:lstStyle/>
            <a:p>
              <a:pPr marL="0" marR="0" lvl="0" indent="0" algn="ctr" defTabSz="609402" rtl="0" eaLnBrk="1" fontAlgn="auto" latinLnBrk="0" hangingPunct="1">
                <a:lnSpc>
                  <a:spcPct val="100000"/>
                </a:lnSpc>
                <a:spcBef>
                  <a:spcPts val="0"/>
                </a:spcBef>
                <a:spcAft>
                  <a:spcPts val="0"/>
                </a:spcAft>
                <a:buClr>
                  <a:srgbClr val="000000"/>
                </a:buClr>
                <a:buSzPts val="1100"/>
                <a:buFontTx/>
                <a:buNone/>
                <a:tabLst/>
                <a:defRPr/>
              </a:pPr>
              <a:r>
                <a:rPr kumimoji="0" lang="en-GB" sz="1067" b="0" i="0" u="none" strike="noStrike" kern="1200" cap="none" spc="0" normalizeH="0" baseline="0" noProof="0" dirty="0">
                  <a:ln>
                    <a:noFill/>
                  </a:ln>
                  <a:solidFill>
                    <a:srgbClr val="000000"/>
                  </a:solidFill>
                  <a:effectLst/>
                  <a:uLnTx/>
                  <a:uFillTx/>
                  <a:latin typeface="Arial"/>
                  <a:ea typeface="Arial"/>
                  <a:cs typeface="Arial"/>
                  <a:sym typeface="Arial"/>
                </a:rPr>
                <a:t>Mosun</a:t>
              </a:r>
              <a:endParaRPr kumimoji="0" sz="1067"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170" name="Google Shape;812;p17">
              <a:extLst>
                <a:ext uri="{FF2B5EF4-FFF2-40B4-BE49-F238E27FC236}">
                  <a16:creationId xmlns:a16="http://schemas.microsoft.com/office/drawing/2014/main" id="{716CF20D-BF80-C9DA-7B3C-23A9C4C7D03A}"/>
                </a:ext>
              </a:extLst>
            </p:cNvPr>
            <p:cNvSpPr txBox="1"/>
            <p:nvPr/>
          </p:nvSpPr>
          <p:spPr>
            <a:xfrm>
              <a:off x="6691315" y="4729089"/>
              <a:ext cx="204453" cy="123202"/>
            </a:xfrm>
            <a:prstGeom prst="rect">
              <a:avLst/>
            </a:prstGeom>
            <a:noFill/>
            <a:ln>
              <a:noFill/>
            </a:ln>
          </p:spPr>
          <p:txBody>
            <a:bodyPr spcFirstLastPara="1" wrap="none" lIns="0" tIns="0" rIns="0" bIns="0" anchor="ctr" anchorCtr="0">
              <a:spAutoFit/>
            </a:bodyPr>
            <a:lstStyle/>
            <a:p>
              <a:pPr marL="0" marR="0" lvl="0" indent="0" algn="ctr" defTabSz="609402" rtl="0" eaLnBrk="1" fontAlgn="auto" latinLnBrk="0" hangingPunct="1">
                <a:lnSpc>
                  <a:spcPct val="100000"/>
                </a:lnSpc>
                <a:spcBef>
                  <a:spcPts val="0"/>
                </a:spcBef>
                <a:spcAft>
                  <a:spcPts val="0"/>
                </a:spcAft>
                <a:buClr>
                  <a:srgbClr val="000000"/>
                </a:buClr>
                <a:buSzPts val="1100"/>
                <a:buFontTx/>
                <a:buNone/>
                <a:tabLst/>
                <a:defRPr/>
              </a:pPr>
              <a:r>
                <a:rPr kumimoji="0" lang="en-GB" sz="1067" b="0" i="0" u="none" strike="noStrike" kern="1200" cap="none" spc="0" normalizeH="0" baseline="0" noProof="0" dirty="0">
                  <a:ln>
                    <a:noFill/>
                  </a:ln>
                  <a:solidFill>
                    <a:srgbClr val="000000"/>
                  </a:solidFill>
                  <a:effectLst/>
                  <a:uLnTx/>
                  <a:uFillTx/>
                  <a:latin typeface="Arial"/>
                  <a:ea typeface="Arial"/>
                  <a:cs typeface="Arial"/>
                  <a:sym typeface="Arial"/>
                </a:rPr>
                <a:t>Pola</a:t>
              </a:r>
              <a:endParaRPr kumimoji="0" sz="1467"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1" name="Google Shape;813;p17">
              <a:extLst>
                <a:ext uri="{FF2B5EF4-FFF2-40B4-BE49-F238E27FC236}">
                  <a16:creationId xmlns:a16="http://schemas.microsoft.com/office/drawing/2014/main" id="{39A7AB83-0EF3-337D-B41B-E15ED0774BE1}"/>
                </a:ext>
              </a:extLst>
            </p:cNvPr>
            <p:cNvSpPr txBox="1"/>
            <p:nvPr/>
          </p:nvSpPr>
          <p:spPr>
            <a:xfrm>
              <a:off x="7076293" y="4729089"/>
              <a:ext cx="460623" cy="123202"/>
            </a:xfrm>
            <a:prstGeom prst="rect">
              <a:avLst/>
            </a:prstGeom>
            <a:noFill/>
            <a:ln>
              <a:noFill/>
            </a:ln>
          </p:spPr>
          <p:txBody>
            <a:bodyPr spcFirstLastPara="1" wrap="none" lIns="0" tIns="0" rIns="0" bIns="0" anchor="ctr" anchorCtr="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000000"/>
                  </a:solidFill>
                  <a:effectLst/>
                  <a:uLnTx/>
                  <a:uFillTx/>
                  <a:latin typeface="Arial"/>
                  <a:ea typeface="Arial"/>
                  <a:cs typeface="Arial"/>
                  <a:sym typeface="Arial"/>
                </a:rPr>
                <a:t>R-GemOx</a:t>
              </a:r>
              <a:endParaRPr kumimoji="0" sz="1067" b="0" i="0" u="none" strike="noStrike" kern="1200" cap="none" spc="0" normalizeH="0" baseline="0" noProof="0" dirty="0">
                <a:ln>
                  <a:noFill/>
                </a:ln>
                <a:solidFill>
                  <a:srgbClr val="000000"/>
                </a:solidFill>
                <a:effectLst/>
                <a:uLnTx/>
                <a:uFillTx/>
                <a:latin typeface="Arial"/>
                <a:ea typeface="Arial"/>
                <a:cs typeface="Arial"/>
                <a:sym typeface="Arial"/>
              </a:endParaRPr>
            </a:p>
          </p:txBody>
        </p:sp>
        <p:cxnSp>
          <p:nvCxnSpPr>
            <p:cNvPr id="172" name="Google Shape;814;p17">
              <a:extLst>
                <a:ext uri="{FF2B5EF4-FFF2-40B4-BE49-F238E27FC236}">
                  <a16:creationId xmlns:a16="http://schemas.microsoft.com/office/drawing/2014/main" id="{E7C40072-F401-1C64-24AD-11DFD7F6A5CA}"/>
                </a:ext>
              </a:extLst>
            </p:cNvPr>
            <p:cNvCxnSpPr>
              <a:cxnSpLocks/>
            </p:cNvCxnSpPr>
            <p:nvPr/>
          </p:nvCxnSpPr>
          <p:spPr>
            <a:xfrm>
              <a:off x="6356623" y="4541149"/>
              <a:ext cx="0" cy="180170"/>
            </a:xfrm>
            <a:prstGeom prst="straightConnector1">
              <a:avLst/>
            </a:prstGeom>
            <a:noFill/>
            <a:ln w="38100" cap="flat" cmpd="sng">
              <a:solidFill>
                <a:srgbClr val="00B050"/>
              </a:solidFill>
              <a:prstDash val="solid"/>
              <a:round/>
              <a:headEnd type="none" w="sm" len="sm"/>
              <a:tailEnd type="stealth" w="med" len="med"/>
            </a:ln>
          </p:spPr>
        </p:cxnSp>
      </p:grpSp>
      <p:cxnSp>
        <p:nvCxnSpPr>
          <p:cNvPr id="4" name="Google Shape;841;p17">
            <a:extLst>
              <a:ext uri="{FF2B5EF4-FFF2-40B4-BE49-F238E27FC236}">
                <a16:creationId xmlns:a16="http://schemas.microsoft.com/office/drawing/2014/main" id="{55C70C8A-6E21-21DC-B219-3FC5B95E28B4}"/>
              </a:ext>
            </a:extLst>
          </p:cNvPr>
          <p:cNvCxnSpPr>
            <a:cxnSpLocks/>
          </p:cNvCxnSpPr>
          <p:nvPr/>
        </p:nvCxnSpPr>
        <p:spPr>
          <a:xfrm rot="10800000">
            <a:off x="9848141" y="5196692"/>
            <a:ext cx="0" cy="246315"/>
          </a:xfrm>
          <a:prstGeom prst="straightConnector1">
            <a:avLst/>
          </a:prstGeom>
          <a:noFill/>
          <a:ln w="38100" cap="flat" cmpd="sng">
            <a:solidFill>
              <a:schemeClr val="tx1"/>
            </a:solidFill>
            <a:prstDash val="solid"/>
            <a:round/>
            <a:headEnd type="none" w="sm" len="sm"/>
            <a:tailEnd type="stealth" w="med" len="med"/>
          </a:ln>
        </p:spPr>
      </p:cxnSp>
      <p:sp>
        <p:nvSpPr>
          <p:cNvPr id="10" name="Google Shape;838;p17">
            <a:extLst>
              <a:ext uri="{FF2B5EF4-FFF2-40B4-BE49-F238E27FC236}">
                <a16:creationId xmlns:a16="http://schemas.microsoft.com/office/drawing/2014/main" id="{388C8E4A-FEA5-F00D-9DAE-0EBD65601FFE}"/>
              </a:ext>
            </a:extLst>
          </p:cNvPr>
          <p:cNvSpPr txBox="1"/>
          <p:nvPr/>
        </p:nvSpPr>
        <p:spPr>
          <a:xfrm>
            <a:off x="9619835" y="5487420"/>
            <a:ext cx="434414" cy="369332"/>
          </a:xfrm>
          <a:prstGeom prst="rect">
            <a:avLst/>
          </a:prstGeom>
          <a:noFill/>
          <a:ln>
            <a:noFill/>
          </a:ln>
        </p:spPr>
        <p:txBody>
          <a:bodyPr spcFirstLastPara="1" wrap="none" lIns="0" tIns="0" rIns="0" bIns="0" anchor="ctr" anchorCtr="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24 </a:t>
            </a:r>
            <a:b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br>
            <a:r>
              <a:rPr kumimoji="0" lang="en-GB"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weeks</a:t>
            </a:r>
            <a:endParaRPr kumimoji="0" sz="1200" b="0" i="0" u="none" strike="noStrike" kern="1200" cap="none" spc="0" normalizeH="0" baseline="0" noProof="0" dirty="0">
              <a:ln>
                <a:noFill/>
              </a:ln>
              <a:solidFill>
                <a:srgbClr val="000000"/>
              </a:solidFill>
              <a:effectLst/>
              <a:uLnTx/>
              <a:uFillTx/>
              <a:latin typeface="Arial" panose="020B0604020202020204"/>
              <a:ea typeface="Arial"/>
              <a:cs typeface="Arial"/>
              <a:sym typeface="Arial"/>
            </a:endParaRPr>
          </a:p>
        </p:txBody>
      </p:sp>
      <p:sp>
        <p:nvSpPr>
          <p:cNvPr id="11" name="Google Shape;843;p17">
            <a:extLst>
              <a:ext uri="{FF2B5EF4-FFF2-40B4-BE49-F238E27FC236}">
                <a16:creationId xmlns:a16="http://schemas.microsoft.com/office/drawing/2014/main" id="{6D85746C-2C20-6CE6-8473-84C52F4A36F8}"/>
              </a:ext>
            </a:extLst>
          </p:cNvPr>
          <p:cNvSpPr txBox="1"/>
          <p:nvPr/>
        </p:nvSpPr>
        <p:spPr>
          <a:xfrm>
            <a:off x="10086539" y="5485672"/>
            <a:ext cx="171522" cy="205121"/>
          </a:xfrm>
          <a:prstGeom prst="rect">
            <a:avLst/>
          </a:prstGeom>
          <a:noFill/>
          <a:ln>
            <a:noFill/>
          </a:ln>
        </p:spPr>
        <p:txBody>
          <a:bodyPr spcFirstLastPara="1" wrap="none" lIns="0" tIns="0" rIns="0" bIns="0" anchor="ctr" anchorCtr="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333" b="1" i="0" u="none" strike="noStrike" kern="1200" cap="none" spc="0" normalizeH="0" baseline="0" noProof="0" dirty="0">
                <a:ln>
                  <a:noFill/>
                </a:ln>
                <a:solidFill>
                  <a:srgbClr val="000000"/>
                </a:solidFill>
                <a:effectLst/>
                <a:uLnTx/>
                <a:uFillTx/>
                <a:latin typeface="Arial" panose="020B0604020202020204"/>
                <a:ea typeface="+mn-ea"/>
                <a:cs typeface="+mn-cs"/>
              </a:rPr>
              <a:t>…</a:t>
            </a:r>
            <a:endParaRPr kumimoji="0" sz="1333"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 name="Google Shape;844;p17">
            <a:extLst>
              <a:ext uri="{FF2B5EF4-FFF2-40B4-BE49-F238E27FC236}">
                <a16:creationId xmlns:a16="http://schemas.microsoft.com/office/drawing/2014/main" id="{75A5F35D-A29C-7610-2D52-2A2BF658ADBE}"/>
              </a:ext>
            </a:extLst>
          </p:cNvPr>
          <p:cNvSpPr txBox="1"/>
          <p:nvPr/>
        </p:nvSpPr>
        <p:spPr>
          <a:xfrm>
            <a:off x="10086539" y="3464088"/>
            <a:ext cx="171522" cy="205121"/>
          </a:xfrm>
          <a:prstGeom prst="rect">
            <a:avLst/>
          </a:prstGeom>
          <a:noFill/>
          <a:ln>
            <a:noFill/>
          </a:ln>
        </p:spPr>
        <p:txBody>
          <a:bodyPr spcFirstLastPara="1" wrap="none" lIns="0" tIns="0" rIns="0" bIns="0" anchor="ctr" anchorCtr="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333" b="1" i="0" u="none" strike="noStrike" kern="1200" cap="none" spc="0" normalizeH="0" baseline="0" noProof="0" dirty="0">
                <a:ln>
                  <a:noFill/>
                </a:ln>
                <a:solidFill>
                  <a:srgbClr val="000000"/>
                </a:solidFill>
                <a:effectLst/>
                <a:uLnTx/>
                <a:uFillTx/>
                <a:latin typeface="Arial" panose="020B0604020202020204"/>
                <a:ea typeface="+mn-ea"/>
                <a:cs typeface="+mn-cs"/>
              </a:rPr>
              <a:t>…</a:t>
            </a:r>
            <a:endParaRPr kumimoji="0" sz="1333"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 name="Text Placeholder 3">
            <a:extLst>
              <a:ext uri="{FF2B5EF4-FFF2-40B4-BE49-F238E27FC236}">
                <a16:creationId xmlns:a16="http://schemas.microsoft.com/office/drawing/2014/main" id="{2E5F6233-FF80-2637-6E25-F0986C406DF2}"/>
              </a:ext>
            </a:extLst>
          </p:cNvPr>
          <p:cNvSpPr txBox="1">
            <a:spLocks/>
          </p:cNvSpPr>
          <p:nvPr/>
        </p:nvSpPr>
        <p:spPr>
          <a:xfrm>
            <a:off x="383852" y="5984392"/>
            <a:ext cx="5807649" cy="540885"/>
          </a:xfrm>
          <a:prstGeom prst="rect">
            <a:avLst/>
          </a:prstGeom>
        </p:spPr>
        <p:txBody>
          <a:bodyPr lIns="0" tIns="0" rIns="0" bIns="0" anchor="b"/>
          <a:lstStyle>
            <a:lvl1pPr marL="0" indent="0" algn="l" rtl="0" eaLnBrk="1" fontAlgn="base" hangingPunct="1">
              <a:spcBef>
                <a:spcPts val="0"/>
              </a:spcBef>
              <a:spcAft>
                <a:spcPts val="225"/>
              </a:spcAft>
              <a:buClr>
                <a:schemeClr val="accent6">
                  <a:lumMod val="40000"/>
                  <a:lumOff val="60000"/>
                </a:schemeClr>
              </a:buClr>
              <a:buFont typeface="Arial" pitchFamily="34" charset="0"/>
              <a:buNone/>
              <a:tabLst/>
              <a:defRPr sz="810" kern="1200">
                <a:solidFill>
                  <a:schemeClr val="tx1"/>
                </a:solidFill>
                <a:latin typeface="+mn-lt"/>
                <a:ea typeface="+mn-ea"/>
                <a:cs typeface="Arial" panose="020B0604020202020204" pitchFamily="34" charset="0"/>
              </a:defRPr>
            </a:lvl1pPr>
            <a:lvl2pPr marL="380424" indent="-208045" algn="l" rtl="0" eaLnBrk="1" fontAlgn="base" hangingPunct="1">
              <a:spcBef>
                <a:spcPts val="0"/>
              </a:spcBef>
              <a:spcAft>
                <a:spcPts val="225"/>
              </a:spcAft>
              <a:buClr>
                <a:schemeClr val="accent6">
                  <a:lumMod val="40000"/>
                  <a:lumOff val="60000"/>
                </a:schemeClr>
              </a:buClr>
              <a:buFont typeface="Arial" pitchFamily="34" charset="0"/>
              <a:buChar char="–"/>
              <a:defRPr sz="1500" kern="1200">
                <a:solidFill>
                  <a:schemeClr val="tx2">
                    <a:lumMod val="50000"/>
                  </a:schemeClr>
                </a:solidFill>
                <a:latin typeface="Arial Narrow" panose="020B0606020202030204" pitchFamily="34" charset="0"/>
                <a:ea typeface="+mn-ea"/>
                <a:cs typeface="Arial" pitchFamily="34" charset="0"/>
              </a:defRPr>
            </a:lvl2pPr>
            <a:lvl3pPr marL="548049" indent="-164056" algn="l" rtl="0" eaLnBrk="1" fontAlgn="base" hangingPunct="1">
              <a:spcBef>
                <a:spcPts val="0"/>
              </a:spcBef>
              <a:spcAft>
                <a:spcPts val="225"/>
              </a:spcAft>
              <a:buClr>
                <a:schemeClr val="accent6">
                  <a:lumMod val="40000"/>
                  <a:lumOff val="60000"/>
                </a:schemeClr>
              </a:buClr>
              <a:buFont typeface="Arial" pitchFamily="34" charset="0"/>
              <a:buChar char="•"/>
              <a:defRPr sz="1500" kern="1200">
                <a:solidFill>
                  <a:schemeClr val="tx2">
                    <a:lumMod val="50000"/>
                  </a:schemeClr>
                </a:solidFill>
                <a:latin typeface="Arial Narrow" panose="020B0606020202030204" pitchFamily="34" charset="0"/>
                <a:ea typeface="+mn-ea"/>
                <a:cs typeface="Arial" pitchFamily="34" charset="0"/>
              </a:defRPr>
            </a:lvl3pPr>
            <a:lvl4pPr marL="710920" indent="-158116" algn="l" rtl="0" eaLnBrk="1" fontAlgn="base" hangingPunct="1">
              <a:spcBef>
                <a:spcPts val="0"/>
              </a:spcBef>
              <a:spcAft>
                <a:spcPts val="225"/>
              </a:spcAft>
              <a:buClr>
                <a:schemeClr val="accent6">
                  <a:lumMod val="40000"/>
                  <a:lumOff val="60000"/>
                </a:schemeClr>
              </a:buClr>
              <a:buFont typeface="Arial" pitchFamily="34" charset="0"/>
              <a:buChar char="•"/>
              <a:defRPr sz="1500" kern="1200">
                <a:solidFill>
                  <a:schemeClr val="tx2">
                    <a:lumMod val="50000"/>
                  </a:schemeClr>
                </a:solidFill>
                <a:latin typeface="Arial Narrow" panose="020B0606020202030204" pitchFamily="34" charset="0"/>
                <a:ea typeface="+mn-ea"/>
                <a:cs typeface="Arial" pitchFamily="34" charset="0"/>
              </a:defRPr>
            </a:lvl4pPr>
            <a:lvl5pPr marL="1540723" indent="-171191" algn="l" rtl="0" eaLnBrk="1" fontAlgn="base" hangingPunct="1">
              <a:spcBef>
                <a:spcPct val="20000"/>
              </a:spcBef>
              <a:spcAft>
                <a:spcPct val="0"/>
              </a:spcAft>
              <a:buFont typeface="Arial" charset="0"/>
              <a:buChar char="»"/>
              <a:defRPr sz="1500" kern="1200">
                <a:solidFill>
                  <a:schemeClr val="tx1"/>
                </a:solidFill>
                <a:latin typeface="Arial" pitchFamily="34" charset="0"/>
                <a:ea typeface="+mn-ea"/>
                <a:cs typeface="Arial" pitchFamily="34" charset="0"/>
              </a:defRPr>
            </a:lvl5pPr>
            <a:lvl6pPr marL="1883105" indent="-171191" algn="l" defTabSz="68476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5488" indent="-171191" algn="l" defTabSz="68476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7872" indent="-171191" algn="l" defTabSz="68476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0254" indent="-171191" algn="l" defTabSz="68476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1218804" rtl="0" eaLnBrk="1" fontAlgn="base" latinLnBrk="0" hangingPunct="1">
              <a:lnSpc>
                <a:spcPct val="100000"/>
              </a:lnSpc>
              <a:spcBef>
                <a:spcPts val="0"/>
              </a:spcBef>
              <a:spcAft>
                <a:spcPts val="225"/>
              </a:spcAft>
              <a:buClr>
                <a:srgbClr val="ED4A0D">
                  <a:lumMod val="40000"/>
                  <a:lumOff val="60000"/>
                </a:srgbClr>
              </a:buClr>
              <a:buSzTx/>
              <a:buFont typeface="Arial" pitchFamily="34" charset="0"/>
              <a:buNone/>
              <a:tabLst/>
              <a:defRPr/>
            </a:pPr>
            <a:r>
              <a:rPr kumimoji="0" lang="en-GB" sz="933"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14-day cycles unless delayed to 21-day cycles if needed in case of hematologic toxicity. </a:t>
            </a:r>
            <a:br>
              <a:rPr kumimoji="0" lang="en-GB" sz="933"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br>
            <a:r>
              <a:rPr kumimoji="0" lang="en-GB" sz="933"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C, cycle; D, day; DLBCL, diffuse large B-cell lymphoma; FL, follicular lymphoma; </a:t>
            </a:r>
            <a:br>
              <a:rPr kumimoji="0" lang="en-GB" sz="933"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br>
            <a:r>
              <a:rPr kumimoji="0" lang="en-GB" sz="933"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HGBCL, high-grade B-cell lymphoma; IV, intravenous; NOS, not otherwise specified; </a:t>
            </a:r>
            <a:br>
              <a:rPr kumimoji="0" lang="en-GB" sz="933"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br>
            <a:r>
              <a:rPr kumimoji="0" lang="en-GB" sz="933"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SC, subcutaneous.</a:t>
            </a:r>
          </a:p>
        </p:txBody>
      </p:sp>
      <p:sp>
        <p:nvSpPr>
          <p:cNvPr id="5" name="TextBox 4">
            <a:extLst>
              <a:ext uri="{FF2B5EF4-FFF2-40B4-BE49-F238E27FC236}">
                <a16:creationId xmlns:a16="http://schemas.microsoft.com/office/drawing/2014/main" id="{97F4B576-F049-237C-4146-21A81CF9548A}"/>
              </a:ext>
            </a:extLst>
          </p:cNvPr>
          <p:cNvSpPr txBox="1"/>
          <p:nvPr/>
        </p:nvSpPr>
        <p:spPr>
          <a:xfrm>
            <a:off x="371971" y="6549247"/>
            <a:ext cx="4462952" cy="338554"/>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44F4F">
                    <a:lumMod val="50000"/>
                  </a:srgbClr>
                </a:solidFill>
                <a:effectLst/>
                <a:uLnTx/>
                <a:uFillTx/>
                <a:latin typeface="Arial" panose="020B0604020202020204"/>
                <a:ea typeface="+mn-ea"/>
                <a:cs typeface="+mn-cs"/>
              </a:rPr>
              <a:t>Presented as LBA3 by Westin et al, ICML 2025</a:t>
            </a:r>
          </a:p>
        </p:txBody>
      </p:sp>
    </p:spTree>
    <p:extLst>
      <p:ext uri="{BB962C8B-B14F-4D97-AF65-F5344CB8AC3E}">
        <p14:creationId xmlns:p14="http://schemas.microsoft.com/office/powerpoint/2010/main" val="28500148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886229-1F25-32BD-CCE6-94165B4533E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C65F6C8-88E4-FD5B-A545-E0289CB1422A}"/>
              </a:ext>
            </a:extLst>
          </p:cNvPr>
          <p:cNvSpPr>
            <a:spLocks noGrp="1"/>
          </p:cNvSpPr>
          <p:nvPr>
            <p:ph type="title"/>
          </p:nvPr>
        </p:nvSpPr>
        <p:spPr>
          <a:xfrm>
            <a:off x="528778" y="241934"/>
            <a:ext cx="11133831" cy="907252"/>
          </a:xfrm>
        </p:spPr>
        <p:txBody>
          <a:bodyPr/>
          <a:lstStyle/>
          <a:p>
            <a:r>
              <a:rPr lang="en-GB" sz="3199" dirty="0"/>
              <a:t>Mosun-Pola continued to demonstrate a durable </a:t>
            </a:r>
            <a:br>
              <a:rPr lang="en-GB" sz="3199" dirty="0"/>
            </a:br>
            <a:r>
              <a:rPr lang="en-GB" sz="3199" dirty="0"/>
              <a:t>PFS benefit after a median follow-up of 28.3 months</a:t>
            </a:r>
            <a:endParaRPr lang="en-US" sz="3199" dirty="0"/>
          </a:p>
        </p:txBody>
      </p:sp>
      <p:sp>
        <p:nvSpPr>
          <p:cNvPr id="131" name="Rounded Rectangle 2015">
            <a:extLst>
              <a:ext uri="{FF2B5EF4-FFF2-40B4-BE49-F238E27FC236}">
                <a16:creationId xmlns:a16="http://schemas.microsoft.com/office/drawing/2014/main" id="{A5B292A3-519C-E31B-59EB-155AA54FB52E}"/>
              </a:ext>
            </a:extLst>
          </p:cNvPr>
          <p:cNvSpPr/>
          <p:nvPr/>
        </p:nvSpPr>
        <p:spPr>
          <a:xfrm>
            <a:off x="528769" y="1491087"/>
            <a:ext cx="11134464" cy="440517"/>
          </a:xfrm>
          <a:prstGeom prst="round1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GB" sz="1867" b="1" i="0" u="none" strike="noStrike" kern="1200" cap="none" spc="0" normalizeH="0" baseline="0" noProof="0" dirty="0">
                <a:ln>
                  <a:noFill/>
                </a:ln>
                <a:solidFill>
                  <a:srgbClr val="FFFFFF"/>
                </a:solidFill>
                <a:effectLst/>
                <a:uLnTx/>
                <a:uFillTx/>
                <a:latin typeface="Arial" panose="020B0604020202020204"/>
                <a:ea typeface="Arial"/>
                <a:cs typeface="Arial"/>
                <a:sym typeface="Arial"/>
              </a:rPr>
              <a:t>Primary endpoint: PFS by IRC in ITT</a:t>
            </a:r>
            <a:endParaRPr kumimoji="0" lang="en-GB" sz="1867"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4" name="Right Triangle 83">
            <a:extLst>
              <a:ext uri="{FF2B5EF4-FFF2-40B4-BE49-F238E27FC236}">
                <a16:creationId xmlns:a16="http://schemas.microsoft.com/office/drawing/2014/main" id="{97CA0A6A-A376-B273-5BA6-5991F17B7AA7}"/>
              </a:ext>
            </a:extLst>
          </p:cNvPr>
          <p:cNvSpPr/>
          <p:nvPr/>
        </p:nvSpPr>
        <p:spPr>
          <a:xfrm flipH="1">
            <a:off x="2900103" y="5890938"/>
            <a:ext cx="3110199" cy="215933"/>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6923" rtl="0" eaLnBrk="1" fontAlgn="base" latinLnBrk="0" hangingPunct="1">
              <a:lnSpc>
                <a:spcPct val="100000"/>
              </a:lnSpc>
              <a:spcBef>
                <a:spcPct val="0"/>
              </a:spcBef>
              <a:spcAft>
                <a:spcPct val="0"/>
              </a:spcAft>
              <a:buClrTx/>
              <a:buSzTx/>
              <a:buFontTx/>
              <a:buNone/>
              <a:tabLst/>
              <a:defRPr/>
            </a:pPr>
            <a:endParaRPr kumimoji="0" lang="en-US" sz="2133"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 name="Text Placeholder 3">
            <a:extLst>
              <a:ext uri="{FF2B5EF4-FFF2-40B4-BE49-F238E27FC236}">
                <a16:creationId xmlns:a16="http://schemas.microsoft.com/office/drawing/2014/main" id="{3F86C58C-1661-C8C7-B167-E2166B050AF1}"/>
              </a:ext>
            </a:extLst>
          </p:cNvPr>
          <p:cNvSpPr>
            <a:spLocks noGrp="1"/>
          </p:cNvSpPr>
          <p:nvPr>
            <p:ph type="body" sz="quarter" idx="11"/>
          </p:nvPr>
        </p:nvSpPr>
        <p:spPr>
          <a:xfrm>
            <a:off x="1134695" y="6063706"/>
            <a:ext cx="8068077" cy="360000"/>
          </a:xfrm>
        </p:spPr>
        <p:txBody>
          <a:bodyPr/>
          <a:lstStyle/>
          <a:p>
            <a:pPr>
              <a:spcAft>
                <a:spcPts val="0"/>
              </a:spcAft>
            </a:pPr>
            <a:r>
              <a:rPr lang="en-GB" sz="933" dirty="0"/>
              <a:t>Clinical cut-off date: August 8, 2025. </a:t>
            </a:r>
            <a:br>
              <a:rPr lang="en-GB" sz="933" dirty="0"/>
            </a:br>
            <a:r>
              <a:rPr lang="en-GB" sz="933" dirty="0"/>
              <a:t>PFS is censored at earliest of NALT or two or more missing </a:t>
            </a:r>
            <a:r>
              <a:rPr lang="en-GB" sz="933" dirty="0" err="1"/>
              <a:t>tumor</a:t>
            </a:r>
            <a:r>
              <a:rPr lang="en-GB" sz="933" dirty="0"/>
              <a:t> assessments, whichever occurred first.</a:t>
            </a:r>
            <a:br>
              <a:rPr lang="en-GB" sz="933" dirty="0"/>
            </a:br>
            <a:r>
              <a:rPr lang="en-GB" sz="933" dirty="0"/>
              <a:t>CI, confidence interval; HR, hazard ratio; NALT, new anti-lymphoma therapy; NE, not evaluable.</a:t>
            </a:r>
          </a:p>
        </p:txBody>
      </p:sp>
      <p:sp>
        <p:nvSpPr>
          <p:cNvPr id="5" name="Rectangle 4">
            <a:extLst>
              <a:ext uri="{FF2B5EF4-FFF2-40B4-BE49-F238E27FC236}">
                <a16:creationId xmlns:a16="http://schemas.microsoft.com/office/drawing/2014/main" id="{F7E096A2-4959-E90D-9D3F-96FD0F81A3C2}"/>
              </a:ext>
            </a:extLst>
          </p:cNvPr>
          <p:cNvSpPr/>
          <p:nvPr/>
        </p:nvSpPr>
        <p:spPr>
          <a:xfrm>
            <a:off x="7179400" y="2084333"/>
            <a:ext cx="2361657" cy="84084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GB" sz="2133"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6" name="Group 5">
            <a:extLst>
              <a:ext uri="{FF2B5EF4-FFF2-40B4-BE49-F238E27FC236}">
                <a16:creationId xmlns:a16="http://schemas.microsoft.com/office/drawing/2014/main" id="{BE135432-C306-1C3F-B33A-5F3FAA6E49BB}"/>
              </a:ext>
            </a:extLst>
          </p:cNvPr>
          <p:cNvGrpSpPr/>
          <p:nvPr/>
        </p:nvGrpSpPr>
        <p:grpSpPr>
          <a:xfrm>
            <a:off x="1985004" y="2057934"/>
            <a:ext cx="8161981" cy="4051520"/>
            <a:chOff x="1033216" y="1541989"/>
            <a:chExt cx="6123374" cy="3039578"/>
          </a:xfrm>
        </p:grpSpPr>
        <p:sp>
          <p:nvSpPr>
            <p:cNvPr id="11" name="Right Triangle 10">
              <a:extLst>
                <a:ext uri="{FF2B5EF4-FFF2-40B4-BE49-F238E27FC236}">
                  <a16:creationId xmlns:a16="http://schemas.microsoft.com/office/drawing/2014/main" id="{A7ED078A-E15B-6F2A-6D4B-C7EE92AB216D}"/>
                </a:ext>
              </a:extLst>
            </p:cNvPr>
            <p:cNvSpPr/>
            <p:nvPr/>
          </p:nvSpPr>
          <p:spPr>
            <a:xfrm flipH="1">
              <a:off x="2174337" y="4419567"/>
              <a:ext cx="2333369" cy="162000"/>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6923" rtl="0" eaLnBrk="1" fontAlgn="base" latinLnBrk="0" hangingPunct="1">
                <a:lnSpc>
                  <a:spcPct val="100000"/>
                </a:lnSpc>
                <a:spcBef>
                  <a:spcPct val="0"/>
                </a:spcBef>
                <a:spcAft>
                  <a:spcPct val="0"/>
                </a:spcAft>
                <a:buClrTx/>
                <a:buSzTx/>
                <a:buFontTx/>
                <a:buNone/>
                <a:tabLst/>
                <a:defRPr/>
              </a:pPr>
              <a:endParaRPr kumimoji="0" lang="en-US" sz="2133"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BE278894-C06B-DBD8-3D61-34304A5F92C2}"/>
                </a:ext>
              </a:extLst>
            </p:cNvPr>
            <p:cNvSpPr/>
            <p:nvPr/>
          </p:nvSpPr>
          <p:spPr>
            <a:xfrm>
              <a:off x="5384800" y="1563732"/>
              <a:ext cx="1771790" cy="6308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GB" sz="2133"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 name="Freeform 329">
              <a:extLst>
                <a:ext uri="{FF2B5EF4-FFF2-40B4-BE49-F238E27FC236}">
                  <a16:creationId xmlns:a16="http://schemas.microsoft.com/office/drawing/2014/main" id="{6CD3FA3E-2010-E7DE-B751-7AF5F095E72A}"/>
                </a:ext>
              </a:extLst>
            </p:cNvPr>
            <p:cNvSpPr/>
            <p:nvPr/>
          </p:nvSpPr>
          <p:spPr>
            <a:xfrm>
              <a:off x="2232343" y="1643781"/>
              <a:ext cx="4623766" cy="2305333"/>
            </a:xfrm>
            <a:custGeom>
              <a:avLst/>
              <a:gdLst>
                <a:gd name="csX0" fmla="*/ 0 w 4623766"/>
                <a:gd name="csY0" fmla="*/ 0 h 2305333"/>
                <a:gd name="csX1" fmla="*/ 0 w 4623766"/>
                <a:gd name="csY1" fmla="*/ 2305334 h 2305333"/>
                <a:gd name="csX2" fmla="*/ 4623767 w 4623766"/>
                <a:gd name="csY2" fmla="*/ 2305334 h 2305333"/>
              </a:gdLst>
              <a:ahLst/>
              <a:cxnLst>
                <a:cxn ang="0">
                  <a:pos x="csX0" y="csY0"/>
                </a:cxn>
                <a:cxn ang="0">
                  <a:pos x="csX1" y="csY1"/>
                </a:cxn>
                <a:cxn ang="0">
                  <a:pos x="csX2" y="csY2"/>
                </a:cxn>
              </a:cxnLst>
              <a:rect l="l" t="t" r="r" b="b"/>
              <a:pathLst>
                <a:path w="4623766" h="2305333">
                  <a:moveTo>
                    <a:pt x="0" y="0"/>
                  </a:moveTo>
                  <a:lnTo>
                    <a:pt x="0" y="2305334"/>
                  </a:lnTo>
                  <a:lnTo>
                    <a:pt x="4623767" y="2305334"/>
                  </a:lnTo>
                </a:path>
              </a:pathLst>
            </a:custGeom>
            <a:noFill/>
            <a:ln w="12693" cap="sq">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14" name="Graphic 4">
              <a:extLst>
                <a:ext uri="{FF2B5EF4-FFF2-40B4-BE49-F238E27FC236}">
                  <a16:creationId xmlns:a16="http://schemas.microsoft.com/office/drawing/2014/main" id="{C11AF8CB-4738-B5DF-30BA-9812E230350A}"/>
                </a:ext>
              </a:extLst>
            </p:cNvPr>
            <p:cNvGrpSpPr/>
            <p:nvPr/>
          </p:nvGrpSpPr>
          <p:grpSpPr>
            <a:xfrm>
              <a:off x="2187644" y="1643781"/>
              <a:ext cx="44698" cy="2252211"/>
              <a:chOff x="4987288" y="2343692"/>
              <a:chExt cx="44698" cy="2252211"/>
            </a:xfrm>
          </p:grpSpPr>
          <p:sp>
            <p:nvSpPr>
              <p:cNvPr id="313" name="Freeform 331">
                <a:extLst>
                  <a:ext uri="{FF2B5EF4-FFF2-40B4-BE49-F238E27FC236}">
                    <a16:creationId xmlns:a16="http://schemas.microsoft.com/office/drawing/2014/main" id="{8839C328-E502-9D74-7AB7-84588098FB44}"/>
                  </a:ext>
                </a:extLst>
              </p:cNvPr>
              <p:cNvSpPr/>
              <p:nvPr/>
            </p:nvSpPr>
            <p:spPr>
              <a:xfrm>
                <a:off x="4987288" y="2343692"/>
                <a:ext cx="44698" cy="12708"/>
              </a:xfrm>
              <a:custGeom>
                <a:avLst/>
                <a:gdLst>
                  <a:gd name="csX0" fmla="*/ 44699 w 44698"/>
                  <a:gd name="csY0" fmla="*/ 0 h 12708"/>
                  <a:gd name="csX1" fmla="*/ 0 w 44698"/>
                  <a:gd name="csY1" fmla="*/ 0 h 12708"/>
                </a:gdLst>
                <a:ahLst/>
                <a:cxnLst>
                  <a:cxn ang="0">
                    <a:pos x="csX0" y="csY0"/>
                  </a:cxn>
                  <a:cxn ang="0">
                    <a:pos x="csX1" y="csY1"/>
                  </a:cxn>
                </a:cxnLst>
                <a:rect l="l" t="t" r="r" b="b"/>
                <a:pathLst>
                  <a:path w="44698" h="12708">
                    <a:moveTo>
                      <a:pt x="44699" y="0"/>
                    </a:moveTo>
                    <a:lnTo>
                      <a:pt x="0" y="0"/>
                    </a:lnTo>
                  </a:path>
                </a:pathLst>
              </a:custGeom>
              <a:ln w="12693"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4" name="Freeform 332">
                <a:extLst>
                  <a:ext uri="{FF2B5EF4-FFF2-40B4-BE49-F238E27FC236}">
                    <a16:creationId xmlns:a16="http://schemas.microsoft.com/office/drawing/2014/main" id="{23E01CEF-4DB6-437C-CF29-F0589B5C608C}"/>
                  </a:ext>
                </a:extLst>
              </p:cNvPr>
              <p:cNvSpPr/>
              <p:nvPr/>
            </p:nvSpPr>
            <p:spPr>
              <a:xfrm>
                <a:off x="4987288" y="2794084"/>
                <a:ext cx="44698" cy="12708"/>
              </a:xfrm>
              <a:custGeom>
                <a:avLst/>
                <a:gdLst>
                  <a:gd name="csX0" fmla="*/ 44699 w 44698"/>
                  <a:gd name="csY0" fmla="*/ 0 h 12708"/>
                  <a:gd name="csX1" fmla="*/ 0 w 44698"/>
                  <a:gd name="csY1" fmla="*/ 0 h 12708"/>
                </a:gdLst>
                <a:ahLst/>
                <a:cxnLst>
                  <a:cxn ang="0">
                    <a:pos x="csX0" y="csY0"/>
                  </a:cxn>
                  <a:cxn ang="0">
                    <a:pos x="csX1" y="csY1"/>
                  </a:cxn>
                </a:cxnLst>
                <a:rect l="l" t="t" r="r" b="b"/>
                <a:pathLst>
                  <a:path w="44698" h="12708">
                    <a:moveTo>
                      <a:pt x="44699" y="0"/>
                    </a:moveTo>
                    <a:lnTo>
                      <a:pt x="0" y="0"/>
                    </a:lnTo>
                  </a:path>
                </a:pathLst>
              </a:custGeom>
              <a:ln w="12693"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5" name="Freeform 333">
                <a:extLst>
                  <a:ext uri="{FF2B5EF4-FFF2-40B4-BE49-F238E27FC236}">
                    <a16:creationId xmlns:a16="http://schemas.microsoft.com/office/drawing/2014/main" id="{F5E999CA-94B1-D4D9-155A-73F3BBAEDABF}"/>
                  </a:ext>
                </a:extLst>
              </p:cNvPr>
              <p:cNvSpPr/>
              <p:nvPr/>
            </p:nvSpPr>
            <p:spPr>
              <a:xfrm>
                <a:off x="4987288" y="3244602"/>
                <a:ext cx="44698" cy="12708"/>
              </a:xfrm>
              <a:custGeom>
                <a:avLst/>
                <a:gdLst>
                  <a:gd name="csX0" fmla="*/ 44699 w 44698"/>
                  <a:gd name="csY0" fmla="*/ 0 h 12708"/>
                  <a:gd name="csX1" fmla="*/ 0 w 44698"/>
                  <a:gd name="csY1" fmla="*/ 0 h 12708"/>
                </a:gdLst>
                <a:ahLst/>
                <a:cxnLst>
                  <a:cxn ang="0">
                    <a:pos x="csX0" y="csY0"/>
                  </a:cxn>
                  <a:cxn ang="0">
                    <a:pos x="csX1" y="csY1"/>
                  </a:cxn>
                </a:cxnLst>
                <a:rect l="l" t="t" r="r" b="b"/>
                <a:pathLst>
                  <a:path w="44698" h="12708">
                    <a:moveTo>
                      <a:pt x="44699" y="0"/>
                    </a:moveTo>
                    <a:lnTo>
                      <a:pt x="0" y="0"/>
                    </a:lnTo>
                  </a:path>
                </a:pathLst>
              </a:custGeom>
              <a:ln w="12693"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6" name="Freeform 334">
                <a:extLst>
                  <a:ext uri="{FF2B5EF4-FFF2-40B4-BE49-F238E27FC236}">
                    <a16:creationId xmlns:a16="http://schemas.microsoft.com/office/drawing/2014/main" id="{38A9F58D-7EB0-4E34-0C34-31DD7E1BACFF}"/>
                  </a:ext>
                </a:extLst>
              </p:cNvPr>
              <p:cNvSpPr/>
              <p:nvPr/>
            </p:nvSpPr>
            <p:spPr>
              <a:xfrm>
                <a:off x="4987288" y="3694994"/>
                <a:ext cx="44698" cy="12708"/>
              </a:xfrm>
              <a:custGeom>
                <a:avLst/>
                <a:gdLst>
                  <a:gd name="csX0" fmla="*/ 44699 w 44698"/>
                  <a:gd name="csY0" fmla="*/ 0 h 12708"/>
                  <a:gd name="csX1" fmla="*/ 0 w 44698"/>
                  <a:gd name="csY1" fmla="*/ 0 h 12708"/>
                </a:gdLst>
                <a:ahLst/>
                <a:cxnLst>
                  <a:cxn ang="0">
                    <a:pos x="csX0" y="csY0"/>
                  </a:cxn>
                  <a:cxn ang="0">
                    <a:pos x="csX1" y="csY1"/>
                  </a:cxn>
                </a:cxnLst>
                <a:rect l="l" t="t" r="r" b="b"/>
                <a:pathLst>
                  <a:path w="44698" h="12708">
                    <a:moveTo>
                      <a:pt x="44699" y="0"/>
                    </a:moveTo>
                    <a:lnTo>
                      <a:pt x="0" y="0"/>
                    </a:lnTo>
                  </a:path>
                </a:pathLst>
              </a:custGeom>
              <a:ln w="12693"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7" name="Freeform 335">
                <a:extLst>
                  <a:ext uri="{FF2B5EF4-FFF2-40B4-BE49-F238E27FC236}">
                    <a16:creationId xmlns:a16="http://schemas.microsoft.com/office/drawing/2014/main" id="{8CCE758F-2CD4-B5ED-D5E7-77BB5AB11D1B}"/>
                  </a:ext>
                </a:extLst>
              </p:cNvPr>
              <p:cNvSpPr/>
              <p:nvPr/>
            </p:nvSpPr>
            <p:spPr>
              <a:xfrm>
                <a:off x="4987288" y="4145385"/>
                <a:ext cx="44698" cy="12708"/>
              </a:xfrm>
              <a:custGeom>
                <a:avLst/>
                <a:gdLst>
                  <a:gd name="csX0" fmla="*/ 44699 w 44698"/>
                  <a:gd name="csY0" fmla="*/ 0 h 12708"/>
                  <a:gd name="csX1" fmla="*/ 0 w 44698"/>
                  <a:gd name="csY1" fmla="*/ 0 h 12708"/>
                </a:gdLst>
                <a:ahLst/>
                <a:cxnLst>
                  <a:cxn ang="0">
                    <a:pos x="csX0" y="csY0"/>
                  </a:cxn>
                  <a:cxn ang="0">
                    <a:pos x="csX1" y="csY1"/>
                  </a:cxn>
                </a:cxnLst>
                <a:rect l="l" t="t" r="r" b="b"/>
                <a:pathLst>
                  <a:path w="44698" h="12708">
                    <a:moveTo>
                      <a:pt x="44699" y="0"/>
                    </a:moveTo>
                    <a:lnTo>
                      <a:pt x="0" y="0"/>
                    </a:lnTo>
                  </a:path>
                </a:pathLst>
              </a:custGeom>
              <a:ln w="12693"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8" name="Freeform 336">
                <a:extLst>
                  <a:ext uri="{FF2B5EF4-FFF2-40B4-BE49-F238E27FC236}">
                    <a16:creationId xmlns:a16="http://schemas.microsoft.com/office/drawing/2014/main" id="{CCD5A5A6-875E-F48F-6AF6-3F65CF18E875}"/>
                  </a:ext>
                </a:extLst>
              </p:cNvPr>
              <p:cNvSpPr/>
              <p:nvPr/>
            </p:nvSpPr>
            <p:spPr>
              <a:xfrm>
                <a:off x="4987288" y="4595904"/>
                <a:ext cx="44698" cy="12708"/>
              </a:xfrm>
              <a:custGeom>
                <a:avLst/>
                <a:gdLst>
                  <a:gd name="csX0" fmla="*/ 44699 w 44698"/>
                  <a:gd name="csY0" fmla="*/ 0 h 12708"/>
                  <a:gd name="csX1" fmla="*/ 0 w 44698"/>
                  <a:gd name="csY1" fmla="*/ 0 h 12708"/>
                </a:gdLst>
                <a:ahLst/>
                <a:cxnLst>
                  <a:cxn ang="0">
                    <a:pos x="csX0" y="csY0"/>
                  </a:cxn>
                  <a:cxn ang="0">
                    <a:pos x="csX1" y="csY1"/>
                  </a:cxn>
                </a:cxnLst>
                <a:rect l="l" t="t" r="r" b="b"/>
                <a:pathLst>
                  <a:path w="44698" h="12708">
                    <a:moveTo>
                      <a:pt x="44699" y="0"/>
                    </a:moveTo>
                    <a:lnTo>
                      <a:pt x="0" y="0"/>
                    </a:lnTo>
                  </a:path>
                </a:pathLst>
              </a:custGeom>
              <a:ln w="12693"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5" name="Graphic 4">
              <a:extLst>
                <a:ext uri="{FF2B5EF4-FFF2-40B4-BE49-F238E27FC236}">
                  <a16:creationId xmlns:a16="http://schemas.microsoft.com/office/drawing/2014/main" id="{BB9B8EF2-DA5B-6A8B-9A33-66363FF80BFF}"/>
                </a:ext>
              </a:extLst>
            </p:cNvPr>
            <p:cNvGrpSpPr/>
            <p:nvPr/>
          </p:nvGrpSpPr>
          <p:grpSpPr>
            <a:xfrm>
              <a:off x="2278438" y="3949115"/>
              <a:ext cx="4577670" cy="44734"/>
              <a:chOff x="5078082" y="4649026"/>
              <a:chExt cx="4577670" cy="44734"/>
            </a:xfrm>
          </p:grpSpPr>
          <p:sp>
            <p:nvSpPr>
              <p:cNvPr id="300" name="Freeform 338">
                <a:extLst>
                  <a:ext uri="{FF2B5EF4-FFF2-40B4-BE49-F238E27FC236}">
                    <a16:creationId xmlns:a16="http://schemas.microsoft.com/office/drawing/2014/main" id="{6A90D853-BE1A-0588-A4FB-A3384975B119}"/>
                  </a:ext>
                </a:extLst>
              </p:cNvPr>
              <p:cNvSpPr/>
              <p:nvPr/>
            </p:nvSpPr>
            <p:spPr>
              <a:xfrm>
                <a:off x="5078082" y="4649026"/>
                <a:ext cx="12698" cy="44734"/>
              </a:xfrm>
              <a:custGeom>
                <a:avLst/>
                <a:gdLst>
                  <a:gd name="csX0" fmla="*/ 0 w 12698"/>
                  <a:gd name="csY0" fmla="*/ 0 h 44734"/>
                  <a:gd name="csX1" fmla="*/ 0 w 12698"/>
                  <a:gd name="csY1" fmla="*/ 44734 h 44734"/>
                </a:gdLst>
                <a:ahLst/>
                <a:cxnLst>
                  <a:cxn ang="0">
                    <a:pos x="csX0" y="csY0"/>
                  </a:cxn>
                  <a:cxn ang="0">
                    <a:pos x="csX1" y="csY1"/>
                  </a:cxn>
                </a:cxnLst>
                <a:rect l="l" t="t" r="r" b="b"/>
                <a:pathLst>
                  <a:path w="12698" h="44734">
                    <a:moveTo>
                      <a:pt x="0" y="0"/>
                    </a:moveTo>
                    <a:lnTo>
                      <a:pt x="0" y="44734"/>
                    </a:lnTo>
                  </a:path>
                </a:pathLst>
              </a:custGeom>
              <a:ln w="12693"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1" name="Freeform 339">
                <a:extLst>
                  <a:ext uri="{FF2B5EF4-FFF2-40B4-BE49-F238E27FC236}">
                    <a16:creationId xmlns:a16="http://schemas.microsoft.com/office/drawing/2014/main" id="{B4621055-C467-DABD-9892-F31AF96DF4B6}"/>
                  </a:ext>
                </a:extLst>
              </p:cNvPr>
              <p:cNvSpPr/>
              <p:nvPr/>
            </p:nvSpPr>
            <p:spPr>
              <a:xfrm>
                <a:off x="5459544" y="4649026"/>
                <a:ext cx="12698" cy="44734"/>
              </a:xfrm>
              <a:custGeom>
                <a:avLst/>
                <a:gdLst>
                  <a:gd name="csX0" fmla="*/ 0 w 12698"/>
                  <a:gd name="csY0" fmla="*/ 0 h 44734"/>
                  <a:gd name="csX1" fmla="*/ 0 w 12698"/>
                  <a:gd name="csY1" fmla="*/ 44734 h 44734"/>
                </a:gdLst>
                <a:ahLst/>
                <a:cxnLst>
                  <a:cxn ang="0">
                    <a:pos x="csX0" y="csY0"/>
                  </a:cxn>
                  <a:cxn ang="0">
                    <a:pos x="csX1" y="csY1"/>
                  </a:cxn>
                </a:cxnLst>
                <a:rect l="l" t="t" r="r" b="b"/>
                <a:pathLst>
                  <a:path w="12698" h="44734">
                    <a:moveTo>
                      <a:pt x="0" y="0"/>
                    </a:moveTo>
                    <a:lnTo>
                      <a:pt x="0" y="44734"/>
                    </a:lnTo>
                  </a:path>
                </a:pathLst>
              </a:custGeom>
              <a:ln w="12693"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2" name="Freeform 340">
                <a:extLst>
                  <a:ext uri="{FF2B5EF4-FFF2-40B4-BE49-F238E27FC236}">
                    <a16:creationId xmlns:a16="http://schemas.microsoft.com/office/drawing/2014/main" id="{6883BE2B-E661-D262-593A-6B807C82BF30}"/>
                  </a:ext>
                </a:extLst>
              </p:cNvPr>
              <p:cNvSpPr/>
              <p:nvPr/>
            </p:nvSpPr>
            <p:spPr>
              <a:xfrm>
                <a:off x="5841006" y="4649026"/>
                <a:ext cx="12698" cy="44734"/>
              </a:xfrm>
              <a:custGeom>
                <a:avLst/>
                <a:gdLst>
                  <a:gd name="csX0" fmla="*/ 0 w 12698"/>
                  <a:gd name="csY0" fmla="*/ 0 h 44734"/>
                  <a:gd name="csX1" fmla="*/ 0 w 12698"/>
                  <a:gd name="csY1" fmla="*/ 44734 h 44734"/>
                </a:gdLst>
                <a:ahLst/>
                <a:cxnLst>
                  <a:cxn ang="0">
                    <a:pos x="csX0" y="csY0"/>
                  </a:cxn>
                  <a:cxn ang="0">
                    <a:pos x="csX1" y="csY1"/>
                  </a:cxn>
                </a:cxnLst>
                <a:rect l="l" t="t" r="r" b="b"/>
                <a:pathLst>
                  <a:path w="12698" h="44734">
                    <a:moveTo>
                      <a:pt x="0" y="0"/>
                    </a:moveTo>
                    <a:lnTo>
                      <a:pt x="0" y="44734"/>
                    </a:lnTo>
                  </a:path>
                </a:pathLst>
              </a:custGeom>
              <a:ln w="12693"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3" name="Freeform 341">
                <a:extLst>
                  <a:ext uri="{FF2B5EF4-FFF2-40B4-BE49-F238E27FC236}">
                    <a16:creationId xmlns:a16="http://schemas.microsoft.com/office/drawing/2014/main" id="{D747E0D7-44EC-20E9-A4DE-6D1A30C57AD6}"/>
                  </a:ext>
                </a:extLst>
              </p:cNvPr>
              <p:cNvSpPr/>
              <p:nvPr/>
            </p:nvSpPr>
            <p:spPr>
              <a:xfrm>
                <a:off x="6222468" y="4649026"/>
                <a:ext cx="12698" cy="44734"/>
              </a:xfrm>
              <a:custGeom>
                <a:avLst/>
                <a:gdLst>
                  <a:gd name="csX0" fmla="*/ 0 w 12698"/>
                  <a:gd name="csY0" fmla="*/ 0 h 44734"/>
                  <a:gd name="csX1" fmla="*/ 0 w 12698"/>
                  <a:gd name="csY1" fmla="*/ 44734 h 44734"/>
                </a:gdLst>
                <a:ahLst/>
                <a:cxnLst>
                  <a:cxn ang="0">
                    <a:pos x="csX0" y="csY0"/>
                  </a:cxn>
                  <a:cxn ang="0">
                    <a:pos x="csX1" y="csY1"/>
                  </a:cxn>
                </a:cxnLst>
                <a:rect l="l" t="t" r="r" b="b"/>
                <a:pathLst>
                  <a:path w="12698" h="44734">
                    <a:moveTo>
                      <a:pt x="0" y="0"/>
                    </a:moveTo>
                    <a:lnTo>
                      <a:pt x="0" y="44734"/>
                    </a:lnTo>
                  </a:path>
                </a:pathLst>
              </a:custGeom>
              <a:ln w="12693"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4" name="Freeform 342">
                <a:extLst>
                  <a:ext uri="{FF2B5EF4-FFF2-40B4-BE49-F238E27FC236}">
                    <a16:creationId xmlns:a16="http://schemas.microsoft.com/office/drawing/2014/main" id="{E39F7FBF-8E55-E4FE-47F5-F0E1D1B0E798}"/>
                  </a:ext>
                </a:extLst>
              </p:cNvPr>
              <p:cNvSpPr/>
              <p:nvPr/>
            </p:nvSpPr>
            <p:spPr>
              <a:xfrm>
                <a:off x="6603930" y="4649026"/>
                <a:ext cx="12698" cy="44734"/>
              </a:xfrm>
              <a:custGeom>
                <a:avLst/>
                <a:gdLst>
                  <a:gd name="csX0" fmla="*/ 0 w 12698"/>
                  <a:gd name="csY0" fmla="*/ 0 h 44734"/>
                  <a:gd name="csX1" fmla="*/ 0 w 12698"/>
                  <a:gd name="csY1" fmla="*/ 44734 h 44734"/>
                </a:gdLst>
                <a:ahLst/>
                <a:cxnLst>
                  <a:cxn ang="0">
                    <a:pos x="csX0" y="csY0"/>
                  </a:cxn>
                  <a:cxn ang="0">
                    <a:pos x="csX1" y="csY1"/>
                  </a:cxn>
                </a:cxnLst>
                <a:rect l="l" t="t" r="r" b="b"/>
                <a:pathLst>
                  <a:path w="12698" h="44734">
                    <a:moveTo>
                      <a:pt x="0" y="0"/>
                    </a:moveTo>
                    <a:lnTo>
                      <a:pt x="0" y="44734"/>
                    </a:lnTo>
                  </a:path>
                </a:pathLst>
              </a:custGeom>
              <a:ln w="12693"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5" name="Freeform 343">
                <a:extLst>
                  <a:ext uri="{FF2B5EF4-FFF2-40B4-BE49-F238E27FC236}">
                    <a16:creationId xmlns:a16="http://schemas.microsoft.com/office/drawing/2014/main" id="{7C1B606C-A5BB-E2F8-EB23-1CA328FE1DF9}"/>
                  </a:ext>
                </a:extLst>
              </p:cNvPr>
              <p:cNvSpPr/>
              <p:nvPr/>
            </p:nvSpPr>
            <p:spPr>
              <a:xfrm>
                <a:off x="6985392" y="4649026"/>
                <a:ext cx="12698" cy="44734"/>
              </a:xfrm>
              <a:custGeom>
                <a:avLst/>
                <a:gdLst>
                  <a:gd name="csX0" fmla="*/ 0 w 12698"/>
                  <a:gd name="csY0" fmla="*/ 0 h 44734"/>
                  <a:gd name="csX1" fmla="*/ 0 w 12698"/>
                  <a:gd name="csY1" fmla="*/ 44734 h 44734"/>
                </a:gdLst>
                <a:ahLst/>
                <a:cxnLst>
                  <a:cxn ang="0">
                    <a:pos x="csX0" y="csY0"/>
                  </a:cxn>
                  <a:cxn ang="0">
                    <a:pos x="csX1" y="csY1"/>
                  </a:cxn>
                </a:cxnLst>
                <a:rect l="l" t="t" r="r" b="b"/>
                <a:pathLst>
                  <a:path w="12698" h="44734">
                    <a:moveTo>
                      <a:pt x="0" y="0"/>
                    </a:moveTo>
                    <a:lnTo>
                      <a:pt x="0" y="44734"/>
                    </a:lnTo>
                  </a:path>
                </a:pathLst>
              </a:custGeom>
              <a:ln w="12693"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6" name="Freeform 344">
                <a:extLst>
                  <a:ext uri="{FF2B5EF4-FFF2-40B4-BE49-F238E27FC236}">
                    <a16:creationId xmlns:a16="http://schemas.microsoft.com/office/drawing/2014/main" id="{D9277478-3B18-D11F-78DA-900C0C50A3F0}"/>
                  </a:ext>
                </a:extLst>
              </p:cNvPr>
              <p:cNvSpPr/>
              <p:nvPr/>
            </p:nvSpPr>
            <p:spPr>
              <a:xfrm>
                <a:off x="7366854" y="4649026"/>
                <a:ext cx="12698" cy="44734"/>
              </a:xfrm>
              <a:custGeom>
                <a:avLst/>
                <a:gdLst>
                  <a:gd name="csX0" fmla="*/ 0 w 12698"/>
                  <a:gd name="csY0" fmla="*/ 0 h 44734"/>
                  <a:gd name="csX1" fmla="*/ 0 w 12698"/>
                  <a:gd name="csY1" fmla="*/ 44734 h 44734"/>
                </a:gdLst>
                <a:ahLst/>
                <a:cxnLst>
                  <a:cxn ang="0">
                    <a:pos x="csX0" y="csY0"/>
                  </a:cxn>
                  <a:cxn ang="0">
                    <a:pos x="csX1" y="csY1"/>
                  </a:cxn>
                </a:cxnLst>
                <a:rect l="l" t="t" r="r" b="b"/>
                <a:pathLst>
                  <a:path w="12698" h="44734">
                    <a:moveTo>
                      <a:pt x="0" y="0"/>
                    </a:moveTo>
                    <a:lnTo>
                      <a:pt x="0" y="44734"/>
                    </a:lnTo>
                  </a:path>
                </a:pathLst>
              </a:custGeom>
              <a:ln w="12693"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7" name="Freeform 345">
                <a:extLst>
                  <a:ext uri="{FF2B5EF4-FFF2-40B4-BE49-F238E27FC236}">
                    <a16:creationId xmlns:a16="http://schemas.microsoft.com/office/drawing/2014/main" id="{A0CF7031-A99C-9856-C311-91C7EBBF5422}"/>
                  </a:ext>
                </a:extLst>
              </p:cNvPr>
              <p:cNvSpPr/>
              <p:nvPr/>
            </p:nvSpPr>
            <p:spPr>
              <a:xfrm>
                <a:off x="7748316" y="4649026"/>
                <a:ext cx="12698" cy="44734"/>
              </a:xfrm>
              <a:custGeom>
                <a:avLst/>
                <a:gdLst>
                  <a:gd name="csX0" fmla="*/ 0 w 12698"/>
                  <a:gd name="csY0" fmla="*/ 44734 h 44734"/>
                  <a:gd name="csX1" fmla="*/ 0 w 12698"/>
                  <a:gd name="csY1" fmla="*/ 0 h 44734"/>
                </a:gdLst>
                <a:ahLst/>
                <a:cxnLst>
                  <a:cxn ang="0">
                    <a:pos x="csX0" y="csY0"/>
                  </a:cxn>
                  <a:cxn ang="0">
                    <a:pos x="csX1" y="csY1"/>
                  </a:cxn>
                </a:cxnLst>
                <a:rect l="l" t="t" r="r" b="b"/>
                <a:pathLst>
                  <a:path w="12698" h="44734">
                    <a:moveTo>
                      <a:pt x="0" y="44734"/>
                    </a:moveTo>
                    <a:lnTo>
                      <a:pt x="0" y="0"/>
                    </a:lnTo>
                  </a:path>
                </a:pathLst>
              </a:custGeom>
              <a:ln w="12693"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8" name="Freeform 346">
                <a:extLst>
                  <a:ext uri="{FF2B5EF4-FFF2-40B4-BE49-F238E27FC236}">
                    <a16:creationId xmlns:a16="http://schemas.microsoft.com/office/drawing/2014/main" id="{4AE8BA06-D8BE-205D-C418-B9DFC6467B71}"/>
                  </a:ext>
                </a:extLst>
              </p:cNvPr>
              <p:cNvSpPr/>
              <p:nvPr/>
            </p:nvSpPr>
            <p:spPr>
              <a:xfrm>
                <a:off x="8129905" y="4649026"/>
                <a:ext cx="12698" cy="44734"/>
              </a:xfrm>
              <a:custGeom>
                <a:avLst/>
                <a:gdLst>
                  <a:gd name="csX0" fmla="*/ 0 w 12698"/>
                  <a:gd name="csY0" fmla="*/ 0 h 44734"/>
                  <a:gd name="csX1" fmla="*/ 0 w 12698"/>
                  <a:gd name="csY1" fmla="*/ 44734 h 44734"/>
                </a:gdLst>
                <a:ahLst/>
                <a:cxnLst>
                  <a:cxn ang="0">
                    <a:pos x="csX0" y="csY0"/>
                  </a:cxn>
                  <a:cxn ang="0">
                    <a:pos x="csX1" y="csY1"/>
                  </a:cxn>
                </a:cxnLst>
                <a:rect l="l" t="t" r="r" b="b"/>
                <a:pathLst>
                  <a:path w="12698" h="44734">
                    <a:moveTo>
                      <a:pt x="0" y="0"/>
                    </a:moveTo>
                    <a:lnTo>
                      <a:pt x="0" y="44734"/>
                    </a:lnTo>
                  </a:path>
                </a:pathLst>
              </a:custGeom>
              <a:ln w="12693"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9" name="Freeform 347">
                <a:extLst>
                  <a:ext uri="{FF2B5EF4-FFF2-40B4-BE49-F238E27FC236}">
                    <a16:creationId xmlns:a16="http://schemas.microsoft.com/office/drawing/2014/main" id="{C3F3478B-2134-A35D-544C-82A9C0B76815}"/>
                  </a:ext>
                </a:extLst>
              </p:cNvPr>
              <p:cNvSpPr/>
              <p:nvPr/>
            </p:nvSpPr>
            <p:spPr>
              <a:xfrm>
                <a:off x="8511367" y="4649026"/>
                <a:ext cx="12698" cy="44734"/>
              </a:xfrm>
              <a:custGeom>
                <a:avLst/>
                <a:gdLst>
                  <a:gd name="csX0" fmla="*/ 0 w 12698"/>
                  <a:gd name="csY0" fmla="*/ 0 h 44734"/>
                  <a:gd name="csX1" fmla="*/ 0 w 12698"/>
                  <a:gd name="csY1" fmla="*/ 44734 h 44734"/>
                </a:gdLst>
                <a:ahLst/>
                <a:cxnLst>
                  <a:cxn ang="0">
                    <a:pos x="csX0" y="csY0"/>
                  </a:cxn>
                  <a:cxn ang="0">
                    <a:pos x="csX1" y="csY1"/>
                  </a:cxn>
                </a:cxnLst>
                <a:rect l="l" t="t" r="r" b="b"/>
                <a:pathLst>
                  <a:path w="12698" h="44734">
                    <a:moveTo>
                      <a:pt x="0" y="0"/>
                    </a:moveTo>
                    <a:lnTo>
                      <a:pt x="0" y="44734"/>
                    </a:lnTo>
                  </a:path>
                </a:pathLst>
              </a:custGeom>
              <a:ln w="12693"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0" name="Freeform 348">
                <a:extLst>
                  <a:ext uri="{FF2B5EF4-FFF2-40B4-BE49-F238E27FC236}">
                    <a16:creationId xmlns:a16="http://schemas.microsoft.com/office/drawing/2014/main" id="{59556E99-7ECB-2A61-7083-5A016C848FB0}"/>
                  </a:ext>
                </a:extLst>
              </p:cNvPr>
              <p:cNvSpPr/>
              <p:nvPr/>
            </p:nvSpPr>
            <p:spPr>
              <a:xfrm>
                <a:off x="8892829" y="4649026"/>
                <a:ext cx="12698" cy="44734"/>
              </a:xfrm>
              <a:custGeom>
                <a:avLst/>
                <a:gdLst>
                  <a:gd name="csX0" fmla="*/ 0 w 12698"/>
                  <a:gd name="csY0" fmla="*/ 0 h 44734"/>
                  <a:gd name="csX1" fmla="*/ 0 w 12698"/>
                  <a:gd name="csY1" fmla="*/ 44734 h 44734"/>
                </a:gdLst>
                <a:ahLst/>
                <a:cxnLst>
                  <a:cxn ang="0">
                    <a:pos x="csX0" y="csY0"/>
                  </a:cxn>
                  <a:cxn ang="0">
                    <a:pos x="csX1" y="csY1"/>
                  </a:cxn>
                </a:cxnLst>
                <a:rect l="l" t="t" r="r" b="b"/>
                <a:pathLst>
                  <a:path w="12698" h="44734">
                    <a:moveTo>
                      <a:pt x="0" y="0"/>
                    </a:moveTo>
                    <a:lnTo>
                      <a:pt x="0" y="44734"/>
                    </a:lnTo>
                  </a:path>
                </a:pathLst>
              </a:custGeom>
              <a:ln w="12693"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1" name="Freeform 349">
                <a:extLst>
                  <a:ext uri="{FF2B5EF4-FFF2-40B4-BE49-F238E27FC236}">
                    <a16:creationId xmlns:a16="http://schemas.microsoft.com/office/drawing/2014/main" id="{2E099B0D-5915-6F36-AF9B-3D6CB64985BA}"/>
                  </a:ext>
                </a:extLst>
              </p:cNvPr>
              <p:cNvSpPr/>
              <p:nvPr/>
            </p:nvSpPr>
            <p:spPr>
              <a:xfrm>
                <a:off x="9274291" y="4649026"/>
                <a:ext cx="12698" cy="44734"/>
              </a:xfrm>
              <a:custGeom>
                <a:avLst/>
                <a:gdLst>
                  <a:gd name="csX0" fmla="*/ 0 w 12698"/>
                  <a:gd name="csY0" fmla="*/ 0 h 44734"/>
                  <a:gd name="csX1" fmla="*/ 0 w 12698"/>
                  <a:gd name="csY1" fmla="*/ 44734 h 44734"/>
                </a:gdLst>
                <a:ahLst/>
                <a:cxnLst>
                  <a:cxn ang="0">
                    <a:pos x="csX0" y="csY0"/>
                  </a:cxn>
                  <a:cxn ang="0">
                    <a:pos x="csX1" y="csY1"/>
                  </a:cxn>
                </a:cxnLst>
                <a:rect l="l" t="t" r="r" b="b"/>
                <a:pathLst>
                  <a:path w="12698" h="44734">
                    <a:moveTo>
                      <a:pt x="0" y="0"/>
                    </a:moveTo>
                    <a:lnTo>
                      <a:pt x="0" y="44734"/>
                    </a:lnTo>
                  </a:path>
                </a:pathLst>
              </a:custGeom>
              <a:ln w="12693"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2" name="Freeform 350">
                <a:extLst>
                  <a:ext uri="{FF2B5EF4-FFF2-40B4-BE49-F238E27FC236}">
                    <a16:creationId xmlns:a16="http://schemas.microsoft.com/office/drawing/2014/main" id="{3D9099F5-FFB3-5967-EAD1-9B24904169F5}"/>
                  </a:ext>
                </a:extLst>
              </p:cNvPr>
              <p:cNvSpPr/>
              <p:nvPr/>
            </p:nvSpPr>
            <p:spPr>
              <a:xfrm>
                <a:off x="9655753" y="4649026"/>
                <a:ext cx="12698" cy="44734"/>
              </a:xfrm>
              <a:custGeom>
                <a:avLst/>
                <a:gdLst>
                  <a:gd name="csX0" fmla="*/ 0 w 12698"/>
                  <a:gd name="csY0" fmla="*/ 0 h 44734"/>
                  <a:gd name="csX1" fmla="*/ 0 w 12698"/>
                  <a:gd name="csY1" fmla="*/ 44734 h 44734"/>
                </a:gdLst>
                <a:ahLst/>
                <a:cxnLst>
                  <a:cxn ang="0">
                    <a:pos x="csX0" y="csY0"/>
                  </a:cxn>
                  <a:cxn ang="0">
                    <a:pos x="csX1" y="csY1"/>
                  </a:cxn>
                </a:cxnLst>
                <a:rect l="l" t="t" r="r" b="b"/>
                <a:pathLst>
                  <a:path w="12698" h="44734">
                    <a:moveTo>
                      <a:pt x="0" y="0"/>
                    </a:moveTo>
                    <a:lnTo>
                      <a:pt x="0" y="44734"/>
                    </a:lnTo>
                  </a:path>
                </a:pathLst>
              </a:custGeom>
              <a:ln w="12693"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16" name="Freeform 351">
              <a:extLst>
                <a:ext uri="{FF2B5EF4-FFF2-40B4-BE49-F238E27FC236}">
                  <a16:creationId xmlns:a16="http://schemas.microsoft.com/office/drawing/2014/main" id="{227004B7-6B01-1309-BF0E-FFD11E72C59B}"/>
                </a:ext>
              </a:extLst>
            </p:cNvPr>
            <p:cNvSpPr/>
            <p:nvPr/>
          </p:nvSpPr>
          <p:spPr>
            <a:xfrm>
              <a:off x="2264216" y="1640604"/>
              <a:ext cx="4359257" cy="1407854"/>
            </a:xfrm>
            <a:custGeom>
              <a:avLst/>
              <a:gdLst>
                <a:gd name="csX0" fmla="*/ 0 w 4359257"/>
                <a:gd name="csY0" fmla="*/ 0 h 1407854"/>
                <a:gd name="csX1" fmla="*/ 48635 w 4359257"/>
                <a:gd name="csY1" fmla="*/ 0 h 1407854"/>
                <a:gd name="csX2" fmla="*/ 48635 w 4359257"/>
                <a:gd name="csY2" fmla="*/ 21986 h 1407854"/>
                <a:gd name="csX3" fmla="*/ 63238 w 4359257"/>
                <a:gd name="csY3" fmla="*/ 21986 h 1407854"/>
                <a:gd name="csX4" fmla="*/ 63238 w 4359257"/>
                <a:gd name="csY4" fmla="*/ 36092 h 1407854"/>
                <a:gd name="csX5" fmla="*/ 99937 w 4359257"/>
                <a:gd name="csY5" fmla="*/ 36092 h 1407854"/>
                <a:gd name="csX6" fmla="*/ 99937 w 4359257"/>
                <a:gd name="csY6" fmla="*/ 52486 h 1407854"/>
                <a:gd name="csX7" fmla="*/ 156572 w 4359257"/>
                <a:gd name="csY7" fmla="*/ 52486 h 1407854"/>
                <a:gd name="csX8" fmla="*/ 156572 w 4359257"/>
                <a:gd name="csY8" fmla="*/ 68245 h 1407854"/>
                <a:gd name="csX9" fmla="*/ 162921 w 4359257"/>
                <a:gd name="csY9" fmla="*/ 68245 h 1407854"/>
                <a:gd name="csX10" fmla="*/ 162921 w 4359257"/>
                <a:gd name="csY10" fmla="*/ 86037 h 1407854"/>
                <a:gd name="csX11" fmla="*/ 169906 w 4359257"/>
                <a:gd name="csY11" fmla="*/ 86037 h 1407854"/>
                <a:gd name="csX12" fmla="*/ 169906 w 4359257"/>
                <a:gd name="csY12" fmla="*/ 104973 h 1407854"/>
                <a:gd name="csX13" fmla="*/ 175874 w 4359257"/>
                <a:gd name="csY13" fmla="*/ 104973 h 1407854"/>
                <a:gd name="csX14" fmla="*/ 175874 w 4359257"/>
                <a:gd name="csY14" fmla="*/ 137507 h 1407854"/>
                <a:gd name="csX15" fmla="*/ 201271 w 4359257"/>
                <a:gd name="csY15" fmla="*/ 137507 h 1407854"/>
                <a:gd name="csX16" fmla="*/ 201271 w 4359257"/>
                <a:gd name="csY16" fmla="*/ 187833 h 1407854"/>
                <a:gd name="csX17" fmla="*/ 225398 w 4359257"/>
                <a:gd name="csY17" fmla="*/ 187833 h 1407854"/>
                <a:gd name="csX18" fmla="*/ 225398 w 4359257"/>
                <a:gd name="csY18" fmla="*/ 205370 h 1407854"/>
                <a:gd name="csX19" fmla="*/ 230350 w 4359257"/>
                <a:gd name="csY19" fmla="*/ 205370 h 1407854"/>
                <a:gd name="csX20" fmla="*/ 230350 w 4359257"/>
                <a:gd name="csY20" fmla="*/ 221129 h 1407854"/>
                <a:gd name="csX21" fmla="*/ 236319 w 4359257"/>
                <a:gd name="csY21" fmla="*/ 221129 h 1407854"/>
                <a:gd name="csX22" fmla="*/ 236319 w 4359257"/>
                <a:gd name="csY22" fmla="*/ 238159 h 1407854"/>
                <a:gd name="csX23" fmla="*/ 251684 w 4359257"/>
                <a:gd name="csY23" fmla="*/ 238159 h 1407854"/>
                <a:gd name="csX24" fmla="*/ 251684 w 4359257"/>
                <a:gd name="csY24" fmla="*/ 304624 h 1407854"/>
                <a:gd name="csX25" fmla="*/ 267430 w 4359257"/>
                <a:gd name="csY25" fmla="*/ 304624 h 1407854"/>
                <a:gd name="csX26" fmla="*/ 267430 w 4359257"/>
                <a:gd name="csY26" fmla="*/ 323941 h 1407854"/>
                <a:gd name="csX27" fmla="*/ 273271 w 4359257"/>
                <a:gd name="csY27" fmla="*/ 323941 h 1407854"/>
                <a:gd name="csX28" fmla="*/ 273271 w 4359257"/>
                <a:gd name="csY28" fmla="*/ 342115 h 1407854"/>
                <a:gd name="csX29" fmla="*/ 277462 w 4359257"/>
                <a:gd name="csY29" fmla="*/ 342115 h 1407854"/>
                <a:gd name="csX30" fmla="*/ 277462 w 4359257"/>
                <a:gd name="csY30" fmla="*/ 359271 h 1407854"/>
                <a:gd name="csX31" fmla="*/ 282795 w 4359257"/>
                <a:gd name="csY31" fmla="*/ 359271 h 1407854"/>
                <a:gd name="csX32" fmla="*/ 282795 w 4359257"/>
                <a:gd name="csY32" fmla="*/ 374267 h 1407854"/>
                <a:gd name="csX33" fmla="*/ 286985 w 4359257"/>
                <a:gd name="csY33" fmla="*/ 374267 h 1407854"/>
                <a:gd name="csX34" fmla="*/ 286985 w 4359257"/>
                <a:gd name="csY34" fmla="*/ 390661 h 1407854"/>
                <a:gd name="csX35" fmla="*/ 315557 w 4359257"/>
                <a:gd name="csY35" fmla="*/ 390661 h 1407854"/>
                <a:gd name="csX36" fmla="*/ 315557 w 4359257"/>
                <a:gd name="csY36" fmla="*/ 406420 h 1407854"/>
                <a:gd name="csX37" fmla="*/ 436192 w 4359257"/>
                <a:gd name="csY37" fmla="*/ 406420 h 1407854"/>
                <a:gd name="csX38" fmla="*/ 436192 w 4359257"/>
                <a:gd name="csY38" fmla="*/ 423195 h 1407854"/>
                <a:gd name="csX39" fmla="*/ 455113 w 4359257"/>
                <a:gd name="csY39" fmla="*/ 423195 h 1407854"/>
                <a:gd name="csX40" fmla="*/ 455113 w 4359257"/>
                <a:gd name="csY40" fmla="*/ 440352 h 1407854"/>
                <a:gd name="csX41" fmla="*/ 459939 w 4359257"/>
                <a:gd name="csY41" fmla="*/ 440352 h 1407854"/>
                <a:gd name="csX42" fmla="*/ 459939 w 4359257"/>
                <a:gd name="csY42" fmla="*/ 472886 h 1407854"/>
                <a:gd name="csX43" fmla="*/ 467685 w 4359257"/>
                <a:gd name="csY43" fmla="*/ 472886 h 1407854"/>
                <a:gd name="csX44" fmla="*/ 467685 w 4359257"/>
                <a:gd name="csY44" fmla="*/ 528168 h 1407854"/>
                <a:gd name="csX45" fmla="*/ 474923 w 4359257"/>
                <a:gd name="csY45" fmla="*/ 528168 h 1407854"/>
                <a:gd name="csX46" fmla="*/ 474923 w 4359257"/>
                <a:gd name="csY46" fmla="*/ 563498 h 1407854"/>
                <a:gd name="csX47" fmla="*/ 481653 w 4359257"/>
                <a:gd name="csY47" fmla="*/ 563498 h 1407854"/>
                <a:gd name="csX48" fmla="*/ 481653 w 4359257"/>
                <a:gd name="csY48" fmla="*/ 594634 h 1407854"/>
                <a:gd name="csX49" fmla="*/ 489653 w 4359257"/>
                <a:gd name="csY49" fmla="*/ 594634 h 1407854"/>
                <a:gd name="csX50" fmla="*/ 489653 w 4359257"/>
                <a:gd name="csY50" fmla="*/ 630599 h 1407854"/>
                <a:gd name="csX51" fmla="*/ 492828 w 4359257"/>
                <a:gd name="csY51" fmla="*/ 630599 h 1407854"/>
                <a:gd name="csX52" fmla="*/ 492828 w 4359257"/>
                <a:gd name="csY52" fmla="*/ 649535 h 1407854"/>
                <a:gd name="csX53" fmla="*/ 501209 w 4359257"/>
                <a:gd name="csY53" fmla="*/ 649535 h 1407854"/>
                <a:gd name="csX54" fmla="*/ 501209 w 4359257"/>
                <a:gd name="csY54" fmla="*/ 665293 h 1407854"/>
                <a:gd name="csX55" fmla="*/ 519367 w 4359257"/>
                <a:gd name="csY55" fmla="*/ 665293 h 1407854"/>
                <a:gd name="csX56" fmla="*/ 519367 w 4359257"/>
                <a:gd name="csY56" fmla="*/ 734555 h 1407854"/>
                <a:gd name="csX57" fmla="*/ 537526 w 4359257"/>
                <a:gd name="csY57" fmla="*/ 734555 h 1407854"/>
                <a:gd name="csX58" fmla="*/ 537526 w 4359257"/>
                <a:gd name="csY58" fmla="*/ 752728 h 1407854"/>
                <a:gd name="csX59" fmla="*/ 544129 w 4359257"/>
                <a:gd name="csY59" fmla="*/ 752728 h 1407854"/>
                <a:gd name="csX60" fmla="*/ 544129 w 4359257"/>
                <a:gd name="csY60" fmla="*/ 789075 h 1407854"/>
                <a:gd name="csX61" fmla="*/ 582225 w 4359257"/>
                <a:gd name="csY61" fmla="*/ 789075 h 1407854"/>
                <a:gd name="csX62" fmla="*/ 582225 w 4359257"/>
                <a:gd name="csY62" fmla="*/ 806231 h 1407854"/>
                <a:gd name="csX63" fmla="*/ 633273 w 4359257"/>
                <a:gd name="csY63" fmla="*/ 806231 h 1407854"/>
                <a:gd name="csX64" fmla="*/ 633273 w 4359257"/>
                <a:gd name="csY64" fmla="*/ 823388 h 1407854"/>
                <a:gd name="csX65" fmla="*/ 645590 w 4359257"/>
                <a:gd name="csY65" fmla="*/ 823388 h 1407854"/>
                <a:gd name="csX66" fmla="*/ 645590 w 4359257"/>
                <a:gd name="csY66" fmla="*/ 841561 h 1407854"/>
                <a:gd name="csX67" fmla="*/ 709209 w 4359257"/>
                <a:gd name="csY67" fmla="*/ 841561 h 1407854"/>
                <a:gd name="csX68" fmla="*/ 709209 w 4359257"/>
                <a:gd name="csY68" fmla="*/ 858718 h 1407854"/>
                <a:gd name="csX69" fmla="*/ 722416 w 4359257"/>
                <a:gd name="csY69" fmla="*/ 858718 h 1407854"/>
                <a:gd name="csX70" fmla="*/ 722416 w 4359257"/>
                <a:gd name="csY70" fmla="*/ 932173 h 1407854"/>
                <a:gd name="csX71" fmla="*/ 728003 w 4359257"/>
                <a:gd name="csY71" fmla="*/ 932173 h 1407854"/>
                <a:gd name="csX72" fmla="*/ 728003 w 4359257"/>
                <a:gd name="csY72" fmla="*/ 949965 h 1407854"/>
                <a:gd name="csX73" fmla="*/ 772702 w 4359257"/>
                <a:gd name="csY73" fmla="*/ 949965 h 1407854"/>
                <a:gd name="csX74" fmla="*/ 772702 w 4359257"/>
                <a:gd name="csY74" fmla="*/ 969918 h 1407854"/>
                <a:gd name="csX75" fmla="*/ 842290 w 4359257"/>
                <a:gd name="csY75" fmla="*/ 969918 h 1407854"/>
                <a:gd name="csX76" fmla="*/ 842290 w 4359257"/>
                <a:gd name="csY76" fmla="*/ 988091 h 1407854"/>
                <a:gd name="csX77" fmla="*/ 919242 w 4359257"/>
                <a:gd name="csY77" fmla="*/ 988091 h 1407854"/>
                <a:gd name="csX78" fmla="*/ 919242 w 4359257"/>
                <a:gd name="csY78" fmla="*/ 1007027 h 1407854"/>
                <a:gd name="csX79" fmla="*/ 1102989 w 4359257"/>
                <a:gd name="csY79" fmla="*/ 1007027 h 1407854"/>
                <a:gd name="csX80" fmla="*/ 1102989 w 4359257"/>
                <a:gd name="csY80" fmla="*/ 1045788 h 1407854"/>
                <a:gd name="csX81" fmla="*/ 1215244 w 4359257"/>
                <a:gd name="csY81" fmla="*/ 1045788 h 1407854"/>
                <a:gd name="csX82" fmla="*/ 1215244 w 4359257"/>
                <a:gd name="csY82" fmla="*/ 1065486 h 1407854"/>
                <a:gd name="csX83" fmla="*/ 1242799 w 4359257"/>
                <a:gd name="csY83" fmla="*/ 1065486 h 1407854"/>
                <a:gd name="csX84" fmla="*/ 1242799 w 4359257"/>
                <a:gd name="csY84" fmla="*/ 1088489 h 1407854"/>
                <a:gd name="csX85" fmla="*/ 1344514 w 4359257"/>
                <a:gd name="csY85" fmla="*/ 1088489 h 1407854"/>
                <a:gd name="csX86" fmla="*/ 1344514 w 4359257"/>
                <a:gd name="csY86" fmla="*/ 1107806 h 1407854"/>
                <a:gd name="csX87" fmla="*/ 1471372 w 4359257"/>
                <a:gd name="csY87" fmla="*/ 1107806 h 1407854"/>
                <a:gd name="csX88" fmla="*/ 1471372 w 4359257"/>
                <a:gd name="csY88" fmla="*/ 1126614 h 1407854"/>
                <a:gd name="csX89" fmla="*/ 1490292 w 4359257"/>
                <a:gd name="csY89" fmla="*/ 1126614 h 1407854"/>
                <a:gd name="csX90" fmla="*/ 1490292 w 4359257"/>
                <a:gd name="csY90" fmla="*/ 1149744 h 1407854"/>
                <a:gd name="csX91" fmla="*/ 1674420 w 4359257"/>
                <a:gd name="csY91" fmla="*/ 1149744 h 1407854"/>
                <a:gd name="csX92" fmla="*/ 1674420 w 4359257"/>
                <a:gd name="csY92" fmla="*/ 1171094 h 1407854"/>
                <a:gd name="csX93" fmla="*/ 1686992 w 4359257"/>
                <a:gd name="csY93" fmla="*/ 1171094 h 1407854"/>
                <a:gd name="csX94" fmla="*/ 1686992 w 4359257"/>
                <a:gd name="csY94" fmla="*/ 1195241 h 1407854"/>
                <a:gd name="csX95" fmla="*/ 1718865 w 4359257"/>
                <a:gd name="csY95" fmla="*/ 1195241 h 1407854"/>
                <a:gd name="csX96" fmla="*/ 1718865 w 4359257"/>
                <a:gd name="csY96" fmla="*/ 1217608 h 1407854"/>
                <a:gd name="csX97" fmla="*/ 1784262 w 4359257"/>
                <a:gd name="csY97" fmla="*/ 1217608 h 1407854"/>
                <a:gd name="csX98" fmla="*/ 1784262 w 4359257"/>
                <a:gd name="csY98" fmla="*/ 1241754 h 1407854"/>
                <a:gd name="csX99" fmla="*/ 1852326 w 4359257"/>
                <a:gd name="csY99" fmla="*/ 1241754 h 1407854"/>
                <a:gd name="csX100" fmla="*/ 1852326 w 4359257"/>
                <a:gd name="csY100" fmla="*/ 1263740 h 1407854"/>
                <a:gd name="csX101" fmla="*/ 2067311 w 4359257"/>
                <a:gd name="csY101" fmla="*/ 1263740 h 1407854"/>
                <a:gd name="csX102" fmla="*/ 2067311 w 4359257"/>
                <a:gd name="csY102" fmla="*/ 1285471 h 1407854"/>
                <a:gd name="csX103" fmla="*/ 2258804 w 4359257"/>
                <a:gd name="csY103" fmla="*/ 1285471 h 1407854"/>
                <a:gd name="csX104" fmla="*/ 2258804 w 4359257"/>
                <a:gd name="csY104" fmla="*/ 1330968 h 1407854"/>
                <a:gd name="csX105" fmla="*/ 2270994 w 4359257"/>
                <a:gd name="csY105" fmla="*/ 1330968 h 1407854"/>
                <a:gd name="csX106" fmla="*/ 2270994 w 4359257"/>
                <a:gd name="csY106" fmla="*/ 1357148 h 1407854"/>
                <a:gd name="csX107" fmla="*/ 2639377 w 4359257"/>
                <a:gd name="csY107" fmla="*/ 1357148 h 1407854"/>
                <a:gd name="csX108" fmla="*/ 2639377 w 4359257"/>
                <a:gd name="csY108" fmla="*/ 1381929 h 1407854"/>
                <a:gd name="csX109" fmla="*/ 3001918 w 4359257"/>
                <a:gd name="csY109" fmla="*/ 1381929 h 1407854"/>
                <a:gd name="csX110" fmla="*/ 3001918 w 4359257"/>
                <a:gd name="csY110" fmla="*/ 1407855 h 1407854"/>
                <a:gd name="csX111" fmla="*/ 4359257 w 4359257"/>
                <a:gd name="csY111" fmla="*/ 1407855 h 140785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Lst>
              <a:rect l="l" t="t" r="r" b="b"/>
              <a:pathLst>
                <a:path w="4359257" h="1407854">
                  <a:moveTo>
                    <a:pt x="0" y="0"/>
                  </a:moveTo>
                  <a:lnTo>
                    <a:pt x="48635" y="0"/>
                  </a:lnTo>
                  <a:lnTo>
                    <a:pt x="48635" y="21986"/>
                  </a:lnTo>
                  <a:lnTo>
                    <a:pt x="63238" y="21986"/>
                  </a:lnTo>
                  <a:lnTo>
                    <a:pt x="63238" y="36092"/>
                  </a:lnTo>
                  <a:lnTo>
                    <a:pt x="99937" y="36092"/>
                  </a:lnTo>
                  <a:lnTo>
                    <a:pt x="99937" y="52486"/>
                  </a:lnTo>
                  <a:lnTo>
                    <a:pt x="156572" y="52486"/>
                  </a:lnTo>
                  <a:lnTo>
                    <a:pt x="156572" y="68245"/>
                  </a:lnTo>
                  <a:lnTo>
                    <a:pt x="162921" y="68245"/>
                  </a:lnTo>
                  <a:lnTo>
                    <a:pt x="162921" y="86037"/>
                  </a:lnTo>
                  <a:lnTo>
                    <a:pt x="169906" y="86037"/>
                  </a:lnTo>
                  <a:lnTo>
                    <a:pt x="169906" y="104973"/>
                  </a:lnTo>
                  <a:lnTo>
                    <a:pt x="175874" y="104973"/>
                  </a:lnTo>
                  <a:lnTo>
                    <a:pt x="175874" y="137507"/>
                  </a:lnTo>
                  <a:lnTo>
                    <a:pt x="201271" y="137507"/>
                  </a:lnTo>
                  <a:lnTo>
                    <a:pt x="201271" y="187833"/>
                  </a:lnTo>
                  <a:lnTo>
                    <a:pt x="225398" y="187833"/>
                  </a:lnTo>
                  <a:lnTo>
                    <a:pt x="225398" y="205370"/>
                  </a:lnTo>
                  <a:lnTo>
                    <a:pt x="230350" y="205370"/>
                  </a:lnTo>
                  <a:lnTo>
                    <a:pt x="230350" y="221129"/>
                  </a:lnTo>
                  <a:lnTo>
                    <a:pt x="236319" y="221129"/>
                  </a:lnTo>
                  <a:lnTo>
                    <a:pt x="236319" y="238159"/>
                  </a:lnTo>
                  <a:lnTo>
                    <a:pt x="251684" y="238159"/>
                  </a:lnTo>
                  <a:lnTo>
                    <a:pt x="251684" y="304624"/>
                  </a:lnTo>
                  <a:lnTo>
                    <a:pt x="267430" y="304624"/>
                  </a:lnTo>
                  <a:lnTo>
                    <a:pt x="267430" y="323941"/>
                  </a:lnTo>
                  <a:lnTo>
                    <a:pt x="273271" y="323941"/>
                  </a:lnTo>
                  <a:lnTo>
                    <a:pt x="273271" y="342115"/>
                  </a:lnTo>
                  <a:lnTo>
                    <a:pt x="277462" y="342115"/>
                  </a:lnTo>
                  <a:lnTo>
                    <a:pt x="277462" y="359271"/>
                  </a:lnTo>
                  <a:lnTo>
                    <a:pt x="282795" y="359271"/>
                  </a:lnTo>
                  <a:lnTo>
                    <a:pt x="282795" y="374267"/>
                  </a:lnTo>
                  <a:lnTo>
                    <a:pt x="286985" y="374267"/>
                  </a:lnTo>
                  <a:lnTo>
                    <a:pt x="286985" y="390661"/>
                  </a:lnTo>
                  <a:lnTo>
                    <a:pt x="315557" y="390661"/>
                  </a:lnTo>
                  <a:lnTo>
                    <a:pt x="315557" y="406420"/>
                  </a:lnTo>
                  <a:lnTo>
                    <a:pt x="436192" y="406420"/>
                  </a:lnTo>
                  <a:lnTo>
                    <a:pt x="436192" y="423195"/>
                  </a:lnTo>
                  <a:lnTo>
                    <a:pt x="455113" y="423195"/>
                  </a:lnTo>
                  <a:lnTo>
                    <a:pt x="455113" y="440352"/>
                  </a:lnTo>
                  <a:lnTo>
                    <a:pt x="459939" y="440352"/>
                  </a:lnTo>
                  <a:lnTo>
                    <a:pt x="459939" y="472886"/>
                  </a:lnTo>
                  <a:lnTo>
                    <a:pt x="467685" y="472886"/>
                  </a:lnTo>
                  <a:lnTo>
                    <a:pt x="467685" y="528168"/>
                  </a:lnTo>
                  <a:lnTo>
                    <a:pt x="474923" y="528168"/>
                  </a:lnTo>
                  <a:lnTo>
                    <a:pt x="474923" y="563498"/>
                  </a:lnTo>
                  <a:lnTo>
                    <a:pt x="481653" y="563498"/>
                  </a:lnTo>
                  <a:lnTo>
                    <a:pt x="481653" y="594634"/>
                  </a:lnTo>
                  <a:lnTo>
                    <a:pt x="489653" y="594634"/>
                  </a:lnTo>
                  <a:lnTo>
                    <a:pt x="489653" y="630599"/>
                  </a:lnTo>
                  <a:lnTo>
                    <a:pt x="492828" y="630599"/>
                  </a:lnTo>
                  <a:lnTo>
                    <a:pt x="492828" y="649535"/>
                  </a:lnTo>
                  <a:lnTo>
                    <a:pt x="501209" y="649535"/>
                  </a:lnTo>
                  <a:lnTo>
                    <a:pt x="501209" y="665293"/>
                  </a:lnTo>
                  <a:lnTo>
                    <a:pt x="519367" y="665293"/>
                  </a:lnTo>
                  <a:lnTo>
                    <a:pt x="519367" y="734555"/>
                  </a:lnTo>
                  <a:lnTo>
                    <a:pt x="537526" y="734555"/>
                  </a:lnTo>
                  <a:lnTo>
                    <a:pt x="537526" y="752728"/>
                  </a:lnTo>
                  <a:lnTo>
                    <a:pt x="544129" y="752728"/>
                  </a:lnTo>
                  <a:lnTo>
                    <a:pt x="544129" y="789075"/>
                  </a:lnTo>
                  <a:lnTo>
                    <a:pt x="582225" y="789075"/>
                  </a:lnTo>
                  <a:lnTo>
                    <a:pt x="582225" y="806231"/>
                  </a:lnTo>
                  <a:lnTo>
                    <a:pt x="633273" y="806231"/>
                  </a:lnTo>
                  <a:lnTo>
                    <a:pt x="633273" y="823388"/>
                  </a:lnTo>
                  <a:lnTo>
                    <a:pt x="645590" y="823388"/>
                  </a:lnTo>
                  <a:lnTo>
                    <a:pt x="645590" y="841561"/>
                  </a:lnTo>
                  <a:lnTo>
                    <a:pt x="709209" y="841561"/>
                  </a:lnTo>
                  <a:lnTo>
                    <a:pt x="709209" y="858718"/>
                  </a:lnTo>
                  <a:lnTo>
                    <a:pt x="722416" y="858718"/>
                  </a:lnTo>
                  <a:lnTo>
                    <a:pt x="722416" y="932173"/>
                  </a:lnTo>
                  <a:lnTo>
                    <a:pt x="728003" y="932173"/>
                  </a:lnTo>
                  <a:lnTo>
                    <a:pt x="728003" y="949965"/>
                  </a:lnTo>
                  <a:lnTo>
                    <a:pt x="772702" y="949965"/>
                  </a:lnTo>
                  <a:lnTo>
                    <a:pt x="772702" y="969918"/>
                  </a:lnTo>
                  <a:lnTo>
                    <a:pt x="842290" y="969918"/>
                  </a:lnTo>
                  <a:lnTo>
                    <a:pt x="842290" y="988091"/>
                  </a:lnTo>
                  <a:lnTo>
                    <a:pt x="919242" y="988091"/>
                  </a:lnTo>
                  <a:lnTo>
                    <a:pt x="919242" y="1007027"/>
                  </a:lnTo>
                  <a:lnTo>
                    <a:pt x="1102989" y="1007027"/>
                  </a:lnTo>
                  <a:lnTo>
                    <a:pt x="1102989" y="1045788"/>
                  </a:lnTo>
                  <a:lnTo>
                    <a:pt x="1215244" y="1045788"/>
                  </a:lnTo>
                  <a:lnTo>
                    <a:pt x="1215244" y="1065486"/>
                  </a:lnTo>
                  <a:lnTo>
                    <a:pt x="1242799" y="1065486"/>
                  </a:lnTo>
                  <a:lnTo>
                    <a:pt x="1242799" y="1088489"/>
                  </a:lnTo>
                  <a:lnTo>
                    <a:pt x="1344514" y="1088489"/>
                  </a:lnTo>
                  <a:lnTo>
                    <a:pt x="1344514" y="1107806"/>
                  </a:lnTo>
                  <a:lnTo>
                    <a:pt x="1471372" y="1107806"/>
                  </a:lnTo>
                  <a:lnTo>
                    <a:pt x="1471372" y="1126614"/>
                  </a:lnTo>
                  <a:lnTo>
                    <a:pt x="1490292" y="1126614"/>
                  </a:lnTo>
                  <a:lnTo>
                    <a:pt x="1490292" y="1149744"/>
                  </a:lnTo>
                  <a:lnTo>
                    <a:pt x="1674420" y="1149744"/>
                  </a:lnTo>
                  <a:lnTo>
                    <a:pt x="1674420" y="1171094"/>
                  </a:lnTo>
                  <a:lnTo>
                    <a:pt x="1686992" y="1171094"/>
                  </a:lnTo>
                  <a:lnTo>
                    <a:pt x="1686992" y="1195241"/>
                  </a:lnTo>
                  <a:lnTo>
                    <a:pt x="1718865" y="1195241"/>
                  </a:lnTo>
                  <a:lnTo>
                    <a:pt x="1718865" y="1217608"/>
                  </a:lnTo>
                  <a:lnTo>
                    <a:pt x="1784262" y="1217608"/>
                  </a:lnTo>
                  <a:lnTo>
                    <a:pt x="1784262" y="1241754"/>
                  </a:lnTo>
                  <a:lnTo>
                    <a:pt x="1852326" y="1241754"/>
                  </a:lnTo>
                  <a:lnTo>
                    <a:pt x="1852326" y="1263740"/>
                  </a:lnTo>
                  <a:lnTo>
                    <a:pt x="2067311" y="1263740"/>
                  </a:lnTo>
                  <a:lnTo>
                    <a:pt x="2067311" y="1285471"/>
                  </a:lnTo>
                  <a:lnTo>
                    <a:pt x="2258804" y="1285471"/>
                  </a:lnTo>
                  <a:lnTo>
                    <a:pt x="2258804" y="1330968"/>
                  </a:lnTo>
                  <a:lnTo>
                    <a:pt x="2270994" y="1330968"/>
                  </a:lnTo>
                  <a:lnTo>
                    <a:pt x="2270994" y="1357148"/>
                  </a:lnTo>
                  <a:lnTo>
                    <a:pt x="2639377" y="1357148"/>
                  </a:lnTo>
                  <a:lnTo>
                    <a:pt x="2639377" y="1381929"/>
                  </a:lnTo>
                  <a:lnTo>
                    <a:pt x="3001918" y="1381929"/>
                  </a:lnTo>
                  <a:lnTo>
                    <a:pt x="3001918" y="1407855"/>
                  </a:lnTo>
                  <a:lnTo>
                    <a:pt x="4359257" y="1407855"/>
                  </a:lnTo>
                </a:path>
              </a:pathLst>
            </a:custGeom>
            <a:noFill/>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17" name="Graphic 4">
              <a:extLst>
                <a:ext uri="{FF2B5EF4-FFF2-40B4-BE49-F238E27FC236}">
                  <a16:creationId xmlns:a16="http://schemas.microsoft.com/office/drawing/2014/main" id="{ED27240E-0C5E-096A-82BB-9FE942CC9A34}"/>
                </a:ext>
              </a:extLst>
            </p:cNvPr>
            <p:cNvGrpSpPr/>
            <p:nvPr/>
          </p:nvGrpSpPr>
          <p:grpSpPr>
            <a:xfrm>
              <a:off x="2264216" y="1640604"/>
              <a:ext cx="3489412" cy="2258947"/>
              <a:chOff x="5063860" y="2340515"/>
              <a:chExt cx="3489412" cy="2258947"/>
            </a:xfrm>
            <a:noFill/>
          </p:grpSpPr>
          <p:sp>
            <p:nvSpPr>
              <p:cNvPr id="252" name="Freeform 353">
                <a:extLst>
                  <a:ext uri="{FF2B5EF4-FFF2-40B4-BE49-F238E27FC236}">
                    <a16:creationId xmlns:a16="http://schemas.microsoft.com/office/drawing/2014/main" id="{044EE439-744B-0A78-9562-A4CA475DB4BD}"/>
                  </a:ext>
                </a:extLst>
              </p:cNvPr>
              <p:cNvSpPr/>
              <p:nvPr/>
            </p:nvSpPr>
            <p:spPr>
              <a:xfrm>
                <a:off x="5063860" y="2340515"/>
                <a:ext cx="19047" cy="12708"/>
              </a:xfrm>
              <a:custGeom>
                <a:avLst/>
                <a:gdLst>
                  <a:gd name="csX0" fmla="*/ 0 w 19047"/>
                  <a:gd name="csY0" fmla="*/ 0 h 12708"/>
                  <a:gd name="csX1" fmla="*/ 19048 w 19047"/>
                  <a:gd name="csY1" fmla="*/ 0 h 12708"/>
                </a:gdLst>
                <a:ahLst/>
                <a:cxnLst>
                  <a:cxn ang="0">
                    <a:pos x="csX0" y="csY0"/>
                  </a:cxn>
                  <a:cxn ang="0">
                    <a:pos x="csX1" y="csY1"/>
                  </a:cxn>
                </a:cxnLst>
                <a:rect l="l" t="t" r="r" b="b"/>
                <a:pathLst>
                  <a:path w="19047" h="12708">
                    <a:moveTo>
                      <a:pt x="0" y="0"/>
                    </a:moveTo>
                    <a:lnTo>
                      <a:pt x="19048" y="0"/>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3" name="Freeform 354">
                <a:extLst>
                  <a:ext uri="{FF2B5EF4-FFF2-40B4-BE49-F238E27FC236}">
                    <a16:creationId xmlns:a16="http://schemas.microsoft.com/office/drawing/2014/main" id="{7080EB6D-3FFD-5060-8812-1926A021C33A}"/>
                  </a:ext>
                </a:extLst>
              </p:cNvPr>
              <p:cNvSpPr/>
              <p:nvPr/>
            </p:nvSpPr>
            <p:spPr>
              <a:xfrm>
                <a:off x="5107162" y="2340515"/>
                <a:ext cx="19047" cy="19062"/>
              </a:xfrm>
              <a:custGeom>
                <a:avLst/>
                <a:gdLst>
                  <a:gd name="csX0" fmla="*/ 0 w 19047"/>
                  <a:gd name="csY0" fmla="*/ 0 h 19062"/>
                  <a:gd name="csX1" fmla="*/ 19048 w 19047"/>
                  <a:gd name="csY1" fmla="*/ 0 h 19062"/>
                  <a:gd name="csX2" fmla="*/ 19048 w 19047"/>
                  <a:gd name="csY2" fmla="*/ 19063 h 19062"/>
                </a:gdLst>
                <a:ahLst/>
                <a:cxnLst>
                  <a:cxn ang="0">
                    <a:pos x="csX0" y="csY0"/>
                  </a:cxn>
                  <a:cxn ang="0">
                    <a:pos x="csX1" y="csY1"/>
                  </a:cxn>
                  <a:cxn ang="0">
                    <a:pos x="csX2" y="csY2"/>
                  </a:cxn>
                </a:cxnLst>
                <a:rect l="l" t="t" r="r" b="b"/>
                <a:pathLst>
                  <a:path w="19047" h="19062">
                    <a:moveTo>
                      <a:pt x="0" y="0"/>
                    </a:moveTo>
                    <a:lnTo>
                      <a:pt x="19048" y="0"/>
                    </a:lnTo>
                    <a:lnTo>
                      <a:pt x="19048" y="19063"/>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4" name="Freeform 355">
                <a:extLst>
                  <a:ext uri="{FF2B5EF4-FFF2-40B4-BE49-F238E27FC236}">
                    <a16:creationId xmlns:a16="http://schemas.microsoft.com/office/drawing/2014/main" id="{8A9EA17E-7605-A549-5E13-0DAD400F8016}"/>
                  </a:ext>
                </a:extLst>
              </p:cNvPr>
              <p:cNvSpPr/>
              <p:nvPr/>
            </p:nvSpPr>
            <p:spPr>
              <a:xfrm>
                <a:off x="5126210" y="2395924"/>
                <a:ext cx="12952" cy="38125"/>
              </a:xfrm>
              <a:custGeom>
                <a:avLst/>
                <a:gdLst>
                  <a:gd name="csX0" fmla="*/ 0 w 12952"/>
                  <a:gd name="csY0" fmla="*/ 0 h 38125"/>
                  <a:gd name="csX1" fmla="*/ 0 w 12952"/>
                  <a:gd name="csY1" fmla="*/ 19063 h 38125"/>
                  <a:gd name="csX2" fmla="*/ 12952 w 12952"/>
                  <a:gd name="csY2" fmla="*/ 19063 h 38125"/>
                  <a:gd name="csX3" fmla="*/ 12952 w 12952"/>
                  <a:gd name="csY3" fmla="*/ 38126 h 38125"/>
                </a:gdLst>
                <a:ahLst/>
                <a:cxnLst>
                  <a:cxn ang="0">
                    <a:pos x="csX0" y="csY0"/>
                  </a:cxn>
                  <a:cxn ang="0">
                    <a:pos x="csX1" y="csY1"/>
                  </a:cxn>
                  <a:cxn ang="0">
                    <a:pos x="csX2" y="csY2"/>
                  </a:cxn>
                  <a:cxn ang="0">
                    <a:pos x="csX3" y="csY3"/>
                  </a:cxn>
                </a:cxnLst>
                <a:rect l="l" t="t" r="r" b="b"/>
                <a:pathLst>
                  <a:path w="12952" h="38125">
                    <a:moveTo>
                      <a:pt x="0" y="0"/>
                    </a:moveTo>
                    <a:lnTo>
                      <a:pt x="0" y="19063"/>
                    </a:lnTo>
                    <a:lnTo>
                      <a:pt x="12952" y="19063"/>
                    </a:lnTo>
                    <a:lnTo>
                      <a:pt x="12952" y="38126"/>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5" name="Freeform 356">
                <a:extLst>
                  <a:ext uri="{FF2B5EF4-FFF2-40B4-BE49-F238E27FC236}">
                    <a16:creationId xmlns:a16="http://schemas.microsoft.com/office/drawing/2014/main" id="{ADBD38B2-CAB9-4E0E-1C01-DA5D3BE4DCAE}"/>
                  </a:ext>
                </a:extLst>
              </p:cNvPr>
              <p:cNvSpPr/>
              <p:nvPr/>
            </p:nvSpPr>
            <p:spPr>
              <a:xfrm>
                <a:off x="5139162" y="2439769"/>
                <a:ext cx="75428" cy="126323"/>
              </a:xfrm>
              <a:custGeom>
                <a:avLst/>
                <a:gdLst>
                  <a:gd name="csX0" fmla="*/ 0 w 75428"/>
                  <a:gd name="csY0" fmla="*/ 0 h 126323"/>
                  <a:gd name="csX1" fmla="*/ 0 w 75428"/>
                  <a:gd name="csY1" fmla="*/ 19063 h 126323"/>
                  <a:gd name="csX2" fmla="*/ 10921 w 75428"/>
                  <a:gd name="csY2" fmla="*/ 19063 h 126323"/>
                  <a:gd name="csX3" fmla="*/ 10921 w 75428"/>
                  <a:gd name="csY3" fmla="*/ 42955 h 126323"/>
                  <a:gd name="csX4" fmla="*/ 31365 w 75428"/>
                  <a:gd name="csY4" fmla="*/ 42955 h 126323"/>
                  <a:gd name="csX5" fmla="*/ 31365 w 75428"/>
                  <a:gd name="csY5" fmla="*/ 66339 h 126323"/>
                  <a:gd name="csX6" fmla="*/ 41397 w 75428"/>
                  <a:gd name="csY6" fmla="*/ 66339 h 126323"/>
                  <a:gd name="csX7" fmla="*/ 41397 w 75428"/>
                  <a:gd name="csY7" fmla="*/ 81970 h 126323"/>
                  <a:gd name="csX8" fmla="*/ 56254 w 75428"/>
                  <a:gd name="csY8" fmla="*/ 81970 h 126323"/>
                  <a:gd name="csX9" fmla="*/ 56254 w 75428"/>
                  <a:gd name="csY9" fmla="*/ 107260 h 126323"/>
                  <a:gd name="csX10" fmla="*/ 75429 w 75428"/>
                  <a:gd name="csY10" fmla="*/ 107260 h 126323"/>
                  <a:gd name="csX11" fmla="*/ 75429 w 75428"/>
                  <a:gd name="csY11" fmla="*/ 126323 h 12632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75428" h="126323">
                    <a:moveTo>
                      <a:pt x="0" y="0"/>
                    </a:moveTo>
                    <a:lnTo>
                      <a:pt x="0" y="19063"/>
                    </a:lnTo>
                    <a:lnTo>
                      <a:pt x="10921" y="19063"/>
                    </a:lnTo>
                    <a:lnTo>
                      <a:pt x="10921" y="42955"/>
                    </a:lnTo>
                    <a:lnTo>
                      <a:pt x="31365" y="42955"/>
                    </a:lnTo>
                    <a:lnTo>
                      <a:pt x="31365" y="66339"/>
                    </a:lnTo>
                    <a:lnTo>
                      <a:pt x="41397" y="66339"/>
                    </a:lnTo>
                    <a:lnTo>
                      <a:pt x="41397" y="81970"/>
                    </a:lnTo>
                    <a:lnTo>
                      <a:pt x="56254" y="81970"/>
                    </a:lnTo>
                    <a:lnTo>
                      <a:pt x="56254" y="107260"/>
                    </a:lnTo>
                    <a:lnTo>
                      <a:pt x="75429" y="107260"/>
                    </a:lnTo>
                    <a:lnTo>
                      <a:pt x="75429" y="126323"/>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6" name="Freeform 357">
                <a:extLst>
                  <a:ext uri="{FF2B5EF4-FFF2-40B4-BE49-F238E27FC236}">
                    <a16:creationId xmlns:a16="http://schemas.microsoft.com/office/drawing/2014/main" id="{3AD3DD47-8F23-8594-555C-091C21922714}"/>
                  </a:ext>
                </a:extLst>
              </p:cNvPr>
              <p:cNvSpPr/>
              <p:nvPr/>
            </p:nvSpPr>
            <p:spPr>
              <a:xfrm>
                <a:off x="5214591" y="2572573"/>
                <a:ext cx="77841" cy="140175"/>
              </a:xfrm>
              <a:custGeom>
                <a:avLst/>
                <a:gdLst>
                  <a:gd name="csX0" fmla="*/ 0 w 77841"/>
                  <a:gd name="csY0" fmla="*/ 0 h 140175"/>
                  <a:gd name="csX1" fmla="*/ 0 w 77841"/>
                  <a:gd name="csY1" fmla="*/ 19063 h 140175"/>
                  <a:gd name="csX2" fmla="*/ 11810 w 77841"/>
                  <a:gd name="csY2" fmla="*/ 19063 h 140175"/>
                  <a:gd name="csX3" fmla="*/ 11810 w 77841"/>
                  <a:gd name="csY3" fmla="*/ 55155 h 140175"/>
                  <a:gd name="csX4" fmla="*/ 46603 w 77841"/>
                  <a:gd name="csY4" fmla="*/ 55155 h 140175"/>
                  <a:gd name="csX5" fmla="*/ 46603 w 77841"/>
                  <a:gd name="csY5" fmla="*/ 88579 h 140175"/>
                  <a:gd name="csX6" fmla="*/ 70730 w 77841"/>
                  <a:gd name="csY6" fmla="*/ 88579 h 140175"/>
                  <a:gd name="csX7" fmla="*/ 70730 w 77841"/>
                  <a:gd name="csY7" fmla="*/ 121113 h 140175"/>
                  <a:gd name="csX8" fmla="*/ 77842 w 77841"/>
                  <a:gd name="csY8" fmla="*/ 121113 h 140175"/>
                  <a:gd name="csX9" fmla="*/ 77842 w 77841"/>
                  <a:gd name="csY9" fmla="*/ 140176 h 1401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77841" h="140175">
                    <a:moveTo>
                      <a:pt x="0" y="0"/>
                    </a:moveTo>
                    <a:lnTo>
                      <a:pt x="0" y="19063"/>
                    </a:lnTo>
                    <a:lnTo>
                      <a:pt x="11810" y="19063"/>
                    </a:lnTo>
                    <a:lnTo>
                      <a:pt x="11810" y="55155"/>
                    </a:lnTo>
                    <a:lnTo>
                      <a:pt x="46603" y="55155"/>
                    </a:lnTo>
                    <a:lnTo>
                      <a:pt x="46603" y="88579"/>
                    </a:lnTo>
                    <a:lnTo>
                      <a:pt x="70730" y="88579"/>
                    </a:lnTo>
                    <a:lnTo>
                      <a:pt x="70730" y="121113"/>
                    </a:lnTo>
                    <a:lnTo>
                      <a:pt x="77842" y="121113"/>
                    </a:lnTo>
                    <a:lnTo>
                      <a:pt x="77842" y="140176"/>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7" name="Freeform 358">
                <a:extLst>
                  <a:ext uri="{FF2B5EF4-FFF2-40B4-BE49-F238E27FC236}">
                    <a16:creationId xmlns:a16="http://schemas.microsoft.com/office/drawing/2014/main" id="{F9DE705D-EF50-8EBB-00A4-D621F247E968}"/>
                  </a:ext>
                </a:extLst>
              </p:cNvPr>
              <p:cNvSpPr/>
              <p:nvPr/>
            </p:nvSpPr>
            <p:spPr>
              <a:xfrm>
                <a:off x="5292432" y="2738166"/>
                <a:ext cx="12698" cy="38125"/>
              </a:xfrm>
              <a:custGeom>
                <a:avLst/>
                <a:gdLst>
                  <a:gd name="csX0" fmla="*/ 0 w 12698"/>
                  <a:gd name="csY0" fmla="*/ 0 h 38125"/>
                  <a:gd name="csX1" fmla="*/ 0 w 12698"/>
                  <a:gd name="csY1" fmla="*/ 38126 h 38125"/>
                </a:gdLst>
                <a:ahLst/>
                <a:cxnLst>
                  <a:cxn ang="0">
                    <a:pos x="csX0" y="csY0"/>
                  </a:cxn>
                  <a:cxn ang="0">
                    <a:pos x="csX1" y="csY1"/>
                  </a:cxn>
                </a:cxnLst>
                <a:rect l="l" t="t" r="r" b="b"/>
                <a:pathLst>
                  <a:path w="12698" h="38125">
                    <a:moveTo>
                      <a:pt x="0" y="0"/>
                    </a:moveTo>
                    <a:lnTo>
                      <a:pt x="0" y="38126"/>
                    </a:lnTo>
                  </a:path>
                </a:pathLst>
              </a:custGeom>
              <a:ln w="12693" cap="flat">
                <a:solidFill>
                  <a:srgbClr val="0B41CD"/>
                </a:solidFill>
                <a:custDash>
                  <a:ds d="150000" sp="150000"/>
                </a:custDash>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8" name="Freeform 359">
                <a:extLst>
                  <a:ext uri="{FF2B5EF4-FFF2-40B4-BE49-F238E27FC236}">
                    <a16:creationId xmlns:a16="http://schemas.microsoft.com/office/drawing/2014/main" id="{4CE7C0ED-8DBD-5789-CC4B-9D1738B83746}"/>
                  </a:ext>
                </a:extLst>
              </p:cNvPr>
              <p:cNvSpPr/>
              <p:nvPr/>
            </p:nvSpPr>
            <p:spPr>
              <a:xfrm>
                <a:off x="5292432" y="2789000"/>
                <a:ext cx="15492" cy="38125"/>
              </a:xfrm>
              <a:custGeom>
                <a:avLst/>
                <a:gdLst>
                  <a:gd name="csX0" fmla="*/ 0 w 15492"/>
                  <a:gd name="csY0" fmla="*/ 0 h 38125"/>
                  <a:gd name="csX1" fmla="*/ 0 w 15492"/>
                  <a:gd name="csY1" fmla="*/ 19063 h 38125"/>
                  <a:gd name="csX2" fmla="*/ 15492 w 15492"/>
                  <a:gd name="csY2" fmla="*/ 19063 h 38125"/>
                  <a:gd name="csX3" fmla="*/ 15492 w 15492"/>
                  <a:gd name="csY3" fmla="*/ 38126 h 38125"/>
                </a:gdLst>
                <a:ahLst/>
                <a:cxnLst>
                  <a:cxn ang="0">
                    <a:pos x="csX0" y="csY0"/>
                  </a:cxn>
                  <a:cxn ang="0">
                    <a:pos x="csX1" y="csY1"/>
                  </a:cxn>
                  <a:cxn ang="0">
                    <a:pos x="csX2" y="csY2"/>
                  </a:cxn>
                  <a:cxn ang="0">
                    <a:pos x="csX3" y="csY3"/>
                  </a:cxn>
                </a:cxnLst>
                <a:rect l="l" t="t" r="r" b="b"/>
                <a:pathLst>
                  <a:path w="15492" h="38125">
                    <a:moveTo>
                      <a:pt x="0" y="0"/>
                    </a:moveTo>
                    <a:lnTo>
                      <a:pt x="0" y="19063"/>
                    </a:lnTo>
                    <a:lnTo>
                      <a:pt x="15492" y="19063"/>
                    </a:lnTo>
                    <a:lnTo>
                      <a:pt x="15492" y="38126"/>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9" name="Freeform 360">
                <a:extLst>
                  <a:ext uri="{FF2B5EF4-FFF2-40B4-BE49-F238E27FC236}">
                    <a16:creationId xmlns:a16="http://schemas.microsoft.com/office/drawing/2014/main" id="{47A1FE04-9E5C-A645-D509-516DC58A5910}"/>
                  </a:ext>
                </a:extLst>
              </p:cNvPr>
              <p:cNvSpPr/>
              <p:nvPr/>
            </p:nvSpPr>
            <p:spPr>
              <a:xfrm>
                <a:off x="5307925" y="2830938"/>
                <a:ext cx="3174" cy="38125"/>
              </a:xfrm>
              <a:custGeom>
                <a:avLst/>
                <a:gdLst>
                  <a:gd name="csX0" fmla="*/ 0 w 3174"/>
                  <a:gd name="csY0" fmla="*/ 0 h 38125"/>
                  <a:gd name="csX1" fmla="*/ 0 w 3174"/>
                  <a:gd name="csY1" fmla="*/ 19063 h 38125"/>
                  <a:gd name="csX2" fmla="*/ 3175 w 3174"/>
                  <a:gd name="csY2" fmla="*/ 19063 h 38125"/>
                  <a:gd name="csX3" fmla="*/ 3175 w 3174"/>
                  <a:gd name="csY3" fmla="*/ 38126 h 38125"/>
                </a:gdLst>
                <a:ahLst/>
                <a:cxnLst>
                  <a:cxn ang="0">
                    <a:pos x="csX0" y="csY0"/>
                  </a:cxn>
                  <a:cxn ang="0">
                    <a:pos x="csX1" y="csY1"/>
                  </a:cxn>
                  <a:cxn ang="0">
                    <a:pos x="csX2" y="csY2"/>
                  </a:cxn>
                  <a:cxn ang="0">
                    <a:pos x="csX3" y="csY3"/>
                  </a:cxn>
                </a:cxnLst>
                <a:rect l="l" t="t" r="r" b="b"/>
                <a:pathLst>
                  <a:path w="3174" h="38125">
                    <a:moveTo>
                      <a:pt x="0" y="0"/>
                    </a:moveTo>
                    <a:lnTo>
                      <a:pt x="0" y="19063"/>
                    </a:lnTo>
                    <a:lnTo>
                      <a:pt x="3175" y="19063"/>
                    </a:lnTo>
                    <a:lnTo>
                      <a:pt x="3175" y="38126"/>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0" name="Freeform 361">
                <a:extLst>
                  <a:ext uri="{FF2B5EF4-FFF2-40B4-BE49-F238E27FC236}">
                    <a16:creationId xmlns:a16="http://schemas.microsoft.com/office/drawing/2014/main" id="{0A343274-EC9A-643E-9AB2-E07F7A27E04C}"/>
                  </a:ext>
                </a:extLst>
              </p:cNvPr>
              <p:cNvSpPr/>
              <p:nvPr/>
            </p:nvSpPr>
            <p:spPr>
              <a:xfrm>
                <a:off x="5311099" y="2914561"/>
                <a:ext cx="7873" cy="38125"/>
              </a:xfrm>
              <a:custGeom>
                <a:avLst/>
                <a:gdLst>
                  <a:gd name="csX0" fmla="*/ 0 w 7873"/>
                  <a:gd name="csY0" fmla="*/ 0 h 38125"/>
                  <a:gd name="csX1" fmla="*/ 0 w 7873"/>
                  <a:gd name="csY1" fmla="*/ 19063 h 38125"/>
                  <a:gd name="csX2" fmla="*/ 7873 w 7873"/>
                  <a:gd name="csY2" fmla="*/ 19063 h 38125"/>
                  <a:gd name="csX3" fmla="*/ 7873 w 7873"/>
                  <a:gd name="csY3" fmla="*/ 38126 h 38125"/>
                </a:gdLst>
                <a:ahLst/>
                <a:cxnLst>
                  <a:cxn ang="0">
                    <a:pos x="csX0" y="csY0"/>
                  </a:cxn>
                  <a:cxn ang="0">
                    <a:pos x="csX1" y="csY1"/>
                  </a:cxn>
                  <a:cxn ang="0">
                    <a:pos x="csX2" y="csY2"/>
                  </a:cxn>
                  <a:cxn ang="0">
                    <a:pos x="csX3" y="csY3"/>
                  </a:cxn>
                </a:cxnLst>
                <a:rect l="l" t="t" r="r" b="b"/>
                <a:pathLst>
                  <a:path w="7873" h="38125">
                    <a:moveTo>
                      <a:pt x="0" y="0"/>
                    </a:moveTo>
                    <a:lnTo>
                      <a:pt x="0" y="19063"/>
                    </a:lnTo>
                    <a:lnTo>
                      <a:pt x="7873" y="19063"/>
                    </a:lnTo>
                    <a:lnTo>
                      <a:pt x="7873" y="38126"/>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1" name="Freeform 362">
                <a:extLst>
                  <a:ext uri="{FF2B5EF4-FFF2-40B4-BE49-F238E27FC236}">
                    <a16:creationId xmlns:a16="http://schemas.microsoft.com/office/drawing/2014/main" id="{876A47DA-82E6-45CD-421A-EF4D82CFDAC1}"/>
                  </a:ext>
                </a:extLst>
              </p:cNvPr>
              <p:cNvSpPr/>
              <p:nvPr/>
            </p:nvSpPr>
            <p:spPr>
              <a:xfrm>
                <a:off x="5318972" y="2997548"/>
                <a:ext cx="27428" cy="72692"/>
              </a:xfrm>
              <a:custGeom>
                <a:avLst/>
                <a:gdLst>
                  <a:gd name="csX0" fmla="*/ 0 w 27428"/>
                  <a:gd name="csY0" fmla="*/ 0 h 72692"/>
                  <a:gd name="csX1" fmla="*/ 0 w 27428"/>
                  <a:gd name="csY1" fmla="*/ 19063 h 72692"/>
                  <a:gd name="csX2" fmla="*/ 4191 w 27428"/>
                  <a:gd name="csY2" fmla="*/ 19063 h 72692"/>
                  <a:gd name="csX3" fmla="*/ 4191 w 27428"/>
                  <a:gd name="csY3" fmla="*/ 53630 h 72692"/>
                  <a:gd name="csX4" fmla="*/ 27429 w 27428"/>
                  <a:gd name="csY4" fmla="*/ 53630 h 72692"/>
                  <a:gd name="csX5" fmla="*/ 27429 w 27428"/>
                  <a:gd name="csY5" fmla="*/ 72693 h 72692"/>
                </a:gdLst>
                <a:ahLst/>
                <a:cxnLst>
                  <a:cxn ang="0">
                    <a:pos x="csX0" y="csY0"/>
                  </a:cxn>
                  <a:cxn ang="0">
                    <a:pos x="csX1" y="csY1"/>
                  </a:cxn>
                  <a:cxn ang="0">
                    <a:pos x="csX2" y="csY2"/>
                  </a:cxn>
                  <a:cxn ang="0">
                    <a:pos x="csX3" y="csY3"/>
                  </a:cxn>
                  <a:cxn ang="0">
                    <a:pos x="csX4" y="csY4"/>
                  </a:cxn>
                  <a:cxn ang="0">
                    <a:pos x="csX5" y="csY5"/>
                  </a:cxn>
                </a:cxnLst>
                <a:rect l="l" t="t" r="r" b="b"/>
                <a:pathLst>
                  <a:path w="27428" h="72692">
                    <a:moveTo>
                      <a:pt x="0" y="0"/>
                    </a:moveTo>
                    <a:lnTo>
                      <a:pt x="0" y="19063"/>
                    </a:lnTo>
                    <a:lnTo>
                      <a:pt x="4191" y="19063"/>
                    </a:lnTo>
                    <a:lnTo>
                      <a:pt x="4191" y="53630"/>
                    </a:lnTo>
                    <a:lnTo>
                      <a:pt x="27429" y="53630"/>
                    </a:lnTo>
                    <a:lnTo>
                      <a:pt x="27429" y="72693"/>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2" name="Freeform 363">
                <a:extLst>
                  <a:ext uri="{FF2B5EF4-FFF2-40B4-BE49-F238E27FC236}">
                    <a16:creationId xmlns:a16="http://schemas.microsoft.com/office/drawing/2014/main" id="{BC9C3947-1E30-B7DB-4C18-E6E6E12857C0}"/>
                  </a:ext>
                </a:extLst>
              </p:cNvPr>
              <p:cNvSpPr/>
              <p:nvPr/>
            </p:nvSpPr>
            <p:spPr>
              <a:xfrm>
                <a:off x="5346401" y="3118660"/>
                <a:ext cx="19047" cy="19062"/>
              </a:xfrm>
              <a:custGeom>
                <a:avLst/>
                <a:gdLst>
                  <a:gd name="csX0" fmla="*/ 0 w 19047"/>
                  <a:gd name="csY0" fmla="*/ 0 h 19062"/>
                  <a:gd name="csX1" fmla="*/ 0 w 19047"/>
                  <a:gd name="csY1" fmla="*/ 19063 h 19062"/>
                  <a:gd name="csX2" fmla="*/ 19048 w 19047"/>
                  <a:gd name="csY2" fmla="*/ 19063 h 19062"/>
                </a:gdLst>
                <a:ahLst/>
                <a:cxnLst>
                  <a:cxn ang="0">
                    <a:pos x="csX0" y="csY0"/>
                  </a:cxn>
                  <a:cxn ang="0">
                    <a:pos x="csX1" y="csY1"/>
                  </a:cxn>
                  <a:cxn ang="0">
                    <a:pos x="csX2" y="csY2"/>
                  </a:cxn>
                </a:cxnLst>
                <a:rect l="l" t="t" r="r" b="b"/>
                <a:pathLst>
                  <a:path w="19047" h="19062">
                    <a:moveTo>
                      <a:pt x="0" y="0"/>
                    </a:moveTo>
                    <a:lnTo>
                      <a:pt x="0" y="19063"/>
                    </a:lnTo>
                    <a:lnTo>
                      <a:pt x="19048" y="19063"/>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3" name="Freeform 364">
                <a:extLst>
                  <a:ext uri="{FF2B5EF4-FFF2-40B4-BE49-F238E27FC236}">
                    <a16:creationId xmlns:a16="http://schemas.microsoft.com/office/drawing/2014/main" id="{EACE04BD-D718-6BC1-9FD7-869343702719}"/>
                  </a:ext>
                </a:extLst>
              </p:cNvPr>
              <p:cNvSpPr/>
              <p:nvPr/>
            </p:nvSpPr>
            <p:spPr>
              <a:xfrm>
                <a:off x="5385893" y="3137723"/>
                <a:ext cx="19047" cy="19062"/>
              </a:xfrm>
              <a:custGeom>
                <a:avLst/>
                <a:gdLst>
                  <a:gd name="csX0" fmla="*/ 0 w 19047"/>
                  <a:gd name="csY0" fmla="*/ 0 h 19062"/>
                  <a:gd name="csX1" fmla="*/ 19048 w 19047"/>
                  <a:gd name="csY1" fmla="*/ 0 h 19062"/>
                  <a:gd name="csX2" fmla="*/ 19048 w 19047"/>
                  <a:gd name="csY2" fmla="*/ 19063 h 19062"/>
                </a:gdLst>
                <a:ahLst/>
                <a:cxnLst>
                  <a:cxn ang="0">
                    <a:pos x="csX0" y="csY0"/>
                  </a:cxn>
                  <a:cxn ang="0">
                    <a:pos x="csX1" y="csY1"/>
                  </a:cxn>
                  <a:cxn ang="0">
                    <a:pos x="csX2" y="csY2"/>
                  </a:cxn>
                </a:cxnLst>
                <a:rect l="l" t="t" r="r" b="b"/>
                <a:pathLst>
                  <a:path w="19047" h="19062">
                    <a:moveTo>
                      <a:pt x="0" y="0"/>
                    </a:moveTo>
                    <a:lnTo>
                      <a:pt x="19048" y="0"/>
                    </a:lnTo>
                    <a:lnTo>
                      <a:pt x="19048" y="19063"/>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4" name="Freeform 365">
                <a:extLst>
                  <a:ext uri="{FF2B5EF4-FFF2-40B4-BE49-F238E27FC236}">
                    <a16:creationId xmlns:a16="http://schemas.microsoft.com/office/drawing/2014/main" id="{69369BB6-4BDD-99A7-B250-4E8C98035317}"/>
                  </a:ext>
                </a:extLst>
              </p:cNvPr>
              <p:cNvSpPr/>
              <p:nvPr/>
            </p:nvSpPr>
            <p:spPr>
              <a:xfrm>
                <a:off x="5404941" y="3158311"/>
                <a:ext cx="19047" cy="19062"/>
              </a:xfrm>
              <a:custGeom>
                <a:avLst/>
                <a:gdLst>
                  <a:gd name="csX0" fmla="*/ 0 w 19047"/>
                  <a:gd name="csY0" fmla="*/ 0 h 19062"/>
                  <a:gd name="csX1" fmla="*/ 0 w 19047"/>
                  <a:gd name="csY1" fmla="*/ 19063 h 19062"/>
                  <a:gd name="csX2" fmla="*/ 19048 w 19047"/>
                  <a:gd name="csY2" fmla="*/ 19063 h 19062"/>
                </a:gdLst>
                <a:ahLst/>
                <a:cxnLst>
                  <a:cxn ang="0">
                    <a:pos x="csX0" y="csY0"/>
                  </a:cxn>
                  <a:cxn ang="0">
                    <a:pos x="csX1" y="csY1"/>
                  </a:cxn>
                  <a:cxn ang="0">
                    <a:pos x="csX2" y="csY2"/>
                  </a:cxn>
                </a:cxnLst>
                <a:rect l="l" t="t" r="r" b="b"/>
                <a:pathLst>
                  <a:path w="19047" h="19062">
                    <a:moveTo>
                      <a:pt x="0" y="0"/>
                    </a:moveTo>
                    <a:lnTo>
                      <a:pt x="0" y="19063"/>
                    </a:lnTo>
                    <a:lnTo>
                      <a:pt x="19048" y="19063"/>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5" name="Freeform 366">
                <a:extLst>
                  <a:ext uri="{FF2B5EF4-FFF2-40B4-BE49-F238E27FC236}">
                    <a16:creationId xmlns:a16="http://schemas.microsoft.com/office/drawing/2014/main" id="{FE6A15C2-893C-F8D6-5F1C-E89248C7715E}"/>
                  </a:ext>
                </a:extLst>
              </p:cNvPr>
              <p:cNvSpPr/>
              <p:nvPr/>
            </p:nvSpPr>
            <p:spPr>
              <a:xfrm>
                <a:off x="5425385" y="3177374"/>
                <a:ext cx="19047" cy="19062"/>
              </a:xfrm>
              <a:custGeom>
                <a:avLst/>
                <a:gdLst>
                  <a:gd name="csX0" fmla="*/ 0 w 19047"/>
                  <a:gd name="csY0" fmla="*/ 0 h 19062"/>
                  <a:gd name="csX1" fmla="*/ 19048 w 19047"/>
                  <a:gd name="csY1" fmla="*/ 0 h 19062"/>
                  <a:gd name="csX2" fmla="*/ 19048 w 19047"/>
                  <a:gd name="csY2" fmla="*/ 19063 h 19062"/>
                </a:gdLst>
                <a:ahLst/>
                <a:cxnLst>
                  <a:cxn ang="0">
                    <a:pos x="csX0" y="csY0"/>
                  </a:cxn>
                  <a:cxn ang="0">
                    <a:pos x="csX1" y="csY1"/>
                  </a:cxn>
                  <a:cxn ang="0">
                    <a:pos x="csX2" y="csY2"/>
                  </a:cxn>
                </a:cxnLst>
                <a:rect l="l" t="t" r="r" b="b"/>
                <a:pathLst>
                  <a:path w="19047" h="19062">
                    <a:moveTo>
                      <a:pt x="0" y="0"/>
                    </a:moveTo>
                    <a:lnTo>
                      <a:pt x="19048" y="0"/>
                    </a:lnTo>
                    <a:lnTo>
                      <a:pt x="19048" y="19063"/>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6" name="Freeform 367">
                <a:extLst>
                  <a:ext uri="{FF2B5EF4-FFF2-40B4-BE49-F238E27FC236}">
                    <a16:creationId xmlns:a16="http://schemas.microsoft.com/office/drawing/2014/main" id="{B5BCF8D0-99DC-E474-7AC1-93D475327FD2}"/>
                  </a:ext>
                </a:extLst>
              </p:cNvPr>
              <p:cNvSpPr/>
              <p:nvPr/>
            </p:nvSpPr>
            <p:spPr>
              <a:xfrm>
                <a:off x="5444433" y="3197708"/>
                <a:ext cx="19047" cy="19062"/>
              </a:xfrm>
              <a:custGeom>
                <a:avLst/>
                <a:gdLst>
                  <a:gd name="csX0" fmla="*/ 0 w 19047"/>
                  <a:gd name="csY0" fmla="*/ 0 h 19062"/>
                  <a:gd name="csX1" fmla="*/ 0 w 19047"/>
                  <a:gd name="csY1" fmla="*/ 19063 h 19062"/>
                  <a:gd name="csX2" fmla="*/ 19048 w 19047"/>
                  <a:gd name="csY2" fmla="*/ 19063 h 19062"/>
                </a:gdLst>
                <a:ahLst/>
                <a:cxnLst>
                  <a:cxn ang="0">
                    <a:pos x="csX0" y="csY0"/>
                  </a:cxn>
                  <a:cxn ang="0">
                    <a:pos x="csX1" y="csY1"/>
                  </a:cxn>
                  <a:cxn ang="0">
                    <a:pos x="csX2" y="csY2"/>
                  </a:cxn>
                </a:cxnLst>
                <a:rect l="l" t="t" r="r" b="b"/>
                <a:pathLst>
                  <a:path w="19047" h="19062">
                    <a:moveTo>
                      <a:pt x="0" y="0"/>
                    </a:moveTo>
                    <a:lnTo>
                      <a:pt x="0" y="19063"/>
                    </a:lnTo>
                    <a:lnTo>
                      <a:pt x="19048" y="19063"/>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7" name="Freeform 368">
                <a:extLst>
                  <a:ext uri="{FF2B5EF4-FFF2-40B4-BE49-F238E27FC236}">
                    <a16:creationId xmlns:a16="http://schemas.microsoft.com/office/drawing/2014/main" id="{AE3389C9-F158-629D-98B9-48CF58D77BA5}"/>
                  </a:ext>
                </a:extLst>
              </p:cNvPr>
              <p:cNvSpPr/>
              <p:nvPr/>
            </p:nvSpPr>
            <p:spPr>
              <a:xfrm>
                <a:off x="5482529" y="3216770"/>
                <a:ext cx="19047" cy="19062"/>
              </a:xfrm>
              <a:custGeom>
                <a:avLst/>
                <a:gdLst>
                  <a:gd name="csX0" fmla="*/ 0 w 19047"/>
                  <a:gd name="csY0" fmla="*/ 0 h 19062"/>
                  <a:gd name="csX1" fmla="*/ 19048 w 19047"/>
                  <a:gd name="csY1" fmla="*/ 0 h 19062"/>
                  <a:gd name="csX2" fmla="*/ 19048 w 19047"/>
                  <a:gd name="csY2" fmla="*/ 19063 h 19062"/>
                </a:gdLst>
                <a:ahLst/>
                <a:cxnLst>
                  <a:cxn ang="0">
                    <a:pos x="csX0" y="csY0"/>
                  </a:cxn>
                  <a:cxn ang="0">
                    <a:pos x="csX1" y="csY1"/>
                  </a:cxn>
                  <a:cxn ang="0">
                    <a:pos x="csX2" y="csY2"/>
                  </a:cxn>
                </a:cxnLst>
                <a:rect l="l" t="t" r="r" b="b"/>
                <a:pathLst>
                  <a:path w="19047" h="19062">
                    <a:moveTo>
                      <a:pt x="0" y="0"/>
                    </a:moveTo>
                    <a:lnTo>
                      <a:pt x="19048" y="0"/>
                    </a:lnTo>
                    <a:lnTo>
                      <a:pt x="19048" y="19063"/>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8" name="Freeform 369">
                <a:extLst>
                  <a:ext uri="{FF2B5EF4-FFF2-40B4-BE49-F238E27FC236}">
                    <a16:creationId xmlns:a16="http://schemas.microsoft.com/office/drawing/2014/main" id="{CBFDA783-8F24-B591-2059-DECCECDF6F15}"/>
                  </a:ext>
                </a:extLst>
              </p:cNvPr>
              <p:cNvSpPr/>
              <p:nvPr/>
            </p:nvSpPr>
            <p:spPr>
              <a:xfrm>
                <a:off x="5501576" y="3241425"/>
                <a:ext cx="26793" cy="75107"/>
              </a:xfrm>
              <a:custGeom>
                <a:avLst/>
                <a:gdLst>
                  <a:gd name="csX0" fmla="*/ 0 w 26793"/>
                  <a:gd name="csY0" fmla="*/ 0 h 75107"/>
                  <a:gd name="csX1" fmla="*/ 0 w 26793"/>
                  <a:gd name="csY1" fmla="*/ 19063 h 75107"/>
                  <a:gd name="csX2" fmla="*/ 19937 w 26793"/>
                  <a:gd name="csY2" fmla="*/ 19063 h 75107"/>
                  <a:gd name="csX3" fmla="*/ 19937 w 26793"/>
                  <a:gd name="csY3" fmla="*/ 56045 h 75107"/>
                  <a:gd name="csX4" fmla="*/ 26794 w 26793"/>
                  <a:gd name="csY4" fmla="*/ 56045 h 75107"/>
                  <a:gd name="csX5" fmla="*/ 26794 w 26793"/>
                  <a:gd name="csY5" fmla="*/ 75108 h 75107"/>
                </a:gdLst>
                <a:ahLst/>
                <a:cxnLst>
                  <a:cxn ang="0">
                    <a:pos x="csX0" y="csY0"/>
                  </a:cxn>
                  <a:cxn ang="0">
                    <a:pos x="csX1" y="csY1"/>
                  </a:cxn>
                  <a:cxn ang="0">
                    <a:pos x="csX2" y="csY2"/>
                  </a:cxn>
                  <a:cxn ang="0">
                    <a:pos x="csX3" y="csY3"/>
                  </a:cxn>
                  <a:cxn ang="0">
                    <a:pos x="csX4" y="csY4"/>
                  </a:cxn>
                  <a:cxn ang="0">
                    <a:pos x="csX5" y="csY5"/>
                  </a:cxn>
                </a:cxnLst>
                <a:rect l="l" t="t" r="r" b="b"/>
                <a:pathLst>
                  <a:path w="26793" h="75107">
                    <a:moveTo>
                      <a:pt x="0" y="0"/>
                    </a:moveTo>
                    <a:lnTo>
                      <a:pt x="0" y="19063"/>
                    </a:lnTo>
                    <a:lnTo>
                      <a:pt x="19937" y="19063"/>
                    </a:lnTo>
                    <a:lnTo>
                      <a:pt x="19937" y="56045"/>
                    </a:lnTo>
                    <a:lnTo>
                      <a:pt x="26794" y="56045"/>
                    </a:lnTo>
                    <a:lnTo>
                      <a:pt x="26794" y="75108"/>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9" name="Freeform 370">
                <a:extLst>
                  <a:ext uri="{FF2B5EF4-FFF2-40B4-BE49-F238E27FC236}">
                    <a16:creationId xmlns:a16="http://schemas.microsoft.com/office/drawing/2014/main" id="{6B142761-4E7D-0CB6-370D-1E735045BAFC}"/>
                  </a:ext>
                </a:extLst>
              </p:cNvPr>
              <p:cNvSpPr/>
              <p:nvPr/>
            </p:nvSpPr>
            <p:spPr>
              <a:xfrm>
                <a:off x="5528370" y="3364444"/>
                <a:ext cx="8888" cy="38125"/>
              </a:xfrm>
              <a:custGeom>
                <a:avLst/>
                <a:gdLst>
                  <a:gd name="csX0" fmla="*/ 0 w 8888"/>
                  <a:gd name="csY0" fmla="*/ 0 h 38125"/>
                  <a:gd name="csX1" fmla="*/ 0 w 8888"/>
                  <a:gd name="csY1" fmla="*/ 19063 h 38125"/>
                  <a:gd name="csX2" fmla="*/ 8889 w 8888"/>
                  <a:gd name="csY2" fmla="*/ 19063 h 38125"/>
                  <a:gd name="csX3" fmla="*/ 8889 w 8888"/>
                  <a:gd name="csY3" fmla="*/ 38126 h 38125"/>
                </a:gdLst>
                <a:ahLst/>
                <a:cxnLst>
                  <a:cxn ang="0">
                    <a:pos x="csX0" y="csY0"/>
                  </a:cxn>
                  <a:cxn ang="0">
                    <a:pos x="csX1" y="csY1"/>
                  </a:cxn>
                  <a:cxn ang="0">
                    <a:pos x="csX2" y="csY2"/>
                  </a:cxn>
                  <a:cxn ang="0">
                    <a:pos x="csX3" y="csY3"/>
                  </a:cxn>
                </a:cxnLst>
                <a:rect l="l" t="t" r="r" b="b"/>
                <a:pathLst>
                  <a:path w="8888" h="38125">
                    <a:moveTo>
                      <a:pt x="0" y="0"/>
                    </a:moveTo>
                    <a:lnTo>
                      <a:pt x="0" y="19063"/>
                    </a:lnTo>
                    <a:lnTo>
                      <a:pt x="8889" y="19063"/>
                    </a:lnTo>
                    <a:lnTo>
                      <a:pt x="8889" y="38126"/>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0" name="Freeform 371">
                <a:extLst>
                  <a:ext uri="{FF2B5EF4-FFF2-40B4-BE49-F238E27FC236}">
                    <a16:creationId xmlns:a16="http://schemas.microsoft.com/office/drawing/2014/main" id="{E2B03D76-533E-DCEA-9728-66604509C011}"/>
                  </a:ext>
                </a:extLst>
              </p:cNvPr>
              <p:cNvSpPr/>
              <p:nvPr/>
            </p:nvSpPr>
            <p:spPr>
              <a:xfrm>
                <a:off x="5537259" y="3449718"/>
                <a:ext cx="36444" cy="38125"/>
              </a:xfrm>
              <a:custGeom>
                <a:avLst/>
                <a:gdLst>
                  <a:gd name="csX0" fmla="*/ 0 w 36444"/>
                  <a:gd name="csY0" fmla="*/ 0 h 38125"/>
                  <a:gd name="csX1" fmla="*/ 0 w 36444"/>
                  <a:gd name="csY1" fmla="*/ 19063 h 38125"/>
                  <a:gd name="csX2" fmla="*/ 36445 w 36444"/>
                  <a:gd name="csY2" fmla="*/ 19063 h 38125"/>
                  <a:gd name="csX3" fmla="*/ 36445 w 36444"/>
                  <a:gd name="csY3" fmla="*/ 38126 h 38125"/>
                </a:gdLst>
                <a:ahLst/>
                <a:cxnLst>
                  <a:cxn ang="0">
                    <a:pos x="csX0" y="csY0"/>
                  </a:cxn>
                  <a:cxn ang="0">
                    <a:pos x="csX1" y="csY1"/>
                  </a:cxn>
                  <a:cxn ang="0">
                    <a:pos x="csX2" y="csY2"/>
                  </a:cxn>
                  <a:cxn ang="0">
                    <a:pos x="csX3" y="csY3"/>
                  </a:cxn>
                </a:cxnLst>
                <a:rect l="l" t="t" r="r" b="b"/>
                <a:pathLst>
                  <a:path w="36444" h="38125">
                    <a:moveTo>
                      <a:pt x="0" y="0"/>
                    </a:moveTo>
                    <a:lnTo>
                      <a:pt x="0" y="19063"/>
                    </a:lnTo>
                    <a:lnTo>
                      <a:pt x="36445" y="19063"/>
                    </a:lnTo>
                    <a:lnTo>
                      <a:pt x="36445" y="38126"/>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1" name="Freeform 372">
                <a:extLst>
                  <a:ext uri="{FF2B5EF4-FFF2-40B4-BE49-F238E27FC236}">
                    <a16:creationId xmlns:a16="http://schemas.microsoft.com/office/drawing/2014/main" id="{F298A18A-9207-77B2-E484-B1B09A6D5736}"/>
                  </a:ext>
                </a:extLst>
              </p:cNvPr>
              <p:cNvSpPr/>
              <p:nvPr/>
            </p:nvSpPr>
            <p:spPr>
              <a:xfrm>
                <a:off x="5573704" y="3536899"/>
                <a:ext cx="6857" cy="38125"/>
              </a:xfrm>
              <a:custGeom>
                <a:avLst/>
                <a:gdLst>
                  <a:gd name="csX0" fmla="*/ 0 w 6857"/>
                  <a:gd name="csY0" fmla="*/ 0 h 38125"/>
                  <a:gd name="csX1" fmla="*/ 0 w 6857"/>
                  <a:gd name="csY1" fmla="*/ 19063 h 38125"/>
                  <a:gd name="csX2" fmla="*/ 6857 w 6857"/>
                  <a:gd name="csY2" fmla="*/ 19063 h 38125"/>
                  <a:gd name="csX3" fmla="*/ 6857 w 6857"/>
                  <a:gd name="csY3" fmla="*/ 38126 h 38125"/>
                </a:gdLst>
                <a:ahLst/>
                <a:cxnLst>
                  <a:cxn ang="0">
                    <a:pos x="csX0" y="csY0"/>
                  </a:cxn>
                  <a:cxn ang="0">
                    <a:pos x="csX1" y="csY1"/>
                  </a:cxn>
                  <a:cxn ang="0">
                    <a:pos x="csX2" y="csY2"/>
                  </a:cxn>
                  <a:cxn ang="0">
                    <a:pos x="csX3" y="csY3"/>
                  </a:cxn>
                </a:cxnLst>
                <a:rect l="l" t="t" r="r" b="b"/>
                <a:pathLst>
                  <a:path w="6857" h="38125">
                    <a:moveTo>
                      <a:pt x="0" y="0"/>
                    </a:moveTo>
                    <a:lnTo>
                      <a:pt x="0" y="19063"/>
                    </a:lnTo>
                    <a:lnTo>
                      <a:pt x="6857" y="19063"/>
                    </a:lnTo>
                    <a:lnTo>
                      <a:pt x="6857" y="38126"/>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2" name="Freeform 373">
                <a:extLst>
                  <a:ext uri="{FF2B5EF4-FFF2-40B4-BE49-F238E27FC236}">
                    <a16:creationId xmlns:a16="http://schemas.microsoft.com/office/drawing/2014/main" id="{35C61374-21C7-BF75-A8CA-940F41957790}"/>
                  </a:ext>
                </a:extLst>
              </p:cNvPr>
              <p:cNvSpPr/>
              <p:nvPr/>
            </p:nvSpPr>
            <p:spPr>
              <a:xfrm>
                <a:off x="5580561" y="3607940"/>
                <a:ext cx="5206" cy="38125"/>
              </a:xfrm>
              <a:custGeom>
                <a:avLst/>
                <a:gdLst>
                  <a:gd name="csX0" fmla="*/ 0 w 5206"/>
                  <a:gd name="csY0" fmla="*/ 0 h 38125"/>
                  <a:gd name="csX1" fmla="*/ 0 w 5206"/>
                  <a:gd name="csY1" fmla="*/ 19063 h 38125"/>
                  <a:gd name="csX2" fmla="*/ 5206 w 5206"/>
                  <a:gd name="csY2" fmla="*/ 19063 h 38125"/>
                  <a:gd name="csX3" fmla="*/ 5206 w 5206"/>
                  <a:gd name="csY3" fmla="*/ 38126 h 38125"/>
                </a:gdLst>
                <a:ahLst/>
                <a:cxnLst>
                  <a:cxn ang="0">
                    <a:pos x="csX0" y="csY0"/>
                  </a:cxn>
                  <a:cxn ang="0">
                    <a:pos x="csX1" y="csY1"/>
                  </a:cxn>
                  <a:cxn ang="0">
                    <a:pos x="csX2" y="csY2"/>
                  </a:cxn>
                  <a:cxn ang="0">
                    <a:pos x="csX3" y="csY3"/>
                  </a:cxn>
                </a:cxnLst>
                <a:rect l="l" t="t" r="r" b="b"/>
                <a:pathLst>
                  <a:path w="5206" h="38125">
                    <a:moveTo>
                      <a:pt x="0" y="0"/>
                    </a:moveTo>
                    <a:lnTo>
                      <a:pt x="0" y="19063"/>
                    </a:lnTo>
                    <a:lnTo>
                      <a:pt x="5206" y="19063"/>
                    </a:lnTo>
                    <a:lnTo>
                      <a:pt x="5206" y="38126"/>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3" name="Freeform 374">
                <a:extLst>
                  <a:ext uri="{FF2B5EF4-FFF2-40B4-BE49-F238E27FC236}">
                    <a16:creationId xmlns:a16="http://schemas.microsoft.com/office/drawing/2014/main" id="{7D2CA24E-8BFE-14FA-4CB6-96F6E5003CFE}"/>
                  </a:ext>
                </a:extLst>
              </p:cNvPr>
              <p:cNvSpPr/>
              <p:nvPr/>
            </p:nvSpPr>
            <p:spPr>
              <a:xfrm>
                <a:off x="5585767" y="3659918"/>
                <a:ext cx="9396" cy="38125"/>
              </a:xfrm>
              <a:custGeom>
                <a:avLst/>
                <a:gdLst>
                  <a:gd name="csX0" fmla="*/ 0 w 9396"/>
                  <a:gd name="csY0" fmla="*/ 0 h 38125"/>
                  <a:gd name="csX1" fmla="*/ 0 w 9396"/>
                  <a:gd name="csY1" fmla="*/ 19063 h 38125"/>
                  <a:gd name="csX2" fmla="*/ 9397 w 9396"/>
                  <a:gd name="csY2" fmla="*/ 19063 h 38125"/>
                  <a:gd name="csX3" fmla="*/ 9397 w 9396"/>
                  <a:gd name="csY3" fmla="*/ 38126 h 38125"/>
                </a:gdLst>
                <a:ahLst/>
                <a:cxnLst>
                  <a:cxn ang="0">
                    <a:pos x="csX0" y="csY0"/>
                  </a:cxn>
                  <a:cxn ang="0">
                    <a:pos x="csX1" y="csY1"/>
                  </a:cxn>
                  <a:cxn ang="0">
                    <a:pos x="csX2" y="csY2"/>
                  </a:cxn>
                  <a:cxn ang="0">
                    <a:pos x="csX3" y="csY3"/>
                  </a:cxn>
                </a:cxnLst>
                <a:rect l="l" t="t" r="r" b="b"/>
                <a:pathLst>
                  <a:path w="9396" h="38125">
                    <a:moveTo>
                      <a:pt x="0" y="0"/>
                    </a:moveTo>
                    <a:lnTo>
                      <a:pt x="0" y="19063"/>
                    </a:lnTo>
                    <a:lnTo>
                      <a:pt x="9397" y="19063"/>
                    </a:lnTo>
                    <a:lnTo>
                      <a:pt x="9397" y="38126"/>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4" name="Freeform 375">
                <a:extLst>
                  <a:ext uri="{FF2B5EF4-FFF2-40B4-BE49-F238E27FC236}">
                    <a16:creationId xmlns:a16="http://schemas.microsoft.com/office/drawing/2014/main" id="{86348370-9315-2C47-1703-F3FE9ADE48CC}"/>
                  </a:ext>
                </a:extLst>
              </p:cNvPr>
              <p:cNvSpPr/>
              <p:nvPr/>
            </p:nvSpPr>
            <p:spPr>
              <a:xfrm>
                <a:off x="5595164" y="3721301"/>
                <a:ext cx="12698" cy="34821"/>
              </a:xfrm>
              <a:custGeom>
                <a:avLst/>
                <a:gdLst>
                  <a:gd name="csX0" fmla="*/ 0 w 12698"/>
                  <a:gd name="csY0" fmla="*/ 0 h 34821"/>
                  <a:gd name="csX1" fmla="*/ 0 w 12698"/>
                  <a:gd name="csY1" fmla="*/ 34821 h 34821"/>
                </a:gdLst>
                <a:ahLst/>
                <a:cxnLst>
                  <a:cxn ang="0">
                    <a:pos x="csX0" y="csY0"/>
                  </a:cxn>
                  <a:cxn ang="0">
                    <a:pos x="csX1" y="csY1"/>
                  </a:cxn>
                </a:cxnLst>
                <a:rect l="l" t="t" r="r" b="b"/>
                <a:pathLst>
                  <a:path w="12698" h="34821">
                    <a:moveTo>
                      <a:pt x="0" y="0"/>
                    </a:moveTo>
                    <a:lnTo>
                      <a:pt x="0" y="34821"/>
                    </a:lnTo>
                  </a:path>
                </a:pathLst>
              </a:custGeom>
              <a:ln w="12693" cap="flat">
                <a:solidFill>
                  <a:srgbClr val="0B41CD"/>
                </a:solidFill>
                <a:custDash>
                  <a:ds d="137250" sp="137250"/>
                </a:custDash>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5" name="Freeform 376">
                <a:extLst>
                  <a:ext uri="{FF2B5EF4-FFF2-40B4-BE49-F238E27FC236}">
                    <a16:creationId xmlns:a16="http://schemas.microsoft.com/office/drawing/2014/main" id="{A8DBB8C4-A6DF-5AAF-C947-C4DE8DBF470D}"/>
                  </a:ext>
                </a:extLst>
              </p:cNvPr>
              <p:cNvSpPr/>
              <p:nvPr/>
            </p:nvSpPr>
            <p:spPr>
              <a:xfrm>
                <a:off x="5595164" y="3767687"/>
                <a:ext cx="19047" cy="19062"/>
              </a:xfrm>
              <a:custGeom>
                <a:avLst/>
                <a:gdLst>
                  <a:gd name="csX0" fmla="*/ 0 w 19047"/>
                  <a:gd name="csY0" fmla="*/ 0 h 19062"/>
                  <a:gd name="csX1" fmla="*/ 0 w 19047"/>
                  <a:gd name="csY1" fmla="*/ 19063 h 19062"/>
                  <a:gd name="csX2" fmla="*/ 19048 w 19047"/>
                  <a:gd name="csY2" fmla="*/ 19063 h 19062"/>
                </a:gdLst>
                <a:ahLst/>
                <a:cxnLst>
                  <a:cxn ang="0">
                    <a:pos x="csX0" y="csY0"/>
                  </a:cxn>
                  <a:cxn ang="0">
                    <a:pos x="csX1" y="csY1"/>
                  </a:cxn>
                  <a:cxn ang="0">
                    <a:pos x="csX2" y="csY2"/>
                  </a:cxn>
                </a:cxnLst>
                <a:rect l="l" t="t" r="r" b="b"/>
                <a:pathLst>
                  <a:path w="19047" h="19062">
                    <a:moveTo>
                      <a:pt x="0" y="0"/>
                    </a:moveTo>
                    <a:lnTo>
                      <a:pt x="0" y="19063"/>
                    </a:lnTo>
                    <a:lnTo>
                      <a:pt x="19048" y="19063"/>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6" name="Freeform 377">
                <a:extLst>
                  <a:ext uri="{FF2B5EF4-FFF2-40B4-BE49-F238E27FC236}">
                    <a16:creationId xmlns:a16="http://schemas.microsoft.com/office/drawing/2014/main" id="{0404916F-87DD-CECA-5207-A05C2446DD36}"/>
                  </a:ext>
                </a:extLst>
              </p:cNvPr>
              <p:cNvSpPr/>
              <p:nvPr/>
            </p:nvSpPr>
            <p:spPr>
              <a:xfrm>
                <a:off x="5654085" y="3786750"/>
                <a:ext cx="59682" cy="12708"/>
              </a:xfrm>
              <a:custGeom>
                <a:avLst/>
                <a:gdLst>
                  <a:gd name="csX0" fmla="*/ 0 w 59682"/>
                  <a:gd name="csY0" fmla="*/ 0 h 12708"/>
                  <a:gd name="csX1" fmla="*/ 59683 w 59682"/>
                  <a:gd name="csY1" fmla="*/ 0 h 12708"/>
                </a:gdLst>
                <a:ahLst/>
                <a:cxnLst>
                  <a:cxn ang="0">
                    <a:pos x="csX0" y="csY0"/>
                  </a:cxn>
                  <a:cxn ang="0">
                    <a:pos x="csX1" y="csY1"/>
                  </a:cxn>
                </a:cxnLst>
                <a:rect l="l" t="t" r="r" b="b"/>
                <a:pathLst>
                  <a:path w="59682" h="12708">
                    <a:moveTo>
                      <a:pt x="0" y="0"/>
                    </a:moveTo>
                    <a:lnTo>
                      <a:pt x="59683" y="0"/>
                    </a:lnTo>
                  </a:path>
                </a:pathLst>
              </a:custGeom>
              <a:ln w="12693" cap="flat">
                <a:solidFill>
                  <a:srgbClr val="0B41CD"/>
                </a:solidFill>
                <a:custDash>
                  <a:ds d="235500" sp="235500"/>
                </a:custDash>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7" name="Freeform 378">
                <a:extLst>
                  <a:ext uri="{FF2B5EF4-FFF2-40B4-BE49-F238E27FC236}">
                    <a16:creationId xmlns:a16="http://schemas.microsoft.com/office/drawing/2014/main" id="{59504355-FE77-03F5-BDD6-D6D7005D0A43}"/>
                  </a:ext>
                </a:extLst>
              </p:cNvPr>
              <p:cNvSpPr/>
              <p:nvPr/>
            </p:nvSpPr>
            <p:spPr>
              <a:xfrm>
                <a:off x="5733704" y="3786750"/>
                <a:ext cx="19047" cy="19062"/>
              </a:xfrm>
              <a:custGeom>
                <a:avLst/>
                <a:gdLst>
                  <a:gd name="csX0" fmla="*/ 0 w 19047"/>
                  <a:gd name="csY0" fmla="*/ 0 h 19062"/>
                  <a:gd name="csX1" fmla="*/ 19048 w 19047"/>
                  <a:gd name="csY1" fmla="*/ 0 h 19062"/>
                  <a:gd name="csX2" fmla="*/ 19048 w 19047"/>
                  <a:gd name="csY2" fmla="*/ 19063 h 19062"/>
                </a:gdLst>
                <a:ahLst/>
                <a:cxnLst>
                  <a:cxn ang="0">
                    <a:pos x="csX0" y="csY0"/>
                  </a:cxn>
                  <a:cxn ang="0">
                    <a:pos x="csX1" y="csY1"/>
                  </a:cxn>
                  <a:cxn ang="0">
                    <a:pos x="csX2" y="csY2"/>
                  </a:cxn>
                </a:cxnLst>
                <a:rect l="l" t="t" r="r" b="b"/>
                <a:pathLst>
                  <a:path w="19047" h="19062">
                    <a:moveTo>
                      <a:pt x="0" y="0"/>
                    </a:moveTo>
                    <a:lnTo>
                      <a:pt x="19048" y="0"/>
                    </a:lnTo>
                    <a:lnTo>
                      <a:pt x="19048" y="19063"/>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8" name="Freeform 379">
                <a:extLst>
                  <a:ext uri="{FF2B5EF4-FFF2-40B4-BE49-F238E27FC236}">
                    <a16:creationId xmlns:a16="http://schemas.microsoft.com/office/drawing/2014/main" id="{3999FF63-6B23-2052-E681-688B6540FC15}"/>
                  </a:ext>
                </a:extLst>
              </p:cNvPr>
              <p:cNvSpPr/>
              <p:nvPr/>
            </p:nvSpPr>
            <p:spPr>
              <a:xfrm>
                <a:off x="5752752" y="3819665"/>
                <a:ext cx="32000" cy="38125"/>
              </a:xfrm>
              <a:custGeom>
                <a:avLst/>
                <a:gdLst>
                  <a:gd name="csX0" fmla="*/ 0 w 32000"/>
                  <a:gd name="csY0" fmla="*/ 0 h 38125"/>
                  <a:gd name="csX1" fmla="*/ 0 w 32000"/>
                  <a:gd name="csY1" fmla="*/ 19063 h 38125"/>
                  <a:gd name="csX2" fmla="*/ 32000 w 32000"/>
                  <a:gd name="csY2" fmla="*/ 19063 h 38125"/>
                  <a:gd name="csX3" fmla="*/ 32000 w 32000"/>
                  <a:gd name="csY3" fmla="*/ 38126 h 38125"/>
                </a:gdLst>
                <a:ahLst/>
                <a:cxnLst>
                  <a:cxn ang="0">
                    <a:pos x="csX0" y="csY0"/>
                  </a:cxn>
                  <a:cxn ang="0">
                    <a:pos x="csX1" y="csY1"/>
                  </a:cxn>
                  <a:cxn ang="0">
                    <a:pos x="csX2" y="csY2"/>
                  </a:cxn>
                  <a:cxn ang="0">
                    <a:pos x="csX3" y="csY3"/>
                  </a:cxn>
                </a:cxnLst>
                <a:rect l="l" t="t" r="r" b="b"/>
                <a:pathLst>
                  <a:path w="32000" h="38125">
                    <a:moveTo>
                      <a:pt x="0" y="0"/>
                    </a:moveTo>
                    <a:lnTo>
                      <a:pt x="0" y="19063"/>
                    </a:lnTo>
                    <a:lnTo>
                      <a:pt x="32000" y="19063"/>
                    </a:lnTo>
                    <a:lnTo>
                      <a:pt x="32000" y="38126"/>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9" name="Freeform 380">
                <a:extLst>
                  <a:ext uri="{FF2B5EF4-FFF2-40B4-BE49-F238E27FC236}">
                    <a16:creationId xmlns:a16="http://schemas.microsoft.com/office/drawing/2014/main" id="{26BA6E5F-4850-795D-324D-ED987AB253AB}"/>
                  </a:ext>
                </a:extLst>
              </p:cNvPr>
              <p:cNvSpPr/>
              <p:nvPr/>
            </p:nvSpPr>
            <p:spPr>
              <a:xfrm>
                <a:off x="5784752" y="3876853"/>
                <a:ext cx="7365" cy="38125"/>
              </a:xfrm>
              <a:custGeom>
                <a:avLst/>
                <a:gdLst>
                  <a:gd name="csX0" fmla="*/ 0 w 7365"/>
                  <a:gd name="csY0" fmla="*/ 0 h 38125"/>
                  <a:gd name="csX1" fmla="*/ 0 w 7365"/>
                  <a:gd name="csY1" fmla="*/ 19063 h 38125"/>
                  <a:gd name="csX2" fmla="*/ 7365 w 7365"/>
                  <a:gd name="csY2" fmla="*/ 19063 h 38125"/>
                  <a:gd name="csX3" fmla="*/ 7365 w 7365"/>
                  <a:gd name="csY3" fmla="*/ 38126 h 38125"/>
                </a:gdLst>
                <a:ahLst/>
                <a:cxnLst>
                  <a:cxn ang="0">
                    <a:pos x="csX0" y="csY0"/>
                  </a:cxn>
                  <a:cxn ang="0">
                    <a:pos x="csX1" y="csY1"/>
                  </a:cxn>
                  <a:cxn ang="0">
                    <a:pos x="csX2" y="csY2"/>
                  </a:cxn>
                  <a:cxn ang="0">
                    <a:pos x="csX3" y="csY3"/>
                  </a:cxn>
                </a:cxnLst>
                <a:rect l="l" t="t" r="r" b="b"/>
                <a:pathLst>
                  <a:path w="7365" h="38125">
                    <a:moveTo>
                      <a:pt x="0" y="0"/>
                    </a:moveTo>
                    <a:lnTo>
                      <a:pt x="0" y="19063"/>
                    </a:lnTo>
                    <a:lnTo>
                      <a:pt x="7365" y="19063"/>
                    </a:lnTo>
                    <a:lnTo>
                      <a:pt x="7365" y="38126"/>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0" name="Freeform 381">
                <a:extLst>
                  <a:ext uri="{FF2B5EF4-FFF2-40B4-BE49-F238E27FC236}">
                    <a16:creationId xmlns:a16="http://schemas.microsoft.com/office/drawing/2014/main" id="{8F033B36-2619-0116-DD27-A74AB70D87F6}"/>
                  </a:ext>
                </a:extLst>
              </p:cNvPr>
              <p:cNvSpPr/>
              <p:nvPr/>
            </p:nvSpPr>
            <p:spPr>
              <a:xfrm>
                <a:off x="5792117" y="3932644"/>
                <a:ext cx="19047" cy="19062"/>
              </a:xfrm>
              <a:custGeom>
                <a:avLst/>
                <a:gdLst>
                  <a:gd name="csX0" fmla="*/ 0 w 19047"/>
                  <a:gd name="csY0" fmla="*/ 0 h 19062"/>
                  <a:gd name="csX1" fmla="*/ 0 w 19047"/>
                  <a:gd name="csY1" fmla="*/ 19063 h 19062"/>
                  <a:gd name="csX2" fmla="*/ 19048 w 19047"/>
                  <a:gd name="csY2" fmla="*/ 19063 h 19062"/>
                </a:gdLst>
                <a:ahLst/>
                <a:cxnLst>
                  <a:cxn ang="0">
                    <a:pos x="csX0" y="csY0"/>
                  </a:cxn>
                  <a:cxn ang="0">
                    <a:pos x="csX1" y="csY1"/>
                  </a:cxn>
                  <a:cxn ang="0">
                    <a:pos x="csX2" y="csY2"/>
                  </a:cxn>
                </a:cxnLst>
                <a:rect l="l" t="t" r="r" b="b"/>
                <a:pathLst>
                  <a:path w="19047" h="19062">
                    <a:moveTo>
                      <a:pt x="0" y="0"/>
                    </a:moveTo>
                    <a:lnTo>
                      <a:pt x="0" y="19063"/>
                    </a:lnTo>
                    <a:lnTo>
                      <a:pt x="19048" y="19063"/>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1" name="Freeform 382">
                <a:extLst>
                  <a:ext uri="{FF2B5EF4-FFF2-40B4-BE49-F238E27FC236}">
                    <a16:creationId xmlns:a16="http://schemas.microsoft.com/office/drawing/2014/main" id="{66D81C6A-D408-C6C7-52DA-0070784FB5E7}"/>
                  </a:ext>
                </a:extLst>
              </p:cNvPr>
              <p:cNvSpPr/>
              <p:nvPr/>
            </p:nvSpPr>
            <p:spPr>
              <a:xfrm>
                <a:off x="5842911" y="3951707"/>
                <a:ext cx="111111" cy="12708"/>
              </a:xfrm>
              <a:custGeom>
                <a:avLst/>
                <a:gdLst>
                  <a:gd name="csX0" fmla="*/ 0 w 111111"/>
                  <a:gd name="csY0" fmla="*/ 0 h 12708"/>
                  <a:gd name="csX1" fmla="*/ 111112 w 111111"/>
                  <a:gd name="csY1" fmla="*/ 0 h 12708"/>
                </a:gdLst>
                <a:ahLst/>
                <a:cxnLst>
                  <a:cxn ang="0">
                    <a:pos x="csX0" y="csY0"/>
                  </a:cxn>
                  <a:cxn ang="0">
                    <a:pos x="csX1" y="csY1"/>
                  </a:cxn>
                </a:cxnLst>
                <a:rect l="l" t="t" r="r" b="b"/>
                <a:pathLst>
                  <a:path w="111111" h="12708">
                    <a:moveTo>
                      <a:pt x="0" y="0"/>
                    </a:moveTo>
                    <a:lnTo>
                      <a:pt x="111112" y="0"/>
                    </a:lnTo>
                  </a:path>
                </a:pathLst>
              </a:custGeom>
              <a:ln w="12693" cap="flat">
                <a:solidFill>
                  <a:srgbClr val="0B41CD"/>
                </a:solidFill>
                <a:custDash>
                  <a:ds d="187500" sp="187500"/>
                </a:custDash>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2" name="Freeform 383">
                <a:extLst>
                  <a:ext uri="{FF2B5EF4-FFF2-40B4-BE49-F238E27FC236}">
                    <a16:creationId xmlns:a16="http://schemas.microsoft.com/office/drawing/2014/main" id="{9549CC30-0307-F598-BD0B-E441BC46D555}"/>
                  </a:ext>
                </a:extLst>
              </p:cNvPr>
              <p:cNvSpPr/>
              <p:nvPr/>
            </p:nvSpPr>
            <p:spPr>
              <a:xfrm>
                <a:off x="5969896" y="3951707"/>
                <a:ext cx="19047" cy="19062"/>
              </a:xfrm>
              <a:custGeom>
                <a:avLst/>
                <a:gdLst>
                  <a:gd name="csX0" fmla="*/ 0 w 19047"/>
                  <a:gd name="csY0" fmla="*/ 0 h 19062"/>
                  <a:gd name="csX1" fmla="*/ 19048 w 19047"/>
                  <a:gd name="csY1" fmla="*/ 0 h 19062"/>
                  <a:gd name="csX2" fmla="*/ 19048 w 19047"/>
                  <a:gd name="csY2" fmla="*/ 19063 h 19062"/>
                </a:gdLst>
                <a:ahLst/>
                <a:cxnLst>
                  <a:cxn ang="0">
                    <a:pos x="csX0" y="csY0"/>
                  </a:cxn>
                  <a:cxn ang="0">
                    <a:pos x="csX1" y="csY1"/>
                  </a:cxn>
                  <a:cxn ang="0">
                    <a:pos x="csX2" y="csY2"/>
                  </a:cxn>
                </a:cxnLst>
                <a:rect l="l" t="t" r="r" b="b"/>
                <a:pathLst>
                  <a:path w="19047" h="19062">
                    <a:moveTo>
                      <a:pt x="0" y="0"/>
                    </a:moveTo>
                    <a:lnTo>
                      <a:pt x="19048" y="0"/>
                    </a:lnTo>
                    <a:lnTo>
                      <a:pt x="19048" y="19063"/>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3" name="Freeform 384">
                <a:extLst>
                  <a:ext uri="{FF2B5EF4-FFF2-40B4-BE49-F238E27FC236}">
                    <a16:creationId xmlns:a16="http://schemas.microsoft.com/office/drawing/2014/main" id="{57675D33-6A90-AC19-E577-D57242F4F59B}"/>
                  </a:ext>
                </a:extLst>
              </p:cNvPr>
              <p:cNvSpPr/>
              <p:nvPr/>
            </p:nvSpPr>
            <p:spPr>
              <a:xfrm>
                <a:off x="5988943" y="4013470"/>
                <a:ext cx="19047" cy="19062"/>
              </a:xfrm>
              <a:custGeom>
                <a:avLst/>
                <a:gdLst>
                  <a:gd name="csX0" fmla="*/ 0 w 19047"/>
                  <a:gd name="csY0" fmla="*/ 0 h 19062"/>
                  <a:gd name="csX1" fmla="*/ 0 w 19047"/>
                  <a:gd name="csY1" fmla="*/ 19063 h 19062"/>
                  <a:gd name="csX2" fmla="*/ 19048 w 19047"/>
                  <a:gd name="csY2" fmla="*/ 19063 h 19062"/>
                </a:gdLst>
                <a:ahLst/>
                <a:cxnLst>
                  <a:cxn ang="0">
                    <a:pos x="csX0" y="csY0"/>
                  </a:cxn>
                  <a:cxn ang="0">
                    <a:pos x="csX1" y="csY1"/>
                  </a:cxn>
                  <a:cxn ang="0">
                    <a:pos x="csX2" y="csY2"/>
                  </a:cxn>
                </a:cxnLst>
                <a:rect l="l" t="t" r="r" b="b"/>
                <a:pathLst>
                  <a:path w="19047" h="19062">
                    <a:moveTo>
                      <a:pt x="0" y="0"/>
                    </a:moveTo>
                    <a:lnTo>
                      <a:pt x="0" y="19063"/>
                    </a:lnTo>
                    <a:lnTo>
                      <a:pt x="19048" y="19063"/>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4" name="Freeform 385">
                <a:extLst>
                  <a:ext uri="{FF2B5EF4-FFF2-40B4-BE49-F238E27FC236}">
                    <a16:creationId xmlns:a16="http://schemas.microsoft.com/office/drawing/2014/main" id="{3369A669-6FB5-25E5-315C-0DA5C1F1ABFF}"/>
                  </a:ext>
                </a:extLst>
              </p:cNvPr>
              <p:cNvSpPr/>
              <p:nvPr/>
            </p:nvSpPr>
            <p:spPr>
              <a:xfrm>
                <a:off x="6046721" y="4032533"/>
                <a:ext cx="19047" cy="19062"/>
              </a:xfrm>
              <a:custGeom>
                <a:avLst/>
                <a:gdLst>
                  <a:gd name="csX0" fmla="*/ 0 w 19047"/>
                  <a:gd name="csY0" fmla="*/ 0 h 19062"/>
                  <a:gd name="csX1" fmla="*/ 19048 w 19047"/>
                  <a:gd name="csY1" fmla="*/ 0 h 19062"/>
                  <a:gd name="csX2" fmla="*/ 19048 w 19047"/>
                  <a:gd name="csY2" fmla="*/ 19063 h 19062"/>
                </a:gdLst>
                <a:ahLst/>
                <a:cxnLst>
                  <a:cxn ang="0">
                    <a:pos x="csX0" y="csY0"/>
                  </a:cxn>
                  <a:cxn ang="0">
                    <a:pos x="csX1" y="csY1"/>
                  </a:cxn>
                  <a:cxn ang="0">
                    <a:pos x="csX2" y="csY2"/>
                  </a:cxn>
                </a:cxnLst>
                <a:rect l="l" t="t" r="r" b="b"/>
                <a:pathLst>
                  <a:path w="19047" h="19062">
                    <a:moveTo>
                      <a:pt x="0" y="0"/>
                    </a:moveTo>
                    <a:lnTo>
                      <a:pt x="19048" y="0"/>
                    </a:lnTo>
                    <a:lnTo>
                      <a:pt x="19048" y="19063"/>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5" name="Freeform 386">
                <a:extLst>
                  <a:ext uri="{FF2B5EF4-FFF2-40B4-BE49-F238E27FC236}">
                    <a16:creationId xmlns:a16="http://schemas.microsoft.com/office/drawing/2014/main" id="{8FC5EA90-111C-1819-9BA1-9E8EB2E27C16}"/>
                  </a:ext>
                </a:extLst>
              </p:cNvPr>
              <p:cNvSpPr/>
              <p:nvPr/>
            </p:nvSpPr>
            <p:spPr>
              <a:xfrm>
                <a:off x="6065769" y="4093789"/>
                <a:ext cx="19047" cy="19062"/>
              </a:xfrm>
              <a:custGeom>
                <a:avLst/>
                <a:gdLst>
                  <a:gd name="csX0" fmla="*/ 0 w 19047"/>
                  <a:gd name="csY0" fmla="*/ 0 h 19062"/>
                  <a:gd name="csX1" fmla="*/ 0 w 19047"/>
                  <a:gd name="csY1" fmla="*/ 19063 h 19062"/>
                  <a:gd name="csX2" fmla="*/ 19048 w 19047"/>
                  <a:gd name="csY2" fmla="*/ 19063 h 19062"/>
                </a:gdLst>
                <a:ahLst/>
                <a:cxnLst>
                  <a:cxn ang="0">
                    <a:pos x="csX0" y="csY0"/>
                  </a:cxn>
                  <a:cxn ang="0">
                    <a:pos x="csX1" y="csY1"/>
                  </a:cxn>
                  <a:cxn ang="0">
                    <a:pos x="csX2" y="csY2"/>
                  </a:cxn>
                </a:cxnLst>
                <a:rect l="l" t="t" r="r" b="b"/>
                <a:pathLst>
                  <a:path w="19047" h="19062">
                    <a:moveTo>
                      <a:pt x="0" y="0"/>
                    </a:moveTo>
                    <a:lnTo>
                      <a:pt x="0" y="19063"/>
                    </a:lnTo>
                    <a:lnTo>
                      <a:pt x="19048" y="19063"/>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6" name="Freeform 387">
                <a:extLst>
                  <a:ext uri="{FF2B5EF4-FFF2-40B4-BE49-F238E27FC236}">
                    <a16:creationId xmlns:a16="http://schemas.microsoft.com/office/drawing/2014/main" id="{85628FB7-FA53-9A3E-24AF-08BAF11BE379}"/>
                  </a:ext>
                </a:extLst>
              </p:cNvPr>
              <p:cNvSpPr/>
              <p:nvPr/>
            </p:nvSpPr>
            <p:spPr>
              <a:xfrm>
                <a:off x="6123547" y="4112851"/>
                <a:ext cx="601018" cy="12708"/>
              </a:xfrm>
              <a:custGeom>
                <a:avLst/>
                <a:gdLst>
                  <a:gd name="csX0" fmla="*/ 0 w 601018"/>
                  <a:gd name="csY0" fmla="*/ 0 h 12708"/>
                  <a:gd name="csX1" fmla="*/ 601019 w 601018"/>
                  <a:gd name="csY1" fmla="*/ 0 h 12708"/>
                </a:gdLst>
                <a:ahLst/>
                <a:cxnLst>
                  <a:cxn ang="0">
                    <a:pos x="csX0" y="csY0"/>
                  </a:cxn>
                  <a:cxn ang="0">
                    <a:pos x="csX1" y="csY1"/>
                  </a:cxn>
                </a:cxnLst>
                <a:rect l="l" t="t" r="r" b="b"/>
                <a:pathLst>
                  <a:path w="601018" h="12708">
                    <a:moveTo>
                      <a:pt x="0" y="0"/>
                    </a:moveTo>
                    <a:lnTo>
                      <a:pt x="601019" y="0"/>
                    </a:lnTo>
                  </a:path>
                </a:pathLst>
              </a:custGeom>
              <a:ln w="12693" cap="flat">
                <a:solidFill>
                  <a:srgbClr val="0B41CD"/>
                </a:solidFill>
                <a:custDash>
                  <a:ds d="228750" sp="228750"/>
                </a:custDash>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7" name="Freeform 388">
                <a:extLst>
                  <a:ext uri="{FF2B5EF4-FFF2-40B4-BE49-F238E27FC236}">
                    <a16:creationId xmlns:a16="http://schemas.microsoft.com/office/drawing/2014/main" id="{53215B67-F328-CD07-8B90-24D60C57B8FF}"/>
                  </a:ext>
                </a:extLst>
              </p:cNvPr>
              <p:cNvSpPr/>
              <p:nvPr/>
            </p:nvSpPr>
            <p:spPr>
              <a:xfrm>
                <a:off x="6743867" y="4112851"/>
                <a:ext cx="19047" cy="19062"/>
              </a:xfrm>
              <a:custGeom>
                <a:avLst/>
                <a:gdLst>
                  <a:gd name="csX0" fmla="*/ 0 w 19047"/>
                  <a:gd name="csY0" fmla="*/ 0 h 19062"/>
                  <a:gd name="csX1" fmla="*/ 19048 w 19047"/>
                  <a:gd name="csY1" fmla="*/ 0 h 19062"/>
                  <a:gd name="csX2" fmla="*/ 19048 w 19047"/>
                  <a:gd name="csY2" fmla="*/ 19063 h 19062"/>
                </a:gdLst>
                <a:ahLst/>
                <a:cxnLst>
                  <a:cxn ang="0">
                    <a:pos x="csX0" y="csY0"/>
                  </a:cxn>
                  <a:cxn ang="0">
                    <a:pos x="csX1" y="csY1"/>
                  </a:cxn>
                  <a:cxn ang="0">
                    <a:pos x="csX2" y="csY2"/>
                  </a:cxn>
                </a:cxnLst>
                <a:rect l="l" t="t" r="r" b="b"/>
                <a:pathLst>
                  <a:path w="19047" h="19062">
                    <a:moveTo>
                      <a:pt x="0" y="0"/>
                    </a:moveTo>
                    <a:lnTo>
                      <a:pt x="19048" y="0"/>
                    </a:lnTo>
                    <a:lnTo>
                      <a:pt x="19048" y="19063"/>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8" name="Freeform 389">
                <a:extLst>
                  <a:ext uri="{FF2B5EF4-FFF2-40B4-BE49-F238E27FC236}">
                    <a16:creationId xmlns:a16="http://schemas.microsoft.com/office/drawing/2014/main" id="{EC344BCC-DAC4-0068-E595-71B09C403379}"/>
                  </a:ext>
                </a:extLst>
              </p:cNvPr>
              <p:cNvSpPr/>
              <p:nvPr/>
            </p:nvSpPr>
            <p:spPr>
              <a:xfrm>
                <a:off x="6762915" y="4174107"/>
                <a:ext cx="19047" cy="19062"/>
              </a:xfrm>
              <a:custGeom>
                <a:avLst/>
                <a:gdLst>
                  <a:gd name="csX0" fmla="*/ 0 w 19047"/>
                  <a:gd name="csY0" fmla="*/ 0 h 19062"/>
                  <a:gd name="csX1" fmla="*/ 0 w 19047"/>
                  <a:gd name="csY1" fmla="*/ 19063 h 19062"/>
                  <a:gd name="csX2" fmla="*/ 19048 w 19047"/>
                  <a:gd name="csY2" fmla="*/ 19063 h 19062"/>
                </a:gdLst>
                <a:ahLst/>
                <a:cxnLst>
                  <a:cxn ang="0">
                    <a:pos x="csX0" y="csY0"/>
                  </a:cxn>
                  <a:cxn ang="0">
                    <a:pos x="csX1" y="csY1"/>
                  </a:cxn>
                  <a:cxn ang="0">
                    <a:pos x="csX2" y="csY2"/>
                  </a:cxn>
                </a:cxnLst>
                <a:rect l="l" t="t" r="r" b="b"/>
                <a:pathLst>
                  <a:path w="19047" h="19062">
                    <a:moveTo>
                      <a:pt x="0" y="0"/>
                    </a:moveTo>
                    <a:lnTo>
                      <a:pt x="0" y="19063"/>
                    </a:lnTo>
                    <a:lnTo>
                      <a:pt x="19048" y="19063"/>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9" name="Freeform 390">
                <a:extLst>
                  <a:ext uri="{FF2B5EF4-FFF2-40B4-BE49-F238E27FC236}">
                    <a16:creationId xmlns:a16="http://schemas.microsoft.com/office/drawing/2014/main" id="{58DFC8D2-C490-4B8C-DBCB-F41AFB24F96B}"/>
                  </a:ext>
                </a:extLst>
              </p:cNvPr>
              <p:cNvSpPr/>
              <p:nvPr/>
            </p:nvSpPr>
            <p:spPr>
              <a:xfrm>
                <a:off x="6819550" y="4193170"/>
                <a:ext cx="807749" cy="12708"/>
              </a:xfrm>
              <a:custGeom>
                <a:avLst/>
                <a:gdLst>
                  <a:gd name="csX0" fmla="*/ 0 w 807749"/>
                  <a:gd name="csY0" fmla="*/ 0 h 12708"/>
                  <a:gd name="csX1" fmla="*/ 807749 w 807749"/>
                  <a:gd name="csY1" fmla="*/ 0 h 12708"/>
                </a:gdLst>
                <a:ahLst/>
                <a:cxnLst>
                  <a:cxn ang="0">
                    <a:pos x="csX0" y="csY0"/>
                  </a:cxn>
                  <a:cxn ang="0">
                    <a:pos x="csX1" y="csY1"/>
                  </a:cxn>
                </a:cxnLst>
                <a:rect l="l" t="t" r="r" b="b"/>
                <a:pathLst>
                  <a:path w="807749" h="12708">
                    <a:moveTo>
                      <a:pt x="0" y="0"/>
                    </a:moveTo>
                    <a:lnTo>
                      <a:pt x="807749" y="0"/>
                    </a:lnTo>
                  </a:path>
                </a:pathLst>
              </a:custGeom>
              <a:ln w="12693" cap="flat">
                <a:solidFill>
                  <a:srgbClr val="0B41CD"/>
                </a:solidFill>
                <a:custDash>
                  <a:ds d="222000" sp="222000"/>
                </a:custDash>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0" name="Freeform 391">
                <a:extLst>
                  <a:ext uri="{FF2B5EF4-FFF2-40B4-BE49-F238E27FC236}">
                    <a16:creationId xmlns:a16="http://schemas.microsoft.com/office/drawing/2014/main" id="{63603A35-0F52-B498-518B-9587C1C2A4CB}"/>
                  </a:ext>
                </a:extLst>
              </p:cNvPr>
              <p:cNvSpPr/>
              <p:nvPr/>
            </p:nvSpPr>
            <p:spPr>
              <a:xfrm>
                <a:off x="7646094" y="4193170"/>
                <a:ext cx="19047" cy="19062"/>
              </a:xfrm>
              <a:custGeom>
                <a:avLst/>
                <a:gdLst>
                  <a:gd name="csX0" fmla="*/ 0 w 19047"/>
                  <a:gd name="csY0" fmla="*/ 0 h 19062"/>
                  <a:gd name="csX1" fmla="*/ 19048 w 19047"/>
                  <a:gd name="csY1" fmla="*/ 0 h 19062"/>
                  <a:gd name="csX2" fmla="*/ 19048 w 19047"/>
                  <a:gd name="csY2" fmla="*/ 19063 h 19062"/>
                </a:gdLst>
                <a:ahLst/>
                <a:cxnLst>
                  <a:cxn ang="0">
                    <a:pos x="csX0" y="csY0"/>
                  </a:cxn>
                  <a:cxn ang="0">
                    <a:pos x="csX1" y="csY1"/>
                  </a:cxn>
                  <a:cxn ang="0">
                    <a:pos x="csX2" y="csY2"/>
                  </a:cxn>
                </a:cxnLst>
                <a:rect l="l" t="t" r="r" b="b"/>
                <a:pathLst>
                  <a:path w="19047" h="19062">
                    <a:moveTo>
                      <a:pt x="0" y="0"/>
                    </a:moveTo>
                    <a:lnTo>
                      <a:pt x="19048" y="0"/>
                    </a:lnTo>
                    <a:lnTo>
                      <a:pt x="19048" y="19063"/>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1" name="Freeform 392">
                <a:extLst>
                  <a:ext uri="{FF2B5EF4-FFF2-40B4-BE49-F238E27FC236}">
                    <a16:creationId xmlns:a16="http://schemas.microsoft.com/office/drawing/2014/main" id="{97083E83-CD02-353D-A78C-9F000F7C5290}"/>
                  </a:ext>
                </a:extLst>
              </p:cNvPr>
              <p:cNvSpPr/>
              <p:nvPr/>
            </p:nvSpPr>
            <p:spPr>
              <a:xfrm>
                <a:off x="7665141" y="4254552"/>
                <a:ext cx="19047" cy="19062"/>
              </a:xfrm>
              <a:custGeom>
                <a:avLst/>
                <a:gdLst>
                  <a:gd name="csX0" fmla="*/ 0 w 19047"/>
                  <a:gd name="csY0" fmla="*/ 0 h 19062"/>
                  <a:gd name="csX1" fmla="*/ 0 w 19047"/>
                  <a:gd name="csY1" fmla="*/ 19063 h 19062"/>
                  <a:gd name="csX2" fmla="*/ 19048 w 19047"/>
                  <a:gd name="csY2" fmla="*/ 19063 h 19062"/>
                </a:gdLst>
                <a:ahLst/>
                <a:cxnLst>
                  <a:cxn ang="0">
                    <a:pos x="csX0" y="csY0"/>
                  </a:cxn>
                  <a:cxn ang="0">
                    <a:pos x="csX1" y="csY1"/>
                  </a:cxn>
                  <a:cxn ang="0">
                    <a:pos x="csX2" y="csY2"/>
                  </a:cxn>
                </a:cxnLst>
                <a:rect l="l" t="t" r="r" b="b"/>
                <a:pathLst>
                  <a:path w="19047" h="19062">
                    <a:moveTo>
                      <a:pt x="0" y="0"/>
                    </a:moveTo>
                    <a:lnTo>
                      <a:pt x="0" y="19063"/>
                    </a:lnTo>
                    <a:lnTo>
                      <a:pt x="19048" y="19063"/>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2" name="Freeform 393">
                <a:extLst>
                  <a:ext uri="{FF2B5EF4-FFF2-40B4-BE49-F238E27FC236}">
                    <a16:creationId xmlns:a16="http://schemas.microsoft.com/office/drawing/2014/main" id="{95E2291D-EC50-4E54-F66E-665481673909}"/>
                  </a:ext>
                </a:extLst>
              </p:cNvPr>
              <p:cNvSpPr/>
              <p:nvPr/>
            </p:nvSpPr>
            <p:spPr>
              <a:xfrm>
                <a:off x="7720888" y="4273615"/>
                <a:ext cx="567240" cy="12708"/>
              </a:xfrm>
              <a:custGeom>
                <a:avLst/>
                <a:gdLst>
                  <a:gd name="csX0" fmla="*/ 0 w 567240"/>
                  <a:gd name="csY0" fmla="*/ 0 h 12708"/>
                  <a:gd name="csX1" fmla="*/ 567241 w 567240"/>
                  <a:gd name="csY1" fmla="*/ 0 h 12708"/>
                </a:gdLst>
                <a:ahLst/>
                <a:cxnLst>
                  <a:cxn ang="0">
                    <a:pos x="csX0" y="csY0"/>
                  </a:cxn>
                  <a:cxn ang="0">
                    <a:pos x="csX1" y="csY1"/>
                  </a:cxn>
                </a:cxnLst>
                <a:rect l="l" t="t" r="r" b="b"/>
                <a:pathLst>
                  <a:path w="567240" h="12708">
                    <a:moveTo>
                      <a:pt x="0" y="0"/>
                    </a:moveTo>
                    <a:lnTo>
                      <a:pt x="567241" y="0"/>
                    </a:lnTo>
                  </a:path>
                </a:pathLst>
              </a:custGeom>
              <a:ln w="12693" cap="flat">
                <a:solidFill>
                  <a:srgbClr val="0B41CD"/>
                </a:solidFill>
                <a:custDash>
                  <a:ds d="216000" sp="216000"/>
                </a:custDash>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3" name="Freeform 394">
                <a:extLst>
                  <a:ext uri="{FF2B5EF4-FFF2-40B4-BE49-F238E27FC236}">
                    <a16:creationId xmlns:a16="http://schemas.microsoft.com/office/drawing/2014/main" id="{FF88CCFF-0AD7-929B-1B74-58EB17AFEC5C}"/>
                  </a:ext>
                </a:extLst>
              </p:cNvPr>
              <p:cNvSpPr/>
              <p:nvPr/>
            </p:nvSpPr>
            <p:spPr>
              <a:xfrm>
                <a:off x="8306414" y="4273615"/>
                <a:ext cx="19047" cy="19062"/>
              </a:xfrm>
              <a:custGeom>
                <a:avLst/>
                <a:gdLst>
                  <a:gd name="csX0" fmla="*/ 0 w 19047"/>
                  <a:gd name="csY0" fmla="*/ 0 h 19062"/>
                  <a:gd name="csX1" fmla="*/ 19048 w 19047"/>
                  <a:gd name="csY1" fmla="*/ 0 h 19062"/>
                  <a:gd name="csX2" fmla="*/ 19048 w 19047"/>
                  <a:gd name="csY2" fmla="*/ 19063 h 19062"/>
                </a:gdLst>
                <a:ahLst/>
                <a:cxnLst>
                  <a:cxn ang="0">
                    <a:pos x="csX0" y="csY0"/>
                  </a:cxn>
                  <a:cxn ang="0">
                    <a:pos x="csX1" y="csY1"/>
                  </a:cxn>
                  <a:cxn ang="0">
                    <a:pos x="csX2" y="csY2"/>
                  </a:cxn>
                </a:cxnLst>
                <a:rect l="l" t="t" r="r" b="b"/>
                <a:pathLst>
                  <a:path w="19047" h="19062">
                    <a:moveTo>
                      <a:pt x="0" y="0"/>
                    </a:moveTo>
                    <a:lnTo>
                      <a:pt x="19048" y="0"/>
                    </a:lnTo>
                    <a:lnTo>
                      <a:pt x="19048" y="19063"/>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4" name="Freeform 395">
                <a:extLst>
                  <a:ext uri="{FF2B5EF4-FFF2-40B4-BE49-F238E27FC236}">
                    <a16:creationId xmlns:a16="http://schemas.microsoft.com/office/drawing/2014/main" id="{D3E2BE7B-19E2-06D4-D61A-C8A280F17778}"/>
                  </a:ext>
                </a:extLst>
              </p:cNvPr>
              <p:cNvSpPr/>
              <p:nvPr/>
            </p:nvSpPr>
            <p:spPr>
              <a:xfrm>
                <a:off x="8325462" y="4333726"/>
                <a:ext cx="12698" cy="61636"/>
              </a:xfrm>
              <a:custGeom>
                <a:avLst/>
                <a:gdLst>
                  <a:gd name="csX0" fmla="*/ 0 w 12698"/>
                  <a:gd name="csY0" fmla="*/ 0 h 61636"/>
                  <a:gd name="csX1" fmla="*/ 0 w 12698"/>
                  <a:gd name="csY1" fmla="*/ 61636 h 61636"/>
                </a:gdLst>
                <a:ahLst/>
                <a:cxnLst>
                  <a:cxn ang="0">
                    <a:pos x="csX0" y="csY0"/>
                  </a:cxn>
                  <a:cxn ang="0">
                    <a:pos x="csX1" y="csY1"/>
                  </a:cxn>
                </a:cxnLst>
                <a:rect l="l" t="t" r="r" b="b"/>
                <a:pathLst>
                  <a:path w="12698" h="61636">
                    <a:moveTo>
                      <a:pt x="0" y="0"/>
                    </a:moveTo>
                    <a:lnTo>
                      <a:pt x="0" y="61636"/>
                    </a:lnTo>
                  </a:path>
                </a:pathLst>
              </a:custGeom>
              <a:ln w="12693" cap="flat">
                <a:solidFill>
                  <a:srgbClr val="0B41CD"/>
                </a:solidFill>
                <a:custDash>
                  <a:ds d="242250" sp="242250"/>
                </a:custDash>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5" name="Freeform 396">
                <a:extLst>
                  <a:ext uri="{FF2B5EF4-FFF2-40B4-BE49-F238E27FC236}">
                    <a16:creationId xmlns:a16="http://schemas.microsoft.com/office/drawing/2014/main" id="{02FBAF01-5373-3398-6F16-7870EFC76C36}"/>
                  </a:ext>
                </a:extLst>
              </p:cNvPr>
              <p:cNvSpPr/>
              <p:nvPr/>
            </p:nvSpPr>
            <p:spPr>
              <a:xfrm>
                <a:off x="8325462" y="4415951"/>
                <a:ext cx="19047" cy="19062"/>
              </a:xfrm>
              <a:custGeom>
                <a:avLst/>
                <a:gdLst>
                  <a:gd name="csX0" fmla="*/ 0 w 19047"/>
                  <a:gd name="csY0" fmla="*/ 0 h 19062"/>
                  <a:gd name="csX1" fmla="*/ 0 w 19047"/>
                  <a:gd name="csY1" fmla="*/ 19063 h 19062"/>
                  <a:gd name="csX2" fmla="*/ 19048 w 19047"/>
                  <a:gd name="csY2" fmla="*/ 19063 h 19062"/>
                </a:gdLst>
                <a:ahLst/>
                <a:cxnLst>
                  <a:cxn ang="0">
                    <a:pos x="csX0" y="csY0"/>
                  </a:cxn>
                  <a:cxn ang="0">
                    <a:pos x="csX1" y="csY1"/>
                  </a:cxn>
                  <a:cxn ang="0">
                    <a:pos x="csX2" y="csY2"/>
                  </a:cxn>
                </a:cxnLst>
                <a:rect l="l" t="t" r="r" b="b"/>
                <a:pathLst>
                  <a:path w="19047" h="19062">
                    <a:moveTo>
                      <a:pt x="0" y="0"/>
                    </a:moveTo>
                    <a:lnTo>
                      <a:pt x="0" y="19063"/>
                    </a:lnTo>
                    <a:lnTo>
                      <a:pt x="19048" y="19063"/>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6" name="Freeform 397">
                <a:extLst>
                  <a:ext uri="{FF2B5EF4-FFF2-40B4-BE49-F238E27FC236}">
                    <a16:creationId xmlns:a16="http://schemas.microsoft.com/office/drawing/2014/main" id="{1B1CB6E0-0C1B-FEA8-BD74-2A599A21B71D}"/>
                  </a:ext>
                </a:extLst>
              </p:cNvPr>
              <p:cNvSpPr/>
              <p:nvPr/>
            </p:nvSpPr>
            <p:spPr>
              <a:xfrm>
                <a:off x="8382478" y="4435014"/>
                <a:ext cx="132825" cy="12708"/>
              </a:xfrm>
              <a:custGeom>
                <a:avLst/>
                <a:gdLst>
                  <a:gd name="csX0" fmla="*/ 0 w 132825"/>
                  <a:gd name="csY0" fmla="*/ 0 h 12708"/>
                  <a:gd name="csX1" fmla="*/ 132826 w 132825"/>
                  <a:gd name="csY1" fmla="*/ 0 h 12708"/>
                </a:gdLst>
                <a:ahLst/>
                <a:cxnLst>
                  <a:cxn ang="0">
                    <a:pos x="csX0" y="csY0"/>
                  </a:cxn>
                  <a:cxn ang="0">
                    <a:pos x="csX1" y="csY1"/>
                  </a:cxn>
                </a:cxnLst>
                <a:rect l="l" t="t" r="r" b="b"/>
                <a:pathLst>
                  <a:path w="132825" h="12708">
                    <a:moveTo>
                      <a:pt x="0" y="0"/>
                    </a:moveTo>
                    <a:lnTo>
                      <a:pt x="132826" y="0"/>
                    </a:lnTo>
                  </a:path>
                </a:pathLst>
              </a:custGeom>
              <a:ln w="12693" cap="flat">
                <a:solidFill>
                  <a:srgbClr val="0B41CD"/>
                </a:solidFill>
                <a:custDash>
                  <a:ds d="224250" sp="224250"/>
                </a:custDash>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7" name="Freeform 398">
                <a:extLst>
                  <a:ext uri="{FF2B5EF4-FFF2-40B4-BE49-F238E27FC236}">
                    <a16:creationId xmlns:a16="http://schemas.microsoft.com/office/drawing/2014/main" id="{92E3DB07-3BA5-B59C-B9FB-0FED11745A53}"/>
                  </a:ext>
                </a:extLst>
              </p:cNvPr>
              <p:cNvSpPr/>
              <p:nvPr/>
            </p:nvSpPr>
            <p:spPr>
              <a:xfrm>
                <a:off x="8534224" y="4435014"/>
                <a:ext cx="19047" cy="19062"/>
              </a:xfrm>
              <a:custGeom>
                <a:avLst/>
                <a:gdLst>
                  <a:gd name="csX0" fmla="*/ 0 w 19047"/>
                  <a:gd name="csY0" fmla="*/ 0 h 19062"/>
                  <a:gd name="csX1" fmla="*/ 19048 w 19047"/>
                  <a:gd name="csY1" fmla="*/ 0 h 19062"/>
                  <a:gd name="csX2" fmla="*/ 19048 w 19047"/>
                  <a:gd name="csY2" fmla="*/ 19063 h 19062"/>
                </a:gdLst>
                <a:ahLst/>
                <a:cxnLst>
                  <a:cxn ang="0">
                    <a:pos x="csX0" y="csY0"/>
                  </a:cxn>
                  <a:cxn ang="0">
                    <a:pos x="csX1" y="csY1"/>
                  </a:cxn>
                  <a:cxn ang="0">
                    <a:pos x="csX2" y="csY2"/>
                  </a:cxn>
                </a:cxnLst>
                <a:rect l="l" t="t" r="r" b="b"/>
                <a:pathLst>
                  <a:path w="19047" h="19062">
                    <a:moveTo>
                      <a:pt x="0" y="0"/>
                    </a:moveTo>
                    <a:lnTo>
                      <a:pt x="19048" y="0"/>
                    </a:lnTo>
                    <a:lnTo>
                      <a:pt x="19048" y="19063"/>
                    </a:lnTo>
                  </a:path>
                </a:pathLst>
              </a:custGeom>
              <a:noFill/>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8" name="Freeform 399">
                <a:extLst>
                  <a:ext uri="{FF2B5EF4-FFF2-40B4-BE49-F238E27FC236}">
                    <a16:creationId xmlns:a16="http://schemas.microsoft.com/office/drawing/2014/main" id="{127FA970-A0CF-3DAB-FE2B-FA50DC28D95B}"/>
                  </a:ext>
                </a:extLst>
              </p:cNvPr>
              <p:cNvSpPr/>
              <p:nvPr/>
            </p:nvSpPr>
            <p:spPr>
              <a:xfrm>
                <a:off x="8553272" y="4496142"/>
                <a:ext cx="12698" cy="63161"/>
              </a:xfrm>
              <a:custGeom>
                <a:avLst/>
                <a:gdLst>
                  <a:gd name="csX0" fmla="*/ 0 w 12698"/>
                  <a:gd name="csY0" fmla="*/ 0 h 63161"/>
                  <a:gd name="csX1" fmla="*/ 0 w 12698"/>
                  <a:gd name="csY1" fmla="*/ 63162 h 63161"/>
                </a:gdLst>
                <a:ahLst/>
                <a:cxnLst>
                  <a:cxn ang="0">
                    <a:pos x="csX0" y="csY0"/>
                  </a:cxn>
                  <a:cxn ang="0">
                    <a:pos x="csX1" y="csY1"/>
                  </a:cxn>
                </a:cxnLst>
                <a:rect l="l" t="t" r="r" b="b"/>
                <a:pathLst>
                  <a:path w="12698" h="63161">
                    <a:moveTo>
                      <a:pt x="0" y="0"/>
                    </a:moveTo>
                    <a:lnTo>
                      <a:pt x="0" y="63162"/>
                    </a:lnTo>
                  </a:path>
                </a:pathLst>
              </a:custGeom>
              <a:ln w="12693" cap="flat">
                <a:solidFill>
                  <a:srgbClr val="0B41CD"/>
                </a:solidFill>
                <a:custDash>
                  <a:ds d="248250" sp="248250"/>
                </a:custDash>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9" name="Freeform 400">
                <a:extLst>
                  <a:ext uri="{FF2B5EF4-FFF2-40B4-BE49-F238E27FC236}">
                    <a16:creationId xmlns:a16="http://schemas.microsoft.com/office/drawing/2014/main" id="{EF982D61-1C42-C6FA-3A6C-6E14F3BE4D0F}"/>
                  </a:ext>
                </a:extLst>
              </p:cNvPr>
              <p:cNvSpPr/>
              <p:nvPr/>
            </p:nvSpPr>
            <p:spPr>
              <a:xfrm>
                <a:off x="8553272" y="4580400"/>
                <a:ext cx="12698" cy="19062"/>
              </a:xfrm>
              <a:custGeom>
                <a:avLst/>
                <a:gdLst>
                  <a:gd name="csX0" fmla="*/ 0 w 12698"/>
                  <a:gd name="csY0" fmla="*/ 0 h 19062"/>
                  <a:gd name="csX1" fmla="*/ 0 w 12698"/>
                  <a:gd name="csY1" fmla="*/ 19063 h 19062"/>
                </a:gdLst>
                <a:ahLst/>
                <a:cxnLst>
                  <a:cxn ang="0">
                    <a:pos x="csX0" y="csY0"/>
                  </a:cxn>
                  <a:cxn ang="0">
                    <a:pos x="csX1" y="csY1"/>
                  </a:cxn>
                </a:cxnLst>
                <a:rect l="l" t="t" r="r" b="b"/>
                <a:pathLst>
                  <a:path w="12698" h="19062">
                    <a:moveTo>
                      <a:pt x="0" y="0"/>
                    </a:moveTo>
                    <a:lnTo>
                      <a:pt x="0" y="19063"/>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18" name="Freeform 401">
              <a:extLst>
                <a:ext uri="{FF2B5EF4-FFF2-40B4-BE49-F238E27FC236}">
                  <a16:creationId xmlns:a16="http://schemas.microsoft.com/office/drawing/2014/main" id="{E06DCE1A-7880-972D-7907-30DAFC3DD831}"/>
                </a:ext>
              </a:extLst>
            </p:cNvPr>
            <p:cNvSpPr/>
            <p:nvPr/>
          </p:nvSpPr>
          <p:spPr>
            <a:xfrm rot="5400000">
              <a:off x="2920118" y="2074510"/>
              <a:ext cx="45719" cy="1429244"/>
            </a:xfrm>
            <a:custGeom>
              <a:avLst/>
              <a:gdLst>
                <a:gd name="csX0" fmla="*/ 0 w 12698"/>
                <a:gd name="csY0" fmla="*/ 1157115 h 1157114"/>
                <a:gd name="csX1" fmla="*/ 0 w 12698"/>
                <a:gd name="csY1" fmla="*/ 0 h 1157114"/>
              </a:gdLst>
              <a:ahLst/>
              <a:cxnLst>
                <a:cxn ang="0">
                  <a:pos x="csX0" y="csY0"/>
                </a:cxn>
                <a:cxn ang="0">
                  <a:pos x="csX1" y="csY1"/>
                </a:cxn>
              </a:cxnLst>
              <a:rect l="l" t="t" r="r" b="b"/>
              <a:pathLst>
                <a:path w="12698" h="1157114">
                  <a:moveTo>
                    <a:pt x="0" y="1157115"/>
                  </a:moveTo>
                  <a:lnTo>
                    <a:pt x="0" y="0"/>
                  </a:lnTo>
                </a:path>
              </a:pathLst>
            </a:custGeom>
            <a:ln w="12693" cap="flat">
              <a:solidFill>
                <a:srgbClr val="808080"/>
              </a:solidFill>
              <a:custDash>
                <a:ds d="225000" sp="225000"/>
              </a:custDash>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 name="TextBox 18">
              <a:extLst>
                <a:ext uri="{FF2B5EF4-FFF2-40B4-BE49-F238E27FC236}">
                  <a16:creationId xmlns:a16="http://schemas.microsoft.com/office/drawing/2014/main" id="{30FE84BE-2B3C-28F5-7704-98201A48FAD2}"/>
                </a:ext>
              </a:extLst>
            </p:cNvPr>
            <p:cNvSpPr txBox="1"/>
            <p:nvPr/>
          </p:nvSpPr>
          <p:spPr>
            <a:xfrm rot="16200000">
              <a:off x="1609912" y="2675289"/>
              <a:ext cx="525787"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solidFill>
                    <a:srgbClr val="000000"/>
                  </a:solidFill>
                  <a:effectLst/>
                  <a:uLnTx/>
                  <a:uFillTx/>
                  <a:latin typeface="Arial"/>
                  <a:ea typeface="+mn-ea"/>
                  <a:cs typeface="Arial"/>
                  <a:sym typeface="Arial"/>
                  <a:rtl val="0"/>
                </a:rPr>
                <a:t>PFS (%)</a:t>
              </a:r>
            </a:p>
          </p:txBody>
        </p:sp>
        <p:grpSp>
          <p:nvGrpSpPr>
            <p:cNvPr id="20" name="Graphic 4">
              <a:extLst>
                <a:ext uri="{FF2B5EF4-FFF2-40B4-BE49-F238E27FC236}">
                  <a16:creationId xmlns:a16="http://schemas.microsoft.com/office/drawing/2014/main" id="{F937C1F5-442F-ED3A-5564-DFEDD66D1188}"/>
                </a:ext>
              </a:extLst>
            </p:cNvPr>
            <p:cNvGrpSpPr/>
            <p:nvPr/>
          </p:nvGrpSpPr>
          <p:grpSpPr>
            <a:xfrm>
              <a:off x="1940421" y="1541989"/>
              <a:ext cx="308112" cy="2444679"/>
              <a:chOff x="4740065" y="2241900"/>
              <a:chExt cx="308112" cy="2444679"/>
            </a:xfrm>
            <a:solidFill>
              <a:srgbClr val="000000"/>
            </a:solidFill>
          </p:grpSpPr>
          <p:sp>
            <p:nvSpPr>
              <p:cNvPr id="246" name="TextBox 245">
                <a:extLst>
                  <a:ext uri="{FF2B5EF4-FFF2-40B4-BE49-F238E27FC236}">
                    <a16:creationId xmlns:a16="http://schemas.microsoft.com/office/drawing/2014/main" id="{6302B543-E765-8EBC-5D1A-19621948C07D}"/>
                  </a:ext>
                </a:extLst>
              </p:cNvPr>
              <p:cNvSpPr txBox="1"/>
              <p:nvPr/>
            </p:nvSpPr>
            <p:spPr>
              <a:xfrm>
                <a:off x="4795389" y="2692291"/>
                <a:ext cx="251588" cy="192468"/>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80</a:t>
                </a:r>
              </a:p>
            </p:txBody>
          </p:sp>
          <p:sp>
            <p:nvSpPr>
              <p:cNvPr id="247" name="TextBox 246">
                <a:extLst>
                  <a:ext uri="{FF2B5EF4-FFF2-40B4-BE49-F238E27FC236}">
                    <a16:creationId xmlns:a16="http://schemas.microsoft.com/office/drawing/2014/main" id="{0F4C8438-CE87-683E-B383-ECA33D46FD63}"/>
                  </a:ext>
                </a:extLst>
              </p:cNvPr>
              <p:cNvSpPr txBox="1"/>
              <p:nvPr/>
            </p:nvSpPr>
            <p:spPr>
              <a:xfrm>
                <a:off x="4740065" y="2241900"/>
                <a:ext cx="308112" cy="192468"/>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00</a:t>
                </a:r>
              </a:p>
            </p:txBody>
          </p:sp>
          <p:sp>
            <p:nvSpPr>
              <p:cNvPr id="248" name="TextBox 247">
                <a:extLst>
                  <a:ext uri="{FF2B5EF4-FFF2-40B4-BE49-F238E27FC236}">
                    <a16:creationId xmlns:a16="http://schemas.microsoft.com/office/drawing/2014/main" id="{F4D71E96-29B7-8428-ADF6-04CC76434BF4}"/>
                  </a:ext>
                </a:extLst>
              </p:cNvPr>
              <p:cNvSpPr txBox="1"/>
              <p:nvPr/>
            </p:nvSpPr>
            <p:spPr>
              <a:xfrm>
                <a:off x="4795388" y="3142683"/>
                <a:ext cx="251589" cy="192468"/>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60</a:t>
                </a:r>
              </a:p>
            </p:txBody>
          </p:sp>
          <p:sp>
            <p:nvSpPr>
              <p:cNvPr id="249" name="TextBox 248">
                <a:extLst>
                  <a:ext uri="{FF2B5EF4-FFF2-40B4-BE49-F238E27FC236}">
                    <a16:creationId xmlns:a16="http://schemas.microsoft.com/office/drawing/2014/main" id="{7941EFDB-47A9-388B-29B8-0CCC0D569859}"/>
                  </a:ext>
                </a:extLst>
              </p:cNvPr>
              <p:cNvSpPr txBox="1"/>
              <p:nvPr/>
            </p:nvSpPr>
            <p:spPr>
              <a:xfrm>
                <a:off x="4795388" y="3593201"/>
                <a:ext cx="251589" cy="192468"/>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40</a:t>
                </a:r>
              </a:p>
            </p:txBody>
          </p:sp>
          <p:sp>
            <p:nvSpPr>
              <p:cNvPr id="250" name="TextBox 249">
                <a:extLst>
                  <a:ext uri="{FF2B5EF4-FFF2-40B4-BE49-F238E27FC236}">
                    <a16:creationId xmlns:a16="http://schemas.microsoft.com/office/drawing/2014/main" id="{3EC925C0-A1F0-DDE5-208F-8AA445BD69C0}"/>
                  </a:ext>
                </a:extLst>
              </p:cNvPr>
              <p:cNvSpPr txBox="1"/>
              <p:nvPr/>
            </p:nvSpPr>
            <p:spPr>
              <a:xfrm>
                <a:off x="4795388" y="4043593"/>
                <a:ext cx="251589" cy="192468"/>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20</a:t>
                </a:r>
              </a:p>
            </p:txBody>
          </p:sp>
          <p:sp>
            <p:nvSpPr>
              <p:cNvPr id="251" name="TextBox 250">
                <a:extLst>
                  <a:ext uri="{FF2B5EF4-FFF2-40B4-BE49-F238E27FC236}">
                    <a16:creationId xmlns:a16="http://schemas.microsoft.com/office/drawing/2014/main" id="{0E242EEC-549C-C93A-A124-565E7F8DD4C3}"/>
                  </a:ext>
                </a:extLst>
              </p:cNvPr>
              <p:cNvSpPr txBox="1"/>
              <p:nvPr/>
            </p:nvSpPr>
            <p:spPr>
              <a:xfrm>
                <a:off x="4850711" y="4494111"/>
                <a:ext cx="195066" cy="192468"/>
              </a:xfrm>
              <a:prstGeom prst="rect">
                <a:avLst/>
              </a:prstGeom>
              <a:noFill/>
            </p:spPr>
            <p:txBody>
              <a:bodyPr wrap="none" rtlCol="0">
                <a:spAutoFit/>
              </a:bodyPr>
              <a:lstStyle/>
              <a:p>
                <a:pPr marL="0" marR="0" lvl="0" indent="0" algn="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0</a:t>
                </a:r>
              </a:p>
            </p:txBody>
          </p:sp>
        </p:grpSp>
        <p:grpSp>
          <p:nvGrpSpPr>
            <p:cNvPr id="21" name="Graphic 4">
              <a:extLst>
                <a:ext uri="{FF2B5EF4-FFF2-40B4-BE49-F238E27FC236}">
                  <a16:creationId xmlns:a16="http://schemas.microsoft.com/office/drawing/2014/main" id="{01332E65-44E9-5D62-5B2D-EED6AB8B87B3}"/>
                </a:ext>
              </a:extLst>
            </p:cNvPr>
            <p:cNvGrpSpPr/>
            <p:nvPr/>
          </p:nvGrpSpPr>
          <p:grpSpPr>
            <a:xfrm>
              <a:off x="2182335" y="3979364"/>
              <a:ext cx="4801662" cy="192468"/>
              <a:chOff x="4981979" y="4679275"/>
              <a:chExt cx="4801662" cy="192468"/>
            </a:xfrm>
            <a:solidFill>
              <a:srgbClr val="000000"/>
            </a:solidFill>
          </p:grpSpPr>
          <p:sp>
            <p:nvSpPr>
              <p:cNvPr id="233" name="TextBox 232">
                <a:extLst>
                  <a:ext uri="{FF2B5EF4-FFF2-40B4-BE49-F238E27FC236}">
                    <a16:creationId xmlns:a16="http://schemas.microsoft.com/office/drawing/2014/main" id="{FA0601B3-B67D-E45C-00FB-A2DC5D399FB0}"/>
                  </a:ext>
                </a:extLst>
              </p:cNvPr>
              <p:cNvSpPr txBox="1"/>
              <p:nvPr/>
            </p:nvSpPr>
            <p:spPr>
              <a:xfrm>
                <a:off x="4981979" y="4679275"/>
                <a:ext cx="195066"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0</a:t>
                </a:r>
              </a:p>
            </p:txBody>
          </p:sp>
          <p:sp>
            <p:nvSpPr>
              <p:cNvPr id="234" name="TextBox 233">
                <a:extLst>
                  <a:ext uri="{FF2B5EF4-FFF2-40B4-BE49-F238E27FC236}">
                    <a16:creationId xmlns:a16="http://schemas.microsoft.com/office/drawing/2014/main" id="{E1BF9BD3-8C3C-1120-6C82-5C03A888934D}"/>
                  </a:ext>
                </a:extLst>
              </p:cNvPr>
              <p:cNvSpPr txBox="1"/>
              <p:nvPr/>
            </p:nvSpPr>
            <p:spPr>
              <a:xfrm>
                <a:off x="5363442" y="4679275"/>
                <a:ext cx="195066"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3</a:t>
                </a:r>
              </a:p>
            </p:txBody>
          </p:sp>
          <p:sp>
            <p:nvSpPr>
              <p:cNvPr id="235" name="TextBox 234">
                <a:extLst>
                  <a:ext uri="{FF2B5EF4-FFF2-40B4-BE49-F238E27FC236}">
                    <a16:creationId xmlns:a16="http://schemas.microsoft.com/office/drawing/2014/main" id="{51D6A3CC-2B9C-2D68-CA31-E76B8B613F63}"/>
                  </a:ext>
                </a:extLst>
              </p:cNvPr>
              <p:cNvSpPr txBox="1"/>
              <p:nvPr/>
            </p:nvSpPr>
            <p:spPr>
              <a:xfrm>
                <a:off x="5744903" y="4679275"/>
                <a:ext cx="195066"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6</a:t>
                </a:r>
              </a:p>
            </p:txBody>
          </p:sp>
          <p:sp>
            <p:nvSpPr>
              <p:cNvPr id="236" name="TextBox 235">
                <a:extLst>
                  <a:ext uri="{FF2B5EF4-FFF2-40B4-BE49-F238E27FC236}">
                    <a16:creationId xmlns:a16="http://schemas.microsoft.com/office/drawing/2014/main" id="{56905394-528E-B240-877D-84897360D091}"/>
                  </a:ext>
                </a:extLst>
              </p:cNvPr>
              <p:cNvSpPr txBox="1"/>
              <p:nvPr/>
            </p:nvSpPr>
            <p:spPr>
              <a:xfrm>
                <a:off x="6126365" y="4679275"/>
                <a:ext cx="195066"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9</a:t>
                </a:r>
              </a:p>
            </p:txBody>
          </p:sp>
          <p:sp>
            <p:nvSpPr>
              <p:cNvPr id="237" name="TextBox 236">
                <a:extLst>
                  <a:ext uri="{FF2B5EF4-FFF2-40B4-BE49-F238E27FC236}">
                    <a16:creationId xmlns:a16="http://schemas.microsoft.com/office/drawing/2014/main" id="{E8E49A19-9D84-F5B6-793F-91B6F8EF98EA}"/>
                  </a:ext>
                </a:extLst>
              </p:cNvPr>
              <p:cNvSpPr txBox="1"/>
              <p:nvPr/>
            </p:nvSpPr>
            <p:spPr>
              <a:xfrm>
                <a:off x="6480228" y="4679275"/>
                <a:ext cx="251589"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2</a:t>
                </a:r>
              </a:p>
            </p:txBody>
          </p:sp>
          <p:sp>
            <p:nvSpPr>
              <p:cNvPr id="238" name="TextBox 237">
                <a:extLst>
                  <a:ext uri="{FF2B5EF4-FFF2-40B4-BE49-F238E27FC236}">
                    <a16:creationId xmlns:a16="http://schemas.microsoft.com/office/drawing/2014/main" id="{3A603D74-AE94-4AD7-8A4C-1AF55C0769D1}"/>
                  </a:ext>
                </a:extLst>
              </p:cNvPr>
              <p:cNvSpPr txBox="1"/>
              <p:nvPr/>
            </p:nvSpPr>
            <p:spPr>
              <a:xfrm>
                <a:off x="6861691" y="4679275"/>
                <a:ext cx="251589"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5</a:t>
                </a:r>
              </a:p>
            </p:txBody>
          </p:sp>
          <p:sp>
            <p:nvSpPr>
              <p:cNvPr id="239" name="TextBox 238">
                <a:extLst>
                  <a:ext uri="{FF2B5EF4-FFF2-40B4-BE49-F238E27FC236}">
                    <a16:creationId xmlns:a16="http://schemas.microsoft.com/office/drawing/2014/main" id="{F4B7556D-C6E2-D2A8-C672-5251AC99B4E9}"/>
                  </a:ext>
                </a:extLst>
              </p:cNvPr>
              <p:cNvSpPr txBox="1"/>
              <p:nvPr/>
            </p:nvSpPr>
            <p:spPr>
              <a:xfrm>
                <a:off x="7243153" y="4679275"/>
                <a:ext cx="251589"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18</a:t>
                </a:r>
              </a:p>
            </p:txBody>
          </p:sp>
          <p:sp>
            <p:nvSpPr>
              <p:cNvPr id="240" name="TextBox 239">
                <a:extLst>
                  <a:ext uri="{FF2B5EF4-FFF2-40B4-BE49-F238E27FC236}">
                    <a16:creationId xmlns:a16="http://schemas.microsoft.com/office/drawing/2014/main" id="{B3E6C2FC-5339-2D32-4679-0A6D06FB38F2}"/>
                  </a:ext>
                </a:extLst>
              </p:cNvPr>
              <p:cNvSpPr txBox="1"/>
              <p:nvPr/>
            </p:nvSpPr>
            <p:spPr>
              <a:xfrm>
                <a:off x="7624614" y="4679275"/>
                <a:ext cx="251589"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21</a:t>
                </a:r>
              </a:p>
            </p:txBody>
          </p:sp>
          <p:sp>
            <p:nvSpPr>
              <p:cNvPr id="241" name="TextBox 240">
                <a:extLst>
                  <a:ext uri="{FF2B5EF4-FFF2-40B4-BE49-F238E27FC236}">
                    <a16:creationId xmlns:a16="http://schemas.microsoft.com/office/drawing/2014/main" id="{EB1E54E8-326E-40E5-EFB4-2D1A08E3026C}"/>
                  </a:ext>
                </a:extLst>
              </p:cNvPr>
              <p:cNvSpPr txBox="1"/>
              <p:nvPr/>
            </p:nvSpPr>
            <p:spPr>
              <a:xfrm>
                <a:off x="8006076" y="4679275"/>
                <a:ext cx="251589"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24</a:t>
                </a:r>
              </a:p>
            </p:txBody>
          </p:sp>
          <p:sp>
            <p:nvSpPr>
              <p:cNvPr id="242" name="TextBox 241">
                <a:extLst>
                  <a:ext uri="{FF2B5EF4-FFF2-40B4-BE49-F238E27FC236}">
                    <a16:creationId xmlns:a16="http://schemas.microsoft.com/office/drawing/2014/main" id="{966E4784-9239-FF63-F650-3A7E8DAC4BB0}"/>
                  </a:ext>
                </a:extLst>
              </p:cNvPr>
              <p:cNvSpPr txBox="1"/>
              <p:nvPr/>
            </p:nvSpPr>
            <p:spPr>
              <a:xfrm>
                <a:off x="8387666" y="4679275"/>
                <a:ext cx="251589"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27</a:t>
                </a:r>
              </a:p>
            </p:txBody>
          </p:sp>
          <p:sp>
            <p:nvSpPr>
              <p:cNvPr id="243" name="TextBox 242">
                <a:extLst>
                  <a:ext uri="{FF2B5EF4-FFF2-40B4-BE49-F238E27FC236}">
                    <a16:creationId xmlns:a16="http://schemas.microsoft.com/office/drawing/2014/main" id="{D2A5C14B-3443-42EB-609E-5DC7124FABE8}"/>
                  </a:ext>
                </a:extLst>
              </p:cNvPr>
              <p:cNvSpPr txBox="1"/>
              <p:nvPr/>
            </p:nvSpPr>
            <p:spPr>
              <a:xfrm>
                <a:off x="8769128" y="4679275"/>
                <a:ext cx="251589"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30</a:t>
                </a:r>
              </a:p>
            </p:txBody>
          </p:sp>
          <p:sp>
            <p:nvSpPr>
              <p:cNvPr id="244" name="TextBox 243">
                <a:extLst>
                  <a:ext uri="{FF2B5EF4-FFF2-40B4-BE49-F238E27FC236}">
                    <a16:creationId xmlns:a16="http://schemas.microsoft.com/office/drawing/2014/main" id="{2E624B76-85A8-757C-3019-5EDDA875FE26}"/>
                  </a:ext>
                </a:extLst>
              </p:cNvPr>
              <p:cNvSpPr txBox="1"/>
              <p:nvPr/>
            </p:nvSpPr>
            <p:spPr>
              <a:xfrm>
                <a:off x="9150590" y="4679275"/>
                <a:ext cx="251589"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33</a:t>
                </a:r>
              </a:p>
            </p:txBody>
          </p:sp>
          <p:sp>
            <p:nvSpPr>
              <p:cNvPr id="245" name="TextBox 244">
                <a:extLst>
                  <a:ext uri="{FF2B5EF4-FFF2-40B4-BE49-F238E27FC236}">
                    <a16:creationId xmlns:a16="http://schemas.microsoft.com/office/drawing/2014/main" id="{47B79642-A130-2AB6-D1DD-993F40FA9066}"/>
                  </a:ext>
                </a:extLst>
              </p:cNvPr>
              <p:cNvSpPr txBox="1"/>
              <p:nvPr/>
            </p:nvSpPr>
            <p:spPr>
              <a:xfrm>
                <a:off x="9532052" y="4679275"/>
                <a:ext cx="251589"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36</a:t>
                </a:r>
              </a:p>
            </p:txBody>
          </p:sp>
        </p:grpSp>
        <p:grpSp>
          <p:nvGrpSpPr>
            <p:cNvPr id="22" name="Graphic 4">
              <a:extLst>
                <a:ext uri="{FF2B5EF4-FFF2-40B4-BE49-F238E27FC236}">
                  <a16:creationId xmlns:a16="http://schemas.microsoft.com/office/drawing/2014/main" id="{96F7EA71-343D-3EF1-3392-2D02A50D87F5}"/>
                </a:ext>
              </a:extLst>
            </p:cNvPr>
            <p:cNvGrpSpPr/>
            <p:nvPr/>
          </p:nvGrpSpPr>
          <p:grpSpPr>
            <a:xfrm>
              <a:off x="2127012" y="4297205"/>
              <a:ext cx="4871549" cy="192468"/>
              <a:chOff x="4926656" y="4997116"/>
              <a:chExt cx="4871549" cy="192468"/>
            </a:xfrm>
            <a:solidFill>
              <a:srgbClr val="000000"/>
            </a:solidFill>
          </p:grpSpPr>
          <p:sp>
            <p:nvSpPr>
              <p:cNvPr id="220" name="TextBox 219">
                <a:extLst>
                  <a:ext uri="{FF2B5EF4-FFF2-40B4-BE49-F238E27FC236}">
                    <a16:creationId xmlns:a16="http://schemas.microsoft.com/office/drawing/2014/main" id="{87C9E1FB-1252-D283-CFF5-D71C56F3AE26}"/>
                  </a:ext>
                </a:extLst>
              </p:cNvPr>
              <p:cNvSpPr txBox="1"/>
              <p:nvPr/>
            </p:nvSpPr>
            <p:spPr>
              <a:xfrm>
                <a:off x="4926656" y="4997116"/>
                <a:ext cx="308113"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38</a:t>
                </a:r>
              </a:p>
            </p:txBody>
          </p:sp>
          <p:sp>
            <p:nvSpPr>
              <p:cNvPr id="221" name="TextBox 220">
                <a:extLst>
                  <a:ext uri="{FF2B5EF4-FFF2-40B4-BE49-F238E27FC236}">
                    <a16:creationId xmlns:a16="http://schemas.microsoft.com/office/drawing/2014/main" id="{B686C3F1-67DC-E8A6-3142-5F91DFBF06BF}"/>
                  </a:ext>
                </a:extLst>
              </p:cNvPr>
              <p:cNvSpPr txBox="1"/>
              <p:nvPr/>
            </p:nvSpPr>
            <p:spPr>
              <a:xfrm>
                <a:off x="5308118" y="4997116"/>
                <a:ext cx="308113"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08</a:t>
                </a:r>
              </a:p>
            </p:txBody>
          </p:sp>
          <p:sp>
            <p:nvSpPr>
              <p:cNvPr id="222" name="TextBox 221">
                <a:extLst>
                  <a:ext uri="{FF2B5EF4-FFF2-40B4-BE49-F238E27FC236}">
                    <a16:creationId xmlns:a16="http://schemas.microsoft.com/office/drawing/2014/main" id="{2E9F371E-7D4F-F62E-AC68-8D88902F537A}"/>
                  </a:ext>
                </a:extLst>
              </p:cNvPr>
              <p:cNvSpPr txBox="1"/>
              <p:nvPr/>
            </p:nvSpPr>
            <p:spPr>
              <a:xfrm>
                <a:off x="5717305" y="4997116"/>
                <a:ext cx="251589"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67</a:t>
                </a:r>
              </a:p>
            </p:txBody>
          </p:sp>
          <p:sp>
            <p:nvSpPr>
              <p:cNvPr id="223" name="TextBox 222">
                <a:extLst>
                  <a:ext uri="{FF2B5EF4-FFF2-40B4-BE49-F238E27FC236}">
                    <a16:creationId xmlns:a16="http://schemas.microsoft.com/office/drawing/2014/main" id="{B3A79A5D-CB32-EF71-17AC-BE3F16E1AA56}"/>
                  </a:ext>
                </a:extLst>
              </p:cNvPr>
              <p:cNvSpPr txBox="1"/>
              <p:nvPr/>
            </p:nvSpPr>
            <p:spPr>
              <a:xfrm>
                <a:off x="6098767" y="4997116"/>
                <a:ext cx="251589"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59</a:t>
                </a:r>
              </a:p>
            </p:txBody>
          </p:sp>
          <p:sp>
            <p:nvSpPr>
              <p:cNvPr id="224" name="TextBox 223">
                <a:extLst>
                  <a:ext uri="{FF2B5EF4-FFF2-40B4-BE49-F238E27FC236}">
                    <a16:creationId xmlns:a16="http://schemas.microsoft.com/office/drawing/2014/main" id="{A529A134-6E07-2902-B0DB-1CFEDB21F76B}"/>
                  </a:ext>
                </a:extLst>
              </p:cNvPr>
              <p:cNvSpPr txBox="1"/>
              <p:nvPr/>
            </p:nvSpPr>
            <p:spPr>
              <a:xfrm>
                <a:off x="6480228" y="4997116"/>
                <a:ext cx="251589"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51</a:t>
                </a:r>
              </a:p>
            </p:txBody>
          </p:sp>
          <p:sp>
            <p:nvSpPr>
              <p:cNvPr id="225" name="TextBox 224">
                <a:extLst>
                  <a:ext uri="{FF2B5EF4-FFF2-40B4-BE49-F238E27FC236}">
                    <a16:creationId xmlns:a16="http://schemas.microsoft.com/office/drawing/2014/main" id="{39A839D1-5DEA-24F2-5A2F-7B07BDAE94AD}"/>
                  </a:ext>
                </a:extLst>
              </p:cNvPr>
              <p:cNvSpPr txBox="1"/>
              <p:nvPr/>
            </p:nvSpPr>
            <p:spPr>
              <a:xfrm>
                <a:off x="6861691" y="4997116"/>
                <a:ext cx="251589"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43</a:t>
                </a:r>
              </a:p>
            </p:txBody>
          </p:sp>
          <p:sp>
            <p:nvSpPr>
              <p:cNvPr id="226" name="TextBox 225">
                <a:extLst>
                  <a:ext uri="{FF2B5EF4-FFF2-40B4-BE49-F238E27FC236}">
                    <a16:creationId xmlns:a16="http://schemas.microsoft.com/office/drawing/2014/main" id="{8A3B4978-B398-FEED-DE81-2E908502C914}"/>
                  </a:ext>
                </a:extLst>
              </p:cNvPr>
              <p:cNvSpPr txBox="1"/>
              <p:nvPr/>
            </p:nvSpPr>
            <p:spPr>
              <a:xfrm>
                <a:off x="7243153" y="4997116"/>
                <a:ext cx="251589"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39</a:t>
                </a:r>
              </a:p>
            </p:txBody>
          </p:sp>
          <p:sp>
            <p:nvSpPr>
              <p:cNvPr id="227" name="TextBox 226">
                <a:extLst>
                  <a:ext uri="{FF2B5EF4-FFF2-40B4-BE49-F238E27FC236}">
                    <a16:creationId xmlns:a16="http://schemas.microsoft.com/office/drawing/2014/main" id="{234A6149-4C0E-CBC3-8942-607439BE81C4}"/>
                  </a:ext>
                </a:extLst>
              </p:cNvPr>
              <p:cNvSpPr txBox="1"/>
              <p:nvPr/>
            </p:nvSpPr>
            <p:spPr>
              <a:xfrm>
                <a:off x="7624614" y="4997116"/>
                <a:ext cx="251589"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33</a:t>
                </a:r>
              </a:p>
            </p:txBody>
          </p:sp>
          <p:sp>
            <p:nvSpPr>
              <p:cNvPr id="228" name="TextBox 227">
                <a:extLst>
                  <a:ext uri="{FF2B5EF4-FFF2-40B4-BE49-F238E27FC236}">
                    <a16:creationId xmlns:a16="http://schemas.microsoft.com/office/drawing/2014/main" id="{8715072E-338D-5960-267D-9211898A034C}"/>
                  </a:ext>
                </a:extLst>
              </p:cNvPr>
              <p:cNvSpPr txBox="1"/>
              <p:nvPr/>
            </p:nvSpPr>
            <p:spPr>
              <a:xfrm>
                <a:off x="8006076" y="4997116"/>
                <a:ext cx="251589"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23</a:t>
                </a:r>
              </a:p>
            </p:txBody>
          </p:sp>
          <p:sp>
            <p:nvSpPr>
              <p:cNvPr id="229" name="TextBox 228">
                <a:extLst>
                  <a:ext uri="{FF2B5EF4-FFF2-40B4-BE49-F238E27FC236}">
                    <a16:creationId xmlns:a16="http://schemas.microsoft.com/office/drawing/2014/main" id="{97D8850A-C324-A16B-3AF4-5ABFC2001C3F}"/>
                  </a:ext>
                </a:extLst>
              </p:cNvPr>
              <p:cNvSpPr txBox="1"/>
              <p:nvPr/>
            </p:nvSpPr>
            <p:spPr>
              <a:xfrm>
                <a:off x="8387666" y="4997116"/>
                <a:ext cx="251589"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6</a:t>
                </a:r>
              </a:p>
            </p:txBody>
          </p:sp>
          <p:sp>
            <p:nvSpPr>
              <p:cNvPr id="230" name="TextBox 229">
                <a:extLst>
                  <a:ext uri="{FF2B5EF4-FFF2-40B4-BE49-F238E27FC236}">
                    <a16:creationId xmlns:a16="http://schemas.microsoft.com/office/drawing/2014/main" id="{0F7BE7CA-4A07-3707-BF60-EBB11CBCBEEA}"/>
                  </a:ext>
                </a:extLst>
              </p:cNvPr>
              <p:cNvSpPr txBox="1"/>
              <p:nvPr/>
            </p:nvSpPr>
            <p:spPr>
              <a:xfrm>
                <a:off x="8796725" y="4997116"/>
                <a:ext cx="195066"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5</a:t>
                </a:r>
              </a:p>
            </p:txBody>
          </p:sp>
          <p:sp>
            <p:nvSpPr>
              <p:cNvPr id="231" name="TextBox 230">
                <a:extLst>
                  <a:ext uri="{FF2B5EF4-FFF2-40B4-BE49-F238E27FC236}">
                    <a16:creationId xmlns:a16="http://schemas.microsoft.com/office/drawing/2014/main" id="{9F7B205B-7938-D258-906A-8960395A56F4}"/>
                  </a:ext>
                </a:extLst>
              </p:cNvPr>
              <p:cNvSpPr txBox="1"/>
              <p:nvPr/>
            </p:nvSpPr>
            <p:spPr>
              <a:xfrm>
                <a:off x="9178189" y="4997116"/>
                <a:ext cx="195066"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a:t>
                </a:r>
              </a:p>
            </p:txBody>
          </p:sp>
          <p:sp>
            <p:nvSpPr>
              <p:cNvPr id="232" name="TextBox 231">
                <a:extLst>
                  <a:ext uri="{FF2B5EF4-FFF2-40B4-BE49-F238E27FC236}">
                    <a16:creationId xmlns:a16="http://schemas.microsoft.com/office/drawing/2014/main" id="{C4AAB1E6-E538-D2C4-2185-7EE9D150719B}"/>
                  </a:ext>
                </a:extLst>
              </p:cNvPr>
              <p:cNvSpPr txBox="1"/>
              <p:nvPr/>
            </p:nvSpPr>
            <p:spPr>
              <a:xfrm>
                <a:off x="9516550" y="4997116"/>
                <a:ext cx="281655"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NE</a:t>
                </a:r>
              </a:p>
            </p:txBody>
          </p:sp>
        </p:grpSp>
        <p:sp>
          <p:nvSpPr>
            <p:cNvPr id="24" name="TextBox 23">
              <a:extLst>
                <a:ext uri="{FF2B5EF4-FFF2-40B4-BE49-F238E27FC236}">
                  <a16:creationId xmlns:a16="http://schemas.microsoft.com/office/drawing/2014/main" id="{93E3532C-6971-EAE2-CED1-EF3416EB4633}"/>
                </a:ext>
              </a:extLst>
            </p:cNvPr>
            <p:cNvSpPr txBox="1"/>
            <p:nvPr/>
          </p:nvSpPr>
          <p:spPr>
            <a:xfrm>
              <a:off x="4233134" y="4135680"/>
              <a:ext cx="843280" cy="192468"/>
            </a:xfrm>
            <a:prstGeom prst="rect">
              <a:avLst/>
            </a:prstGeom>
            <a:noFill/>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solidFill>
                    <a:srgbClr val="000000"/>
                  </a:solidFill>
                  <a:effectLst/>
                  <a:uLnTx/>
                  <a:uFillTx/>
                  <a:latin typeface="Arial"/>
                  <a:ea typeface="+mn-ea"/>
                  <a:cs typeface="Arial"/>
                  <a:sym typeface="Arial"/>
                  <a:rtl val="0"/>
                </a:rPr>
                <a:t>Time (months)</a:t>
              </a:r>
            </a:p>
          </p:txBody>
        </p:sp>
        <p:sp>
          <p:nvSpPr>
            <p:cNvPr id="25" name="TextBox 24">
              <a:extLst>
                <a:ext uri="{FF2B5EF4-FFF2-40B4-BE49-F238E27FC236}">
                  <a16:creationId xmlns:a16="http://schemas.microsoft.com/office/drawing/2014/main" id="{E5200454-DAF8-36CF-7D0A-6CA4CE608692}"/>
                </a:ext>
              </a:extLst>
            </p:cNvPr>
            <p:cNvSpPr txBox="1"/>
            <p:nvPr/>
          </p:nvSpPr>
          <p:spPr>
            <a:xfrm>
              <a:off x="1492388" y="4297205"/>
              <a:ext cx="718206" cy="192468"/>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err="1">
                  <a:ln/>
                  <a:solidFill>
                    <a:srgbClr val="00B050"/>
                  </a:solidFill>
                  <a:effectLst/>
                  <a:uLnTx/>
                  <a:uFillTx/>
                  <a:latin typeface="Arial"/>
                  <a:ea typeface="+mn-ea"/>
                  <a:cs typeface="Arial"/>
                  <a:sym typeface="Arial"/>
                  <a:rtl val="0"/>
                </a:rPr>
                <a:t>Mosun</a:t>
              </a:r>
              <a:r>
                <a:rPr kumimoji="0" lang="en-US" sz="1067" b="1" i="0" u="none" strike="noStrike" kern="1200" cap="none" spc="0" normalizeH="0" baseline="0" noProof="0" dirty="0">
                  <a:ln/>
                  <a:solidFill>
                    <a:srgbClr val="00B050"/>
                  </a:solidFill>
                  <a:effectLst/>
                  <a:uLnTx/>
                  <a:uFillTx/>
                  <a:latin typeface="Arial"/>
                  <a:ea typeface="+mn-ea"/>
                  <a:cs typeface="Arial"/>
                  <a:sym typeface="Arial"/>
                  <a:rtl val="0"/>
                </a:rPr>
                <a:t>-Pola</a:t>
              </a:r>
            </a:p>
          </p:txBody>
        </p:sp>
        <p:sp>
          <p:nvSpPr>
            <p:cNvPr id="26" name="TextBox 25">
              <a:extLst>
                <a:ext uri="{FF2B5EF4-FFF2-40B4-BE49-F238E27FC236}">
                  <a16:creationId xmlns:a16="http://schemas.microsoft.com/office/drawing/2014/main" id="{13C930DD-7B9B-0933-40B0-E87991BB3113}"/>
                </a:ext>
              </a:extLst>
            </p:cNvPr>
            <p:cNvSpPr txBox="1"/>
            <p:nvPr/>
          </p:nvSpPr>
          <p:spPr>
            <a:xfrm>
              <a:off x="1033216" y="4157030"/>
              <a:ext cx="1178812" cy="192468"/>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solidFill>
                    <a:srgbClr val="000000"/>
                  </a:solidFill>
                  <a:effectLst/>
                  <a:uLnTx/>
                  <a:uFillTx/>
                  <a:latin typeface="Arial"/>
                  <a:ea typeface="+mn-ea"/>
                  <a:cs typeface="Arial"/>
                  <a:sym typeface="Arial"/>
                  <a:rtl val="0"/>
                </a:rPr>
                <a:t>No. of patients at risk</a:t>
              </a:r>
            </a:p>
          </p:txBody>
        </p:sp>
        <p:grpSp>
          <p:nvGrpSpPr>
            <p:cNvPr id="27" name="Graphic 4">
              <a:extLst>
                <a:ext uri="{FF2B5EF4-FFF2-40B4-BE49-F238E27FC236}">
                  <a16:creationId xmlns:a16="http://schemas.microsoft.com/office/drawing/2014/main" id="{5BCAB807-AA91-D1C5-19AC-A45D6A7158A6}"/>
                </a:ext>
              </a:extLst>
            </p:cNvPr>
            <p:cNvGrpSpPr/>
            <p:nvPr/>
          </p:nvGrpSpPr>
          <p:grpSpPr>
            <a:xfrm>
              <a:off x="2492788" y="1774278"/>
              <a:ext cx="4142621" cy="1297310"/>
              <a:chOff x="5292432" y="2474189"/>
              <a:chExt cx="4142621" cy="1297310"/>
            </a:xfrm>
          </p:grpSpPr>
          <p:grpSp>
            <p:nvGrpSpPr>
              <p:cNvPr id="92" name="Graphic 4">
                <a:extLst>
                  <a:ext uri="{FF2B5EF4-FFF2-40B4-BE49-F238E27FC236}">
                    <a16:creationId xmlns:a16="http://schemas.microsoft.com/office/drawing/2014/main" id="{06E2D78F-DD64-627C-0B9A-7DF897E3183D}"/>
                  </a:ext>
                </a:extLst>
              </p:cNvPr>
              <p:cNvGrpSpPr/>
              <p:nvPr/>
            </p:nvGrpSpPr>
            <p:grpSpPr>
              <a:xfrm>
                <a:off x="9388958" y="3725240"/>
                <a:ext cx="46095" cy="46259"/>
                <a:chOff x="9388958" y="3725240"/>
                <a:chExt cx="46095" cy="46259"/>
              </a:xfrm>
            </p:grpSpPr>
            <p:sp>
              <p:nvSpPr>
                <p:cNvPr id="218" name="Freeform 583">
                  <a:extLst>
                    <a:ext uri="{FF2B5EF4-FFF2-40B4-BE49-F238E27FC236}">
                      <a16:creationId xmlns:a16="http://schemas.microsoft.com/office/drawing/2014/main" id="{EF69207C-CD0F-808D-9595-8B3DA8BDFDAF}"/>
                    </a:ext>
                  </a:extLst>
                </p:cNvPr>
                <p:cNvSpPr/>
                <p:nvPr/>
              </p:nvSpPr>
              <p:spPr>
                <a:xfrm>
                  <a:off x="9411943" y="3725240"/>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9" name="Freeform 584">
                  <a:extLst>
                    <a:ext uri="{FF2B5EF4-FFF2-40B4-BE49-F238E27FC236}">
                      <a16:creationId xmlns:a16="http://schemas.microsoft.com/office/drawing/2014/main" id="{68EF3DF4-D3FC-3F08-0027-BEE70B2D941F}"/>
                    </a:ext>
                  </a:extLst>
                </p:cNvPr>
                <p:cNvSpPr/>
                <p:nvPr/>
              </p:nvSpPr>
              <p:spPr>
                <a:xfrm>
                  <a:off x="9388958" y="3748370"/>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93" name="Graphic 4">
                <a:extLst>
                  <a:ext uri="{FF2B5EF4-FFF2-40B4-BE49-F238E27FC236}">
                    <a16:creationId xmlns:a16="http://schemas.microsoft.com/office/drawing/2014/main" id="{832921E5-5269-1880-B6B9-6B8BCD0DA868}"/>
                  </a:ext>
                </a:extLst>
              </p:cNvPr>
              <p:cNvGrpSpPr/>
              <p:nvPr/>
            </p:nvGrpSpPr>
            <p:grpSpPr>
              <a:xfrm>
                <a:off x="9228831" y="3725240"/>
                <a:ext cx="46095" cy="46259"/>
                <a:chOff x="9228831" y="3725240"/>
                <a:chExt cx="46095" cy="46259"/>
              </a:xfrm>
            </p:grpSpPr>
            <p:sp>
              <p:nvSpPr>
                <p:cNvPr id="216" name="Freeform 581">
                  <a:extLst>
                    <a:ext uri="{FF2B5EF4-FFF2-40B4-BE49-F238E27FC236}">
                      <a16:creationId xmlns:a16="http://schemas.microsoft.com/office/drawing/2014/main" id="{1DBE3318-E232-8DA7-7C43-F1A741BA3EB3}"/>
                    </a:ext>
                  </a:extLst>
                </p:cNvPr>
                <p:cNvSpPr/>
                <p:nvPr/>
              </p:nvSpPr>
              <p:spPr>
                <a:xfrm>
                  <a:off x="9251942" y="3725240"/>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7" name="Freeform 582">
                  <a:extLst>
                    <a:ext uri="{FF2B5EF4-FFF2-40B4-BE49-F238E27FC236}">
                      <a16:creationId xmlns:a16="http://schemas.microsoft.com/office/drawing/2014/main" id="{33C2CBCC-C2F5-52C8-6E83-DD5E2907BE2A}"/>
                    </a:ext>
                  </a:extLst>
                </p:cNvPr>
                <p:cNvSpPr/>
                <p:nvPr/>
              </p:nvSpPr>
              <p:spPr>
                <a:xfrm>
                  <a:off x="9228831" y="3748370"/>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94" name="Graphic 4">
                <a:extLst>
                  <a:ext uri="{FF2B5EF4-FFF2-40B4-BE49-F238E27FC236}">
                    <a16:creationId xmlns:a16="http://schemas.microsoft.com/office/drawing/2014/main" id="{FFD40D36-258C-1A1E-7BE2-05B7F351563E}"/>
                  </a:ext>
                </a:extLst>
              </p:cNvPr>
              <p:cNvGrpSpPr/>
              <p:nvPr/>
            </p:nvGrpSpPr>
            <p:grpSpPr>
              <a:xfrm>
                <a:off x="8897528" y="3725240"/>
                <a:ext cx="46095" cy="46259"/>
                <a:chOff x="8897528" y="3725240"/>
                <a:chExt cx="46095" cy="46259"/>
              </a:xfrm>
            </p:grpSpPr>
            <p:sp>
              <p:nvSpPr>
                <p:cNvPr id="214" name="Freeform 579">
                  <a:extLst>
                    <a:ext uri="{FF2B5EF4-FFF2-40B4-BE49-F238E27FC236}">
                      <a16:creationId xmlns:a16="http://schemas.microsoft.com/office/drawing/2014/main" id="{B69B725E-CE4C-BB7C-4D28-C2F4BEA648C3}"/>
                    </a:ext>
                  </a:extLst>
                </p:cNvPr>
                <p:cNvSpPr/>
                <p:nvPr/>
              </p:nvSpPr>
              <p:spPr>
                <a:xfrm>
                  <a:off x="8920639" y="3725240"/>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5" name="Freeform 580">
                  <a:extLst>
                    <a:ext uri="{FF2B5EF4-FFF2-40B4-BE49-F238E27FC236}">
                      <a16:creationId xmlns:a16="http://schemas.microsoft.com/office/drawing/2014/main" id="{ACB45B2B-6F21-0F41-59E0-2BF883CBAC98}"/>
                    </a:ext>
                  </a:extLst>
                </p:cNvPr>
                <p:cNvSpPr/>
                <p:nvPr/>
              </p:nvSpPr>
              <p:spPr>
                <a:xfrm>
                  <a:off x="8897528" y="3748370"/>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95" name="Graphic 4">
                <a:extLst>
                  <a:ext uri="{FF2B5EF4-FFF2-40B4-BE49-F238E27FC236}">
                    <a16:creationId xmlns:a16="http://schemas.microsoft.com/office/drawing/2014/main" id="{59605A02-493D-F668-7CAC-9F39C07C048D}"/>
                  </a:ext>
                </a:extLst>
              </p:cNvPr>
              <p:cNvGrpSpPr/>
              <p:nvPr/>
            </p:nvGrpSpPr>
            <p:grpSpPr>
              <a:xfrm>
                <a:off x="8891940" y="3725240"/>
                <a:ext cx="46095" cy="46259"/>
                <a:chOff x="8891940" y="3725240"/>
                <a:chExt cx="46095" cy="46259"/>
              </a:xfrm>
            </p:grpSpPr>
            <p:sp>
              <p:nvSpPr>
                <p:cNvPr id="212" name="Freeform 577">
                  <a:extLst>
                    <a:ext uri="{FF2B5EF4-FFF2-40B4-BE49-F238E27FC236}">
                      <a16:creationId xmlns:a16="http://schemas.microsoft.com/office/drawing/2014/main" id="{C5C0D281-55B1-3868-EB47-D536A8157DB1}"/>
                    </a:ext>
                  </a:extLst>
                </p:cNvPr>
                <p:cNvSpPr/>
                <p:nvPr/>
              </p:nvSpPr>
              <p:spPr>
                <a:xfrm>
                  <a:off x="8915052" y="3725240"/>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3" name="Freeform 578">
                  <a:extLst>
                    <a:ext uri="{FF2B5EF4-FFF2-40B4-BE49-F238E27FC236}">
                      <a16:creationId xmlns:a16="http://schemas.microsoft.com/office/drawing/2014/main" id="{7E6730B3-5C43-D93F-785A-4538C67AF2D0}"/>
                    </a:ext>
                  </a:extLst>
                </p:cNvPr>
                <p:cNvSpPr/>
                <p:nvPr/>
              </p:nvSpPr>
              <p:spPr>
                <a:xfrm>
                  <a:off x="8891940" y="3748370"/>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96" name="Graphic 4">
                <a:extLst>
                  <a:ext uri="{FF2B5EF4-FFF2-40B4-BE49-F238E27FC236}">
                    <a16:creationId xmlns:a16="http://schemas.microsoft.com/office/drawing/2014/main" id="{C2C1EFE3-EBBC-1937-49B3-AB2D2C03D593}"/>
                  </a:ext>
                </a:extLst>
              </p:cNvPr>
              <p:cNvGrpSpPr/>
              <p:nvPr/>
            </p:nvGrpSpPr>
            <p:grpSpPr>
              <a:xfrm>
                <a:off x="8830099" y="3725240"/>
                <a:ext cx="46095" cy="46259"/>
                <a:chOff x="8830099" y="3725240"/>
                <a:chExt cx="46095" cy="46259"/>
              </a:xfrm>
            </p:grpSpPr>
            <p:sp>
              <p:nvSpPr>
                <p:cNvPr id="210" name="Freeform 575">
                  <a:extLst>
                    <a:ext uri="{FF2B5EF4-FFF2-40B4-BE49-F238E27FC236}">
                      <a16:creationId xmlns:a16="http://schemas.microsoft.com/office/drawing/2014/main" id="{F72B9AFC-10E1-DDE8-A8A8-679C65756F4D}"/>
                    </a:ext>
                  </a:extLst>
                </p:cNvPr>
                <p:cNvSpPr/>
                <p:nvPr/>
              </p:nvSpPr>
              <p:spPr>
                <a:xfrm>
                  <a:off x="8853083" y="3725240"/>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1" name="Freeform 576">
                  <a:extLst>
                    <a:ext uri="{FF2B5EF4-FFF2-40B4-BE49-F238E27FC236}">
                      <a16:creationId xmlns:a16="http://schemas.microsoft.com/office/drawing/2014/main" id="{37E593F3-E869-69DE-C33C-CCA30A98304B}"/>
                    </a:ext>
                  </a:extLst>
                </p:cNvPr>
                <p:cNvSpPr/>
                <p:nvPr/>
              </p:nvSpPr>
              <p:spPr>
                <a:xfrm>
                  <a:off x="8830099" y="3748370"/>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97" name="Graphic 4">
                <a:extLst>
                  <a:ext uri="{FF2B5EF4-FFF2-40B4-BE49-F238E27FC236}">
                    <a16:creationId xmlns:a16="http://schemas.microsoft.com/office/drawing/2014/main" id="{23888AB5-04B8-41D9-92E6-3602E570C5AD}"/>
                  </a:ext>
                </a:extLst>
              </p:cNvPr>
              <p:cNvGrpSpPr/>
              <p:nvPr/>
            </p:nvGrpSpPr>
            <p:grpSpPr>
              <a:xfrm>
                <a:off x="8820956" y="3725240"/>
                <a:ext cx="46222" cy="46259"/>
                <a:chOff x="8820956" y="3725240"/>
                <a:chExt cx="46222" cy="46259"/>
              </a:xfrm>
            </p:grpSpPr>
            <p:sp>
              <p:nvSpPr>
                <p:cNvPr id="208" name="Freeform 573">
                  <a:extLst>
                    <a:ext uri="{FF2B5EF4-FFF2-40B4-BE49-F238E27FC236}">
                      <a16:creationId xmlns:a16="http://schemas.microsoft.com/office/drawing/2014/main" id="{8561F5EC-85E6-1AEB-74EE-38EB5CB46B2C}"/>
                    </a:ext>
                  </a:extLst>
                </p:cNvPr>
                <p:cNvSpPr/>
                <p:nvPr/>
              </p:nvSpPr>
              <p:spPr>
                <a:xfrm>
                  <a:off x="8844067" y="3725240"/>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9" name="Freeform 574">
                  <a:extLst>
                    <a:ext uri="{FF2B5EF4-FFF2-40B4-BE49-F238E27FC236}">
                      <a16:creationId xmlns:a16="http://schemas.microsoft.com/office/drawing/2014/main" id="{06382673-D764-557B-2659-47E400BE8B31}"/>
                    </a:ext>
                  </a:extLst>
                </p:cNvPr>
                <p:cNvSpPr/>
                <p:nvPr/>
              </p:nvSpPr>
              <p:spPr>
                <a:xfrm>
                  <a:off x="8820956" y="3748370"/>
                  <a:ext cx="46222" cy="12708"/>
                </a:xfrm>
                <a:custGeom>
                  <a:avLst/>
                  <a:gdLst>
                    <a:gd name="csX0" fmla="*/ 0 w 46222"/>
                    <a:gd name="csY0" fmla="*/ 0 h 12708"/>
                    <a:gd name="csX1" fmla="*/ 46222 w 46222"/>
                    <a:gd name="csY1" fmla="*/ 0 h 12708"/>
                  </a:gdLst>
                  <a:ahLst/>
                  <a:cxnLst>
                    <a:cxn ang="0">
                      <a:pos x="csX0" y="csY0"/>
                    </a:cxn>
                    <a:cxn ang="0">
                      <a:pos x="csX1" y="csY1"/>
                    </a:cxn>
                  </a:cxnLst>
                  <a:rect l="l" t="t" r="r" b="b"/>
                  <a:pathLst>
                    <a:path w="46222" h="12708">
                      <a:moveTo>
                        <a:pt x="0" y="0"/>
                      </a:moveTo>
                      <a:lnTo>
                        <a:pt x="46222"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98" name="Graphic 4">
                <a:extLst>
                  <a:ext uri="{FF2B5EF4-FFF2-40B4-BE49-F238E27FC236}">
                    <a16:creationId xmlns:a16="http://schemas.microsoft.com/office/drawing/2014/main" id="{CD792ECA-711F-D2BD-2C5F-FEF8AC1F222E}"/>
                  </a:ext>
                </a:extLst>
              </p:cNvPr>
              <p:cNvGrpSpPr/>
              <p:nvPr/>
            </p:nvGrpSpPr>
            <p:grpSpPr>
              <a:xfrm>
                <a:off x="8811940" y="3725240"/>
                <a:ext cx="46095" cy="46259"/>
                <a:chOff x="8811940" y="3725240"/>
                <a:chExt cx="46095" cy="46259"/>
              </a:xfrm>
            </p:grpSpPr>
            <p:sp>
              <p:nvSpPr>
                <p:cNvPr id="206" name="Freeform 571">
                  <a:extLst>
                    <a:ext uri="{FF2B5EF4-FFF2-40B4-BE49-F238E27FC236}">
                      <a16:creationId xmlns:a16="http://schemas.microsoft.com/office/drawing/2014/main" id="{B9D38A0A-2B0E-5633-0FD3-C6317C0A698E}"/>
                    </a:ext>
                  </a:extLst>
                </p:cNvPr>
                <p:cNvSpPr/>
                <p:nvPr/>
              </p:nvSpPr>
              <p:spPr>
                <a:xfrm>
                  <a:off x="8834924" y="3725240"/>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7" name="Freeform 572">
                  <a:extLst>
                    <a:ext uri="{FF2B5EF4-FFF2-40B4-BE49-F238E27FC236}">
                      <a16:creationId xmlns:a16="http://schemas.microsoft.com/office/drawing/2014/main" id="{ED7CD147-B31A-7FBF-0DEC-4E4C49186B64}"/>
                    </a:ext>
                  </a:extLst>
                </p:cNvPr>
                <p:cNvSpPr/>
                <p:nvPr/>
              </p:nvSpPr>
              <p:spPr>
                <a:xfrm>
                  <a:off x="8811940" y="3748370"/>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99" name="Graphic 4">
                <a:extLst>
                  <a:ext uri="{FF2B5EF4-FFF2-40B4-BE49-F238E27FC236}">
                    <a16:creationId xmlns:a16="http://schemas.microsoft.com/office/drawing/2014/main" id="{FE3C1D0A-03C0-5A4D-D83A-000C8C9474E6}"/>
                  </a:ext>
                </a:extLst>
              </p:cNvPr>
              <p:cNvGrpSpPr/>
              <p:nvPr/>
            </p:nvGrpSpPr>
            <p:grpSpPr>
              <a:xfrm>
                <a:off x="8802797" y="3725240"/>
                <a:ext cx="46095" cy="46259"/>
                <a:chOff x="8802797" y="3725240"/>
                <a:chExt cx="46095" cy="46259"/>
              </a:xfrm>
            </p:grpSpPr>
            <p:sp>
              <p:nvSpPr>
                <p:cNvPr id="204" name="Freeform 569">
                  <a:extLst>
                    <a:ext uri="{FF2B5EF4-FFF2-40B4-BE49-F238E27FC236}">
                      <a16:creationId xmlns:a16="http://schemas.microsoft.com/office/drawing/2014/main" id="{F966C6B2-2F6C-24AC-47F4-2C10C215DC0D}"/>
                    </a:ext>
                  </a:extLst>
                </p:cNvPr>
                <p:cNvSpPr/>
                <p:nvPr/>
              </p:nvSpPr>
              <p:spPr>
                <a:xfrm>
                  <a:off x="8825908" y="3725240"/>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5" name="Freeform 570">
                  <a:extLst>
                    <a:ext uri="{FF2B5EF4-FFF2-40B4-BE49-F238E27FC236}">
                      <a16:creationId xmlns:a16="http://schemas.microsoft.com/office/drawing/2014/main" id="{33618F21-FF5F-2D22-0594-061EF5F987C4}"/>
                    </a:ext>
                  </a:extLst>
                </p:cNvPr>
                <p:cNvSpPr/>
                <p:nvPr/>
              </p:nvSpPr>
              <p:spPr>
                <a:xfrm>
                  <a:off x="8802797" y="3748370"/>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00" name="Graphic 4">
                <a:extLst>
                  <a:ext uri="{FF2B5EF4-FFF2-40B4-BE49-F238E27FC236}">
                    <a16:creationId xmlns:a16="http://schemas.microsoft.com/office/drawing/2014/main" id="{D2DF2EBC-9BC7-20B7-A9C3-641EF3BDEFFC}"/>
                  </a:ext>
                </a:extLst>
              </p:cNvPr>
              <p:cNvGrpSpPr/>
              <p:nvPr/>
            </p:nvGrpSpPr>
            <p:grpSpPr>
              <a:xfrm>
                <a:off x="8795559" y="3725240"/>
                <a:ext cx="46095" cy="46259"/>
                <a:chOff x="8795559" y="3725240"/>
                <a:chExt cx="46095" cy="46259"/>
              </a:xfrm>
            </p:grpSpPr>
            <p:sp>
              <p:nvSpPr>
                <p:cNvPr id="202" name="Freeform 567">
                  <a:extLst>
                    <a:ext uri="{FF2B5EF4-FFF2-40B4-BE49-F238E27FC236}">
                      <a16:creationId xmlns:a16="http://schemas.microsoft.com/office/drawing/2014/main" id="{20B447C3-E418-B3C4-C55D-C31255970356}"/>
                    </a:ext>
                  </a:extLst>
                </p:cNvPr>
                <p:cNvSpPr/>
                <p:nvPr/>
              </p:nvSpPr>
              <p:spPr>
                <a:xfrm>
                  <a:off x="8818543" y="3725240"/>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3" name="Freeform 568">
                  <a:extLst>
                    <a:ext uri="{FF2B5EF4-FFF2-40B4-BE49-F238E27FC236}">
                      <a16:creationId xmlns:a16="http://schemas.microsoft.com/office/drawing/2014/main" id="{117AFB69-D70E-8A29-2923-5FE87E0A6854}"/>
                    </a:ext>
                  </a:extLst>
                </p:cNvPr>
                <p:cNvSpPr/>
                <p:nvPr/>
              </p:nvSpPr>
              <p:spPr>
                <a:xfrm>
                  <a:off x="8795559" y="3748370"/>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01" name="Graphic 4">
                <a:extLst>
                  <a:ext uri="{FF2B5EF4-FFF2-40B4-BE49-F238E27FC236}">
                    <a16:creationId xmlns:a16="http://schemas.microsoft.com/office/drawing/2014/main" id="{DD2C9245-61DD-BC32-6785-342C043B7928}"/>
                  </a:ext>
                </a:extLst>
              </p:cNvPr>
              <p:cNvGrpSpPr/>
              <p:nvPr/>
            </p:nvGrpSpPr>
            <p:grpSpPr>
              <a:xfrm>
                <a:off x="8772448" y="3725240"/>
                <a:ext cx="46095" cy="46259"/>
                <a:chOff x="8772448" y="3725240"/>
                <a:chExt cx="46095" cy="46259"/>
              </a:xfrm>
            </p:grpSpPr>
            <p:sp>
              <p:nvSpPr>
                <p:cNvPr id="200" name="Freeform 565">
                  <a:extLst>
                    <a:ext uri="{FF2B5EF4-FFF2-40B4-BE49-F238E27FC236}">
                      <a16:creationId xmlns:a16="http://schemas.microsoft.com/office/drawing/2014/main" id="{6C3FC8B3-C657-4D30-F959-EEF66B6BD06F}"/>
                    </a:ext>
                  </a:extLst>
                </p:cNvPr>
                <p:cNvSpPr/>
                <p:nvPr/>
              </p:nvSpPr>
              <p:spPr>
                <a:xfrm>
                  <a:off x="8795559" y="3725240"/>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1" name="Freeform 566">
                  <a:extLst>
                    <a:ext uri="{FF2B5EF4-FFF2-40B4-BE49-F238E27FC236}">
                      <a16:creationId xmlns:a16="http://schemas.microsoft.com/office/drawing/2014/main" id="{1141D3E3-930C-26BF-FA85-FB2AA520997B}"/>
                    </a:ext>
                  </a:extLst>
                </p:cNvPr>
                <p:cNvSpPr/>
                <p:nvPr/>
              </p:nvSpPr>
              <p:spPr>
                <a:xfrm>
                  <a:off x="8772448" y="3748370"/>
                  <a:ext cx="46095" cy="12708"/>
                </a:xfrm>
                <a:custGeom>
                  <a:avLst/>
                  <a:gdLst>
                    <a:gd name="csX0" fmla="*/ 0 w 46095"/>
                    <a:gd name="csY0" fmla="*/ 0 h 12708"/>
                    <a:gd name="csX1" fmla="*/ 46096 w 46095"/>
                    <a:gd name="csY1" fmla="*/ 0 h 12708"/>
                  </a:gdLst>
                  <a:ahLst/>
                  <a:cxnLst>
                    <a:cxn ang="0">
                      <a:pos x="csX0" y="csY0"/>
                    </a:cxn>
                    <a:cxn ang="0">
                      <a:pos x="csX1" y="csY1"/>
                    </a:cxn>
                  </a:cxnLst>
                  <a:rect l="l" t="t" r="r" b="b"/>
                  <a:pathLst>
                    <a:path w="46095" h="12708">
                      <a:moveTo>
                        <a:pt x="0" y="0"/>
                      </a:moveTo>
                      <a:lnTo>
                        <a:pt x="46096"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02" name="Graphic 4">
                <a:extLst>
                  <a:ext uri="{FF2B5EF4-FFF2-40B4-BE49-F238E27FC236}">
                    <a16:creationId xmlns:a16="http://schemas.microsoft.com/office/drawing/2014/main" id="{8ADF0634-4DC1-F29D-348E-1F4B4D60A045}"/>
                  </a:ext>
                </a:extLst>
              </p:cNvPr>
              <p:cNvGrpSpPr/>
              <p:nvPr/>
            </p:nvGrpSpPr>
            <p:grpSpPr>
              <a:xfrm>
                <a:off x="8760130" y="3725240"/>
                <a:ext cx="46222" cy="46259"/>
                <a:chOff x="8760130" y="3725240"/>
                <a:chExt cx="46222" cy="46259"/>
              </a:xfrm>
            </p:grpSpPr>
            <p:sp>
              <p:nvSpPr>
                <p:cNvPr id="198" name="Freeform 563">
                  <a:extLst>
                    <a:ext uri="{FF2B5EF4-FFF2-40B4-BE49-F238E27FC236}">
                      <a16:creationId xmlns:a16="http://schemas.microsoft.com/office/drawing/2014/main" id="{F60484C7-D550-BEF4-689D-EC14E36D6F16}"/>
                    </a:ext>
                  </a:extLst>
                </p:cNvPr>
                <p:cNvSpPr/>
                <p:nvPr/>
              </p:nvSpPr>
              <p:spPr>
                <a:xfrm>
                  <a:off x="8783241" y="3725240"/>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9" name="Freeform 564">
                  <a:extLst>
                    <a:ext uri="{FF2B5EF4-FFF2-40B4-BE49-F238E27FC236}">
                      <a16:creationId xmlns:a16="http://schemas.microsoft.com/office/drawing/2014/main" id="{F59EF4E9-4329-F64E-99B4-F5B3E73387D8}"/>
                    </a:ext>
                  </a:extLst>
                </p:cNvPr>
                <p:cNvSpPr/>
                <p:nvPr/>
              </p:nvSpPr>
              <p:spPr>
                <a:xfrm>
                  <a:off x="8760130" y="3748370"/>
                  <a:ext cx="46222" cy="12708"/>
                </a:xfrm>
                <a:custGeom>
                  <a:avLst/>
                  <a:gdLst>
                    <a:gd name="csX0" fmla="*/ 0 w 46222"/>
                    <a:gd name="csY0" fmla="*/ 0 h 12708"/>
                    <a:gd name="csX1" fmla="*/ 46222 w 46222"/>
                    <a:gd name="csY1" fmla="*/ 0 h 12708"/>
                  </a:gdLst>
                  <a:ahLst/>
                  <a:cxnLst>
                    <a:cxn ang="0">
                      <a:pos x="csX0" y="csY0"/>
                    </a:cxn>
                    <a:cxn ang="0">
                      <a:pos x="csX1" y="csY1"/>
                    </a:cxn>
                  </a:cxnLst>
                  <a:rect l="l" t="t" r="r" b="b"/>
                  <a:pathLst>
                    <a:path w="46222" h="12708">
                      <a:moveTo>
                        <a:pt x="0" y="0"/>
                      </a:moveTo>
                      <a:lnTo>
                        <a:pt x="46222"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03" name="Graphic 4">
                <a:extLst>
                  <a:ext uri="{FF2B5EF4-FFF2-40B4-BE49-F238E27FC236}">
                    <a16:creationId xmlns:a16="http://schemas.microsoft.com/office/drawing/2014/main" id="{6B6833AA-21E3-E467-B0C4-E9EAFB54185A}"/>
                  </a:ext>
                </a:extLst>
              </p:cNvPr>
              <p:cNvGrpSpPr/>
              <p:nvPr/>
            </p:nvGrpSpPr>
            <p:grpSpPr>
              <a:xfrm>
                <a:off x="8716447" y="3725240"/>
                <a:ext cx="46222" cy="46259"/>
                <a:chOff x="8716447" y="3725240"/>
                <a:chExt cx="46222" cy="46259"/>
              </a:xfrm>
            </p:grpSpPr>
            <p:sp>
              <p:nvSpPr>
                <p:cNvPr id="196" name="Freeform 561">
                  <a:extLst>
                    <a:ext uri="{FF2B5EF4-FFF2-40B4-BE49-F238E27FC236}">
                      <a16:creationId xmlns:a16="http://schemas.microsoft.com/office/drawing/2014/main" id="{29604826-671C-CA18-DB0B-84E86D90A20E}"/>
                    </a:ext>
                  </a:extLst>
                </p:cNvPr>
                <p:cNvSpPr/>
                <p:nvPr/>
              </p:nvSpPr>
              <p:spPr>
                <a:xfrm>
                  <a:off x="8739559" y="3725240"/>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7" name="Freeform 562">
                  <a:extLst>
                    <a:ext uri="{FF2B5EF4-FFF2-40B4-BE49-F238E27FC236}">
                      <a16:creationId xmlns:a16="http://schemas.microsoft.com/office/drawing/2014/main" id="{528BCA3D-059F-A3FB-DD37-59C255129901}"/>
                    </a:ext>
                  </a:extLst>
                </p:cNvPr>
                <p:cNvSpPr/>
                <p:nvPr/>
              </p:nvSpPr>
              <p:spPr>
                <a:xfrm>
                  <a:off x="8716447" y="3748370"/>
                  <a:ext cx="46222" cy="12708"/>
                </a:xfrm>
                <a:custGeom>
                  <a:avLst/>
                  <a:gdLst>
                    <a:gd name="csX0" fmla="*/ 0 w 46222"/>
                    <a:gd name="csY0" fmla="*/ 0 h 12708"/>
                    <a:gd name="csX1" fmla="*/ 46222 w 46222"/>
                    <a:gd name="csY1" fmla="*/ 0 h 12708"/>
                  </a:gdLst>
                  <a:ahLst/>
                  <a:cxnLst>
                    <a:cxn ang="0">
                      <a:pos x="csX0" y="csY0"/>
                    </a:cxn>
                    <a:cxn ang="0">
                      <a:pos x="csX1" y="csY1"/>
                    </a:cxn>
                  </a:cxnLst>
                  <a:rect l="l" t="t" r="r" b="b"/>
                  <a:pathLst>
                    <a:path w="46222" h="12708">
                      <a:moveTo>
                        <a:pt x="0" y="0"/>
                      </a:moveTo>
                      <a:lnTo>
                        <a:pt x="46222"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04" name="Graphic 4">
                <a:extLst>
                  <a:ext uri="{FF2B5EF4-FFF2-40B4-BE49-F238E27FC236}">
                    <a16:creationId xmlns:a16="http://schemas.microsoft.com/office/drawing/2014/main" id="{EF5BB375-BB34-A3F8-BC06-954F7E2103CE}"/>
                  </a:ext>
                </a:extLst>
              </p:cNvPr>
              <p:cNvGrpSpPr/>
              <p:nvPr/>
            </p:nvGrpSpPr>
            <p:grpSpPr>
              <a:xfrm>
                <a:off x="8645209" y="3725240"/>
                <a:ext cx="46095" cy="46259"/>
                <a:chOff x="8645209" y="3725240"/>
                <a:chExt cx="46095" cy="46259"/>
              </a:xfrm>
            </p:grpSpPr>
            <p:sp>
              <p:nvSpPr>
                <p:cNvPr id="194" name="Freeform 559">
                  <a:extLst>
                    <a:ext uri="{FF2B5EF4-FFF2-40B4-BE49-F238E27FC236}">
                      <a16:creationId xmlns:a16="http://schemas.microsoft.com/office/drawing/2014/main" id="{1DF82935-B101-2014-B219-82A2B979F481}"/>
                    </a:ext>
                  </a:extLst>
                </p:cNvPr>
                <p:cNvSpPr/>
                <p:nvPr/>
              </p:nvSpPr>
              <p:spPr>
                <a:xfrm>
                  <a:off x="8668193" y="3725240"/>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5" name="Freeform 560">
                  <a:extLst>
                    <a:ext uri="{FF2B5EF4-FFF2-40B4-BE49-F238E27FC236}">
                      <a16:creationId xmlns:a16="http://schemas.microsoft.com/office/drawing/2014/main" id="{7370FFD6-6636-8271-F7E0-4060D966BCD7}"/>
                    </a:ext>
                  </a:extLst>
                </p:cNvPr>
                <p:cNvSpPr/>
                <p:nvPr/>
              </p:nvSpPr>
              <p:spPr>
                <a:xfrm>
                  <a:off x="8645209" y="3748370"/>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05" name="Graphic 4">
                <a:extLst>
                  <a:ext uri="{FF2B5EF4-FFF2-40B4-BE49-F238E27FC236}">
                    <a16:creationId xmlns:a16="http://schemas.microsoft.com/office/drawing/2014/main" id="{711E00E2-513F-6CFD-8BD5-9132D570DA66}"/>
                  </a:ext>
                </a:extLst>
              </p:cNvPr>
              <p:cNvGrpSpPr/>
              <p:nvPr/>
            </p:nvGrpSpPr>
            <p:grpSpPr>
              <a:xfrm>
                <a:off x="8480891" y="3725240"/>
                <a:ext cx="46222" cy="46259"/>
                <a:chOff x="8480891" y="3725240"/>
                <a:chExt cx="46222" cy="46259"/>
              </a:xfrm>
            </p:grpSpPr>
            <p:sp>
              <p:nvSpPr>
                <p:cNvPr id="192" name="Freeform 557">
                  <a:extLst>
                    <a:ext uri="{FF2B5EF4-FFF2-40B4-BE49-F238E27FC236}">
                      <a16:creationId xmlns:a16="http://schemas.microsoft.com/office/drawing/2014/main" id="{460ED049-B550-7955-C730-79C864FEBA01}"/>
                    </a:ext>
                  </a:extLst>
                </p:cNvPr>
                <p:cNvSpPr/>
                <p:nvPr/>
              </p:nvSpPr>
              <p:spPr>
                <a:xfrm>
                  <a:off x="8504002" y="3725240"/>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3" name="Freeform 558">
                  <a:extLst>
                    <a:ext uri="{FF2B5EF4-FFF2-40B4-BE49-F238E27FC236}">
                      <a16:creationId xmlns:a16="http://schemas.microsoft.com/office/drawing/2014/main" id="{53F423A1-473A-40CF-4494-EFA53DAE851D}"/>
                    </a:ext>
                  </a:extLst>
                </p:cNvPr>
                <p:cNvSpPr/>
                <p:nvPr/>
              </p:nvSpPr>
              <p:spPr>
                <a:xfrm>
                  <a:off x="8480891" y="3748370"/>
                  <a:ext cx="46222" cy="12708"/>
                </a:xfrm>
                <a:custGeom>
                  <a:avLst/>
                  <a:gdLst>
                    <a:gd name="csX0" fmla="*/ 0 w 46222"/>
                    <a:gd name="csY0" fmla="*/ 0 h 12708"/>
                    <a:gd name="csX1" fmla="*/ 46222 w 46222"/>
                    <a:gd name="csY1" fmla="*/ 0 h 12708"/>
                  </a:gdLst>
                  <a:ahLst/>
                  <a:cxnLst>
                    <a:cxn ang="0">
                      <a:pos x="csX0" y="csY0"/>
                    </a:cxn>
                    <a:cxn ang="0">
                      <a:pos x="csX1" y="csY1"/>
                    </a:cxn>
                  </a:cxnLst>
                  <a:rect l="l" t="t" r="r" b="b"/>
                  <a:pathLst>
                    <a:path w="46222" h="12708">
                      <a:moveTo>
                        <a:pt x="0" y="0"/>
                      </a:moveTo>
                      <a:lnTo>
                        <a:pt x="46222"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06" name="Graphic 4">
                <a:extLst>
                  <a:ext uri="{FF2B5EF4-FFF2-40B4-BE49-F238E27FC236}">
                    <a16:creationId xmlns:a16="http://schemas.microsoft.com/office/drawing/2014/main" id="{DCD7E2D0-409F-4F81-7D88-ECD78777DA76}"/>
                  </a:ext>
                </a:extLst>
              </p:cNvPr>
              <p:cNvGrpSpPr/>
              <p:nvPr/>
            </p:nvGrpSpPr>
            <p:grpSpPr>
              <a:xfrm>
                <a:off x="8472891" y="3725240"/>
                <a:ext cx="46095" cy="46259"/>
                <a:chOff x="8472891" y="3725240"/>
                <a:chExt cx="46095" cy="46259"/>
              </a:xfrm>
            </p:grpSpPr>
            <p:sp>
              <p:nvSpPr>
                <p:cNvPr id="190" name="Freeform 555">
                  <a:extLst>
                    <a:ext uri="{FF2B5EF4-FFF2-40B4-BE49-F238E27FC236}">
                      <a16:creationId xmlns:a16="http://schemas.microsoft.com/office/drawing/2014/main" id="{846E8382-6799-D4BE-B59A-68A5E4BEEA65}"/>
                    </a:ext>
                  </a:extLst>
                </p:cNvPr>
                <p:cNvSpPr/>
                <p:nvPr/>
              </p:nvSpPr>
              <p:spPr>
                <a:xfrm>
                  <a:off x="8496002" y="3725240"/>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1" name="Freeform 556">
                  <a:extLst>
                    <a:ext uri="{FF2B5EF4-FFF2-40B4-BE49-F238E27FC236}">
                      <a16:creationId xmlns:a16="http://schemas.microsoft.com/office/drawing/2014/main" id="{ED628AC1-1597-AA2A-6F07-5B86F9917726}"/>
                    </a:ext>
                  </a:extLst>
                </p:cNvPr>
                <p:cNvSpPr/>
                <p:nvPr/>
              </p:nvSpPr>
              <p:spPr>
                <a:xfrm>
                  <a:off x="8472891" y="3748370"/>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07" name="Graphic 4">
                <a:extLst>
                  <a:ext uri="{FF2B5EF4-FFF2-40B4-BE49-F238E27FC236}">
                    <a16:creationId xmlns:a16="http://schemas.microsoft.com/office/drawing/2014/main" id="{B21D47EB-EAF9-5A54-4821-DA3E9B369A69}"/>
                  </a:ext>
                </a:extLst>
              </p:cNvPr>
              <p:cNvGrpSpPr/>
              <p:nvPr/>
            </p:nvGrpSpPr>
            <p:grpSpPr>
              <a:xfrm>
                <a:off x="8412065" y="3725240"/>
                <a:ext cx="46095" cy="46259"/>
                <a:chOff x="8412065" y="3725240"/>
                <a:chExt cx="46095" cy="46259"/>
              </a:xfrm>
            </p:grpSpPr>
            <p:sp>
              <p:nvSpPr>
                <p:cNvPr id="188" name="Freeform 553">
                  <a:extLst>
                    <a:ext uri="{FF2B5EF4-FFF2-40B4-BE49-F238E27FC236}">
                      <a16:creationId xmlns:a16="http://schemas.microsoft.com/office/drawing/2014/main" id="{57C8FBBD-011B-FC10-D76B-32633D0D6B19}"/>
                    </a:ext>
                  </a:extLst>
                </p:cNvPr>
                <p:cNvSpPr/>
                <p:nvPr/>
              </p:nvSpPr>
              <p:spPr>
                <a:xfrm>
                  <a:off x="8435176" y="3725240"/>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9" name="Freeform 554">
                  <a:extLst>
                    <a:ext uri="{FF2B5EF4-FFF2-40B4-BE49-F238E27FC236}">
                      <a16:creationId xmlns:a16="http://schemas.microsoft.com/office/drawing/2014/main" id="{D8CDA425-77E4-BB20-E9F5-B0DED327325D}"/>
                    </a:ext>
                  </a:extLst>
                </p:cNvPr>
                <p:cNvSpPr/>
                <p:nvPr/>
              </p:nvSpPr>
              <p:spPr>
                <a:xfrm>
                  <a:off x="8412065" y="3748370"/>
                  <a:ext cx="46095" cy="12708"/>
                </a:xfrm>
                <a:custGeom>
                  <a:avLst/>
                  <a:gdLst>
                    <a:gd name="csX0" fmla="*/ 0 w 46095"/>
                    <a:gd name="csY0" fmla="*/ 0 h 12708"/>
                    <a:gd name="csX1" fmla="*/ 46096 w 46095"/>
                    <a:gd name="csY1" fmla="*/ 0 h 12708"/>
                  </a:gdLst>
                  <a:ahLst/>
                  <a:cxnLst>
                    <a:cxn ang="0">
                      <a:pos x="csX0" y="csY0"/>
                    </a:cxn>
                    <a:cxn ang="0">
                      <a:pos x="csX1" y="csY1"/>
                    </a:cxn>
                  </a:cxnLst>
                  <a:rect l="l" t="t" r="r" b="b"/>
                  <a:pathLst>
                    <a:path w="46095" h="12708">
                      <a:moveTo>
                        <a:pt x="0" y="0"/>
                      </a:moveTo>
                      <a:lnTo>
                        <a:pt x="46096"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08" name="Graphic 4">
                <a:extLst>
                  <a:ext uri="{FF2B5EF4-FFF2-40B4-BE49-F238E27FC236}">
                    <a16:creationId xmlns:a16="http://schemas.microsoft.com/office/drawing/2014/main" id="{C1F56D86-F98D-3A9A-F637-D744D06C2BEF}"/>
                  </a:ext>
                </a:extLst>
              </p:cNvPr>
              <p:cNvGrpSpPr/>
              <p:nvPr/>
            </p:nvGrpSpPr>
            <p:grpSpPr>
              <a:xfrm>
                <a:off x="8177144" y="3725240"/>
                <a:ext cx="46222" cy="46259"/>
                <a:chOff x="8177144" y="3725240"/>
                <a:chExt cx="46222" cy="46259"/>
              </a:xfrm>
            </p:grpSpPr>
            <p:sp>
              <p:nvSpPr>
                <p:cNvPr id="186" name="Freeform 551">
                  <a:extLst>
                    <a:ext uri="{FF2B5EF4-FFF2-40B4-BE49-F238E27FC236}">
                      <a16:creationId xmlns:a16="http://schemas.microsoft.com/office/drawing/2014/main" id="{BB80F52A-6ED3-3DC2-152F-3BEE26D537F7}"/>
                    </a:ext>
                  </a:extLst>
                </p:cNvPr>
                <p:cNvSpPr/>
                <p:nvPr/>
              </p:nvSpPr>
              <p:spPr>
                <a:xfrm>
                  <a:off x="8200255" y="3725240"/>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7" name="Freeform 552">
                  <a:extLst>
                    <a:ext uri="{FF2B5EF4-FFF2-40B4-BE49-F238E27FC236}">
                      <a16:creationId xmlns:a16="http://schemas.microsoft.com/office/drawing/2014/main" id="{78674744-817C-2224-7955-309FF14FE64A}"/>
                    </a:ext>
                  </a:extLst>
                </p:cNvPr>
                <p:cNvSpPr/>
                <p:nvPr/>
              </p:nvSpPr>
              <p:spPr>
                <a:xfrm>
                  <a:off x="8177144" y="3748370"/>
                  <a:ext cx="46222" cy="12708"/>
                </a:xfrm>
                <a:custGeom>
                  <a:avLst/>
                  <a:gdLst>
                    <a:gd name="csX0" fmla="*/ 0 w 46222"/>
                    <a:gd name="csY0" fmla="*/ 0 h 12708"/>
                    <a:gd name="csX1" fmla="*/ 46222 w 46222"/>
                    <a:gd name="csY1" fmla="*/ 0 h 12708"/>
                  </a:gdLst>
                  <a:ahLst/>
                  <a:cxnLst>
                    <a:cxn ang="0">
                      <a:pos x="csX0" y="csY0"/>
                    </a:cxn>
                    <a:cxn ang="0">
                      <a:pos x="csX1" y="csY1"/>
                    </a:cxn>
                  </a:cxnLst>
                  <a:rect l="l" t="t" r="r" b="b"/>
                  <a:pathLst>
                    <a:path w="46222" h="12708">
                      <a:moveTo>
                        <a:pt x="0" y="0"/>
                      </a:moveTo>
                      <a:lnTo>
                        <a:pt x="46222"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09" name="Graphic 4">
                <a:extLst>
                  <a:ext uri="{FF2B5EF4-FFF2-40B4-BE49-F238E27FC236}">
                    <a16:creationId xmlns:a16="http://schemas.microsoft.com/office/drawing/2014/main" id="{F7C547B2-0F0A-BB4D-D103-F1F19F0568F9}"/>
                  </a:ext>
                </a:extLst>
              </p:cNvPr>
              <p:cNvGrpSpPr/>
              <p:nvPr/>
            </p:nvGrpSpPr>
            <p:grpSpPr>
              <a:xfrm>
                <a:off x="8144001" y="3725240"/>
                <a:ext cx="46095" cy="46259"/>
                <a:chOff x="8144001" y="3725240"/>
                <a:chExt cx="46095" cy="46259"/>
              </a:xfrm>
            </p:grpSpPr>
            <p:sp>
              <p:nvSpPr>
                <p:cNvPr id="184" name="Freeform 549">
                  <a:extLst>
                    <a:ext uri="{FF2B5EF4-FFF2-40B4-BE49-F238E27FC236}">
                      <a16:creationId xmlns:a16="http://schemas.microsoft.com/office/drawing/2014/main" id="{68FE7A48-8C5A-805F-0B8E-1706F415F16C}"/>
                    </a:ext>
                  </a:extLst>
                </p:cNvPr>
                <p:cNvSpPr/>
                <p:nvPr/>
              </p:nvSpPr>
              <p:spPr>
                <a:xfrm>
                  <a:off x="8167112" y="3725240"/>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5" name="Freeform 550">
                  <a:extLst>
                    <a:ext uri="{FF2B5EF4-FFF2-40B4-BE49-F238E27FC236}">
                      <a16:creationId xmlns:a16="http://schemas.microsoft.com/office/drawing/2014/main" id="{46D00C30-42F9-97AC-8C03-28DE8DE459BE}"/>
                    </a:ext>
                  </a:extLst>
                </p:cNvPr>
                <p:cNvSpPr/>
                <p:nvPr/>
              </p:nvSpPr>
              <p:spPr>
                <a:xfrm>
                  <a:off x="8144001" y="3748370"/>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10" name="Graphic 4">
                <a:extLst>
                  <a:ext uri="{FF2B5EF4-FFF2-40B4-BE49-F238E27FC236}">
                    <a16:creationId xmlns:a16="http://schemas.microsoft.com/office/drawing/2014/main" id="{F8F6EFB3-5C3F-1E83-F886-A7487CE8C279}"/>
                  </a:ext>
                </a:extLst>
              </p:cNvPr>
              <p:cNvGrpSpPr/>
              <p:nvPr/>
            </p:nvGrpSpPr>
            <p:grpSpPr>
              <a:xfrm>
                <a:off x="8079746" y="3725240"/>
                <a:ext cx="46095" cy="46259"/>
                <a:chOff x="8079746" y="3725240"/>
                <a:chExt cx="46095" cy="46259"/>
              </a:xfrm>
            </p:grpSpPr>
            <p:sp>
              <p:nvSpPr>
                <p:cNvPr id="182" name="Freeform 547">
                  <a:extLst>
                    <a:ext uri="{FF2B5EF4-FFF2-40B4-BE49-F238E27FC236}">
                      <a16:creationId xmlns:a16="http://schemas.microsoft.com/office/drawing/2014/main" id="{2A611B76-AC14-8A7C-D18B-F44BAAE10522}"/>
                    </a:ext>
                  </a:extLst>
                </p:cNvPr>
                <p:cNvSpPr/>
                <p:nvPr/>
              </p:nvSpPr>
              <p:spPr>
                <a:xfrm>
                  <a:off x="8102730" y="3725240"/>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3" name="Freeform 548">
                  <a:extLst>
                    <a:ext uri="{FF2B5EF4-FFF2-40B4-BE49-F238E27FC236}">
                      <a16:creationId xmlns:a16="http://schemas.microsoft.com/office/drawing/2014/main" id="{BE976E7E-6DAD-7273-3C32-45A2D041912A}"/>
                    </a:ext>
                  </a:extLst>
                </p:cNvPr>
                <p:cNvSpPr/>
                <p:nvPr/>
              </p:nvSpPr>
              <p:spPr>
                <a:xfrm>
                  <a:off x="8079746" y="3748370"/>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11" name="Graphic 4">
                <a:extLst>
                  <a:ext uri="{FF2B5EF4-FFF2-40B4-BE49-F238E27FC236}">
                    <a16:creationId xmlns:a16="http://schemas.microsoft.com/office/drawing/2014/main" id="{B1349479-E7CE-7C27-9FB2-702B42C06B60}"/>
                  </a:ext>
                </a:extLst>
              </p:cNvPr>
              <p:cNvGrpSpPr/>
              <p:nvPr/>
            </p:nvGrpSpPr>
            <p:grpSpPr>
              <a:xfrm>
                <a:off x="8064635" y="3725240"/>
                <a:ext cx="46222" cy="46259"/>
                <a:chOff x="8064635" y="3725240"/>
                <a:chExt cx="46222" cy="46259"/>
              </a:xfrm>
            </p:grpSpPr>
            <p:sp>
              <p:nvSpPr>
                <p:cNvPr id="180" name="Freeform 545">
                  <a:extLst>
                    <a:ext uri="{FF2B5EF4-FFF2-40B4-BE49-F238E27FC236}">
                      <a16:creationId xmlns:a16="http://schemas.microsoft.com/office/drawing/2014/main" id="{D157B854-BDFE-1820-EA37-68193D385536}"/>
                    </a:ext>
                  </a:extLst>
                </p:cNvPr>
                <p:cNvSpPr/>
                <p:nvPr/>
              </p:nvSpPr>
              <p:spPr>
                <a:xfrm>
                  <a:off x="8087746" y="3725240"/>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1" name="Freeform 546">
                  <a:extLst>
                    <a:ext uri="{FF2B5EF4-FFF2-40B4-BE49-F238E27FC236}">
                      <a16:creationId xmlns:a16="http://schemas.microsoft.com/office/drawing/2014/main" id="{1FA19DF2-EB18-462A-D506-F9D70DC92486}"/>
                    </a:ext>
                  </a:extLst>
                </p:cNvPr>
                <p:cNvSpPr/>
                <p:nvPr/>
              </p:nvSpPr>
              <p:spPr>
                <a:xfrm>
                  <a:off x="8064635" y="3748370"/>
                  <a:ext cx="46222" cy="12708"/>
                </a:xfrm>
                <a:custGeom>
                  <a:avLst/>
                  <a:gdLst>
                    <a:gd name="csX0" fmla="*/ 0 w 46222"/>
                    <a:gd name="csY0" fmla="*/ 0 h 12708"/>
                    <a:gd name="csX1" fmla="*/ 46222 w 46222"/>
                    <a:gd name="csY1" fmla="*/ 0 h 12708"/>
                  </a:gdLst>
                  <a:ahLst/>
                  <a:cxnLst>
                    <a:cxn ang="0">
                      <a:pos x="csX0" y="csY0"/>
                    </a:cxn>
                    <a:cxn ang="0">
                      <a:pos x="csX1" y="csY1"/>
                    </a:cxn>
                  </a:cxnLst>
                  <a:rect l="l" t="t" r="r" b="b"/>
                  <a:pathLst>
                    <a:path w="46222" h="12708">
                      <a:moveTo>
                        <a:pt x="0" y="0"/>
                      </a:moveTo>
                      <a:lnTo>
                        <a:pt x="46222"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12" name="Graphic 4">
                <a:extLst>
                  <a:ext uri="{FF2B5EF4-FFF2-40B4-BE49-F238E27FC236}">
                    <a16:creationId xmlns:a16="http://schemas.microsoft.com/office/drawing/2014/main" id="{4E51CCD4-7ABF-1A3B-9C93-5022B406108B}"/>
                  </a:ext>
                </a:extLst>
              </p:cNvPr>
              <p:cNvGrpSpPr/>
              <p:nvPr/>
            </p:nvGrpSpPr>
            <p:grpSpPr>
              <a:xfrm>
                <a:off x="8047492" y="3725240"/>
                <a:ext cx="46222" cy="46259"/>
                <a:chOff x="8047492" y="3725240"/>
                <a:chExt cx="46222" cy="46259"/>
              </a:xfrm>
            </p:grpSpPr>
            <p:sp>
              <p:nvSpPr>
                <p:cNvPr id="178" name="Freeform 543">
                  <a:extLst>
                    <a:ext uri="{FF2B5EF4-FFF2-40B4-BE49-F238E27FC236}">
                      <a16:creationId xmlns:a16="http://schemas.microsoft.com/office/drawing/2014/main" id="{FFC7A77B-4CC4-BF16-FB33-800B7EA4F7DB}"/>
                    </a:ext>
                  </a:extLst>
                </p:cNvPr>
                <p:cNvSpPr/>
                <p:nvPr/>
              </p:nvSpPr>
              <p:spPr>
                <a:xfrm>
                  <a:off x="8070603" y="3725240"/>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9" name="Freeform 544">
                  <a:extLst>
                    <a:ext uri="{FF2B5EF4-FFF2-40B4-BE49-F238E27FC236}">
                      <a16:creationId xmlns:a16="http://schemas.microsoft.com/office/drawing/2014/main" id="{4199FD3F-0379-4035-94A0-E7EDD5020FEC}"/>
                    </a:ext>
                  </a:extLst>
                </p:cNvPr>
                <p:cNvSpPr/>
                <p:nvPr/>
              </p:nvSpPr>
              <p:spPr>
                <a:xfrm>
                  <a:off x="8047492" y="3748370"/>
                  <a:ext cx="46222" cy="12708"/>
                </a:xfrm>
                <a:custGeom>
                  <a:avLst/>
                  <a:gdLst>
                    <a:gd name="csX0" fmla="*/ 0 w 46222"/>
                    <a:gd name="csY0" fmla="*/ 0 h 12708"/>
                    <a:gd name="csX1" fmla="*/ 46222 w 46222"/>
                    <a:gd name="csY1" fmla="*/ 0 h 12708"/>
                  </a:gdLst>
                  <a:ahLst/>
                  <a:cxnLst>
                    <a:cxn ang="0">
                      <a:pos x="csX0" y="csY0"/>
                    </a:cxn>
                    <a:cxn ang="0">
                      <a:pos x="csX1" y="csY1"/>
                    </a:cxn>
                  </a:cxnLst>
                  <a:rect l="l" t="t" r="r" b="b"/>
                  <a:pathLst>
                    <a:path w="46222" h="12708">
                      <a:moveTo>
                        <a:pt x="0" y="0"/>
                      </a:moveTo>
                      <a:lnTo>
                        <a:pt x="46222"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13" name="Graphic 4">
                <a:extLst>
                  <a:ext uri="{FF2B5EF4-FFF2-40B4-BE49-F238E27FC236}">
                    <a16:creationId xmlns:a16="http://schemas.microsoft.com/office/drawing/2014/main" id="{381653FF-6530-75E5-DDFB-9D8BF073C912}"/>
                  </a:ext>
                </a:extLst>
              </p:cNvPr>
              <p:cNvGrpSpPr/>
              <p:nvPr/>
            </p:nvGrpSpPr>
            <p:grpSpPr>
              <a:xfrm>
                <a:off x="8026286" y="3699442"/>
                <a:ext cx="46095" cy="46132"/>
                <a:chOff x="8026286" y="3699442"/>
                <a:chExt cx="46095" cy="46132"/>
              </a:xfrm>
            </p:grpSpPr>
            <p:sp>
              <p:nvSpPr>
                <p:cNvPr id="176" name="Freeform 541">
                  <a:extLst>
                    <a:ext uri="{FF2B5EF4-FFF2-40B4-BE49-F238E27FC236}">
                      <a16:creationId xmlns:a16="http://schemas.microsoft.com/office/drawing/2014/main" id="{667D308F-683B-A29A-B130-26297B993124}"/>
                    </a:ext>
                  </a:extLst>
                </p:cNvPr>
                <p:cNvSpPr/>
                <p:nvPr/>
              </p:nvSpPr>
              <p:spPr>
                <a:xfrm>
                  <a:off x="8049270" y="3699442"/>
                  <a:ext cx="12698" cy="46132"/>
                </a:xfrm>
                <a:custGeom>
                  <a:avLst/>
                  <a:gdLst>
                    <a:gd name="csX0" fmla="*/ 0 w 12698"/>
                    <a:gd name="csY0" fmla="*/ 0 h 46132"/>
                    <a:gd name="csX1" fmla="*/ 0 w 12698"/>
                    <a:gd name="csY1" fmla="*/ 46132 h 46132"/>
                  </a:gdLst>
                  <a:ahLst/>
                  <a:cxnLst>
                    <a:cxn ang="0">
                      <a:pos x="csX0" y="csY0"/>
                    </a:cxn>
                    <a:cxn ang="0">
                      <a:pos x="csX1" y="csY1"/>
                    </a:cxn>
                  </a:cxnLst>
                  <a:rect l="l" t="t" r="r" b="b"/>
                  <a:pathLst>
                    <a:path w="12698" h="46132">
                      <a:moveTo>
                        <a:pt x="0" y="0"/>
                      </a:moveTo>
                      <a:lnTo>
                        <a:pt x="0" y="46132"/>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7" name="Freeform 542">
                  <a:extLst>
                    <a:ext uri="{FF2B5EF4-FFF2-40B4-BE49-F238E27FC236}">
                      <a16:creationId xmlns:a16="http://schemas.microsoft.com/office/drawing/2014/main" id="{1BCF671A-077C-BBFB-BA7D-B2D7C313A908}"/>
                    </a:ext>
                  </a:extLst>
                </p:cNvPr>
                <p:cNvSpPr/>
                <p:nvPr/>
              </p:nvSpPr>
              <p:spPr>
                <a:xfrm>
                  <a:off x="8026286" y="3722444"/>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14" name="Graphic 4">
                <a:extLst>
                  <a:ext uri="{FF2B5EF4-FFF2-40B4-BE49-F238E27FC236}">
                    <a16:creationId xmlns:a16="http://schemas.microsoft.com/office/drawing/2014/main" id="{55CDAF53-F7FA-77E4-8D40-F13F5A23B2A0}"/>
                  </a:ext>
                </a:extLst>
              </p:cNvPr>
              <p:cNvGrpSpPr/>
              <p:nvPr/>
            </p:nvGrpSpPr>
            <p:grpSpPr>
              <a:xfrm>
                <a:off x="8014349" y="3699442"/>
                <a:ext cx="46095" cy="46132"/>
                <a:chOff x="8014349" y="3699442"/>
                <a:chExt cx="46095" cy="46132"/>
              </a:xfrm>
            </p:grpSpPr>
            <p:sp>
              <p:nvSpPr>
                <p:cNvPr id="174" name="Freeform 539">
                  <a:extLst>
                    <a:ext uri="{FF2B5EF4-FFF2-40B4-BE49-F238E27FC236}">
                      <a16:creationId xmlns:a16="http://schemas.microsoft.com/office/drawing/2014/main" id="{C319AF71-C09E-3134-40E5-62613D413924}"/>
                    </a:ext>
                  </a:extLst>
                </p:cNvPr>
                <p:cNvSpPr/>
                <p:nvPr/>
              </p:nvSpPr>
              <p:spPr>
                <a:xfrm>
                  <a:off x="8037460" y="3699442"/>
                  <a:ext cx="12698" cy="46132"/>
                </a:xfrm>
                <a:custGeom>
                  <a:avLst/>
                  <a:gdLst>
                    <a:gd name="csX0" fmla="*/ 0 w 12698"/>
                    <a:gd name="csY0" fmla="*/ 0 h 46132"/>
                    <a:gd name="csX1" fmla="*/ 0 w 12698"/>
                    <a:gd name="csY1" fmla="*/ 46132 h 46132"/>
                  </a:gdLst>
                  <a:ahLst/>
                  <a:cxnLst>
                    <a:cxn ang="0">
                      <a:pos x="csX0" y="csY0"/>
                    </a:cxn>
                    <a:cxn ang="0">
                      <a:pos x="csX1" y="csY1"/>
                    </a:cxn>
                  </a:cxnLst>
                  <a:rect l="l" t="t" r="r" b="b"/>
                  <a:pathLst>
                    <a:path w="12698" h="46132">
                      <a:moveTo>
                        <a:pt x="0" y="0"/>
                      </a:moveTo>
                      <a:lnTo>
                        <a:pt x="0" y="46132"/>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5" name="Freeform 540">
                  <a:extLst>
                    <a:ext uri="{FF2B5EF4-FFF2-40B4-BE49-F238E27FC236}">
                      <a16:creationId xmlns:a16="http://schemas.microsoft.com/office/drawing/2014/main" id="{06840179-5E0E-E8FA-B3DD-311D0668ECF2}"/>
                    </a:ext>
                  </a:extLst>
                </p:cNvPr>
                <p:cNvSpPr/>
                <p:nvPr/>
              </p:nvSpPr>
              <p:spPr>
                <a:xfrm>
                  <a:off x="8014349" y="3722444"/>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15" name="Graphic 4">
                <a:extLst>
                  <a:ext uri="{FF2B5EF4-FFF2-40B4-BE49-F238E27FC236}">
                    <a16:creationId xmlns:a16="http://schemas.microsoft.com/office/drawing/2014/main" id="{3D3100D2-7046-9DDD-E221-3540E64E19E5}"/>
                  </a:ext>
                </a:extLst>
              </p:cNvPr>
              <p:cNvGrpSpPr/>
              <p:nvPr/>
            </p:nvGrpSpPr>
            <p:grpSpPr>
              <a:xfrm>
                <a:off x="8001397" y="3699442"/>
                <a:ext cx="46095" cy="46132"/>
                <a:chOff x="8001397" y="3699442"/>
                <a:chExt cx="46095" cy="46132"/>
              </a:xfrm>
            </p:grpSpPr>
            <p:sp>
              <p:nvSpPr>
                <p:cNvPr id="172" name="Freeform 537">
                  <a:extLst>
                    <a:ext uri="{FF2B5EF4-FFF2-40B4-BE49-F238E27FC236}">
                      <a16:creationId xmlns:a16="http://schemas.microsoft.com/office/drawing/2014/main" id="{A36DEC4D-7F07-980C-B4F0-EE864E45F61D}"/>
                    </a:ext>
                  </a:extLst>
                </p:cNvPr>
                <p:cNvSpPr/>
                <p:nvPr/>
              </p:nvSpPr>
              <p:spPr>
                <a:xfrm>
                  <a:off x="8024508" y="3699442"/>
                  <a:ext cx="12698" cy="46132"/>
                </a:xfrm>
                <a:custGeom>
                  <a:avLst/>
                  <a:gdLst>
                    <a:gd name="csX0" fmla="*/ 0 w 12698"/>
                    <a:gd name="csY0" fmla="*/ 0 h 46132"/>
                    <a:gd name="csX1" fmla="*/ 0 w 12698"/>
                    <a:gd name="csY1" fmla="*/ 46132 h 46132"/>
                  </a:gdLst>
                  <a:ahLst/>
                  <a:cxnLst>
                    <a:cxn ang="0">
                      <a:pos x="csX0" y="csY0"/>
                    </a:cxn>
                    <a:cxn ang="0">
                      <a:pos x="csX1" y="csY1"/>
                    </a:cxn>
                  </a:cxnLst>
                  <a:rect l="l" t="t" r="r" b="b"/>
                  <a:pathLst>
                    <a:path w="12698" h="46132">
                      <a:moveTo>
                        <a:pt x="0" y="0"/>
                      </a:moveTo>
                      <a:lnTo>
                        <a:pt x="0" y="46132"/>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3" name="Freeform 538">
                  <a:extLst>
                    <a:ext uri="{FF2B5EF4-FFF2-40B4-BE49-F238E27FC236}">
                      <a16:creationId xmlns:a16="http://schemas.microsoft.com/office/drawing/2014/main" id="{7AB6BB8E-2FF7-83F7-1A0F-8931D21933C5}"/>
                    </a:ext>
                  </a:extLst>
                </p:cNvPr>
                <p:cNvSpPr/>
                <p:nvPr/>
              </p:nvSpPr>
              <p:spPr>
                <a:xfrm>
                  <a:off x="8001397" y="3722444"/>
                  <a:ext cx="46095" cy="12708"/>
                </a:xfrm>
                <a:custGeom>
                  <a:avLst/>
                  <a:gdLst>
                    <a:gd name="csX0" fmla="*/ 0 w 46095"/>
                    <a:gd name="csY0" fmla="*/ 0 h 12708"/>
                    <a:gd name="csX1" fmla="*/ 46096 w 46095"/>
                    <a:gd name="csY1" fmla="*/ 0 h 12708"/>
                  </a:gdLst>
                  <a:ahLst/>
                  <a:cxnLst>
                    <a:cxn ang="0">
                      <a:pos x="csX0" y="csY0"/>
                    </a:cxn>
                    <a:cxn ang="0">
                      <a:pos x="csX1" y="csY1"/>
                    </a:cxn>
                  </a:cxnLst>
                  <a:rect l="l" t="t" r="r" b="b"/>
                  <a:pathLst>
                    <a:path w="46095" h="12708">
                      <a:moveTo>
                        <a:pt x="0" y="0"/>
                      </a:moveTo>
                      <a:lnTo>
                        <a:pt x="46096"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16" name="Graphic 4">
                <a:extLst>
                  <a:ext uri="{FF2B5EF4-FFF2-40B4-BE49-F238E27FC236}">
                    <a16:creationId xmlns:a16="http://schemas.microsoft.com/office/drawing/2014/main" id="{745D8213-8D5B-2B2F-228F-213C1035E5ED}"/>
                  </a:ext>
                </a:extLst>
              </p:cNvPr>
              <p:cNvGrpSpPr/>
              <p:nvPr/>
            </p:nvGrpSpPr>
            <p:grpSpPr>
              <a:xfrm>
                <a:off x="7692443" y="3699442"/>
                <a:ext cx="46095" cy="46132"/>
                <a:chOff x="7692443" y="3699442"/>
                <a:chExt cx="46095" cy="46132"/>
              </a:xfrm>
            </p:grpSpPr>
            <p:sp>
              <p:nvSpPr>
                <p:cNvPr id="170" name="Freeform 535">
                  <a:extLst>
                    <a:ext uri="{FF2B5EF4-FFF2-40B4-BE49-F238E27FC236}">
                      <a16:creationId xmlns:a16="http://schemas.microsoft.com/office/drawing/2014/main" id="{9F216F2A-5C27-04BC-9547-C6128AE6893F}"/>
                    </a:ext>
                  </a:extLst>
                </p:cNvPr>
                <p:cNvSpPr/>
                <p:nvPr/>
              </p:nvSpPr>
              <p:spPr>
                <a:xfrm>
                  <a:off x="7715554" y="3699442"/>
                  <a:ext cx="12698" cy="46132"/>
                </a:xfrm>
                <a:custGeom>
                  <a:avLst/>
                  <a:gdLst>
                    <a:gd name="csX0" fmla="*/ 0 w 12698"/>
                    <a:gd name="csY0" fmla="*/ 0 h 46132"/>
                    <a:gd name="csX1" fmla="*/ 0 w 12698"/>
                    <a:gd name="csY1" fmla="*/ 46132 h 46132"/>
                  </a:gdLst>
                  <a:ahLst/>
                  <a:cxnLst>
                    <a:cxn ang="0">
                      <a:pos x="csX0" y="csY0"/>
                    </a:cxn>
                    <a:cxn ang="0">
                      <a:pos x="csX1" y="csY1"/>
                    </a:cxn>
                  </a:cxnLst>
                  <a:rect l="l" t="t" r="r" b="b"/>
                  <a:pathLst>
                    <a:path w="12698" h="46132">
                      <a:moveTo>
                        <a:pt x="0" y="0"/>
                      </a:moveTo>
                      <a:lnTo>
                        <a:pt x="0" y="46132"/>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1" name="Freeform 536">
                  <a:extLst>
                    <a:ext uri="{FF2B5EF4-FFF2-40B4-BE49-F238E27FC236}">
                      <a16:creationId xmlns:a16="http://schemas.microsoft.com/office/drawing/2014/main" id="{37C6CC31-456A-88A4-1F79-C914759D712A}"/>
                    </a:ext>
                  </a:extLst>
                </p:cNvPr>
                <p:cNvSpPr/>
                <p:nvPr/>
              </p:nvSpPr>
              <p:spPr>
                <a:xfrm>
                  <a:off x="7692443" y="3722444"/>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17" name="Graphic 4">
                <a:extLst>
                  <a:ext uri="{FF2B5EF4-FFF2-40B4-BE49-F238E27FC236}">
                    <a16:creationId xmlns:a16="http://schemas.microsoft.com/office/drawing/2014/main" id="{C90F0D07-A4B2-6D00-BD4F-5446F1A852CF}"/>
                  </a:ext>
                </a:extLst>
              </p:cNvPr>
              <p:cNvGrpSpPr/>
              <p:nvPr/>
            </p:nvGrpSpPr>
            <p:grpSpPr>
              <a:xfrm>
                <a:off x="7433267" y="3674533"/>
                <a:ext cx="46095" cy="46259"/>
                <a:chOff x="7433267" y="3674533"/>
                <a:chExt cx="46095" cy="46259"/>
              </a:xfrm>
            </p:grpSpPr>
            <p:sp>
              <p:nvSpPr>
                <p:cNvPr id="168" name="Freeform 533">
                  <a:extLst>
                    <a:ext uri="{FF2B5EF4-FFF2-40B4-BE49-F238E27FC236}">
                      <a16:creationId xmlns:a16="http://schemas.microsoft.com/office/drawing/2014/main" id="{864D1FAA-E22F-8031-AF8F-1ED37539A985}"/>
                    </a:ext>
                  </a:extLst>
                </p:cNvPr>
                <p:cNvSpPr/>
                <p:nvPr/>
              </p:nvSpPr>
              <p:spPr>
                <a:xfrm>
                  <a:off x="7456251" y="3674533"/>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9" name="Freeform 534">
                  <a:extLst>
                    <a:ext uri="{FF2B5EF4-FFF2-40B4-BE49-F238E27FC236}">
                      <a16:creationId xmlns:a16="http://schemas.microsoft.com/office/drawing/2014/main" id="{96F68F6B-F8AC-B3B7-C45B-104F307B5ACD}"/>
                    </a:ext>
                  </a:extLst>
                </p:cNvPr>
                <p:cNvSpPr/>
                <p:nvPr/>
              </p:nvSpPr>
              <p:spPr>
                <a:xfrm>
                  <a:off x="7433267" y="3697663"/>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18" name="Graphic 4">
                <a:extLst>
                  <a:ext uri="{FF2B5EF4-FFF2-40B4-BE49-F238E27FC236}">
                    <a16:creationId xmlns:a16="http://schemas.microsoft.com/office/drawing/2014/main" id="{43B8E910-C831-34DF-85BB-4F5069B0BFDA}"/>
                  </a:ext>
                </a:extLst>
              </p:cNvPr>
              <p:cNvGrpSpPr/>
              <p:nvPr/>
            </p:nvGrpSpPr>
            <p:grpSpPr>
              <a:xfrm>
                <a:off x="7420061" y="3674533"/>
                <a:ext cx="46222" cy="46259"/>
                <a:chOff x="7420061" y="3674533"/>
                <a:chExt cx="46222" cy="46259"/>
              </a:xfrm>
            </p:grpSpPr>
            <p:sp>
              <p:nvSpPr>
                <p:cNvPr id="166" name="Freeform 531">
                  <a:extLst>
                    <a:ext uri="{FF2B5EF4-FFF2-40B4-BE49-F238E27FC236}">
                      <a16:creationId xmlns:a16="http://schemas.microsoft.com/office/drawing/2014/main" id="{CAB5E452-0500-4F30-20C1-090157B1BFC8}"/>
                    </a:ext>
                  </a:extLst>
                </p:cNvPr>
                <p:cNvSpPr/>
                <p:nvPr/>
              </p:nvSpPr>
              <p:spPr>
                <a:xfrm>
                  <a:off x="7443172" y="3674533"/>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7" name="Freeform 532">
                  <a:extLst>
                    <a:ext uri="{FF2B5EF4-FFF2-40B4-BE49-F238E27FC236}">
                      <a16:creationId xmlns:a16="http://schemas.microsoft.com/office/drawing/2014/main" id="{9297379D-8EEC-C33E-B69A-0A553628F62B}"/>
                    </a:ext>
                  </a:extLst>
                </p:cNvPr>
                <p:cNvSpPr/>
                <p:nvPr/>
              </p:nvSpPr>
              <p:spPr>
                <a:xfrm>
                  <a:off x="7420061" y="3697663"/>
                  <a:ext cx="46222" cy="12708"/>
                </a:xfrm>
                <a:custGeom>
                  <a:avLst/>
                  <a:gdLst>
                    <a:gd name="csX0" fmla="*/ 0 w 46222"/>
                    <a:gd name="csY0" fmla="*/ 0 h 12708"/>
                    <a:gd name="csX1" fmla="*/ 46222 w 46222"/>
                    <a:gd name="csY1" fmla="*/ 0 h 12708"/>
                  </a:gdLst>
                  <a:ahLst/>
                  <a:cxnLst>
                    <a:cxn ang="0">
                      <a:pos x="csX0" y="csY0"/>
                    </a:cxn>
                    <a:cxn ang="0">
                      <a:pos x="csX1" y="csY1"/>
                    </a:cxn>
                  </a:cxnLst>
                  <a:rect l="l" t="t" r="r" b="b"/>
                  <a:pathLst>
                    <a:path w="46222" h="12708">
                      <a:moveTo>
                        <a:pt x="0" y="0"/>
                      </a:moveTo>
                      <a:lnTo>
                        <a:pt x="46222"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19" name="Graphic 4">
                <a:extLst>
                  <a:ext uri="{FF2B5EF4-FFF2-40B4-BE49-F238E27FC236}">
                    <a16:creationId xmlns:a16="http://schemas.microsoft.com/office/drawing/2014/main" id="{994DE69C-31EB-6CFD-FE92-68D1701E6B49}"/>
                  </a:ext>
                </a:extLst>
              </p:cNvPr>
              <p:cNvGrpSpPr/>
              <p:nvPr/>
            </p:nvGrpSpPr>
            <p:grpSpPr>
              <a:xfrm>
                <a:off x="7375235" y="3674533"/>
                <a:ext cx="46222" cy="46259"/>
                <a:chOff x="7375235" y="3674533"/>
                <a:chExt cx="46222" cy="46259"/>
              </a:xfrm>
            </p:grpSpPr>
            <p:sp>
              <p:nvSpPr>
                <p:cNvPr id="164" name="Freeform 529">
                  <a:extLst>
                    <a:ext uri="{FF2B5EF4-FFF2-40B4-BE49-F238E27FC236}">
                      <a16:creationId xmlns:a16="http://schemas.microsoft.com/office/drawing/2014/main" id="{9A93AF68-C201-DD2C-DBED-A68E341F3AF6}"/>
                    </a:ext>
                  </a:extLst>
                </p:cNvPr>
                <p:cNvSpPr/>
                <p:nvPr/>
              </p:nvSpPr>
              <p:spPr>
                <a:xfrm>
                  <a:off x="7398346" y="3674533"/>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5" name="Freeform 530">
                  <a:extLst>
                    <a:ext uri="{FF2B5EF4-FFF2-40B4-BE49-F238E27FC236}">
                      <a16:creationId xmlns:a16="http://schemas.microsoft.com/office/drawing/2014/main" id="{C9A1D0F1-FD11-B814-33A3-C47E3729E297}"/>
                    </a:ext>
                  </a:extLst>
                </p:cNvPr>
                <p:cNvSpPr/>
                <p:nvPr/>
              </p:nvSpPr>
              <p:spPr>
                <a:xfrm>
                  <a:off x="7375235" y="3697663"/>
                  <a:ext cx="46222" cy="12708"/>
                </a:xfrm>
                <a:custGeom>
                  <a:avLst/>
                  <a:gdLst>
                    <a:gd name="csX0" fmla="*/ 0 w 46222"/>
                    <a:gd name="csY0" fmla="*/ 0 h 12708"/>
                    <a:gd name="csX1" fmla="*/ 46222 w 46222"/>
                    <a:gd name="csY1" fmla="*/ 0 h 12708"/>
                  </a:gdLst>
                  <a:ahLst/>
                  <a:cxnLst>
                    <a:cxn ang="0">
                      <a:pos x="csX0" y="csY0"/>
                    </a:cxn>
                    <a:cxn ang="0">
                      <a:pos x="csX1" y="csY1"/>
                    </a:cxn>
                  </a:cxnLst>
                  <a:rect l="l" t="t" r="r" b="b"/>
                  <a:pathLst>
                    <a:path w="46222" h="12708">
                      <a:moveTo>
                        <a:pt x="0" y="0"/>
                      </a:moveTo>
                      <a:lnTo>
                        <a:pt x="46222"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20" name="Graphic 4">
                <a:extLst>
                  <a:ext uri="{FF2B5EF4-FFF2-40B4-BE49-F238E27FC236}">
                    <a16:creationId xmlns:a16="http://schemas.microsoft.com/office/drawing/2014/main" id="{DF542D7E-9CE3-5F35-C56B-9CC8A4C9FFE8}"/>
                  </a:ext>
                </a:extLst>
              </p:cNvPr>
              <p:cNvGrpSpPr/>
              <p:nvPr/>
            </p:nvGrpSpPr>
            <p:grpSpPr>
              <a:xfrm>
                <a:off x="6835550" y="3559139"/>
                <a:ext cx="46095" cy="46132"/>
                <a:chOff x="6835550" y="3559139"/>
                <a:chExt cx="46095" cy="46132"/>
              </a:xfrm>
            </p:grpSpPr>
            <p:sp>
              <p:nvSpPr>
                <p:cNvPr id="162" name="Freeform 527">
                  <a:extLst>
                    <a:ext uri="{FF2B5EF4-FFF2-40B4-BE49-F238E27FC236}">
                      <a16:creationId xmlns:a16="http://schemas.microsoft.com/office/drawing/2014/main" id="{31C1D4C9-1D00-C6C0-C949-BB55582CEEAD}"/>
                    </a:ext>
                  </a:extLst>
                </p:cNvPr>
                <p:cNvSpPr/>
                <p:nvPr/>
              </p:nvSpPr>
              <p:spPr>
                <a:xfrm>
                  <a:off x="6858662" y="3559139"/>
                  <a:ext cx="12698" cy="46132"/>
                </a:xfrm>
                <a:custGeom>
                  <a:avLst/>
                  <a:gdLst>
                    <a:gd name="csX0" fmla="*/ 0 w 12698"/>
                    <a:gd name="csY0" fmla="*/ 0 h 46132"/>
                    <a:gd name="csX1" fmla="*/ 0 w 12698"/>
                    <a:gd name="csY1" fmla="*/ 46132 h 46132"/>
                  </a:gdLst>
                  <a:ahLst/>
                  <a:cxnLst>
                    <a:cxn ang="0">
                      <a:pos x="csX0" y="csY0"/>
                    </a:cxn>
                    <a:cxn ang="0">
                      <a:pos x="csX1" y="csY1"/>
                    </a:cxn>
                  </a:cxnLst>
                  <a:rect l="l" t="t" r="r" b="b"/>
                  <a:pathLst>
                    <a:path w="12698" h="46132">
                      <a:moveTo>
                        <a:pt x="0" y="0"/>
                      </a:moveTo>
                      <a:lnTo>
                        <a:pt x="0" y="46132"/>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3" name="Freeform 528">
                  <a:extLst>
                    <a:ext uri="{FF2B5EF4-FFF2-40B4-BE49-F238E27FC236}">
                      <a16:creationId xmlns:a16="http://schemas.microsoft.com/office/drawing/2014/main" id="{4D21F78F-A1C5-F1CF-3B6E-D958B9C80018}"/>
                    </a:ext>
                  </a:extLst>
                </p:cNvPr>
                <p:cNvSpPr/>
                <p:nvPr/>
              </p:nvSpPr>
              <p:spPr>
                <a:xfrm>
                  <a:off x="6835550" y="3582269"/>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21" name="Graphic 4">
                <a:extLst>
                  <a:ext uri="{FF2B5EF4-FFF2-40B4-BE49-F238E27FC236}">
                    <a16:creationId xmlns:a16="http://schemas.microsoft.com/office/drawing/2014/main" id="{0F96BE61-A6DC-D1A1-6EE4-7439050F4DD5}"/>
                  </a:ext>
                </a:extLst>
              </p:cNvPr>
              <p:cNvGrpSpPr/>
              <p:nvPr/>
            </p:nvGrpSpPr>
            <p:grpSpPr>
              <a:xfrm>
                <a:off x="6651296" y="3467129"/>
                <a:ext cx="46095" cy="46132"/>
                <a:chOff x="6651296" y="3467129"/>
                <a:chExt cx="46095" cy="46132"/>
              </a:xfrm>
            </p:grpSpPr>
            <p:sp>
              <p:nvSpPr>
                <p:cNvPr id="160" name="Freeform 525">
                  <a:extLst>
                    <a:ext uri="{FF2B5EF4-FFF2-40B4-BE49-F238E27FC236}">
                      <a16:creationId xmlns:a16="http://schemas.microsoft.com/office/drawing/2014/main" id="{987125E9-96AC-6C5A-1F14-15FF89B58092}"/>
                    </a:ext>
                  </a:extLst>
                </p:cNvPr>
                <p:cNvSpPr/>
                <p:nvPr/>
              </p:nvSpPr>
              <p:spPr>
                <a:xfrm>
                  <a:off x="6674407" y="3467129"/>
                  <a:ext cx="12698" cy="46132"/>
                </a:xfrm>
                <a:custGeom>
                  <a:avLst/>
                  <a:gdLst>
                    <a:gd name="csX0" fmla="*/ 0 w 12698"/>
                    <a:gd name="csY0" fmla="*/ 0 h 46132"/>
                    <a:gd name="csX1" fmla="*/ 0 w 12698"/>
                    <a:gd name="csY1" fmla="*/ 46132 h 46132"/>
                  </a:gdLst>
                  <a:ahLst/>
                  <a:cxnLst>
                    <a:cxn ang="0">
                      <a:pos x="csX0" y="csY0"/>
                    </a:cxn>
                    <a:cxn ang="0">
                      <a:pos x="csX1" y="csY1"/>
                    </a:cxn>
                  </a:cxnLst>
                  <a:rect l="l" t="t" r="r" b="b"/>
                  <a:pathLst>
                    <a:path w="12698" h="46132">
                      <a:moveTo>
                        <a:pt x="0" y="0"/>
                      </a:moveTo>
                      <a:lnTo>
                        <a:pt x="0" y="46132"/>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1" name="Freeform 526">
                  <a:extLst>
                    <a:ext uri="{FF2B5EF4-FFF2-40B4-BE49-F238E27FC236}">
                      <a16:creationId xmlns:a16="http://schemas.microsoft.com/office/drawing/2014/main" id="{89D93A05-0DD8-0496-F356-39EE701BB12B}"/>
                    </a:ext>
                  </a:extLst>
                </p:cNvPr>
                <p:cNvSpPr/>
                <p:nvPr/>
              </p:nvSpPr>
              <p:spPr>
                <a:xfrm>
                  <a:off x="6651296" y="3490259"/>
                  <a:ext cx="46095" cy="12708"/>
                </a:xfrm>
                <a:custGeom>
                  <a:avLst/>
                  <a:gdLst>
                    <a:gd name="csX0" fmla="*/ 0 w 46095"/>
                    <a:gd name="csY0" fmla="*/ 0 h 12708"/>
                    <a:gd name="csX1" fmla="*/ 46096 w 46095"/>
                    <a:gd name="csY1" fmla="*/ 0 h 12708"/>
                  </a:gdLst>
                  <a:ahLst/>
                  <a:cxnLst>
                    <a:cxn ang="0">
                      <a:pos x="csX0" y="csY0"/>
                    </a:cxn>
                    <a:cxn ang="0">
                      <a:pos x="csX1" y="csY1"/>
                    </a:cxn>
                  </a:cxnLst>
                  <a:rect l="l" t="t" r="r" b="b"/>
                  <a:pathLst>
                    <a:path w="46095" h="12708">
                      <a:moveTo>
                        <a:pt x="0" y="0"/>
                      </a:moveTo>
                      <a:lnTo>
                        <a:pt x="46096"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22" name="Graphic 4">
                <a:extLst>
                  <a:ext uri="{FF2B5EF4-FFF2-40B4-BE49-F238E27FC236}">
                    <a16:creationId xmlns:a16="http://schemas.microsoft.com/office/drawing/2014/main" id="{8F753B91-66BA-3CD2-CCB9-F3B9CDF7E4AE}"/>
                  </a:ext>
                </a:extLst>
              </p:cNvPr>
              <p:cNvGrpSpPr/>
              <p:nvPr/>
            </p:nvGrpSpPr>
            <p:grpSpPr>
              <a:xfrm>
                <a:off x="6556946" y="3467129"/>
                <a:ext cx="46095" cy="46132"/>
                <a:chOff x="6556946" y="3467129"/>
                <a:chExt cx="46095" cy="46132"/>
              </a:xfrm>
            </p:grpSpPr>
            <p:sp>
              <p:nvSpPr>
                <p:cNvPr id="158" name="Freeform 523">
                  <a:extLst>
                    <a:ext uri="{FF2B5EF4-FFF2-40B4-BE49-F238E27FC236}">
                      <a16:creationId xmlns:a16="http://schemas.microsoft.com/office/drawing/2014/main" id="{F78D2F6A-25F2-5646-3F7A-BADD03DE5652}"/>
                    </a:ext>
                  </a:extLst>
                </p:cNvPr>
                <p:cNvSpPr/>
                <p:nvPr/>
              </p:nvSpPr>
              <p:spPr>
                <a:xfrm>
                  <a:off x="6580057" y="3467129"/>
                  <a:ext cx="12698" cy="46132"/>
                </a:xfrm>
                <a:custGeom>
                  <a:avLst/>
                  <a:gdLst>
                    <a:gd name="csX0" fmla="*/ 0 w 12698"/>
                    <a:gd name="csY0" fmla="*/ 0 h 46132"/>
                    <a:gd name="csX1" fmla="*/ 0 w 12698"/>
                    <a:gd name="csY1" fmla="*/ 46132 h 46132"/>
                  </a:gdLst>
                  <a:ahLst/>
                  <a:cxnLst>
                    <a:cxn ang="0">
                      <a:pos x="csX0" y="csY0"/>
                    </a:cxn>
                    <a:cxn ang="0">
                      <a:pos x="csX1" y="csY1"/>
                    </a:cxn>
                  </a:cxnLst>
                  <a:rect l="l" t="t" r="r" b="b"/>
                  <a:pathLst>
                    <a:path w="12698" h="46132">
                      <a:moveTo>
                        <a:pt x="0" y="0"/>
                      </a:moveTo>
                      <a:lnTo>
                        <a:pt x="0" y="46132"/>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9" name="Freeform 524">
                  <a:extLst>
                    <a:ext uri="{FF2B5EF4-FFF2-40B4-BE49-F238E27FC236}">
                      <a16:creationId xmlns:a16="http://schemas.microsoft.com/office/drawing/2014/main" id="{091614DD-9EEB-2AD2-BFCF-67129EEEF621}"/>
                    </a:ext>
                  </a:extLst>
                </p:cNvPr>
                <p:cNvSpPr/>
                <p:nvPr/>
              </p:nvSpPr>
              <p:spPr>
                <a:xfrm>
                  <a:off x="6556946" y="3490259"/>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23" name="Graphic 4">
                <a:extLst>
                  <a:ext uri="{FF2B5EF4-FFF2-40B4-BE49-F238E27FC236}">
                    <a16:creationId xmlns:a16="http://schemas.microsoft.com/office/drawing/2014/main" id="{A87D8DEA-15EA-1C56-1FAF-23EE8DEC3816}"/>
                  </a:ext>
                </a:extLst>
              </p:cNvPr>
              <p:cNvGrpSpPr/>
              <p:nvPr/>
            </p:nvGrpSpPr>
            <p:grpSpPr>
              <a:xfrm>
                <a:off x="6470596" y="3425191"/>
                <a:ext cx="46095" cy="46132"/>
                <a:chOff x="6470596" y="3425191"/>
                <a:chExt cx="46095" cy="46132"/>
              </a:xfrm>
            </p:grpSpPr>
            <p:sp>
              <p:nvSpPr>
                <p:cNvPr id="156" name="Freeform 521">
                  <a:extLst>
                    <a:ext uri="{FF2B5EF4-FFF2-40B4-BE49-F238E27FC236}">
                      <a16:creationId xmlns:a16="http://schemas.microsoft.com/office/drawing/2014/main" id="{507DB99B-7785-996F-D69F-75229133B6A3}"/>
                    </a:ext>
                  </a:extLst>
                </p:cNvPr>
                <p:cNvSpPr/>
                <p:nvPr/>
              </p:nvSpPr>
              <p:spPr>
                <a:xfrm>
                  <a:off x="6493708" y="3425191"/>
                  <a:ext cx="12698" cy="46132"/>
                </a:xfrm>
                <a:custGeom>
                  <a:avLst/>
                  <a:gdLst>
                    <a:gd name="csX0" fmla="*/ 0 w 12698"/>
                    <a:gd name="csY0" fmla="*/ 0 h 46132"/>
                    <a:gd name="csX1" fmla="*/ 0 w 12698"/>
                    <a:gd name="csY1" fmla="*/ 46132 h 46132"/>
                  </a:gdLst>
                  <a:ahLst/>
                  <a:cxnLst>
                    <a:cxn ang="0">
                      <a:pos x="csX0" y="csY0"/>
                    </a:cxn>
                    <a:cxn ang="0">
                      <a:pos x="csX1" y="csY1"/>
                    </a:cxn>
                  </a:cxnLst>
                  <a:rect l="l" t="t" r="r" b="b"/>
                  <a:pathLst>
                    <a:path w="12698" h="46132">
                      <a:moveTo>
                        <a:pt x="0" y="0"/>
                      </a:moveTo>
                      <a:lnTo>
                        <a:pt x="0" y="46132"/>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7" name="Freeform 522">
                  <a:extLst>
                    <a:ext uri="{FF2B5EF4-FFF2-40B4-BE49-F238E27FC236}">
                      <a16:creationId xmlns:a16="http://schemas.microsoft.com/office/drawing/2014/main" id="{55177935-D50B-0549-697E-4326A1373383}"/>
                    </a:ext>
                  </a:extLst>
                </p:cNvPr>
                <p:cNvSpPr/>
                <p:nvPr/>
              </p:nvSpPr>
              <p:spPr>
                <a:xfrm>
                  <a:off x="6470596" y="3448321"/>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24" name="Graphic 4">
                <a:extLst>
                  <a:ext uri="{FF2B5EF4-FFF2-40B4-BE49-F238E27FC236}">
                    <a16:creationId xmlns:a16="http://schemas.microsoft.com/office/drawing/2014/main" id="{9FE98105-A3BF-7067-8C2C-88D86EA61D33}"/>
                  </a:ext>
                </a:extLst>
              </p:cNvPr>
              <p:cNvGrpSpPr/>
              <p:nvPr/>
            </p:nvGrpSpPr>
            <p:grpSpPr>
              <a:xfrm>
                <a:off x="6397580" y="3425191"/>
                <a:ext cx="46095" cy="46132"/>
                <a:chOff x="6397580" y="3425191"/>
                <a:chExt cx="46095" cy="46132"/>
              </a:xfrm>
            </p:grpSpPr>
            <p:sp>
              <p:nvSpPr>
                <p:cNvPr id="154" name="Freeform 519">
                  <a:extLst>
                    <a:ext uri="{FF2B5EF4-FFF2-40B4-BE49-F238E27FC236}">
                      <a16:creationId xmlns:a16="http://schemas.microsoft.com/office/drawing/2014/main" id="{F73FA73D-63CB-FB58-63E2-DB2FF7DEAA66}"/>
                    </a:ext>
                  </a:extLst>
                </p:cNvPr>
                <p:cNvSpPr/>
                <p:nvPr/>
              </p:nvSpPr>
              <p:spPr>
                <a:xfrm>
                  <a:off x="6420564" y="3425191"/>
                  <a:ext cx="12698" cy="46132"/>
                </a:xfrm>
                <a:custGeom>
                  <a:avLst/>
                  <a:gdLst>
                    <a:gd name="csX0" fmla="*/ 0 w 12698"/>
                    <a:gd name="csY0" fmla="*/ 0 h 46132"/>
                    <a:gd name="csX1" fmla="*/ 0 w 12698"/>
                    <a:gd name="csY1" fmla="*/ 46132 h 46132"/>
                  </a:gdLst>
                  <a:ahLst/>
                  <a:cxnLst>
                    <a:cxn ang="0">
                      <a:pos x="csX0" y="csY0"/>
                    </a:cxn>
                    <a:cxn ang="0">
                      <a:pos x="csX1" y="csY1"/>
                    </a:cxn>
                  </a:cxnLst>
                  <a:rect l="l" t="t" r="r" b="b"/>
                  <a:pathLst>
                    <a:path w="12698" h="46132">
                      <a:moveTo>
                        <a:pt x="0" y="0"/>
                      </a:moveTo>
                      <a:lnTo>
                        <a:pt x="0" y="46132"/>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5" name="Freeform 520">
                  <a:extLst>
                    <a:ext uri="{FF2B5EF4-FFF2-40B4-BE49-F238E27FC236}">
                      <a16:creationId xmlns:a16="http://schemas.microsoft.com/office/drawing/2014/main" id="{4C05A1D4-0B90-11D5-5DD2-8F68F4E90E12}"/>
                    </a:ext>
                  </a:extLst>
                </p:cNvPr>
                <p:cNvSpPr/>
                <p:nvPr/>
              </p:nvSpPr>
              <p:spPr>
                <a:xfrm>
                  <a:off x="6397580" y="3448321"/>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25" name="Graphic 4">
                <a:extLst>
                  <a:ext uri="{FF2B5EF4-FFF2-40B4-BE49-F238E27FC236}">
                    <a16:creationId xmlns:a16="http://schemas.microsoft.com/office/drawing/2014/main" id="{4AE931D3-6D67-7130-7C04-85102D237AC7}"/>
                  </a:ext>
                </a:extLst>
              </p:cNvPr>
              <p:cNvGrpSpPr/>
              <p:nvPr/>
            </p:nvGrpSpPr>
            <p:grpSpPr>
              <a:xfrm>
                <a:off x="6181960" y="3363300"/>
                <a:ext cx="46095" cy="46132"/>
                <a:chOff x="6181960" y="3363300"/>
                <a:chExt cx="46095" cy="46132"/>
              </a:xfrm>
            </p:grpSpPr>
            <p:sp>
              <p:nvSpPr>
                <p:cNvPr id="152" name="Freeform 517">
                  <a:extLst>
                    <a:ext uri="{FF2B5EF4-FFF2-40B4-BE49-F238E27FC236}">
                      <a16:creationId xmlns:a16="http://schemas.microsoft.com/office/drawing/2014/main" id="{5C1F5CE2-AD84-D034-2497-05EAC761C0EA}"/>
                    </a:ext>
                  </a:extLst>
                </p:cNvPr>
                <p:cNvSpPr/>
                <p:nvPr/>
              </p:nvSpPr>
              <p:spPr>
                <a:xfrm>
                  <a:off x="6204944" y="3363300"/>
                  <a:ext cx="12698" cy="46132"/>
                </a:xfrm>
                <a:custGeom>
                  <a:avLst/>
                  <a:gdLst>
                    <a:gd name="csX0" fmla="*/ 0 w 12698"/>
                    <a:gd name="csY0" fmla="*/ 0 h 46132"/>
                    <a:gd name="csX1" fmla="*/ 0 w 12698"/>
                    <a:gd name="csY1" fmla="*/ 46132 h 46132"/>
                  </a:gdLst>
                  <a:ahLst/>
                  <a:cxnLst>
                    <a:cxn ang="0">
                      <a:pos x="csX0" y="csY0"/>
                    </a:cxn>
                    <a:cxn ang="0">
                      <a:pos x="csX1" y="csY1"/>
                    </a:cxn>
                  </a:cxnLst>
                  <a:rect l="l" t="t" r="r" b="b"/>
                  <a:pathLst>
                    <a:path w="12698" h="46132">
                      <a:moveTo>
                        <a:pt x="0" y="0"/>
                      </a:moveTo>
                      <a:lnTo>
                        <a:pt x="0" y="46132"/>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3" name="Freeform 518">
                  <a:extLst>
                    <a:ext uri="{FF2B5EF4-FFF2-40B4-BE49-F238E27FC236}">
                      <a16:creationId xmlns:a16="http://schemas.microsoft.com/office/drawing/2014/main" id="{37B482B1-57FB-5F05-1B67-AEA1DDADFC15}"/>
                    </a:ext>
                  </a:extLst>
                </p:cNvPr>
                <p:cNvSpPr/>
                <p:nvPr/>
              </p:nvSpPr>
              <p:spPr>
                <a:xfrm>
                  <a:off x="6181960" y="3386303"/>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26" name="Graphic 4">
                <a:extLst>
                  <a:ext uri="{FF2B5EF4-FFF2-40B4-BE49-F238E27FC236}">
                    <a16:creationId xmlns:a16="http://schemas.microsoft.com/office/drawing/2014/main" id="{EB1E5DE7-A499-DF47-DFA7-7697A3477DFA}"/>
                  </a:ext>
                </a:extLst>
              </p:cNvPr>
              <p:cNvGrpSpPr/>
              <p:nvPr/>
            </p:nvGrpSpPr>
            <p:grpSpPr>
              <a:xfrm>
                <a:off x="6157071" y="3363300"/>
                <a:ext cx="46222" cy="46132"/>
                <a:chOff x="6157071" y="3363300"/>
                <a:chExt cx="46222" cy="46132"/>
              </a:xfrm>
            </p:grpSpPr>
            <p:sp>
              <p:nvSpPr>
                <p:cNvPr id="150" name="Freeform 515">
                  <a:extLst>
                    <a:ext uri="{FF2B5EF4-FFF2-40B4-BE49-F238E27FC236}">
                      <a16:creationId xmlns:a16="http://schemas.microsoft.com/office/drawing/2014/main" id="{3FF8E24D-1495-DC6E-2446-8E5E28BC08C1}"/>
                    </a:ext>
                  </a:extLst>
                </p:cNvPr>
                <p:cNvSpPr/>
                <p:nvPr/>
              </p:nvSpPr>
              <p:spPr>
                <a:xfrm>
                  <a:off x="6180182" y="3363300"/>
                  <a:ext cx="12698" cy="46132"/>
                </a:xfrm>
                <a:custGeom>
                  <a:avLst/>
                  <a:gdLst>
                    <a:gd name="csX0" fmla="*/ 0 w 12698"/>
                    <a:gd name="csY0" fmla="*/ 0 h 46132"/>
                    <a:gd name="csX1" fmla="*/ 0 w 12698"/>
                    <a:gd name="csY1" fmla="*/ 46132 h 46132"/>
                  </a:gdLst>
                  <a:ahLst/>
                  <a:cxnLst>
                    <a:cxn ang="0">
                      <a:pos x="csX0" y="csY0"/>
                    </a:cxn>
                    <a:cxn ang="0">
                      <a:pos x="csX1" y="csY1"/>
                    </a:cxn>
                  </a:cxnLst>
                  <a:rect l="l" t="t" r="r" b="b"/>
                  <a:pathLst>
                    <a:path w="12698" h="46132">
                      <a:moveTo>
                        <a:pt x="0" y="0"/>
                      </a:moveTo>
                      <a:lnTo>
                        <a:pt x="0" y="46132"/>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1" name="Freeform 516">
                  <a:extLst>
                    <a:ext uri="{FF2B5EF4-FFF2-40B4-BE49-F238E27FC236}">
                      <a16:creationId xmlns:a16="http://schemas.microsoft.com/office/drawing/2014/main" id="{02518675-FDD5-FD6D-7C1F-2AFCC33B4B2E}"/>
                    </a:ext>
                  </a:extLst>
                </p:cNvPr>
                <p:cNvSpPr/>
                <p:nvPr/>
              </p:nvSpPr>
              <p:spPr>
                <a:xfrm>
                  <a:off x="6157071" y="3386303"/>
                  <a:ext cx="46222" cy="12708"/>
                </a:xfrm>
                <a:custGeom>
                  <a:avLst/>
                  <a:gdLst>
                    <a:gd name="csX0" fmla="*/ 0 w 46222"/>
                    <a:gd name="csY0" fmla="*/ 0 h 12708"/>
                    <a:gd name="csX1" fmla="*/ 46222 w 46222"/>
                    <a:gd name="csY1" fmla="*/ 0 h 12708"/>
                  </a:gdLst>
                  <a:ahLst/>
                  <a:cxnLst>
                    <a:cxn ang="0">
                      <a:pos x="csX0" y="csY0"/>
                    </a:cxn>
                    <a:cxn ang="0">
                      <a:pos x="csX1" y="csY1"/>
                    </a:cxn>
                  </a:cxnLst>
                  <a:rect l="l" t="t" r="r" b="b"/>
                  <a:pathLst>
                    <a:path w="46222" h="12708">
                      <a:moveTo>
                        <a:pt x="0" y="0"/>
                      </a:moveTo>
                      <a:lnTo>
                        <a:pt x="46222"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27" name="Graphic 4">
                <a:extLst>
                  <a:ext uri="{FF2B5EF4-FFF2-40B4-BE49-F238E27FC236}">
                    <a16:creationId xmlns:a16="http://schemas.microsoft.com/office/drawing/2014/main" id="{1EE1B24C-4AE0-C02D-CC51-BF0259D240EC}"/>
                  </a:ext>
                </a:extLst>
              </p:cNvPr>
              <p:cNvGrpSpPr/>
              <p:nvPr/>
            </p:nvGrpSpPr>
            <p:grpSpPr>
              <a:xfrm>
                <a:off x="6143865" y="3344746"/>
                <a:ext cx="46095" cy="46132"/>
                <a:chOff x="6143865" y="3344746"/>
                <a:chExt cx="46095" cy="46132"/>
              </a:xfrm>
            </p:grpSpPr>
            <p:sp>
              <p:nvSpPr>
                <p:cNvPr id="148" name="Freeform 513">
                  <a:extLst>
                    <a:ext uri="{FF2B5EF4-FFF2-40B4-BE49-F238E27FC236}">
                      <a16:creationId xmlns:a16="http://schemas.microsoft.com/office/drawing/2014/main" id="{79121E42-EEAC-CEE5-E99E-A7BCDFCDD2DA}"/>
                    </a:ext>
                  </a:extLst>
                </p:cNvPr>
                <p:cNvSpPr/>
                <p:nvPr/>
              </p:nvSpPr>
              <p:spPr>
                <a:xfrm>
                  <a:off x="6166849" y="3344746"/>
                  <a:ext cx="12698" cy="46132"/>
                </a:xfrm>
                <a:custGeom>
                  <a:avLst/>
                  <a:gdLst>
                    <a:gd name="csX0" fmla="*/ 0 w 12698"/>
                    <a:gd name="csY0" fmla="*/ 0 h 46132"/>
                    <a:gd name="csX1" fmla="*/ 0 w 12698"/>
                    <a:gd name="csY1" fmla="*/ 46132 h 46132"/>
                  </a:gdLst>
                  <a:ahLst/>
                  <a:cxnLst>
                    <a:cxn ang="0">
                      <a:pos x="csX0" y="csY0"/>
                    </a:cxn>
                    <a:cxn ang="0">
                      <a:pos x="csX1" y="csY1"/>
                    </a:cxn>
                  </a:cxnLst>
                  <a:rect l="l" t="t" r="r" b="b"/>
                  <a:pathLst>
                    <a:path w="12698" h="46132">
                      <a:moveTo>
                        <a:pt x="0" y="0"/>
                      </a:moveTo>
                      <a:lnTo>
                        <a:pt x="0" y="46132"/>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9" name="Freeform 514">
                  <a:extLst>
                    <a:ext uri="{FF2B5EF4-FFF2-40B4-BE49-F238E27FC236}">
                      <a16:creationId xmlns:a16="http://schemas.microsoft.com/office/drawing/2014/main" id="{74577D06-A46E-2770-5C87-930CE1C4E268}"/>
                    </a:ext>
                  </a:extLst>
                </p:cNvPr>
                <p:cNvSpPr/>
                <p:nvPr/>
              </p:nvSpPr>
              <p:spPr>
                <a:xfrm>
                  <a:off x="6143865" y="3367875"/>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28" name="Graphic 4">
                <a:extLst>
                  <a:ext uri="{FF2B5EF4-FFF2-40B4-BE49-F238E27FC236}">
                    <a16:creationId xmlns:a16="http://schemas.microsoft.com/office/drawing/2014/main" id="{B08D1788-9962-E18A-9D46-53AE5EC0A44B}"/>
                  </a:ext>
                </a:extLst>
              </p:cNvPr>
              <p:cNvGrpSpPr/>
              <p:nvPr/>
            </p:nvGrpSpPr>
            <p:grpSpPr>
              <a:xfrm>
                <a:off x="5785641" y="3267478"/>
                <a:ext cx="46095" cy="46132"/>
                <a:chOff x="5785641" y="3267478"/>
                <a:chExt cx="46095" cy="46132"/>
              </a:xfrm>
            </p:grpSpPr>
            <p:sp>
              <p:nvSpPr>
                <p:cNvPr id="146" name="Freeform 511">
                  <a:extLst>
                    <a:ext uri="{FF2B5EF4-FFF2-40B4-BE49-F238E27FC236}">
                      <a16:creationId xmlns:a16="http://schemas.microsoft.com/office/drawing/2014/main" id="{04E5CF77-A415-72B4-D3CA-A8DF2132442D}"/>
                    </a:ext>
                  </a:extLst>
                </p:cNvPr>
                <p:cNvSpPr/>
                <p:nvPr/>
              </p:nvSpPr>
              <p:spPr>
                <a:xfrm>
                  <a:off x="5808625" y="3267478"/>
                  <a:ext cx="12698" cy="46132"/>
                </a:xfrm>
                <a:custGeom>
                  <a:avLst/>
                  <a:gdLst>
                    <a:gd name="csX0" fmla="*/ 0 w 12698"/>
                    <a:gd name="csY0" fmla="*/ 0 h 46132"/>
                    <a:gd name="csX1" fmla="*/ 0 w 12698"/>
                    <a:gd name="csY1" fmla="*/ 46132 h 46132"/>
                  </a:gdLst>
                  <a:ahLst/>
                  <a:cxnLst>
                    <a:cxn ang="0">
                      <a:pos x="csX0" y="csY0"/>
                    </a:cxn>
                    <a:cxn ang="0">
                      <a:pos x="csX1" y="csY1"/>
                    </a:cxn>
                  </a:cxnLst>
                  <a:rect l="l" t="t" r="r" b="b"/>
                  <a:pathLst>
                    <a:path w="12698" h="46132">
                      <a:moveTo>
                        <a:pt x="0" y="0"/>
                      </a:moveTo>
                      <a:lnTo>
                        <a:pt x="0" y="46132"/>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7" name="Freeform 512">
                  <a:extLst>
                    <a:ext uri="{FF2B5EF4-FFF2-40B4-BE49-F238E27FC236}">
                      <a16:creationId xmlns:a16="http://schemas.microsoft.com/office/drawing/2014/main" id="{7023ACF9-0023-ABC8-796C-40F75F250511}"/>
                    </a:ext>
                  </a:extLst>
                </p:cNvPr>
                <p:cNvSpPr/>
                <p:nvPr/>
              </p:nvSpPr>
              <p:spPr>
                <a:xfrm>
                  <a:off x="5785641" y="3290480"/>
                  <a:ext cx="46095" cy="12708"/>
                </a:xfrm>
                <a:custGeom>
                  <a:avLst/>
                  <a:gdLst>
                    <a:gd name="csX0" fmla="*/ 0 w 46095"/>
                    <a:gd name="csY0" fmla="*/ 0 h 12708"/>
                    <a:gd name="csX1" fmla="*/ 46096 w 46095"/>
                    <a:gd name="csY1" fmla="*/ 0 h 12708"/>
                  </a:gdLst>
                  <a:ahLst/>
                  <a:cxnLst>
                    <a:cxn ang="0">
                      <a:pos x="csX0" y="csY0"/>
                    </a:cxn>
                    <a:cxn ang="0">
                      <a:pos x="csX1" y="csY1"/>
                    </a:cxn>
                  </a:cxnLst>
                  <a:rect l="l" t="t" r="r" b="b"/>
                  <a:pathLst>
                    <a:path w="46095" h="12708">
                      <a:moveTo>
                        <a:pt x="0" y="0"/>
                      </a:moveTo>
                      <a:lnTo>
                        <a:pt x="46096"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29" name="Graphic 4">
                <a:extLst>
                  <a:ext uri="{FF2B5EF4-FFF2-40B4-BE49-F238E27FC236}">
                    <a16:creationId xmlns:a16="http://schemas.microsoft.com/office/drawing/2014/main" id="{43EF639D-7393-0946-C492-9EDAD6773F8A}"/>
                  </a:ext>
                </a:extLst>
              </p:cNvPr>
              <p:cNvGrpSpPr/>
              <p:nvPr/>
            </p:nvGrpSpPr>
            <p:grpSpPr>
              <a:xfrm>
                <a:off x="5767736" y="3249559"/>
                <a:ext cx="46222" cy="46259"/>
                <a:chOff x="5767736" y="3249559"/>
                <a:chExt cx="46222" cy="46259"/>
              </a:xfrm>
            </p:grpSpPr>
            <p:sp>
              <p:nvSpPr>
                <p:cNvPr id="144" name="Freeform 509">
                  <a:extLst>
                    <a:ext uri="{FF2B5EF4-FFF2-40B4-BE49-F238E27FC236}">
                      <a16:creationId xmlns:a16="http://schemas.microsoft.com/office/drawing/2014/main" id="{69AFE85C-9B6E-4827-1F6D-937083C1CEC2}"/>
                    </a:ext>
                  </a:extLst>
                </p:cNvPr>
                <p:cNvSpPr/>
                <p:nvPr/>
              </p:nvSpPr>
              <p:spPr>
                <a:xfrm>
                  <a:off x="5790847" y="3249559"/>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5" name="Freeform 510">
                  <a:extLst>
                    <a:ext uri="{FF2B5EF4-FFF2-40B4-BE49-F238E27FC236}">
                      <a16:creationId xmlns:a16="http://schemas.microsoft.com/office/drawing/2014/main" id="{5E1EA88F-3968-D694-CDBF-355332F72C1E}"/>
                    </a:ext>
                  </a:extLst>
                </p:cNvPr>
                <p:cNvSpPr/>
                <p:nvPr/>
              </p:nvSpPr>
              <p:spPr>
                <a:xfrm>
                  <a:off x="5767736" y="3272688"/>
                  <a:ext cx="46222" cy="12708"/>
                </a:xfrm>
                <a:custGeom>
                  <a:avLst/>
                  <a:gdLst>
                    <a:gd name="csX0" fmla="*/ 0 w 46222"/>
                    <a:gd name="csY0" fmla="*/ 0 h 12708"/>
                    <a:gd name="csX1" fmla="*/ 46222 w 46222"/>
                    <a:gd name="csY1" fmla="*/ 0 h 12708"/>
                  </a:gdLst>
                  <a:ahLst/>
                  <a:cxnLst>
                    <a:cxn ang="0">
                      <a:pos x="csX0" y="csY0"/>
                    </a:cxn>
                    <a:cxn ang="0">
                      <a:pos x="csX1" y="csY1"/>
                    </a:cxn>
                  </a:cxnLst>
                  <a:rect l="l" t="t" r="r" b="b"/>
                  <a:pathLst>
                    <a:path w="46222" h="12708">
                      <a:moveTo>
                        <a:pt x="0" y="0"/>
                      </a:moveTo>
                      <a:lnTo>
                        <a:pt x="46222"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30" name="Graphic 4">
                <a:extLst>
                  <a:ext uri="{FF2B5EF4-FFF2-40B4-BE49-F238E27FC236}">
                    <a16:creationId xmlns:a16="http://schemas.microsoft.com/office/drawing/2014/main" id="{CB40C7E7-0A84-BF95-0344-0BA85423E968}"/>
                  </a:ext>
                </a:extLst>
              </p:cNvPr>
              <p:cNvGrpSpPr/>
              <p:nvPr/>
            </p:nvGrpSpPr>
            <p:grpSpPr>
              <a:xfrm>
                <a:off x="5706657" y="3158947"/>
                <a:ext cx="46095" cy="46259"/>
                <a:chOff x="5706657" y="3158947"/>
                <a:chExt cx="46095" cy="46259"/>
              </a:xfrm>
            </p:grpSpPr>
            <p:sp>
              <p:nvSpPr>
                <p:cNvPr id="142" name="Freeform 507">
                  <a:extLst>
                    <a:ext uri="{FF2B5EF4-FFF2-40B4-BE49-F238E27FC236}">
                      <a16:creationId xmlns:a16="http://schemas.microsoft.com/office/drawing/2014/main" id="{7ACDC21B-DCFD-C7B6-710B-52382AC48581}"/>
                    </a:ext>
                  </a:extLst>
                </p:cNvPr>
                <p:cNvSpPr/>
                <p:nvPr/>
              </p:nvSpPr>
              <p:spPr>
                <a:xfrm>
                  <a:off x="5729641" y="3158947"/>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3" name="Freeform 508">
                  <a:extLst>
                    <a:ext uri="{FF2B5EF4-FFF2-40B4-BE49-F238E27FC236}">
                      <a16:creationId xmlns:a16="http://schemas.microsoft.com/office/drawing/2014/main" id="{D483E54E-5B73-7400-E0A5-20B8A0582CCE}"/>
                    </a:ext>
                  </a:extLst>
                </p:cNvPr>
                <p:cNvSpPr/>
                <p:nvPr/>
              </p:nvSpPr>
              <p:spPr>
                <a:xfrm>
                  <a:off x="5706657" y="3182076"/>
                  <a:ext cx="46095" cy="12708"/>
                </a:xfrm>
                <a:custGeom>
                  <a:avLst/>
                  <a:gdLst>
                    <a:gd name="csX0" fmla="*/ 0 w 46095"/>
                    <a:gd name="csY0" fmla="*/ 0 h 12708"/>
                    <a:gd name="csX1" fmla="*/ 46096 w 46095"/>
                    <a:gd name="csY1" fmla="*/ 0 h 12708"/>
                  </a:gdLst>
                  <a:ahLst/>
                  <a:cxnLst>
                    <a:cxn ang="0">
                      <a:pos x="csX0" y="csY0"/>
                    </a:cxn>
                    <a:cxn ang="0">
                      <a:pos x="csX1" y="csY1"/>
                    </a:cxn>
                  </a:cxnLst>
                  <a:rect l="l" t="t" r="r" b="b"/>
                  <a:pathLst>
                    <a:path w="46095" h="12708">
                      <a:moveTo>
                        <a:pt x="0" y="0"/>
                      </a:moveTo>
                      <a:lnTo>
                        <a:pt x="46096"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32" name="Graphic 4">
                <a:extLst>
                  <a:ext uri="{FF2B5EF4-FFF2-40B4-BE49-F238E27FC236}">
                    <a16:creationId xmlns:a16="http://schemas.microsoft.com/office/drawing/2014/main" id="{ABBF1847-7966-D8D0-4CDE-EC31E32490AB}"/>
                  </a:ext>
                </a:extLst>
              </p:cNvPr>
              <p:cNvGrpSpPr/>
              <p:nvPr/>
            </p:nvGrpSpPr>
            <p:grpSpPr>
              <a:xfrm>
                <a:off x="5560116" y="3016229"/>
                <a:ext cx="46222" cy="46259"/>
                <a:chOff x="5560116" y="3016229"/>
                <a:chExt cx="46222" cy="46259"/>
              </a:xfrm>
            </p:grpSpPr>
            <p:sp>
              <p:nvSpPr>
                <p:cNvPr id="140" name="Freeform 505">
                  <a:extLst>
                    <a:ext uri="{FF2B5EF4-FFF2-40B4-BE49-F238E27FC236}">
                      <a16:creationId xmlns:a16="http://schemas.microsoft.com/office/drawing/2014/main" id="{1CAD574F-3752-9EFB-C933-F78ED5192E1B}"/>
                    </a:ext>
                  </a:extLst>
                </p:cNvPr>
                <p:cNvSpPr/>
                <p:nvPr/>
              </p:nvSpPr>
              <p:spPr>
                <a:xfrm>
                  <a:off x="5583227" y="3016229"/>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1" name="Freeform 506">
                  <a:extLst>
                    <a:ext uri="{FF2B5EF4-FFF2-40B4-BE49-F238E27FC236}">
                      <a16:creationId xmlns:a16="http://schemas.microsoft.com/office/drawing/2014/main" id="{9C760912-00CD-99F4-8647-56ED2538EB9F}"/>
                    </a:ext>
                  </a:extLst>
                </p:cNvPr>
                <p:cNvSpPr/>
                <p:nvPr/>
              </p:nvSpPr>
              <p:spPr>
                <a:xfrm>
                  <a:off x="5560116" y="3039359"/>
                  <a:ext cx="46222" cy="12708"/>
                </a:xfrm>
                <a:custGeom>
                  <a:avLst/>
                  <a:gdLst>
                    <a:gd name="csX0" fmla="*/ 0 w 46222"/>
                    <a:gd name="csY0" fmla="*/ 0 h 12708"/>
                    <a:gd name="csX1" fmla="*/ 46223 w 46222"/>
                    <a:gd name="csY1" fmla="*/ 0 h 12708"/>
                  </a:gdLst>
                  <a:ahLst/>
                  <a:cxnLst>
                    <a:cxn ang="0">
                      <a:pos x="csX0" y="csY0"/>
                    </a:cxn>
                    <a:cxn ang="0">
                      <a:pos x="csX1" y="csY1"/>
                    </a:cxn>
                  </a:cxnLst>
                  <a:rect l="l" t="t" r="r" b="b"/>
                  <a:pathLst>
                    <a:path w="46222" h="12708">
                      <a:moveTo>
                        <a:pt x="0" y="0"/>
                      </a:moveTo>
                      <a:lnTo>
                        <a:pt x="46223"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33" name="Graphic 4">
                <a:extLst>
                  <a:ext uri="{FF2B5EF4-FFF2-40B4-BE49-F238E27FC236}">
                    <a16:creationId xmlns:a16="http://schemas.microsoft.com/office/drawing/2014/main" id="{B14B70F7-C487-6EE3-6B7F-B15985A22020}"/>
                  </a:ext>
                </a:extLst>
              </p:cNvPr>
              <p:cNvGrpSpPr/>
              <p:nvPr/>
            </p:nvGrpSpPr>
            <p:grpSpPr>
              <a:xfrm>
                <a:off x="5406973" y="2723932"/>
                <a:ext cx="46095" cy="46132"/>
                <a:chOff x="5406973" y="2723932"/>
                <a:chExt cx="46095" cy="46132"/>
              </a:xfrm>
            </p:grpSpPr>
            <p:sp>
              <p:nvSpPr>
                <p:cNvPr id="138" name="Freeform 503">
                  <a:extLst>
                    <a:ext uri="{FF2B5EF4-FFF2-40B4-BE49-F238E27FC236}">
                      <a16:creationId xmlns:a16="http://schemas.microsoft.com/office/drawing/2014/main" id="{D2C330C3-F69D-3FF1-E7CE-4F4B5B675474}"/>
                    </a:ext>
                  </a:extLst>
                </p:cNvPr>
                <p:cNvSpPr/>
                <p:nvPr/>
              </p:nvSpPr>
              <p:spPr>
                <a:xfrm>
                  <a:off x="5430084" y="2723932"/>
                  <a:ext cx="12698" cy="46132"/>
                </a:xfrm>
                <a:custGeom>
                  <a:avLst/>
                  <a:gdLst>
                    <a:gd name="csX0" fmla="*/ 0 w 12698"/>
                    <a:gd name="csY0" fmla="*/ 0 h 46132"/>
                    <a:gd name="csX1" fmla="*/ 0 w 12698"/>
                    <a:gd name="csY1" fmla="*/ 46132 h 46132"/>
                  </a:gdLst>
                  <a:ahLst/>
                  <a:cxnLst>
                    <a:cxn ang="0">
                      <a:pos x="csX0" y="csY0"/>
                    </a:cxn>
                    <a:cxn ang="0">
                      <a:pos x="csX1" y="csY1"/>
                    </a:cxn>
                  </a:cxnLst>
                  <a:rect l="l" t="t" r="r" b="b"/>
                  <a:pathLst>
                    <a:path w="12698" h="46132">
                      <a:moveTo>
                        <a:pt x="0" y="0"/>
                      </a:moveTo>
                      <a:lnTo>
                        <a:pt x="0" y="46132"/>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9" name="Freeform 504">
                  <a:extLst>
                    <a:ext uri="{FF2B5EF4-FFF2-40B4-BE49-F238E27FC236}">
                      <a16:creationId xmlns:a16="http://schemas.microsoft.com/office/drawing/2014/main" id="{8D8026EF-E76D-8BFF-F6EF-01827807B4A3}"/>
                    </a:ext>
                  </a:extLst>
                </p:cNvPr>
                <p:cNvSpPr/>
                <p:nvPr/>
              </p:nvSpPr>
              <p:spPr>
                <a:xfrm>
                  <a:off x="5406973" y="2746935"/>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34" name="Graphic 4">
                <a:extLst>
                  <a:ext uri="{FF2B5EF4-FFF2-40B4-BE49-F238E27FC236}">
                    <a16:creationId xmlns:a16="http://schemas.microsoft.com/office/drawing/2014/main" id="{7D3B3B55-6FB7-C6AD-4287-7CA7D752775A}"/>
                  </a:ext>
                </a:extLst>
              </p:cNvPr>
              <p:cNvGrpSpPr/>
              <p:nvPr/>
            </p:nvGrpSpPr>
            <p:grpSpPr>
              <a:xfrm>
                <a:off x="5292432" y="2604726"/>
                <a:ext cx="46095" cy="46132"/>
                <a:chOff x="5292432" y="2604726"/>
                <a:chExt cx="46095" cy="46132"/>
              </a:xfrm>
            </p:grpSpPr>
            <p:sp>
              <p:nvSpPr>
                <p:cNvPr id="136" name="Freeform 501">
                  <a:extLst>
                    <a:ext uri="{FF2B5EF4-FFF2-40B4-BE49-F238E27FC236}">
                      <a16:creationId xmlns:a16="http://schemas.microsoft.com/office/drawing/2014/main" id="{5065EA8D-396E-E015-3AF9-7E2296DEE2DF}"/>
                    </a:ext>
                  </a:extLst>
                </p:cNvPr>
                <p:cNvSpPr/>
                <p:nvPr/>
              </p:nvSpPr>
              <p:spPr>
                <a:xfrm>
                  <a:off x="5315544" y="2604726"/>
                  <a:ext cx="12698" cy="46132"/>
                </a:xfrm>
                <a:custGeom>
                  <a:avLst/>
                  <a:gdLst>
                    <a:gd name="csX0" fmla="*/ 0 w 12698"/>
                    <a:gd name="csY0" fmla="*/ 0 h 46132"/>
                    <a:gd name="csX1" fmla="*/ 0 w 12698"/>
                    <a:gd name="csY1" fmla="*/ 46132 h 46132"/>
                  </a:gdLst>
                  <a:ahLst/>
                  <a:cxnLst>
                    <a:cxn ang="0">
                      <a:pos x="csX0" y="csY0"/>
                    </a:cxn>
                    <a:cxn ang="0">
                      <a:pos x="csX1" y="csY1"/>
                    </a:cxn>
                  </a:cxnLst>
                  <a:rect l="l" t="t" r="r" b="b"/>
                  <a:pathLst>
                    <a:path w="12698" h="46132">
                      <a:moveTo>
                        <a:pt x="0" y="0"/>
                      </a:moveTo>
                      <a:lnTo>
                        <a:pt x="0" y="46132"/>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7" name="Freeform 502">
                  <a:extLst>
                    <a:ext uri="{FF2B5EF4-FFF2-40B4-BE49-F238E27FC236}">
                      <a16:creationId xmlns:a16="http://schemas.microsoft.com/office/drawing/2014/main" id="{8A853CD5-2C16-3666-D36B-75DBDC95E24A}"/>
                    </a:ext>
                  </a:extLst>
                </p:cNvPr>
                <p:cNvSpPr/>
                <p:nvPr/>
              </p:nvSpPr>
              <p:spPr>
                <a:xfrm>
                  <a:off x="5292432" y="2627729"/>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135" name="Freeform 500">
                <a:extLst>
                  <a:ext uri="{FF2B5EF4-FFF2-40B4-BE49-F238E27FC236}">
                    <a16:creationId xmlns:a16="http://schemas.microsoft.com/office/drawing/2014/main" id="{8D449841-5AFE-9D29-5A22-5D6862F9DD88}"/>
                  </a:ext>
                </a:extLst>
              </p:cNvPr>
              <p:cNvSpPr/>
              <p:nvPr/>
            </p:nvSpPr>
            <p:spPr>
              <a:xfrm>
                <a:off x="8405609" y="2474189"/>
                <a:ext cx="263366" cy="12708"/>
              </a:xfrm>
              <a:custGeom>
                <a:avLst/>
                <a:gdLst>
                  <a:gd name="csX0" fmla="*/ 0 w 263366"/>
                  <a:gd name="csY0" fmla="*/ 0 h 12708"/>
                  <a:gd name="csX1" fmla="*/ 263366 w 263366"/>
                  <a:gd name="csY1" fmla="*/ 0 h 12708"/>
                </a:gdLst>
                <a:ahLst/>
                <a:cxnLst>
                  <a:cxn ang="0">
                    <a:pos x="csX0" y="csY0"/>
                  </a:cxn>
                  <a:cxn ang="0">
                    <a:pos x="csX1" y="csY1"/>
                  </a:cxn>
                </a:cxnLst>
                <a:rect l="l" t="t" r="r" b="b"/>
                <a:pathLst>
                  <a:path w="263366" h="12708">
                    <a:moveTo>
                      <a:pt x="0" y="0"/>
                    </a:moveTo>
                    <a:lnTo>
                      <a:pt x="263366" y="0"/>
                    </a:lnTo>
                  </a:path>
                </a:pathLst>
              </a:custGeom>
              <a:ln w="12693" cap="flat">
                <a:solidFill>
                  <a:srgbClr val="00B05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28" name="TextBox 27">
              <a:extLst>
                <a:ext uri="{FF2B5EF4-FFF2-40B4-BE49-F238E27FC236}">
                  <a16:creationId xmlns:a16="http://schemas.microsoft.com/office/drawing/2014/main" id="{1425B4A9-C9CD-E577-1EC1-D30539429B4E}"/>
                </a:ext>
              </a:extLst>
            </p:cNvPr>
            <p:cNvSpPr txBox="1"/>
            <p:nvPr/>
          </p:nvSpPr>
          <p:spPr>
            <a:xfrm>
              <a:off x="5840715" y="1663716"/>
              <a:ext cx="1065765" cy="192468"/>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Mosun-Pola (n=138)</a:t>
              </a:r>
            </a:p>
          </p:txBody>
        </p:sp>
        <p:grpSp>
          <p:nvGrpSpPr>
            <p:cNvPr id="29" name="Graphic 4">
              <a:extLst>
                <a:ext uri="{FF2B5EF4-FFF2-40B4-BE49-F238E27FC236}">
                  <a16:creationId xmlns:a16="http://schemas.microsoft.com/office/drawing/2014/main" id="{1B55D435-B38D-D97A-4664-78371B8ADB22}"/>
                </a:ext>
              </a:extLst>
            </p:cNvPr>
            <p:cNvGrpSpPr/>
            <p:nvPr/>
          </p:nvGrpSpPr>
          <p:grpSpPr>
            <a:xfrm>
              <a:off x="2257994" y="1617474"/>
              <a:ext cx="3618161" cy="1979359"/>
              <a:chOff x="5057638" y="2317385"/>
              <a:chExt cx="3618161" cy="1979359"/>
            </a:xfrm>
          </p:grpSpPr>
          <p:grpSp>
            <p:nvGrpSpPr>
              <p:cNvPr id="36" name="Graphic 4">
                <a:extLst>
                  <a:ext uri="{FF2B5EF4-FFF2-40B4-BE49-F238E27FC236}">
                    <a16:creationId xmlns:a16="http://schemas.microsoft.com/office/drawing/2014/main" id="{DF31042E-A1A1-B232-A9FE-AD37A2D84CC7}"/>
                  </a:ext>
                </a:extLst>
              </p:cNvPr>
              <p:cNvGrpSpPr/>
              <p:nvPr/>
            </p:nvGrpSpPr>
            <p:grpSpPr>
              <a:xfrm>
                <a:off x="8036317" y="4250612"/>
                <a:ext cx="46222" cy="46132"/>
                <a:chOff x="8036317" y="4250612"/>
                <a:chExt cx="46222" cy="46132"/>
              </a:xfrm>
            </p:grpSpPr>
            <p:sp>
              <p:nvSpPr>
                <p:cNvPr id="90" name="Freeform 640">
                  <a:extLst>
                    <a:ext uri="{FF2B5EF4-FFF2-40B4-BE49-F238E27FC236}">
                      <a16:creationId xmlns:a16="http://schemas.microsoft.com/office/drawing/2014/main" id="{CB654DC7-86FE-F818-3806-1C5C4B23544C}"/>
                    </a:ext>
                  </a:extLst>
                </p:cNvPr>
                <p:cNvSpPr/>
                <p:nvPr/>
              </p:nvSpPr>
              <p:spPr>
                <a:xfrm>
                  <a:off x="8059429" y="4250612"/>
                  <a:ext cx="12698" cy="46132"/>
                </a:xfrm>
                <a:custGeom>
                  <a:avLst/>
                  <a:gdLst>
                    <a:gd name="csX0" fmla="*/ 0 w 12698"/>
                    <a:gd name="csY0" fmla="*/ 0 h 46132"/>
                    <a:gd name="csX1" fmla="*/ 0 w 12698"/>
                    <a:gd name="csY1" fmla="*/ 46132 h 46132"/>
                  </a:gdLst>
                  <a:ahLst/>
                  <a:cxnLst>
                    <a:cxn ang="0">
                      <a:pos x="csX0" y="csY0"/>
                    </a:cxn>
                    <a:cxn ang="0">
                      <a:pos x="csX1" y="csY1"/>
                    </a:cxn>
                  </a:cxnLst>
                  <a:rect l="l" t="t" r="r" b="b"/>
                  <a:pathLst>
                    <a:path w="12698" h="46132">
                      <a:moveTo>
                        <a:pt x="0" y="0"/>
                      </a:moveTo>
                      <a:lnTo>
                        <a:pt x="0" y="46132"/>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1" name="Freeform 641">
                  <a:extLst>
                    <a:ext uri="{FF2B5EF4-FFF2-40B4-BE49-F238E27FC236}">
                      <a16:creationId xmlns:a16="http://schemas.microsoft.com/office/drawing/2014/main" id="{16822BE4-CB5D-18DF-357F-0CB94A61DF50}"/>
                    </a:ext>
                  </a:extLst>
                </p:cNvPr>
                <p:cNvSpPr/>
                <p:nvPr/>
              </p:nvSpPr>
              <p:spPr>
                <a:xfrm>
                  <a:off x="8036317" y="4273615"/>
                  <a:ext cx="46222" cy="12708"/>
                </a:xfrm>
                <a:custGeom>
                  <a:avLst/>
                  <a:gdLst>
                    <a:gd name="csX0" fmla="*/ 0 w 46222"/>
                    <a:gd name="csY0" fmla="*/ 0 h 12708"/>
                    <a:gd name="csX1" fmla="*/ 46222 w 46222"/>
                    <a:gd name="csY1" fmla="*/ 0 h 12708"/>
                  </a:gdLst>
                  <a:ahLst/>
                  <a:cxnLst>
                    <a:cxn ang="0">
                      <a:pos x="csX0" y="csY0"/>
                    </a:cxn>
                    <a:cxn ang="0">
                      <a:pos x="csX1" y="csY1"/>
                    </a:cxn>
                  </a:cxnLst>
                  <a:rect l="l" t="t" r="r" b="b"/>
                  <a:pathLst>
                    <a:path w="46222" h="12708">
                      <a:moveTo>
                        <a:pt x="0" y="0"/>
                      </a:moveTo>
                      <a:lnTo>
                        <a:pt x="46222" y="0"/>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37" name="Graphic 4">
                <a:extLst>
                  <a:ext uri="{FF2B5EF4-FFF2-40B4-BE49-F238E27FC236}">
                    <a16:creationId xmlns:a16="http://schemas.microsoft.com/office/drawing/2014/main" id="{930FB7B3-E62A-0F45-2312-110CB518D2AD}"/>
                  </a:ext>
                </a:extLst>
              </p:cNvPr>
              <p:cNvGrpSpPr/>
              <p:nvPr/>
            </p:nvGrpSpPr>
            <p:grpSpPr>
              <a:xfrm>
                <a:off x="7786793" y="4250612"/>
                <a:ext cx="46095" cy="46132"/>
                <a:chOff x="7786793" y="4250612"/>
                <a:chExt cx="46095" cy="46132"/>
              </a:xfrm>
            </p:grpSpPr>
            <p:sp>
              <p:nvSpPr>
                <p:cNvPr id="88" name="Freeform 638">
                  <a:extLst>
                    <a:ext uri="{FF2B5EF4-FFF2-40B4-BE49-F238E27FC236}">
                      <a16:creationId xmlns:a16="http://schemas.microsoft.com/office/drawing/2014/main" id="{375B6F5C-7B96-6392-E479-3D67CC07AE8B}"/>
                    </a:ext>
                  </a:extLst>
                </p:cNvPr>
                <p:cNvSpPr/>
                <p:nvPr/>
              </p:nvSpPr>
              <p:spPr>
                <a:xfrm>
                  <a:off x="7809904" y="4250612"/>
                  <a:ext cx="12698" cy="46132"/>
                </a:xfrm>
                <a:custGeom>
                  <a:avLst/>
                  <a:gdLst>
                    <a:gd name="csX0" fmla="*/ 0 w 12698"/>
                    <a:gd name="csY0" fmla="*/ 0 h 46132"/>
                    <a:gd name="csX1" fmla="*/ 0 w 12698"/>
                    <a:gd name="csY1" fmla="*/ 46132 h 46132"/>
                  </a:gdLst>
                  <a:ahLst/>
                  <a:cxnLst>
                    <a:cxn ang="0">
                      <a:pos x="csX0" y="csY0"/>
                    </a:cxn>
                    <a:cxn ang="0">
                      <a:pos x="csX1" y="csY1"/>
                    </a:cxn>
                  </a:cxnLst>
                  <a:rect l="l" t="t" r="r" b="b"/>
                  <a:pathLst>
                    <a:path w="12698" h="46132">
                      <a:moveTo>
                        <a:pt x="0" y="0"/>
                      </a:moveTo>
                      <a:lnTo>
                        <a:pt x="0" y="46132"/>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9" name="Freeform 639">
                  <a:extLst>
                    <a:ext uri="{FF2B5EF4-FFF2-40B4-BE49-F238E27FC236}">
                      <a16:creationId xmlns:a16="http://schemas.microsoft.com/office/drawing/2014/main" id="{2281C408-4621-3289-182B-CF0ADC5F9D53}"/>
                    </a:ext>
                  </a:extLst>
                </p:cNvPr>
                <p:cNvSpPr/>
                <p:nvPr/>
              </p:nvSpPr>
              <p:spPr>
                <a:xfrm>
                  <a:off x="7786793" y="4273615"/>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38" name="Graphic 4">
                <a:extLst>
                  <a:ext uri="{FF2B5EF4-FFF2-40B4-BE49-F238E27FC236}">
                    <a16:creationId xmlns:a16="http://schemas.microsoft.com/office/drawing/2014/main" id="{B3A9B1AC-59DC-6D9A-2DEA-D57450ED351A}"/>
                  </a:ext>
                </a:extLst>
              </p:cNvPr>
              <p:cNvGrpSpPr/>
              <p:nvPr/>
            </p:nvGrpSpPr>
            <p:grpSpPr>
              <a:xfrm>
                <a:off x="5907165" y="3928831"/>
                <a:ext cx="46222" cy="46259"/>
                <a:chOff x="5907165" y="3928831"/>
                <a:chExt cx="46222" cy="46259"/>
              </a:xfrm>
            </p:grpSpPr>
            <p:sp>
              <p:nvSpPr>
                <p:cNvPr id="86" name="Freeform 636">
                  <a:extLst>
                    <a:ext uri="{FF2B5EF4-FFF2-40B4-BE49-F238E27FC236}">
                      <a16:creationId xmlns:a16="http://schemas.microsoft.com/office/drawing/2014/main" id="{7255986F-0711-D6F3-2A7C-395BB7E463AA}"/>
                    </a:ext>
                  </a:extLst>
                </p:cNvPr>
                <p:cNvSpPr/>
                <p:nvPr/>
              </p:nvSpPr>
              <p:spPr>
                <a:xfrm>
                  <a:off x="5930277" y="3928831"/>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7" name="Freeform 637">
                  <a:extLst>
                    <a:ext uri="{FF2B5EF4-FFF2-40B4-BE49-F238E27FC236}">
                      <a16:creationId xmlns:a16="http://schemas.microsoft.com/office/drawing/2014/main" id="{84A09705-A6FD-B078-F009-834E80F73B5C}"/>
                    </a:ext>
                  </a:extLst>
                </p:cNvPr>
                <p:cNvSpPr/>
                <p:nvPr/>
              </p:nvSpPr>
              <p:spPr>
                <a:xfrm>
                  <a:off x="5907165" y="3951961"/>
                  <a:ext cx="46222" cy="12708"/>
                </a:xfrm>
                <a:custGeom>
                  <a:avLst/>
                  <a:gdLst>
                    <a:gd name="csX0" fmla="*/ 0 w 46222"/>
                    <a:gd name="csY0" fmla="*/ 0 h 12708"/>
                    <a:gd name="csX1" fmla="*/ 46222 w 46222"/>
                    <a:gd name="csY1" fmla="*/ 0 h 12708"/>
                  </a:gdLst>
                  <a:ahLst/>
                  <a:cxnLst>
                    <a:cxn ang="0">
                      <a:pos x="csX0" y="csY0"/>
                    </a:cxn>
                    <a:cxn ang="0">
                      <a:pos x="csX1" y="csY1"/>
                    </a:cxn>
                  </a:cxnLst>
                  <a:rect l="l" t="t" r="r" b="b"/>
                  <a:pathLst>
                    <a:path w="46222" h="12708">
                      <a:moveTo>
                        <a:pt x="0" y="0"/>
                      </a:moveTo>
                      <a:lnTo>
                        <a:pt x="46222" y="0"/>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39" name="Graphic 4">
                <a:extLst>
                  <a:ext uri="{FF2B5EF4-FFF2-40B4-BE49-F238E27FC236}">
                    <a16:creationId xmlns:a16="http://schemas.microsoft.com/office/drawing/2014/main" id="{9B0B832A-1CFE-F1D0-0D8C-1C58492F45E9}"/>
                  </a:ext>
                </a:extLst>
              </p:cNvPr>
              <p:cNvGrpSpPr/>
              <p:nvPr/>
            </p:nvGrpSpPr>
            <p:grpSpPr>
              <a:xfrm>
                <a:off x="5806593" y="3928831"/>
                <a:ext cx="46095" cy="46259"/>
                <a:chOff x="5806593" y="3928831"/>
                <a:chExt cx="46095" cy="46259"/>
              </a:xfrm>
            </p:grpSpPr>
            <p:sp>
              <p:nvSpPr>
                <p:cNvPr id="83" name="Freeform 634">
                  <a:extLst>
                    <a:ext uri="{FF2B5EF4-FFF2-40B4-BE49-F238E27FC236}">
                      <a16:creationId xmlns:a16="http://schemas.microsoft.com/office/drawing/2014/main" id="{173E207E-2ACC-2AC4-F606-2C7E7290CCD5}"/>
                    </a:ext>
                  </a:extLst>
                </p:cNvPr>
                <p:cNvSpPr/>
                <p:nvPr/>
              </p:nvSpPr>
              <p:spPr>
                <a:xfrm>
                  <a:off x="5829578" y="3928831"/>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 name="Freeform 635">
                  <a:extLst>
                    <a:ext uri="{FF2B5EF4-FFF2-40B4-BE49-F238E27FC236}">
                      <a16:creationId xmlns:a16="http://schemas.microsoft.com/office/drawing/2014/main" id="{84A6964B-25DF-37F8-0A5C-CB6F5D7E76A5}"/>
                    </a:ext>
                  </a:extLst>
                </p:cNvPr>
                <p:cNvSpPr/>
                <p:nvPr/>
              </p:nvSpPr>
              <p:spPr>
                <a:xfrm>
                  <a:off x="5806593" y="3951961"/>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0" name="Graphic 4">
                <a:extLst>
                  <a:ext uri="{FF2B5EF4-FFF2-40B4-BE49-F238E27FC236}">
                    <a16:creationId xmlns:a16="http://schemas.microsoft.com/office/drawing/2014/main" id="{509DBCB7-7672-4B10-D908-F896D44F1D5E}"/>
                  </a:ext>
                </a:extLst>
              </p:cNvPr>
              <p:cNvGrpSpPr/>
              <p:nvPr/>
            </p:nvGrpSpPr>
            <p:grpSpPr>
              <a:xfrm>
                <a:off x="5801641" y="3928831"/>
                <a:ext cx="46095" cy="46259"/>
                <a:chOff x="5801641" y="3928831"/>
                <a:chExt cx="46095" cy="46259"/>
              </a:xfrm>
            </p:grpSpPr>
            <p:sp>
              <p:nvSpPr>
                <p:cNvPr id="81" name="Freeform 632">
                  <a:extLst>
                    <a:ext uri="{FF2B5EF4-FFF2-40B4-BE49-F238E27FC236}">
                      <a16:creationId xmlns:a16="http://schemas.microsoft.com/office/drawing/2014/main" id="{53EE53DA-BF95-4FCA-0444-65394FD371C3}"/>
                    </a:ext>
                  </a:extLst>
                </p:cNvPr>
                <p:cNvSpPr/>
                <p:nvPr/>
              </p:nvSpPr>
              <p:spPr>
                <a:xfrm>
                  <a:off x="5824752" y="3928831"/>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2" name="Freeform 633">
                  <a:extLst>
                    <a:ext uri="{FF2B5EF4-FFF2-40B4-BE49-F238E27FC236}">
                      <a16:creationId xmlns:a16="http://schemas.microsoft.com/office/drawing/2014/main" id="{5CC59A2A-7CDB-BE0E-EBF6-616FC4561E94}"/>
                    </a:ext>
                  </a:extLst>
                </p:cNvPr>
                <p:cNvSpPr/>
                <p:nvPr/>
              </p:nvSpPr>
              <p:spPr>
                <a:xfrm>
                  <a:off x="5801641" y="3951961"/>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1" name="Graphic 4">
                <a:extLst>
                  <a:ext uri="{FF2B5EF4-FFF2-40B4-BE49-F238E27FC236}">
                    <a16:creationId xmlns:a16="http://schemas.microsoft.com/office/drawing/2014/main" id="{D8EFBB40-AF7C-13DC-31D5-94362FFB6FAB}"/>
                  </a:ext>
                </a:extLst>
              </p:cNvPr>
              <p:cNvGrpSpPr/>
              <p:nvPr/>
            </p:nvGrpSpPr>
            <p:grpSpPr>
              <a:xfrm>
                <a:off x="5762149" y="3871516"/>
                <a:ext cx="46095" cy="46132"/>
                <a:chOff x="5762149" y="3871516"/>
                <a:chExt cx="46095" cy="46132"/>
              </a:xfrm>
            </p:grpSpPr>
            <p:sp>
              <p:nvSpPr>
                <p:cNvPr id="79" name="Freeform 630">
                  <a:extLst>
                    <a:ext uri="{FF2B5EF4-FFF2-40B4-BE49-F238E27FC236}">
                      <a16:creationId xmlns:a16="http://schemas.microsoft.com/office/drawing/2014/main" id="{729062BB-A5B4-1F6D-4CAD-DC2CA52D3152}"/>
                    </a:ext>
                  </a:extLst>
                </p:cNvPr>
                <p:cNvSpPr/>
                <p:nvPr/>
              </p:nvSpPr>
              <p:spPr>
                <a:xfrm>
                  <a:off x="5785260" y="3871516"/>
                  <a:ext cx="12698" cy="46132"/>
                </a:xfrm>
                <a:custGeom>
                  <a:avLst/>
                  <a:gdLst>
                    <a:gd name="csX0" fmla="*/ 0 w 12698"/>
                    <a:gd name="csY0" fmla="*/ 0 h 46132"/>
                    <a:gd name="csX1" fmla="*/ 0 w 12698"/>
                    <a:gd name="csY1" fmla="*/ 46132 h 46132"/>
                  </a:gdLst>
                  <a:ahLst/>
                  <a:cxnLst>
                    <a:cxn ang="0">
                      <a:pos x="csX0" y="csY0"/>
                    </a:cxn>
                    <a:cxn ang="0">
                      <a:pos x="csX1" y="csY1"/>
                    </a:cxn>
                  </a:cxnLst>
                  <a:rect l="l" t="t" r="r" b="b"/>
                  <a:pathLst>
                    <a:path w="12698" h="46132">
                      <a:moveTo>
                        <a:pt x="0" y="0"/>
                      </a:moveTo>
                      <a:lnTo>
                        <a:pt x="0" y="46132"/>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 name="Freeform 631">
                  <a:extLst>
                    <a:ext uri="{FF2B5EF4-FFF2-40B4-BE49-F238E27FC236}">
                      <a16:creationId xmlns:a16="http://schemas.microsoft.com/office/drawing/2014/main" id="{73E6E4E3-B1F5-A2B8-88FF-0F5014D77E1B}"/>
                    </a:ext>
                  </a:extLst>
                </p:cNvPr>
                <p:cNvSpPr/>
                <p:nvPr/>
              </p:nvSpPr>
              <p:spPr>
                <a:xfrm>
                  <a:off x="5762149" y="3894518"/>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2" name="Graphic 4">
                <a:extLst>
                  <a:ext uri="{FF2B5EF4-FFF2-40B4-BE49-F238E27FC236}">
                    <a16:creationId xmlns:a16="http://schemas.microsoft.com/office/drawing/2014/main" id="{610D7F79-8429-F4FF-3267-B7344D1AB527}"/>
                  </a:ext>
                </a:extLst>
              </p:cNvPr>
              <p:cNvGrpSpPr/>
              <p:nvPr/>
            </p:nvGrpSpPr>
            <p:grpSpPr>
              <a:xfrm>
                <a:off x="5597196" y="3763620"/>
                <a:ext cx="46095" cy="46259"/>
                <a:chOff x="5597196" y="3763620"/>
                <a:chExt cx="46095" cy="46259"/>
              </a:xfrm>
            </p:grpSpPr>
            <p:sp>
              <p:nvSpPr>
                <p:cNvPr id="77" name="Freeform 628">
                  <a:extLst>
                    <a:ext uri="{FF2B5EF4-FFF2-40B4-BE49-F238E27FC236}">
                      <a16:creationId xmlns:a16="http://schemas.microsoft.com/office/drawing/2014/main" id="{6D3962F0-97DC-2B80-641D-962210A7DE1E}"/>
                    </a:ext>
                  </a:extLst>
                </p:cNvPr>
                <p:cNvSpPr/>
                <p:nvPr/>
              </p:nvSpPr>
              <p:spPr>
                <a:xfrm>
                  <a:off x="5620307" y="3763620"/>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 name="Freeform 629">
                  <a:extLst>
                    <a:ext uri="{FF2B5EF4-FFF2-40B4-BE49-F238E27FC236}">
                      <a16:creationId xmlns:a16="http://schemas.microsoft.com/office/drawing/2014/main" id="{169A5660-806E-4F57-BDEF-7708504470E7}"/>
                    </a:ext>
                  </a:extLst>
                </p:cNvPr>
                <p:cNvSpPr/>
                <p:nvPr/>
              </p:nvSpPr>
              <p:spPr>
                <a:xfrm>
                  <a:off x="5597196" y="3786750"/>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3" name="Graphic 4">
                <a:extLst>
                  <a:ext uri="{FF2B5EF4-FFF2-40B4-BE49-F238E27FC236}">
                    <a16:creationId xmlns:a16="http://schemas.microsoft.com/office/drawing/2014/main" id="{B9737778-F064-D9B9-E2C0-2D2798CEBB7E}"/>
                  </a:ext>
                </a:extLst>
              </p:cNvPr>
              <p:cNvGrpSpPr/>
              <p:nvPr/>
            </p:nvGrpSpPr>
            <p:grpSpPr>
              <a:xfrm>
                <a:off x="5579037" y="3763620"/>
                <a:ext cx="46095" cy="46259"/>
                <a:chOff x="5579037" y="3763620"/>
                <a:chExt cx="46095" cy="46259"/>
              </a:xfrm>
            </p:grpSpPr>
            <p:sp>
              <p:nvSpPr>
                <p:cNvPr id="75" name="Freeform 626">
                  <a:extLst>
                    <a:ext uri="{FF2B5EF4-FFF2-40B4-BE49-F238E27FC236}">
                      <a16:creationId xmlns:a16="http://schemas.microsoft.com/office/drawing/2014/main" id="{219C41AF-F1AD-868A-ADDC-673EFC15C673}"/>
                    </a:ext>
                  </a:extLst>
                </p:cNvPr>
                <p:cNvSpPr/>
                <p:nvPr/>
              </p:nvSpPr>
              <p:spPr>
                <a:xfrm>
                  <a:off x="5602148" y="3763620"/>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 name="Freeform 627">
                  <a:extLst>
                    <a:ext uri="{FF2B5EF4-FFF2-40B4-BE49-F238E27FC236}">
                      <a16:creationId xmlns:a16="http://schemas.microsoft.com/office/drawing/2014/main" id="{6D874621-F5DD-EFC8-C59A-C42B0B06BBDB}"/>
                    </a:ext>
                  </a:extLst>
                </p:cNvPr>
                <p:cNvSpPr/>
                <p:nvPr/>
              </p:nvSpPr>
              <p:spPr>
                <a:xfrm>
                  <a:off x="5579037" y="3786750"/>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4" name="Graphic 4">
                <a:extLst>
                  <a:ext uri="{FF2B5EF4-FFF2-40B4-BE49-F238E27FC236}">
                    <a16:creationId xmlns:a16="http://schemas.microsoft.com/office/drawing/2014/main" id="{CD00F375-092B-9E7D-0E80-1930F2FF1C57}"/>
                  </a:ext>
                </a:extLst>
              </p:cNvPr>
              <p:cNvGrpSpPr/>
              <p:nvPr/>
            </p:nvGrpSpPr>
            <p:grpSpPr>
              <a:xfrm>
                <a:off x="5562910" y="3623190"/>
                <a:ext cx="46222" cy="46132"/>
                <a:chOff x="5562910" y="3623190"/>
                <a:chExt cx="46222" cy="46132"/>
              </a:xfrm>
            </p:grpSpPr>
            <p:sp>
              <p:nvSpPr>
                <p:cNvPr id="73" name="Freeform 624">
                  <a:extLst>
                    <a:ext uri="{FF2B5EF4-FFF2-40B4-BE49-F238E27FC236}">
                      <a16:creationId xmlns:a16="http://schemas.microsoft.com/office/drawing/2014/main" id="{146377DC-C0B7-E035-CFA1-9EF86DC63FB2}"/>
                    </a:ext>
                  </a:extLst>
                </p:cNvPr>
                <p:cNvSpPr/>
                <p:nvPr/>
              </p:nvSpPr>
              <p:spPr>
                <a:xfrm>
                  <a:off x="5586021" y="3623190"/>
                  <a:ext cx="12698" cy="46132"/>
                </a:xfrm>
                <a:custGeom>
                  <a:avLst/>
                  <a:gdLst>
                    <a:gd name="csX0" fmla="*/ 0 w 12698"/>
                    <a:gd name="csY0" fmla="*/ 0 h 46132"/>
                    <a:gd name="csX1" fmla="*/ 0 w 12698"/>
                    <a:gd name="csY1" fmla="*/ 46132 h 46132"/>
                  </a:gdLst>
                  <a:ahLst/>
                  <a:cxnLst>
                    <a:cxn ang="0">
                      <a:pos x="csX0" y="csY0"/>
                    </a:cxn>
                    <a:cxn ang="0">
                      <a:pos x="csX1" y="csY1"/>
                    </a:cxn>
                  </a:cxnLst>
                  <a:rect l="l" t="t" r="r" b="b"/>
                  <a:pathLst>
                    <a:path w="12698" h="46132">
                      <a:moveTo>
                        <a:pt x="0" y="0"/>
                      </a:moveTo>
                      <a:lnTo>
                        <a:pt x="0" y="46132"/>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 name="Freeform 625">
                  <a:extLst>
                    <a:ext uri="{FF2B5EF4-FFF2-40B4-BE49-F238E27FC236}">
                      <a16:creationId xmlns:a16="http://schemas.microsoft.com/office/drawing/2014/main" id="{D13067E4-BE14-AF00-14A4-A9CD8128F5C4}"/>
                    </a:ext>
                  </a:extLst>
                </p:cNvPr>
                <p:cNvSpPr/>
                <p:nvPr/>
              </p:nvSpPr>
              <p:spPr>
                <a:xfrm>
                  <a:off x="5562910" y="3646193"/>
                  <a:ext cx="46222" cy="12708"/>
                </a:xfrm>
                <a:custGeom>
                  <a:avLst/>
                  <a:gdLst>
                    <a:gd name="csX0" fmla="*/ 0 w 46222"/>
                    <a:gd name="csY0" fmla="*/ 0 h 12708"/>
                    <a:gd name="csX1" fmla="*/ 46222 w 46222"/>
                    <a:gd name="csY1" fmla="*/ 0 h 12708"/>
                  </a:gdLst>
                  <a:ahLst/>
                  <a:cxnLst>
                    <a:cxn ang="0">
                      <a:pos x="csX0" y="csY0"/>
                    </a:cxn>
                    <a:cxn ang="0">
                      <a:pos x="csX1" y="csY1"/>
                    </a:cxn>
                  </a:cxnLst>
                  <a:rect l="l" t="t" r="r" b="b"/>
                  <a:pathLst>
                    <a:path w="46222" h="12708">
                      <a:moveTo>
                        <a:pt x="0" y="0"/>
                      </a:moveTo>
                      <a:lnTo>
                        <a:pt x="46222" y="0"/>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5" name="Graphic 4">
                <a:extLst>
                  <a:ext uri="{FF2B5EF4-FFF2-40B4-BE49-F238E27FC236}">
                    <a16:creationId xmlns:a16="http://schemas.microsoft.com/office/drawing/2014/main" id="{A6008871-4BB6-B84A-1601-EA64EEA5F46E}"/>
                  </a:ext>
                </a:extLst>
              </p:cNvPr>
              <p:cNvGrpSpPr/>
              <p:nvPr/>
            </p:nvGrpSpPr>
            <p:grpSpPr>
              <a:xfrm>
                <a:off x="5557323" y="3573881"/>
                <a:ext cx="46222" cy="46132"/>
                <a:chOff x="5557323" y="3573881"/>
                <a:chExt cx="46222" cy="46132"/>
              </a:xfrm>
            </p:grpSpPr>
            <p:sp>
              <p:nvSpPr>
                <p:cNvPr id="71" name="Freeform 622">
                  <a:extLst>
                    <a:ext uri="{FF2B5EF4-FFF2-40B4-BE49-F238E27FC236}">
                      <a16:creationId xmlns:a16="http://schemas.microsoft.com/office/drawing/2014/main" id="{93514D2A-509C-F165-3EEF-0DF90900E0BC}"/>
                    </a:ext>
                  </a:extLst>
                </p:cNvPr>
                <p:cNvSpPr/>
                <p:nvPr/>
              </p:nvSpPr>
              <p:spPr>
                <a:xfrm>
                  <a:off x="5580434" y="3573881"/>
                  <a:ext cx="12698" cy="46132"/>
                </a:xfrm>
                <a:custGeom>
                  <a:avLst/>
                  <a:gdLst>
                    <a:gd name="csX0" fmla="*/ 0 w 12698"/>
                    <a:gd name="csY0" fmla="*/ 0 h 46132"/>
                    <a:gd name="csX1" fmla="*/ 0 w 12698"/>
                    <a:gd name="csY1" fmla="*/ 46132 h 46132"/>
                  </a:gdLst>
                  <a:ahLst/>
                  <a:cxnLst>
                    <a:cxn ang="0">
                      <a:pos x="csX0" y="csY0"/>
                    </a:cxn>
                    <a:cxn ang="0">
                      <a:pos x="csX1" y="csY1"/>
                    </a:cxn>
                  </a:cxnLst>
                  <a:rect l="l" t="t" r="r" b="b"/>
                  <a:pathLst>
                    <a:path w="12698" h="46132">
                      <a:moveTo>
                        <a:pt x="0" y="0"/>
                      </a:moveTo>
                      <a:lnTo>
                        <a:pt x="0" y="46132"/>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 name="Freeform 623">
                  <a:extLst>
                    <a:ext uri="{FF2B5EF4-FFF2-40B4-BE49-F238E27FC236}">
                      <a16:creationId xmlns:a16="http://schemas.microsoft.com/office/drawing/2014/main" id="{48A8D1DF-468D-3ED0-6C6D-CB6F4453CA8D}"/>
                    </a:ext>
                  </a:extLst>
                </p:cNvPr>
                <p:cNvSpPr/>
                <p:nvPr/>
              </p:nvSpPr>
              <p:spPr>
                <a:xfrm>
                  <a:off x="5557323" y="3596884"/>
                  <a:ext cx="46222" cy="12708"/>
                </a:xfrm>
                <a:custGeom>
                  <a:avLst/>
                  <a:gdLst>
                    <a:gd name="csX0" fmla="*/ 0 w 46222"/>
                    <a:gd name="csY0" fmla="*/ 0 h 12708"/>
                    <a:gd name="csX1" fmla="*/ 46222 w 46222"/>
                    <a:gd name="csY1" fmla="*/ 0 h 12708"/>
                  </a:gdLst>
                  <a:ahLst/>
                  <a:cxnLst>
                    <a:cxn ang="0">
                      <a:pos x="csX0" y="csY0"/>
                    </a:cxn>
                    <a:cxn ang="0">
                      <a:pos x="csX1" y="csY1"/>
                    </a:cxn>
                  </a:cxnLst>
                  <a:rect l="l" t="t" r="r" b="b"/>
                  <a:pathLst>
                    <a:path w="46222" h="12708">
                      <a:moveTo>
                        <a:pt x="0" y="0"/>
                      </a:moveTo>
                      <a:lnTo>
                        <a:pt x="46222" y="0"/>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6" name="Graphic 4">
                <a:extLst>
                  <a:ext uri="{FF2B5EF4-FFF2-40B4-BE49-F238E27FC236}">
                    <a16:creationId xmlns:a16="http://schemas.microsoft.com/office/drawing/2014/main" id="{24FD356B-BDD1-F74B-EFA0-E5F3D87733AB}"/>
                  </a:ext>
                </a:extLst>
              </p:cNvPr>
              <p:cNvGrpSpPr/>
              <p:nvPr/>
            </p:nvGrpSpPr>
            <p:grpSpPr>
              <a:xfrm>
                <a:off x="5525195" y="3445779"/>
                <a:ext cx="46095" cy="46132"/>
                <a:chOff x="5525195" y="3445779"/>
                <a:chExt cx="46095" cy="46132"/>
              </a:xfrm>
            </p:grpSpPr>
            <p:sp>
              <p:nvSpPr>
                <p:cNvPr id="69" name="Freeform 620">
                  <a:extLst>
                    <a:ext uri="{FF2B5EF4-FFF2-40B4-BE49-F238E27FC236}">
                      <a16:creationId xmlns:a16="http://schemas.microsoft.com/office/drawing/2014/main" id="{4ECEAF67-06E0-36AB-8EE9-A6990C8C9164}"/>
                    </a:ext>
                  </a:extLst>
                </p:cNvPr>
                <p:cNvSpPr/>
                <p:nvPr/>
              </p:nvSpPr>
              <p:spPr>
                <a:xfrm>
                  <a:off x="5548307" y="3445779"/>
                  <a:ext cx="12698" cy="46132"/>
                </a:xfrm>
                <a:custGeom>
                  <a:avLst/>
                  <a:gdLst>
                    <a:gd name="csX0" fmla="*/ 0 w 12698"/>
                    <a:gd name="csY0" fmla="*/ 0 h 46132"/>
                    <a:gd name="csX1" fmla="*/ 0 w 12698"/>
                    <a:gd name="csY1" fmla="*/ 46132 h 46132"/>
                  </a:gdLst>
                  <a:ahLst/>
                  <a:cxnLst>
                    <a:cxn ang="0">
                      <a:pos x="csX0" y="csY0"/>
                    </a:cxn>
                    <a:cxn ang="0">
                      <a:pos x="csX1" y="csY1"/>
                    </a:cxn>
                  </a:cxnLst>
                  <a:rect l="l" t="t" r="r" b="b"/>
                  <a:pathLst>
                    <a:path w="12698" h="46132">
                      <a:moveTo>
                        <a:pt x="0" y="0"/>
                      </a:moveTo>
                      <a:lnTo>
                        <a:pt x="0" y="46132"/>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 name="Freeform 621">
                  <a:extLst>
                    <a:ext uri="{FF2B5EF4-FFF2-40B4-BE49-F238E27FC236}">
                      <a16:creationId xmlns:a16="http://schemas.microsoft.com/office/drawing/2014/main" id="{16744D74-6DBF-9BF4-D80D-DFDB17C27EA2}"/>
                    </a:ext>
                  </a:extLst>
                </p:cNvPr>
                <p:cNvSpPr/>
                <p:nvPr/>
              </p:nvSpPr>
              <p:spPr>
                <a:xfrm>
                  <a:off x="5525195" y="3468781"/>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7" name="Graphic 4">
                <a:extLst>
                  <a:ext uri="{FF2B5EF4-FFF2-40B4-BE49-F238E27FC236}">
                    <a16:creationId xmlns:a16="http://schemas.microsoft.com/office/drawing/2014/main" id="{EF72F17C-DD54-6C81-20F6-F03F730A9509}"/>
                  </a:ext>
                </a:extLst>
              </p:cNvPr>
              <p:cNvGrpSpPr/>
              <p:nvPr/>
            </p:nvGrpSpPr>
            <p:grpSpPr>
              <a:xfrm>
                <a:off x="5315544" y="3027794"/>
                <a:ext cx="46095" cy="46259"/>
                <a:chOff x="5315544" y="3027794"/>
                <a:chExt cx="46095" cy="46259"/>
              </a:xfrm>
            </p:grpSpPr>
            <p:sp>
              <p:nvSpPr>
                <p:cNvPr id="67" name="Freeform 618">
                  <a:extLst>
                    <a:ext uri="{FF2B5EF4-FFF2-40B4-BE49-F238E27FC236}">
                      <a16:creationId xmlns:a16="http://schemas.microsoft.com/office/drawing/2014/main" id="{0DE6AE7C-802B-C825-B846-3FF43D517717}"/>
                    </a:ext>
                  </a:extLst>
                </p:cNvPr>
                <p:cNvSpPr/>
                <p:nvPr/>
              </p:nvSpPr>
              <p:spPr>
                <a:xfrm>
                  <a:off x="5338528" y="3027794"/>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 name="Freeform 619">
                  <a:extLst>
                    <a:ext uri="{FF2B5EF4-FFF2-40B4-BE49-F238E27FC236}">
                      <a16:creationId xmlns:a16="http://schemas.microsoft.com/office/drawing/2014/main" id="{362995E4-B924-A029-2948-2AB323FB664C}"/>
                    </a:ext>
                  </a:extLst>
                </p:cNvPr>
                <p:cNvSpPr/>
                <p:nvPr/>
              </p:nvSpPr>
              <p:spPr>
                <a:xfrm>
                  <a:off x="5315544" y="3050924"/>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8" name="Graphic 4">
                <a:extLst>
                  <a:ext uri="{FF2B5EF4-FFF2-40B4-BE49-F238E27FC236}">
                    <a16:creationId xmlns:a16="http://schemas.microsoft.com/office/drawing/2014/main" id="{465442E4-5ECE-1E9A-5C40-58166EEA7623}"/>
                  </a:ext>
                </a:extLst>
              </p:cNvPr>
              <p:cNvGrpSpPr/>
              <p:nvPr/>
            </p:nvGrpSpPr>
            <p:grpSpPr>
              <a:xfrm>
                <a:off x="5292432" y="2906682"/>
                <a:ext cx="46095" cy="46132"/>
                <a:chOff x="5292432" y="2906682"/>
                <a:chExt cx="46095" cy="46132"/>
              </a:xfrm>
            </p:grpSpPr>
            <p:sp>
              <p:nvSpPr>
                <p:cNvPr id="65" name="Freeform 616">
                  <a:extLst>
                    <a:ext uri="{FF2B5EF4-FFF2-40B4-BE49-F238E27FC236}">
                      <a16:creationId xmlns:a16="http://schemas.microsoft.com/office/drawing/2014/main" id="{8D7F84F5-7BFB-7563-9058-0C5DBAE6AE84}"/>
                    </a:ext>
                  </a:extLst>
                </p:cNvPr>
                <p:cNvSpPr/>
                <p:nvPr/>
              </p:nvSpPr>
              <p:spPr>
                <a:xfrm>
                  <a:off x="5315544" y="2906682"/>
                  <a:ext cx="12698" cy="46132"/>
                </a:xfrm>
                <a:custGeom>
                  <a:avLst/>
                  <a:gdLst>
                    <a:gd name="csX0" fmla="*/ 0 w 12698"/>
                    <a:gd name="csY0" fmla="*/ 0 h 46132"/>
                    <a:gd name="csX1" fmla="*/ 0 w 12698"/>
                    <a:gd name="csY1" fmla="*/ 46132 h 46132"/>
                  </a:gdLst>
                  <a:ahLst/>
                  <a:cxnLst>
                    <a:cxn ang="0">
                      <a:pos x="csX0" y="csY0"/>
                    </a:cxn>
                    <a:cxn ang="0">
                      <a:pos x="csX1" y="csY1"/>
                    </a:cxn>
                  </a:cxnLst>
                  <a:rect l="l" t="t" r="r" b="b"/>
                  <a:pathLst>
                    <a:path w="12698" h="46132">
                      <a:moveTo>
                        <a:pt x="0" y="0"/>
                      </a:moveTo>
                      <a:lnTo>
                        <a:pt x="0" y="46132"/>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 name="Freeform 617">
                  <a:extLst>
                    <a:ext uri="{FF2B5EF4-FFF2-40B4-BE49-F238E27FC236}">
                      <a16:creationId xmlns:a16="http://schemas.microsoft.com/office/drawing/2014/main" id="{717E1A01-8EB5-5324-A7A3-D1013CD8989B}"/>
                    </a:ext>
                  </a:extLst>
                </p:cNvPr>
                <p:cNvSpPr/>
                <p:nvPr/>
              </p:nvSpPr>
              <p:spPr>
                <a:xfrm>
                  <a:off x="5292432" y="2929684"/>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9" name="Graphic 4">
                <a:extLst>
                  <a:ext uri="{FF2B5EF4-FFF2-40B4-BE49-F238E27FC236}">
                    <a16:creationId xmlns:a16="http://schemas.microsoft.com/office/drawing/2014/main" id="{B8E46DEF-692C-5DA2-B29A-37F31190126F}"/>
                  </a:ext>
                </a:extLst>
              </p:cNvPr>
              <p:cNvGrpSpPr/>
              <p:nvPr/>
            </p:nvGrpSpPr>
            <p:grpSpPr>
              <a:xfrm>
                <a:off x="5285575" y="2825855"/>
                <a:ext cx="46222" cy="46132"/>
                <a:chOff x="5285575" y="2825855"/>
                <a:chExt cx="46222" cy="46132"/>
              </a:xfrm>
            </p:grpSpPr>
            <p:sp>
              <p:nvSpPr>
                <p:cNvPr id="63" name="Freeform 614">
                  <a:extLst>
                    <a:ext uri="{FF2B5EF4-FFF2-40B4-BE49-F238E27FC236}">
                      <a16:creationId xmlns:a16="http://schemas.microsoft.com/office/drawing/2014/main" id="{703E1343-2DDA-914E-465B-84E22BB8D5BC}"/>
                    </a:ext>
                  </a:extLst>
                </p:cNvPr>
                <p:cNvSpPr/>
                <p:nvPr/>
              </p:nvSpPr>
              <p:spPr>
                <a:xfrm>
                  <a:off x="5308687" y="2825855"/>
                  <a:ext cx="12698" cy="46132"/>
                </a:xfrm>
                <a:custGeom>
                  <a:avLst/>
                  <a:gdLst>
                    <a:gd name="csX0" fmla="*/ 0 w 12698"/>
                    <a:gd name="csY0" fmla="*/ 0 h 46132"/>
                    <a:gd name="csX1" fmla="*/ 0 w 12698"/>
                    <a:gd name="csY1" fmla="*/ 46132 h 46132"/>
                  </a:gdLst>
                  <a:ahLst/>
                  <a:cxnLst>
                    <a:cxn ang="0">
                      <a:pos x="csX0" y="csY0"/>
                    </a:cxn>
                    <a:cxn ang="0">
                      <a:pos x="csX1" y="csY1"/>
                    </a:cxn>
                  </a:cxnLst>
                  <a:rect l="l" t="t" r="r" b="b"/>
                  <a:pathLst>
                    <a:path w="12698" h="46132">
                      <a:moveTo>
                        <a:pt x="0" y="0"/>
                      </a:moveTo>
                      <a:lnTo>
                        <a:pt x="0" y="46132"/>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 name="Freeform 615">
                  <a:extLst>
                    <a:ext uri="{FF2B5EF4-FFF2-40B4-BE49-F238E27FC236}">
                      <a16:creationId xmlns:a16="http://schemas.microsoft.com/office/drawing/2014/main" id="{9C7FCCBC-62AD-C185-537D-0FE9F51666AC}"/>
                    </a:ext>
                  </a:extLst>
                </p:cNvPr>
                <p:cNvSpPr/>
                <p:nvPr/>
              </p:nvSpPr>
              <p:spPr>
                <a:xfrm>
                  <a:off x="5285575" y="2848985"/>
                  <a:ext cx="46222" cy="12708"/>
                </a:xfrm>
                <a:custGeom>
                  <a:avLst/>
                  <a:gdLst>
                    <a:gd name="csX0" fmla="*/ 0 w 46222"/>
                    <a:gd name="csY0" fmla="*/ 0 h 12708"/>
                    <a:gd name="csX1" fmla="*/ 46222 w 46222"/>
                    <a:gd name="csY1" fmla="*/ 0 h 12708"/>
                  </a:gdLst>
                  <a:ahLst/>
                  <a:cxnLst>
                    <a:cxn ang="0">
                      <a:pos x="csX0" y="csY0"/>
                    </a:cxn>
                    <a:cxn ang="0">
                      <a:pos x="csX1" y="csY1"/>
                    </a:cxn>
                  </a:cxnLst>
                  <a:rect l="l" t="t" r="r" b="b"/>
                  <a:pathLst>
                    <a:path w="46222" h="12708">
                      <a:moveTo>
                        <a:pt x="0" y="0"/>
                      </a:moveTo>
                      <a:lnTo>
                        <a:pt x="46222" y="0"/>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50" name="Graphic 4">
                <a:extLst>
                  <a:ext uri="{FF2B5EF4-FFF2-40B4-BE49-F238E27FC236}">
                    <a16:creationId xmlns:a16="http://schemas.microsoft.com/office/drawing/2014/main" id="{49251792-055C-42A6-1640-3DE0B28FC868}"/>
                  </a:ext>
                </a:extLst>
              </p:cNvPr>
              <p:cNvGrpSpPr/>
              <p:nvPr/>
            </p:nvGrpSpPr>
            <p:grpSpPr>
              <a:xfrm>
                <a:off x="5277194" y="2788619"/>
                <a:ext cx="46222" cy="46132"/>
                <a:chOff x="5277194" y="2788619"/>
                <a:chExt cx="46222" cy="46132"/>
              </a:xfrm>
            </p:grpSpPr>
            <p:sp>
              <p:nvSpPr>
                <p:cNvPr id="61" name="Freeform 612">
                  <a:extLst>
                    <a:ext uri="{FF2B5EF4-FFF2-40B4-BE49-F238E27FC236}">
                      <a16:creationId xmlns:a16="http://schemas.microsoft.com/office/drawing/2014/main" id="{0DA0BE92-3A8A-82B4-A555-8F1065F348A1}"/>
                    </a:ext>
                  </a:extLst>
                </p:cNvPr>
                <p:cNvSpPr/>
                <p:nvPr/>
              </p:nvSpPr>
              <p:spPr>
                <a:xfrm>
                  <a:off x="5300306" y="2788619"/>
                  <a:ext cx="12698" cy="46132"/>
                </a:xfrm>
                <a:custGeom>
                  <a:avLst/>
                  <a:gdLst>
                    <a:gd name="csX0" fmla="*/ 0 w 12698"/>
                    <a:gd name="csY0" fmla="*/ 0 h 46132"/>
                    <a:gd name="csX1" fmla="*/ 0 w 12698"/>
                    <a:gd name="csY1" fmla="*/ 46132 h 46132"/>
                  </a:gdLst>
                  <a:ahLst/>
                  <a:cxnLst>
                    <a:cxn ang="0">
                      <a:pos x="csX0" y="csY0"/>
                    </a:cxn>
                    <a:cxn ang="0">
                      <a:pos x="csX1" y="csY1"/>
                    </a:cxn>
                  </a:cxnLst>
                  <a:rect l="l" t="t" r="r" b="b"/>
                  <a:pathLst>
                    <a:path w="12698" h="46132">
                      <a:moveTo>
                        <a:pt x="0" y="0"/>
                      </a:moveTo>
                      <a:lnTo>
                        <a:pt x="0" y="46132"/>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 name="Freeform 613">
                  <a:extLst>
                    <a:ext uri="{FF2B5EF4-FFF2-40B4-BE49-F238E27FC236}">
                      <a16:creationId xmlns:a16="http://schemas.microsoft.com/office/drawing/2014/main" id="{55C1D9CE-FA6A-3E25-6EC6-BAF4B7BE51AC}"/>
                    </a:ext>
                  </a:extLst>
                </p:cNvPr>
                <p:cNvSpPr/>
                <p:nvPr/>
              </p:nvSpPr>
              <p:spPr>
                <a:xfrm>
                  <a:off x="5277194" y="2811621"/>
                  <a:ext cx="46222" cy="12708"/>
                </a:xfrm>
                <a:custGeom>
                  <a:avLst/>
                  <a:gdLst>
                    <a:gd name="csX0" fmla="*/ 0 w 46222"/>
                    <a:gd name="csY0" fmla="*/ 0 h 12708"/>
                    <a:gd name="csX1" fmla="*/ 46222 w 46222"/>
                    <a:gd name="csY1" fmla="*/ 0 h 12708"/>
                  </a:gdLst>
                  <a:ahLst/>
                  <a:cxnLst>
                    <a:cxn ang="0">
                      <a:pos x="csX0" y="csY0"/>
                    </a:cxn>
                    <a:cxn ang="0">
                      <a:pos x="csX1" y="csY1"/>
                    </a:cxn>
                  </a:cxnLst>
                  <a:rect l="l" t="t" r="r" b="b"/>
                  <a:pathLst>
                    <a:path w="46222" h="12708">
                      <a:moveTo>
                        <a:pt x="0" y="0"/>
                      </a:moveTo>
                      <a:lnTo>
                        <a:pt x="46222" y="0"/>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51" name="Graphic 4">
                <a:extLst>
                  <a:ext uri="{FF2B5EF4-FFF2-40B4-BE49-F238E27FC236}">
                    <a16:creationId xmlns:a16="http://schemas.microsoft.com/office/drawing/2014/main" id="{F5BCE332-33E7-A5D6-D4DB-F3407552A3CB}"/>
                  </a:ext>
                </a:extLst>
              </p:cNvPr>
              <p:cNvGrpSpPr/>
              <p:nvPr/>
            </p:nvGrpSpPr>
            <p:grpSpPr>
              <a:xfrm>
                <a:off x="5259924" y="2641708"/>
                <a:ext cx="46095" cy="46132"/>
                <a:chOff x="5259924" y="2641708"/>
                <a:chExt cx="46095" cy="46132"/>
              </a:xfrm>
            </p:grpSpPr>
            <p:sp>
              <p:nvSpPr>
                <p:cNvPr id="59" name="Freeform 610">
                  <a:extLst>
                    <a:ext uri="{FF2B5EF4-FFF2-40B4-BE49-F238E27FC236}">
                      <a16:creationId xmlns:a16="http://schemas.microsoft.com/office/drawing/2014/main" id="{B8156EF7-659A-6938-FE04-DEAB2D7FF5E7}"/>
                    </a:ext>
                  </a:extLst>
                </p:cNvPr>
                <p:cNvSpPr/>
                <p:nvPr/>
              </p:nvSpPr>
              <p:spPr>
                <a:xfrm>
                  <a:off x="5283036" y="2641708"/>
                  <a:ext cx="12698" cy="46132"/>
                </a:xfrm>
                <a:custGeom>
                  <a:avLst/>
                  <a:gdLst>
                    <a:gd name="csX0" fmla="*/ 0 w 12698"/>
                    <a:gd name="csY0" fmla="*/ 0 h 46132"/>
                    <a:gd name="csX1" fmla="*/ 0 w 12698"/>
                    <a:gd name="csY1" fmla="*/ 46132 h 46132"/>
                  </a:gdLst>
                  <a:ahLst/>
                  <a:cxnLst>
                    <a:cxn ang="0">
                      <a:pos x="csX0" y="csY0"/>
                    </a:cxn>
                    <a:cxn ang="0">
                      <a:pos x="csX1" y="csY1"/>
                    </a:cxn>
                  </a:cxnLst>
                  <a:rect l="l" t="t" r="r" b="b"/>
                  <a:pathLst>
                    <a:path w="12698" h="46132">
                      <a:moveTo>
                        <a:pt x="0" y="0"/>
                      </a:moveTo>
                      <a:lnTo>
                        <a:pt x="0" y="46132"/>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0" name="Freeform 611">
                  <a:extLst>
                    <a:ext uri="{FF2B5EF4-FFF2-40B4-BE49-F238E27FC236}">
                      <a16:creationId xmlns:a16="http://schemas.microsoft.com/office/drawing/2014/main" id="{0DC431E1-547C-1A33-8A9F-B01C4BDFF827}"/>
                    </a:ext>
                  </a:extLst>
                </p:cNvPr>
                <p:cNvSpPr/>
                <p:nvPr/>
              </p:nvSpPr>
              <p:spPr>
                <a:xfrm>
                  <a:off x="5259924" y="2664710"/>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52" name="Graphic 4">
                <a:extLst>
                  <a:ext uri="{FF2B5EF4-FFF2-40B4-BE49-F238E27FC236}">
                    <a16:creationId xmlns:a16="http://schemas.microsoft.com/office/drawing/2014/main" id="{68856383-F197-BE2A-B881-4028A0208323}"/>
                  </a:ext>
                </a:extLst>
              </p:cNvPr>
              <p:cNvGrpSpPr/>
              <p:nvPr/>
            </p:nvGrpSpPr>
            <p:grpSpPr>
              <a:xfrm>
                <a:off x="5193384" y="2567744"/>
                <a:ext cx="46095" cy="46132"/>
                <a:chOff x="5193384" y="2567744"/>
                <a:chExt cx="46095" cy="46132"/>
              </a:xfrm>
            </p:grpSpPr>
            <p:sp>
              <p:nvSpPr>
                <p:cNvPr id="57" name="Freeform 608">
                  <a:extLst>
                    <a:ext uri="{FF2B5EF4-FFF2-40B4-BE49-F238E27FC236}">
                      <a16:creationId xmlns:a16="http://schemas.microsoft.com/office/drawing/2014/main" id="{27A7571B-F06B-402C-A416-138875FC2A48}"/>
                    </a:ext>
                  </a:extLst>
                </p:cNvPr>
                <p:cNvSpPr/>
                <p:nvPr/>
              </p:nvSpPr>
              <p:spPr>
                <a:xfrm>
                  <a:off x="5216369" y="2567744"/>
                  <a:ext cx="12698" cy="46132"/>
                </a:xfrm>
                <a:custGeom>
                  <a:avLst/>
                  <a:gdLst>
                    <a:gd name="csX0" fmla="*/ 0 w 12698"/>
                    <a:gd name="csY0" fmla="*/ 0 h 46132"/>
                    <a:gd name="csX1" fmla="*/ 0 w 12698"/>
                    <a:gd name="csY1" fmla="*/ 46132 h 46132"/>
                  </a:gdLst>
                  <a:ahLst/>
                  <a:cxnLst>
                    <a:cxn ang="0">
                      <a:pos x="csX0" y="csY0"/>
                    </a:cxn>
                    <a:cxn ang="0">
                      <a:pos x="csX1" y="csY1"/>
                    </a:cxn>
                  </a:cxnLst>
                  <a:rect l="l" t="t" r="r" b="b"/>
                  <a:pathLst>
                    <a:path w="12698" h="46132">
                      <a:moveTo>
                        <a:pt x="0" y="0"/>
                      </a:moveTo>
                      <a:lnTo>
                        <a:pt x="0" y="46132"/>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 name="Freeform 609">
                  <a:extLst>
                    <a:ext uri="{FF2B5EF4-FFF2-40B4-BE49-F238E27FC236}">
                      <a16:creationId xmlns:a16="http://schemas.microsoft.com/office/drawing/2014/main" id="{E86F05DE-7B39-41A4-A6E9-96EE5D2B4033}"/>
                    </a:ext>
                  </a:extLst>
                </p:cNvPr>
                <p:cNvSpPr/>
                <p:nvPr/>
              </p:nvSpPr>
              <p:spPr>
                <a:xfrm>
                  <a:off x="5193384" y="2590747"/>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53" name="Graphic 4">
                <a:extLst>
                  <a:ext uri="{FF2B5EF4-FFF2-40B4-BE49-F238E27FC236}">
                    <a16:creationId xmlns:a16="http://schemas.microsoft.com/office/drawing/2014/main" id="{7006C140-4EDD-F3D5-3EF5-AEA0A8F8CB5B}"/>
                  </a:ext>
                </a:extLst>
              </p:cNvPr>
              <p:cNvGrpSpPr/>
              <p:nvPr/>
            </p:nvGrpSpPr>
            <p:grpSpPr>
              <a:xfrm>
                <a:off x="5057638" y="2317385"/>
                <a:ext cx="46095" cy="46259"/>
                <a:chOff x="5057638" y="2317385"/>
                <a:chExt cx="46095" cy="46259"/>
              </a:xfrm>
            </p:grpSpPr>
            <p:sp>
              <p:nvSpPr>
                <p:cNvPr id="55" name="Freeform 606">
                  <a:extLst>
                    <a:ext uri="{FF2B5EF4-FFF2-40B4-BE49-F238E27FC236}">
                      <a16:creationId xmlns:a16="http://schemas.microsoft.com/office/drawing/2014/main" id="{CE18F05E-2B2B-2AE6-AB8D-963397509890}"/>
                    </a:ext>
                  </a:extLst>
                </p:cNvPr>
                <p:cNvSpPr/>
                <p:nvPr/>
              </p:nvSpPr>
              <p:spPr>
                <a:xfrm>
                  <a:off x="5080622" y="2317385"/>
                  <a:ext cx="12698" cy="46259"/>
                </a:xfrm>
                <a:custGeom>
                  <a:avLst/>
                  <a:gdLst>
                    <a:gd name="csX0" fmla="*/ 0 w 12698"/>
                    <a:gd name="csY0" fmla="*/ 0 h 46259"/>
                    <a:gd name="csX1" fmla="*/ 0 w 12698"/>
                    <a:gd name="csY1" fmla="*/ 46259 h 46259"/>
                  </a:gdLst>
                  <a:ahLst/>
                  <a:cxnLst>
                    <a:cxn ang="0">
                      <a:pos x="csX0" y="csY0"/>
                    </a:cxn>
                    <a:cxn ang="0">
                      <a:pos x="csX1" y="csY1"/>
                    </a:cxn>
                  </a:cxnLst>
                  <a:rect l="l" t="t" r="r" b="b"/>
                  <a:pathLst>
                    <a:path w="12698" h="46259">
                      <a:moveTo>
                        <a:pt x="0" y="0"/>
                      </a:moveTo>
                      <a:lnTo>
                        <a:pt x="0" y="46259"/>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6" name="Freeform 607">
                  <a:extLst>
                    <a:ext uri="{FF2B5EF4-FFF2-40B4-BE49-F238E27FC236}">
                      <a16:creationId xmlns:a16="http://schemas.microsoft.com/office/drawing/2014/main" id="{77A98400-F4C2-AD6A-FC4C-6DDEC5336509}"/>
                    </a:ext>
                  </a:extLst>
                </p:cNvPr>
                <p:cNvSpPr/>
                <p:nvPr/>
              </p:nvSpPr>
              <p:spPr>
                <a:xfrm>
                  <a:off x="5057638" y="2340515"/>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B41CD"/>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54" name="Freeform 605">
                <a:extLst>
                  <a:ext uri="{FF2B5EF4-FFF2-40B4-BE49-F238E27FC236}">
                    <a16:creationId xmlns:a16="http://schemas.microsoft.com/office/drawing/2014/main" id="{76355B2E-822B-7CFD-057C-7D255A0DACE0}"/>
                  </a:ext>
                </a:extLst>
              </p:cNvPr>
              <p:cNvSpPr/>
              <p:nvPr/>
            </p:nvSpPr>
            <p:spPr>
              <a:xfrm>
                <a:off x="8412433" y="2596639"/>
                <a:ext cx="263366" cy="12708"/>
              </a:xfrm>
              <a:custGeom>
                <a:avLst/>
                <a:gdLst>
                  <a:gd name="csX0" fmla="*/ 0 w 263366"/>
                  <a:gd name="csY0" fmla="*/ 0 h 12708"/>
                  <a:gd name="csX1" fmla="*/ 263366 w 263366"/>
                  <a:gd name="csY1" fmla="*/ 0 h 12708"/>
                </a:gdLst>
                <a:ahLst/>
                <a:cxnLst>
                  <a:cxn ang="0">
                    <a:pos x="csX0" y="csY0"/>
                  </a:cxn>
                  <a:cxn ang="0">
                    <a:pos x="csX1" y="csY1"/>
                  </a:cxn>
                </a:cxnLst>
                <a:rect l="l" t="t" r="r" b="b"/>
                <a:pathLst>
                  <a:path w="263366" h="12708">
                    <a:moveTo>
                      <a:pt x="0" y="0"/>
                    </a:moveTo>
                    <a:lnTo>
                      <a:pt x="263366" y="0"/>
                    </a:lnTo>
                  </a:path>
                </a:pathLst>
              </a:custGeom>
              <a:ln w="12693" cap="flat">
                <a:solidFill>
                  <a:srgbClr val="0B41CD"/>
                </a:solidFill>
                <a:custDash>
                  <a:ds d="225000" sp="225000"/>
                </a:custDash>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30" name="TextBox 29">
              <a:extLst>
                <a:ext uri="{FF2B5EF4-FFF2-40B4-BE49-F238E27FC236}">
                  <a16:creationId xmlns:a16="http://schemas.microsoft.com/office/drawing/2014/main" id="{FAC13BF2-2BDE-685B-E15B-57CFF202BB80}"/>
                </a:ext>
              </a:extLst>
            </p:cNvPr>
            <p:cNvSpPr txBox="1"/>
            <p:nvPr/>
          </p:nvSpPr>
          <p:spPr>
            <a:xfrm>
              <a:off x="5840715" y="1786039"/>
              <a:ext cx="925058" cy="192468"/>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R-</a:t>
              </a:r>
              <a:r>
                <a:rPr kumimoji="0" lang="en-US" sz="1067" b="0" i="0" u="none" strike="noStrike" kern="1200" cap="none" spc="0" normalizeH="0" baseline="0" noProof="0" dirty="0" err="1">
                  <a:ln/>
                  <a:solidFill>
                    <a:srgbClr val="000000"/>
                  </a:solidFill>
                  <a:effectLst/>
                  <a:uLnTx/>
                  <a:uFillTx/>
                  <a:latin typeface="Arial"/>
                  <a:ea typeface="+mn-ea"/>
                  <a:cs typeface="Arial"/>
                  <a:sym typeface="Arial"/>
                  <a:rtl val="0"/>
                </a:rPr>
                <a:t>GemOx</a:t>
              </a: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 (n=70)</a:t>
              </a:r>
            </a:p>
          </p:txBody>
        </p:sp>
        <p:sp>
          <p:nvSpPr>
            <p:cNvPr id="31" name="Freeform 643">
              <a:extLst>
                <a:ext uri="{FF2B5EF4-FFF2-40B4-BE49-F238E27FC236}">
                  <a16:creationId xmlns:a16="http://schemas.microsoft.com/office/drawing/2014/main" id="{60F7C3BC-BAAA-4DC5-F164-9BB170A22233}"/>
                </a:ext>
              </a:extLst>
            </p:cNvPr>
            <p:cNvSpPr/>
            <p:nvPr/>
          </p:nvSpPr>
          <p:spPr>
            <a:xfrm>
              <a:off x="5747889" y="1991216"/>
              <a:ext cx="12698" cy="46132"/>
            </a:xfrm>
            <a:custGeom>
              <a:avLst/>
              <a:gdLst>
                <a:gd name="csX0" fmla="*/ 0 w 12698"/>
                <a:gd name="csY0" fmla="*/ 0 h 46132"/>
                <a:gd name="csX1" fmla="*/ 0 w 12698"/>
                <a:gd name="csY1" fmla="*/ 46132 h 46132"/>
              </a:gdLst>
              <a:ahLst/>
              <a:cxnLst>
                <a:cxn ang="0">
                  <a:pos x="csX0" y="csY0"/>
                </a:cxn>
                <a:cxn ang="0">
                  <a:pos x="csX1" y="csY1"/>
                </a:cxn>
              </a:cxnLst>
              <a:rect l="l" t="t" r="r" b="b"/>
              <a:pathLst>
                <a:path w="12698" h="46132">
                  <a:moveTo>
                    <a:pt x="0" y="0"/>
                  </a:moveTo>
                  <a:lnTo>
                    <a:pt x="0" y="46132"/>
                  </a:lnTo>
                </a:path>
              </a:pathLst>
            </a:custGeom>
            <a:ln w="12693"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 name="Freeform 644">
              <a:extLst>
                <a:ext uri="{FF2B5EF4-FFF2-40B4-BE49-F238E27FC236}">
                  <a16:creationId xmlns:a16="http://schemas.microsoft.com/office/drawing/2014/main" id="{438CD616-C8B4-B4D8-5A34-7556F048EBB5}"/>
                </a:ext>
              </a:extLst>
            </p:cNvPr>
            <p:cNvSpPr/>
            <p:nvPr/>
          </p:nvSpPr>
          <p:spPr>
            <a:xfrm>
              <a:off x="5721488" y="2015934"/>
              <a:ext cx="46095" cy="12708"/>
            </a:xfrm>
            <a:custGeom>
              <a:avLst/>
              <a:gdLst>
                <a:gd name="csX0" fmla="*/ 0 w 46095"/>
                <a:gd name="csY0" fmla="*/ 0 h 12708"/>
                <a:gd name="csX1" fmla="*/ 46095 w 46095"/>
                <a:gd name="csY1" fmla="*/ 0 h 12708"/>
              </a:gdLst>
              <a:ahLst/>
              <a:cxnLst>
                <a:cxn ang="0">
                  <a:pos x="csX0" y="csY0"/>
                </a:cxn>
                <a:cxn ang="0">
                  <a:pos x="csX1" y="csY1"/>
                </a:cxn>
              </a:cxnLst>
              <a:rect l="l" t="t" r="r" b="b"/>
              <a:pathLst>
                <a:path w="46095" h="12708">
                  <a:moveTo>
                    <a:pt x="0" y="0"/>
                  </a:moveTo>
                  <a:lnTo>
                    <a:pt x="46095" y="0"/>
                  </a:lnTo>
                </a:path>
              </a:pathLst>
            </a:custGeom>
            <a:ln w="12693" cap="flat">
              <a:solidFill>
                <a:srgbClr val="000000"/>
              </a:solidFill>
              <a:prstDash val="solid"/>
              <a:miter/>
            </a:ln>
          </p:spPr>
          <p:txBody>
            <a:bodyPr/>
            <a:lstStyle/>
            <a:p>
              <a:pPr marL="0" marR="0" lvl="0" indent="0" algn="l" defTabSz="609402"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7E743ED2-6E64-1F8C-B7D9-1C9A663F24A8}"/>
                </a:ext>
              </a:extLst>
            </p:cNvPr>
            <p:cNvSpPr txBox="1"/>
            <p:nvPr/>
          </p:nvSpPr>
          <p:spPr>
            <a:xfrm>
              <a:off x="5840588" y="1905373"/>
              <a:ext cx="581107" cy="192468"/>
            </a:xfrm>
            <a:prstGeom prst="rect">
              <a:avLst/>
            </a:prstGeom>
            <a:noFill/>
          </p:spPr>
          <p:txBody>
            <a:bodyPr wrap="none" rtlCol="0">
              <a:spAutoFit/>
            </a:bodyPr>
            <a:lstStyle/>
            <a:p>
              <a:pPr marL="0" marR="0" lvl="0" indent="0" algn="l"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Censored</a:t>
              </a:r>
            </a:p>
          </p:txBody>
        </p:sp>
        <p:sp>
          <p:nvSpPr>
            <p:cNvPr id="34" name="TextBox 33">
              <a:extLst>
                <a:ext uri="{FF2B5EF4-FFF2-40B4-BE49-F238E27FC236}">
                  <a16:creationId xmlns:a16="http://schemas.microsoft.com/office/drawing/2014/main" id="{B0396278-A903-C56B-8C82-749FF1849601}"/>
                </a:ext>
              </a:extLst>
            </p:cNvPr>
            <p:cNvSpPr txBox="1"/>
            <p:nvPr/>
          </p:nvSpPr>
          <p:spPr>
            <a:xfrm>
              <a:off x="3744521" y="2120817"/>
              <a:ext cx="1526369" cy="562058"/>
            </a:xfrm>
            <a:prstGeom prst="rect">
              <a:avLst/>
            </a:prstGeom>
            <a:noFill/>
            <a:ln w="6350">
              <a:solidFill>
                <a:schemeClr val="tx1"/>
              </a:solidFill>
            </a:ln>
          </p:spPr>
          <p:txBody>
            <a:bodyPr wrap="none" rtlCol="0">
              <a:spAutoFit/>
            </a:bodyPr>
            <a:lstStyle/>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solidFill>
                    <a:srgbClr val="000000"/>
                  </a:solidFill>
                  <a:effectLst/>
                  <a:uLnTx/>
                  <a:uFillTx/>
                  <a:latin typeface="Arial"/>
                  <a:ea typeface="+mn-ea"/>
                  <a:cs typeface="Arial"/>
                  <a:sym typeface="Arial"/>
                  <a:rtl val="0"/>
                </a:rPr>
                <a:t>Median, months (95% CI): </a:t>
              </a:r>
            </a:p>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err="1">
                  <a:ln/>
                  <a:solidFill>
                    <a:srgbClr val="00B050"/>
                  </a:solidFill>
                  <a:effectLst/>
                  <a:uLnTx/>
                  <a:uFillTx/>
                  <a:latin typeface="Arial"/>
                  <a:ea typeface="+mn-ea"/>
                  <a:cs typeface="Arial"/>
                  <a:sym typeface="Arial"/>
                  <a:rtl val="0"/>
                </a:rPr>
                <a:t>Mosun</a:t>
              </a:r>
              <a:r>
                <a:rPr kumimoji="0" lang="en-US" sz="1067" b="1" i="0" u="none" strike="noStrike" kern="1200" cap="none" spc="0" normalizeH="0" baseline="0" noProof="0" dirty="0">
                  <a:ln/>
                  <a:solidFill>
                    <a:srgbClr val="00B050"/>
                  </a:solidFill>
                  <a:effectLst/>
                  <a:uLnTx/>
                  <a:uFillTx/>
                  <a:latin typeface="Arial"/>
                  <a:ea typeface="+mn-ea"/>
                  <a:cs typeface="Arial"/>
                  <a:sym typeface="Arial"/>
                  <a:rtl val="0"/>
                </a:rPr>
                <a:t>-Pola: </a:t>
              </a: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11.6 (5.6–17.6) </a:t>
              </a:r>
            </a:p>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solidFill>
                    <a:srgbClr val="0B41CD"/>
                  </a:solidFill>
                  <a:effectLst/>
                  <a:uLnTx/>
                  <a:uFillTx/>
                  <a:latin typeface="Arial"/>
                  <a:ea typeface="+mn-ea"/>
                  <a:cs typeface="Arial"/>
                  <a:sym typeface="Arial"/>
                  <a:rtl val="0"/>
                </a:rPr>
                <a:t>R-</a:t>
              </a:r>
              <a:r>
                <a:rPr kumimoji="0" lang="en-US" sz="1067" b="1" i="0" u="none" strike="noStrike" kern="1200" cap="none" spc="0" normalizeH="0" baseline="0" noProof="0" dirty="0" err="1">
                  <a:ln/>
                  <a:solidFill>
                    <a:srgbClr val="0B41CD"/>
                  </a:solidFill>
                  <a:effectLst/>
                  <a:uLnTx/>
                  <a:uFillTx/>
                  <a:latin typeface="Arial"/>
                  <a:ea typeface="+mn-ea"/>
                  <a:cs typeface="Arial"/>
                  <a:sym typeface="Arial"/>
                  <a:rtl val="0"/>
                </a:rPr>
                <a:t>GemOx</a:t>
              </a:r>
              <a:r>
                <a:rPr kumimoji="0" lang="en-US" sz="1067" b="1" i="0" u="none" strike="noStrike" kern="1200" cap="none" spc="0" normalizeH="0" baseline="0" noProof="0" dirty="0">
                  <a:ln/>
                  <a:solidFill>
                    <a:srgbClr val="0B41CD"/>
                  </a:solidFill>
                  <a:effectLst/>
                  <a:uLnTx/>
                  <a:uFillTx/>
                  <a:latin typeface="Arial"/>
                  <a:ea typeface="+mn-ea"/>
                  <a:cs typeface="Arial"/>
                  <a:sym typeface="Arial"/>
                  <a:rtl val="0"/>
                </a:rPr>
                <a:t>: </a:t>
              </a: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3.8 (2.9–4.1)</a:t>
              </a:r>
            </a:p>
            <a:p>
              <a:pPr marL="0" marR="0" lvl="0" indent="0" algn="ctr" defTabSz="60940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HR (95% CI): </a:t>
              </a:r>
              <a:r>
                <a:rPr kumimoji="0" lang="en-US" sz="1067" b="1" i="0" u="none" strike="noStrike" kern="1200" cap="none" spc="0" normalizeH="0" baseline="0" noProof="0" dirty="0">
                  <a:ln/>
                  <a:solidFill>
                    <a:srgbClr val="000000"/>
                  </a:solidFill>
                  <a:effectLst/>
                  <a:uLnTx/>
                  <a:uFillTx/>
                  <a:latin typeface="Arial"/>
                  <a:ea typeface="+mn-ea"/>
                  <a:cs typeface="Arial"/>
                  <a:sym typeface="Arial"/>
                  <a:rtl val="0"/>
                </a:rPr>
                <a:t>0.41 </a:t>
              </a: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0.28–0.60)</a:t>
              </a:r>
            </a:p>
          </p:txBody>
        </p:sp>
      </p:grpSp>
      <p:sp>
        <p:nvSpPr>
          <p:cNvPr id="3" name="TextBox 2">
            <a:extLst>
              <a:ext uri="{FF2B5EF4-FFF2-40B4-BE49-F238E27FC236}">
                <a16:creationId xmlns:a16="http://schemas.microsoft.com/office/drawing/2014/main" id="{5D6914DA-19A3-3ABF-B6E1-F4A2E6B6CFC5}"/>
              </a:ext>
            </a:extLst>
          </p:cNvPr>
          <p:cNvSpPr txBox="1"/>
          <p:nvPr/>
        </p:nvSpPr>
        <p:spPr>
          <a:xfrm>
            <a:off x="212779" y="6457890"/>
            <a:ext cx="2677592" cy="400110"/>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im et al, ASCO 2026</a:t>
            </a:r>
          </a:p>
        </p:txBody>
      </p:sp>
    </p:spTree>
    <p:extLst>
      <p:ext uri="{BB962C8B-B14F-4D97-AF65-F5344CB8AC3E}">
        <p14:creationId xmlns:p14="http://schemas.microsoft.com/office/powerpoint/2010/main" val="28944796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29760"/>
            <a:ext cx="10358967" cy="1383015"/>
          </a:xfrm>
        </p:spPr>
        <p:txBody>
          <a:bodyPr/>
          <a:lstStyle/>
          <a:p>
            <a:r>
              <a:rPr lang="en-US" sz="3200" dirty="0">
                <a:solidFill>
                  <a:srgbClr val="0432FF"/>
                </a:solidFill>
              </a:rPr>
              <a:t>Dr Westin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2589396434"/>
              </p:ext>
            </p:extLst>
          </p:nvPr>
        </p:nvGraphicFramePr>
        <p:xfrm>
          <a:off x="1055440" y="1844824"/>
          <a:ext cx="9860004" cy="3672408"/>
        </p:xfrm>
        <a:graphic>
          <a:graphicData uri="http://schemas.openxmlformats.org/drawingml/2006/table">
            <a:tbl>
              <a:tblPr firstRow="1" bandRow="1">
                <a:tableStyleId>{F2DE63D5-997A-4646-A377-4702673A728D}</a:tableStyleId>
              </a:tblPr>
              <a:tblGrid>
                <a:gridCol w="2533473">
                  <a:extLst>
                    <a:ext uri="{9D8B030D-6E8A-4147-A177-3AD203B41FA5}">
                      <a16:colId xmlns:a16="http://schemas.microsoft.com/office/drawing/2014/main" val="20000"/>
                    </a:ext>
                  </a:extLst>
                </a:gridCol>
                <a:gridCol w="7326531">
                  <a:extLst>
                    <a:ext uri="{9D8B030D-6E8A-4147-A177-3AD203B41FA5}">
                      <a16:colId xmlns:a16="http://schemas.microsoft.com/office/drawing/2014/main" val="20001"/>
                    </a:ext>
                  </a:extLst>
                </a:gridCol>
              </a:tblGrid>
              <a:tr h="737723">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Genentech, a member of the Roche Group, Kite, A Gilead Company, Novarti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621800">
                <a:tc>
                  <a:txBody>
                    <a:bodyPr/>
                    <a:lstStyle/>
                    <a:p>
                      <a:r>
                        <a:rPr lang="en-US" sz="1800" b="1" kern="1200" dirty="0">
                          <a:solidFill>
                            <a:schemeClr val="tx1"/>
                          </a:solidFill>
                          <a:effectLst/>
                          <a:latin typeface="+mn-lt"/>
                          <a:ea typeface="+mn-ea"/>
                          <a:cs typeface="+mn-cs"/>
                        </a:rPr>
                        <a:t> 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DC Therapeutics, </a:t>
                      </a:r>
                      <a:r>
                        <a:rPr lang="en-US" sz="1800" b="0" kern="1200" dirty="0" err="1">
                          <a:solidFill>
                            <a:schemeClr val="tx1"/>
                          </a:solidFill>
                          <a:effectLst/>
                          <a:latin typeface="+mn-lt"/>
                          <a:ea typeface="+mn-ea"/>
                          <a:cs typeface="+mn-cs"/>
                        </a:rPr>
                        <a:t>Allogene</a:t>
                      </a:r>
                      <a:r>
                        <a:rPr lang="en-US" sz="1800" b="0" kern="1200" dirty="0">
                          <a:solidFill>
                            <a:schemeClr val="tx1"/>
                          </a:solidFill>
                          <a:effectLst/>
                          <a:latin typeface="+mn-lt"/>
                          <a:ea typeface="+mn-ea"/>
                          <a:cs typeface="+mn-cs"/>
                        </a:rPr>
                        <a:t> Therapeutics, AstraZeneca Pharmaceuticals LP, Bristol Myers Squibb, Genentech, a member of the Roche Group, Genmab US Inc, Incyte Corporation, Janssen Biotech Inc, Kite, A Gilead Company, </a:t>
                      </a:r>
                      <a:r>
                        <a:rPr lang="en-US" sz="1800" b="0" kern="1200" dirty="0" err="1">
                          <a:solidFill>
                            <a:schemeClr val="tx1"/>
                          </a:solidFill>
                          <a:effectLst/>
                          <a:latin typeface="+mn-lt"/>
                          <a:ea typeface="+mn-ea"/>
                          <a:cs typeface="+mn-cs"/>
                        </a:rPr>
                        <a:t>MorphoSys</a:t>
                      </a:r>
                      <a:r>
                        <a:rPr lang="en-US" sz="1800" b="0" kern="1200" dirty="0">
                          <a:solidFill>
                            <a:schemeClr val="tx1"/>
                          </a:solidFill>
                          <a:effectLst/>
                          <a:latin typeface="+mn-lt"/>
                          <a:ea typeface="+mn-ea"/>
                          <a:cs typeface="+mn-cs"/>
                        </a:rPr>
                        <a:t>, Novartis, </a:t>
                      </a:r>
                      <a:r>
                        <a:rPr lang="en-US" sz="1800" b="0" kern="1200" dirty="0" err="1">
                          <a:solidFill>
                            <a:schemeClr val="tx1"/>
                          </a:solidFill>
                          <a:effectLst/>
                          <a:latin typeface="+mn-lt"/>
                          <a:ea typeface="+mn-ea"/>
                          <a:cs typeface="+mn-cs"/>
                        </a:rPr>
                        <a:t>Nurix</a:t>
                      </a:r>
                      <a:r>
                        <a:rPr lang="en-US" sz="1800" b="0" kern="1200" dirty="0">
                          <a:solidFill>
                            <a:schemeClr val="tx1"/>
                          </a:solidFill>
                          <a:effectLst/>
                          <a:latin typeface="+mn-lt"/>
                          <a:ea typeface="+mn-ea"/>
                          <a:cs typeface="+mn-cs"/>
                        </a:rPr>
                        <a:t> Therapeutics Inc, Pfizer Inc, Regeneron Pharmaceutical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92951636"/>
                  </a:ext>
                </a:extLst>
              </a:tr>
              <a:tr h="1312885">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DC Therapeutics, </a:t>
                      </a:r>
                      <a:r>
                        <a:rPr lang="en-US" sz="1800" b="0" kern="1200" dirty="0" err="1">
                          <a:solidFill>
                            <a:schemeClr val="tx1"/>
                          </a:solidFill>
                          <a:effectLst/>
                          <a:latin typeface="+mn-lt"/>
                          <a:ea typeface="+mn-ea"/>
                          <a:cs typeface="+mn-cs"/>
                        </a:rPr>
                        <a:t>Allogene</a:t>
                      </a:r>
                      <a:r>
                        <a:rPr lang="en-US" sz="1800" b="0" kern="1200" dirty="0">
                          <a:solidFill>
                            <a:schemeClr val="tx1"/>
                          </a:solidFill>
                          <a:effectLst/>
                          <a:latin typeface="+mn-lt"/>
                          <a:ea typeface="+mn-ea"/>
                          <a:cs typeface="+mn-cs"/>
                        </a:rPr>
                        <a:t> Therapeutics, AstraZeneca Pharmaceuticals LP, Bristol Myers Squibb, Genentech, a member of the Roche Group, Incyte Corporation, Janssen Biotech Inc, Kite, A Gilead Company, </a:t>
                      </a:r>
                      <a:r>
                        <a:rPr lang="en-US" sz="1800" b="0" kern="1200" dirty="0" err="1">
                          <a:solidFill>
                            <a:schemeClr val="tx1"/>
                          </a:solidFill>
                          <a:effectLst/>
                          <a:latin typeface="+mn-lt"/>
                          <a:ea typeface="+mn-ea"/>
                          <a:cs typeface="+mn-cs"/>
                        </a:rPr>
                        <a:t>MorphoSys</a:t>
                      </a:r>
                      <a:r>
                        <a:rPr lang="en-US" sz="1800" b="0" kern="1200" dirty="0">
                          <a:solidFill>
                            <a:schemeClr val="tx1"/>
                          </a:solidFill>
                          <a:effectLst/>
                          <a:latin typeface="+mn-lt"/>
                          <a:ea typeface="+mn-ea"/>
                          <a:cs typeface="+mn-cs"/>
                        </a:rPr>
                        <a:t>, Novartis, </a:t>
                      </a:r>
                      <a:r>
                        <a:rPr lang="en-US" sz="1800" b="0" kern="1200" dirty="0" err="1">
                          <a:solidFill>
                            <a:schemeClr val="tx1"/>
                          </a:solidFill>
                          <a:effectLst/>
                          <a:latin typeface="+mn-lt"/>
                          <a:ea typeface="+mn-ea"/>
                          <a:cs typeface="+mn-cs"/>
                        </a:rPr>
                        <a:t>Nurix</a:t>
                      </a:r>
                      <a:r>
                        <a:rPr lang="en-US" sz="1800" b="0" kern="1200" dirty="0">
                          <a:solidFill>
                            <a:schemeClr val="tx1"/>
                          </a:solidFill>
                          <a:effectLst/>
                          <a:latin typeface="+mn-lt"/>
                          <a:ea typeface="+mn-ea"/>
                          <a:cs typeface="+mn-cs"/>
                        </a:rPr>
                        <a:t> Therapeutics Inc, Regeneron Pharmaceutical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28685236"/>
                  </a:ext>
                </a:extLst>
              </a:tr>
            </a:tbl>
          </a:graphicData>
        </a:graphic>
      </p:graphicFrame>
    </p:spTree>
    <p:custDataLst>
      <p:tags r:id="rId1"/>
    </p:custDataLst>
    <p:extLst>
      <p:ext uri="{BB962C8B-B14F-4D97-AF65-F5344CB8AC3E}">
        <p14:creationId xmlns:p14="http://schemas.microsoft.com/office/powerpoint/2010/main" val="25606311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AFE7B0-7C03-10FE-B930-80DE337C0E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FEDE35-8A6F-9228-F039-96D964D45466}"/>
              </a:ext>
            </a:extLst>
          </p:cNvPr>
          <p:cNvSpPr>
            <a:spLocks noGrp="1"/>
          </p:cNvSpPr>
          <p:nvPr>
            <p:ph type="title"/>
          </p:nvPr>
        </p:nvSpPr>
        <p:spPr>
          <a:xfrm>
            <a:off x="528777" y="-188882"/>
            <a:ext cx="11558379" cy="907252"/>
          </a:xfrm>
        </p:spPr>
        <p:txBody>
          <a:bodyPr/>
          <a:lstStyle/>
          <a:p>
            <a:r>
              <a:rPr lang="en-GB" sz="3199" dirty="0"/>
              <a:t>Mosun-Pola demonstrated high efficacy in the 2L setting</a:t>
            </a:r>
            <a:r>
              <a:rPr lang="en-GB" sz="2133" dirty="0">
                <a:solidFill>
                  <a:srgbClr val="EC445D"/>
                </a:solidFill>
                <a:latin typeface="Open Sans"/>
                <a:ea typeface="Open Sans"/>
                <a:cs typeface="Open Sans"/>
                <a:sym typeface="Open Sans"/>
              </a:rPr>
              <a:t> </a:t>
            </a:r>
            <a:endParaRPr lang="en-US" sz="3199" dirty="0"/>
          </a:p>
        </p:txBody>
      </p:sp>
      <p:sp>
        <p:nvSpPr>
          <p:cNvPr id="84" name="Right Triangle 83">
            <a:extLst>
              <a:ext uri="{FF2B5EF4-FFF2-40B4-BE49-F238E27FC236}">
                <a16:creationId xmlns:a16="http://schemas.microsoft.com/office/drawing/2014/main" id="{CB9EB25A-01D7-F134-0B89-1BDE92F98C28}"/>
              </a:ext>
            </a:extLst>
          </p:cNvPr>
          <p:cNvSpPr/>
          <p:nvPr/>
        </p:nvSpPr>
        <p:spPr>
          <a:xfrm flipH="1">
            <a:off x="2900103" y="5460122"/>
            <a:ext cx="3110199" cy="215933"/>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6923" rtl="0" eaLnBrk="1" fontAlgn="base" latinLnBrk="0" hangingPunct="1">
              <a:lnSpc>
                <a:spcPct val="100000"/>
              </a:lnSpc>
              <a:spcBef>
                <a:spcPct val="0"/>
              </a:spcBef>
              <a:spcAft>
                <a:spcPct val="0"/>
              </a:spcAft>
              <a:buClrTx/>
              <a:buSzTx/>
              <a:buFontTx/>
              <a:buNone/>
              <a:tabLst/>
              <a:defRPr/>
            </a:pPr>
            <a:endParaRPr kumimoji="0" lang="en-US" sz="2133"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 name="Text Placeholder 3">
            <a:extLst>
              <a:ext uri="{FF2B5EF4-FFF2-40B4-BE49-F238E27FC236}">
                <a16:creationId xmlns:a16="http://schemas.microsoft.com/office/drawing/2014/main" id="{242F1CE0-783A-089F-2DD6-B82B90DB4038}"/>
              </a:ext>
            </a:extLst>
          </p:cNvPr>
          <p:cNvSpPr>
            <a:spLocks noGrp="1"/>
          </p:cNvSpPr>
          <p:nvPr>
            <p:ph type="body" sz="quarter" idx="11"/>
          </p:nvPr>
        </p:nvSpPr>
        <p:spPr>
          <a:xfrm>
            <a:off x="527049" y="6154095"/>
            <a:ext cx="4800000" cy="252446"/>
          </a:xfrm>
        </p:spPr>
        <p:txBody>
          <a:bodyPr/>
          <a:lstStyle/>
          <a:p>
            <a:r>
              <a:rPr lang="en-GB" sz="933" dirty="0"/>
              <a:t>Clinical cut-off date: August 8, 2025.</a:t>
            </a:r>
          </a:p>
        </p:txBody>
      </p:sp>
      <p:sp>
        <p:nvSpPr>
          <p:cNvPr id="5" name="Text Placeholder 14">
            <a:extLst>
              <a:ext uri="{FF2B5EF4-FFF2-40B4-BE49-F238E27FC236}">
                <a16:creationId xmlns:a16="http://schemas.microsoft.com/office/drawing/2014/main" id="{2A4F8C32-5254-5114-F530-ACC7AED9C07B}"/>
              </a:ext>
            </a:extLst>
          </p:cNvPr>
          <p:cNvSpPr txBox="1">
            <a:spLocks/>
          </p:cNvSpPr>
          <p:nvPr/>
        </p:nvSpPr>
        <p:spPr>
          <a:xfrm>
            <a:off x="6124470" y="4480592"/>
            <a:ext cx="5478796" cy="1543097"/>
          </a:xfrm>
          <a:prstGeom prst="round1Rect">
            <a:avLst>
              <a:gd name="adj" fmla="val 13863"/>
            </a:avLst>
          </a:prstGeom>
          <a:solidFill>
            <a:schemeClr val="accent3">
              <a:lumMod val="20000"/>
              <a:lumOff val="80000"/>
              <a:alpha val="67000"/>
            </a:schemeClr>
          </a:solidFill>
          <a:effectLst/>
        </p:spPr>
        <p:txBody>
          <a:bodyPr wrap="square" lIns="95971" tIns="95971" rIns="95971" bIns="95971" anchor="ctr">
            <a:spAutoFit/>
          </a:bodyPr>
          <a:lstStyle>
            <a:lvl1pPr marL="159257" indent="-159257" algn="l" rtl="0" eaLnBrk="1" fontAlgn="base" hangingPunct="1">
              <a:spcBef>
                <a:spcPts val="0"/>
              </a:spcBef>
              <a:spcAft>
                <a:spcPts val="540"/>
              </a:spcAft>
              <a:buClr>
                <a:schemeClr val="tx2"/>
              </a:buClr>
              <a:buFont typeface="Arial" pitchFamily="34" charset="0"/>
              <a:buChar char="•"/>
              <a:tabLst>
                <a:tab pos="154504" algn="l"/>
              </a:tabLst>
              <a:defRPr sz="1600" kern="1200">
                <a:solidFill>
                  <a:schemeClr val="tx1"/>
                </a:solidFill>
                <a:latin typeface="+mn-lt"/>
                <a:ea typeface="+mn-ea"/>
                <a:cs typeface="Arial" pitchFamily="34" charset="0"/>
              </a:defRPr>
            </a:lvl1pPr>
            <a:lvl2pPr marL="380310" indent="-207983" algn="l" rtl="0" eaLnBrk="1" fontAlgn="base" hangingPunct="1">
              <a:spcBef>
                <a:spcPts val="0"/>
              </a:spcBef>
              <a:spcAft>
                <a:spcPts val="540"/>
              </a:spcAft>
              <a:buClr>
                <a:schemeClr val="tx2"/>
              </a:buClr>
              <a:buFont typeface="Arial" pitchFamily="34" charset="0"/>
              <a:buChar char="–"/>
              <a:defRPr sz="1400" kern="1200">
                <a:solidFill>
                  <a:schemeClr val="tx1"/>
                </a:solidFill>
                <a:latin typeface="+mn-lt"/>
                <a:ea typeface="+mn-ea"/>
                <a:cs typeface="Arial" pitchFamily="34" charset="0"/>
              </a:defRPr>
            </a:lvl2pPr>
            <a:lvl3pPr marL="547885" indent="-164007" algn="l" rtl="0" eaLnBrk="1" fontAlgn="base" hangingPunct="1">
              <a:spcBef>
                <a:spcPts val="0"/>
              </a:spcBef>
              <a:spcAft>
                <a:spcPts val="0"/>
              </a:spcAft>
              <a:buClr>
                <a:schemeClr val="tx2"/>
              </a:buClr>
              <a:buFont typeface="Arial" pitchFamily="34" charset="0"/>
              <a:buChar char="•"/>
              <a:defRPr sz="1200" kern="1200">
                <a:solidFill>
                  <a:schemeClr val="tx1"/>
                </a:solidFill>
                <a:latin typeface="+mn-lt"/>
                <a:ea typeface="+mn-ea"/>
                <a:cs typeface="Arial" pitchFamily="34" charset="0"/>
              </a:defRPr>
            </a:lvl3pPr>
            <a:lvl4pPr marL="710707" indent="-158069" algn="l" rtl="0" eaLnBrk="1" fontAlgn="base" hangingPunct="1">
              <a:spcBef>
                <a:spcPts val="0"/>
              </a:spcBef>
              <a:spcAft>
                <a:spcPts val="540"/>
              </a:spcAft>
              <a:buClr>
                <a:schemeClr val="accent6"/>
              </a:buClr>
              <a:buFont typeface="Arial" pitchFamily="34" charset="0"/>
              <a:buChar char="•"/>
              <a:defRPr sz="1260" kern="1200">
                <a:solidFill>
                  <a:schemeClr val="tx1"/>
                </a:solidFill>
                <a:latin typeface="+mn-lt"/>
                <a:ea typeface="+mn-ea"/>
                <a:cs typeface="Arial" pitchFamily="34" charset="0"/>
              </a:defRPr>
            </a:lvl4pPr>
            <a:lvl5pPr marL="1540261" indent="-171140" algn="l" rtl="0" eaLnBrk="1" fontAlgn="base" hangingPunct="1">
              <a:spcBef>
                <a:spcPct val="20000"/>
              </a:spcBef>
              <a:spcAft>
                <a:spcPct val="0"/>
              </a:spcAft>
              <a:buFont typeface="Arial" charset="0"/>
              <a:buChar char="»"/>
              <a:defRPr sz="1500" kern="1200">
                <a:solidFill>
                  <a:schemeClr val="tx1"/>
                </a:solidFill>
                <a:latin typeface="Arial" pitchFamily="34" charset="0"/>
                <a:ea typeface="+mn-ea"/>
                <a:cs typeface="Arial" pitchFamily="34" charset="0"/>
              </a:defRPr>
            </a:lvl5pPr>
            <a:lvl6pPr marL="1882540" indent="-171140" algn="l" defTabSz="68456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4821" indent="-171140" algn="l" defTabSz="68456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7102" indent="-171140" algn="l" defTabSz="68456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09381" indent="-171140" algn="l" defTabSz="68456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59257" marR="0" lvl="0" indent="-195346" algn="l" defTabSz="1218804" rtl="0" eaLnBrk="1" fontAlgn="base" latinLnBrk="0" hangingPunct="1">
              <a:lnSpc>
                <a:spcPct val="100000"/>
              </a:lnSpc>
              <a:spcBef>
                <a:spcPts val="0"/>
              </a:spcBef>
              <a:spcAft>
                <a:spcPts val="0"/>
              </a:spcAft>
              <a:buClr>
                <a:srgbClr val="0B41CD"/>
              </a:buClr>
              <a:buSzPts val="1400"/>
              <a:buFont typeface="Arial" pitchFamily="34" charset="0"/>
              <a:buChar char="•"/>
              <a:tabLst>
                <a:tab pos="154504" algn="l"/>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Arial" pitchFamily="34" charset="0"/>
              </a:rPr>
              <a:t>A PFS HR of 0.38 was demonstrated in the </a:t>
            </a:r>
            <a:b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Arial" pitchFamily="34" charset="0"/>
              </a:rPr>
            </a:b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Arial" pitchFamily="34" charset="0"/>
              </a:rPr>
              <a:t>2L population</a:t>
            </a:r>
          </a:p>
          <a:p>
            <a:pPr marL="380310" marR="0" lvl="1" indent="-260292" algn="l" defTabSz="1218804" rtl="0" eaLnBrk="1" fontAlgn="base" latinLnBrk="0" hangingPunct="1">
              <a:lnSpc>
                <a:spcPct val="100000"/>
              </a:lnSpc>
              <a:spcBef>
                <a:spcPts val="720"/>
              </a:spcBef>
              <a:spcAft>
                <a:spcPts val="0"/>
              </a:spcAft>
              <a:buClr>
                <a:srgbClr val="0B41CD"/>
              </a:buClr>
              <a:buSzPts val="1200"/>
              <a:buFont typeface="Arial" pitchFamily="34" charset="0"/>
              <a:buChar char="–"/>
              <a:tabLst/>
              <a:defRPr/>
            </a:pPr>
            <a:r>
              <a:rPr kumimoji="0" lang="en-GB" sz="1467" b="0" i="0" u="none" strike="noStrike" kern="1200" cap="none" spc="0" normalizeH="0" baseline="0" noProof="0" dirty="0">
                <a:ln>
                  <a:noFill/>
                </a:ln>
                <a:solidFill>
                  <a:srgbClr val="000000"/>
                </a:solidFill>
                <a:effectLst/>
                <a:uLnTx/>
                <a:uFillTx/>
                <a:latin typeface="Arial" panose="020B0604020202020204"/>
                <a:ea typeface="+mn-ea"/>
                <a:cs typeface="Arial" pitchFamily="34" charset="0"/>
              </a:rPr>
              <a:t>The 2-year PFS rate was doubled with Mosun-Pola versus R-</a:t>
            </a:r>
            <a:r>
              <a:rPr kumimoji="0" lang="en-GB" sz="1467" b="0" i="0" u="none" strike="noStrike" kern="1200" cap="none" spc="0" normalizeH="0" baseline="0" noProof="0" dirty="0" err="1">
                <a:ln>
                  <a:noFill/>
                </a:ln>
                <a:solidFill>
                  <a:srgbClr val="000000"/>
                </a:solidFill>
                <a:effectLst/>
                <a:uLnTx/>
                <a:uFillTx/>
                <a:latin typeface="Arial" panose="020B0604020202020204"/>
                <a:ea typeface="+mn-ea"/>
                <a:cs typeface="Arial" pitchFamily="34" charset="0"/>
              </a:rPr>
              <a:t>GemOx</a:t>
            </a:r>
            <a:r>
              <a:rPr kumimoji="0" lang="en-GB" sz="1467" b="0" i="0" u="none" strike="noStrike" kern="1200" cap="none" spc="0" normalizeH="0" baseline="0" noProof="0" dirty="0">
                <a:ln>
                  <a:noFill/>
                </a:ln>
                <a:solidFill>
                  <a:srgbClr val="000000"/>
                </a:solidFill>
                <a:effectLst/>
                <a:uLnTx/>
                <a:uFillTx/>
                <a:latin typeface="Arial" panose="020B0604020202020204"/>
                <a:ea typeface="+mn-ea"/>
                <a:cs typeface="Arial" pitchFamily="34" charset="0"/>
              </a:rPr>
              <a:t>: 40.3% vs 20.1%</a:t>
            </a:r>
          </a:p>
          <a:p>
            <a:pPr marL="380310" marR="0" lvl="1" indent="-260292" algn="l" defTabSz="1218804" rtl="0" eaLnBrk="1" fontAlgn="base" latinLnBrk="0" hangingPunct="1">
              <a:lnSpc>
                <a:spcPct val="100000"/>
              </a:lnSpc>
              <a:spcBef>
                <a:spcPts val="720"/>
              </a:spcBef>
              <a:spcAft>
                <a:spcPts val="0"/>
              </a:spcAft>
              <a:buClr>
                <a:srgbClr val="0B41CD"/>
              </a:buClr>
              <a:buSzPts val="1200"/>
              <a:buFont typeface="Arial" pitchFamily="34" charset="0"/>
              <a:buChar char="–"/>
              <a:tabLst/>
              <a:defRPr/>
            </a:pPr>
            <a:r>
              <a:rPr kumimoji="0" lang="en-GB" sz="1467" b="0" i="0" u="none" strike="noStrike" kern="1200" cap="none" spc="0" normalizeH="0" baseline="0" noProof="0" dirty="0">
                <a:ln>
                  <a:noFill/>
                </a:ln>
                <a:solidFill>
                  <a:srgbClr val="000000"/>
                </a:solidFill>
                <a:effectLst/>
                <a:uLnTx/>
                <a:uFillTx/>
                <a:latin typeface="Arial" panose="020B0604020202020204"/>
                <a:ea typeface="+mn-ea"/>
                <a:cs typeface="Arial" pitchFamily="34" charset="0"/>
              </a:rPr>
              <a:t>Median DOCR was not reached with Mosun-Pola</a:t>
            </a:r>
          </a:p>
        </p:txBody>
      </p:sp>
      <p:graphicFrame>
        <p:nvGraphicFramePr>
          <p:cNvPr id="6" name="Google Shape;687;g386f113c280_0_1308">
            <a:extLst>
              <a:ext uri="{FF2B5EF4-FFF2-40B4-BE49-F238E27FC236}">
                <a16:creationId xmlns:a16="http://schemas.microsoft.com/office/drawing/2014/main" id="{4C964C97-680C-2964-88D4-5400C374F6E6}"/>
              </a:ext>
            </a:extLst>
          </p:cNvPr>
          <p:cNvGraphicFramePr/>
          <p:nvPr/>
        </p:nvGraphicFramePr>
        <p:xfrm>
          <a:off x="527488" y="989644"/>
          <a:ext cx="5380495" cy="5145623"/>
        </p:xfrm>
        <a:graphic>
          <a:graphicData uri="http://schemas.openxmlformats.org/drawingml/2006/table">
            <a:tbl>
              <a:tblPr>
                <a:noFill/>
              </a:tblPr>
              <a:tblGrid>
                <a:gridCol w="2255117">
                  <a:extLst>
                    <a:ext uri="{9D8B030D-6E8A-4147-A177-3AD203B41FA5}">
                      <a16:colId xmlns:a16="http://schemas.microsoft.com/office/drawing/2014/main" val="20000"/>
                    </a:ext>
                  </a:extLst>
                </a:gridCol>
                <a:gridCol w="1562689">
                  <a:extLst>
                    <a:ext uri="{9D8B030D-6E8A-4147-A177-3AD203B41FA5}">
                      <a16:colId xmlns:a16="http://schemas.microsoft.com/office/drawing/2014/main" val="20001"/>
                    </a:ext>
                  </a:extLst>
                </a:gridCol>
                <a:gridCol w="1562689">
                  <a:extLst>
                    <a:ext uri="{9D8B030D-6E8A-4147-A177-3AD203B41FA5}">
                      <a16:colId xmlns:a16="http://schemas.microsoft.com/office/drawing/2014/main" val="20002"/>
                    </a:ext>
                  </a:extLst>
                </a:gridCol>
              </a:tblGrid>
              <a:tr h="1262709">
                <a:tc>
                  <a:txBody>
                    <a:bodyPr/>
                    <a:lstStyle/>
                    <a:p>
                      <a:pPr marL="0" marR="0" lvl="0" indent="0" algn="l" rtl="0">
                        <a:lnSpc>
                          <a:spcPct val="115000"/>
                        </a:lnSpc>
                        <a:spcBef>
                          <a:spcPts val="0"/>
                        </a:spcBef>
                        <a:spcAft>
                          <a:spcPts val="0"/>
                        </a:spcAft>
                        <a:buClr>
                          <a:srgbClr val="000000"/>
                        </a:buClr>
                        <a:buSzPts val="1000"/>
                        <a:buFont typeface="Arial"/>
                        <a:buNone/>
                      </a:pPr>
                      <a:r>
                        <a:rPr lang="en-GB" sz="1500" b="0" u="none" strike="noStrike" cap="none" dirty="0">
                          <a:solidFill>
                            <a:schemeClr val="lt1"/>
                          </a:solidFill>
                        </a:rPr>
                        <a:t>IRC-assessed efficacy </a:t>
                      </a:r>
                    </a:p>
                    <a:p>
                      <a:pPr marL="0" marR="0" lvl="0" indent="0" algn="l" rtl="0">
                        <a:lnSpc>
                          <a:spcPct val="115000"/>
                        </a:lnSpc>
                        <a:spcBef>
                          <a:spcPts val="0"/>
                        </a:spcBef>
                        <a:spcAft>
                          <a:spcPts val="0"/>
                        </a:spcAft>
                        <a:buClr>
                          <a:srgbClr val="000000"/>
                        </a:buClr>
                        <a:buSzPts val="1000"/>
                        <a:buFont typeface="Arial"/>
                        <a:buNone/>
                      </a:pPr>
                      <a:r>
                        <a:rPr lang="en-GB" sz="1500" dirty="0">
                          <a:solidFill>
                            <a:schemeClr val="lt1"/>
                          </a:solidFill>
                        </a:rPr>
                        <a:t>% (95% CI), unless otherwise stated</a:t>
                      </a:r>
                    </a:p>
                  </a:txBody>
                  <a:tcPr marL="91405" marR="91405" marT="121896" marB="121896" anchor="ctr">
                    <a:lnL w="12700" cap="flat" cmpd="sng" algn="ctr">
                      <a:noFill/>
                      <a:prstDash val="solid"/>
                      <a:round/>
                      <a:headEnd type="none" w="med" len="med"/>
                      <a:tailEnd type="none" w="med" len="med"/>
                    </a:lnL>
                    <a:lnR w="14300" cap="flat" cmpd="sng">
                      <a:solidFill>
                        <a:srgbClr val="1340CE"/>
                      </a:solidFill>
                      <a:prstDash val="solid"/>
                      <a:round/>
                      <a:headEnd type="none" w="sm" len="sm"/>
                      <a:tailEnd type="none" w="sm" len="sm"/>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1340CE"/>
                    </a:solidFill>
                  </a:tcPr>
                </a:tc>
                <a:tc>
                  <a:txBody>
                    <a:bodyPr/>
                    <a:lstStyle/>
                    <a:p>
                      <a:pPr marL="0" marR="0" lvl="0" indent="0" algn="ctr" rtl="0">
                        <a:lnSpc>
                          <a:spcPct val="115000"/>
                        </a:lnSpc>
                        <a:spcBef>
                          <a:spcPts val="0"/>
                        </a:spcBef>
                        <a:spcAft>
                          <a:spcPts val="0"/>
                        </a:spcAft>
                        <a:buClr>
                          <a:srgbClr val="000000"/>
                        </a:buClr>
                        <a:buSzPts val="900"/>
                        <a:buFont typeface="Arial"/>
                        <a:buNone/>
                      </a:pPr>
                      <a:r>
                        <a:rPr lang="en-GB" sz="1500" b="1" u="none" strike="noStrike" cap="none" dirty="0">
                          <a:solidFill>
                            <a:schemeClr val="lt1"/>
                          </a:solidFill>
                        </a:rPr>
                        <a:t>2L</a:t>
                      </a:r>
                      <a:br>
                        <a:rPr lang="en-GB" sz="1500" b="1" u="none" strike="noStrike" cap="none" dirty="0">
                          <a:solidFill>
                            <a:schemeClr val="lt1"/>
                          </a:solidFill>
                        </a:rPr>
                      </a:br>
                      <a:r>
                        <a:rPr lang="en-GB" sz="1500" b="1" u="none" strike="noStrike" cap="none" dirty="0">
                          <a:solidFill>
                            <a:schemeClr val="lt1"/>
                          </a:solidFill>
                        </a:rPr>
                        <a:t>Mosun-Pola</a:t>
                      </a:r>
                      <a:br>
                        <a:rPr lang="en-GB" sz="1500" b="1" u="none" strike="noStrike" cap="none" dirty="0">
                          <a:solidFill>
                            <a:schemeClr val="lt1"/>
                          </a:solidFill>
                        </a:rPr>
                      </a:br>
                      <a:r>
                        <a:rPr lang="en-GB" sz="1500" b="1" u="none" strike="noStrike" cap="none" dirty="0">
                          <a:solidFill>
                            <a:schemeClr val="lt1"/>
                          </a:solidFill>
                        </a:rPr>
                        <a:t>(n=61)</a:t>
                      </a:r>
                      <a:endParaRPr sz="2100" dirty="0"/>
                    </a:p>
                  </a:txBody>
                  <a:tcPr marL="91405" marR="91405" marT="121896" marB="121896" anchor="ctr">
                    <a:lnL w="14300" cap="flat" cmpd="sng">
                      <a:solidFill>
                        <a:srgbClr val="1340CE"/>
                      </a:solidFill>
                      <a:prstDash val="solid"/>
                      <a:round/>
                      <a:headEnd type="none" w="sm" len="sm"/>
                      <a:tailEnd type="none" w="sm" len="sm"/>
                    </a:lnL>
                    <a:lnR w="14300" cap="flat" cmpd="sng">
                      <a:solidFill>
                        <a:srgbClr val="029963"/>
                      </a:solidFill>
                      <a:prstDash val="solid"/>
                      <a:round/>
                      <a:headEnd type="none" w="sm" len="sm"/>
                      <a:tailEnd type="none" w="sm" len="sm"/>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B050"/>
                    </a:solidFill>
                  </a:tcPr>
                </a:tc>
                <a:tc>
                  <a:txBody>
                    <a:bodyPr/>
                    <a:lstStyle/>
                    <a:p>
                      <a:pPr marL="0" marR="0" lvl="0" indent="0" algn="ctr" rtl="0">
                        <a:lnSpc>
                          <a:spcPct val="115000"/>
                        </a:lnSpc>
                        <a:spcBef>
                          <a:spcPts val="0"/>
                        </a:spcBef>
                        <a:spcAft>
                          <a:spcPts val="0"/>
                        </a:spcAft>
                        <a:buClr>
                          <a:srgbClr val="000000"/>
                        </a:buClr>
                        <a:buSzPts val="900"/>
                        <a:buFont typeface="Arial"/>
                        <a:buNone/>
                      </a:pPr>
                      <a:r>
                        <a:rPr lang="en-GB" sz="1500" b="1" u="none" strike="noStrike" cap="none" dirty="0">
                          <a:solidFill>
                            <a:schemeClr val="lt1"/>
                          </a:solidFill>
                        </a:rPr>
                        <a:t>2L</a:t>
                      </a:r>
                      <a:br>
                        <a:rPr lang="en-GB" sz="1500" b="1" u="none" strike="noStrike" cap="none" dirty="0">
                          <a:solidFill>
                            <a:schemeClr val="lt1"/>
                          </a:solidFill>
                        </a:rPr>
                      </a:br>
                      <a:r>
                        <a:rPr lang="en-GB" sz="1500" b="1" u="none" strike="noStrike" cap="none" dirty="0">
                          <a:solidFill>
                            <a:schemeClr val="lt1"/>
                          </a:solidFill>
                        </a:rPr>
                        <a:t>R-</a:t>
                      </a:r>
                      <a:r>
                        <a:rPr lang="en-GB" sz="1500" b="1" u="none" strike="noStrike" cap="none" dirty="0" err="1">
                          <a:solidFill>
                            <a:schemeClr val="lt1"/>
                          </a:solidFill>
                        </a:rPr>
                        <a:t>GemOx</a:t>
                      </a:r>
                      <a:br>
                        <a:rPr lang="en-GB" sz="1500" b="1" u="none" strike="noStrike" cap="none" dirty="0">
                          <a:solidFill>
                            <a:schemeClr val="lt1"/>
                          </a:solidFill>
                        </a:rPr>
                      </a:br>
                      <a:r>
                        <a:rPr lang="en-GB" sz="1500" b="1" u="none" strike="noStrike" cap="none" dirty="0">
                          <a:solidFill>
                            <a:schemeClr val="lt1"/>
                          </a:solidFill>
                        </a:rPr>
                        <a:t>(n=30)</a:t>
                      </a:r>
                      <a:endParaRPr sz="2100" dirty="0"/>
                    </a:p>
                  </a:txBody>
                  <a:tcPr marL="91405" marR="91405" marT="121896" marB="121896" anchor="ctr">
                    <a:lnL w="14300" cap="flat" cmpd="sng">
                      <a:solidFill>
                        <a:srgbClr val="029963"/>
                      </a:solidFill>
                      <a:prstDash val="solid"/>
                      <a:round/>
                      <a:headEnd type="none" w="sm" len="sm"/>
                      <a:tailEnd type="none" w="sm" len="sm"/>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1340CE"/>
                    </a:solidFill>
                  </a:tcPr>
                </a:tc>
                <a:extLst>
                  <a:ext uri="{0D108BD9-81ED-4DB2-BD59-A6C34878D82A}">
                    <a16:rowId xmlns:a16="http://schemas.microsoft.com/office/drawing/2014/main" val="10000"/>
                  </a:ext>
                </a:extLst>
              </a:tr>
              <a:tr h="796200">
                <a:tc>
                  <a:txBody>
                    <a:bodyPr/>
                    <a:lstStyle/>
                    <a:p>
                      <a:pPr marL="0" marR="0" lvl="0" indent="0" algn="l" rtl="0">
                        <a:lnSpc>
                          <a:spcPct val="114999"/>
                        </a:lnSpc>
                        <a:spcBef>
                          <a:spcPts val="0"/>
                        </a:spcBef>
                        <a:spcAft>
                          <a:spcPts val="0"/>
                        </a:spcAft>
                        <a:buClr>
                          <a:srgbClr val="000000"/>
                        </a:buClr>
                        <a:buSzPts val="900"/>
                        <a:buFont typeface="Arial"/>
                        <a:buNone/>
                      </a:pPr>
                      <a:r>
                        <a:rPr lang="en-GB" sz="1500" b="1" u="none" strike="noStrike" cap="none" dirty="0"/>
                        <a:t>Median PFS, </a:t>
                      </a:r>
                      <a:br>
                        <a:rPr lang="en-GB" sz="1500" b="1" u="none" strike="noStrike" cap="none" dirty="0"/>
                      </a:br>
                      <a:r>
                        <a:rPr lang="en-GB" sz="1500" b="0" u="none" strike="noStrike" cap="none" dirty="0"/>
                        <a:t>m</a:t>
                      </a:r>
                      <a:r>
                        <a:rPr lang="en-GB" sz="1500" b="0" i="0" u="none" strike="noStrike" cap="none" dirty="0">
                          <a:solidFill>
                            <a:srgbClr val="000000"/>
                          </a:solidFill>
                          <a:latin typeface="Arial"/>
                          <a:ea typeface="Arial"/>
                          <a:cs typeface="Arial"/>
                          <a:sym typeface="Arial"/>
                        </a:rPr>
                        <a:t>onths (95% CI)</a:t>
                      </a:r>
                      <a:endParaRPr sz="1500" b="0" u="none" strike="noStrike" cap="none" dirty="0"/>
                    </a:p>
                  </a:txBody>
                  <a:tcPr marL="91405" marR="91405" marT="121896" marB="121896" anchor="ctr">
                    <a:lnL w="12700" cap="flat" cmpd="sng" algn="ctr">
                      <a:noFill/>
                      <a:prstDash val="solid"/>
                      <a:round/>
                      <a:headEnd type="none" w="med" len="med"/>
                      <a:tailEnd type="none" w="med" len="med"/>
                    </a:lnL>
                    <a:lnR w="14300" cap="flat" cmpd="sng">
                      <a:solidFill>
                        <a:srgbClr val="1340CE"/>
                      </a:solidFill>
                      <a:prstDash val="solid"/>
                      <a:round/>
                      <a:headEnd type="none" w="sm" len="sm"/>
                      <a:tailEnd type="none" w="sm" len="sm"/>
                    </a:lnR>
                    <a:lnT w="12700" cap="flat" cmpd="sng" algn="ctr">
                      <a:noFill/>
                      <a:prstDash val="solid"/>
                      <a:round/>
                      <a:headEnd type="none" w="med" len="med"/>
                      <a:tailEnd type="none" w="med" len="med"/>
                    </a:lnT>
                    <a:lnB w="14300" cap="flat" cmpd="sng">
                      <a:solidFill>
                        <a:srgbClr val="BFBFBF"/>
                      </a:solidFill>
                      <a:prstDash val="solid"/>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SzPts val="900"/>
                        <a:buFont typeface="Arial"/>
                        <a:buNone/>
                      </a:pPr>
                      <a:endParaRPr lang="en-GB" sz="1500" u="none" strike="noStrike" cap="none" dirty="0"/>
                    </a:p>
                    <a:p>
                      <a:pPr marL="0" marR="0" lvl="0" indent="0" algn="ctr" rtl="0">
                        <a:lnSpc>
                          <a:spcPct val="115000"/>
                        </a:lnSpc>
                        <a:spcBef>
                          <a:spcPts val="0"/>
                        </a:spcBef>
                        <a:spcAft>
                          <a:spcPts val="0"/>
                        </a:spcAft>
                        <a:buClr>
                          <a:srgbClr val="000000"/>
                        </a:buClr>
                        <a:buSzPts val="900"/>
                        <a:buFont typeface="Arial"/>
                        <a:buNone/>
                      </a:pPr>
                      <a:r>
                        <a:rPr lang="en-GB" sz="1500" u="none" strike="noStrike" cap="none" dirty="0"/>
                        <a:t>17.6 (5.6–NE)</a:t>
                      </a:r>
                      <a:endParaRPr sz="2100" dirty="0"/>
                    </a:p>
                  </a:txBody>
                  <a:tcPr marL="91405" marR="91405" marT="121896" marB="121896">
                    <a:lnL w="14300" cap="flat" cmpd="sng">
                      <a:solidFill>
                        <a:srgbClr val="1340CE"/>
                      </a:solidFill>
                      <a:prstDash val="solid"/>
                      <a:round/>
                      <a:headEnd type="none" w="sm" len="sm"/>
                      <a:tailEnd type="none" w="sm" len="sm"/>
                    </a:lnL>
                    <a:lnR w="14300" cap="flat" cmpd="sng">
                      <a:solidFill>
                        <a:srgbClr val="029963"/>
                      </a:solidFill>
                      <a:prstDash val="solid"/>
                      <a:round/>
                      <a:headEnd type="none" w="sm" len="sm"/>
                      <a:tailEnd type="none" w="sm" len="sm"/>
                    </a:lnR>
                    <a:lnT w="12700" cap="flat" cmpd="sng" algn="ctr">
                      <a:noFill/>
                      <a:prstDash val="solid"/>
                      <a:round/>
                      <a:headEnd type="none" w="med" len="med"/>
                      <a:tailEnd type="none" w="med" len="med"/>
                    </a:lnT>
                    <a:lnB w="14300" cap="flat" cmpd="sng">
                      <a:solidFill>
                        <a:srgbClr val="BFBFBF"/>
                      </a:solidFill>
                      <a:prstDash val="solid"/>
                      <a:round/>
                      <a:headEnd type="none" w="sm" len="sm"/>
                      <a:tailEnd type="none" w="sm" len="sm"/>
                    </a:lnB>
                    <a:solidFill>
                      <a:srgbClr val="00B050">
                        <a:alpha val="20000"/>
                      </a:srgbClr>
                    </a:solidFill>
                  </a:tcPr>
                </a:tc>
                <a:tc>
                  <a:txBody>
                    <a:bodyPr/>
                    <a:lstStyle/>
                    <a:p>
                      <a:pPr marL="0" marR="0" lvl="0" indent="0" algn="ctr" rtl="0">
                        <a:lnSpc>
                          <a:spcPct val="115000"/>
                        </a:lnSpc>
                        <a:spcBef>
                          <a:spcPts val="0"/>
                        </a:spcBef>
                        <a:spcAft>
                          <a:spcPts val="0"/>
                        </a:spcAft>
                        <a:buClr>
                          <a:srgbClr val="000000"/>
                        </a:buClr>
                        <a:buSzPts val="900"/>
                        <a:buFont typeface="Arial"/>
                        <a:buNone/>
                      </a:pPr>
                      <a:endParaRPr lang="en-GB" sz="1500" u="none" strike="noStrike" cap="none" dirty="0"/>
                    </a:p>
                    <a:p>
                      <a:pPr marL="0" marR="0" lvl="0" indent="0" algn="ctr" rtl="0">
                        <a:lnSpc>
                          <a:spcPct val="115000"/>
                        </a:lnSpc>
                        <a:spcBef>
                          <a:spcPts val="0"/>
                        </a:spcBef>
                        <a:spcAft>
                          <a:spcPts val="0"/>
                        </a:spcAft>
                        <a:buClr>
                          <a:srgbClr val="000000"/>
                        </a:buClr>
                        <a:buSzPts val="900"/>
                        <a:buFont typeface="Arial"/>
                        <a:buNone/>
                      </a:pPr>
                      <a:r>
                        <a:rPr lang="en-GB" sz="1500" u="none" strike="noStrike" cap="none" dirty="0"/>
                        <a:t>3.6 (2.1–5.3)</a:t>
                      </a:r>
                      <a:endParaRPr sz="2100" dirty="0"/>
                    </a:p>
                  </a:txBody>
                  <a:tcPr marL="91405" marR="91405" marT="121896" marB="121896">
                    <a:lnL w="14300" cap="flat" cmpd="sng">
                      <a:solidFill>
                        <a:srgbClr val="029963"/>
                      </a:solidFill>
                      <a:prstDash val="solid"/>
                      <a:round/>
                      <a:headEnd type="none" w="sm" len="sm"/>
                      <a:tailEnd type="none" w="sm" len="sm"/>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4300" cap="flat" cmpd="sng">
                      <a:solidFill>
                        <a:srgbClr val="BFBFBF"/>
                      </a:solidFill>
                      <a:prstDash val="solid"/>
                      <a:round/>
                      <a:headEnd type="none" w="sm" len="sm"/>
                      <a:tailEnd type="none" w="sm" len="sm"/>
                    </a:lnB>
                    <a:solidFill>
                      <a:srgbClr val="1340CE">
                        <a:alpha val="20000"/>
                      </a:srgbClr>
                    </a:solidFill>
                  </a:tcPr>
                </a:tc>
                <a:extLst>
                  <a:ext uri="{0D108BD9-81ED-4DB2-BD59-A6C34878D82A}">
                    <a16:rowId xmlns:a16="http://schemas.microsoft.com/office/drawing/2014/main" val="10001"/>
                  </a:ext>
                </a:extLst>
              </a:tr>
              <a:tr h="680669">
                <a:tc>
                  <a:txBody>
                    <a:bodyPr/>
                    <a:lstStyle/>
                    <a:p>
                      <a:pPr marL="0" marR="0" lvl="0" indent="0" algn="l" rtl="0">
                        <a:lnSpc>
                          <a:spcPct val="114999"/>
                        </a:lnSpc>
                        <a:spcBef>
                          <a:spcPts val="0"/>
                        </a:spcBef>
                        <a:spcAft>
                          <a:spcPts val="0"/>
                        </a:spcAft>
                        <a:buClr>
                          <a:srgbClr val="000000"/>
                        </a:buClr>
                        <a:buSzPts val="900"/>
                        <a:buFont typeface="Arial"/>
                        <a:buNone/>
                      </a:pPr>
                      <a:r>
                        <a:rPr lang="en-GB" sz="1500" b="1" u="none" strike="noStrike" cap="none" dirty="0"/>
                        <a:t>ORR</a:t>
                      </a:r>
                      <a:endParaRPr sz="2100" dirty="0"/>
                    </a:p>
                  </a:txBody>
                  <a:tcPr marL="91405" marR="91405" marT="121896" marB="121896" anchor="ctr">
                    <a:lnL w="12700" cap="flat" cmpd="sng" algn="ctr">
                      <a:noFill/>
                      <a:prstDash val="solid"/>
                      <a:round/>
                      <a:headEnd type="none" w="med" len="med"/>
                      <a:tailEnd type="none" w="med" len="med"/>
                    </a:lnL>
                    <a:lnR w="14300" cap="flat" cmpd="sng">
                      <a:solidFill>
                        <a:srgbClr val="1340CE"/>
                      </a:solidFill>
                      <a:prstDash val="solid"/>
                      <a:round/>
                      <a:headEnd type="none" w="sm" len="sm"/>
                      <a:tailEnd type="none" w="sm" len="sm"/>
                    </a:lnR>
                    <a:lnT w="14300" cap="flat" cmpd="sng">
                      <a:solidFill>
                        <a:srgbClr val="BFBFBF"/>
                      </a:solidFill>
                      <a:prstDash val="solid"/>
                      <a:round/>
                      <a:headEnd type="none" w="sm" len="sm"/>
                      <a:tailEnd type="none" w="sm" len="sm"/>
                    </a:lnT>
                    <a:lnB w="14300" cap="flat" cmpd="sng">
                      <a:solidFill>
                        <a:srgbClr val="BFBFBF"/>
                      </a:solidFill>
                      <a:prstDash val="solid"/>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SzPts val="900"/>
                        <a:buFont typeface="Arial"/>
                        <a:buNone/>
                      </a:pPr>
                      <a:r>
                        <a:rPr lang="en-GB" sz="1500" u="none" strike="noStrike" cap="none" dirty="0"/>
                        <a:t>75.4 (62.7–85.5)</a:t>
                      </a:r>
                      <a:endParaRPr sz="2100" dirty="0"/>
                    </a:p>
                  </a:txBody>
                  <a:tcPr marL="91405" marR="91405" marT="121896" marB="121896" anchor="ctr">
                    <a:lnL w="14300" cap="flat" cmpd="sng">
                      <a:solidFill>
                        <a:srgbClr val="1340CE"/>
                      </a:solidFill>
                      <a:prstDash val="solid"/>
                      <a:round/>
                      <a:headEnd type="none" w="sm" len="sm"/>
                      <a:tailEnd type="none" w="sm" len="sm"/>
                    </a:lnL>
                    <a:lnR w="14300" cap="flat" cmpd="sng">
                      <a:solidFill>
                        <a:srgbClr val="029963"/>
                      </a:solidFill>
                      <a:prstDash val="solid"/>
                      <a:round/>
                      <a:headEnd type="none" w="sm" len="sm"/>
                      <a:tailEnd type="none" w="sm" len="sm"/>
                    </a:lnR>
                    <a:lnT w="14300" cap="flat" cmpd="sng">
                      <a:solidFill>
                        <a:srgbClr val="BFBFBF"/>
                      </a:solidFill>
                      <a:prstDash val="solid"/>
                      <a:round/>
                      <a:headEnd type="none" w="sm" len="sm"/>
                      <a:tailEnd type="none" w="sm" len="sm"/>
                    </a:lnT>
                    <a:lnB w="14300" cap="flat" cmpd="sng">
                      <a:solidFill>
                        <a:srgbClr val="BFBFBF"/>
                      </a:solidFill>
                      <a:prstDash val="solid"/>
                      <a:round/>
                      <a:headEnd type="none" w="sm" len="sm"/>
                      <a:tailEnd type="none" w="sm" len="sm"/>
                    </a:lnB>
                    <a:solidFill>
                      <a:srgbClr val="00B050">
                        <a:alpha val="20000"/>
                      </a:srgbClr>
                    </a:solidFill>
                  </a:tcPr>
                </a:tc>
                <a:tc>
                  <a:txBody>
                    <a:bodyPr/>
                    <a:lstStyle/>
                    <a:p>
                      <a:pPr marL="0" marR="0" lvl="0" indent="0" algn="ctr" rtl="0">
                        <a:lnSpc>
                          <a:spcPct val="115000"/>
                        </a:lnSpc>
                        <a:spcBef>
                          <a:spcPts val="0"/>
                        </a:spcBef>
                        <a:spcAft>
                          <a:spcPts val="0"/>
                        </a:spcAft>
                        <a:buClr>
                          <a:srgbClr val="000000"/>
                        </a:buClr>
                        <a:buSzPts val="900"/>
                        <a:buFont typeface="Arial"/>
                        <a:buNone/>
                      </a:pPr>
                      <a:r>
                        <a:rPr lang="en-GB" sz="1500" u="none" strike="noStrike" cap="none" dirty="0"/>
                        <a:t>36.7 (19.9–56.1)</a:t>
                      </a:r>
                      <a:endParaRPr sz="2100" dirty="0"/>
                    </a:p>
                  </a:txBody>
                  <a:tcPr marL="91405" marR="91405" marT="121896" marB="121896" anchor="ctr">
                    <a:lnL w="14300" cap="flat" cmpd="sng">
                      <a:solidFill>
                        <a:srgbClr val="029963"/>
                      </a:solidFill>
                      <a:prstDash val="solid"/>
                      <a:round/>
                      <a:headEnd type="none" w="sm" len="sm"/>
                      <a:tailEnd type="none" w="sm" len="sm"/>
                    </a:lnL>
                    <a:lnR w="12700" cap="flat" cmpd="sng" algn="ctr">
                      <a:solidFill>
                        <a:schemeClr val="tx2"/>
                      </a:solidFill>
                      <a:prstDash val="solid"/>
                      <a:round/>
                      <a:headEnd type="none" w="med" len="med"/>
                      <a:tailEnd type="none" w="med" len="med"/>
                    </a:lnR>
                    <a:lnT w="14300" cap="flat" cmpd="sng">
                      <a:solidFill>
                        <a:srgbClr val="BFBFBF"/>
                      </a:solidFill>
                      <a:prstDash val="solid"/>
                      <a:round/>
                      <a:headEnd type="none" w="sm" len="sm"/>
                      <a:tailEnd type="none" w="sm" len="sm"/>
                    </a:lnT>
                    <a:lnB w="14300" cap="flat" cmpd="sng">
                      <a:solidFill>
                        <a:srgbClr val="BFBFBF"/>
                      </a:solidFill>
                      <a:prstDash val="solid"/>
                      <a:round/>
                      <a:headEnd type="none" w="sm" len="sm"/>
                      <a:tailEnd type="none" w="sm" len="sm"/>
                    </a:lnB>
                    <a:solidFill>
                      <a:srgbClr val="1340CE">
                        <a:alpha val="20000"/>
                      </a:srgbClr>
                    </a:solidFill>
                  </a:tcPr>
                </a:tc>
                <a:extLst>
                  <a:ext uri="{0D108BD9-81ED-4DB2-BD59-A6C34878D82A}">
                    <a16:rowId xmlns:a16="http://schemas.microsoft.com/office/drawing/2014/main" val="10002"/>
                  </a:ext>
                </a:extLst>
              </a:tr>
              <a:tr h="680669">
                <a:tc>
                  <a:txBody>
                    <a:bodyPr/>
                    <a:lstStyle/>
                    <a:p>
                      <a:pPr marL="0" marR="0" lvl="0" indent="0" algn="l" rtl="0">
                        <a:lnSpc>
                          <a:spcPct val="114999"/>
                        </a:lnSpc>
                        <a:spcBef>
                          <a:spcPts val="0"/>
                        </a:spcBef>
                        <a:spcAft>
                          <a:spcPts val="0"/>
                        </a:spcAft>
                        <a:buClr>
                          <a:srgbClr val="000000"/>
                        </a:buClr>
                        <a:buSzPts val="900"/>
                        <a:buFont typeface="Arial"/>
                        <a:buNone/>
                      </a:pPr>
                      <a:r>
                        <a:rPr lang="en-GB" sz="1500" b="1" u="none" strike="noStrike" cap="none" dirty="0"/>
                        <a:t>CR</a:t>
                      </a:r>
                      <a:endParaRPr sz="2100" dirty="0"/>
                    </a:p>
                  </a:txBody>
                  <a:tcPr marL="91405" marR="91405" marT="121896" marB="121896" anchor="ctr">
                    <a:lnL w="12700" cap="flat" cmpd="sng" algn="ctr">
                      <a:noFill/>
                      <a:prstDash val="solid"/>
                      <a:round/>
                      <a:headEnd type="none" w="med" len="med"/>
                      <a:tailEnd type="none" w="med" len="med"/>
                    </a:lnL>
                    <a:lnR w="14300" cap="flat" cmpd="sng">
                      <a:solidFill>
                        <a:srgbClr val="1340CE"/>
                      </a:solidFill>
                      <a:prstDash val="solid"/>
                      <a:round/>
                      <a:headEnd type="none" w="sm" len="sm"/>
                      <a:tailEnd type="none" w="sm" len="sm"/>
                    </a:lnR>
                    <a:lnT w="14300" cap="flat" cmpd="sng">
                      <a:solidFill>
                        <a:srgbClr val="BFBFBF"/>
                      </a:solidFill>
                      <a:prstDash val="solid"/>
                      <a:round/>
                      <a:headEnd type="none" w="sm" len="sm"/>
                      <a:tailEnd type="none" w="sm" len="sm"/>
                    </a:lnT>
                    <a:lnB w="14300" cap="flat" cmpd="sng">
                      <a:solidFill>
                        <a:srgbClr val="BFBFBF"/>
                      </a:solidFill>
                      <a:prstDash val="solid"/>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SzPts val="900"/>
                        <a:buFont typeface="Arial"/>
                        <a:buNone/>
                      </a:pPr>
                      <a:r>
                        <a:rPr lang="en-GB" sz="1500" u="none" strike="noStrike" cap="none" dirty="0"/>
                        <a:t>60.7 (47.3–72.9)</a:t>
                      </a:r>
                      <a:endParaRPr sz="2100" dirty="0"/>
                    </a:p>
                  </a:txBody>
                  <a:tcPr marL="91405" marR="91405" marT="121896" marB="121896" anchor="ctr">
                    <a:lnL w="14300" cap="flat" cmpd="sng">
                      <a:solidFill>
                        <a:srgbClr val="1340CE"/>
                      </a:solidFill>
                      <a:prstDash val="solid"/>
                      <a:round/>
                      <a:headEnd type="none" w="sm" len="sm"/>
                      <a:tailEnd type="none" w="sm" len="sm"/>
                    </a:lnL>
                    <a:lnR w="14300" cap="flat" cmpd="sng">
                      <a:solidFill>
                        <a:srgbClr val="029963"/>
                      </a:solidFill>
                      <a:prstDash val="solid"/>
                      <a:round/>
                      <a:headEnd type="none" w="sm" len="sm"/>
                      <a:tailEnd type="none" w="sm" len="sm"/>
                    </a:lnR>
                    <a:lnT w="14300" cap="flat" cmpd="sng">
                      <a:solidFill>
                        <a:srgbClr val="BFBFBF"/>
                      </a:solidFill>
                      <a:prstDash val="solid"/>
                      <a:round/>
                      <a:headEnd type="none" w="sm" len="sm"/>
                      <a:tailEnd type="none" w="sm" len="sm"/>
                    </a:lnT>
                    <a:lnB w="14300" cap="flat" cmpd="sng">
                      <a:solidFill>
                        <a:srgbClr val="BFBFBF"/>
                      </a:solidFill>
                      <a:prstDash val="solid"/>
                      <a:round/>
                      <a:headEnd type="none" w="sm" len="sm"/>
                      <a:tailEnd type="none" w="sm" len="sm"/>
                    </a:lnB>
                    <a:solidFill>
                      <a:srgbClr val="00B050">
                        <a:alpha val="20000"/>
                      </a:srgbClr>
                    </a:solidFill>
                  </a:tcPr>
                </a:tc>
                <a:tc>
                  <a:txBody>
                    <a:bodyPr/>
                    <a:lstStyle/>
                    <a:p>
                      <a:pPr marL="0" marR="0" lvl="0" indent="0" algn="ctr" rtl="0">
                        <a:lnSpc>
                          <a:spcPct val="115000"/>
                        </a:lnSpc>
                        <a:spcBef>
                          <a:spcPts val="0"/>
                        </a:spcBef>
                        <a:spcAft>
                          <a:spcPts val="0"/>
                        </a:spcAft>
                        <a:buClr>
                          <a:srgbClr val="000000"/>
                        </a:buClr>
                        <a:buSzPts val="900"/>
                        <a:buFont typeface="Arial"/>
                        <a:buNone/>
                      </a:pPr>
                      <a:r>
                        <a:rPr lang="en-GB" sz="1500" u="none" strike="noStrike" cap="none" dirty="0"/>
                        <a:t>20.0 (7.7–38.6)</a:t>
                      </a:r>
                      <a:endParaRPr sz="2100" dirty="0"/>
                    </a:p>
                  </a:txBody>
                  <a:tcPr marL="91405" marR="91405" marT="121896" marB="121896" anchor="ctr">
                    <a:lnL w="14300" cap="flat" cmpd="sng">
                      <a:solidFill>
                        <a:srgbClr val="029963"/>
                      </a:solidFill>
                      <a:prstDash val="solid"/>
                      <a:round/>
                      <a:headEnd type="none" w="sm" len="sm"/>
                      <a:tailEnd type="none" w="sm" len="sm"/>
                    </a:lnL>
                    <a:lnR w="12700" cap="flat" cmpd="sng" algn="ctr">
                      <a:solidFill>
                        <a:schemeClr val="tx2"/>
                      </a:solidFill>
                      <a:prstDash val="solid"/>
                      <a:round/>
                      <a:headEnd type="none" w="med" len="med"/>
                      <a:tailEnd type="none" w="med" len="med"/>
                    </a:lnR>
                    <a:lnT w="14300" cap="flat" cmpd="sng">
                      <a:solidFill>
                        <a:srgbClr val="BFBFBF"/>
                      </a:solidFill>
                      <a:prstDash val="solid"/>
                      <a:round/>
                      <a:headEnd type="none" w="sm" len="sm"/>
                      <a:tailEnd type="none" w="sm" len="sm"/>
                    </a:lnT>
                    <a:lnB w="14300" cap="flat" cmpd="sng">
                      <a:solidFill>
                        <a:srgbClr val="BFBFBF"/>
                      </a:solidFill>
                      <a:prstDash val="solid"/>
                      <a:round/>
                      <a:headEnd type="none" w="sm" len="sm"/>
                      <a:tailEnd type="none" w="sm" len="sm"/>
                    </a:lnB>
                    <a:solidFill>
                      <a:srgbClr val="1340CE">
                        <a:alpha val="20000"/>
                      </a:srgbClr>
                    </a:solidFill>
                  </a:tcPr>
                </a:tc>
                <a:extLst>
                  <a:ext uri="{0D108BD9-81ED-4DB2-BD59-A6C34878D82A}">
                    <a16:rowId xmlns:a16="http://schemas.microsoft.com/office/drawing/2014/main" val="10003"/>
                  </a:ext>
                </a:extLst>
              </a:tr>
              <a:tr h="796200">
                <a:tc>
                  <a:txBody>
                    <a:bodyPr/>
                    <a:lstStyle/>
                    <a:p>
                      <a:pPr marL="0" marR="0" lvl="0" indent="0" algn="l" rtl="0">
                        <a:lnSpc>
                          <a:spcPct val="114999"/>
                        </a:lnSpc>
                        <a:spcBef>
                          <a:spcPts val="0"/>
                        </a:spcBef>
                        <a:spcAft>
                          <a:spcPts val="0"/>
                        </a:spcAft>
                        <a:buClr>
                          <a:srgbClr val="000000"/>
                        </a:buClr>
                        <a:buSzPts val="900"/>
                        <a:buFont typeface="Arial"/>
                        <a:buNone/>
                      </a:pPr>
                      <a:r>
                        <a:rPr lang="en-GB" sz="1500" b="1" u="none" strike="noStrike" cap="none" dirty="0"/>
                        <a:t>Median DOR, </a:t>
                      </a:r>
                      <a:br>
                        <a:rPr lang="en-GB" sz="1500" b="1" u="none" strike="noStrike" cap="none" dirty="0"/>
                      </a:br>
                      <a:r>
                        <a:rPr lang="en-GB" sz="1500" b="0" u="none" strike="noStrike" cap="none" dirty="0"/>
                        <a:t>m</a:t>
                      </a:r>
                      <a:r>
                        <a:rPr lang="en-GB" sz="1500" b="0" i="0" u="none" strike="noStrike" cap="none" dirty="0">
                          <a:solidFill>
                            <a:srgbClr val="000000"/>
                          </a:solidFill>
                          <a:latin typeface="Arial"/>
                          <a:ea typeface="Arial"/>
                          <a:cs typeface="Arial"/>
                          <a:sym typeface="Arial"/>
                        </a:rPr>
                        <a:t>onths (95% CI)</a:t>
                      </a:r>
                      <a:endParaRPr sz="1500" b="0" i="0" u="none" strike="noStrike" cap="none" dirty="0">
                        <a:solidFill>
                          <a:srgbClr val="000000"/>
                        </a:solidFill>
                        <a:latin typeface="Arial"/>
                        <a:ea typeface="Arial"/>
                        <a:cs typeface="Arial"/>
                        <a:sym typeface="Arial"/>
                      </a:endParaRPr>
                    </a:p>
                  </a:txBody>
                  <a:tcPr marL="91405" marR="91405" marT="121896" marB="121896" anchor="ctr">
                    <a:lnL w="12700" cap="flat" cmpd="sng" algn="ctr">
                      <a:noFill/>
                      <a:prstDash val="solid"/>
                      <a:round/>
                      <a:headEnd type="none" w="med" len="med"/>
                      <a:tailEnd type="none" w="med" len="med"/>
                    </a:lnL>
                    <a:lnR w="14300" cap="flat" cmpd="sng">
                      <a:solidFill>
                        <a:srgbClr val="1340CE"/>
                      </a:solidFill>
                      <a:prstDash val="solid"/>
                      <a:round/>
                      <a:headEnd type="none" w="sm" len="sm"/>
                      <a:tailEnd type="none" w="sm" len="sm"/>
                    </a:lnR>
                    <a:lnT w="14300" cap="flat" cmpd="sng">
                      <a:solidFill>
                        <a:srgbClr val="BFBFBF"/>
                      </a:solidFill>
                      <a:prstDash val="solid"/>
                      <a:round/>
                      <a:headEnd type="none" w="sm" len="sm"/>
                      <a:tailEnd type="none" w="sm" len="sm"/>
                    </a:lnT>
                    <a:lnB w="14300" cap="flat" cmpd="sng">
                      <a:solidFill>
                        <a:srgbClr val="BFBFBF"/>
                      </a:solidFill>
                      <a:prstDash val="solid"/>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SzPts val="900"/>
                        <a:buFont typeface="Arial"/>
                        <a:buNone/>
                      </a:pPr>
                      <a:r>
                        <a:rPr lang="en-GB" sz="1500" u="none" strike="noStrike" cap="none" dirty="0"/>
                        <a:t>18.8 (11.3–NE)</a:t>
                      </a:r>
                      <a:endParaRPr sz="2100" dirty="0"/>
                    </a:p>
                  </a:txBody>
                  <a:tcPr marL="91405" marR="91405" marT="121896" marB="121896" anchor="ctr">
                    <a:lnL w="14300" cap="flat" cmpd="sng">
                      <a:solidFill>
                        <a:srgbClr val="1340CE"/>
                      </a:solidFill>
                      <a:prstDash val="solid"/>
                      <a:round/>
                      <a:headEnd type="none" w="sm" len="sm"/>
                      <a:tailEnd type="none" w="sm" len="sm"/>
                    </a:lnL>
                    <a:lnR w="14300" cap="flat" cmpd="sng">
                      <a:solidFill>
                        <a:srgbClr val="029963"/>
                      </a:solidFill>
                      <a:prstDash val="solid"/>
                      <a:round/>
                      <a:headEnd type="none" w="sm" len="sm"/>
                      <a:tailEnd type="none" w="sm" len="sm"/>
                    </a:lnR>
                    <a:lnT w="14300" cap="flat" cmpd="sng">
                      <a:solidFill>
                        <a:srgbClr val="BFBFBF"/>
                      </a:solidFill>
                      <a:prstDash val="solid"/>
                      <a:round/>
                      <a:headEnd type="none" w="sm" len="sm"/>
                      <a:tailEnd type="none" w="sm" len="sm"/>
                    </a:lnT>
                    <a:lnB w="14300" cap="flat" cmpd="sng">
                      <a:solidFill>
                        <a:srgbClr val="BFBFBF"/>
                      </a:solidFill>
                      <a:prstDash val="solid"/>
                      <a:round/>
                      <a:headEnd type="none" w="sm" len="sm"/>
                      <a:tailEnd type="none" w="sm" len="sm"/>
                    </a:lnB>
                    <a:solidFill>
                      <a:srgbClr val="00B050">
                        <a:alpha val="20000"/>
                      </a:srgbClr>
                    </a:solidFill>
                  </a:tcPr>
                </a:tc>
                <a:tc>
                  <a:txBody>
                    <a:bodyPr/>
                    <a:lstStyle/>
                    <a:p>
                      <a:pPr marL="0" marR="0" lvl="0" indent="0" algn="ctr" rtl="0">
                        <a:lnSpc>
                          <a:spcPct val="115000"/>
                        </a:lnSpc>
                        <a:spcBef>
                          <a:spcPts val="0"/>
                        </a:spcBef>
                        <a:spcAft>
                          <a:spcPts val="0"/>
                        </a:spcAft>
                        <a:buClr>
                          <a:srgbClr val="000000"/>
                        </a:buClr>
                        <a:buSzPts val="900"/>
                        <a:buFont typeface="Arial"/>
                        <a:buNone/>
                      </a:pPr>
                      <a:r>
                        <a:rPr lang="en-GB" sz="1500" u="none" strike="noStrike" cap="none" dirty="0"/>
                        <a:t>6.0 (3.9–NE)</a:t>
                      </a:r>
                      <a:endParaRPr sz="2100" dirty="0"/>
                    </a:p>
                  </a:txBody>
                  <a:tcPr marL="91405" marR="91405" marT="121896" marB="121896" anchor="ctr">
                    <a:lnL w="14300" cap="flat" cmpd="sng">
                      <a:solidFill>
                        <a:srgbClr val="029963"/>
                      </a:solidFill>
                      <a:prstDash val="solid"/>
                      <a:round/>
                      <a:headEnd type="none" w="sm" len="sm"/>
                      <a:tailEnd type="none" w="sm" len="sm"/>
                    </a:lnL>
                    <a:lnR w="12700" cap="flat" cmpd="sng" algn="ctr">
                      <a:solidFill>
                        <a:schemeClr val="tx2"/>
                      </a:solidFill>
                      <a:prstDash val="solid"/>
                      <a:round/>
                      <a:headEnd type="none" w="med" len="med"/>
                      <a:tailEnd type="none" w="med" len="med"/>
                    </a:lnR>
                    <a:lnT w="14300" cap="flat" cmpd="sng">
                      <a:solidFill>
                        <a:srgbClr val="BFBFBF"/>
                      </a:solidFill>
                      <a:prstDash val="solid"/>
                      <a:round/>
                      <a:headEnd type="none" w="sm" len="sm"/>
                      <a:tailEnd type="none" w="sm" len="sm"/>
                    </a:lnT>
                    <a:lnB w="14300" cap="flat" cmpd="sng">
                      <a:solidFill>
                        <a:srgbClr val="BFBFBF"/>
                      </a:solidFill>
                      <a:prstDash val="solid"/>
                      <a:round/>
                      <a:headEnd type="none" w="sm" len="sm"/>
                      <a:tailEnd type="none" w="sm" len="sm"/>
                    </a:lnB>
                    <a:solidFill>
                      <a:srgbClr val="1340CE">
                        <a:alpha val="20000"/>
                      </a:srgbClr>
                    </a:solidFill>
                  </a:tcPr>
                </a:tc>
                <a:extLst>
                  <a:ext uri="{0D108BD9-81ED-4DB2-BD59-A6C34878D82A}">
                    <a16:rowId xmlns:a16="http://schemas.microsoft.com/office/drawing/2014/main" val="10004"/>
                  </a:ext>
                </a:extLst>
              </a:tr>
              <a:tr h="796200">
                <a:tc>
                  <a:txBody>
                    <a:bodyPr/>
                    <a:lstStyle/>
                    <a:p>
                      <a:pPr marL="0" marR="0" lvl="0" indent="0" algn="l" rtl="0">
                        <a:lnSpc>
                          <a:spcPct val="114999"/>
                        </a:lnSpc>
                        <a:spcBef>
                          <a:spcPts val="0"/>
                        </a:spcBef>
                        <a:spcAft>
                          <a:spcPts val="0"/>
                        </a:spcAft>
                        <a:buClr>
                          <a:srgbClr val="000000"/>
                        </a:buClr>
                        <a:buSzPts val="900"/>
                        <a:buFont typeface="Arial"/>
                        <a:buNone/>
                      </a:pPr>
                      <a:r>
                        <a:rPr lang="en-GB" sz="1500" b="1" u="none" strike="noStrike" cap="none" dirty="0"/>
                        <a:t>Median DOCR, </a:t>
                      </a:r>
                      <a:br>
                        <a:rPr lang="en-GB" sz="1500" b="1" u="none" strike="noStrike" cap="none" dirty="0"/>
                      </a:br>
                      <a:r>
                        <a:rPr lang="en-GB" sz="1500" b="0" u="none" strike="noStrike" cap="none" dirty="0"/>
                        <a:t>m</a:t>
                      </a:r>
                      <a:r>
                        <a:rPr lang="en-GB" sz="1500" b="0" i="0" u="none" strike="noStrike" cap="none" dirty="0">
                          <a:solidFill>
                            <a:srgbClr val="000000"/>
                          </a:solidFill>
                          <a:latin typeface="Arial"/>
                          <a:ea typeface="Arial"/>
                          <a:cs typeface="Arial"/>
                          <a:sym typeface="Arial"/>
                        </a:rPr>
                        <a:t>onths (95% CI)</a:t>
                      </a:r>
                      <a:endParaRPr sz="1500" b="0" i="0" u="none" strike="noStrike" cap="none" dirty="0">
                        <a:solidFill>
                          <a:srgbClr val="000000"/>
                        </a:solidFill>
                        <a:latin typeface="Arial"/>
                        <a:ea typeface="Arial"/>
                        <a:cs typeface="Arial"/>
                        <a:sym typeface="Arial"/>
                      </a:endParaRPr>
                    </a:p>
                  </a:txBody>
                  <a:tcPr marL="91405" marR="91405" marT="121896" marB="121896" anchor="ctr">
                    <a:lnL w="12700" cap="flat" cmpd="sng" algn="ctr">
                      <a:noFill/>
                      <a:prstDash val="solid"/>
                      <a:round/>
                      <a:headEnd type="none" w="med" len="med"/>
                      <a:tailEnd type="none" w="med" len="med"/>
                    </a:lnL>
                    <a:lnR w="14300" cap="flat" cmpd="sng">
                      <a:solidFill>
                        <a:srgbClr val="1340CE"/>
                      </a:solidFill>
                      <a:prstDash val="solid"/>
                      <a:round/>
                      <a:headEnd type="none" w="sm" len="sm"/>
                      <a:tailEnd type="none" w="sm" len="sm"/>
                    </a:lnR>
                    <a:lnT w="14300" cap="flat" cmpd="sng">
                      <a:solidFill>
                        <a:srgbClr val="BFBFBF"/>
                      </a:solidFill>
                      <a:prstDash val="solid"/>
                      <a:round/>
                      <a:headEnd type="none" w="sm" len="sm"/>
                      <a:tailEnd type="none" w="sm" len="sm"/>
                    </a:lnT>
                    <a:lnB w="21425" cap="flat" cmpd="sng">
                      <a:solidFill>
                        <a:srgbClr val="BFBFBF"/>
                      </a:solidFill>
                      <a:prstDash val="solid"/>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SzPts val="900"/>
                        <a:buFont typeface="Arial"/>
                        <a:buNone/>
                      </a:pPr>
                      <a:r>
                        <a:rPr lang="en-GB" sz="1500" u="none" strike="noStrike" cap="none" dirty="0"/>
                        <a:t>NR (15.6–NE)</a:t>
                      </a:r>
                      <a:endParaRPr sz="2100" dirty="0"/>
                    </a:p>
                  </a:txBody>
                  <a:tcPr marL="91405" marR="91405" marT="121896" marB="121896" anchor="ctr">
                    <a:lnL w="14300" cap="flat" cmpd="sng">
                      <a:solidFill>
                        <a:srgbClr val="1340CE"/>
                      </a:solidFill>
                      <a:prstDash val="solid"/>
                      <a:round/>
                      <a:headEnd type="none" w="sm" len="sm"/>
                      <a:tailEnd type="none" w="sm" len="sm"/>
                    </a:lnL>
                    <a:lnR w="14300" cap="flat" cmpd="sng">
                      <a:solidFill>
                        <a:srgbClr val="029963"/>
                      </a:solidFill>
                      <a:prstDash val="solid"/>
                      <a:round/>
                      <a:headEnd type="none" w="sm" len="sm"/>
                      <a:tailEnd type="none" w="sm" len="sm"/>
                    </a:lnR>
                    <a:lnT w="14300" cap="flat" cmpd="sng">
                      <a:solidFill>
                        <a:srgbClr val="BFBFBF"/>
                      </a:solidFill>
                      <a:prstDash val="solid"/>
                      <a:round/>
                      <a:headEnd type="none" w="sm" len="sm"/>
                      <a:tailEnd type="none" w="sm" len="sm"/>
                    </a:lnT>
                    <a:lnB w="21425" cap="flat" cmpd="sng">
                      <a:solidFill>
                        <a:srgbClr val="BFBFBF"/>
                      </a:solidFill>
                      <a:prstDash val="solid"/>
                      <a:round/>
                      <a:headEnd type="none" w="sm" len="sm"/>
                      <a:tailEnd type="none" w="sm" len="sm"/>
                    </a:lnB>
                    <a:solidFill>
                      <a:srgbClr val="00B050">
                        <a:alpha val="20000"/>
                      </a:srgbClr>
                    </a:solidFill>
                  </a:tcPr>
                </a:tc>
                <a:tc>
                  <a:txBody>
                    <a:bodyPr/>
                    <a:lstStyle/>
                    <a:p>
                      <a:pPr marL="0" marR="0" lvl="0" indent="0" algn="ctr" rtl="0">
                        <a:lnSpc>
                          <a:spcPct val="115000"/>
                        </a:lnSpc>
                        <a:spcBef>
                          <a:spcPts val="0"/>
                        </a:spcBef>
                        <a:spcAft>
                          <a:spcPts val="0"/>
                        </a:spcAft>
                        <a:buClr>
                          <a:srgbClr val="000000"/>
                        </a:buClr>
                        <a:buSzPts val="900"/>
                        <a:buFont typeface="Arial"/>
                        <a:buNone/>
                      </a:pPr>
                      <a:r>
                        <a:rPr lang="en-GB" sz="1500" u="none" strike="noStrike" cap="none" dirty="0"/>
                        <a:t>21.4 (3.9–NE)</a:t>
                      </a:r>
                      <a:endParaRPr sz="2100" dirty="0"/>
                    </a:p>
                  </a:txBody>
                  <a:tcPr marL="91405" marR="91405" marT="121896" marB="121896" anchor="ctr">
                    <a:lnL w="14300" cap="flat" cmpd="sng">
                      <a:solidFill>
                        <a:srgbClr val="029963"/>
                      </a:solidFill>
                      <a:prstDash val="solid"/>
                      <a:round/>
                      <a:headEnd type="none" w="sm" len="sm"/>
                      <a:tailEnd type="none" w="sm" len="sm"/>
                    </a:lnL>
                    <a:lnR w="12700" cap="flat" cmpd="sng" algn="ctr">
                      <a:solidFill>
                        <a:schemeClr val="tx2"/>
                      </a:solidFill>
                      <a:prstDash val="solid"/>
                      <a:round/>
                      <a:headEnd type="none" w="med" len="med"/>
                      <a:tailEnd type="none" w="med" len="med"/>
                    </a:lnR>
                    <a:lnT w="14300" cap="flat" cmpd="sng">
                      <a:solidFill>
                        <a:srgbClr val="BFBFBF"/>
                      </a:solidFill>
                      <a:prstDash val="solid"/>
                      <a:round/>
                      <a:headEnd type="none" w="sm" len="sm"/>
                      <a:tailEnd type="none" w="sm" len="sm"/>
                    </a:lnT>
                    <a:lnB w="21425" cap="flat" cmpd="sng">
                      <a:solidFill>
                        <a:srgbClr val="BFBFBF"/>
                      </a:solidFill>
                      <a:prstDash val="solid"/>
                      <a:round/>
                      <a:headEnd type="none" w="sm" len="sm"/>
                      <a:tailEnd type="none" w="sm" len="sm"/>
                    </a:lnB>
                    <a:solidFill>
                      <a:srgbClr val="1340CE">
                        <a:alpha val="20000"/>
                      </a:srgbClr>
                    </a:solidFill>
                  </a:tcPr>
                </a:tc>
                <a:extLst>
                  <a:ext uri="{0D108BD9-81ED-4DB2-BD59-A6C34878D82A}">
                    <a16:rowId xmlns:a16="http://schemas.microsoft.com/office/drawing/2014/main" val="10005"/>
                  </a:ext>
                </a:extLst>
              </a:tr>
            </a:tbl>
          </a:graphicData>
        </a:graphic>
      </p:graphicFrame>
      <p:sp>
        <p:nvSpPr>
          <p:cNvPr id="131" name="Rounded Rectangle 2015">
            <a:extLst>
              <a:ext uri="{FF2B5EF4-FFF2-40B4-BE49-F238E27FC236}">
                <a16:creationId xmlns:a16="http://schemas.microsoft.com/office/drawing/2014/main" id="{718F0414-F51B-E673-4749-CC9792902CDA}"/>
              </a:ext>
            </a:extLst>
          </p:cNvPr>
          <p:cNvSpPr/>
          <p:nvPr/>
        </p:nvSpPr>
        <p:spPr>
          <a:xfrm>
            <a:off x="6096001" y="999475"/>
            <a:ext cx="5507264" cy="440517"/>
          </a:xfrm>
          <a:prstGeom prst="round1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867" b="1" i="0" u="none" strike="noStrike" kern="1200" cap="none" spc="0" normalizeH="0" baseline="0" noProof="0" dirty="0">
                <a:ln>
                  <a:noFill/>
                </a:ln>
                <a:solidFill>
                  <a:srgbClr val="FFFFFF"/>
                </a:solidFill>
                <a:effectLst/>
                <a:uLnTx/>
                <a:uFillTx/>
                <a:latin typeface="Arial" panose="020B0604020202020204"/>
                <a:ea typeface="Arial"/>
                <a:cs typeface="Arial"/>
                <a:sym typeface="Arial"/>
              </a:rPr>
              <a:t>PFS by IRC: 2L</a:t>
            </a:r>
            <a:endParaRPr kumimoji="0" lang="en-GB" sz="1867"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7" name="Group 6">
            <a:extLst>
              <a:ext uri="{FF2B5EF4-FFF2-40B4-BE49-F238E27FC236}">
                <a16:creationId xmlns:a16="http://schemas.microsoft.com/office/drawing/2014/main" id="{6F9CE543-8B28-0A22-F467-8EB8D906532E}"/>
              </a:ext>
            </a:extLst>
          </p:cNvPr>
          <p:cNvGrpSpPr/>
          <p:nvPr/>
        </p:nvGrpSpPr>
        <p:grpSpPr>
          <a:xfrm>
            <a:off x="5951983" y="1519786"/>
            <a:ext cx="5513642" cy="2822489"/>
            <a:chOff x="4622705" y="1463403"/>
            <a:chExt cx="4136508" cy="2117520"/>
          </a:xfrm>
        </p:grpSpPr>
        <p:sp>
          <p:nvSpPr>
            <p:cNvPr id="10" name="Freeform 192">
              <a:extLst>
                <a:ext uri="{FF2B5EF4-FFF2-40B4-BE49-F238E27FC236}">
                  <a16:creationId xmlns:a16="http://schemas.microsoft.com/office/drawing/2014/main" id="{8FA828AE-0308-8BEA-E4FD-B69F0C1DC257}"/>
                </a:ext>
              </a:extLst>
            </p:cNvPr>
            <p:cNvSpPr/>
            <p:nvPr/>
          </p:nvSpPr>
          <p:spPr>
            <a:xfrm>
              <a:off x="5340086" y="1463403"/>
              <a:ext cx="3285634" cy="1684631"/>
            </a:xfrm>
            <a:custGeom>
              <a:avLst/>
              <a:gdLst>
                <a:gd name="csX0" fmla="*/ 0 w 3285634"/>
                <a:gd name="csY0" fmla="*/ 0 h 1684631"/>
                <a:gd name="csX1" fmla="*/ 0 w 3285634"/>
                <a:gd name="csY1" fmla="*/ 1684631 h 1684631"/>
                <a:gd name="csX2" fmla="*/ 3285634 w 3285634"/>
                <a:gd name="csY2" fmla="*/ 1684631 h 1684631"/>
              </a:gdLst>
              <a:ahLst/>
              <a:cxnLst>
                <a:cxn ang="0">
                  <a:pos x="csX0" y="csY0"/>
                </a:cxn>
                <a:cxn ang="0">
                  <a:pos x="csX1" y="csY1"/>
                </a:cxn>
                <a:cxn ang="0">
                  <a:pos x="csX2" y="csY2"/>
                </a:cxn>
              </a:cxnLst>
              <a:rect l="l" t="t" r="r" b="b"/>
              <a:pathLst>
                <a:path w="3285634" h="1684631">
                  <a:moveTo>
                    <a:pt x="0" y="0"/>
                  </a:moveTo>
                  <a:lnTo>
                    <a:pt x="0" y="1684631"/>
                  </a:lnTo>
                  <a:lnTo>
                    <a:pt x="3285634" y="1684631"/>
                  </a:lnTo>
                </a:path>
              </a:pathLst>
            </a:custGeom>
            <a:noFill/>
            <a:ln w="12661" cap="sq">
              <a:solidFill>
                <a:srgbClr val="00000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11" name="Graphic 4">
              <a:extLst>
                <a:ext uri="{FF2B5EF4-FFF2-40B4-BE49-F238E27FC236}">
                  <a16:creationId xmlns:a16="http://schemas.microsoft.com/office/drawing/2014/main" id="{E4A207C1-FAF7-53ED-AAA8-864665E6A08D}"/>
                </a:ext>
              </a:extLst>
            </p:cNvPr>
            <p:cNvGrpSpPr/>
            <p:nvPr/>
          </p:nvGrpSpPr>
          <p:grpSpPr>
            <a:xfrm>
              <a:off x="5309001" y="1463403"/>
              <a:ext cx="31085" cy="1645647"/>
              <a:chOff x="5320290" y="2631802"/>
              <a:chExt cx="31085" cy="1645647"/>
            </a:xfrm>
          </p:grpSpPr>
          <p:sp>
            <p:nvSpPr>
              <p:cNvPr id="166" name="Freeform 194">
                <a:extLst>
                  <a:ext uri="{FF2B5EF4-FFF2-40B4-BE49-F238E27FC236}">
                    <a16:creationId xmlns:a16="http://schemas.microsoft.com/office/drawing/2014/main" id="{432C1FAA-FF48-E3ED-413C-BEB78AD88274}"/>
                  </a:ext>
                </a:extLst>
              </p:cNvPr>
              <p:cNvSpPr/>
              <p:nvPr/>
            </p:nvSpPr>
            <p:spPr>
              <a:xfrm>
                <a:off x="5320290" y="2631802"/>
                <a:ext cx="31085" cy="12616"/>
              </a:xfrm>
              <a:custGeom>
                <a:avLst/>
                <a:gdLst>
                  <a:gd name="csX0" fmla="*/ 31085 w 31085"/>
                  <a:gd name="csY0" fmla="*/ 0 h 12616"/>
                  <a:gd name="csX1" fmla="*/ 0 w 31085"/>
                  <a:gd name="csY1" fmla="*/ 0 h 12616"/>
                </a:gdLst>
                <a:ahLst/>
                <a:cxnLst>
                  <a:cxn ang="0">
                    <a:pos x="csX0" y="csY0"/>
                  </a:cxn>
                  <a:cxn ang="0">
                    <a:pos x="csX1" y="csY1"/>
                  </a:cxn>
                </a:cxnLst>
                <a:rect l="l" t="t" r="r" b="b"/>
                <a:pathLst>
                  <a:path w="31085" h="12616">
                    <a:moveTo>
                      <a:pt x="31085" y="0"/>
                    </a:moveTo>
                    <a:lnTo>
                      <a:pt x="0" y="0"/>
                    </a:lnTo>
                  </a:path>
                </a:pathLst>
              </a:custGeom>
              <a:ln w="12661" cap="flat">
                <a:solidFill>
                  <a:srgbClr val="00000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7" name="Freeform 195">
                <a:extLst>
                  <a:ext uri="{FF2B5EF4-FFF2-40B4-BE49-F238E27FC236}">
                    <a16:creationId xmlns:a16="http://schemas.microsoft.com/office/drawing/2014/main" id="{BEEB72DF-1F0F-7ABB-D81B-0CA078C8FFE9}"/>
                  </a:ext>
                </a:extLst>
              </p:cNvPr>
              <p:cNvSpPr/>
              <p:nvPr/>
            </p:nvSpPr>
            <p:spPr>
              <a:xfrm>
                <a:off x="5320290" y="2960830"/>
                <a:ext cx="31085" cy="12616"/>
              </a:xfrm>
              <a:custGeom>
                <a:avLst/>
                <a:gdLst>
                  <a:gd name="csX0" fmla="*/ 31085 w 31085"/>
                  <a:gd name="csY0" fmla="*/ 0 h 12616"/>
                  <a:gd name="csX1" fmla="*/ 0 w 31085"/>
                  <a:gd name="csY1" fmla="*/ 0 h 12616"/>
                </a:gdLst>
                <a:ahLst/>
                <a:cxnLst>
                  <a:cxn ang="0">
                    <a:pos x="csX0" y="csY0"/>
                  </a:cxn>
                  <a:cxn ang="0">
                    <a:pos x="csX1" y="csY1"/>
                  </a:cxn>
                </a:cxnLst>
                <a:rect l="l" t="t" r="r" b="b"/>
                <a:pathLst>
                  <a:path w="31085" h="12616">
                    <a:moveTo>
                      <a:pt x="31085" y="0"/>
                    </a:moveTo>
                    <a:lnTo>
                      <a:pt x="0" y="0"/>
                    </a:lnTo>
                  </a:path>
                </a:pathLst>
              </a:custGeom>
              <a:ln w="12661" cap="flat">
                <a:solidFill>
                  <a:srgbClr val="00000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8" name="Freeform 196">
                <a:extLst>
                  <a:ext uri="{FF2B5EF4-FFF2-40B4-BE49-F238E27FC236}">
                    <a16:creationId xmlns:a16="http://schemas.microsoft.com/office/drawing/2014/main" id="{5DC091F4-DD55-6D6F-72FA-CA8C412B1EBC}"/>
                  </a:ext>
                </a:extLst>
              </p:cNvPr>
              <p:cNvSpPr/>
              <p:nvPr/>
            </p:nvSpPr>
            <p:spPr>
              <a:xfrm>
                <a:off x="5320290" y="3289985"/>
                <a:ext cx="31085" cy="12616"/>
              </a:xfrm>
              <a:custGeom>
                <a:avLst/>
                <a:gdLst>
                  <a:gd name="csX0" fmla="*/ 31085 w 31085"/>
                  <a:gd name="csY0" fmla="*/ 0 h 12616"/>
                  <a:gd name="csX1" fmla="*/ 0 w 31085"/>
                  <a:gd name="csY1" fmla="*/ 0 h 12616"/>
                </a:gdLst>
                <a:ahLst/>
                <a:cxnLst>
                  <a:cxn ang="0">
                    <a:pos x="csX0" y="csY0"/>
                  </a:cxn>
                  <a:cxn ang="0">
                    <a:pos x="csX1" y="csY1"/>
                  </a:cxn>
                </a:cxnLst>
                <a:rect l="l" t="t" r="r" b="b"/>
                <a:pathLst>
                  <a:path w="31085" h="12616">
                    <a:moveTo>
                      <a:pt x="31085" y="0"/>
                    </a:moveTo>
                    <a:lnTo>
                      <a:pt x="0" y="0"/>
                    </a:lnTo>
                  </a:path>
                </a:pathLst>
              </a:custGeom>
              <a:ln w="12661" cap="flat">
                <a:solidFill>
                  <a:srgbClr val="00000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9" name="Freeform 197">
                <a:extLst>
                  <a:ext uri="{FF2B5EF4-FFF2-40B4-BE49-F238E27FC236}">
                    <a16:creationId xmlns:a16="http://schemas.microsoft.com/office/drawing/2014/main" id="{4789C20B-8AF7-82E9-A47D-A2EA88771E09}"/>
                  </a:ext>
                </a:extLst>
              </p:cNvPr>
              <p:cNvSpPr/>
              <p:nvPr/>
            </p:nvSpPr>
            <p:spPr>
              <a:xfrm>
                <a:off x="5320290" y="3619140"/>
                <a:ext cx="31085" cy="12616"/>
              </a:xfrm>
              <a:custGeom>
                <a:avLst/>
                <a:gdLst>
                  <a:gd name="csX0" fmla="*/ 31085 w 31085"/>
                  <a:gd name="csY0" fmla="*/ 0 h 12616"/>
                  <a:gd name="csX1" fmla="*/ 0 w 31085"/>
                  <a:gd name="csY1" fmla="*/ 0 h 12616"/>
                </a:gdLst>
                <a:ahLst/>
                <a:cxnLst>
                  <a:cxn ang="0">
                    <a:pos x="csX0" y="csY0"/>
                  </a:cxn>
                  <a:cxn ang="0">
                    <a:pos x="csX1" y="csY1"/>
                  </a:cxn>
                </a:cxnLst>
                <a:rect l="l" t="t" r="r" b="b"/>
                <a:pathLst>
                  <a:path w="31085" h="12616">
                    <a:moveTo>
                      <a:pt x="31085" y="0"/>
                    </a:moveTo>
                    <a:lnTo>
                      <a:pt x="0" y="0"/>
                    </a:lnTo>
                  </a:path>
                </a:pathLst>
              </a:custGeom>
              <a:ln w="12661" cap="flat">
                <a:solidFill>
                  <a:srgbClr val="00000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0" name="Freeform 198">
                <a:extLst>
                  <a:ext uri="{FF2B5EF4-FFF2-40B4-BE49-F238E27FC236}">
                    <a16:creationId xmlns:a16="http://schemas.microsoft.com/office/drawing/2014/main" id="{1942F5A6-D174-8E9E-D1B1-F4C72C1F37A1}"/>
                  </a:ext>
                </a:extLst>
              </p:cNvPr>
              <p:cNvSpPr/>
              <p:nvPr/>
            </p:nvSpPr>
            <p:spPr>
              <a:xfrm>
                <a:off x="5320290" y="3948294"/>
                <a:ext cx="31085" cy="12616"/>
              </a:xfrm>
              <a:custGeom>
                <a:avLst/>
                <a:gdLst>
                  <a:gd name="csX0" fmla="*/ 31085 w 31085"/>
                  <a:gd name="csY0" fmla="*/ 0 h 12616"/>
                  <a:gd name="csX1" fmla="*/ 0 w 31085"/>
                  <a:gd name="csY1" fmla="*/ 0 h 12616"/>
                </a:gdLst>
                <a:ahLst/>
                <a:cxnLst>
                  <a:cxn ang="0">
                    <a:pos x="csX0" y="csY0"/>
                  </a:cxn>
                  <a:cxn ang="0">
                    <a:pos x="csX1" y="csY1"/>
                  </a:cxn>
                </a:cxnLst>
                <a:rect l="l" t="t" r="r" b="b"/>
                <a:pathLst>
                  <a:path w="31085" h="12616">
                    <a:moveTo>
                      <a:pt x="31085" y="0"/>
                    </a:moveTo>
                    <a:lnTo>
                      <a:pt x="0" y="0"/>
                    </a:lnTo>
                  </a:path>
                </a:pathLst>
              </a:custGeom>
              <a:ln w="12661" cap="flat">
                <a:solidFill>
                  <a:srgbClr val="00000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1" name="Freeform 199">
                <a:extLst>
                  <a:ext uri="{FF2B5EF4-FFF2-40B4-BE49-F238E27FC236}">
                    <a16:creationId xmlns:a16="http://schemas.microsoft.com/office/drawing/2014/main" id="{4CBE00C8-D213-FA74-D4BB-3787B86D6267}"/>
                  </a:ext>
                </a:extLst>
              </p:cNvPr>
              <p:cNvSpPr/>
              <p:nvPr/>
            </p:nvSpPr>
            <p:spPr>
              <a:xfrm>
                <a:off x="5320290" y="4277449"/>
                <a:ext cx="31085" cy="12616"/>
              </a:xfrm>
              <a:custGeom>
                <a:avLst/>
                <a:gdLst>
                  <a:gd name="csX0" fmla="*/ 31085 w 31085"/>
                  <a:gd name="csY0" fmla="*/ 0 h 12616"/>
                  <a:gd name="csX1" fmla="*/ 0 w 31085"/>
                  <a:gd name="csY1" fmla="*/ 0 h 12616"/>
                </a:gdLst>
                <a:ahLst/>
                <a:cxnLst>
                  <a:cxn ang="0">
                    <a:pos x="csX0" y="csY0"/>
                  </a:cxn>
                  <a:cxn ang="0">
                    <a:pos x="csX1" y="csY1"/>
                  </a:cxn>
                </a:cxnLst>
                <a:rect l="l" t="t" r="r" b="b"/>
                <a:pathLst>
                  <a:path w="31085" h="12616">
                    <a:moveTo>
                      <a:pt x="31085" y="0"/>
                    </a:moveTo>
                    <a:lnTo>
                      <a:pt x="0" y="0"/>
                    </a:lnTo>
                  </a:path>
                </a:pathLst>
              </a:custGeom>
              <a:ln w="12661" cap="flat">
                <a:solidFill>
                  <a:srgbClr val="00000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2" name="Graphic 4">
              <a:extLst>
                <a:ext uri="{FF2B5EF4-FFF2-40B4-BE49-F238E27FC236}">
                  <a16:creationId xmlns:a16="http://schemas.microsoft.com/office/drawing/2014/main" id="{BC425DE4-B350-8AE0-A0C6-BC9EC2F2C618}"/>
                </a:ext>
              </a:extLst>
            </p:cNvPr>
            <p:cNvGrpSpPr/>
            <p:nvPr/>
          </p:nvGrpSpPr>
          <p:grpSpPr>
            <a:xfrm>
              <a:off x="5374216" y="3148034"/>
              <a:ext cx="3251503" cy="31035"/>
              <a:chOff x="5385505" y="4316433"/>
              <a:chExt cx="3251503" cy="31035"/>
            </a:xfrm>
          </p:grpSpPr>
          <p:sp>
            <p:nvSpPr>
              <p:cNvPr id="153" name="Freeform 201">
                <a:extLst>
                  <a:ext uri="{FF2B5EF4-FFF2-40B4-BE49-F238E27FC236}">
                    <a16:creationId xmlns:a16="http://schemas.microsoft.com/office/drawing/2014/main" id="{B3209CBA-D8E2-18B2-C2FC-A940E7FF8966}"/>
                  </a:ext>
                </a:extLst>
              </p:cNvPr>
              <p:cNvSpPr/>
              <p:nvPr/>
            </p:nvSpPr>
            <p:spPr>
              <a:xfrm>
                <a:off x="5385505" y="4316433"/>
                <a:ext cx="12687" cy="31035"/>
              </a:xfrm>
              <a:custGeom>
                <a:avLst/>
                <a:gdLst>
                  <a:gd name="csX0" fmla="*/ 0 w 12687"/>
                  <a:gd name="csY0" fmla="*/ 0 h 31035"/>
                  <a:gd name="csX1" fmla="*/ 0 w 12687"/>
                  <a:gd name="csY1" fmla="*/ 31036 h 31035"/>
                </a:gdLst>
                <a:ahLst/>
                <a:cxnLst>
                  <a:cxn ang="0">
                    <a:pos x="csX0" y="csY0"/>
                  </a:cxn>
                  <a:cxn ang="0">
                    <a:pos x="csX1" y="csY1"/>
                  </a:cxn>
                </a:cxnLst>
                <a:rect l="l" t="t" r="r" b="b"/>
                <a:pathLst>
                  <a:path w="12687" h="31035">
                    <a:moveTo>
                      <a:pt x="0" y="0"/>
                    </a:moveTo>
                    <a:lnTo>
                      <a:pt x="0" y="31036"/>
                    </a:lnTo>
                  </a:path>
                </a:pathLst>
              </a:custGeom>
              <a:ln w="12661" cap="flat">
                <a:solidFill>
                  <a:srgbClr val="00000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4" name="Freeform 202">
                <a:extLst>
                  <a:ext uri="{FF2B5EF4-FFF2-40B4-BE49-F238E27FC236}">
                    <a16:creationId xmlns:a16="http://schemas.microsoft.com/office/drawing/2014/main" id="{F59254BA-F546-043F-F97C-927305F9334F}"/>
                  </a:ext>
                </a:extLst>
              </p:cNvPr>
              <p:cNvSpPr/>
              <p:nvPr/>
            </p:nvSpPr>
            <p:spPr>
              <a:xfrm>
                <a:off x="5656516" y="4316433"/>
                <a:ext cx="12687" cy="31035"/>
              </a:xfrm>
              <a:custGeom>
                <a:avLst/>
                <a:gdLst>
                  <a:gd name="csX0" fmla="*/ 0 w 12687"/>
                  <a:gd name="csY0" fmla="*/ 0 h 31035"/>
                  <a:gd name="csX1" fmla="*/ 0 w 12687"/>
                  <a:gd name="csY1" fmla="*/ 31036 h 31035"/>
                </a:gdLst>
                <a:ahLst/>
                <a:cxnLst>
                  <a:cxn ang="0">
                    <a:pos x="csX0" y="csY0"/>
                  </a:cxn>
                  <a:cxn ang="0">
                    <a:pos x="csX1" y="csY1"/>
                  </a:cxn>
                </a:cxnLst>
                <a:rect l="l" t="t" r="r" b="b"/>
                <a:pathLst>
                  <a:path w="12687" h="31035">
                    <a:moveTo>
                      <a:pt x="0" y="0"/>
                    </a:moveTo>
                    <a:lnTo>
                      <a:pt x="0" y="31036"/>
                    </a:lnTo>
                  </a:path>
                </a:pathLst>
              </a:custGeom>
              <a:ln w="12661" cap="flat">
                <a:solidFill>
                  <a:srgbClr val="00000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5" name="Freeform 203">
                <a:extLst>
                  <a:ext uri="{FF2B5EF4-FFF2-40B4-BE49-F238E27FC236}">
                    <a16:creationId xmlns:a16="http://schemas.microsoft.com/office/drawing/2014/main" id="{1D3F1470-221F-BFFF-CC78-FF391BD36C29}"/>
                  </a:ext>
                </a:extLst>
              </p:cNvPr>
              <p:cNvSpPr/>
              <p:nvPr/>
            </p:nvSpPr>
            <p:spPr>
              <a:xfrm>
                <a:off x="5927528" y="4316433"/>
                <a:ext cx="12687" cy="31035"/>
              </a:xfrm>
              <a:custGeom>
                <a:avLst/>
                <a:gdLst>
                  <a:gd name="csX0" fmla="*/ 0 w 12687"/>
                  <a:gd name="csY0" fmla="*/ 0 h 31035"/>
                  <a:gd name="csX1" fmla="*/ 0 w 12687"/>
                  <a:gd name="csY1" fmla="*/ 31036 h 31035"/>
                </a:gdLst>
                <a:ahLst/>
                <a:cxnLst>
                  <a:cxn ang="0">
                    <a:pos x="csX0" y="csY0"/>
                  </a:cxn>
                  <a:cxn ang="0">
                    <a:pos x="csX1" y="csY1"/>
                  </a:cxn>
                </a:cxnLst>
                <a:rect l="l" t="t" r="r" b="b"/>
                <a:pathLst>
                  <a:path w="12687" h="31035">
                    <a:moveTo>
                      <a:pt x="0" y="0"/>
                    </a:moveTo>
                    <a:lnTo>
                      <a:pt x="0" y="31036"/>
                    </a:lnTo>
                  </a:path>
                </a:pathLst>
              </a:custGeom>
              <a:ln w="12661" cap="flat">
                <a:solidFill>
                  <a:srgbClr val="00000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6" name="Freeform 204">
                <a:extLst>
                  <a:ext uri="{FF2B5EF4-FFF2-40B4-BE49-F238E27FC236}">
                    <a16:creationId xmlns:a16="http://schemas.microsoft.com/office/drawing/2014/main" id="{5873A590-449D-9518-F440-7CD42488414A}"/>
                  </a:ext>
                </a:extLst>
              </p:cNvPr>
              <p:cNvSpPr/>
              <p:nvPr/>
            </p:nvSpPr>
            <p:spPr>
              <a:xfrm>
                <a:off x="6198413" y="4316433"/>
                <a:ext cx="12687" cy="31035"/>
              </a:xfrm>
              <a:custGeom>
                <a:avLst/>
                <a:gdLst>
                  <a:gd name="csX0" fmla="*/ 0 w 12687"/>
                  <a:gd name="csY0" fmla="*/ 0 h 31035"/>
                  <a:gd name="csX1" fmla="*/ 0 w 12687"/>
                  <a:gd name="csY1" fmla="*/ 31036 h 31035"/>
                </a:gdLst>
                <a:ahLst/>
                <a:cxnLst>
                  <a:cxn ang="0">
                    <a:pos x="csX0" y="csY0"/>
                  </a:cxn>
                  <a:cxn ang="0">
                    <a:pos x="csX1" y="csY1"/>
                  </a:cxn>
                </a:cxnLst>
                <a:rect l="l" t="t" r="r" b="b"/>
                <a:pathLst>
                  <a:path w="12687" h="31035">
                    <a:moveTo>
                      <a:pt x="0" y="0"/>
                    </a:moveTo>
                    <a:lnTo>
                      <a:pt x="0" y="31036"/>
                    </a:lnTo>
                  </a:path>
                </a:pathLst>
              </a:custGeom>
              <a:ln w="12661" cap="flat">
                <a:solidFill>
                  <a:srgbClr val="00000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7" name="Freeform 205">
                <a:extLst>
                  <a:ext uri="{FF2B5EF4-FFF2-40B4-BE49-F238E27FC236}">
                    <a16:creationId xmlns:a16="http://schemas.microsoft.com/office/drawing/2014/main" id="{D1EEED06-7DF3-AE15-D0E6-2CAA06302791}"/>
                  </a:ext>
                </a:extLst>
              </p:cNvPr>
              <p:cNvSpPr/>
              <p:nvPr/>
            </p:nvSpPr>
            <p:spPr>
              <a:xfrm>
                <a:off x="6469424" y="4316433"/>
                <a:ext cx="12687" cy="31035"/>
              </a:xfrm>
              <a:custGeom>
                <a:avLst/>
                <a:gdLst>
                  <a:gd name="csX0" fmla="*/ 0 w 12687"/>
                  <a:gd name="csY0" fmla="*/ 0 h 31035"/>
                  <a:gd name="csX1" fmla="*/ 0 w 12687"/>
                  <a:gd name="csY1" fmla="*/ 31036 h 31035"/>
                </a:gdLst>
                <a:ahLst/>
                <a:cxnLst>
                  <a:cxn ang="0">
                    <a:pos x="csX0" y="csY0"/>
                  </a:cxn>
                  <a:cxn ang="0">
                    <a:pos x="csX1" y="csY1"/>
                  </a:cxn>
                </a:cxnLst>
                <a:rect l="l" t="t" r="r" b="b"/>
                <a:pathLst>
                  <a:path w="12687" h="31035">
                    <a:moveTo>
                      <a:pt x="0" y="0"/>
                    </a:moveTo>
                    <a:lnTo>
                      <a:pt x="0" y="31036"/>
                    </a:lnTo>
                  </a:path>
                </a:pathLst>
              </a:custGeom>
              <a:ln w="12661" cap="flat">
                <a:solidFill>
                  <a:srgbClr val="00000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8" name="Freeform 206">
                <a:extLst>
                  <a:ext uri="{FF2B5EF4-FFF2-40B4-BE49-F238E27FC236}">
                    <a16:creationId xmlns:a16="http://schemas.microsoft.com/office/drawing/2014/main" id="{F92BC426-3D62-2F5A-5012-C92F9A372094}"/>
                  </a:ext>
                </a:extLst>
              </p:cNvPr>
              <p:cNvSpPr/>
              <p:nvPr/>
            </p:nvSpPr>
            <p:spPr>
              <a:xfrm>
                <a:off x="6740309" y="4316433"/>
                <a:ext cx="12687" cy="31035"/>
              </a:xfrm>
              <a:custGeom>
                <a:avLst/>
                <a:gdLst>
                  <a:gd name="csX0" fmla="*/ 0 w 12687"/>
                  <a:gd name="csY0" fmla="*/ 0 h 31035"/>
                  <a:gd name="csX1" fmla="*/ 0 w 12687"/>
                  <a:gd name="csY1" fmla="*/ 31036 h 31035"/>
                </a:gdLst>
                <a:ahLst/>
                <a:cxnLst>
                  <a:cxn ang="0">
                    <a:pos x="csX0" y="csY0"/>
                  </a:cxn>
                  <a:cxn ang="0">
                    <a:pos x="csX1" y="csY1"/>
                  </a:cxn>
                </a:cxnLst>
                <a:rect l="l" t="t" r="r" b="b"/>
                <a:pathLst>
                  <a:path w="12687" h="31035">
                    <a:moveTo>
                      <a:pt x="0" y="0"/>
                    </a:moveTo>
                    <a:lnTo>
                      <a:pt x="0" y="31036"/>
                    </a:lnTo>
                  </a:path>
                </a:pathLst>
              </a:custGeom>
              <a:ln w="12661" cap="flat">
                <a:solidFill>
                  <a:srgbClr val="00000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9" name="Freeform 207">
                <a:extLst>
                  <a:ext uri="{FF2B5EF4-FFF2-40B4-BE49-F238E27FC236}">
                    <a16:creationId xmlns:a16="http://schemas.microsoft.com/office/drawing/2014/main" id="{39D76AB6-8416-6EEA-8A43-7A94B10CBC66}"/>
                  </a:ext>
                </a:extLst>
              </p:cNvPr>
              <p:cNvSpPr/>
              <p:nvPr/>
            </p:nvSpPr>
            <p:spPr>
              <a:xfrm>
                <a:off x="7011320" y="4316433"/>
                <a:ext cx="12687" cy="31035"/>
              </a:xfrm>
              <a:custGeom>
                <a:avLst/>
                <a:gdLst>
                  <a:gd name="csX0" fmla="*/ 0 w 12687"/>
                  <a:gd name="csY0" fmla="*/ 0 h 31035"/>
                  <a:gd name="csX1" fmla="*/ 0 w 12687"/>
                  <a:gd name="csY1" fmla="*/ 31036 h 31035"/>
                </a:gdLst>
                <a:ahLst/>
                <a:cxnLst>
                  <a:cxn ang="0">
                    <a:pos x="csX0" y="csY0"/>
                  </a:cxn>
                  <a:cxn ang="0">
                    <a:pos x="csX1" y="csY1"/>
                  </a:cxn>
                </a:cxnLst>
                <a:rect l="l" t="t" r="r" b="b"/>
                <a:pathLst>
                  <a:path w="12687" h="31035">
                    <a:moveTo>
                      <a:pt x="0" y="0"/>
                    </a:moveTo>
                    <a:lnTo>
                      <a:pt x="0" y="31036"/>
                    </a:lnTo>
                  </a:path>
                </a:pathLst>
              </a:custGeom>
              <a:ln w="12661" cap="flat">
                <a:solidFill>
                  <a:srgbClr val="00000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0" name="Freeform 208">
                <a:extLst>
                  <a:ext uri="{FF2B5EF4-FFF2-40B4-BE49-F238E27FC236}">
                    <a16:creationId xmlns:a16="http://schemas.microsoft.com/office/drawing/2014/main" id="{2256D5CA-B69C-5A4E-849F-B9ED05BA0446}"/>
                  </a:ext>
                </a:extLst>
              </p:cNvPr>
              <p:cNvSpPr/>
              <p:nvPr/>
            </p:nvSpPr>
            <p:spPr>
              <a:xfrm>
                <a:off x="7282205" y="4316433"/>
                <a:ext cx="12687" cy="31035"/>
              </a:xfrm>
              <a:custGeom>
                <a:avLst/>
                <a:gdLst>
                  <a:gd name="csX0" fmla="*/ 0 w 12687"/>
                  <a:gd name="csY0" fmla="*/ 0 h 31035"/>
                  <a:gd name="csX1" fmla="*/ 0 w 12687"/>
                  <a:gd name="csY1" fmla="*/ 31036 h 31035"/>
                </a:gdLst>
                <a:ahLst/>
                <a:cxnLst>
                  <a:cxn ang="0">
                    <a:pos x="csX0" y="csY0"/>
                  </a:cxn>
                  <a:cxn ang="0">
                    <a:pos x="csX1" y="csY1"/>
                  </a:cxn>
                </a:cxnLst>
                <a:rect l="l" t="t" r="r" b="b"/>
                <a:pathLst>
                  <a:path w="12687" h="31035">
                    <a:moveTo>
                      <a:pt x="0" y="0"/>
                    </a:moveTo>
                    <a:lnTo>
                      <a:pt x="0" y="31036"/>
                    </a:lnTo>
                  </a:path>
                </a:pathLst>
              </a:custGeom>
              <a:ln w="12661" cap="flat">
                <a:solidFill>
                  <a:srgbClr val="00000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1" name="Freeform 209">
                <a:extLst>
                  <a:ext uri="{FF2B5EF4-FFF2-40B4-BE49-F238E27FC236}">
                    <a16:creationId xmlns:a16="http://schemas.microsoft.com/office/drawing/2014/main" id="{FADF9823-2FD1-D379-362D-485FE173F5E9}"/>
                  </a:ext>
                </a:extLst>
              </p:cNvPr>
              <p:cNvSpPr/>
              <p:nvPr/>
            </p:nvSpPr>
            <p:spPr>
              <a:xfrm>
                <a:off x="7553216" y="4316433"/>
                <a:ext cx="12687" cy="31035"/>
              </a:xfrm>
              <a:custGeom>
                <a:avLst/>
                <a:gdLst>
                  <a:gd name="csX0" fmla="*/ 0 w 12687"/>
                  <a:gd name="csY0" fmla="*/ 0 h 31035"/>
                  <a:gd name="csX1" fmla="*/ 0 w 12687"/>
                  <a:gd name="csY1" fmla="*/ 31036 h 31035"/>
                </a:gdLst>
                <a:ahLst/>
                <a:cxnLst>
                  <a:cxn ang="0">
                    <a:pos x="csX0" y="csY0"/>
                  </a:cxn>
                  <a:cxn ang="0">
                    <a:pos x="csX1" y="csY1"/>
                  </a:cxn>
                </a:cxnLst>
                <a:rect l="l" t="t" r="r" b="b"/>
                <a:pathLst>
                  <a:path w="12687" h="31035">
                    <a:moveTo>
                      <a:pt x="0" y="0"/>
                    </a:moveTo>
                    <a:lnTo>
                      <a:pt x="0" y="31036"/>
                    </a:lnTo>
                  </a:path>
                </a:pathLst>
              </a:custGeom>
              <a:ln w="12661" cap="flat">
                <a:solidFill>
                  <a:srgbClr val="00000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2" name="Freeform 210">
                <a:extLst>
                  <a:ext uri="{FF2B5EF4-FFF2-40B4-BE49-F238E27FC236}">
                    <a16:creationId xmlns:a16="http://schemas.microsoft.com/office/drawing/2014/main" id="{A65AFD5A-730F-5608-D949-E56E4295B4C8}"/>
                  </a:ext>
                </a:extLst>
              </p:cNvPr>
              <p:cNvSpPr/>
              <p:nvPr/>
            </p:nvSpPr>
            <p:spPr>
              <a:xfrm>
                <a:off x="7824101" y="4316433"/>
                <a:ext cx="12687" cy="31035"/>
              </a:xfrm>
              <a:custGeom>
                <a:avLst/>
                <a:gdLst>
                  <a:gd name="csX0" fmla="*/ 0 w 12687"/>
                  <a:gd name="csY0" fmla="*/ 0 h 31035"/>
                  <a:gd name="csX1" fmla="*/ 0 w 12687"/>
                  <a:gd name="csY1" fmla="*/ 31036 h 31035"/>
                </a:gdLst>
                <a:ahLst/>
                <a:cxnLst>
                  <a:cxn ang="0">
                    <a:pos x="csX0" y="csY0"/>
                  </a:cxn>
                  <a:cxn ang="0">
                    <a:pos x="csX1" y="csY1"/>
                  </a:cxn>
                </a:cxnLst>
                <a:rect l="l" t="t" r="r" b="b"/>
                <a:pathLst>
                  <a:path w="12687" h="31035">
                    <a:moveTo>
                      <a:pt x="0" y="0"/>
                    </a:moveTo>
                    <a:lnTo>
                      <a:pt x="0" y="31036"/>
                    </a:lnTo>
                  </a:path>
                </a:pathLst>
              </a:custGeom>
              <a:ln w="12661" cap="flat">
                <a:solidFill>
                  <a:srgbClr val="00000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3" name="Freeform 211">
                <a:extLst>
                  <a:ext uri="{FF2B5EF4-FFF2-40B4-BE49-F238E27FC236}">
                    <a16:creationId xmlns:a16="http://schemas.microsoft.com/office/drawing/2014/main" id="{EB9C1D11-07AD-4D29-B834-352A0E41D3AD}"/>
                  </a:ext>
                </a:extLst>
              </p:cNvPr>
              <p:cNvSpPr/>
              <p:nvPr/>
            </p:nvSpPr>
            <p:spPr>
              <a:xfrm>
                <a:off x="8095113" y="4316433"/>
                <a:ext cx="12687" cy="31035"/>
              </a:xfrm>
              <a:custGeom>
                <a:avLst/>
                <a:gdLst>
                  <a:gd name="csX0" fmla="*/ 0 w 12687"/>
                  <a:gd name="csY0" fmla="*/ 0 h 31035"/>
                  <a:gd name="csX1" fmla="*/ 0 w 12687"/>
                  <a:gd name="csY1" fmla="*/ 31036 h 31035"/>
                </a:gdLst>
                <a:ahLst/>
                <a:cxnLst>
                  <a:cxn ang="0">
                    <a:pos x="csX0" y="csY0"/>
                  </a:cxn>
                  <a:cxn ang="0">
                    <a:pos x="csX1" y="csY1"/>
                  </a:cxn>
                </a:cxnLst>
                <a:rect l="l" t="t" r="r" b="b"/>
                <a:pathLst>
                  <a:path w="12687" h="31035">
                    <a:moveTo>
                      <a:pt x="0" y="0"/>
                    </a:moveTo>
                    <a:lnTo>
                      <a:pt x="0" y="31036"/>
                    </a:lnTo>
                  </a:path>
                </a:pathLst>
              </a:custGeom>
              <a:ln w="12661" cap="flat">
                <a:solidFill>
                  <a:srgbClr val="00000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4" name="Freeform 212">
                <a:extLst>
                  <a:ext uri="{FF2B5EF4-FFF2-40B4-BE49-F238E27FC236}">
                    <a16:creationId xmlns:a16="http://schemas.microsoft.com/office/drawing/2014/main" id="{0CF094FC-228D-2F06-FB43-85E4C345F5A4}"/>
                  </a:ext>
                </a:extLst>
              </p:cNvPr>
              <p:cNvSpPr/>
              <p:nvPr/>
            </p:nvSpPr>
            <p:spPr>
              <a:xfrm>
                <a:off x="8366124" y="4316433"/>
                <a:ext cx="12687" cy="31035"/>
              </a:xfrm>
              <a:custGeom>
                <a:avLst/>
                <a:gdLst>
                  <a:gd name="csX0" fmla="*/ 0 w 12687"/>
                  <a:gd name="csY0" fmla="*/ 0 h 31035"/>
                  <a:gd name="csX1" fmla="*/ 0 w 12687"/>
                  <a:gd name="csY1" fmla="*/ 31036 h 31035"/>
                </a:gdLst>
                <a:ahLst/>
                <a:cxnLst>
                  <a:cxn ang="0">
                    <a:pos x="csX0" y="csY0"/>
                  </a:cxn>
                  <a:cxn ang="0">
                    <a:pos x="csX1" y="csY1"/>
                  </a:cxn>
                </a:cxnLst>
                <a:rect l="l" t="t" r="r" b="b"/>
                <a:pathLst>
                  <a:path w="12687" h="31035">
                    <a:moveTo>
                      <a:pt x="0" y="0"/>
                    </a:moveTo>
                    <a:lnTo>
                      <a:pt x="0" y="31036"/>
                    </a:lnTo>
                  </a:path>
                </a:pathLst>
              </a:custGeom>
              <a:ln w="12661" cap="flat">
                <a:solidFill>
                  <a:srgbClr val="00000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5" name="Freeform 213">
                <a:extLst>
                  <a:ext uri="{FF2B5EF4-FFF2-40B4-BE49-F238E27FC236}">
                    <a16:creationId xmlns:a16="http://schemas.microsoft.com/office/drawing/2014/main" id="{AEE8231F-D68B-E694-1794-C4B4C4EB8B7A}"/>
                  </a:ext>
                </a:extLst>
              </p:cNvPr>
              <p:cNvSpPr/>
              <p:nvPr/>
            </p:nvSpPr>
            <p:spPr>
              <a:xfrm>
                <a:off x="8637009" y="4316433"/>
                <a:ext cx="12687" cy="31035"/>
              </a:xfrm>
              <a:custGeom>
                <a:avLst/>
                <a:gdLst>
                  <a:gd name="csX0" fmla="*/ 0 w 12687"/>
                  <a:gd name="csY0" fmla="*/ 0 h 31035"/>
                  <a:gd name="csX1" fmla="*/ 0 w 12687"/>
                  <a:gd name="csY1" fmla="*/ 31036 h 31035"/>
                </a:gdLst>
                <a:ahLst/>
                <a:cxnLst>
                  <a:cxn ang="0">
                    <a:pos x="csX0" y="csY0"/>
                  </a:cxn>
                  <a:cxn ang="0">
                    <a:pos x="csX1" y="csY1"/>
                  </a:cxn>
                </a:cxnLst>
                <a:rect l="l" t="t" r="r" b="b"/>
                <a:pathLst>
                  <a:path w="12687" h="31035">
                    <a:moveTo>
                      <a:pt x="0" y="0"/>
                    </a:moveTo>
                    <a:lnTo>
                      <a:pt x="0" y="31036"/>
                    </a:lnTo>
                  </a:path>
                </a:pathLst>
              </a:custGeom>
              <a:ln w="12661" cap="flat">
                <a:solidFill>
                  <a:srgbClr val="00000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13" name="Freeform 214">
              <a:extLst>
                <a:ext uri="{FF2B5EF4-FFF2-40B4-BE49-F238E27FC236}">
                  <a16:creationId xmlns:a16="http://schemas.microsoft.com/office/drawing/2014/main" id="{5BFE8563-8441-C78C-C737-2697FE7C3890}"/>
                </a:ext>
              </a:extLst>
            </p:cNvPr>
            <p:cNvSpPr/>
            <p:nvPr/>
          </p:nvSpPr>
          <p:spPr>
            <a:xfrm>
              <a:off x="5365208" y="1463403"/>
              <a:ext cx="2753380" cy="985067"/>
            </a:xfrm>
            <a:custGeom>
              <a:avLst/>
              <a:gdLst>
                <a:gd name="csX0" fmla="*/ 0 w 2753380"/>
                <a:gd name="csY0" fmla="*/ 0 h 985067"/>
                <a:gd name="csX1" fmla="*/ 44407 w 2753380"/>
                <a:gd name="csY1" fmla="*/ 0 h 985067"/>
                <a:gd name="csX2" fmla="*/ 44407 w 2753380"/>
                <a:gd name="csY2" fmla="*/ 25737 h 985067"/>
                <a:gd name="csX3" fmla="*/ 120534 w 2753380"/>
                <a:gd name="csY3" fmla="*/ 25737 h 985067"/>
                <a:gd name="csX4" fmla="*/ 120534 w 2753380"/>
                <a:gd name="csY4" fmla="*/ 53492 h 985067"/>
                <a:gd name="csX5" fmla="*/ 123706 w 2753380"/>
                <a:gd name="csY5" fmla="*/ 53492 h 985067"/>
                <a:gd name="csX6" fmla="*/ 123706 w 2753380"/>
                <a:gd name="csY6" fmla="*/ 107616 h 985067"/>
                <a:gd name="csX7" fmla="*/ 145529 w 2753380"/>
                <a:gd name="csY7" fmla="*/ 107616 h 985067"/>
                <a:gd name="csX8" fmla="*/ 145529 w 2753380"/>
                <a:gd name="csY8" fmla="*/ 133352 h 985067"/>
                <a:gd name="csX9" fmla="*/ 165068 w 2753380"/>
                <a:gd name="csY9" fmla="*/ 133352 h 985067"/>
                <a:gd name="csX10" fmla="*/ 165068 w 2753380"/>
                <a:gd name="csY10" fmla="*/ 158585 h 985067"/>
                <a:gd name="csX11" fmla="*/ 196661 w 2753380"/>
                <a:gd name="csY11" fmla="*/ 158585 h 985067"/>
                <a:gd name="csX12" fmla="*/ 196661 w 2753380"/>
                <a:gd name="csY12" fmla="*/ 190503 h 985067"/>
                <a:gd name="csX13" fmla="*/ 202624 w 2753380"/>
                <a:gd name="csY13" fmla="*/ 190503 h 985067"/>
                <a:gd name="csX14" fmla="*/ 202624 w 2753380"/>
                <a:gd name="csY14" fmla="*/ 215988 h 985067"/>
                <a:gd name="csX15" fmla="*/ 204908 w 2753380"/>
                <a:gd name="csY15" fmla="*/ 215988 h 985067"/>
                <a:gd name="csX16" fmla="*/ 204908 w 2753380"/>
                <a:gd name="csY16" fmla="*/ 241346 h 985067"/>
                <a:gd name="csX17" fmla="*/ 222544 w 2753380"/>
                <a:gd name="csY17" fmla="*/ 241346 h 985067"/>
                <a:gd name="csX18" fmla="*/ 222544 w 2753380"/>
                <a:gd name="csY18" fmla="*/ 266326 h 985067"/>
                <a:gd name="csX19" fmla="*/ 310851 w 2753380"/>
                <a:gd name="csY19" fmla="*/ 266326 h 985067"/>
                <a:gd name="csX20" fmla="*/ 310851 w 2753380"/>
                <a:gd name="csY20" fmla="*/ 296857 h 985067"/>
                <a:gd name="csX21" fmla="*/ 323539 w 2753380"/>
                <a:gd name="csY21" fmla="*/ 296857 h 985067"/>
                <a:gd name="csX22" fmla="*/ 323539 w 2753380"/>
                <a:gd name="csY22" fmla="*/ 307455 h 985067"/>
                <a:gd name="csX23" fmla="*/ 330517 w 2753380"/>
                <a:gd name="csY23" fmla="*/ 307455 h 985067"/>
                <a:gd name="csX24" fmla="*/ 330517 w 2753380"/>
                <a:gd name="csY24" fmla="*/ 325496 h 985067"/>
                <a:gd name="csX25" fmla="*/ 335466 w 2753380"/>
                <a:gd name="csY25" fmla="*/ 325496 h 985067"/>
                <a:gd name="csX26" fmla="*/ 335466 w 2753380"/>
                <a:gd name="csY26" fmla="*/ 379872 h 985067"/>
                <a:gd name="csX27" fmla="*/ 355259 w 2753380"/>
                <a:gd name="csY27" fmla="*/ 379872 h 985067"/>
                <a:gd name="csX28" fmla="*/ 355259 w 2753380"/>
                <a:gd name="csY28" fmla="*/ 404725 h 985067"/>
                <a:gd name="csX29" fmla="*/ 386851 w 2753380"/>
                <a:gd name="csY29" fmla="*/ 404725 h 985067"/>
                <a:gd name="csX30" fmla="*/ 386851 w 2753380"/>
                <a:gd name="csY30" fmla="*/ 467806 h 985067"/>
                <a:gd name="csX31" fmla="*/ 412354 w 2753380"/>
                <a:gd name="csY31" fmla="*/ 467806 h 985067"/>
                <a:gd name="csX32" fmla="*/ 412354 w 2753380"/>
                <a:gd name="csY32" fmla="*/ 493543 h 985067"/>
                <a:gd name="csX33" fmla="*/ 456761 w 2753380"/>
                <a:gd name="csY33" fmla="*/ 493543 h 985067"/>
                <a:gd name="csX34" fmla="*/ 456761 w 2753380"/>
                <a:gd name="csY34" fmla="*/ 524326 h 985067"/>
                <a:gd name="csX35" fmla="*/ 503071 w 2753380"/>
                <a:gd name="csY35" fmla="*/ 524326 h 985067"/>
                <a:gd name="csX36" fmla="*/ 503071 w 2753380"/>
                <a:gd name="csY36" fmla="*/ 552586 h 985067"/>
                <a:gd name="csX37" fmla="*/ 513856 w 2753380"/>
                <a:gd name="csY37" fmla="*/ 552586 h 985067"/>
                <a:gd name="csX38" fmla="*/ 513856 w 2753380"/>
                <a:gd name="csY38" fmla="*/ 638881 h 985067"/>
                <a:gd name="csX39" fmla="*/ 597469 w 2753380"/>
                <a:gd name="csY39" fmla="*/ 638881 h 985067"/>
                <a:gd name="csX40" fmla="*/ 597469 w 2753380"/>
                <a:gd name="csY40" fmla="*/ 669916 h 985067"/>
                <a:gd name="csX41" fmla="*/ 863405 w 2753380"/>
                <a:gd name="csY41" fmla="*/ 669916 h 985067"/>
                <a:gd name="csX42" fmla="*/ 863405 w 2753380"/>
                <a:gd name="csY42" fmla="*/ 701457 h 985067"/>
                <a:gd name="csX43" fmla="*/ 958183 w 2753380"/>
                <a:gd name="csY43" fmla="*/ 701457 h 985067"/>
                <a:gd name="csX44" fmla="*/ 958183 w 2753380"/>
                <a:gd name="csY44" fmla="*/ 732871 h 985067"/>
                <a:gd name="csX45" fmla="*/ 1198744 w 2753380"/>
                <a:gd name="csY45" fmla="*/ 732871 h 985067"/>
                <a:gd name="csX46" fmla="*/ 1198744 w 2753380"/>
                <a:gd name="csY46" fmla="*/ 776775 h 985067"/>
                <a:gd name="csX47" fmla="*/ 1313061 w 2753380"/>
                <a:gd name="csY47" fmla="*/ 776775 h 985067"/>
                <a:gd name="csX48" fmla="*/ 1313061 w 2753380"/>
                <a:gd name="csY48" fmla="*/ 815128 h 985067"/>
                <a:gd name="csX49" fmla="*/ 1604627 w 2753380"/>
                <a:gd name="csY49" fmla="*/ 815128 h 985067"/>
                <a:gd name="csX50" fmla="*/ 1604627 w 2753380"/>
                <a:gd name="csY50" fmla="*/ 896754 h 985067"/>
                <a:gd name="csX51" fmla="*/ 1617949 w 2753380"/>
                <a:gd name="csY51" fmla="*/ 896754 h 985067"/>
                <a:gd name="csX52" fmla="*/ 1617949 w 2753380"/>
                <a:gd name="csY52" fmla="*/ 933846 h 985067"/>
                <a:gd name="csX53" fmla="*/ 1877541 w 2753380"/>
                <a:gd name="csY53" fmla="*/ 933846 h 985067"/>
                <a:gd name="csX54" fmla="*/ 1877541 w 2753380"/>
                <a:gd name="csY54" fmla="*/ 985067 h 985067"/>
                <a:gd name="csX55" fmla="*/ 2753381 w 2753380"/>
                <a:gd name="csY55" fmla="*/ 985067 h 98506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Lst>
              <a:rect l="l" t="t" r="r" b="b"/>
              <a:pathLst>
                <a:path w="2753380" h="985067">
                  <a:moveTo>
                    <a:pt x="0" y="0"/>
                  </a:moveTo>
                  <a:lnTo>
                    <a:pt x="44407" y="0"/>
                  </a:lnTo>
                  <a:lnTo>
                    <a:pt x="44407" y="25737"/>
                  </a:lnTo>
                  <a:lnTo>
                    <a:pt x="120534" y="25737"/>
                  </a:lnTo>
                  <a:lnTo>
                    <a:pt x="120534" y="53492"/>
                  </a:lnTo>
                  <a:lnTo>
                    <a:pt x="123706" y="53492"/>
                  </a:lnTo>
                  <a:lnTo>
                    <a:pt x="123706" y="107616"/>
                  </a:lnTo>
                  <a:cubicBezTo>
                    <a:pt x="123706" y="107616"/>
                    <a:pt x="145148" y="107994"/>
                    <a:pt x="145529" y="107616"/>
                  </a:cubicBezTo>
                  <a:cubicBezTo>
                    <a:pt x="145910" y="107237"/>
                    <a:pt x="145529" y="133352"/>
                    <a:pt x="145529" y="133352"/>
                  </a:cubicBezTo>
                  <a:lnTo>
                    <a:pt x="165068" y="133352"/>
                  </a:lnTo>
                  <a:lnTo>
                    <a:pt x="165068" y="158585"/>
                  </a:lnTo>
                  <a:lnTo>
                    <a:pt x="196661" y="158585"/>
                  </a:lnTo>
                  <a:lnTo>
                    <a:pt x="196661" y="190503"/>
                  </a:lnTo>
                  <a:lnTo>
                    <a:pt x="202624" y="190503"/>
                  </a:lnTo>
                  <a:lnTo>
                    <a:pt x="202624" y="215988"/>
                  </a:lnTo>
                  <a:lnTo>
                    <a:pt x="204908" y="215988"/>
                  </a:lnTo>
                  <a:lnTo>
                    <a:pt x="204908" y="241346"/>
                  </a:lnTo>
                  <a:lnTo>
                    <a:pt x="222544" y="241346"/>
                  </a:lnTo>
                  <a:lnTo>
                    <a:pt x="222544" y="266326"/>
                  </a:lnTo>
                  <a:lnTo>
                    <a:pt x="310851" y="266326"/>
                  </a:lnTo>
                  <a:lnTo>
                    <a:pt x="310851" y="296857"/>
                  </a:lnTo>
                  <a:lnTo>
                    <a:pt x="323539" y="296857"/>
                  </a:lnTo>
                  <a:lnTo>
                    <a:pt x="323539" y="307455"/>
                  </a:lnTo>
                  <a:lnTo>
                    <a:pt x="330517" y="307455"/>
                  </a:lnTo>
                  <a:lnTo>
                    <a:pt x="330517" y="325496"/>
                  </a:lnTo>
                  <a:lnTo>
                    <a:pt x="335466" y="325496"/>
                  </a:lnTo>
                  <a:lnTo>
                    <a:pt x="335466" y="379872"/>
                  </a:lnTo>
                  <a:lnTo>
                    <a:pt x="355259" y="379872"/>
                  </a:lnTo>
                  <a:lnTo>
                    <a:pt x="355259" y="404725"/>
                  </a:lnTo>
                  <a:lnTo>
                    <a:pt x="386851" y="404725"/>
                  </a:lnTo>
                  <a:lnTo>
                    <a:pt x="386851" y="467806"/>
                  </a:lnTo>
                  <a:lnTo>
                    <a:pt x="412354" y="467806"/>
                  </a:lnTo>
                  <a:lnTo>
                    <a:pt x="412354" y="493543"/>
                  </a:lnTo>
                  <a:lnTo>
                    <a:pt x="456761" y="493543"/>
                  </a:lnTo>
                  <a:lnTo>
                    <a:pt x="456761" y="524326"/>
                  </a:lnTo>
                  <a:lnTo>
                    <a:pt x="503071" y="524326"/>
                  </a:lnTo>
                  <a:lnTo>
                    <a:pt x="503071" y="552586"/>
                  </a:lnTo>
                  <a:lnTo>
                    <a:pt x="513856" y="552586"/>
                  </a:lnTo>
                  <a:lnTo>
                    <a:pt x="513856" y="638881"/>
                  </a:lnTo>
                  <a:lnTo>
                    <a:pt x="597469" y="638881"/>
                  </a:lnTo>
                  <a:lnTo>
                    <a:pt x="597469" y="669916"/>
                  </a:lnTo>
                  <a:lnTo>
                    <a:pt x="863405" y="669916"/>
                  </a:lnTo>
                  <a:lnTo>
                    <a:pt x="863405" y="701457"/>
                  </a:lnTo>
                  <a:lnTo>
                    <a:pt x="958183" y="701457"/>
                  </a:lnTo>
                  <a:lnTo>
                    <a:pt x="958183" y="732871"/>
                  </a:lnTo>
                  <a:lnTo>
                    <a:pt x="1198744" y="732871"/>
                  </a:lnTo>
                  <a:lnTo>
                    <a:pt x="1198744" y="776775"/>
                  </a:lnTo>
                  <a:lnTo>
                    <a:pt x="1313061" y="776775"/>
                  </a:lnTo>
                  <a:lnTo>
                    <a:pt x="1313061" y="815128"/>
                  </a:lnTo>
                  <a:lnTo>
                    <a:pt x="1604627" y="815128"/>
                  </a:lnTo>
                  <a:lnTo>
                    <a:pt x="1604627" y="896754"/>
                  </a:lnTo>
                  <a:lnTo>
                    <a:pt x="1617949" y="896754"/>
                  </a:lnTo>
                  <a:lnTo>
                    <a:pt x="1617949" y="933846"/>
                  </a:lnTo>
                  <a:lnTo>
                    <a:pt x="1877541" y="933846"/>
                  </a:lnTo>
                  <a:lnTo>
                    <a:pt x="1877541" y="985067"/>
                  </a:lnTo>
                  <a:lnTo>
                    <a:pt x="2753381" y="985067"/>
                  </a:lnTo>
                </a:path>
              </a:pathLst>
            </a:custGeom>
            <a:noFill/>
            <a:ln w="1266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14" name="Graphic 4">
              <a:extLst>
                <a:ext uri="{FF2B5EF4-FFF2-40B4-BE49-F238E27FC236}">
                  <a16:creationId xmlns:a16="http://schemas.microsoft.com/office/drawing/2014/main" id="{14A859BE-5590-F5BA-ECAE-2FD51185C86A}"/>
                </a:ext>
              </a:extLst>
            </p:cNvPr>
            <p:cNvGrpSpPr/>
            <p:nvPr/>
          </p:nvGrpSpPr>
          <p:grpSpPr>
            <a:xfrm>
              <a:off x="5694583" y="2303384"/>
              <a:ext cx="1814736" cy="490893"/>
              <a:chOff x="5705872" y="3471783"/>
              <a:chExt cx="1814736" cy="490893"/>
            </a:xfrm>
          </p:grpSpPr>
          <p:grpSp>
            <p:nvGrpSpPr>
              <p:cNvPr id="138" name="Graphic 4">
                <a:extLst>
                  <a:ext uri="{FF2B5EF4-FFF2-40B4-BE49-F238E27FC236}">
                    <a16:creationId xmlns:a16="http://schemas.microsoft.com/office/drawing/2014/main" id="{839EBACA-B5C2-BDCD-CBAB-39FE0BF455C3}"/>
                  </a:ext>
                </a:extLst>
              </p:cNvPr>
              <p:cNvGrpSpPr/>
              <p:nvPr/>
            </p:nvGrpSpPr>
            <p:grpSpPr>
              <a:xfrm>
                <a:off x="7488509" y="3930758"/>
                <a:ext cx="32100" cy="31918"/>
                <a:chOff x="7488509" y="3930758"/>
                <a:chExt cx="32100" cy="31918"/>
              </a:xfrm>
            </p:grpSpPr>
            <p:sp>
              <p:nvSpPr>
                <p:cNvPr id="151" name="Freeform 229">
                  <a:extLst>
                    <a:ext uri="{FF2B5EF4-FFF2-40B4-BE49-F238E27FC236}">
                      <a16:creationId xmlns:a16="http://schemas.microsoft.com/office/drawing/2014/main" id="{F48C1CCA-682C-28DB-7455-FB0F25BE9C7A}"/>
                    </a:ext>
                  </a:extLst>
                </p:cNvPr>
                <p:cNvSpPr/>
                <p:nvPr/>
              </p:nvSpPr>
              <p:spPr>
                <a:xfrm>
                  <a:off x="7504495" y="3930758"/>
                  <a:ext cx="12687" cy="31918"/>
                </a:xfrm>
                <a:custGeom>
                  <a:avLst/>
                  <a:gdLst>
                    <a:gd name="csX0" fmla="*/ 0 w 12687"/>
                    <a:gd name="csY0" fmla="*/ 0 h 31918"/>
                    <a:gd name="csX1" fmla="*/ 0 w 12687"/>
                    <a:gd name="csY1" fmla="*/ 31919 h 31918"/>
                  </a:gdLst>
                  <a:ahLst/>
                  <a:cxnLst>
                    <a:cxn ang="0">
                      <a:pos x="csX0" y="csY0"/>
                    </a:cxn>
                    <a:cxn ang="0">
                      <a:pos x="csX1" y="csY1"/>
                    </a:cxn>
                  </a:cxnLst>
                  <a:rect l="l" t="t" r="r" b="b"/>
                  <a:pathLst>
                    <a:path w="12687" h="31918">
                      <a:moveTo>
                        <a:pt x="0" y="0"/>
                      </a:moveTo>
                      <a:lnTo>
                        <a:pt x="0" y="31919"/>
                      </a:lnTo>
                    </a:path>
                  </a:pathLst>
                </a:custGeom>
                <a:ln w="6331" cap="flat">
                  <a:solidFill>
                    <a:srgbClr val="0B41CD"/>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2" name="Freeform 230">
                  <a:extLst>
                    <a:ext uri="{FF2B5EF4-FFF2-40B4-BE49-F238E27FC236}">
                      <a16:creationId xmlns:a16="http://schemas.microsoft.com/office/drawing/2014/main" id="{7BF207BD-F5A9-9FB2-3705-3EA3D4BAC1B7}"/>
                    </a:ext>
                  </a:extLst>
                </p:cNvPr>
                <p:cNvSpPr/>
                <p:nvPr/>
              </p:nvSpPr>
              <p:spPr>
                <a:xfrm>
                  <a:off x="7488509" y="3946654"/>
                  <a:ext cx="32100" cy="12616"/>
                </a:xfrm>
                <a:custGeom>
                  <a:avLst/>
                  <a:gdLst>
                    <a:gd name="csX0" fmla="*/ 0 w 32100"/>
                    <a:gd name="csY0" fmla="*/ 0 h 12616"/>
                    <a:gd name="csX1" fmla="*/ 32100 w 32100"/>
                    <a:gd name="csY1" fmla="*/ 0 h 12616"/>
                  </a:gdLst>
                  <a:ahLst/>
                  <a:cxnLst>
                    <a:cxn ang="0">
                      <a:pos x="csX0" y="csY0"/>
                    </a:cxn>
                    <a:cxn ang="0">
                      <a:pos x="csX1" y="csY1"/>
                    </a:cxn>
                  </a:cxnLst>
                  <a:rect l="l" t="t" r="r" b="b"/>
                  <a:pathLst>
                    <a:path w="32100" h="12616">
                      <a:moveTo>
                        <a:pt x="0" y="0"/>
                      </a:moveTo>
                      <a:lnTo>
                        <a:pt x="32100" y="0"/>
                      </a:lnTo>
                    </a:path>
                  </a:pathLst>
                </a:custGeom>
                <a:ln w="6331" cap="flat">
                  <a:solidFill>
                    <a:srgbClr val="0B41CD"/>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39" name="Graphic 4">
                <a:extLst>
                  <a:ext uri="{FF2B5EF4-FFF2-40B4-BE49-F238E27FC236}">
                    <a16:creationId xmlns:a16="http://schemas.microsoft.com/office/drawing/2014/main" id="{0A8E0B15-FC70-D36B-2FCE-561A3B0D14D8}"/>
                  </a:ext>
                </a:extLst>
              </p:cNvPr>
              <p:cNvGrpSpPr/>
              <p:nvPr/>
            </p:nvGrpSpPr>
            <p:grpSpPr>
              <a:xfrm>
                <a:off x="5974473" y="3823143"/>
                <a:ext cx="32100" cy="31918"/>
                <a:chOff x="5974473" y="3823143"/>
                <a:chExt cx="32100" cy="31918"/>
              </a:xfrm>
            </p:grpSpPr>
            <p:sp>
              <p:nvSpPr>
                <p:cNvPr id="149" name="Freeform 227">
                  <a:extLst>
                    <a:ext uri="{FF2B5EF4-FFF2-40B4-BE49-F238E27FC236}">
                      <a16:creationId xmlns:a16="http://schemas.microsoft.com/office/drawing/2014/main" id="{DE55F53F-CF6D-307D-C2EF-D8B9A4BF0918}"/>
                    </a:ext>
                  </a:extLst>
                </p:cNvPr>
                <p:cNvSpPr/>
                <p:nvPr/>
              </p:nvSpPr>
              <p:spPr>
                <a:xfrm>
                  <a:off x="5990586" y="3823143"/>
                  <a:ext cx="12687" cy="31918"/>
                </a:xfrm>
                <a:custGeom>
                  <a:avLst/>
                  <a:gdLst>
                    <a:gd name="csX0" fmla="*/ 0 w 12687"/>
                    <a:gd name="csY0" fmla="*/ 0 h 31918"/>
                    <a:gd name="csX1" fmla="*/ 0 w 12687"/>
                    <a:gd name="csY1" fmla="*/ 31919 h 31918"/>
                  </a:gdLst>
                  <a:ahLst/>
                  <a:cxnLst>
                    <a:cxn ang="0">
                      <a:pos x="csX0" y="csY0"/>
                    </a:cxn>
                    <a:cxn ang="0">
                      <a:pos x="csX1" y="csY1"/>
                    </a:cxn>
                  </a:cxnLst>
                  <a:rect l="l" t="t" r="r" b="b"/>
                  <a:pathLst>
                    <a:path w="12687" h="31918">
                      <a:moveTo>
                        <a:pt x="0" y="0"/>
                      </a:moveTo>
                      <a:lnTo>
                        <a:pt x="0" y="31919"/>
                      </a:lnTo>
                    </a:path>
                  </a:pathLst>
                </a:custGeom>
                <a:ln w="6331" cap="flat">
                  <a:solidFill>
                    <a:srgbClr val="0B41CD"/>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0" name="Freeform 228">
                  <a:extLst>
                    <a:ext uri="{FF2B5EF4-FFF2-40B4-BE49-F238E27FC236}">
                      <a16:creationId xmlns:a16="http://schemas.microsoft.com/office/drawing/2014/main" id="{1323A3E4-37CC-6B4E-3F2E-BD3B12C38B8E}"/>
                    </a:ext>
                  </a:extLst>
                </p:cNvPr>
                <p:cNvSpPr/>
                <p:nvPr/>
              </p:nvSpPr>
              <p:spPr>
                <a:xfrm>
                  <a:off x="5974473" y="3839039"/>
                  <a:ext cx="32100" cy="12616"/>
                </a:xfrm>
                <a:custGeom>
                  <a:avLst/>
                  <a:gdLst>
                    <a:gd name="csX0" fmla="*/ 0 w 32100"/>
                    <a:gd name="csY0" fmla="*/ 0 h 12616"/>
                    <a:gd name="csX1" fmla="*/ 32100 w 32100"/>
                    <a:gd name="csY1" fmla="*/ 0 h 12616"/>
                  </a:gdLst>
                  <a:ahLst/>
                  <a:cxnLst>
                    <a:cxn ang="0">
                      <a:pos x="csX0" y="csY0"/>
                    </a:cxn>
                    <a:cxn ang="0">
                      <a:pos x="csX1" y="csY1"/>
                    </a:cxn>
                  </a:cxnLst>
                  <a:rect l="l" t="t" r="r" b="b"/>
                  <a:pathLst>
                    <a:path w="32100" h="12616">
                      <a:moveTo>
                        <a:pt x="0" y="0"/>
                      </a:moveTo>
                      <a:lnTo>
                        <a:pt x="32100" y="0"/>
                      </a:lnTo>
                    </a:path>
                  </a:pathLst>
                </a:custGeom>
                <a:ln w="6331" cap="flat">
                  <a:solidFill>
                    <a:srgbClr val="0B41CD"/>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40" name="Graphic 4">
                <a:extLst>
                  <a:ext uri="{FF2B5EF4-FFF2-40B4-BE49-F238E27FC236}">
                    <a16:creationId xmlns:a16="http://schemas.microsoft.com/office/drawing/2014/main" id="{16ACB62C-6385-7640-A1BA-E0064B7BF529}"/>
                  </a:ext>
                </a:extLst>
              </p:cNvPr>
              <p:cNvGrpSpPr/>
              <p:nvPr/>
            </p:nvGrpSpPr>
            <p:grpSpPr>
              <a:xfrm>
                <a:off x="5903294" y="3823143"/>
                <a:ext cx="32100" cy="31918"/>
                <a:chOff x="5903294" y="3823143"/>
                <a:chExt cx="32100" cy="31918"/>
              </a:xfrm>
            </p:grpSpPr>
            <p:sp>
              <p:nvSpPr>
                <p:cNvPr id="147" name="Freeform 225">
                  <a:extLst>
                    <a:ext uri="{FF2B5EF4-FFF2-40B4-BE49-F238E27FC236}">
                      <a16:creationId xmlns:a16="http://schemas.microsoft.com/office/drawing/2014/main" id="{E381342E-F24E-E822-4558-F968BC6F015E}"/>
                    </a:ext>
                  </a:extLst>
                </p:cNvPr>
                <p:cNvSpPr/>
                <p:nvPr/>
              </p:nvSpPr>
              <p:spPr>
                <a:xfrm>
                  <a:off x="5919281" y="3823143"/>
                  <a:ext cx="12687" cy="31918"/>
                </a:xfrm>
                <a:custGeom>
                  <a:avLst/>
                  <a:gdLst>
                    <a:gd name="csX0" fmla="*/ 0 w 12687"/>
                    <a:gd name="csY0" fmla="*/ 0 h 31918"/>
                    <a:gd name="csX1" fmla="*/ 0 w 12687"/>
                    <a:gd name="csY1" fmla="*/ 31919 h 31918"/>
                  </a:gdLst>
                  <a:ahLst/>
                  <a:cxnLst>
                    <a:cxn ang="0">
                      <a:pos x="csX0" y="csY0"/>
                    </a:cxn>
                    <a:cxn ang="0">
                      <a:pos x="csX1" y="csY1"/>
                    </a:cxn>
                  </a:cxnLst>
                  <a:rect l="l" t="t" r="r" b="b"/>
                  <a:pathLst>
                    <a:path w="12687" h="31918">
                      <a:moveTo>
                        <a:pt x="0" y="0"/>
                      </a:moveTo>
                      <a:lnTo>
                        <a:pt x="0" y="31919"/>
                      </a:lnTo>
                    </a:path>
                  </a:pathLst>
                </a:custGeom>
                <a:ln w="6331" cap="flat">
                  <a:solidFill>
                    <a:srgbClr val="0B41CD"/>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8" name="Freeform 226">
                  <a:extLst>
                    <a:ext uri="{FF2B5EF4-FFF2-40B4-BE49-F238E27FC236}">
                      <a16:creationId xmlns:a16="http://schemas.microsoft.com/office/drawing/2014/main" id="{A45E99E7-F321-6D37-2200-C406B2A4C30F}"/>
                    </a:ext>
                  </a:extLst>
                </p:cNvPr>
                <p:cNvSpPr/>
                <p:nvPr/>
              </p:nvSpPr>
              <p:spPr>
                <a:xfrm>
                  <a:off x="5903294" y="3839039"/>
                  <a:ext cx="32100" cy="12616"/>
                </a:xfrm>
                <a:custGeom>
                  <a:avLst/>
                  <a:gdLst>
                    <a:gd name="csX0" fmla="*/ 0 w 32100"/>
                    <a:gd name="csY0" fmla="*/ 0 h 12616"/>
                    <a:gd name="csX1" fmla="*/ 32100 w 32100"/>
                    <a:gd name="csY1" fmla="*/ 0 h 12616"/>
                  </a:gdLst>
                  <a:ahLst/>
                  <a:cxnLst>
                    <a:cxn ang="0">
                      <a:pos x="csX0" y="csY0"/>
                    </a:cxn>
                    <a:cxn ang="0">
                      <a:pos x="csX1" y="csY1"/>
                    </a:cxn>
                  </a:cxnLst>
                  <a:rect l="l" t="t" r="r" b="b"/>
                  <a:pathLst>
                    <a:path w="32100" h="12616">
                      <a:moveTo>
                        <a:pt x="0" y="0"/>
                      </a:moveTo>
                      <a:lnTo>
                        <a:pt x="32100" y="0"/>
                      </a:lnTo>
                    </a:path>
                  </a:pathLst>
                </a:custGeom>
                <a:ln w="6331" cap="flat">
                  <a:solidFill>
                    <a:srgbClr val="0B41CD"/>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41" name="Graphic 4">
                <a:extLst>
                  <a:ext uri="{FF2B5EF4-FFF2-40B4-BE49-F238E27FC236}">
                    <a16:creationId xmlns:a16="http://schemas.microsoft.com/office/drawing/2014/main" id="{DEE3F6B9-F69B-8A95-9057-08CDE9F013FA}"/>
                  </a:ext>
                </a:extLst>
              </p:cNvPr>
              <p:cNvGrpSpPr/>
              <p:nvPr/>
            </p:nvGrpSpPr>
            <p:grpSpPr>
              <a:xfrm>
                <a:off x="5728583" y="3601730"/>
                <a:ext cx="32227" cy="32044"/>
                <a:chOff x="5728583" y="3601730"/>
                <a:chExt cx="32227" cy="32044"/>
              </a:xfrm>
            </p:grpSpPr>
            <p:sp>
              <p:nvSpPr>
                <p:cNvPr id="145" name="Freeform 223">
                  <a:extLst>
                    <a:ext uri="{FF2B5EF4-FFF2-40B4-BE49-F238E27FC236}">
                      <a16:creationId xmlns:a16="http://schemas.microsoft.com/office/drawing/2014/main" id="{DD78DAF5-EA03-67FF-F0B6-5BDA8F00B0F0}"/>
                    </a:ext>
                  </a:extLst>
                </p:cNvPr>
                <p:cNvSpPr/>
                <p:nvPr/>
              </p:nvSpPr>
              <p:spPr>
                <a:xfrm>
                  <a:off x="5744697" y="3601730"/>
                  <a:ext cx="12687" cy="32044"/>
                </a:xfrm>
                <a:custGeom>
                  <a:avLst/>
                  <a:gdLst>
                    <a:gd name="csX0" fmla="*/ 0 w 12687"/>
                    <a:gd name="csY0" fmla="*/ 0 h 32044"/>
                    <a:gd name="csX1" fmla="*/ 0 w 12687"/>
                    <a:gd name="csY1" fmla="*/ 32045 h 32044"/>
                  </a:gdLst>
                  <a:ahLst/>
                  <a:cxnLst>
                    <a:cxn ang="0">
                      <a:pos x="csX0" y="csY0"/>
                    </a:cxn>
                    <a:cxn ang="0">
                      <a:pos x="csX1" y="csY1"/>
                    </a:cxn>
                  </a:cxnLst>
                  <a:rect l="l" t="t" r="r" b="b"/>
                  <a:pathLst>
                    <a:path w="12687" h="32044">
                      <a:moveTo>
                        <a:pt x="0" y="0"/>
                      </a:moveTo>
                      <a:lnTo>
                        <a:pt x="0" y="32045"/>
                      </a:lnTo>
                    </a:path>
                  </a:pathLst>
                </a:custGeom>
                <a:ln w="6331" cap="flat">
                  <a:solidFill>
                    <a:srgbClr val="0B41CD"/>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6" name="Freeform 224">
                  <a:extLst>
                    <a:ext uri="{FF2B5EF4-FFF2-40B4-BE49-F238E27FC236}">
                      <a16:creationId xmlns:a16="http://schemas.microsoft.com/office/drawing/2014/main" id="{BAE023E6-0591-1CE6-D3C6-E7A9EAC0D48E}"/>
                    </a:ext>
                  </a:extLst>
                </p:cNvPr>
                <p:cNvSpPr/>
                <p:nvPr/>
              </p:nvSpPr>
              <p:spPr>
                <a:xfrm>
                  <a:off x="5728583" y="3617752"/>
                  <a:ext cx="32227" cy="12616"/>
                </a:xfrm>
                <a:custGeom>
                  <a:avLst/>
                  <a:gdLst>
                    <a:gd name="csX0" fmla="*/ 0 w 32227"/>
                    <a:gd name="csY0" fmla="*/ 0 h 12616"/>
                    <a:gd name="csX1" fmla="*/ 32227 w 32227"/>
                    <a:gd name="csY1" fmla="*/ 0 h 12616"/>
                  </a:gdLst>
                  <a:ahLst/>
                  <a:cxnLst>
                    <a:cxn ang="0">
                      <a:pos x="csX0" y="csY0"/>
                    </a:cxn>
                    <a:cxn ang="0">
                      <a:pos x="csX1" y="csY1"/>
                    </a:cxn>
                  </a:cxnLst>
                  <a:rect l="l" t="t" r="r" b="b"/>
                  <a:pathLst>
                    <a:path w="32227" h="12616">
                      <a:moveTo>
                        <a:pt x="0" y="0"/>
                      </a:moveTo>
                      <a:lnTo>
                        <a:pt x="32227" y="0"/>
                      </a:lnTo>
                    </a:path>
                  </a:pathLst>
                </a:custGeom>
                <a:ln w="6331" cap="flat">
                  <a:solidFill>
                    <a:srgbClr val="0B41CD"/>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42" name="Graphic 4">
                <a:extLst>
                  <a:ext uri="{FF2B5EF4-FFF2-40B4-BE49-F238E27FC236}">
                    <a16:creationId xmlns:a16="http://schemas.microsoft.com/office/drawing/2014/main" id="{C0522A42-32D8-9B57-0F95-7762B4418FD8}"/>
                  </a:ext>
                </a:extLst>
              </p:cNvPr>
              <p:cNvGrpSpPr/>
              <p:nvPr/>
            </p:nvGrpSpPr>
            <p:grpSpPr>
              <a:xfrm>
                <a:off x="5705872" y="3471783"/>
                <a:ext cx="32100" cy="32044"/>
                <a:chOff x="5705872" y="3471783"/>
                <a:chExt cx="32100" cy="32044"/>
              </a:xfrm>
            </p:grpSpPr>
            <p:sp>
              <p:nvSpPr>
                <p:cNvPr id="143" name="Freeform 221">
                  <a:extLst>
                    <a:ext uri="{FF2B5EF4-FFF2-40B4-BE49-F238E27FC236}">
                      <a16:creationId xmlns:a16="http://schemas.microsoft.com/office/drawing/2014/main" id="{41B779FA-E383-5694-7E20-4ADF6411AF30}"/>
                    </a:ext>
                  </a:extLst>
                </p:cNvPr>
                <p:cNvSpPr/>
                <p:nvPr/>
              </p:nvSpPr>
              <p:spPr>
                <a:xfrm>
                  <a:off x="5721986" y="3471783"/>
                  <a:ext cx="12687" cy="32044"/>
                </a:xfrm>
                <a:custGeom>
                  <a:avLst/>
                  <a:gdLst>
                    <a:gd name="csX0" fmla="*/ 0 w 12687"/>
                    <a:gd name="csY0" fmla="*/ 0 h 32044"/>
                    <a:gd name="csX1" fmla="*/ 0 w 12687"/>
                    <a:gd name="csY1" fmla="*/ 32045 h 32044"/>
                  </a:gdLst>
                  <a:ahLst/>
                  <a:cxnLst>
                    <a:cxn ang="0">
                      <a:pos x="csX0" y="csY0"/>
                    </a:cxn>
                    <a:cxn ang="0">
                      <a:pos x="csX1" y="csY1"/>
                    </a:cxn>
                  </a:cxnLst>
                  <a:rect l="l" t="t" r="r" b="b"/>
                  <a:pathLst>
                    <a:path w="12687" h="32044">
                      <a:moveTo>
                        <a:pt x="0" y="0"/>
                      </a:moveTo>
                      <a:lnTo>
                        <a:pt x="0" y="32045"/>
                      </a:lnTo>
                    </a:path>
                  </a:pathLst>
                </a:custGeom>
                <a:ln w="6331" cap="flat">
                  <a:solidFill>
                    <a:srgbClr val="0B41CD"/>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4" name="Freeform 222">
                  <a:extLst>
                    <a:ext uri="{FF2B5EF4-FFF2-40B4-BE49-F238E27FC236}">
                      <a16:creationId xmlns:a16="http://schemas.microsoft.com/office/drawing/2014/main" id="{5028000D-4FBE-F65E-B1E3-3D8EF51CB547}"/>
                    </a:ext>
                  </a:extLst>
                </p:cNvPr>
                <p:cNvSpPr/>
                <p:nvPr/>
              </p:nvSpPr>
              <p:spPr>
                <a:xfrm>
                  <a:off x="5705872" y="3487806"/>
                  <a:ext cx="32100" cy="12616"/>
                </a:xfrm>
                <a:custGeom>
                  <a:avLst/>
                  <a:gdLst>
                    <a:gd name="csX0" fmla="*/ 0 w 32100"/>
                    <a:gd name="csY0" fmla="*/ 0 h 12616"/>
                    <a:gd name="csX1" fmla="*/ 32100 w 32100"/>
                    <a:gd name="csY1" fmla="*/ 0 h 12616"/>
                  </a:gdLst>
                  <a:ahLst/>
                  <a:cxnLst>
                    <a:cxn ang="0">
                      <a:pos x="csX0" y="csY0"/>
                    </a:cxn>
                    <a:cxn ang="0">
                      <a:pos x="csX1" y="csY1"/>
                    </a:cxn>
                  </a:cxnLst>
                  <a:rect l="l" t="t" r="r" b="b"/>
                  <a:pathLst>
                    <a:path w="32100" h="12616">
                      <a:moveTo>
                        <a:pt x="0" y="0"/>
                      </a:moveTo>
                      <a:lnTo>
                        <a:pt x="32100" y="0"/>
                      </a:lnTo>
                    </a:path>
                  </a:pathLst>
                </a:custGeom>
                <a:ln w="6331" cap="flat">
                  <a:solidFill>
                    <a:srgbClr val="0B41CD"/>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nvGrpSpPr>
            <p:cNvPr id="15" name="Graphic 4">
              <a:extLst>
                <a:ext uri="{FF2B5EF4-FFF2-40B4-BE49-F238E27FC236}">
                  <a16:creationId xmlns:a16="http://schemas.microsoft.com/office/drawing/2014/main" id="{22AF1CA2-7EA3-355D-A802-3D047C413B42}"/>
                </a:ext>
              </a:extLst>
            </p:cNvPr>
            <p:cNvGrpSpPr/>
            <p:nvPr/>
          </p:nvGrpSpPr>
          <p:grpSpPr>
            <a:xfrm>
              <a:off x="5605768" y="1713707"/>
              <a:ext cx="2510155" cy="750659"/>
              <a:chOff x="5617057" y="2882106"/>
              <a:chExt cx="2510155" cy="750659"/>
            </a:xfrm>
          </p:grpSpPr>
          <p:grpSp>
            <p:nvGrpSpPr>
              <p:cNvPr id="61" name="Graphic 4">
                <a:extLst>
                  <a:ext uri="{FF2B5EF4-FFF2-40B4-BE49-F238E27FC236}">
                    <a16:creationId xmlns:a16="http://schemas.microsoft.com/office/drawing/2014/main" id="{C1A702A9-0827-A2D7-1AF4-AB8B97BAFD10}"/>
                  </a:ext>
                </a:extLst>
              </p:cNvPr>
              <p:cNvGrpSpPr/>
              <p:nvPr/>
            </p:nvGrpSpPr>
            <p:grpSpPr>
              <a:xfrm>
                <a:off x="8094986" y="3600846"/>
                <a:ext cx="32227" cy="31918"/>
                <a:chOff x="8094986" y="3600846"/>
                <a:chExt cx="32227" cy="31918"/>
              </a:xfrm>
            </p:grpSpPr>
            <p:sp>
              <p:nvSpPr>
                <p:cNvPr id="136" name="Freeform 305">
                  <a:extLst>
                    <a:ext uri="{FF2B5EF4-FFF2-40B4-BE49-F238E27FC236}">
                      <a16:creationId xmlns:a16="http://schemas.microsoft.com/office/drawing/2014/main" id="{B1E26360-420C-F058-9076-0EEA05AD00F4}"/>
                    </a:ext>
                  </a:extLst>
                </p:cNvPr>
                <p:cNvSpPr/>
                <p:nvPr/>
              </p:nvSpPr>
              <p:spPr>
                <a:xfrm>
                  <a:off x="8111099" y="3600846"/>
                  <a:ext cx="12687" cy="31918"/>
                </a:xfrm>
                <a:custGeom>
                  <a:avLst/>
                  <a:gdLst>
                    <a:gd name="csX0" fmla="*/ 0 w 12687"/>
                    <a:gd name="csY0" fmla="*/ 0 h 31918"/>
                    <a:gd name="csX1" fmla="*/ 0 w 12687"/>
                    <a:gd name="csY1" fmla="*/ 31919 h 31918"/>
                  </a:gdLst>
                  <a:ahLst/>
                  <a:cxnLst>
                    <a:cxn ang="0">
                      <a:pos x="csX0" y="csY0"/>
                    </a:cxn>
                    <a:cxn ang="0">
                      <a:pos x="csX1" y="csY1"/>
                    </a:cxn>
                  </a:cxnLst>
                  <a:rect l="l" t="t" r="r" b="b"/>
                  <a:pathLst>
                    <a:path w="12687" h="31918">
                      <a:moveTo>
                        <a:pt x="0" y="0"/>
                      </a:moveTo>
                      <a:lnTo>
                        <a:pt x="0" y="31919"/>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7" name="Freeform 306">
                  <a:extLst>
                    <a:ext uri="{FF2B5EF4-FFF2-40B4-BE49-F238E27FC236}">
                      <a16:creationId xmlns:a16="http://schemas.microsoft.com/office/drawing/2014/main" id="{9C27E987-5288-A287-3507-F6C0DADB5800}"/>
                    </a:ext>
                  </a:extLst>
                </p:cNvPr>
                <p:cNvSpPr/>
                <p:nvPr/>
              </p:nvSpPr>
              <p:spPr>
                <a:xfrm>
                  <a:off x="8094986" y="3616869"/>
                  <a:ext cx="32227" cy="12616"/>
                </a:xfrm>
                <a:custGeom>
                  <a:avLst/>
                  <a:gdLst>
                    <a:gd name="csX0" fmla="*/ 0 w 32227"/>
                    <a:gd name="csY0" fmla="*/ 0 h 12616"/>
                    <a:gd name="csX1" fmla="*/ 32227 w 32227"/>
                    <a:gd name="csY1" fmla="*/ 0 h 12616"/>
                  </a:gdLst>
                  <a:ahLst/>
                  <a:cxnLst>
                    <a:cxn ang="0">
                      <a:pos x="csX0" y="csY0"/>
                    </a:cxn>
                    <a:cxn ang="0">
                      <a:pos x="csX1" y="csY1"/>
                    </a:cxn>
                  </a:cxnLst>
                  <a:rect l="l" t="t" r="r" b="b"/>
                  <a:pathLst>
                    <a:path w="32227" h="12616">
                      <a:moveTo>
                        <a:pt x="0" y="0"/>
                      </a:moveTo>
                      <a:lnTo>
                        <a:pt x="32227" y="0"/>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62" name="Graphic 4">
                <a:extLst>
                  <a:ext uri="{FF2B5EF4-FFF2-40B4-BE49-F238E27FC236}">
                    <a16:creationId xmlns:a16="http://schemas.microsoft.com/office/drawing/2014/main" id="{E26EC9A3-351D-9D70-AA9D-B01230491BE0}"/>
                  </a:ext>
                </a:extLst>
              </p:cNvPr>
              <p:cNvGrpSpPr/>
              <p:nvPr/>
            </p:nvGrpSpPr>
            <p:grpSpPr>
              <a:xfrm>
                <a:off x="8037383" y="3600846"/>
                <a:ext cx="32100" cy="31918"/>
                <a:chOff x="8037383" y="3600846"/>
                <a:chExt cx="32100" cy="31918"/>
              </a:xfrm>
            </p:grpSpPr>
            <p:sp>
              <p:nvSpPr>
                <p:cNvPr id="134" name="Freeform 303">
                  <a:extLst>
                    <a:ext uri="{FF2B5EF4-FFF2-40B4-BE49-F238E27FC236}">
                      <a16:creationId xmlns:a16="http://schemas.microsoft.com/office/drawing/2014/main" id="{EAE966F8-579A-33BC-BC03-0CE90E2DBDF7}"/>
                    </a:ext>
                  </a:extLst>
                </p:cNvPr>
                <p:cNvSpPr/>
                <p:nvPr/>
              </p:nvSpPr>
              <p:spPr>
                <a:xfrm>
                  <a:off x="8053497" y="3600846"/>
                  <a:ext cx="12687" cy="31918"/>
                </a:xfrm>
                <a:custGeom>
                  <a:avLst/>
                  <a:gdLst>
                    <a:gd name="csX0" fmla="*/ 0 w 12687"/>
                    <a:gd name="csY0" fmla="*/ 0 h 31918"/>
                    <a:gd name="csX1" fmla="*/ 0 w 12687"/>
                    <a:gd name="csY1" fmla="*/ 31919 h 31918"/>
                  </a:gdLst>
                  <a:ahLst/>
                  <a:cxnLst>
                    <a:cxn ang="0">
                      <a:pos x="csX0" y="csY0"/>
                    </a:cxn>
                    <a:cxn ang="0">
                      <a:pos x="csX1" y="csY1"/>
                    </a:cxn>
                  </a:cxnLst>
                  <a:rect l="l" t="t" r="r" b="b"/>
                  <a:pathLst>
                    <a:path w="12687" h="31918">
                      <a:moveTo>
                        <a:pt x="0" y="0"/>
                      </a:moveTo>
                      <a:lnTo>
                        <a:pt x="0" y="31919"/>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5" name="Freeform 304">
                  <a:extLst>
                    <a:ext uri="{FF2B5EF4-FFF2-40B4-BE49-F238E27FC236}">
                      <a16:creationId xmlns:a16="http://schemas.microsoft.com/office/drawing/2014/main" id="{FB8B95CC-5F1C-0104-373E-37EFFBEF3276}"/>
                    </a:ext>
                  </a:extLst>
                </p:cNvPr>
                <p:cNvSpPr/>
                <p:nvPr/>
              </p:nvSpPr>
              <p:spPr>
                <a:xfrm>
                  <a:off x="8037383" y="3616869"/>
                  <a:ext cx="32100" cy="12616"/>
                </a:xfrm>
                <a:custGeom>
                  <a:avLst/>
                  <a:gdLst>
                    <a:gd name="csX0" fmla="*/ 0 w 32100"/>
                    <a:gd name="csY0" fmla="*/ 0 h 12616"/>
                    <a:gd name="csX1" fmla="*/ 32100 w 32100"/>
                    <a:gd name="csY1" fmla="*/ 0 h 12616"/>
                  </a:gdLst>
                  <a:ahLst/>
                  <a:cxnLst>
                    <a:cxn ang="0">
                      <a:pos x="csX0" y="csY0"/>
                    </a:cxn>
                    <a:cxn ang="0">
                      <a:pos x="csX1" y="csY1"/>
                    </a:cxn>
                  </a:cxnLst>
                  <a:rect l="l" t="t" r="r" b="b"/>
                  <a:pathLst>
                    <a:path w="32100" h="12616">
                      <a:moveTo>
                        <a:pt x="0" y="0"/>
                      </a:moveTo>
                      <a:lnTo>
                        <a:pt x="32100" y="0"/>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63" name="Graphic 4">
                <a:extLst>
                  <a:ext uri="{FF2B5EF4-FFF2-40B4-BE49-F238E27FC236}">
                    <a16:creationId xmlns:a16="http://schemas.microsoft.com/office/drawing/2014/main" id="{9A3EB700-A37B-222B-6F27-88B8C616FD01}"/>
                  </a:ext>
                </a:extLst>
              </p:cNvPr>
              <p:cNvGrpSpPr/>
              <p:nvPr/>
            </p:nvGrpSpPr>
            <p:grpSpPr>
              <a:xfrm>
                <a:off x="8031293" y="3600846"/>
                <a:ext cx="32100" cy="31918"/>
                <a:chOff x="8031293" y="3600846"/>
                <a:chExt cx="32100" cy="31918"/>
              </a:xfrm>
            </p:grpSpPr>
            <p:sp>
              <p:nvSpPr>
                <p:cNvPr id="132" name="Freeform 301">
                  <a:extLst>
                    <a:ext uri="{FF2B5EF4-FFF2-40B4-BE49-F238E27FC236}">
                      <a16:creationId xmlns:a16="http://schemas.microsoft.com/office/drawing/2014/main" id="{D77FD426-DD16-0D25-BD76-252A7192E267}"/>
                    </a:ext>
                  </a:extLst>
                </p:cNvPr>
                <p:cNvSpPr/>
                <p:nvPr/>
              </p:nvSpPr>
              <p:spPr>
                <a:xfrm>
                  <a:off x="8047406" y="3600846"/>
                  <a:ext cx="12687" cy="31918"/>
                </a:xfrm>
                <a:custGeom>
                  <a:avLst/>
                  <a:gdLst>
                    <a:gd name="csX0" fmla="*/ 0 w 12687"/>
                    <a:gd name="csY0" fmla="*/ 0 h 31918"/>
                    <a:gd name="csX1" fmla="*/ 0 w 12687"/>
                    <a:gd name="csY1" fmla="*/ 31919 h 31918"/>
                  </a:gdLst>
                  <a:ahLst/>
                  <a:cxnLst>
                    <a:cxn ang="0">
                      <a:pos x="csX0" y="csY0"/>
                    </a:cxn>
                    <a:cxn ang="0">
                      <a:pos x="csX1" y="csY1"/>
                    </a:cxn>
                  </a:cxnLst>
                  <a:rect l="l" t="t" r="r" b="b"/>
                  <a:pathLst>
                    <a:path w="12687" h="31918">
                      <a:moveTo>
                        <a:pt x="0" y="0"/>
                      </a:moveTo>
                      <a:lnTo>
                        <a:pt x="0" y="31919"/>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3" name="Freeform 302">
                  <a:extLst>
                    <a:ext uri="{FF2B5EF4-FFF2-40B4-BE49-F238E27FC236}">
                      <a16:creationId xmlns:a16="http://schemas.microsoft.com/office/drawing/2014/main" id="{CD2DD292-6795-F032-20AE-D4455AB9A843}"/>
                    </a:ext>
                  </a:extLst>
                </p:cNvPr>
                <p:cNvSpPr/>
                <p:nvPr/>
              </p:nvSpPr>
              <p:spPr>
                <a:xfrm>
                  <a:off x="8031293" y="3616869"/>
                  <a:ext cx="32100" cy="12616"/>
                </a:xfrm>
                <a:custGeom>
                  <a:avLst/>
                  <a:gdLst>
                    <a:gd name="csX0" fmla="*/ 0 w 32100"/>
                    <a:gd name="csY0" fmla="*/ 0 h 12616"/>
                    <a:gd name="csX1" fmla="*/ 32100 w 32100"/>
                    <a:gd name="csY1" fmla="*/ 0 h 12616"/>
                  </a:gdLst>
                  <a:ahLst/>
                  <a:cxnLst>
                    <a:cxn ang="0">
                      <a:pos x="csX0" y="csY0"/>
                    </a:cxn>
                    <a:cxn ang="0">
                      <a:pos x="csX1" y="csY1"/>
                    </a:cxn>
                  </a:cxnLst>
                  <a:rect l="l" t="t" r="r" b="b"/>
                  <a:pathLst>
                    <a:path w="32100" h="12616">
                      <a:moveTo>
                        <a:pt x="0" y="0"/>
                      </a:moveTo>
                      <a:lnTo>
                        <a:pt x="32100" y="0"/>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64" name="Graphic 4">
                <a:extLst>
                  <a:ext uri="{FF2B5EF4-FFF2-40B4-BE49-F238E27FC236}">
                    <a16:creationId xmlns:a16="http://schemas.microsoft.com/office/drawing/2014/main" id="{C06A2734-2938-2158-9233-333E6B721F50}"/>
                  </a:ext>
                </a:extLst>
              </p:cNvPr>
              <p:cNvGrpSpPr/>
              <p:nvPr/>
            </p:nvGrpSpPr>
            <p:grpSpPr>
              <a:xfrm>
                <a:off x="8001984" y="3600846"/>
                <a:ext cx="32100" cy="31918"/>
                <a:chOff x="8001984" y="3600846"/>
                <a:chExt cx="32100" cy="31918"/>
              </a:xfrm>
            </p:grpSpPr>
            <p:sp>
              <p:nvSpPr>
                <p:cNvPr id="129" name="Freeform 299">
                  <a:extLst>
                    <a:ext uri="{FF2B5EF4-FFF2-40B4-BE49-F238E27FC236}">
                      <a16:creationId xmlns:a16="http://schemas.microsoft.com/office/drawing/2014/main" id="{274FC357-C7D2-A4D3-054A-6C1D0D55A7A2}"/>
                    </a:ext>
                  </a:extLst>
                </p:cNvPr>
                <p:cNvSpPr/>
                <p:nvPr/>
              </p:nvSpPr>
              <p:spPr>
                <a:xfrm>
                  <a:off x="8017971" y="3600846"/>
                  <a:ext cx="12687" cy="31918"/>
                </a:xfrm>
                <a:custGeom>
                  <a:avLst/>
                  <a:gdLst>
                    <a:gd name="csX0" fmla="*/ 0 w 12687"/>
                    <a:gd name="csY0" fmla="*/ 0 h 31918"/>
                    <a:gd name="csX1" fmla="*/ 0 w 12687"/>
                    <a:gd name="csY1" fmla="*/ 31919 h 31918"/>
                  </a:gdLst>
                  <a:ahLst/>
                  <a:cxnLst>
                    <a:cxn ang="0">
                      <a:pos x="csX0" y="csY0"/>
                    </a:cxn>
                    <a:cxn ang="0">
                      <a:pos x="csX1" y="csY1"/>
                    </a:cxn>
                  </a:cxnLst>
                  <a:rect l="l" t="t" r="r" b="b"/>
                  <a:pathLst>
                    <a:path w="12687" h="31918">
                      <a:moveTo>
                        <a:pt x="0" y="0"/>
                      </a:moveTo>
                      <a:lnTo>
                        <a:pt x="0" y="31919"/>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0" name="Freeform 300">
                  <a:extLst>
                    <a:ext uri="{FF2B5EF4-FFF2-40B4-BE49-F238E27FC236}">
                      <a16:creationId xmlns:a16="http://schemas.microsoft.com/office/drawing/2014/main" id="{40C8B1DD-4213-674E-EB86-D362439A1FAC}"/>
                    </a:ext>
                  </a:extLst>
                </p:cNvPr>
                <p:cNvSpPr/>
                <p:nvPr/>
              </p:nvSpPr>
              <p:spPr>
                <a:xfrm>
                  <a:off x="8001984" y="3616869"/>
                  <a:ext cx="32100" cy="12616"/>
                </a:xfrm>
                <a:custGeom>
                  <a:avLst/>
                  <a:gdLst>
                    <a:gd name="csX0" fmla="*/ 0 w 32100"/>
                    <a:gd name="csY0" fmla="*/ 0 h 12616"/>
                    <a:gd name="csX1" fmla="*/ 32100 w 32100"/>
                    <a:gd name="csY1" fmla="*/ 0 h 12616"/>
                  </a:gdLst>
                  <a:ahLst/>
                  <a:cxnLst>
                    <a:cxn ang="0">
                      <a:pos x="csX0" y="csY0"/>
                    </a:cxn>
                    <a:cxn ang="0">
                      <a:pos x="csX1" y="csY1"/>
                    </a:cxn>
                  </a:cxnLst>
                  <a:rect l="l" t="t" r="r" b="b"/>
                  <a:pathLst>
                    <a:path w="32100" h="12616">
                      <a:moveTo>
                        <a:pt x="0" y="0"/>
                      </a:moveTo>
                      <a:lnTo>
                        <a:pt x="32100" y="0"/>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65" name="Graphic 4">
                <a:extLst>
                  <a:ext uri="{FF2B5EF4-FFF2-40B4-BE49-F238E27FC236}">
                    <a16:creationId xmlns:a16="http://schemas.microsoft.com/office/drawing/2014/main" id="{A1BECC07-23EA-3FD2-D4FA-24692592E564}"/>
                  </a:ext>
                </a:extLst>
              </p:cNvPr>
              <p:cNvGrpSpPr/>
              <p:nvPr/>
            </p:nvGrpSpPr>
            <p:grpSpPr>
              <a:xfrm>
                <a:off x="7922178" y="3600846"/>
                <a:ext cx="32100" cy="31918"/>
                <a:chOff x="7922178" y="3600846"/>
                <a:chExt cx="32100" cy="31918"/>
              </a:xfrm>
            </p:grpSpPr>
            <p:sp>
              <p:nvSpPr>
                <p:cNvPr id="127" name="Freeform 297">
                  <a:extLst>
                    <a:ext uri="{FF2B5EF4-FFF2-40B4-BE49-F238E27FC236}">
                      <a16:creationId xmlns:a16="http://schemas.microsoft.com/office/drawing/2014/main" id="{50F68A57-911A-BC89-2FE4-47FB3232324B}"/>
                    </a:ext>
                  </a:extLst>
                </p:cNvPr>
                <p:cNvSpPr/>
                <p:nvPr/>
              </p:nvSpPr>
              <p:spPr>
                <a:xfrm>
                  <a:off x="7938291" y="3600846"/>
                  <a:ext cx="12687" cy="31918"/>
                </a:xfrm>
                <a:custGeom>
                  <a:avLst/>
                  <a:gdLst>
                    <a:gd name="csX0" fmla="*/ 0 w 12687"/>
                    <a:gd name="csY0" fmla="*/ 0 h 31918"/>
                    <a:gd name="csX1" fmla="*/ 0 w 12687"/>
                    <a:gd name="csY1" fmla="*/ 31919 h 31918"/>
                  </a:gdLst>
                  <a:ahLst/>
                  <a:cxnLst>
                    <a:cxn ang="0">
                      <a:pos x="csX0" y="csY0"/>
                    </a:cxn>
                    <a:cxn ang="0">
                      <a:pos x="csX1" y="csY1"/>
                    </a:cxn>
                  </a:cxnLst>
                  <a:rect l="l" t="t" r="r" b="b"/>
                  <a:pathLst>
                    <a:path w="12687" h="31918">
                      <a:moveTo>
                        <a:pt x="0" y="0"/>
                      </a:moveTo>
                      <a:lnTo>
                        <a:pt x="0" y="31919"/>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8" name="Freeform 298">
                  <a:extLst>
                    <a:ext uri="{FF2B5EF4-FFF2-40B4-BE49-F238E27FC236}">
                      <a16:creationId xmlns:a16="http://schemas.microsoft.com/office/drawing/2014/main" id="{3F68F1FE-B844-432F-7FAC-12071526FB3F}"/>
                    </a:ext>
                  </a:extLst>
                </p:cNvPr>
                <p:cNvSpPr/>
                <p:nvPr/>
              </p:nvSpPr>
              <p:spPr>
                <a:xfrm>
                  <a:off x="7922178" y="3616869"/>
                  <a:ext cx="32100" cy="12616"/>
                </a:xfrm>
                <a:custGeom>
                  <a:avLst/>
                  <a:gdLst>
                    <a:gd name="csX0" fmla="*/ 0 w 32100"/>
                    <a:gd name="csY0" fmla="*/ 0 h 12616"/>
                    <a:gd name="csX1" fmla="*/ 32100 w 32100"/>
                    <a:gd name="csY1" fmla="*/ 0 h 12616"/>
                  </a:gdLst>
                  <a:ahLst/>
                  <a:cxnLst>
                    <a:cxn ang="0">
                      <a:pos x="csX0" y="csY0"/>
                    </a:cxn>
                    <a:cxn ang="0">
                      <a:pos x="csX1" y="csY1"/>
                    </a:cxn>
                  </a:cxnLst>
                  <a:rect l="l" t="t" r="r" b="b"/>
                  <a:pathLst>
                    <a:path w="32100" h="12616">
                      <a:moveTo>
                        <a:pt x="0" y="0"/>
                      </a:moveTo>
                      <a:lnTo>
                        <a:pt x="32100" y="0"/>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66" name="Graphic 4">
                <a:extLst>
                  <a:ext uri="{FF2B5EF4-FFF2-40B4-BE49-F238E27FC236}">
                    <a16:creationId xmlns:a16="http://schemas.microsoft.com/office/drawing/2014/main" id="{99165ACD-F08C-8E14-4098-EA2CA8101CBF}"/>
                  </a:ext>
                </a:extLst>
              </p:cNvPr>
              <p:cNvGrpSpPr/>
              <p:nvPr/>
            </p:nvGrpSpPr>
            <p:grpSpPr>
              <a:xfrm>
                <a:off x="7754445" y="3600846"/>
                <a:ext cx="32100" cy="31918"/>
                <a:chOff x="7754445" y="3600846"/>
                <a:chExt cx="32100" cy="31918"/>
              </a:xfrm>
            </p:grpSpPr>
            <p:sp>
              <p:nvSpPr>
                <p:cNvPr id="125" name="Freeform 295">
                  <a:extLst>
                    <a:ext uri="{FF2B5EF4-FFF2-40B4-BE49-F238E27FC236}">
                      <a16:creationId xmlns:a16="http://schemas.microsoft.com/office/drawing/2014/main" id="{6DD9308A-D8A3-2676-483A-0B017541991E}"/>
                    </a:ext>
                  </a:extLst>
                </p:cNvPr>
                <p:cNvSpPr/>
                <p:nvPr/>
              </p:nvSpPr>
              <p:spPr>
                <a:xfrm>
                  <a:off x="7770559" y="3600846"/>
                  <a:ext cx="12687" cy="31918"/>
                </a:xfrm>
                <a:custGeom>
                  <a:avLst/>
                  <a:gdLst>
                    <a:gd name="csX0" fmla="*/ 0 w 12687"/>
                    <a:gd name="csY0" fmla="*/ 0 h 31918"/>
                    <a:gd name="csX1" fmla="*/ 0 w 12687"/>
                    <a:gd name="csY1" fmla="*/ 31919 h 31918"/>
                  </a:gdLst>
                  <a:ahLst/>
                  <a:cxnLst>
                    <a:cxn ang="0">
                      <a:pos x="csX0" y="csY0"/>
                    </a:cxn>
                    <a:cxn ang="0">
                      <a:pos x="csX1" y="csY1"/>
                    </a:cxn>
                  </a:cxnLst>
                  <a:rect l="l" t="t" r="r" b="b"/>
                  <a:pathLst>
                    <a:path w="12687" h="31918">
                      <a:moveTo>
                        <a:pt x="0" y="0"/>
                      </a:moveTo>
                      <a:lnTo>
                        <a:pt x="0" y="31919"/>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6" name="Freeform 296">
                  <a:extLst>
                    <a:ext uri="{FF2B5EF4-FFF2-40B4-BE49-F238E27FC236}">
                      <a16:creationId xmlns:a16="http://schemas.microsoft.com/office/drawing/2014/main" id="{A85FB718-6BD8-6DF8-FFC3-DC04E28BF92E}"/>
                    </a:ext>
                  </a:extLst>
                </p:cNvPr>
                <p:cNvSpPr/>
                <p:nvPr/>
              </p:nvSpPr>
              <p:spPr>
                <a:xfrm>
                  <a:off x="7754445" y="3616869"/>
                  <a:ext cx="32100" cy="12616"/>
                </a:xfrm>
                <a:custGeom>
                  <a:avLst/>
                  <a:gdLst>
                    <a:gd name="csX0" fmla="*/ 0 w 32100"/>
                    <a:gd name="csY0" fmla="*/ 0 h 12616"/>
                    <a:gd name="csX1" fmla="*/ 32100 w 32100"/>
                    <a:gd name="csY1" fmla="*/ 0 h 12616"/>
                  </a:gdLst>
                  <a:ahLst/>
                  <a:cxnLst>
                    <a:cxn ang="0">
                      <a:pos x="csX0" y="csY0"/>
                    </a:cxn>
                    <a:cxn ang="0">
                      <a:pos x="csX1" y="csY1"/>
                    </a:cxn>
                  </a:cxnLst>
                  <a:rect l="l" t="t" r="r" b="b"/>
                  <a:pathLst>
                    <a:path w="32100" h="12616">
                      <a:moveTo>
                        <a:pt x="0" y="0"/>
                      </a:moveTo>
                      <a:lnTo>
                        <a:pt x="32100" y="0"/>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67" name="Graphic 4">
                <a:extLst>
                  <a:ext uri="{FF2B5EF4-FFF2-40B4-BE49-F238E27FC236}">
                    <a16:creationId xmlns:a16="http://schemas.microsoft.com/office/drawing/2014/main" id="{06EFD4A2-4CE7-7C33-CF4C-6599C030F522}"/>
                  </a:ext>
                </a:extLst>
              </p:cNvPr>
              <p:cNvGrpSpPr/>
              <p:nvPr/>
            </p:nvGrpSpPr>
            <p:grpSpPr>
              <a:xfrm>
                <a:off x="7590265" y="3600846"/>
                <a:ext cx="32100" cy="31918"/>
                <a:chOff x="7590265" y="3600846"/>
                <a:chExt cx="32100" cy="31918"/>
              </a:xfrm>
            </p:grpSpPr>
            <p:sp>
              <p:nvSpPr>
                <p:cNvPr id="123" name="Freeform 293">
                  <a:extLst>
                    <a:ext uri="{FF2B5EF4-FFF2-40B4-BE49-F238E27FC236}">
                      <a16:creationId xmlns:a16="http://schemas.microsoft.com/office/drawing/2014/main" id="{8B91B701-EA91-EB12-174F-C8278B5FABFE}"/>
                    </a:ext>
                  </a:extLst>
                </p:cNvPr>
                <p:cNvSpPr/>
                <p:nvPr/>
              </p:nvSpPr>
              <p:spPr>
                <a:xfrm>
                  <a:off x="7606378" y="3600846"/>
                  <a:ext cx="12687" cy="31918"/>
                </a:xfrm>
                <a:custGeom>
                  <a:avLst/>
                  <a:gdLst>
                    <a:gd name="csX0" fmla="*/ 0 w 12687"/>
                    <a:gd name="csY0" fmla="*/ 0 h 31918"/>
                    <a:gd name="csX1" fmla="*/ 0 w 12687"/>
                    <a:gd name="csY1" fmla="*/ 31919 h 31918"/>
                  </a:gdLst>
                  <a:ahLst/>
                  <a:cxnLst>
                    <a:cxn ang="0">
                      <a:pos x="csX0" y="csY0"/>
                    </a:cxn>
                    <a:cxn ang="0">
                      <a:pos x="csX1" y="csY1"/>
                    </a:cxn>
                  </a:cxnLst>
                  <a:rect l="l" t="t" r="r" b="b"/>
                  <a:pathLst>
                    <a:path w="12687" h="31918">
                      <a:moveTo>
                        <a:pt x="0" y="0"/>
                      </a:moveTo>
                      <a:lnTo>
                        <a:pt x="0" y="31919"/>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4" name="Freeform 294">
                  <a:extLst>
                    <a:ext uri="{FF2B5EF4-FFF2-40B4-BE49-F238E27FC236}">
                      <a16:creationId xmlns:a16="http://schemas.microsoft.com/office/drawing/2014/main" id="{2EE1205B-FE27-86C2-D100-BDF2423EA616}"/>
                    </a:ext>
                  </a:extLst>
                </p:cNvPr>
                <p:cNvSpPr/>
                <p:nvPr/>
              </p:nvSpPr>
              <p:spPr>
                <a:xfrm>
                  <a:off x="7590265" y="3616869"/>
                  <a:ext cx="32100" cy="12616"/>
                </a:xfrm>
                <a:custGeom>
                  <a:avLst/>
                  <a:gdLst>
                    <a:gd name="csX0" fmla="*/ 0 w 32100"/>
                    <a:gd name="csY0" fmla="*/ 0 h 12616"/>
                    <a:gd name="csX1" fmla="*/ 32100 w 32100"/>
                    <a:gd name="csY1" fmla="*/ 0 h 12616"/>
                  </a:gdLst>
                  <a:ahLst/>
                  <a:cxnLst>
                    <a:cxn ang="0">
                      <a:pos x="csX0" y="csY0"/>
                    </a:cxn>
                    <a:cxn ang="0">
                      <a:pos x="csX1" y="csY1"/>
                    </a:cxn>
                  </a:cxnLst>
                  <a:rect l="l" t="t" r="r" b="b"/>
                  <a:pathLst>
                    <a:path w="32100" h="12616">
                      <a:moveTo>
                        <a:pt x="0" y="0"/>
                      </a:moveTo>
                      <a:lnTo>
                        <a:pt x="32100" y="0"/>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68" name="Graphic 4">
                <a:extLst>
                  <a:ext uri="{FF2B5EF4-FFF2-40B4-BE49-F238E27FC236}">
                    <a16:creationId xmlns:a16="http://schemas.microsoft.com/office/drawing/2014/main" id="{CB5E45B6-644B-E9A8-B514-BD9D8F5E768A}"/>
                  </a:ext>
                </a:extLst>
              </p:cNvPr>
              <p:cNvGrpSpPr/>
              <p:nvPr/>
            </p:nvGrpSpPr>
            <p:grpSpPr>
              <a:xfrm>
                <a:off x="7586585" y="3600846"/>
                <a:ext cx="32100" cy="31918"/>
                <a:chOff x="7586585" y="3600846"/>
                <a:chExt cx="32100" cy="31918"/>
              </a:xfrm>
            </p:grpSpPr>
            <p:sp>
              <p:nvSpPr>
                <p:cNvPr id="121" name="Freeform 291">
                  <a:extLst>
                    <a:ext uri="{FF2B5EF4-FFF2-40B4-BE49-F238E27FC236}">
                      <a16:creationId xmlns:a16="http://schemas.microsoft.com/office/drawing/2014/main" id="{EA981AA3-FD9B-2BEE-CDFB-5653EEA669D4}"/>
                    </a:ext>
                  </a:extLst>
                </p:cNvPr>
                <p:cNvSpPr/>
                <p:nvPr/>
              </p:nvSpPr>
              <p:spPr>
                <a:xfrm>
                  <a:off x="7602699" y="3600846"/>
                  <a:ext cx="12687" cy="31918"/>
                </a:xfrm>
                <a:custGeom>
                  <a:avLst/>
                  <a:gdLst>
                    <a:gd name="csX0" fmla="*/ 0 w 12687"/>
                    <a:gd name="csY0" fmla="*/ 0 h 31918"/>
                    <a:gd name="csX1" fmla="*/ 0 w 12687"/>
                    <a:gd name="csY1" fmla="*/ 31919 h 31918"/>
                  </a:gdLst>
                  <a:ahLst/>
                  <a:cxnLst>
                    <a:cxn ang="0">
                      <a:pos x="csX0" y="csY0"/>
                    </a:cxn>
                    <a:cxn ang="0">
                      <a:pos x="csX1" y="csY1"/>
                    </a:cxn>
                  </a:cxnLst>
                  <a:rect l="l" t="t" r="r" b="b"/>
                  <a:pathLst>
                    <a:path w="12687" h="31918">
                      <a:moveTo>
                        <a:pt x="0" y="0"/>
                      </a:moveTo>
                      <a:lnTo>
                        <a:pt x="0" y="31919"/>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2" name="Freeform 292">
                  <a:extLst>
                    <a:ext uri="{FF2B5EF4-FFF2-40B4-BE49-F238E27FC236}">
                      <a16:creationId xmlns:a16="http://schemas.microsoft.com/office/drawing/2014/main" id="{07E86C41-FDAD-EF0A-6134-17969D56C45D}"/>
                    </a:ext>
                  </a:extLst>
                </p:cNvPr>
                <p:cNvSpPr/>
                <p:nvPr/>
              </p:nvSpPr>
              <p:spPr>
                <a:xfrm>
                  <a:off x="7586585" y="3616869"/>
                  <a:ext cx="32100" cy="12616"/>
                </a:xfrm>
                <a:custGeom>
                  <a:avLst/>
                  <a:gdLst>
                    <a:gd name="csX0" fmla="*/ 0 w 32100"/>
                    <a:gd name="csY0" fmla="*/ 0 h 12616"/>
                    <a:gd name="csX1" fmla="*/ 32100 w 32100"/>
                    <a:gd name="csY1" fmla="*/ 0 h 12616"/>
                  </a:gdLst>
                  <a:ahLst/>
                  <a:cxnLst>
                    <a:cxn ang="0">
                      <a:pos x="csX0" y="csY0"/>
                    </a:cxn>
                    <a:cxn ang="0">
                      <a:pos x="csX1" y="csY1"/>
                    </a:cxn>
                  </a:cxnLst>
                  <a:rect l="l" t="t" r="r" b="b"/>
                  <a:pathLst>
                    <a:path w="32100" h="12616">
                      <a:moveTo>
                        <a:pt x="0" y="0"/>
                      </a:moveTo>
                      <a:lnTo>
                        <a:pt x="32100" y="0"/>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69" name="Graphic 4">
                <a:extLst>
                  <a:ext uri="{FF2B5EF4-FFF2-40B4-BE49-F238E27FC236}">
                    <a16:creationId xmlns:a16="http://schemas.microsoft.com/office/drawing/2014/main" id="{23CA9F66-1110-4512-F657-15B353CD3E01}"/>
                  </a:ext>
                </a:extLst>
              </p:cNvPr>
              <p:cNvGrpSpPr/>
              <p:nvPr/>
            </p:nvGrpSpPr>
            <p:grpSpPr>
              <a:xfrm>
                <a:off x="7564128" y="3600846"/>
                <a:ext cx="32100" cy="31918"/>
                <a:chOff x="7564128" y="3600846"/>
                <a:chExt cx="32100" cy="31918"/>
              </a:xfrm>
            </p:grpSpPr>
            <p:sp>
              <p:nvSpPr>
                <p:cNvPr id="119" name="Freeform 289">
                  <a:extLst>
                    <a:ext uri="{FF2B5EF4-FFF2-40B4-BE49-F238E27FC236}">
                      <a16:creationId xmlns:a16="http://schemas.microsoft.com/office/drawing/2014/main" id="{7FED1088-B9B2-C21B-3A11-D246DE2E7C9F}"/>
                    </a:ext>
                  </a:extLst>
                </p:cNvPr>
                <p:cNvSpPr/>
                <p:nvPr/>
              </p:nvSpPr>
              <p:spPr>
                <a:xfrm>
                  <a:off x="7580115" y="3600846"/>
                  <a:ext cx="12687" cy="31918"/>
                </a:xfrm>
                <a:custGeom>
                  <a:avLst/>
                  <a:gdLst>
                    <a:gd name="csX0" fmla="*/ 0 w 12687"/>
                    <a:gd name="csY0" fmla="*/ 0 h 31918"/>
                    <a:gd name="csX1" fmla="*/ 0 w 12687"/>
                    <a:gd name="csY1" fmla="*/ 31919 h 31918"/>
                  </a:gdLst>
                  <a:ahLst/>
                  <a:cxnLst>
                    <a:cxn ang="0">
                      <a:pos x="csX0" y="csY0"/>
                    </a:cxn>
                    <a:cxn ang="0">
                      <a:pos x="csX1" y="csY1"/>
                    </a:cxn>
                  </a:cxnLst>
                  <a:rect l="l" t="t" r="r" b="b"/>
                  <a:pathLst>
                    <a:path w="12687" h="31918">
                      <a:moveTo>
                        <a:pt x="0" y="0"/>
                      </a:moveTo>
                      <a:lnTo>
                        <a:pt x="0" y="31919"/>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0" name="Freeform 290">
                  <a:extLst>
                    <a:ext uri="{FF2B5EF4-FFF2-40B4-BE49-F238E27FC236}">
                      <a16:creationId xmlns:a16="http://schemas.microsoft.com/office/drawing/2014/main" id="{248AC946-8BF4-54EE-5FCD-D0D0A3659AC0}"/>
                    </a:ext>
                  </a:extLst>
                </p:cNvPr>
                <p:cNvSpPr/>
                <p:nvPr/>
              </p:nvSpPr>
              <p:spPr>
                <a:xfrm>
                  <a:off x="7564128" y="3616869"/>
                  <a:ext cx="32100" cy="12616"/>
                </a:xfrm>
                <a:custGeom>
                  <a:avLst/>
                  <a:gdLst>
                    <a:gd name="csX0" fmla="*/ 0 w 32100"/>
                    <a:gd name="csY0" fmla="*/ 0 h 12616"/>
                    <a:gd name="csX1" fmla="*/ 32100 w 32100"/>
                    <a:gd name="csY1" fmla="*/ 0 h 12616"/>
                  </a:gdLst>
                  <a:ahLst/>
                  <a:cxnLst>
                    <a:cxn ang="0">
                      <a:pos x="csX0" y="csY0"/>
                    </a:cxn>
                    <a:cxn ang="0">
                      <a:pos x="csX1" y="csY1"/>
                    </a:cxn>
                  </a:cxnLst>
                  <a:rect l="l" t="t" r="r" b="b"/>
                  <a:pathLst>
                    <a:path w="32100" h="12616">
                      <a:moveTo>
                        <a:pt x="0" y="0"/>
                      </a:moveTo>
                      <a:lnTo>
                        <a:pt x="32100" y="0"/>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70" name="Graphic 4">
                <a:extLst>
                  <a:ext uri="{FF2B5EF4-FFF2-40B4-BE49-F238E27FC236}">
                    <a16:creationId xmlns:a16="http://schemas.microsoft.com/office/drawing/2014/main" id="{1E7DD1D3-F0F1-CB7C-CBFB-F22400E80376}"/>
                  </a:ext>
                </a:extLst>
              </p:cNvPr>
              <p:cNvGrpSpPr/>
              <p:nvPr/>
            </p:nvGrpSpPr>
            <p:grpSpPr>
              <a:xfrm>
                <a:off x="7519848" y="3600846"/>
                <a:ext cx="32100" cy="31918"/>
                <a:chOff x="7519848" y="3600846"/>
                <a:chExt cx="32100" cy="31918"/>
              </a:xfrm>
            </p:grpSpPr>
            <p:sp>
              <p:nvSpPr>
                <p:cNvPr id="117" name="Freeform 287">
                  <a:extLst>
                    <a:ext uri="{FF2B5EF4-FFF2-40B4-BE49-F238E27FC236}">
                      <a16:creationId xmlns:a16="http://schemas.microsoft.com/office/drawing/2014/main" id="{0A69CCDA-6D9E-4F90-3B5A-CA19A8576645}"/>
                    </a:ext>
                  </a:extLst>
                </p:cNvPr>
                <p:cNvSpPr/>
                <p:nvPr/>
              </p:nvSpPr>
              <p:spPr>
                <a:xfrm>
                  <a:off x="7535834" y="3600846"/>
                  <a:ext cx="12687" cy="31918"/>
                </a:xfrm>
                <a:custGeom>
                  <a:avLst/>
                  <a:gdLst>
                    <a:gd name="csX0" fmla="*/ 0 w 12687"/>
                    <a:gd name="csY0" fmla="*/ 0 h 31918"/>
                    <a:gd name="csX1" fmla="*/ 0 w 12687"/>
                    <a:gd name="csY1" fmla="*/ 31919 h 31918"/>
                  </a:gdLst>
                  <a:ahLst/>
                  <a:cxnLst>
                    <a:cxn ang="0">
                      <a:pos x="csX0" y="csY0"/>
                    </a:cxn>
                    <a:cxn ang="0">
                      <a:pos x="csX1" y="csY1"/>
                    </a:cxn>
                  </a:cxnLst>
                  <a:rect l="l" t="t" r="r" b="b"/>
                  <a:pathLst>
                    <a:path w="12687" h="31918">
                      <a:moveTo>
                        <a:pt x="0" y="0"/>
                      </a:moveTo>
                      <a:lnTo>
                        <a:pt x="0" y="31919"/>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8" name="Freeform 288">
                  <a:extLst>
                    <a:ext uri="{FF2B5EF4-FFF2-40B4-BE49-F238E27FC236}">
                      <a16:creationId xmlns:a16="http://schemas.microsoft.com/office/drawing/2014/main" id="{CA70D60F-E71B-EE37-9FD9-0CA76424F95A}"/>
                    </a:ext>
                  </a:extLst>
                </p:cNvPr>
                <p:cNvSpPr/>
                <p:nvPr/>
              </p:nvSpPr>
              <p:spPr>
                <a:xfrm>
                  <a:off x="7519848" y="3616869"/>
                  <a:ext cx="32100" cy="12616"/>
                </a:xfrm>
                <a:custGeom>
                  <a:avLst/>
                  <a:gdLst>
                    <a:gd name="csX0" fmla="*/ 0 w 32100"/>
                    <a:gd name="csY0" fmla="*/ 0 h 12616"/>
                    <a:gd name="csX1" fmla="*/ 32100 w 32100"/>
                    <a:gd name="csY1" fmla="*/ 0 h 12616"/>
                  </a:gdLst>
                  <a:ahLst/>
                  <a:cxnLst>
                    <a:cxn ang="0">
                      <a:pos x="csX0" y="csY0"/>
                    </a:cxn>
                    <a:cxn ang="0">
                      <a:pos x="csX1" y="csY1"/>
                    </a:cxn>
                  </a:cxnLst>
                  <a:rect l="l" t="t" r="r" b="b"/>
                  <a:pathLst>
                    <a:path w="32100" h="12616">
                      <a:moveTo>
                        <a:pt x="0" y="0"/>
                      </a:moveTo>
                      <a:lnTo>
                        <a:pt x="32100" y="0"/>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71" name="Graphic 4">
                <a:extLst>
                  <a:ext uri="{FF2B5EF4-FFF2-40B4-BE49-F238E27FC236}">
                    <a16:creationId xmlns:a16="http://schemas.microsoft.com/office/drawing/2014/main" id="{837528A4-8EFD-5DB3-AEE4-BC540C1A068D}"/>
                  </a:ext>
                </a:extLst>
              </p:cNvPr>
              <p:cNvGrpSpPr/>
              <p:nvPr/>
            </p:nvGrpSpPr>
            <p:grpSpPr>
              <a:xfrm>
                <a:off x="7481784" y="3600846"/>
                <a:ext cx="32227" cy="31918"/>
                <a:chOff x="7481784" y="3600846"/>
                <a:chExt cx="32227" cy="31918"/>
              </a:xfrm>
            </p:grpSpPr>
            <p:sp>
              <p:nvSpPr>
                <p:cNvPr id="115" name="Freeform 285">
                  <a:extLst>
                    <a:ext uri="{FF2B5EF4-FFF2-40B4-BE49-F238E27FC236}">
                      <a16:creationId xmlns:a16="http://schemas.microsoft.com/office/drawing/2014/main" id="{E44CBF82-961D-4364-C978-71B29EF278A5}"/>
                    </a:ext>
                  </a:extLst>
                </p:cNvPr>
                <p:cNvSpPr/>
                <p:nvPr/>
              </p:nvSpPr>
              <p:spPr>
                <a:xfrm>
                  <a:off x="7497898" y="3600846"/>
                  <a:ext cx="12687" cy="31918"/>
                </a:xfrm>
                <a:custGeom>
                  <a:avLst/>
                  <a:gdLst>
                    <a:gd name="csX0" fmla="*/ 0 w 12687"/>
                    <a:gd name="csY0" fmla="*/ 0 h 31918"/>
                    <a:gd name="csX1" fmla="*/ 0 w 12687"/>
                    <a:gd name="csY1" fmla="*/ 31919 h 31918"/>
                  </a:gdLst>
                  <a:ahLst/>
                  <a:cxnLst>
                    <a:cxn ang="0">
                      <a:pos x="csX0" y="csY0"/>
                    </a:cxn>
                    <a:cxn ang="0">
                      <a:pos x="csX1" y="csY1"/>
                    </a:cxn>
                  </a:cxnLst>
                  <a:rect l="l" t="t" r="r" b="b"/>
                  <a:pathLst>
                    <a:path w="12687" h="31918">
                      <a:moveTo>
                        <a:pt x="0" y="0"/>
                      </a:moveTo>
                      <a:lnTo>
                        <a:pt x="0" y="31919"/>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6" name="Freeform 286">
                  <a:extLst>
                    <a:ext uri="{FF2B5EF4-FFF2-40B4-BE49-F238E27FC236}">
                      <a16:creationId xmlns:a16="http://schemas.microsoft.com/office/drawing/2014/main" id="{8325FCF1-B19F-1D1C-6C9F-020F925A50D1}"/>
                    </a:ext>
                  </a:extLst>
                </p:cNvPr>
                <p:cNvSpPr/>
                <p:nvPr/>
              </p:nvSpPr>
              <p:spPr>
                <a:xfrm>
                  <a:off x="7481784" y="3616869"/>
                  <a:ext cx="32227" cy="12616"/>
                </a:xfrm>
                <a:custGeom>
                  <a:avLst/>
                  <a:gdLst>
                    <a:gd name="csX0" fmla="*/ 0 w 32227"/>
                    <a:gd name="csY0" fmla="*/ 0 h 12616"/>
                    <a:gd name="csX1" fmla="*/ 32227 w 32227"/>
                    <a:gd name="csY1" fmla="*/ 0 h 12616"/>
                  </a:gdLst>
                  <a:ahLst/>
                  <a:cxnLst>
                    <a:cxn ang="0">
                      <a:pos x="csX0" y="csY0"/>
                    </a:cxn>
                    <a:cxn ang="0">
                      <a:pos x="csX1" y="csY1"/>
                    </a:cxn>
                  </a:cxnLst>
                  <a:rect l="l" t="t" r="r" b="b"/>
                  <a:pathLst>
                    <a:path w="32227" h="12616">
                      <a:moveTo>
                        <a:pt x="0" y="0"/>
                      </a:moveTo>
                      <a:lnTo>
                        <a:pt x="32227" y="0"/>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72" name="Graphic 4">
                <a:extLst>
                  <a:ext uri="{FF2B5EF4-FFF2-40B4-BE49-F238E27FC236}">
                    <a16:creationId xmlns:a16="http://schemas.microsoft.com/office/drawing/2014/main" id="{3EDCC374-386D-6609-2A86-6B9BE8050FF2}"/>
                  </a:ext>
                </a:extLst>
              </p:cNvPr>
              <p:cNvGrpSpPr/>
              <p:nvPr/>
            </p:nvGrpSpPr>
            <p:grpSpPr>
              <a:xfrm>
                <a:off x="7468716" y="3600846"/>
                <a:ext cx="32100" cy="31918"/>
                <a:chOff x="7468716" y="3600846"/>
                <a:chExt cx="32100" cy="31918"/>
              </a:xfrm>
            </p:grpSpPr>
            <p:sp>
              <p:nvSpPr>
                <p:cNvPr id="113" name="Freeform 283">
                  <a:extLst>
                    <a:ext uri="{FF2B5EF4-FFF2-40B4-BE49-F238E27FC236}">
                      <a16:creationId xmlns:a16="http://schemas.microsoft.com/office/drawing/2014/main" id="{F40EBF62-D3D7-96C2-F085-E62C8DB31F46}"/>
                    </a:ext>
                  </a:extLst>
                </p:cNvPr>
                <p:cNvSpPr/>
                <p:nvPr/>
              </p:nvSpPr>
              <p:spPr>
                <a:xfrm>
                  <a:off x="7484829" y="3600846"/>
                  <a:ext cx="12687" cy="31918"/>
                </a:xfrm>
                <a:custGeom>
                  <a:avLst/>
                  <a:gdLst>
                    <a:gd name="csX0" fmla="*/ 0 w 12687"/>
                    <a:gd name="csY0" fmla="*/ 0 h 31918"/>
                    <a:gd name="csX1" fmla="*/ 0 w 12687"/>
                    <a:gd name="csY1" fmla="*/ 31919 h 31918"/>
                  </a:gdLst>
                  <a:ahLst/>
                  <a:cxnLst>
                    <a:cxn ang="0">
                      <a:pos x="csX0" y="csY0"/>
                    </a:cxn>
                    <a:cxn ang="0">
                      <a:pos x="csX1" y="csY1"/>
                    </a:cxn>
                  </a:cxnLst>
                  <a:rect l="l" t="t" r="r" b="b"/>
                  <a:pathLst>
                    <a:path w="12687" h="31918">
                      <a:moveTo>
                        <a:pt x="0" y="0"/>
                      </a:moveTo>
                      <a:lnTo>
                        <a:pt x="0" y="31919"/>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4" name="Freeform 284">
                  <a:extLst>
                    <a:ext uri="{FF2B5EF4-FFF2-40B4-BE49-F238E27FC236}">
                      <a16:creationId xmlns:a16="http://schemas.microsoft.com/office/drawing/2014/main" id="{05BCDC4E-EC51-0FBB-6F08-4EB749862CA4}"/>
                    </a:ext>
                  </a:extLst>
                </p:cNvPr>
                <p:cNvSpPr/>
                <p:nvPr/>
              </p:nvSpPr>
              <p:spPr>
                <a:xfrm>
                  <a:off x="7468716" y="3616869"/>
                  <a:ext cx="32100" cy="12616"/>
                </a:xfrm>
                <a:custGeom>
                  <a:avLst/>
                  <a:gdLst>
                    <a:gd name="csX0" fmla="*/ 0 w 32100"/>
                    <a:gd name="csY0" fmla="*/ 0 h 12616"/>
                    <a:gd name="csX1" fmla="*/ 32100 w 32100"/>
                    <a:gd name="csY1" fmla="*/ 0 h 12616"/>
                  </a:gdLst>
                  <a:ahLst/>
                  <a:cxnLst>
                    <a:cxn ang="0">
                      <a:pos x="csX0" y="csY0"/>
                    </a:cxn>
                    <a:cxn ang="0">
                      <a:pos x="csX1" y="csY1"/>
                    </a:cxn>
                  </a:cxnLst>
                  <a:rect l="l" t="t" r="r" b="b"/>
                  <a:pathLst>
                    <a:path w="32100" h="12616">
                      <a:moveTo>
                        <a:pt x="0" y="0"/>
                      </a:moveTo>
                      <a:lnTo>
                        <a:pt x="32100" y="0"/>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73" name="Graphic 4">
                <a:extLst>
                  <a:ext uri="{FF2B5EF4-FFF2-40B4-BE49-F238E27FC236}">
                    <a16:creationId xmlns:a16="http://schemas.microsoft.com/office/drawing/2014/main" id="{CA23B179-6CB6-C35A-BA42-1D002C44CFE0}"/>
                  </a:ext>
                </a:extLst>
              </p:cNvPr>
              <p:cNvGrpSpPr/>
              <p:nvPr/>
            </p:nvGrpSpPr>
            <p:grpSpPr>
              <a:xfrm>
                <a:off x="7056108" y="3549625"/>
                <a:ext cx="32227" cy="31918"/>
                <a:chOff x="7056108" y="3549625"/>
                <a:chExt cx="32227" cy="31918"/>
              </a:xfrm>
            </p:grpSpPr>
            <p:sp>
              <p:nvSpPr>
                <p:cNvPr id="111" name="Freeform 281">
                  <a:extLst>
                    <a:ext uri="{FF2B5EF4-FFF2-40B4-BE49-F238E27FC236}">
                      <a16:creationId xmlns:a16="http://schemas.microsoft.com/office/drawing/2014/main" id="{AEC2FD5D-F278-B0AD-F854-E4DA0EA6CC68}"/>
                    </a:ext>
                  </a:extLst>
                </p:cNvPr>
                <p:cNvSpPr/>
                <p:nvPr/>
              </p:nvSpPr>
              <p:spPr>
                <a:xfrm>
                  <a:off x="7072222" y="3549625"/>
                  <a:ext cx="12687" cy="31918"/>
                </a:xfrm>
                <a:custGeom>
                  <a:avLst/>
                  <a:gdLst>
                    <a:gd name="csX0" fmla="*/ 0 w 12687"/>
                    <a:gd name="csY0" fmla="*/ 0 h 31918"/>
                    <a:gd name="csX1" fmla="*/ 0 w 12687"/>
                    <a:gd name="csY1" fmla="*/ 31919 h 31918"/>
                  </a:gdLst>
                  <a:ahLst/>
                  <a:cxnLst>
                    <a:cxn ang="0">
                      <a:pos x="csX0" y="csY0"/>
                    </a:cxn>
                    <a:cxn ang="0">
                      <a:pos x="csX1" y="csY1"/>
                    </a:cxn>
                  </a:cxnLst>
                  <a:rect l="l" t="t" r="r" b="b"/>
                  <a:pathLst>
                    <a:path w="12687" h="31918">
                      <a:moveTo>
                        <a:pt x="0" y="0"/>
                      </a:moveTo>
                      <a:lnTo>
                        <a:pt x="0" y="31919"/>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2" name="Freeform 282">
                  <a:extLst>
                    <a:ext uri="{FF2B5EF4-FFF2-40B4-BE49-F238E27FC236}">
                      <a16:creationId xmlns:a16="http://schemas.microsoft.com/office/drawing/2014/main" id="{D189B057-090F-D55A-58A0-8B438D2DCA78}"/>
                    </a:ext>
                  </a:extLst>
                </p:cNvPr>
                <p:cNvSpPr/>
                <p:nvPr/>
              </p:nvSpPr>
              <p:spPr>
                <a:xfrm>
                  <a:off x="7056108" y="3565647"/>
                  <a:ext cx="32227" cy="12616"/>
                </a:xfrm>
                <a:custGeom>
                  <a:avLst/>
                  <a:gdLst>
                    <a:gd name="csX0" fmla="*/ 0 w 32227"/>
                    <a:gd name="csY0" fmla="*/ 0 h 12616"/>
                    <a:gd name="csX1" fmla="*/ 32227 w 32227"/>
                    <a:gd name="csY1" fmla="*/ 0 h 12616"/>
                  </a:gdLst>
                  <a:ahLst/>
                  <a:cxnLst>
                    <a:cxn ang="0">
                      <a:pos x="csX0" y="csY0"/>
                    </a:cxn>
                    <a:cxn ang="0">
                      <a:pos x="csX1" y="csY1"/>
                    </a:cxn>
                  </a:cxnLst>
                  <a:rect l="l" t="t" r="r" b="b"/>
                  <a:pathLst>
                    <a:path w="32227" h="12616">
                      <a:moveTo>
                        <a:pt x="0" y="0"/>
                      </a:moveTo>
                      <a:lnTo>
                        <a:pt x="32227" y="0"/>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74" name="Graphic 4">
                <a:extLst>
                  <a:ext uri="{FF2B5EF4-FFF2-40B4-BE49-F238E27FC236}">
                    <a16:creationId xmlns:a16="http://schemas.microsoft.com/office/drawing/2014/main" id="{8879CA43-1D9C-A67D-56B7-6EE3981D5572}"/>
                  </a:ext>
                </a:extLst>
              </p:cNvPr>
              <p:cNvGrpSpPr/>
              <p:nvPr/>
            </p:nvGrpSpPr>
            <p:grpSpPr>
              <a:xfrm>
                <a:off x="7052429" y="3549625"/>
                <a:ext cx="32227" cy="31918"/>
                <a:chOff x="7052429" y="3549625"/>
                <a:chExt cx="32227" cy="31918"/>
              </a:xfrm>
            </p:grpSpPr>
            <p:sp>
              <p:nvSpPr>
                <p:cNvPr id="109" name="Freeform 279">
                  <a:extLst>
                    <a:ext uri="{FF2B5EF4-FFF2-40B4-BE49-F238E27FC236}">
                      <a16:creationId xmlns:a16="http://schemas.microsoft.com/office/drawing/2014/main" id="{8EC76824-E2EE-8ED0-6798-7F7563543E7F}"/>
                    </a:ext>
                  </a:extLst>
                </p:cNvPr>
                <p:cNvSpPr/>
                <p:nvPr/>
              </p:nvSpPr>
              <p:spPr>
                <a:xfrm>
                  <a:off x="7068542" y="3549625"/>
                  <a:ext cx="12687" cy="31918"/>
                </a:xfrm>
                <a:custGeom>
                  <a:avLst/>
                  <a:gdLst>
                    <a:gd name="csX0" fmla="*/ 0 w 12687"/>
                    <a:gd name="csY0" fmla="*/ 0 h 31918"/>
                    <a:gd name="csX1" fmla="*/ 0 w 12687"/>
                    <a:gd name="csY1" fmla="*/ 31919 h 31918"/>
                  </a:gdLst>
                  <a:ahLst/>
                  <a:cxnLst>
                    <a:cxn ang="0">
                      <a:pos x="csX0" y="csY0"/>
                    </a:cxn>
                    <a:cxn ang="0">
                      <a:pos x="csX1" y="csY1"/>
                    </a:cxn>
                  </a:cxnLst>
                  <a:rect l="l" t="t" r="r" b="b"/>
                  <a:pathLst>
                    <a:path w="12687" h="31918">
                      <a:moveTo>
                        <a:pt x="0" y="0"/>
                      </a:moveTo>
                      <a:lnTo>
                        <a:pt x="0" y="31919"/>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0" name="Freeform 280">
                  <a:extLst>
                    <a:ext uri="{FF2B5EF4-FFF2-40B4-BE49-F238E27FC236}">
                      <a16:creationId xmlns:a16="http://schemas.microsoft.com/office/drawing/2014/main" id="{27580D68-63B6-E777-26A7-DEC4788D6B2E}"/>
                    </a:ext>
                  </a:extLst>
                </p:cNvPr>
                <p:cNvSpPr/>
                <p:nvPr/>
              </p:nvSpPr>
              <p:spPr>
                <a:xfrm>
                  <a:off x="7052429" y="3565647"/>
                  <a:ext cx="32227" cy="12616"/>
                </a:xfrm>
                <a:custGeom>
                  <a:avLst/>
                  <a:gdLst>
                    <a:gd name="csX0" fmla="*/ 0 w 32227"/>
                    <a:gd name="csY0" fmla="*/ 0 h 12616"/>
                    <a:gd name="csX1" fmla="*/ 32227 w 32227"/>
                    <a:gd name="csY1" fmla="*/ 0 h 12616"/>
                  </a:gdLst>
                  <a:ahLst/>
                  <a:cxnLst>
                    <a:cxn ang="0">
                      <a:pos x="csX0" y="csY0"/>
                    </a:cxn>
                    <a:cxn ang="0">
                      <a:pos x="csX1" y="csY1"/>
                    </a:cxn>
                  </a:cxnLst>
                  <a:rect l="l" t="t" r="r" b="b"/>
                  <a:pathLst>
                    <a:path w="32227" h="12616">
                      <a:moveTo>
                        <a:pt x="0" y="0"/>
                      </a:moveTo>
                      <a:lnTo>
                        <a:pt x="32227" y="0"/>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75" name="Graphic 4">
                <a:extLst>
                  <a:ext uri="{FF2B5EF4-FFF2-40B4-BE49-F238E27FC236}">
                    <a16:creationId xmlns:a16="http://schemas.microsoft.com/office/drawing/2014/main" id="{E44C530D-6551-8D13-170F-8C64A91F4C91}"/>
                  </a:ext>
                </a:extLst>
              </p:cNvPr>
              <p:cNvGrpSpPr/>
              <p:nvPr/>
            </p:nvGrpSpPr>
            <p:grpSpPr>
              <a:xfrm>
                <a:off x="7019694" y="3549625"/>
                <a:ext cx="32227" cy="31918"/>
                <a:chOff x="7019694" y="3549625"/>
                <a:chExt cx="32227" cy="31918"/>
              </a:xfrm>
            </p:grpSpPr>
            <p:sp>
              <p:nvSpPr>
                <p:cNvPr id="107" name="Freeform 277">
                  <a:extLst>
                    <a:ext uri="{FF2B5EF4-FFF2-40B4-BE49-F238E27FC236}">
                      <a16:creationId xmlns:a16="http://schemas.microsoft.com/office/drawing/2014/main" id="{E3490795-EC2D-917A-1C84-380D46BE2DBC}"/>
                    </a:ext>
                  </a:extLst>
                </p:cNvPr>
                <p:cNvSpPr/>
                <p:nvPr/>
              </p:nvSpPr>
              <p:spPr>
                <a:xfrm>
                  <a:off x="7035808" y="3549625"/>
                  <a:ext cx="12687" cy="31918"/>
                </a:xfrm>
                <a:custGeom>
                  <a:avLst/>
                  <a:gdLst>
                    <a:gd name="csX0" fmla="*/ 0 w 12687"/>
                    <a:gd name="csY0" fmla="*/ 0 h 31918"/>
                    <a:gd name="csX1" fmla="*/ 0 w 12687"/>
                    <a:gd name="csY1" fmla="*/ 31919 h 31918"/>
                  </a:gdLst>
                  <a:ahLst/>
                  <a:cxnLst>
                    <a:cxn ang="0">
                      <a:pos x="csX0" y="csY0"/>
                    </a:cxn>
                    <a:cxn ang="0">
                      <a:pos x="csX1" y="csY1"/>
                    </a:cxn>
                  </a:cxnLst>
                  <a:rect l="l" t="t" r="r" b="b"/>
                  <a:pathLst>
                    <a:path w="12687" h="31918">
                      <a:moveTo>
                        <a:pt x="0" y="0"/>
                      </a:moveTo>
                      <a:lnTo>
                        <a:pt x="0" y="31919"/>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8" name="Freeform 278">
                  <a:extLst>
                    <a:ext uri="{FF2B5EF4-FFF2-40B4-BE49-F238E27FC236}">
                      <a16:creationId xmlns:a16="http://schemas.microsoft.com/office/drawing/2014/main" id="{58C0AE17-E530-3EAD-F41E-07B10389D07C}"/>
                    </a:ext>
                  </a:extLst>
                </p:cNvPr>
                <p:cNvSpPr/>
                <p:nvPr/>
              </p:nvSpPr>
              <p:spPr>
                <a:xfrm>
                  <a:off x="7019694" y="3565647"/>
                  <a:ext cx="32227" cy="12616"/>
                </a:xfrm>
                <a:custGeom>
                  <a:avLst/>
                  <a:gdLst>
                    <a:gd name="csX0" fmla="*/ 0 w 32227"/>
                    <a:gd name="csY0" fmla="*/ 0 h 12616"/>
                    <a:gd name="csX1" fmla="*/ 32227 w 32227"/>
                    <a:gd name="csY1" fmla="*/ 0 h 12616"/>
                  </a:gdLst>
                  <a:ahLst/>
                  <a:cxnLst>
                    <a:cxn ang="0">
                      <a:pos x="csX0" y="csY0"/>
                    </a:cxn>
                    <a:cxn ang="0">
                      <a:pos x="csX1" y="csY1"/>
                    </a:cxn>
                  </a:cxnLst>
                  <a:rect l="l" t="t" r="r" b="b"/>
                  <a:pathLst>
                    <a:path w="32227" h="12616">
                      <a:moveTo>
                        <a:pt x="0" y="0"/>
                      </a:moveTo>
                      <a:lnTo>
                        <a:pt x="32227" y="0"/>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76" name="Graphic 4">
                <a:extLst>
                  <a:ext uri="{FF2B5EF4-FFF2-40B4-BE49-F238E27FC236}">
                    <a16:creationId xmlns:a16="http://schemas.microsoft.com/office/drawing/2014/main" id="{8359A80D-6F64-E178-01BF-F76F11E4C5BF}"/>
                  </a:ext>
                </a:extLst>
              </p:cNvPr>
              <p:cNvGrpSpPr/>
              <p:nvPr/>
            </p:nvGrpSpPr>
            <p:grpSpPr>
              <a:xfrm>
                <a:off x="6505204" y="3348524"/>
                <a:ext cx="32100" cy="32044"/>
                <a:chOff x="6505204" y="3348524"/>
                <a:chExt cx="32100" cy="32044"/>
              </a:xfrm>
            </p:grpSpPr>
            <p:sp>
              <p:nvSpPr>
                <p:cNvPr id="105" name="Freeform 275">
                  <a:extLst>
                    <a:ext uri="{FF2B5EF4-FFF2-40B4-BE49-F238E27FC236}">
                      <a16:creationId xmlns:a16="http://schemas.microsoft.com/office/drawing/2014/main" id="{DF7315C8-65EF-54E6-54B5-2167124B64BA}"/>
                    </a:ext>
                  </a:extLst>
                </p:cNvPr>
                <p:cNvSpPr/>
                <p:nvPr/>
              </p:nvSpPr>
              <p:spPr>
                <a:xfrm>
                  <a:off x="6521317" y="3348524"/>
                  <a:ext cx="12687" cy="32044"/>
                </a:xfrm>
                <a:custGeom>
                  <a:avLst/>
                  <a:gdLst>
                    <a:gd name="csX0" fmla="*/ 0 w 12687"/>
                    <a:gd name="csY0" fmla="*/ 0 h 32044"/>
                    <a:gd name="csX1" fmla="*/ 0 w 12687"/>
                    <a:gd name="csY1" fmla="*/ 32045 h 32044"/>
                  </a:gdLst>
                  <a:ahLst/>
                  <a:cxnLst>
                    <a:cxn ang="0">
                      <a:pos x="csX0" y="csY0"/>
                    </a:cxn>
                    <a:cxn ang="0">
                      <a:pos x="csX1" y="csY1"/>
                    </a:cxn>
                  </a:cxnLst>
                  <a:rect l="l" t="t" r="r" b="b"/>
                  <a:pathLst>
                    <a:path w="12687" h="32044">
                      <a:moveTo>
                        <a:pt x="0" y="0"/>
                      </a:moveTo>
                      <a:lnTo>
                        <a:pt x="0" y="32045"/>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6" name="Freeform 276">
                  <a:extLst>
                    <a:ext uri="{FF2B5EF4-FFF2-40B4-BE49-F238E27FC236}">
                      <a16:creationId xmlns:a16="http://schemas.microsoft.com/office/drawing/2014/main" id="{5725A8BA-6434-2B04-0B72-74803104F1C5}"/>
                    </a:ext>
                  </a:extLst>
                </p:cNvPr>
                <p:cNvSpPr/>
                <p:nvPr/>
              </p:nvSpPr>
              <p:spPr>
                <a:xfrm>
                  <a:off x="6505204" y="3364546"/>
                  <a:ext cx="32100" cy="12616"/>
                </a:xfrm>
                <a:custGeom>
                  <a:avLst/>
                  <a:gdLst>
                    <a:gd name="csX0" fmla="*/ 0 w 32100"/>
                    <a:gd name="csY0" fmla="*/ 0 h 12616"/>
                    <a:gd name="csX1" fmla="*/ 32100 w 32100"/>
                    <a:gd name="csY1" fmla="*/ 0 h 12616"/>
                  </a:gdLst>
                  <a:ahLst/>
                  <a:cxnLst>
                    <a:cxn ang="0">
                      <a:pos x="csX0" y="csY0"/>
                    </a:cxn>
                    <a:cxn ang="0">
                      <a:pos x="csX1" y="csY1"/>
                    </a:cxn>
                  </a:cxnLst>
                  <a:rect l="l" t="t" r="r" b="b"/>
                  <a:pathLst>
                    <a:path w="32100" h="12616">
                      <a:moveTo>
                        <a:pt x="0" y="0"/>
                      </a:moveTo>
                      <a:lnTo>
                        <a:pt x="32100" y="0"/>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77" name="Graphic 4">
                <a:extLst>
                  <a:ext uri="{FF2B5EF4-FFF2-40B4-BE49-F238E27FC236}">
                    <a16:creationId xmlns:a16="http://schemas.microsoft.com/office/drawing/2014/main" id="{A19A9576-3388-7869-4A6A-C91E05929921}"/>
                  </a:ext>
                </a:extLst>
              </p:cNvPr>
              <p:cNvGrpSpPr/>
              <p:nvPr/>
            </p:nvGrpSpPr>
            <p:grpSpPr>
              <a:xfrm>
                <a:off x="6435294" y="3348524"/>
                <a:ext cx="32100" cy="32044"/>
                <a:chOff x="6435294" y="3348524"/>
                <a:chExt cx="32100" cy="32044"/>
              </a:xfrm>
            </p:grpSpPr>
            <p:sp>
              <p:nvSpPr>
                <p:cNvPr id="103" name="Freeform 273">
                  <a:extLst>
                    <a:ext uri="{FF2B5EF4-FFF2-40B4-BE49-F238E27FC236}">
                      <a16:creationId xmlns:a16="http://schemas.microsoft.com/office/drawing/2014/main" id="{D45A1879-7BDE-5C37-7B3B-1597D7EA3957}"/>
                    </a:ext>
                  </a:extLst>
                </p:cNvPr>
                <p:cNvSpPr/>
                <p:nvPr/>
              </p:nvSpPr>
              <p:spPr>
                <a:xfrm>
                  <a:off x="6451407" y="3348524"/>
                  <a:ext cx="12687" cy="32044"/>
                </a:xfrm>
                <a:custGeom>
                  <a:avLst/>
                  <a:gdLst>
                    <a:gd name="csX0" fmla="*/ 0 w 12687"/>
                    <a:gd name="csY0" fmla="*/ 0 h 32044"/>
                    <a:gd name="csX1" fmla="*/ 0 w 12687"/>
                    <a:gd name="csY1" fmla="*/ 32045 h 32044"/>
                  </a:gdLst>
                  <a:ahLst/>
                  <a:cxnLst>
                    <a:cxn ang="0">
                      <a:pos x="csX0" y="csY0"/>
                    </a:cxn>
                    <a:cxn ang="0">
                      <a:pos x="csX1" y="csY1"/>
                    </a:cxn>
                  </a:cxnLst>
                  <a:rect l="l" t="t" r="r" b="b"/>
                  <a:pathLst>
                    <a:path w="12687" h="32044">
                      <a:moveTo>
                        <a:pt x="0" y="0"/>
                      </a:moveTo>
                      <a:lnTo>
                        <a:pt x="0" y="32045"/>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4" name="Freeform 274">
                  <a:extLst>
                    <a:ext uri="{FF2B5EF4-FFF2-40B4-BE49-F238E27FC236}">
                      <a16:creationId xmlns:a16="http://schemas.microsoft.com/office/drawing/2014/main" id="{81A0D686-20AE-049C-A651-54E3989DE32A}"/>
                    </a:ext>
                  </a:extLst>
                </p:cNvPr>
                <p:cNvSpPr/>
                <p:nvPr/>
              </p:nvSpPr>
              <p:spPr>
                <a:xfrm>
                  <a:off x="6435294" y="3364546"/>
                  <a:ext cx="32100" cy="12616"/>
                </a:xfrm>
                <a:custGeom>
                  <a:avLst/>
                  <a:gdLst>
                    <a:gd name="csX0" fmla="*/ 0 w 32100"/>
                    <a:gd name="csY0" fmla="*/ 0 h 12616"/>
                    <a:gd name="csX1" fmla="*/ 32100 w 32100"/>
                    <a:gd name="csY1" fmla="*/ 0 h 12616"/>
                  </a:gdLst>
                  <a:ahLst/>
                  <a:cxnLst>
                    <a:cxn ang="0">
                      <a:pos x="csX0" y="csY0"/>
                    </a:cxn>
                    <a:cxn ang="0">
                      <a:pos x="csX1" y="csY1"/>
                    </a:cxn>
                  </a:cxnLst>
                  <a:rect l="l" t="t" r="r" b="b"/>
                  <a:pathLst>
                    <a:path w="32100" h="12616">
                      <a:moveTo>
                        <a:pt x="0" y="0"/>
                      </a:moveTo>
                      <a:lnTo>
                        <a:pt x="32100" y="0"/>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78" name="Graphic 4">
                <a:extLst>
                  <a:ext uri="{FF2B5EF4-FFF2-40B4-BE49-F238E27FC236}">
                    <a16:creationId xmlns:a16="http://schemas.microsoft.com/office/drawing/2014/main" id="{15433C28-E1FA-9A04-30E5-C580A31C1E64}"/>
                  </a:ext>
                </a:extLst>
              </p:cNvPr>
              <p:cNvGrpSpPr/>
              <p:nvPr/>
            </p:nvGrpSpPr>
            <p:grpSpPr>
              <a:xfrm>
                <a:off x="6378199" y="3348524"/>
                <a:ext cx="32100" cy="32044"/>
                <a:chOff x="6378199" y="3348524"/>
                <a:chExt cx="32100" cy="32044"/>
              </a:xfrm>
            </p:grpSpPr>
            <p:sp>
              <p:nvSpPr>
                <p:cNvPr id="101" name="Freeform 271">
                  <a:extLst>
                    <a:ext uri="{FF2B5EF4-FFF2-40B4-BE49-F238E27FC236}">
                      <a16:creationId xmlns:a16="http://schemas.microsoft.com/office/drawing/2014/main" id="{D662E4AE-A13F-D4F5-B3A0-100833E25E75}"/>
                    </a:ext>
                  </a:extLst>
                </p:cNvPr>
                <p:cNvSpPr/>
                <p:nvPr/>
              </p:nvSpPr>
              <p:spPr>
                <a:xfrm>
                  <a:off x="6394185" y="3348524"/>
                  <a:ext cx="12687" cy="32044"/>
                </a:xfrm>
                <a:custGeom>
                  <a:avLst/>
                  <a:gdLst>
                    <a:gd name="csX0" fmla="*/ 0 w 12687"/>
                    <a:gd name="csY0" fmla="*/ 0 h 32044"/>
                    <a:gd name="csX1" fmla="*/ 0 w 12687"/>
                    <a:gd name="csY1" fmla="*/ 32045 h 32044"/>
                  </a:gdLst>
                  <a:ahLst/>
                  <a:cxnLst>
                    <a:cxn ang="0">
                      <a:pos x="csX0" y="csY0"/>
                    </a:cxn>
                    <a:cxn ang="0">
                      <a:pos x="csX1" y="csY1"/>
                    </a:cxn>
                  </a:cxnLst>
                  <a:rect l="l" t="t" r="r" b="b"/>
                  <a:pathLst>
                    <a:path w="12687" h="32044">
                      <a:moveTo>
                        <a:pt x="0" y="0"/>
                      </a:moveTo>
                      <a:lnTo>
                        <a:pt x="0" y="32045"/>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2" name="Freeform 272">
                  <a:extLst>
                    <a:ext uri="{FF2B5EF4-FFF2-40B4-BE49-F238E27FC236}">
                      <a16:creationId xmlns:a16="http://schemas.microsoft.com/office/drawing/2014/main" id="{3FC1A33F-B9E9-0A83-5378-2EB380D0BAFE}"/>
                    </a:ext>
                  </a:extLst>
                </p:cNvPr>
                <p:cNvSpPr/>
                <p:nvPr/>
              </p:nvSpPr>
              <p:spPr>
                <a:xfrm>
                  <a:off x="6378199" y="3364546"/>
                  <a:ext cx="32100" cy="12616"/>
                </a:xfrm>
                <a:custGeom>
                  <a:avLst/>
                  <a:gdLst>
                    <a:gd name="csX0" fmla="*/ 0 w 32100"/>
                    <a:gd name="csY0" fmla="*/ 0 h 12616"/>
                    <a:gd name="csX1" fmla="*/ 32100 w 32100"/>
                    <a:gd name="csY1" fmla="*/ 0 h 12616"/>
                  </a:gdLst>
                  <a:ahLst/>
                  <a:cxnLst>
                    <a:cxn ang="0">
                      <a:pos x="csX0" y="csY0"/>
                    </a:cxn>
                    <a:cxn ang="0">
                      <a:pos x="csX1" y="csY1"/>
                    </a:cxn>
                  </a:cxnLst>
                  <a:rect l="l" t="t" r="r" b="b"/>
                  <a:pathLst>
                    <a:path w="32100" h="12616">
                      <a:moveTo>
                        <a:pt x="0" y="0"/>
                      </a:moveTo>
                      <a:lnTo>
                        <a:pt x="32100" y="0"/>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79" name="Graphic 4">
                <a:extLst>
                  <a:ext uri="{FF2B5EF4-FFF2-40B4-BE49-F238E27FC236}">
                    <a16:creationId xmlns:a16="http://schemas.microsoft.com/office/drawing/2014/main" id="{41C7AF9E-3C2F-75A3-E4C4-F25ABB4933CB}"/>
                  </a:ext>
                </a:extLst>
              </p:cNvPr>
              <p:cNvGrpSpPr/>
              <p:nvPr/>
            </p:nvGrpSpPr>
            <p:grpSpPr>
              <a:xfrm>
                <a:off x="6175448" y="3285696"/>
                <a:ext cx="32100" cy="31918"/>
                <a:chOff x="6175448" y="3285696"/>
                <a:chExt cx="32100" cy="31918"/>
              </a:xfrm>
            </p:grpSpPr>
            <p:sp>
              <p:nvSpPr>
                <p:cNvPr id="99" name="Freeform 269">
                  <a:extLst>
                    <a:ext uri="{FF2B5EF4-FFF2-40B4-BE49-F238E27FC236}">
                      <a16:creationId xmlns:a16="http://schemas.microsoft.com/office/drawing/2014/main" id="{D785BDDC-A5CD-3246-AE3F-8070364DE5DC}"/>
                    </a:ext>
                  </a:extLst>
                </p:cNvPr>
                <p:cNvSpPr/>
                <p:nvPr/>
              </p:nvSpPr>
              <p:spPr>
                <a:xfrm>
                  <a:off x="6191561" y="3285696"/>
                  <a:ext cx="12687" cy="31918"/>
                </a:xfrm>
                <a:custGeom>
                  <a:avLst/>
                  <a:gdLst>
                    <a:gd name="csX0" fmla="*/ 0 w 12687"/>
                    <a:gd name="csY0" fmla="*/ 0 h 31918"/>
                    <a:gd name="csX1" fmla="*/ 0 w 12687"/>
                    <a:gd name="csY1" fmla="*/ 31919 h 31918"/>
                  </a:gdLst>
                  <a:ahLst/>
                  <a:cxnLst>
                    <a:cxn ang="0">
                      <a:pos x="csX0" y="csY0"/>
                    </a:cxn>
                    <a:cxn ang="0">
                      <a:pos x="csX1" y="csY1"/>
                    </a:cxn>
                  </a:cxnLst>
                  <a:rect l="l" t="t" r="r" b="b"/>
                  <a:pathLst>
                    <a:path w="12687" h="31918">
                      <a:moveTo>
                        <a:pt x="0" y="0"/>
                      </a:moveTo>
                      <a:lnTo>
                        <a:pt x="0" y="31919"/>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0" name="Freeform 270">
                  <a:extLst>
                    <a:ext uri="{FF2B5EF4-FFF2-40B4-BE49-F238E27FC236}">
                      <a16:creationId xmlns:a16="http://schemas.microsoft.com/office/drawing/2014/main" id="{53D895E2-F964-CAFF-262B-95E3D260B74F}"/>
                    </a:ext>
                  </a:extLst>
                </p:cNvPr>
                <p:cNvSpPr/>
                <p:nvPr/>
              </p:nvSpPr>
              <p:spPr>
                <a:xfrm>
                  <a:off x="6175448" y="3301592"/>
                  <a:ext cx="32100" cy="12616"/>
                </a:xfrm>
                <a:custGeom>
                  <a:avLst/>
                  <a:gdLst>
                    <a:gd name="csX0" fmla="*/ 0 w 32100"/>
                    <a:gd name="csY0" fmla="*/ 0 h 12616"/>
                    <a:gd name="csX1" fmla="*/ 32100 w 32100"/>
                    <a:gd name="csY1" fmla="*/ 0 h 12616"/>
                  </a:gdLst>
                  <a:ahLst/>
                  <a:cxnLst>
                    <a:cxn ang="0">
                      <a:pos x="csX0" y="csY0"/>
                    </a:cxn>
                    <a:cxn ang="0">
                      <a:pos x="csX1" y="csY1"/>
                    </a:cxn>
                  </a:cxnLst>
                  <a:rect l="l" t="t" r="r" b="b"/>
                  <a:pathLst>
                    <a:path w="32100" h="12616">
                      <a:moveTo>
                        <a:pt x="0" y="0"/>
                      </a:moveTo>
                      <a:lnTo>
                        <a:pt x="32100" y="0"/>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80" name="Graphic 4">
                <a:extLst>
                  <a:ext uri="{FF2B5EF4-FFF2-40B4-BE49-F238E27FC236}">
                    <a16:creationId xmlns:a16="http://schemas.microsoft.com/office/drawing/2014/main" id="{7B7B5A3B-58DC-46B7-D244-C180694A953D}"/>
                  </a:ext>
                </a:extLst>
              </p:cNvPr>
              <p:cNvGrpSpPr/>
              <p:nvPr/>
            </p:nvGrpSpPr>
            <p:grpSpPr>
              <a:xfrm>
                <a:off x="6171768" y="3285696"/>
                <a:ext cx="32100" cy="31918"/>
                <a:chOff x="6171768" y="3285696"/>
                <a:chExt cx="32100" cy="31918"/>
              </a:xfrm>
            </p:grpSpPr>
            <p:sp>
              <p:nvSpPr>
                <p:cNvPr id="97" name="Freeform 267">
                  <a:extLst>
                    <a:ext uri="{FF2B5EF4-FFF2-40B4-BE49-F238E27FC236}">
                      <a16:creationId xmlns:a16="http://schemas.microsoft.com/office/drawing/2014/main" id="{3C368DC8-5CF9-FEE1-EBDF-4C50C7F2607E}"/>
                    </a:ext>
                  </a:extLst>
                </p:cNvPr>
                <p:cNvSpPr/>
                <p:nvPr/>
              </p:nvSpPr>
              <p:spPr>
                <a:xfrm>
                  <a:off x="6187882" y="3285696"/>
                  <a:ext cx="12687" cy="31918"/>
                </a:xfrm>
                <a:custGeom>
                  <a:avLst/>
                  <a:gdLst>
                    <a:gd name="csX0" fmla="*/ 0 w 12687"/>
                    <a:gd name="csY0" fmla="*/ 0 h 31918"/>
                    <a:gd name="csX1" fmla="*/ 0 w 12687"/>
                    <a:gd name="csY1" fmla="*/ 31919 h 31918"/>
                  </a:gdLst>
                  <a:ahLst/>
                  <a:cxnLst>
                    <a:cxn ang="0">
                      <a:pos x="csX0" y="csY0"/>
                    </a:cxn>
                    <a:cxn ang="0">
                      <a:pos x="csX1" y="csY1"/>
                    </a:cxn>
                  </a:cxnLst>
                  <a:rect l="l" t="t" r="r" b="b"/>
                  <a:pathLst>
                    <a:path w="12687" h="31918">
                      <a:moveTo>
                        <a:pt x="0" y="0"/>
                      </a:moveTo>
                      <a:lnTo>
                        <a:pt x="0" y="31919"/>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8" name="Freeform 268">
                  <a:extLst>
                    <a:ext uri="{FF2B5EF4-FFF2-40B4-BE49-F238E27FC236}">
                      <a16:creationId xmlns:a16="http://schemas.microsoft.com/office/drawing/2014/main" id="{8BAFC556-91DB-5925-763D-CE9D59E31D28}"/>
                    </a:ext>
                  </a:extLst>
                </p:cNvPr>
                <p:cNvSpPr/>
                <p:nvPr/>
              </p:nvSpPr>
              <p:spPr>
                <a:xfrm>
                  <a:off x="6171768" y="3301592"/>
                  <a:ext cx="32100" cy="12616"/>
                </a:xfrm>
                <a:custGeom>
                  <a:avLst/>
                  <a:gdLst>
                    <a:gd name="csX0" fmla="*/ 0 w 32100"/>
                    <a:gd name="csY0" fmla="*/ 0 h 12616"/>
                    <a:gd name="csX1" fmla="*/ 32100 w 32100"/>
                    <a:gd name="csY1" fmla="*/ 0 h 12616"/>
                  </a:gdLst>
                  <a:ahLst/>
                  <a:cxnLst>
                    <a:cxn ang="0">
                      <a:pos x="csX0" y="csY0"/>
                    </a:cxn>
                    <a:cxn ang="0">
                      <a:pos x="csX1" y="csY1"/>
                    </a:cxn>
                  </a:cxnLst>
                  <a:rect l="l" t="t" r="r" b="b"/>
                  <a:pathLst>
                    <a:path w="32100" h="12616">
                      <a:moveTo>
                        <a:pt x="0" y="0"/>
                      </a:moveTo>
                      <a:lnTo>
                        <a:pt x="32100" y="0"/>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81" name="Graphic 4">
                <a:extLst>
                  <a:ext uri="{FF2B5EF4-FFF2-40B4-BE49-F238E27FC236}">
                    <a16:creationId xmlns:a16="http://schemas.microsoft.com/office/drawing/2014/main" id="{608B11B0-5201-F5FA-2E26-51AE9F5E4FA3}"/>
                  </a:ext>
                </a:extLst>
              </p:cNvPr>
              <p:cNvGrpSpPr/>
              <p:nvPr/>
            </p:nvGrpSpPr>
            <p:grpSpPr>
              <a:xfrm>
                <a:off x="6141698" y="3285696"/>
                <a:ext cx="32100" cy="31918"/>
                <a:chOff x="6141698" y="3285696"/>
                <a:chExt cx="32100" cy="31918"/>
              </a:xfrm>
            </p:grpSpPr>
            <p:sp>
              <p:nvSpPr>
                <p:cNvPr id="95" name="Freeform 265">
                  <a:extLst>
                    <a:ext uri="{FF2B5EF4-FFF2-40B4-BE49-F238E27FC236}">
                      <a16:creationId xmlns:a16="http://schemas.microsoft.com/office/drawing/2014/main" id="{0641B8A6-CB36-3A92-A873-B3D49A2A3CE3}"/>
                    </a:ext>
                  </a:extLst>
                </p:cNvPr>
                <p:cNvSpPr/>
                <p:nvPr/>
              </p:nvSpPr>
              <p:spPr>
                <a:xfrm>
                  <a:off x="6157685" y="3285696"/>
                  <a:ext cx="12687" cy="31918"/>
                </a:xfrm>
                <a:custGeom>
                  <a:avLst/>
                  <a:gdLst>
                    <a:gd name="csX0" fmla="*/ 0 w 12687"/>
                    <a:gd name="csY0" fmla="*/ 0 h 31918"/>
                    <a:gd name="csX1" fmla="*/ 0 w 12687"/>
                    <a:gd name="csY1" fmla="*/ 31919 h 31918"/>
                  </a:gdLst>
                  <a:ahLst/>
                  <a:cxnLst>
                    <a:cxn ang="0">
                      <a:pos x="csX0" y="csY0"/>
                    </a:cxn>
                    <a:cxn ang="0">
                      <a:pos x="csX1" y="csY1"/>
                    </a:cxn>
                  </a:cxnLst>
                  <a:rect l="l" t="t" r="r" b="b"/>
                  <a:pathLst>
                    <a:path w="12687" h="31918">
                      <a:moveTo>
                        <a:pt x="0" y="0"/>
                      </a:moveTo>
                      <a:lnTo>
                        <a:pt x="0" y="31919"/>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6" name="Freeform 266">
                  <a:extLst>
                    <a:ext uri="{FF2B5EF4-FFF2-40B4-BE49-F238E27FC236}">
                      <a16:creationId xmlns:a16="http://schemas.microsoft.com/office/drawing/2014/main" id="{57626AF1-F4F7-AA50-F445-857FFDE91B46}"/>
                    </a:ext>
                  </a:extLst>
                </p:cNvPr>
                <p:cNvSpPr/>
                <p:nvPr/>
              </p:nvSpPr>
              <p:spPr>
                <a:xfrm>
                  <a:off x="6141698" y="3301592"/>
                  <a:ext cx="32100" cy="12616"/>
                </a:xfrm>
                <a:custGeom>
                  <a:avLst/>
                  <a:gdLst>
                    <a:gd name="csX0" fmla="*/ 0 w 32100"/>
                    <a:gd name="csY0" fmla="*/ 0 h 12616"/>
                    <a:gd name="csX1" fmla="*/ 32100 w 32100"/>
                    <a:gd name="csY1" fmla="*/ 0 h 12616"/>
                  </a:gdLst>
                  <a:ahLst/>
                  <a:cxnLst>
                    <a:cxn ang="0">
                      <a:pos x="csX0" y="csY0"/>
                    </a:cxn>
                    <a:cxn ang="0">
                      <a:pos x="csX1" y="csY1"/>
                    </a:cxn>
                  </a:cxnLst>
                  <a:rect l="l" t="t" r="r" b="b"/>
                  <a:pathLst>
                    <a:path w="32100" h="12616">
                      <a:moveTo>
                        <a:pt x="0" y="0"/>
                      </a:moveTo>
                      <a:lnTo>
                        <a:pt x="32100" y="0"/>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82" name="Graphic 4">
                <a:extLst>
                  <a:ext uri="{FF2B5EF4-FFF2-40B4-BE49-F238E27FC236}">
                    <a16:creationId xmlns:a16="http://schemas.microsoft.com/office/drawing/2014/main" id="{2B3F6C23-847F-EC71-23AA-A062E75C90A8}"/>
                  </a:ext>
                </a:extLst>
              </p:cNvPr>
              <p:cNvGrpSpPr/>
              <p:nvPr/>
            </p:nvGrpSpPr>
            <p:grpSpPr>
              <a:xfrm>
                <a:off x="5889972" y="3254534"/>
                <a:ext cx="32100" cy="31918"/>
                <a:chOff x="5889972" y="3254534"/>
                <a:chExt cx="32100" cy="31918"/>
              </a:xfrm>
            </p:grpSpPr>
            <p:sp>
              <p:nvSpPr>
                <p:cNvPr id="93" name="Freeform 263">
                  <a:extLst>
                    <a:ext uri="{FF2B5EF4-FFF2-40B4-BE49-F238E27FC236}">
                      <a16:creationId xmlns:a16="http://schemas.microsoft.com/office/drawing/2014/main" id="{191E6D08-E61E-6675-98F1-B4BF6C9B882D}"/>
                    </a:ext>
                  </a:extLst>
                </p:cNvPr>
                <p:cNvSpPr/>
                <p:nvPr/>
              </p:nvSpPr>
              <p:spPr>
                <a:xfrm>
                  <a:off x="5906086" y="3254534"/>
                  <a:ext cx="12687" cy="31918"/>
                </a:xfrm>
                <a:custGeom>
                  <a:avLst/>
                  <a:gdLst>
                    <a:gd name="csX0" fmla="*/ 0 w 12687"/>
                    <a:gd name="csY0" fmla="*/ 0 h 31918"/>
                    <a:gd name="csX1" fmla="*/ 0 w 12687"/>
                    <a:gd name="csY1" fmla="*/ 31919 h 31918"/>
                  </a:gdLst>
                  <a:ahLst/>
                  <a:cxnLst>
                    <a:cxn ang="0">
                      <a:pos x="csX0" y="csY0"/>
                    </a:cxn>
                    <a:cxn ang="0">
                      <a:pos x="csX1" y="csY1"/>
                    </a:cxn>
                  </a:cxnLst>
                  <a:rect l="l" t="t" r="r" b="b"/>
                  <a:pathLst>
                    <a:path w="12687" h="31918">
                      <a:moveTo>
                        <a:pt x="0" y="0"/>
                      </a:moveTo>
                      <a:lnTo>
                        <a:pt x="0" y="31919"/>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4" name="Freeform 264">
                  <a:extLst>
                    <a:ext uri="{FF2B5EF4-FFF2-40B4-BE49-F238E27FC236}">
                      <a16:creationId xmlns:a16="http://schemas.microsoft.com/office/drawing/2014/main" id="{DC49412E-B4DD-9815-32EF-A5012E0D73E2}"/>
                    </a:ext>
                  </a:extLst>
                </p:cNvPr>
                <p:cNvSpPr/>
                <p:nvPr/>
              </p:nvSpPr>
              <p:spPr>
                <a:xfrm>
                  <a:off x="5889972" y="3270556"/>
                  <a:ext cx="32100" cy="12616"/>
                </a:xfrm>
                <a:custGeom>
                  <a:avLst/>
                  <a:gdLst>
                    <a:gd name="csX0" fmla="*/ 0 w 32100"/>
                    <a:gd name="csY0" fmla="*/ 0 h 12616"/>
                    <a:gd name="csX1" fmla="*/ 32100 w 32100"/>
                    <a:gd name="csY1" fmla="*/ 0 h 12616"/>
                  </a:gdLst>
                  <a:ahLst/>
                  <a:cxnLst>
                    <a:cxn ang="0">
                      <a:pos x="csX0" y="csY0"/>
                    </a:cxn>
                    <a:cxn ang="0">
                      <a:pos x="csX1" y="csY1"/>
                    </a:cxn>
                  </a:cxnLst>
                  <a:rect l="l" t="t" r="r" b="b"/>
                  <a:pathLst>
                    <a:path w="32100" h="12616">
                      <a:moveTo>
                        <a:pt x="0" y="0"/>
                      </a:moveTo>
                      <a:lnTo>
                        <a:pt x="32100" y="0"/>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83" name="Graphic 4">
                <a:extLst>
                  <a:ext uri="{FF2B5EF4-FFF2-40B4-BE49-F238E27FC236}">
                    <a16:creationId xmlns:a16="http://schemas.microsoft.com/office/drawing/2014/main" id="{B6BC90BC-E529-F03E-1A55-42FC4092BCA8}"/>
                  </a:ext>
                </a:extLst>
              </p:cNvPr>
              <p:cNvGrpSpPr/>
              <p:nvPr/>
            </p:nvGrpSpPr>
            <p:grpSpPr>
              <a:xfrm>
                <a:off x="5724396" y="3020379"/>
                <a:ext cx="32227" cy="32044"/>
                <a:chOff x="5724396" y="3020379"/>
                <a:chExt cx="32227" cy="32044"/>
              </a:xfrm>
            </p:grpSpPr>
            <p:sp>
              <p:nvSpPr>
                <p:cNvPr id="91" name="Freeform 261">
                  <a:extLst>
                    <a:ext uri="{FF2B5EF4-FFF2-40B4-BE49-F238E27FC236}">
                      <a16:creationId xmlns:a16="http://schemas.microsoft.com/office/drawing/2014/main" id="{0CB10A24-B9EA-8171-5260-9556C14D081F}"/>
                    </a:ext>
                  </a:extLst>
                </p:cNvPr>
                <p:cNvSpPr/>
                <p:nvPr/>
              </p:nvSpPr>
              <p:spPr>
                <a:xfrm>
                  <a:off x="5740510" y="3020379"/>
                  <a:ext cx="12687" cy="32044"/>
                </a:xfrm>
                <a:custGeom>
                  <a:avLst/>
                  <a:gdLst>
                    <a:gd name="csX0" fmla="*/ 0 w 12687"/>
                    <a:gd name="csY0" fmla="*/ 0 h 32044"/>
                    <a:gd name="csX1" fmla="*/ 0 w 12687"/>
                    <a:gd name="csY1" fmla="*/ 32045 h 32044"/>
                  </a:gdLst>
                  <a:ahLst/>
                  <a:cxnLst>
                    <a:cxn ang="0">
                      <a:pos x="csX0" y="csY0"/>
                    </a:cxn>
                    <a:cxn ang="0">
                      <a:pos x="csX1" y="csY1"/>
                    </a:cxn>
                  </a:cxnLst>
                  <a:rect l="l" t="t" r="r" b="b"/>
                  <a:pathLst>
                    <a:path w="12687" h="32044">
                      <a:moveTo>
                        <a:pt x="0" y="0"/>
                      </a:moveTo>
                      <a:lnTo>
                        <a:pt x="0" y="32045"/>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2" name="Freeform 262">
                  <a:extLst>
                    <a:ext uri="{FF2B5EF4-FFF2-40B4-BE49-F238E27FC236}">
                      <a16:creationId xmlns:a16="http://schemas.microsoft.com/office/drawing/2014/main" id="{95CD8515-838B-68DB-632B-7E2BA2B92435}"/>
                    </a:ext>
                  </a:extLst>
                </p:cNvPr>
                <p:cNvSpPr/>
                <p:nvPr/>
              </p:nvSpPr>
              <p:spPr>
                <a:xfrm>
                  <a:off x="5724396" y="3036401"/>
                  <a:ext cx="32227" cy="12616"/>
                </a:xfrm>
                <a:custGeom>
                  <a:avLst/>
                  <a:gdLst>
                    <a:gd name="csX0" fmla="*/ 0 w 32227"/>
                    <a:gd name="csY0" fmla="*/ 0 h 12616"/>
                    <a:gd name="csX1" fmla="*/ 32227 w 32227"/>
                    <a:gd name="csY1" fmla="*/ 0 h 12616"/>
                  </a:gdLst>
                  <a:ahLst/>
                  <a:cxnLst>
                    <a:cxn ang="0">
                      <a:pos x="csX0" y="csY0"/>
                    </a:cxn>
                    <a:cxn ang="0">
                      <a:pos x="csX1" y="csY1"/>
                    </a:cxn>
                  </a:cxnLst>
                  <a:rect l="l" t="t" r="r" b="b"/>
                  <a:pathLst>
                    <a:path w="32227" h="12616">
                      <a:moveTo>
                        <a:pt x="0" y="0"/>
                      </a:moveTo>
                      <a:lnTo>
                        <a:pt x="32227" y="0"/>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85" name="Graphic 4">
                <a:extLst>
                  <a:ext uri="{FF2B5EF4-FFF2-40B4-BE49-F238E27FC236}">
                    <a16:creationId xmlns:a16="http://schemas.microsoft.com/office/drawing/2014/main" id="{F03BD620-838A-48EE-30C0-32F176BD8361}"/>
                  </a:ext>
                </a:extLst>
              </p:cNvPr>
              <p:cNvGrpSpPr/>
              <p:nvPr/>
            </p:nvGrpSpPr>
            <p:grpSpPr>
              <a:xfrm>
                <a:off x="5679862" y="2912637"/>
                <a:ext cx="32227" cy="31918"/>
                <a:chOff x="5679862" y="2912637"/>
                <a:chExt cx="32227" cy="31918"/>
              </a:xfrm>
            </p:grpSpPr>
            <p:sp>
              <p:nvSpPr>
                <p:cNvPr id="89" name="Freeform 259">
                  <a:extLst>
                    <a:ext uri="{FF2B5EF4-FFF2-40B4-BE49-F238E27FC236}">
                      <a16:creationId xmlns:a16="http://schemas.microsoft.com/office/drawing/2014/main" id="{7E35680A-D3BF-018B-1DDF-C481DAD48E34}"/>
                    </a:ext>
                  </a:extLst>
                </p:cNvPr>
                <p:cNvSpPr/>
                <p:nvPr/>
              </p:nvSpPr>
              <p:spPr>
                <a:xfrm>
                  <a:off x="5695976" y="2912637"/>
                  <a:ext cx="12687" cy="31918"/>
                </a:xfrm>
                <a:custGeom>
                  <a:avLst/>
                  <a:gdLst>
                    <a:gd name="csX0" fmla="*/ 0 w 12687"/>
                    <a:gd name="csY0" fmla="*/ 0 h 31918"/>
                    <a:gd name="csX1" fmla="*/ 0 w 12687"/>
                    <a:gd name="csY1" fmla="*/ 31919 h 31918"/>
                  </a:gdLst>
                  <a:ahLst/>
                  <a:cxnLst>
                    <a:cxn ang="0">
                      <a:pos x="csX0" y="csY0"/>
                    </a:cxn>
                    <a:cxn ang="0">
                      <a:pos x="csX1" y="csY1"/>
                    </a:cxn>
                  </a:cxnLst>
                  <a:rect l="l" t="t" r="r" b="b"/>
                  <a:pathLst>
                    <a:path w="12687" h="31918">
                      <a:moveTo>
                        <a:pt x="0" y="0"/>
                      </a:moveTo>
                      <a:lnTo>
                        <a:pt x="0" y="31919"/>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0" name="Freeform 260">
                  <a:extLst>
                    <a:ext uri="{FF2B5EF4-FFF2-40B4-BE49-F238E27FC236}">
                      <a16:creationId xmlns:a16="http://schemas.microsoft.com/office/drawing/2014/main" id="{1DD403F8-2171-8E3C-A5A4-0F62ED40B5A1}"/>
                    </a:ext>
                  </a:extLst>
                </p:cNvPr>
                <p:cNvSpPr/>
                <p:nvPr/>
              </p:nvSpPr>
              <p:spPr>
                <a:xfrm>
                  <a:off x="5679862" y="2928659"/>
                  <a:ext cx="32227" cy="12616"/>
                </a:xfrm>
                <a:custGeom>
                  <a:avLst/>
                  <a:gdLst>
                    <a:gd name="csX0" fmla="*/ 0 w 32227"/>
                    <a:gd name="csY0" fmla="*/ 0 h 12616"/>
                    <a:gd name="csX1" fmla="*/ 32227 w 32227"/>
                    <a:gd name="csY1" fmla="*/ 0 h 12616"/>
                  </a:gdLst>
                  <a:ahLst/>
                  <a:cxnLst>
                    <a:cxn ang="0">
                      <a:pos x="csX0" y="csY0"/>
                    </a:cxn>
                    <a:cxn ang="0">
                      <a:pos x="csX1" y="csY1"/>
                    </a:cxn>
                  </a:cxnLst>
                  <a:rect l="l" t="t" r="r" b="b"/>
                  <a:pathLst>
                    <a:path w="32227" h="12616">
                      <a:moveTo>
                        <a:pt x="0" y="0"/>
                      </a:moveTo>
                      <a:lnTo>
                        <a:pt x="32227" y="0"/>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86" name="Graphic 4">
                <a:extLst>
                  <a:ext uri="{FF2B5EF4-FFF2-40B4-BE49-F238E27FC236}">
                    <a16:creationId xmlns:a16="http://schemas.microsoft.com/office/drawing/2014/main" id="{9CAA6291-C979-05F5-CD54-4DB476F34E1A}"/>
                  </a:ext>
                </a:extLst>
              </p:cNvPr>
              <p:cNvGrpSpPr/>
              <p:nvPr/>
            </p:nvGrpSpPr>
            <p:grpSpPr>
              <a:xfrm>
                <a:off x="5617057" y="2882106"/>
                <a:ext cx="32100" cy="31918"/>
                <a:chOff x="5617057" y="2882106"/>
                <a:chExt cx="32100" cy="31918"/>
              </a:xfrm>
            </p:grpSpPr>
            <p:sp>
              <p:nvSpPr>
                <p:cNvPr id="87" name="Freeform 257">
                  <a:extLst>
                    <a:ext uri="{FF2B5EF4-FFF2-40B4-BE49-F238E27FC236}">
                      <a16:creationId xmlns:a16="http://schemas.microsoft.com/office/drawing/2014/main" id="{06A83199-1DA7-7C60-0197-62BC42F1DE8D}"/>
                    </a:ext>
                  </a:extLst>
                </p:cNvPr>
                <p:cNvSpPr/>
                <p:nvPr/>
              </p:nvSpPr>
              <p:spPr>
                <a:xfrm>
                  <a:off x="5633171" y="2882106"/>
                  <a:ext cx="12687" cy="31918"/>
                </a:xfrm>
                <a:custGeom>
                  <a:avLst/>
                  <a:gdLst>
                    <a:gd name="csX0" fmla="*/ 0 w 12687"/>
                    <a:gd name="csY0" fmla="*/ 0 h 31918"/>
                    <a:gd name="csX1" fmla="*/ 0 w 12687"/>
                    <a:gd name="csY1" fmla="*/ 31919 h 31918"/>
                  </a:gdLst>
                  <a:ahLst/>
                  <a:cxnLst>
                    <a:cxn ang="0">
                      <a:pos x="csX0" y="csY0"/>
                    </a:cxn>
                    <a:cxn ang="0">
                      <a:pos x="csX1" y="csY1"/>
                    </a:cxn>
                  </a:cxnLst>
                  <a:rect l="l" t="t" r="r" b="b"/>
                  <a:pathLst>
                    <a:path w="12687" h="31918">
                      <a:moveTo>
                        <a:pt x="0" y="0"/>
                      </a:moveTo>
                      <a:lnTo>
                        <a:pt x="0" y="31919"/>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8" name="Freeform 258">
                  <a:extLst>
                    <a:ext uri="{FF2B5EF4-FFF2-40B4-BE49-F238E27FC236}">
                      <a16:creationId xmlns:a16="http://schemas.microsoft.com/office/drawing/2014/main" id="{9EE8F27C-4815-755C-7955-F175197649B4}"/>
                    </a:ext>
                  </a:extLst>
                </p:cNvPr>
                <p:cNvSpPr/>
                <p:nvPr/>
              </p:nvSpPr>
              <p:spPr>
                <a:xfrm>
                  <a:off x="5617057" y="2898128"/>
                  <a:ext cx="32100" cy="12616"/>
                </a:xfrm>
                <a:custGeom>
                  <a:avLst/>
                  <a:gdLst>
                    <a:gd name="csX0" fmla="*/ 0 w 32100"/>
                    <a:gd name="csY0" fmla="*/ 0 h 12616"/>
                    <a:gd name="csX1" fmla="*/ 32100 w 32100"/>
                    <a:gd name="csY1" fmla="*/ 0 h 12616"/>
                  </a:gdLst>
                  <a:ahLst/>
                  <a:cxnLst>
                    <a:cxn ang="0">
                      <a:pos x="csX0" y="csY0"/>
                    </a:cxn>
                    <a:cxn ang="0">
                      <a:pos x="csX1" y="csY1"/>
                    </a:cxn>
                  </a:cxnLst>
                  <a:rect l="l" t="t" r="r" b="b"/>
                  <a:pathLst>
                    <a:path w="32100" h="12616">
                      <a:moveTo>
                        <a:pt x="0" y="0"/>
                      </a:moveTo>
                      <a:lnTo>
                        <a:pt x="32100" y="0"/>
                      </a:lnTo>
                    </a:path>
                  </a:pathLst>
                </a:custGeom>
                <a:ln w="633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sp>
          <p:nvSpPr>
            <p:cNvPr id="16" name="Freeform 307">
              <a:extLst>
                <a:ext uri="{FF2B5EF4-FFF2-40B4-BE49-F238E27FC236}">
                  <a16:creationId xmlns:a16="http://schemas.microsoft.com/office/drawing/2014/main" id="{6674BDAF-825B-F3EE-5A12-8663A37F36B8}"/>
                </a:ext>
              </a:extLst>
            </p:cNvPr>
            <p:cNvSpPr/>
            <p:nvPr/>
          </p:nvSpPr>
          <p:spPr>
            <a:xfrm>
              <a:off x="5365208" y="1463403"/>
              <a:ext cx="2480085" cy="1647161"/>
            </a:xfrm>
            <a:custGeom>
              <a:avLst/>
              <a:gdLst>
                <a:gd name="csX0" fmla="*/ 0 w 2480085"/>
                <a:gd name="csY0" fmla="*/ 0 h 1647161"/>
                <a:gd name="csX1" fmla="*/ 50497 w 2480085"/>
                <a:gd name="csY1" fmla="*/ 0 h 1647161"/>
                <a:gd name="csX2" fmla="*/ 50497 w 2480085"/>
                <a:gd name="csY2" fmla="*/ 51348 h 1647161"/>
                <a:gd name="csX3" fmla="*/ 75112 w 2480085"/>
                <a:gd name="csY3" fmla="*/ 51348 h 1647161"/>
                <a:gd name="csX4" fmla="*/ 75112 w 2480085"/>
                <a:gd name="csY4" fmla="*/ 117835 h 1647161"/>
                <a:gd name="csX5" fmla="*/ 114190 w 2480085"/>
                <a:gd name="csY5" fmla="*/ 117835 h 1647161"/>
                <a:gd name="csX6" fmla="*/ 114190 w 2480085"/>
                <a:gd name="csY6" fmla="*/ 183186 h 1647161"/>
                <a:gd name="csX7" fmla="*/ 158724 w 2480085"/>
                <a:gd name="csY7" fmla="*/ 183186 h 1647161"/>
                <a:gd name="csX8" fmla="*/ 158724 w 2480085"/>
                <a:gd name="csY8" fmla="*/ 239076 h 1647161"/>
                <a:gd name="csX9" fmla="*/ 164053 w 2480085"/>
                <a:gd name="csY9" fmla="*/ 239076 h 1647161"/>
                <a:gd name="csX10" fmla="*/ 164053 w 2480085"/>
                <a:gd name="csY10" fmla="*/ 312375 h 1647161"/>
                <a:gd name="csX11" fmla="*/ 177249 w 2480085"/>
                <a:gd name="csY11" fmla="*/ 312375 h 1647161"/>
                <a:gd name="csX12" fmla="*/ 177249 w 2480085"/>
                <a:gd name="csY12" fmla="*/ 357415 h 1647161"/>
                <a:gd name="csX13" fmla="*/ 180421 w 2480085"/>
                <a:gd name="csY13" fmla="*/ 357415 h 1647161"/>
                <a:gd name="csX14" fmla="*/ 180421 w 2480085"/>
                <a:gd name="csY14" fmla="*/ 485847 h 1647161"/>
                <a:gd name="csX15" fmla="*/ 196788 w 2480085"/>
                <a:gd name="csY15" fmla="*/ 485847 h 1647161"/>
                <a:gd name="csX16" fmla="*/ 196788 w 2480085"/>
                <a:gd name="csY16" fmla="*/ 548549 h 1647161"/>
                <a:gd name="csX17" fmla="*/ 273042 w 2480085"/>
                <a:gd name="csY17" fmla="*/ 548549 h 1647161"/>
                <a:gd name="csX18" fmla="*/ 273042 w 2480085"/>
                <a:gd name="csY18" fmla="*/ 606205 h 1647161"/>
                <a:gd name="csX19" fmla="*/ 329883 w 2480085"/>
                <a:gd name="csY19" fmla="*/ 606205 h 1647161"/>
                <a:gd name="csX20" fmla="*/ 329883 w 2480085"/>
                <a:gd name="csY20" fmla="*/ 789265 h 1647161"/>
                <a:gd name="csX21" fmla="*/ 335973 w 2480085"/>
                <a:gd name="csY21" fmla="*/ 789265 h 1647161"/>
                <a:gd name="csX22" fmla="*/ 335973 w 2480085"/>
                <a:gd name="csY22" fmla="*/ 856004 h 1647161"/>
                <a:gd name="csX23" fmla="*/ 361476 w 2480085"/>
                <a:gd name="csY23" fmla="*/ 856004 h 1647161"/>
                <a:gd name="csX24" fmla="*/ 361476 w 2480085"/>
                <a:gd name="csY24" fmla="*/ 937630 h 1647161"/>
                <a:gd name="csX25" fmla="*/ 368200 w 2480085"/>
                <a:gd name="csY25" fmla="*/ 937630 h 1647161"/>
                <a:gd name="csX26" fmla="*/ 368200 w 2480085"/>
                <a:gd name="csY26" fmla="*/ 987338 h 1647161"/>
                <a:gd name="csX27" fmla="*/ 374925 w 2480085"/>
                <a:gd name="csY27" fmla="*/ 987338 h 1647161"/>
                <a:gd name="csX28" fmla="*/ 374925 w 2480085"/>
                <a:gd name="csY28" fmla="*/ 1060764 h 1647161"/>
                <a:gd name="csX29" fmla="*/ 488481 w 2480085"/>
                <a:gd name="csY29" fmla="*/ 1060764 h 1647161"/>
                <a:gd name="csX30" fmla="*/ 488481 w 2480085"/>
                <a:gd name="csY30" fmla="*/ 1130531 h 1647161"/>
                <a:gd name="csX31" fmla="*/ 514364 w 2480085"/>
                <a:gd name="csY31" fmla="*/ 1130531 h 1647161"/>
                <a:gd name="csX32" fmla="*/ 514364 w 2480085"/>
                <a:gd name="csY32" fmla="*/ 1207237 h 1647161"/>
                <a:gd name="csX33" fmla="*/ 714450 w 2480085"/>
                <a:gd name="csY33" fmla="*/ 1207237 h 1647161"/>
                <a:gd name="csX34" fmla="*/ 714450 w 2480085"/>
                <a:gd name="csY34" fmla="*/ 1314853 h 1647161"/>
                <a:gd name="csX35" fmla="*/ 2315905 w 2480085"/>
                <a:gd name="csY35" fmla="*/ 1314853 h 1647161"/>
                <a:gd name="csX36" fmla="*/ 2315905 w 2480085"/>
                <a:gd name="csY36" fmla="*/ 1478105 h 1647161"/>
                <a:gd name="csX37" fmla="*/ 2480085 w 2480085"/>
                <a:gd name="csY37" fmla="*/ 1478105 h 1647161"/>
                <a:gd name="csX38" fmla="*/ 2480085 w 2480085"/>
                <a:gd name="csY38" fmla="*/ 1647161 h 164716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Lst>
              <a:rect l="l" t="t" r="r" b="b"/>
              <a:pathLst>
                <a:path w="2480085" h="1647161">
                  <a:moveTo>
                    <a:pt x="0" y="0"/>
                  </a:moveTo>
                  <a:lnTo>
                    <a:pt x="50497" y="0"/>
                  </a:lnTo>
                  <a:lnTo>
                    <a:pt x="50497" y="51348"/>
                  </a:lnTo>
                  <a:lnTo>
                    <a:pt x="75112" y="51348"/>
                  </a:lnTo>
                  <a:lnTo>
                    <a:pt x="75112" y="117835"/>
                  </a:lnTo>
                  <a:lnTo>
                    <a:pt x="114190" y="117835"/>
                  </a:lnTo>
                  <a:lnTo>
                    <a:pt x="114190" y="183186"/>
                  </a:lnTo>
                  <a:lnTo>
                    <a:pt x="158724" y="183186"/>
                  </a:lnTo>
                  <a:lnTo>
                    <a:pt x="158724" y="239076"/>
                  </a:lnTo>
                  <a:lnTo>
                    <a:pt x="164053" y="239076"/>
                  </a:lnTo>
                  <a:lnTo>
                    <a:pt x="164053" y="312375"/>
                  </a:lnTo>
                  <a:lnTo>
                    <a:pt x="177249" y="312375"/>
                  </a:lnTo>
                  <a:lnTo>
                    <a:pt x="177249" y="357415"/>
                  </a:lnTo>
                  <a:lnTo>
                    <a:pt x="180421" y="357415"/>
                  </a:lnTo>
                  <a:lnTo>
                    <a:pt x="180421" y="485847"/>
                  </a:lnTo>
                  <a:lnTo>
                    <a:pt x="196788" y="485847"/>
                  </a:lnTo>
                  <a:lnTo>
                    <a:pt x="196788" y="548549"/>
                  </a:lnTo>
                  <a:lnTo>
                    <a:pt x="273042" y="548549"/>
                  </a:lnTo>
                  <a:lnTo>
                    <a:pt x="273042" y="606205"/>
                  </a:lnTo>
                  <a:lnTo>
                    <a:pt x="329883" y="606205"/>
                  </a:lnTo>
                  <a:lnTo>
                    <a:pt x="329883" y="789265"/>
                  </a:lnTo>
                  <a:lnTo>
                    <a:pt x="335973" y="789265"/>
                  </a:lnTo>
                  <a:lnTo>
                    <a:pt x="335973" y="856004"/>
                  </a:lnTo>
                  <a:lnTo>
                    <a:pt x="361476" y="856004"/>
                  </a:lnTo>
                  <a:lnTo>
                    <a:pt x="361476" y="937630"/>
                  </a:lnTo>
                  <a:lnTo>
                    <a:pt x="368200" y="937630"/>
                  </a:lnTo>
                  <a:lnTo>
                    <a:pt x="368200" y="987338"/>
                  </a:lnTo>
                  <a:lnTo>
                    <a:pt x="374925" y="987338"/>
                  </a:lnTo>
                  <a:lnTo>
                    <a:pt x="374925" y="1060764"/>
                  </a:lnTo>
                  <a:lnTo>
                    <a:pt x="488481" y="1060764"/>
                  </a:lnTo>
                  <a:lnTo>
                    <a:pt x="488481" y="1130531"/>
                  </a:lnTo>
                  <a:lnTo>
                    <a:pt x="514364" y="1130531"/>
                  </a:lnTo>
                  <a:lnTo>
                    <a:pt x="514364" y="1207237"/>
                  </a:lnTo>
                  <a:lnTo>
                    <a:pt x="714450" y="1207237"/>
                  </a:lnTo>
                  <a:lnTo>
                    <a:pt x="714450" y="1314853"/>
                  </a:lnTo>
                  <a:lnTo>
                    <a:pt x="2315905" y="1314853"/>
                  </a:lnTo>
                  <a:lnTo>
                    <a:pt x="2315905" y="1478105"/>
                  </a:lnTo>
                  <a:lnTo>
                    <a:pt x="2480085" y="1478105"/>
                  </a:lnTo>
                  <a:lnTo>
                    <a:pt x="2480085" y="1647161"/>
                  </a:lnTo>
                </a:path>
              </a:pathLst>
            </a:custGeom>
            <a:noFill/>
            <a:ln w="12661" cap="flat">
              <a:solidFill>
                <a:srgbClr val="0B41CD"/>
              </a:solidFill>
              <a:custDash>
                <a:ds d="225000" sp="225000"/>
              </a:custDash>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94EF4400-5CF2-3C1D-65B0-FEAEB4601B46}"/>
                </a:ext>
              </a:extLst>
            </p:cNvPr>
            <p:cNvSpPr txBox="1"/>
            <p:nvPr/>
          </p:nvSpPr>
          <p:spPr>
            <a:xfrm>
              <a:off x="6628343" y="3291661"/>
              <a:ext cx="760298"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a:ln/>
                  <a:solidFill>
                    <a:srgbClr val="000000"/>
                  </a:solidFill>
                  <a:effectLst/>
                  <a:uLnTx/>
                  <a:uFillTx/>
                  <a:latin typeface="Arial"/>
                  <a:ea typeface="+mn-ea"/>
                  <a:cs typeface="Arial"/>
                  <a:sym typeface="Arial"/>
                  <a:rtl val="0"/>
                </a:rPr>
                <a:t>Time (months)</a:t>
              </a:r>
            </a:p>
          </p:txBody>
        </p:sp>
        <p:sp>
          <p:nvSpPr>
            <p:cNvPr id="18" name="TextBox 17">
              <a:extLst>
                <a:ext uri="{FF2B5EF4-FFF2-40B4-BE49-F238E27FC236}">
                  <a16:creationId xmlns:a16="http://schemas.microsoft.com/office/drawing/2014/main" id="{BF248FE2-848C-8AAC-23EF-8A8C46B1C7D5}"/>
                </a:ext>
              </a:extLst>
            </p:cNvPr>
            <p:cNvSpPr txBox="1"/>
            <p:nvPr/>
          </p:nvSpPr>
          <p:spPr>
            <a:xfrm rot="16200000">
              <a:off x="4815548" y="2198325"/>
              <a:ext cx="478885"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n-ea"/>
                  <a:cs typeface="Arial"/>
                  <a:sym typeface="Arial"/>
                  <a:rtl val="0"/>
                </a:rPr>
                <a:t>PFS (%)</a:t>
              </a:r>
            </a:p>
          </p:txBody>
        </p:sp>
        <p:grpSp>
          <p:nvGrpSpPr>
            <p:cNvPr id="19" name="Graphic 4">
              <a:extLst>
                <a:ext uri="{FF2B5EF4-FFF2-40B4-BE49-F238E27FC236}">
                  <a16:creationId xmlns:a16="http://schemas.microsoft.com/office/drawing/2014/main" id="{B25A9C34-D565-783E-2712-8354CBBACB46}"/>
                </a:ext>
              </a:extLst>
            </p:cNvPr>
            <p:cNvGrpSpPr/>
            <p:nvPr/>
          </p:nvGrpSpPr>
          <p:grpSpPr>
            <a:xfrm>
              <a:off x="5281162" y="3165500"/>
              <a:ext cx="3466136" cy="177861"/>
              <a:chOff x="5292451" y="4333899"/>
              <a:chExt cx="3466136" cy="177861"/>
            </a:xfrm>
            <a:solidFill>
              <a:srgbClr val="000000"/>
            </a:solidFill>
          </p:grpSpPr>
          <p:sp>
            <p:nvSpPr>
              <p:cNvPr id="48" name="TextBox 47">
                <a:extLst>
                  <a:ext uri="{FF2B5EF4-FFF2-40B4-BE49-F238E27FC236}">
                    <a16:creationId xmlns:a16="http://schemas.microsoft.com/office/drawing/2014/main" id="{DDC9EA33-D17D-FE53-00ED-A3FABF8982AC}"/>
                  </a:ext>
                </a:extLst>
              </p:cNvPr>
              <p:cNvSpPr txBox="1"/>
              <p:nvPr/>
            </p:nvSpPr>
            <p:spPr>
              <a:xfrm>
                <a:off x="5292451" y="4333899"/>
                <a:ext cx="18905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0</a:t>
                </a:r>
              </a:p>
            </p:txBody>
          </p:sp>
          <p:sp>
            <p:nvSpPr>
              <p:cNvPr id="49" name="TextBox 48">
                <a:extLst>
                  <a:ext uri="{FF2B5EF4-FFF2-40B4-BE49-F238E27FC236}">
                    <a16:creationId xmlns:a16="http://schemas.microsoft.com/office/drawing/2014/main" id="{9FB31804-03B9-B834-5FE8-2E465544B94A}"/>
                  </a:ext>
                </a:extLst>
              </p:cNvPr>
              <p:cNvSpPr txBox="1"/>
              <p:nvPr/>
            </p:nvSpPr>
            <p:spPr>
              <a:xfrm>
                <a:off x="5563337" y="4333899"/>
                <a:ext cx="18905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3</a:t>
                </a:r>
              </a:p>
            </p:txBody>
          </p:sp>
          <p:sp>
            <p:nvSpPr>
              <p:cNvPr id="50" name="TextBox 49">
                <a:extLst>
                  <a:ext uri="{FF2B5EF4-FFF2-40B4-BE49-F238E27FC236}">
                    <a16:creationId xmlns:a16="http://schemas.microsoft.com/office/drawing/2014/main" id="{D0626B7D-B431-6621-1A93-6D373D35E9AC}"/>
                  </a:ext>
                </a:extLst>
              </p:cNvPr>
              <p:cNvSpPr txBox="1"/>
              <p:nvPr/>
            </p:nvSpPr>
            <p:spPr>
              <a:xfrm>
                <a:off x="5848050" y="4334782"/>
                <a:ext cx="18905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6</a:t>
                </a:r>
              </a:p>
            </p:txBody>
          </p:sp>
          <p:sp>
            <p:nvSpPr>
              <p:cNvPr id="51" name="TextBox 50">
                <a:extLst>
                  <a:ext uri="{FF2B5EF4-FFF2-40B4-BE49-F238E27FC236}">
                    <a16:creationId xmlns:a16="http://schemas.microsoft.com/office/drawing/2014/main" id="{EF2C92DD-29DD-B468-A375-D30A43BB74EA}"/>
                  </a:ext>
                </a:extLst>
              </p:cNvPr>
              <p:cNvSpPr txBox="1"/>
              <p:nvPr/>
            </p:nvSpPr>
            <p:spPr>
              <a:xfrm>
                <a:off x="6105232" y="4334782"/>
                <a:ext cx="18905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9</a:t>
                </a:r>
              </a:p>
            </p:txBody>
          </p:sp>
          <p:sp>
            <p:nvSpPr>
              <p:cNvPr id="52" name="TextBox 51">
                <a:extLst>
                  <a:ext uri="{FF2B5EF4-FFF2-40B4-BE49-F238E27FC236}">
                    <a16:creationId xmlns:a16="http://schemas.microsoft.com/office/drawing/2014/main" id="{D41063F2-BCF2-6454-25AA-40DB59D856A2}"/>
                  </a:ext>
                </a:extLst>
              </p:cNvPr>
              <p:cNvSpPr txBox="1"/>
              <p:nvPr/>
            </p:nvSpPr>
            <p:spPr>
              <a:xfrm>
                <a:off x="6351440" y="4334782"/>
                <a:ext cx="23956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12</a:t>
                </a:r>
              </a:p>
            </p:txBody>
          </p:sp>
          <p:sp>
            <p:nvSpPr>
              <p:cNvPr id="53" name="TextBox 52">
                <a:extLst>
                  <a:ext uri="{FF2B5EF4-FFF2-40B4-BE49-F238E27FC236}">
                    <a16:creationId xmlns:a16="http://schemas.microsoft.com/office/drawing/2014/main" id="{1AABD34F-4A5B-20A0-D602-8613E74E4665}"/>
                  </a:ext>
                </a:extLst>
              </p:cNvPr>
              <p:cNvSpPr txBox="1"/>
              <p:nvPr/>
            </p:nvSpPr>
            <p:spPr>
              <a:xfrm>
                <a:off x="6622327" y="4334782"/>
                <a:ext cx="23956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15</a:t>
                </a:r>
              </a:p>
            </p:txBody>
          </p:sp>
          <p:sp>
            <p:nvSpPr>
              <p:cNvPr id="54" name="TextBox 53">
                <a:extLst>
                  <a:ext uri="{FF2B5EF4-FFF2-40B4-BE49-F238E27FC236}">
                    <a16:creationId xmlns:a16="http://schemas.microsoft.com/office/drawing/2014/main" id="{92BFBEFF-2998-CAAB-84C7-75A89203BB35}"/>
                  </a:ext>
                </a:extLst>
              </p:cNvPr>
              <p:cNvSpPr txBox="1"/>
              <p:nvPr/>
            </p:nvSpPr>
            <p:spPr>
              <a:xfrm>
                <a:off x="6893336" y="4334782"/>
                <a:ext cx="23956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18</a:t>
                </a:r>
              </a:p>
            </p:txBody>
          </p:sp>
          <p:sp>
            <p:nvSpPr>
              <p:cNvPr id="55" name="TextBox 54">
                <a:extLst>
                  <a:ext uri="{FF2B5EF4-FFF2-40B4-BE49-F238E27FC236}">
                    <a16:creationId xmlns:a16="http://schemas.microsoft.com/office/drawing/2014/main" id="{E75149F1-A16F-E926-C8E5-EF3B2A22A604}"/>
                  </a:ext>
                </a:extLst>
              </p:cNvPr>
              <p:cNvSpPr txBox="1"/>
              <p:nvPr/>
            </p:nvSpPr>
            <p:spPr>
              <a:xfrm>
                <a:off x="7164349" y="4334782"/>
                <a:ext cx="23956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21</a:t>
                </a:r>
              </a:p>
            </p:txBody>
          </p:sp>
          <p:sp>
            <p:nvSpPr>
              <p:cNvPr id="56" name="TextBox 55">
                <a:extLst>
                  <a:ext uri="{FF2B5EF4-FFF2-40B4-BE49-F238E27FC236}">
                    <a16:creationId xmlns:a16="http://schemas.microsoft.com/office/drawing/2014/main" id="{6203EA4E-1E65-6CCB-497C-38E723BB8985}"/>
                  </a:ext>
                </a:extLst>
              </p:cNvPr>
              <p:cNvSpPr txBox="1"/>
              <p:nvPr/>
            </p:nvSpPr>
            <p:spPr>
              <a:xfrm>
                <a:off x="7435233" y="4334782"/>
                <a:ext cx="23956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24</a:t>
                </a:r>
              </a:p>
            </p:txBody>
          </p:sp>
          <p:sp>
            <p:nvSpPr>
              <p:cNvPr id="57" name="TextBox 56">
                <a:extLst>
                  <a:ext uri="{FF2B5EF4-FFF2-40B4-BE49-F238E27FC236}">
                    <a16:creationId xmlns:a16="http://schemas.microsoft.com/office/drawing/2014/main" id="{C0BF2B23-3C55-B1E1-FBAF-EDDE91D89632}"/>
                  </a:ext>
                </a:extLst>
              </p:cNvPr>
              <p:cNvSpPr txBox="1"/>
              <p:nvPr/>
            </p:nvSpPr>
            <p:spPr>
              <a:xfrm>
                <a:off x="7706245" y="4334782"/>
                <a:ext cx="23956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27</a:t>
                </a:r>
              </a:p>
            </p:txBody>
          </p:sp>
          <p:sp>
            <p:nvSpPr>
              <p:cNvPr id="58" name="TextBox 57">
                <a:extLst>
                  <a:ext uri="{FF2B5EF4-FFF2-40B4-BE49-F238E27FC236}">
                    <a16:creationId xmlns:a16="http://schemas.microsoft.com/office/drawing/2014/main" id="{77ADEF1E-DBA5-93CA-12F6-2C8F7F6385F7}"/>
                  </a:ext>
                </a:extLst>
              </p:cNvPr>
              <p:cNvSpPr txBox="1"/>
              <p:nvPr/>
            </p:nvSpPr>
            <p:spPr>
              <a:xfrm>
                <a:off x="7977129" y="4334782"/>
                <a:ext cx="23956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30</a:t>
                </a:r>
              </a:p>
            </p:txBody>
          </p:sp>
          <p:sp>
            <p:nvSpPr>
              <p:cNvPr id="59" name="TextBox 58">
                <a:extLst>
                  <a:ext uri="{FF2B5EF4-FFF2-40B4-BE49-F238E27FC236}">
                    <a16:creationId xmlns:a16="http://schemas.microsoft.com/office/drawing/2014/main" id="{BAE041E8-86F6-4866-A945-024ABD3F8D08}"/>
                  </a:ext>
                </a:extLst>
              </p:cNvPr>
              <p:cNvSpPr txBox="1"/>
              <p:nvPr/>
            </p:nvSpPr>
            <p:spPr>
              <a:xfrm>
                <a:off x="8248141" y="4334782"/>
                <a:ext cx="23956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33</a:t>
                </a:r>
              </a:p>
            </p:txBody>
          </p:sp>
          <p:sp>
            <p:nvSpPr>
              <p:cNvPr id="60" name="TextBox 59">
                <a:extLst>
                  <a:ext uri="{FF2B5EF4-FFF2-40B4-BE49-F238E27FC236}">
                    <a16:creationId xmlns:a16="http://schemas.microsoft.com/office/drawing/2014/main" id="{5052CC63-DCF1-700C-E413-621AC07654F9}"/>
                  </a:ext>
                </a:extLst>
              </p:cNvPr>
              <p:cNvSpPr txBox="1"/>
              <p:nvPr/>
            </p:nvSpPr>
            <p:spPr>
              <a:xfrm>
                <a:off x="8519025" y="4334782"/>
                <a:ext cx="23956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36</a:t>
                </a:r>
              </a:p>
            </p:txBody>
          </p:sp>
        </p:grpSp>
        <p:grpSp>
          <p:nvGrpSpPr>
            <p:cNvPr id="20" name="Graphic 4">
              <a:extLst>
                <a:ext uri="{FF2B5EF4-FFF2-40B4-BE49-F238E27FC236}">
                  <a16:creationId xmlns:a16="http://schemas.microsoft.com/office/drawing/2014/main" id="{A442244C-CD73-815B-4E11-EB0394039C09}"/>
                </a:ext>
              </a:extLst>
            </p:cNvPr>
            <p:cNvGrpSpPr/>
            <p:nvPr/>
          </p:nvGrpSpPr>
          <p:grpSpPr>
            <a:xfrm>
              <a:off x="5256360" y="3403062"/>
              <a:ext cx="3502853" cy="177861"/>
              <a:chOff x="5267649" y="4571461"/>
              <a:chExt cx="3502853" cy="177861"/>
            </a:xfrm>
            <a:solidFill>
              <a:srgbClr val="000000"/>
            </a:solidFill>
          </p:grpSpPr>
          <p:sp>
            <p:nvSpPr>
              <p:cNvPr id="35" name="TextBox 34">
                <a:extLst>
                  <a:ext uri="{FF2B5EF4-FFF2-40B4-BE49-F238E27FC236}">
                    <a16:creationId xmlns:a16="http://schemas.microsoft.com/office/drawing/2014/main" id="{98BC841D-9DC8-0DF5-D924-4E589F437EF7}"/>
                  </a:ext>
                </a:extLst>
              </p:cNvPr>
              <p:cNvSpPr txBox="1"/>
              <p:nvPr/>
            </p:nvSpPr>
            <p:spPr>
              <a:xfrm>
                <a:off x="5267649" y="4571461"/>
                <a:ext cx="23956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61</a:t>
                </a:r>
              </a:p>
            </p:txBody>
          </p:sp>
          <p:sp>
            <p:nvSpPr>
              <p:cNvPr id="36" name="TextBox 35">
                <a:extLst>
                  <a:ext uri="{FF2B5EF4-FFF2-40B4-BE49-F238E27FC236}">
                    <a16:creationId xmlns:a16="http://schemas.microsoft.com/office/drawing/2014/main" id="{D22BCADD-83B1-EBF5-B836-6BC7BB355D91}"/>
                  </a:ext>
                </a:extLst>
              </p:cNvPr>
              <p:cNvSpPr txBox="1"/>
              <p:nvPr/>
            </p:nvSpPr>
            <p:spPr>
              <a:xfrm>
                <a:off x="5538534" y="4571461"/>
                <a:ext cx="23956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50</a:t>
                </a:r>
              </a:p>
            </p:txBody>
          </p:sp>
          <p:sp>
            <p:nvSpPr>
              <p:cNvPr id="37" name="TextBox 36">
                <a:extLst>
                  <a:ext uri="{FF2B5EF4-FFF2-40B4-BE49-F238E27FC236}">
                    <a16:creationId xmlns:a16="http://schemas.microsoft.com/office/drawing/2014/main" id="{924A20E0-7D6C-2FC5-68E5-36F705A5B26B}"/>
                  </a:ext>
                </a:extLst>
              </p:cNvPr>
              <p:cNvSpPr txBox="1"/>
              <p:nvPr/>
            </p:nvSpPr>
            <p:spPr>
              <a:xfrm>
                <a:off x="5823247" y="4572344"/>
                <a:ext cx="23956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33</a:t>
                </a:r>
              </a:p>
            </p:txBody>
          </p:sp>
          <p:sp>
            <p:nvSpPr>
              <p:cNvPr id="38" name="TextBox 37">
                <a:extLst>
                  <a:ext uri="{FF2B5EF4-FFF2-40B4-BE49-F238E27FC236}">
                    <a16:creationId xmlns:a16="http://schemas.microsoft.com/office/drawing/2014/main" id="{9F24BABC-22FC-33C7-2DC8-17C7D447D090}"/>
                  </a:ext>
                </a:extLst>
              </p:cNvPr>
              <p:cNvSpPr txBox="1"/>
              <p:nvPr/>
            </p:nvSpPr>
            <p:spPr>
              <a:xfrm>
                <a:off x="6080430" y="4572344"/>
                <a:ext cx="23956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29</a:t>
                </a:r>
              </a:p>
            </p:txBody>
          </p:sp>
          <p:sp>
            <p:nvSpPr>
              <p:cNvPr id="39" name="TextBox 38">
                <a:extLst>
                  <a:ext uri="{FF2B5EF4-FFF2-40B4-BE49-F238E27FC236}">
                    <a16:creationId xmlns:a16="http://schemas.microsoft.com/office/drawing/2014/main" id="{C8BA154B-8BAB-A6B2-810E-91527A45C7E4}"/>
                  </a:ext>
                </a:extLst>
              </p:cNvPr>
              <p:cNvSpPr txBox="1"/>
              <p:nvPr/>
            </p:nvSpPr>
            <p:spPr>
              <a:xfrm>
                <a:off x="6351440" y="4572344"/>
                <a:ext cx="23956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25</a:t>
                </a:r>
              </a:p>
            </p:txBody>
          </p:sp>
          <p:sp>
            <p:nvSpPr>
              <p:cNvPr id="40" name="TextBox 39">
                <a:extLst>
                  <a:ext uri="{FF2B5EF4-FFF2-40B4-BE49-F238E27FC236}">
                    <a16:creationId xmlns:a16="http://schemas.microsoft.com/office/drawing/2014/main" id="{95DB0160-E2EA-FFD0-D8E0-06BC87E68D91}"/>
                  </a:ext>
                </a:extLst>
              </p:cNvPr>
              <p:cNvSpPr txBox="1"/>
              <p:nvPr/>
            </p:nvSpPr>
            <p:spPr>
              <a:xfrm>
                <a:off x="6622326" y="4572344"/>
                <a:ext cx="23956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21</a:t>
                </a:r>
              </a:p>
            </p:txBody>
          </p:sp>
          <p:sp>
            <p:nvSpPr>
              <p:cNvPr id="41" name="TextBox 40">
                <a:extLst>
                  <a:ext uri="{FF2B5EF4-FFF2-40B4-BE49-F238E27FC236}">
                    <a16:creationId xmlns:a16="http://schemas.microsoft.com/office/drawing/2014/main" id="{78369CB4-BEAB-DDD0-3BDC-E97DA54D11B6}"/>
                  </a:ext>
                </a:extLst>
              </p:cNvPr>
              <p:cNvSpPr txBox="1"/>
              <p:nvPr/>
            </p:nvSpPr>
            <p:spPr>
              <a:xfrm>
                <a:off x="6893338" y="4572344"/>
                <a:ext cx="23956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18</a:t>
                </a:r>
              </a:p>
            </p:txBody>
          </p:sp>
          <p:sp>
            <p:nvSpPr>
              <p:cNvPr id="42" name="TextBox 41">
                <a:extLst>
                  <a:ext uri="{FF2B5EF4-FFF2-40B4-BE49-F238E27FC236}">
                    <a16:creationId xmlns:a16="http://schemas.microsoft.com/office/drawing/2014/main" id="{CAFF86F6-4ED6-EE22-DB37-60E04B8081E7}"/>
                  </a:ext>
                </a:extLst>
              </p:cNvPr>
              <p:cNvSpPr txBox="1"/>
              <p:nvPr/>
            </p:nvSpPr>
            <p:spPr>
              <a:xfrm>
                <a:off x="7164348" y="4572344"/>
                <a:ext cx="23956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14</a:t>
                </a:r>
              </a:p>
            </p:txBody>
          </p:sp>
          <p:sp>
            <p:nvSpPr>
              <p:cNvPr id="43" name="TextBox 42">
                <a:extLst>
                  <a:ext uri="{FF2B5EF4-FFF2-40B4-BE49-F238E27FC236}">
                    <a16:creationId xmlns:a16="http://schemas.microsoft.com/office/drawing/2014/main" id="{4F7DF1CB-1EE1-6DE5-7C22-8910B9BB16F7}"/>
                  </a:ext>
                </a:extLst>
              </p:cNvPr>
              <p:cNvSpPr txBox="1"/>
              <p:nvPr/>
            </p:nvSpPr>
            <p:spPr>
              <a:xfrm>
                <a:off x="7435233" y="4572344"/>
                <a:ext cx="23956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10</a:t>
                </a:r>
              </a:p>
            </p:txBody>
          </p:sp>
          <p:sp>
            <p:nvSpPr>
              <p:cNvPr id="44" name="TextBox 43">
                <a:extLst>
                  <a:ext uri="{FF2B5EF4-FFF2-40B4-BE49-F238E27FC236}">
                    <a16:creationId xmlns:a16="http://schemas.microsoft.com/office/drawing/2014/main" id="{42B0ECB9-4980-4274-5245-9CAF1614F9AA}"/>
                  </a:ext>
                </a:extLst>
              </p:cNvPr>
              <p:cNvSpPr txBox="1"/>
              <p:nvPr/>
            </p:nvSpPr>
            <p:spPr>
              <a:xfrm>
                <a:off x="7731048" y="4572344"/>
                <a:ext cx="18905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7</a:t>
                </a:r>
              </a:p>
            </p:txBody>
          </p:sp>
          <p:sp>
            <p:nvSpPr>
              <p:cNvPr id="45" name="TextBox 44">
                <a:extLst>
                  <a:ext uri="{FF2B5EF4-FFF2-40B4-BE49-F238E27FC236}">
                    <a16:creationId xmlns:a16="http://schemas.microsoft.com/office/drawing/2014/main" id="{E52BA47B-AFA8-BD03-C830-5FFABF30FAA6}"/>
                  </a:ext>
                </a:extLst>
              </p:cNvPr>
              <p:cNvSpPr txBox="1"/>
              <p:nvPr/>
            </p:nvSpPr>
            <p:spPr>
              <a:xfrm>
                <a:off x="8001932" y="4572344"/>
                <a:ext cx="18905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2</a:t>
                </a:r>
              </a:p>
            </p:txBody>
          </p:sp>
          <p:sp>
            <p:nvSpPr>
              <p:cNvPr id="46" name="TextBox 45">
                <a:extLst>
                  <a:ext uri="{FF2B5EF4-FFF2-40B4-BE49-F238E27FC236}">
                    <a16:creationId xmlns:a16="http://schemas.microsoft.com/office/drawing/2014/main" id="{D6236D8C-867E-8F96-C0C9-9B28680A533A}"/>
                  </a:ext>
                </a:extLst>
              </p:cNvPr>
              <p:cNvSpPr txBox="1"/>
              <p:nvPr/>
            </p:nvSpPr>
            <p:spPr>
              <a:xfrm>
                <a:off x="8236003" y="4572344"/>
                <a:ext cx="263615"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NE</a:t>
                </a:r>
              </a:p>
            </p:txBody>
          </p:sp>
          <p:sp>
            <p:nvSpPr>
              <p:cNvPr id="47" name="TextBox 46">
                <a:extLst>
                  <a:ext uri="{FF2B5EF4-FFF2-40B4-BE49-F238E27FC236}">
                    <a16:creationId xmlns:a16="http://schemas.microsoft.com/office/drawing/2014/main" id="{4FDCD365-2797-0B90-71F8-604B9A866200}"/>
                  </a:ext>
                </a:extLst>
              </p:cNvPr>
              <p:cNvSpPr txBox="1"/>
              <p:nvPr/>
            </p:nvSpPr>
            <p:spPr>
              <a:xfrm>
                <a:off x="8506887" y="4572344"/>
                <a:ext cx="263615"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NE</a:t>
                </a:r>
              </a:p>
            </p:txBody>
          </p:sp>
        </p:grpSp>
        <p:sp>
          <p:nvSpPr>
            <p:cNvPr id="21" name="TextBox 20">
              <a:extLst>
                <a:ext uri="{FF2B5EF4-FFF2-40B4-BE49-F238E27FC236}">
                  <a16:creationId xmlns:a16="http://schemas.microsoft.com/office/drawing/2014/main" id="{B4600FC3-B8C0-CFAF-1ED4-4633C2E58169}"/>
                </a:ext>
              </a:extLst>
            </p:cNvPr>
            <p:cNvSpPr txBox="1"/>
            <p:nvPr/>
          </p:nvSpPr>
          <p:spPr>
            <a:xfrm>
              <a:off x="4676728" y="3403945"/>
              <a:ext cx="650860" cy="176978"/>
            </a:xfrm>
            <a:prstGeom prst="rect">
              <a:avLst/>
            </a:prstGeom>
            <a:noFill/>
          </p:spPr>
          <p:txBody>
            <a:bodyPr wrap="non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err="1">
                  <a:ln/>
                  <a:solidFill>
                    <a:srgbClr val="00B050"/>
                  </a:solidFill>
                  <a:effectLst/>
                  <a:uLnTx/>
                  <a:uFillTx/>
                  <a:latin typeface="Arial"/>
                  <a:ea typeface="+mn-ea"/>
                  <a:cs typeface="Arial"/>
                  <a:sym typeface="Arial"/>
                  <a:rtl val="0"/>
                </a:rPr>
                <a:t>Mosun</a:t>
              </a:r>
              <a:r>
                <a:rPr kumimoji="0" lang="en-US" sz="933" b="1" i="0" u="none" strike="noStrike" kern="1200" cap="none" spc="0" normalizeH="0" baseline="0" noProof="0" dirty="0">
                  <a:ln/>
                  <a:solidFill>
                    <a:srgbClr val="00B050"/>
                  </a:solidFill>
                  <a:effectLst/>
                  <a:uLnTx/>
                  <a:uFillTx/>
                  <a:latin typeface="Arial"/>
                  <a:ea typeface="+mn-ea"/>
                  <a:cs typeface="Arial"/>
                  <a:sym typeface="Arial"/>
                  <a:rtl val="0"/>
                </a:rPr>
                <a:t>-Pola</a:t>
              </a:r>
            </a:p>
          </p:txBody>
        </p:sp>
        <p:sp>
          <p:nvSpPr>
            <p:cNvPr id="22" name="TextBox 21">
              <a:extLst>
                <a:ext uri="{FF2B5EF4-FFF2-40B4-BE49-F238E27FC236}">
                  <a16:creationId xmlns:a16="http://schemas.microsoft.com/office/drawing/2014/main" id="{3856CC42-CF4C-044D-F305-B9EE22976186}"/>
                </a:ext>
              </a:extLst>
            </p:cNvPr>
            <p:cNvSpPr txBox="1"/>
            <p:nvPr/>
          </p:nvSpPr>
          <p:spPr>
            <a:xfrm>
              <a:off x="4622705" y="3302939"/>
              <a:ext cx="1093942" cy="176978"/>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n-ea"/>
                  <a:cs typeface="Arial"/>
                  <a:sym typeface="Arial"/>
                  <a:rtl val="0"/>
                </a:rPr>
                <a:t>No. of patients at risk</a:t>
              </a:r>
            </a:p>
          </p:txBody>
        </p:sp>
        <p:grpSp>
          <p:nvGrpSpPr>
            <p:cNvPr id="23" name="Graphic 4">
              <a:extLst>
                <a:ext uri="{FF2B5EF4-FFF2-40B4-BE49-F238E27FC236}">
                  <a16:creationId xmlns:a16="http://schemas.microsoft.com/office/drawing/2014/main" id="{C335C7B2-635A-622A-2515-30BBFA586A70}"/>
                </a:ext>
              </a:extLst>
            </p:cNvPr>
            <p:cNvGrpSpPr/>
            <p:nvPr/>
          </p:nvGrpSpPr>
          <p:grpSpPr>
            <a:xfrm>
              <a:off x="6255511" y="1523867"/>
              <a:ext cx="1133843" cy="441183"/>
              <a:chOff x="6266800" y="2692266"/>
              <a:chExt cx="1133843" cy="441183"/>
            </a:xfrm>
            <a:solidFill>
              <a:srgbClr val="000000"/>
            </a:solidFill>
          </p:grpSpPr>
          <p:grpSp>
            <p:nvGrpSpPr>
              <p:cNvPr id="24" name="Graphic 4">
                <a:extLst>
                  <a:ext uri="{FF2B5EF4-FFF2-40B4-BE49-F238E27FC236}">
                    <a16:creationId xmlns:a16="http://schemas.microsoft.com/office/drawing/2014/main" id="{999D050A-A237-7A3C-2938-6144BECB0B88}"/>
                  </a:ext>
                </a:extLst>
              </p:cNvPr>
              <p:cNvGrpSpPr/>
              <p:nvPr/>
            </p:nvGrpSpPr>
            <p:grpSpPr>
              <a:xfrm>
                <a:off x="6266800" y="2692266"/>
                <a:ext cx="1133843" cy="176978"/>
                <a:chOff x="6266800" y="2692266"/>
                <a:chExt cx="1133843" cy="176978"/>
              </a:xfrm>
              <a:solidFill>
                <a:srgbClr val="000000"/>
              </a:solidFill>
            </p:grpSpPr>
            <p:sp>
              <p:nvSpPr>
                <p:cNvPr id="33" name="Freeform 372">
                  <a:extLst>
                    <a:ext uri="{FF2B5EF4-FFF2-40B4-BE49-F238E27FC236}">
                      <a16:creationId xmlns:a16="http://schemas.microsoft.com/office/drawing/2014/main" id="{938D0434-0B63-B62D-283E-1856438FB392}"/>
                    </a:ext>
                  </a:extLst>
                </p:cNvPr>
                <p:cNvSpPr/>
                <p:nvPr/>
              </p:nvSpPr>
              <p:spPr>
                <a:xfrm>
                  <a:off x="6266800" y="2793162"/>
                  <a:ext cx="258704" cy="12616"/>
                </a:xfrm>
                <a:custGeom>
                  <a:avLst/>
                  <a:gdLst>
                    <a:gd name="csX0" fmla="*/ 0 w 258704"/>
                    <a:gd name="csY0" fmla="*/ 0 h 12616"/>
                    <a:gd name="csX1" fmla="*/ 258704 w 258704"/>
                    <a:gd name="csY1" fmla="*/ 0 h 12616"/>
                  </a:gdLst>
                  <a:ahLst/>
                  <a:cxnLst>
                    <a:cxn ang="0">
                      <a:pos x="csX0" y="csY0"/>
                    </a:cxn>
                    <a:cxn ang="0">
                      <a:pos x="csX1" y="csY1"/>
                    </a:cxn>
                  </a:cxnLst>
                  <a:rect l="l" t="t" r="r" b="b"/>
                  <a:pathLst>
                    <a:path w="258704" h="12616">
                      <a:moveTo>
                        <a:pt x="0" y="0"/>
                      </a:moveTo>
                      <a:lnTo>
                        <a:pt x="258704" y="0"/>
                      </a:lnTo>
                    </a:path>
                  </a:pathLst>
                </a:custGeom>
                <a:ln w="12661" cap="flat">
                  <a:solidFill>
                    <a:srgbClr val="00B05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 name="TextBox 33">
                  <a:extLst>
                    <a:ext uri="{FF2B5EF4-FFF2-40B4-BE49-F238E27FC236}">
                      <a16:creationId xmlns:a16="http://schemas.microsoft.com/office/drawing/2014/main" id="{11CBE4DF-8636-AFC8-3E95-E47EAE8666AF}"/>
                    </a:ext>
                  </a:extLst>
                </p:cNvPr>
                <p:cNvSpPr txBox="1"/>
                <p:nvPr/>
              </p:nvSpPr>
              <p:spPr>
                <a:xfrm>
                  <a:off x="6490017" y="2692266"/>
                  <a:ext cx="910626" cy="176978"/>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Mosun-Pola (n=61)</a:t>
                  </a:r>
                </a:p>
              </p:txBody>
            </p:sp>
          </p:grpSp>
          <p:grpSp>
            <p:nvGrpSpPr>
              <p:cNvPr id="25" name="Graphic 4">
                <a:extLst>
                  <a:ext uri="{FF2B5EF4-FFF2-40B4-BE49-F238E27FC236}">
                    <a16:creationId xmlns:a16="http://schemas.microsoft.com/office/drawing/2014/main" id="{1F7914FC-3EFD-EB56-0CF1-665BF9F9517D}"/>
                  </a:ext>
                </a:extLst>
              </p:cNvPr>
              <p:cNvGrpSpPr/>
              <p:nvPr/>
            </p:nvGrpSpPr>
            <p:grpSpPr>
              <a:xfrm>
                <a:off x="6266800" y="2817545"/>
                <a:ext cx="1055673" cy="176978"/>
                <a:chOff x="6266800" y="2817545"/>
                <a:chExt cx="1055673" cy="176978"/>
              </a:xfrm>
              <a:solidFill>
                <a:srgbClr val="000000"/>
              </a:solidFill>
            </p:grpSpPr>
            <p:sp>
              <p:nvSpPr>
                <p:cNvPr id="31" name="Freeform 370">
                  <a:extLst>
                    <a:ext uri="{FF2B5EF4-FFF2-40B4-BE49-F238E27FC236}">
                      <a16:creationId xmlns:a16="http://schemas.microsoft.com/office/drawing/2014/main" id="{06AB2CE3-0463-1694-32A4-EC2F100B6D7D}"/>
                    </a:ext>
                  </a:extLst>
                </p:cNvPr>
                <p:cNvSpPr/>
                <p:nvPr/>
              </p:nvSpPr>
              <p:spPr>
                <a:xfrm>
                  <a:off x="6266800" y="2918566"/>
                  <a:ext cx="258704" cy="12616"/>
                </a:xfrm>
                <a:custGeom>
                  <a:avLst/>
                  <a:gdLst>
                    <a:gd name="csX0" fmla="*/ 0 w 258704"/>
                    <a:gd name="csY0" fmla="*/ 0 h 12616"/>
                    <a:gd name="csX1" fmla="*/ 258704 w 258704"/>
                    <a:gd name="csY1" fmla="*/ 0 h 12616"/>
                  </a:gdLst>
                  <a:ahLst/>
                  <a:cxnLst>
                    <a:cxn ang="0">
                      <a:pos x="csX0" y="csY0"/>
                    </a:cxn>
                    <a:cxn ang="0">
                      <a:pos x="csX1" y="csY1"/>
                    </a:cxn>
                  </a:cxnLst>
                  <a:rect l="l" t="t" r="r" b="b"/>
                  <a:pathLst>
                    <a:path w="258704" h="12616">
                      <a:moveTo>
                        <a:pt x="0" y="0"/>
                      </a:moveTo>
                      <a:lnTo>
                        <a:pt x="258704" y="0"/>
                      </a:lnTo>
                    </a:path>
                  </a:pathLst>
                </a:custGeom>
                <a:ln w="12661" cap="flat">
                  <a:solidFill>
                    <a:srgbClr val="0B41CD"/>
                  </a:solidFill>
                  <a:custDash>
                    <a:ds d="225000" sp="225000"/>
                  </a:custDash>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C71CA9D4-A85C-18B7-F664-BBCB84933043}"/>
                    </a:ext>
                  </a:extLst>
                </p:cNvPr>
                <p:cNvSpPr txBox="1"/>
                <p:nvPr/>
              </p:nvSpPr>
              <p:spPr>
                <a:xfrm>
                  <a:off x="6490017" y="2817545"/>
                  <a:ext cx="832456" cy="176978"/>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R-</a:t>
                  </a:r>
                  <a:r>
                    <a:rPr kumimoji="0" lang="en-US" sz="933" b="0" i="0" u="none" strike="noStrike" kern="1200" cap="none" spc="0" normalizeH="0" baseline="0" noProof="0" dirty="0" err="1">
                      <a:ln/>
                      <a:solidFill>
                        <a:srgbClr val="000000"/>
                      </a:solidFill>
                      <a:effectLst/>
                      <a:uLnTx/>
                      <a:uFillTx/>
                      <a:latin typeface="Arial"/>
                      <a:ea typeface="+mn-ea"/>
                      <a:cs typeface="Arial"/>
                      <a:sym typeface="Arial"/>
                      <a:rtl val="0"/>
                    </a:rPr>
                    <a:t>GemOx</a:t>
                  </a: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 (n=30)</a:t>
                  </a:r>
                </a:p>
              </p:txBody>
            </p:sp>
          </p:grpSp>
          <p:grpSp>
            <p:nvGrpSpPr>
              <p:cNvPr id="26" name="Graphic 4">
                <a:extLst>
                  <a:ext uri="{FF2B5EF4-FFF2-40B4-BE49-F238E27FC236}">
                    <a16:creationId xmlns:a16="http://schemas.microsoft.com/office/drawing/2014/main" id="{A7203BB7-745A-C188-B6A7-37F66CB1283C}"/>
                  </a:ext>
                </a:extLst>
              </p:cNvPr>
              <p:cNvGrpSpPr/>
              <p:nvPr/>
            </p:nvGrpSpPr>
            <p:grpSpPr>
              <a:xfrm>
                <a:off x="6373124" y="2956471"/>
                <a:ext cx="647365" cy="176978"/>
                <a:chOff x="6373124" y="2956471"/>
                <a:chExt cx="647365" cy="176978"/>
              </a:xfrm>
              <a:solidFill>
                <a:srgbClr val="000000"/>
              </a:solidFill>
            </p:grpSpPr>
            <p:grpSp>
              <p:nvGrpSpPr>
                <p:cNvPr id="27" name="Graphic 4">
                  <a:extLst>
                    <a:ext uri="{FF2B5EF4-FFF2-40B4-BE49-F238E27FC236}">
                      <a16:creationId xmlns:a16="http://schemas.microsoft.com/office/drawing/2014/main" id="{1F644245-9D72-DF00-CC98-7555FA9C9B3C}"/>
                    </a:ext>
                  </a:extLst>
                </p:cNvPr>
                <p:cNvGrpSpPr/>
                <p:nvPr/>
              </p:nvGrpSpPr>
              <p:grpSpPr>
                <a:xfrm>
                  <a:off x="6373124" y="3020883"/>
                  <a:ext cx="46056" cy="45796"/>
                  <a:chOff x="6373124" y="3020883"/>
                  <a:chExt cx="46056" cy="45796"/>
                </a:xfrm>
              </p:grpSpPr>
              <p:sp>
                <p:nvSpPr>
                  <p:cNvPr id="29" name="Freeform 368">
                    <a:extLst>
                      <a:ext uri="{FF2B5EF4-FFF2-40B4-BE49-F238E27FC236}">
                        <a16:creationId xmlns:a16="http://schemas.microsoft.com/office/drawing/2014/main" id="{49CEDD3F-41A9-CD8E-9E60-B9698E836978}"/>
                      </a:ext>
                    </a:extLst>
                  </p:cNvPr>
                  <p:cNvSpPr/>
                  <p:nvPr/>
                </p:nvSpPr>
                <p:spPr>
                  <a:xfrm>
                    <a:off x="6396089" y="3020883"/>
                    <a:ext cx="12687" cy="45796"/>
                  </a:xfrm>
                  <a:custGeom>
                    <a:avLst/>
                    <a:gdLst>
                      <a:gd name="csX0" fmla="*/ 0 w 12687"/>
                      <a:gd name="csY0" fmla="*/ 0 h 45796"/>
                      <a:gd name="csX1" fmla="*/ 0 w 12687"/>
                      <a:gd name="csY1" fmla="*/ 45797 h 45796"/>
                    </a:gdLst>
                    <a:ahLst/>
                    <a:cxnLst>
                      <a:cxn ang="0">
                        <a:pos x="csX0" y="csY0"/>
                      </a:cxn>
                      <a:cxn ang="0">
                        <a:pos x="csX1" y="csY1"/>
                      </a:cxn>
                    </a:cxnLst>
                    <a:rect l="l" t="t" r="r" b="b"/>
                    <a:pathLst>
                      <a:path w="12687" h="45796">
                        <a:moveTo>
                          <a:pt x="0" y="0"/>
                        </a:moveTo>
                        <a:lnTo>
                          <a:pt x="0" y="45797"/>
                        </a:lnTo>
                      </a:path>
                    </a:pathLst>
                  </a:custGeom>
                  <a:ln w="12661" cap="flat">
                    <a:solidFill>
                      <a:srgbClr val="00000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 name="Freeform 369">
                    <a:extLst>
                      <a:ext uri="{FF2B5EF4-FFF2-40B4-BE49-F238E27FC236}">
                        <a16:creationId xmlns:a16="http://schemas.microsoft.com/office/drawing/2014/main" id="{B45C8FF0-46E1-9F46-DE03-9EEFBBAF46A4}"/>
                      </a:ext>
                    </a:extLst>
                  </p:cNvPr>
                  <p:cNvSpPr/>
                  <p:nvPr/>
                </p:nvSpPr>
                <p:spPr>
                  <a:xfrm>
                    <a:off x="6373124" y="3043845"/>
                    <a:ext cx="46056" cy="12616"/>
                  </a:xfrm>
                  <a:custGeom>
                    <a:avLst/>
                    <a:gdLst>
                      <a:gd name="csX0" fmla="*/ 0 w 46056"/>
                      <a:gd name="csY0" fmla="*/ 0 h 12616"/>
                      <a:gd name="csX1" fmla="*/ 46057 w 46056"/>
                      <a:gd name="csY1" fmla="*/ 0 h 12616"/>
                    </a:gdLst>
                    <a:ahLst/>
                    <a:cxnLst>
                      <a:cxn ang="0">
                        <a:pos x="csX0" y="csY0"/>
                      </a:cxn>
                      <a:cxn ang="0">
                        <a:pos x="csX1" y="csY1"/>
                      </a:cxn>
                    </a:cxnLst>
                    <a:rect l="l" t="t" r="r" b="b"/>
                    <a:pathLst>
                      <a:path w="46056" h="12616">
                        <a:moveTo>
                          <a:pt x="0" y="0"/>
                        </a:moveTo>
                        <a:lnTo>
                          <a:pt x="46057" y="0"/>
                        </a:lnTo>
                      </a:path>
                    </a:pathLst>
                  </a:custGeom>
                  <a:ln w="12661" cap="flat">
                    <a:solidFill>
                      <a:srgbClr val="00000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28" name="TextBox 27">
                  <a:extLst>
                    <a:ext uri="{FF2B5EF4-FFF2-40B4-BE49-F238E27FC236}">
                      <a16:creationId xmlns:a16="http://schemas.microsoft.com/office/drawing/2014/main" id="{9D471470-2577-156F-8490-CAE69EA23067}"/>
                    </a:ext>
                  </a:extLst>
                </p:cNvPr>
                <p:cNvSpPr txBox="1"/>
                <p:nvPr/>
              </p:nvSpPr>
              <p:spPr>
                <a:xfrm>
                  <a:off x="6489891" y="2956471"/>
                  <a:ext cx="530598" cy="176978"/>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Censored</a:t>
                  </a:r>
                </a:p>
              </p:txBody>
            </p:sp>
          </p:grpSp>
        </p:grpSp>
      </p:grpSp>
      <p:grpSp>
        <p:nvGrpSpPr>
          <p:cNvPr id="172" name="Graphic 4">
            <a:extLst>
              <a:ext uri="{FF2B5EF4-FFF2-40B4-BE49-F238E27FC236}">
                <a16:creationId xmlns:a16="http://schemas.microsoft.com/office/drawing/2014/main" id="{E1AC43CC-02E7-1049-C202-E2E8029399A3}"/>
              </a:ext>
            </a:extLst>
          </p:cNvPr>
          <p:cNvGrpSpPr/>
          <p:nvPr/>
        </p:nvGrpSpPr>
        <p:grpSpPr>
          <a:xfrm>
            <a:off x="6788134" y="4254364"/>
            <a:ext cx="4675093" cy="237075"/>
            <a:chOff x="5267649" y="4683366"/>
            <a:chExt cx="3507402" cy="177861"/>
          </a:xfrm>
          <a:solidFill>
            <a:srgbClr val="000000"/>
          </a:solidFill>
        </p:grpSpPr>
        <p:sp>
          <p:nvSpPr>
            <p:cNvPr id="173" name="TextBox 172">
              <a:extLst>
                <a:ext uri="{FF2B5EF4-FFF2-40B4-BE49-F238E27FC236}">
                  <a16:creationId xmlns:a16="http://schemas.microsoft.com/office/drawing/2014/main" id="{0D31374B-7800-6336-CF7D-513995357322}"/>
                </a:ext>
              </a:extLst>
            </p:cNvPr>
            <p:cNvSpPr txBox="1"/>
            <p:nvPr/>
          </p:nvSpPr>
          <p:spPr>
            <a:xfrm>
              <a:off x="5267649" y="4683366"/>
              <a:ext cx="23956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30</a:t>
              </a:r>
            </a:p>
          </p:txBody>
        </p:sp>
        <p:sp>
          <p:nvSpPr>
            <p:cNvPr id="174" name="TextBox 173">
              <a:extLst>
                <a:ext uri="{FF2B5EF4-FFF2-40B4-BE49-F238E27FC236}">
                  <a16:creationId xmlns:a16="http://schemas.microsoft.com/office/drawing/2014/main" id="{A39545F6-6C31-F6C0-59B1-AD5ADA364A02}"/>
                </a:ext>
              </a:extLst>
            </p:cNvPr>
            <p:cNvSpPr txBox="1"/>
            <p:nvPr/>
          </p:nvSpPr>
          <p:spPr>
            <a:xfrm>
              <a:off x="5538534" y="4683366"/>
              <a:ext cx="23956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17</a:t>
              </a:r>
            </a:p>
          </p:txBody>
        </p:sp>
        <p:sp>
          <p:nvSpPr>
            <p:cNvPr id="175" name="TextBox 174">
              <a:extLst>
                <a:ext uri="{FF2B5EF4-FFF2-40B4-BE49-F238E27FC236}">
                  <a16:creationId xmlns:a16="http://schemas.microsoft.com/office/drawing/2014/main" id="{979937ED-344D-68A6-B809-703C3DD51186}"/>
                </a:ext>
              </a:extLst>
            </p:cNvPr>
            <p:cNvSpPr txBox="1"/>
            <p:nvPr/>
          </p:nvSpPr>
          <p:spPr>
            <a:xfrm>
              <a:off x="5848051" y="4684249"/>
              <a:ext cx="18905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5</a:t>
              </a:r>
            </a:p>
          </p:txBody>
        </p:sp>
        <p:sp>
          <p:nvSpPr>
            <p:cNvPr id="176" name="TextBox 175">
              <a:extLst>
                <a:ext uri="{FF2B5EF4-FFF2-40B4-BE49-F238E27FC236}">
                  <a16:creationId xmlns:a16="http://schemas.microsoft.com/office/drawing/2014/main" id="{B2C85786-52B5-00B1-B7B9-B9B4EB4A0E3A}"/>
                </a:ext>
              </a:extLst>
            </p:cNvPr>
            <p:cNvSpPr txBox="1"/>
            <p:nvPr/>
          </p:nvSpPr>
          <p:spPr>
            <a:xfrm>
              <a:off x="6105232" y="4684249"/>
              <a:ext cx="18905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3</a:t>
              </a:r>
            </a:p>
          </p:txBody>
        </p:sp>
        <p:sp>
          <p:nvSpPr>
            <p:cNvPr id="177" name="TextBox 176">
              <a:extLst>
                <a:ext uri="{FF2B5EF4-FFF2-40B4-BE49-F238E27FC236}">
                  <a16:creationId xmlns:a16="http://schemas.microsoft.com/office/drawing/2014/main" id="{AA5957BA-9726-2912-A5AA-07839DC55852}"/>
                </a:ext>
              </a:extLst>
            </p:cNvPr>
            <p:cNvSpPr txBox="1"/>
            <p:nvPr/>
          </p:nvSpPr>
          <p:spPr>
            <a:xfrm>
              <a:off x="6376245" y="4684249"/>
              <a:ext cx="18905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3</a:t>
              </a:r>
            </a:p>
          </p:txBody>
        </p:sp>
        <p:sp>
          <p:nvSpPr>
            <p:cNvPr id="178" name="TextBox 177">
              <a:extLst>
                <a:ext uri="{FF2B5EF4-FFF2-40B4-BE49-F238E27FC236}">
                  <a16:creationId xmlns:a16="http://schemas.microsoft.com/office/drawing/2014/main" id="{40FEF7A3-D926-32E6-8907-31DE3D39F17E}"/>
                </a:ext>
              </a:extLst>
            </p:cNvPr>
            <p:cNvSpPr txBox="1"/>
            <p:nvPr/>
          </p:nvSpPr>
          <p:spPr>
            <a:xfrm>
              <a:off x="6647128" y="4684249"/>
              <a:ext cx="18905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3</a:t>
              </a:r>
            </a:p>
          </p:txBody>
        </p:sp>
        <p:sp>
          <p:nvSpPr>
            <p:cNvPr id="179" name="TextBox 178">
              <a:extLst>
                <a:ext uri="{FF2B5EF4-FFF2-40B4-BE49-F238E27FC236}">
                  <a16:creationId xmlns:a16="http://schemas.microsoft.com/office/drawing/2014/main" id="{5B621FB2-22BA-838E-174A-43395A62629B}"/>
                </a:ext>
              </a:extLst>
            </p:cNvPr>
            <p:cNvSpPr txBox="1"/>
            <p:nvPr/>
          </p:nvSpPr>
          <p:spPr>
            <a:xfrm>
              <a:off x="6918141" y="4684249"/>
              <a:ext cx="18905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3</a:t>
              </a:r>
            </a:p>
          </p:txBody>
        </p:sp>
        <p:sp>
          <p:nvSpPr>
            <p:cNvPr id="180" name="TextBox 179">
              <a:extLst>
                <a:ext uri="{FF2B5EF4-FFF2-40B4-BE49-F238E27FC236}">
                  <a16:creationId xmlns:a16="http://schemas.microsoft.com/office/drawing/2014/main" id="{2637E871-C479-2B97-8C07-3B28BAAF3B31}"/>
                </a:ext>
              </a:extLst>
            </p:cNvPr>
            <p:cNvSpPr txBox="1"/>
            <p:nvPr/>
          </p:nvSpPr>
          <p:spPr>
            <a:xfrm>
              <a:off x="7189024" y="4684249"/>
              <a:ext cx="18905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3</a:t>
              </a:r>
            </a:p>
          </p:txBody>
        </p:sp>
        <p:sp>
          <p:nvSpPr>
            <p:cNvPr id="181" name="TextBox 180">
              <a:extLst>
                <a:ext uri="{FF2B5EF4-FFF2-40B4-BE49-F238E27FC236}">
                  <a16:creationId xmlns:a16="http://schemas.microsoft.com/office/drawing/2014/main" id="{9A21AE12-0A6D-4824-24E7-12469103DB6E}"/>
                </a:ext>
              </a:extLst>
            </p:cNvPr>
            <p:cNvSpPr txBox="1"/>
            <p:nvPr/>
          </p:nvSpPr>
          <p:spPr>
            <a:xfrm>
              <a:off x="7460036" y="4684249"/>
              <a:ext cx="18905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2</a:t>
              </a:r>
            </a:p>
          </p:txBody>
        </p:sp>
        <p:sp>
          <p:nvSpPr>
            <p:cNvPr id="182" name="TextBox 181">
              <a:extLst>
                <a:ext uri="{FF2B5EF4-FFF2-40B4-BE49-F238E27FC236}">
                  <a16:creationId xmlns:a16="http://schemas.microsoft.com/office/drawing/2014/main" id="{2A985389-3C12-703D-0B8B-B02144A057DE}"/>
                </a:ext>
              </a:extLst>
            </p:cNvPr>
            <p:cNvSpPr txBox="1"/>
            <p:nvPr/>
          </p:nvSpPr>
          <p:spPr>
            <a:xfrm>
              <a:off x="7731047" y="4684249"/>
              <a:ext cx="189052"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1</a:t>
              </a:r>
            </a:p>
          </p:txBody>
        </p:sp>
        <p:sp>
          <p:nvSpPr>
            <p:cNvPr id="183" name="TextBox 182">
              <a:extLst>
                <a:ext uri="{FF2B5EF4-FFF2-40B4-BE49-F238E27FC236}">
                  <a16:creationId xmlns:a16="http://schemas.microsoft.com/office/drawing/2014/main" id="{F9F12139-1A16-79FB-A040-6BFE3B433723}"/>
                </a:ext>
              </a:extLst>
            </p:cNvPr>
            <p:cNvSpPr txBox="1"/>
            <p:nvPr/>
          </p:nvSpPr>
          <p:spPr>
            <a:xfrm>
              <a:off x="7964991" y="4684249"/>
              <a:ext cx="263615"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NE</a:t>
              </a:r>
            </a:p>
          </p:txBody>
        </p:sp>
        <p:sp>
          <p:nvSpPr>
            <p:cNvPr id="184" name="TextBox 183">
              <a:extLst>
                <a:ext uri="{FF2B5EF4-FFF2-40B4-BE49-F238E27FC236}">
                  <a16:creationId xmlns:a16="http://schemas.microsoft.com/office/drawing/2014/main" id="{2B2E2FB5-C65F-42A3-C14B-AA93902812CE}"/>
                </a:ext>
              </a:extLst>
            </p:cNvPr>
            <p:cNvSpPr txBox="1"/>
            <p:nvPr/>
          </p:nvSpPr>
          <p:spPr>
            <a:xfrm>
              <a:off x="8245100" y="4684249"/>
              <a:ext cx="263615"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NE</a:t>
              </a:r>
            </a:p>
          </p:txBody>
        </p:sp>
        <p:sp>
          <p:nvSpPr>
            <p:cNvPr id="185" name="TextBox 184">
              <a:extLst>
                <a:ext uri="{FF2B5EF4-FFF2-40B4-BE49-F238E27FC236}">
                  <a16:creationId xmlns:a16="http://schemas.microsoft.com/office/drawing/2014/main" id="{CE243CB8-9ADB-6CC9-DCC1-E02B4C2C3460}"/>
                </a:ext>
              </a:extLst>
            </p:cNvPr>
            <p:cNvSpPr txBox="1"/>
            <p:nvPr/>
          </p:nvSpPr>
          <p:spPr>
            <a:xfrm>
              <a:off x="8511436" y="4684249"/>
              <a:ext cx="263615" cy="17697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NE</a:t>
              </a:r>
            </a:p>
          </p:txBody>
        </p:sp>
      </p:grpSp>
      <p:sp>
        <p:nvSpPr>
          <p:cNvPr id="186" name="TextBox 185">
            <a:extLst>
              <a:ext uri="{FF2B5EF4-FFF2-40B4-BE49-F238E27FC236}">
                <a16:creationId xmlns:a16="http://schemas.microsoft.com/office/drawing/2014/main" id="{9881227E-176F-0339-1F8E-3BBABB1A520B}"/>
              </a:ext>
            </a:extLst>
          </p:cNvPr>
          <p:cNvSpPr txBox="1"/>
          <p:nvPr/>
        </p:nvSpPr>
        <p:spPr>
          <a:xfrm>
            <a:off x="6096000" y="4255539"/>
            <a:ext cx="737701" cy="235898"/>
          </a:xfrm>
          <a:prstGeom prst="rect">
            <a:avLst/>
          </a:prstGeom>
          <a:noFill/>
        </p:spPr>
        <p:txBody>
          <a:bodyPr wrap="non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solidFill>
                  <a:srgbClr val="0B41CD"/>
                </a:solidFill>
                <a:effectLst/>
                <a:uLnTx/>
                <a:uFillTx/>
                <a:latin typeface="Arial"/>
                <a:ea typeface="+mn-ea"/>
                <a:cs typeface="Arial"/>
                <a:sym typeface="Arial"/>
                <a:rtl val="0"/>
              </a:rPr>
              <a:t>R-</a:t>
            </a:r>
            <a:r>
              <a:rPr kumimoji="0" lang="en-US" sz="933" b="1" i="0" u="none" strike="noStrike" kern="1200" cap="none" spc="0" normalizeH="0" baseline="0" noProof="0" dirty="0" err="1">
                <a:ln/>
                <a:solidFill>
                  <a:srgbClr val="0B41CD"/>
                </a:solidFill>
                <a:effectLst/>
                <a:uLnTx/>
                <a:uFillTx/>
                <a:latin typeface="Arial"/>
                <a:ea typeface="+mn-ea"/>
                <a:cs typeface="Arial"/>
                <a:sym typeface="Arial"/>
                <a:rtl val="0"/>
              </a:rPr>
              <a:t>GemOx</a:t>
            </a:r>
            <a:endParaRPr kumimoji="0" lang="en-US" sz="933" b="1" i="0" u="none" strike="noStrike" kern="1200" cap="none" spc="0" normalizeH="0" baseline="0" noProof="0" dirty="0">
              <a:ln/>
              <a:solidFill>
                <a:srgbClr val="0B41CD"/>
              </a:solidFill>
              <a:effectLst/>
              <a:uLnTx/>
              <a:uFillTx/>
              <a:latin typeface="Arial"/>
              <a:ea typeface="+mn-ea"/>
              <a:cs typeface="Arial"/>
              <a:sym typeface="Arial"/>
              <a:rtl val="0"/>
            </a:endParaRPr>
          </a:p>
        </p:txBody>
      </p:sp>
      <p:sp>
        <p:nvSpPr>
          <p:cNvPr id="187" name="TextBox 186">
            <a:extLst>
              <a:ext uri="{FF2B5EF4-FFF2-40B4-BE49-F238E27FC236}">
                <a16:creationId xmlns:a16="http://schemas.microsoft.com/office/drawing/2014/main" id="{F52FF613-2988-C7B5-D0B6-679887BBB8D9}"/>
              </a:ext>
            </a:extLst>
          </p:cNvPr>
          <p:cNvSpPr txBox="1"/>
          <p:nvPr/>
        </p:nvSpPr>
        <p:spPr>
          <a:xfrm>
            <a:off x="9657114" y="1637545"/>
            <a:ext cx="1821332" cy="666593"/>
          </a:xfrm>
          <a:prstGeom prst="rect">
            <a:avLst/>
          </a:prstGeom>
          <a:noFill/>
          <a:ln w="6350">
            <a:solidFill>
              <a:schemeClr val="tx1"/>
            </a:solidFill>
          </a:ln>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n-ea"/>
                <a:cs typeface="Arial"/>
                <a:sym typeface="Arial"/>
                <a:rtl val="0"/>
              </a:rPr>
              <a:t>Median, months (95% CI):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err="1">
                <a:ln/>
                <a:solidFill>
                  <a:srgbClr val="00B050"/>
                </a:solidFill>
                <a:effectLst/>
                <a:uLnTx/>
                <a:uFillTx/>
                <a:latin typeface="Arial"/>
                <a:ea typeface="+mn-ea"/>
                <a:cs typeface="Arial"/>
                <a:sym typeface="Arial"/>
                <a:rtl val="0"/>
              </a:rPr>
              <a:t>Mosun</a:t>
            </a:r>
            <a:r>
              <a:rPr kumimoji="0" lang="en-US" sz="933" b="1" i="0" u="none" strike="noStrike" kern="1200" cap="none" spc="0" normalizeH="0" baseline="0" noProof="0" dirty="0">
                <a:ln/>
                <a:solidFill>
                  <a:srgbClr val="00B050"/>
                </a:solidFill>
                <a:effectLst/>
                <a:uLnTx/>
                <a:uFillTx/>
                <a:latin typeface="Arial"/>
                <a:ea typeface="+mn-ea"/>
                <a:cs typeface="Arial"/>
                <a:sym typeface="Arial"/>
                <a:rtl val="0"/>
              </a:rPr>
              <a:t>-Pola: </a:t>
            </a: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17.6 (5.6–NE)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solidFill>
                  <a:srgbClr val="0B41CD"/>
                </a:solidFill>
                <a:effectLst/>
                <a:uLnTx/>
                <a:uFillTx/>
                <a:latin typeface="Arial"/>
                <a:ea typeface="+mn-ea"/>
                <a:cs typeface="Arial"/>
                <a:sym typeface="Arial"/>
                <a:rtl val="0"/>
              </a:rPr>
              <a:t>R-</a:t>
            </a:r>
            <a:r>
              <a:rPr kumimoji="0" lang="en-US" sz="933" b="1" i="0" u="none" strike="noStrike" kern="1200" cap="none" spc="0" normalizeH="0" baseline="0" noProof="0" dirty="0" err="1">
                <a:ln/>
                <a:solidFill>
                  <a:srgbClr val="0B41CD"/>
                </a:solidFill>
                <a:effectLst/>
                <a:uLnTx/>
                <a:uFillTx/>
                <a:latin typeface="Arial"/>
                <a:ea typeface="+mn-ea"/>
                <a:cs typeface="Arial"/>
                <a:sym typeface="Arial"/>
                <a:rtl val="0"/>
              </a:rPr>
              <a:t>GemOx</a:t>
            </a:r>
            <a:r>
              <a:rPr kumimoji="0" lang="en-US" sz="933" b="1" i="0" u="none" strike="noStrike" kern="1200" cap="none" spc="0" normalizeH="0" baseline="0" noProof="0" dirty="0">
                <a:ln/>
                <a:solidFill>
                  <a:srgbClr val="0B41CD"/>
                </a:solidFill>
                <a:effectLst/>
                <a:uLnTx/>
                <a:uFillTx/>
                <a:latin typeface="Arial"/>
                <a:ea typeface="+mn-ea"/>
                <a:cs typeface="Arial"/>
                <a:sym typeface="Arial"/>
                <a:rtl val="0"/>
              </a:rPr>
              <a:t>: </a:t>
            </a: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3.6 (2.1–5.3)</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HR (95% CI): </a:t>
            </a:r>
            <a:r>
              <a:rPr kumimoji="0" lang="en-US" sz="933" b="1" i="0" u="none" strike="noStrike" kern="1200" cap="none" spc="0" normalizeH="0" baseline="0" noProof="0" dirty="0">
                <a:ln/>
                <a:solidFill>
                  <a:srgbClr val="000000"/>
                </a:solidFill>
                <a:effectLst/>
                <a:uLnTx/>
                <a:uFillTx/>
                <a:latin typeface="Arial"/>
                <a:ea typeface="+mn-ea"/>
                <a:cs typeface="Arial"/>
                <a:sym typeface="Arial"/>
                <a:rtl val="0"/>
              </a:rPr>
              <a:t>0.38 </a:t>
            </a: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0.22–0.67)</a:t>
            </a:r>
          </a:p>
        </p:txBody>
      </p:sp>
      <p:grpSp>
        <p:nvGrpSpPr>
          <p:cNvPr id="188" name="Graphic 4">
            <a:extLst>
              <a:ext uri="{FF2B5EF4-FFF2-40B4-BE49-F238E27FC236}">
                <a16:creationId xmlns:a16="http://schemas.microsoft.com/office/drawing/2014/main" id="{2FCBE134-AA05-5B94-C25E-24DD0B8174D9}"/>
              </a:ext>
            </a:extLst>
          </p:cNvPr>
          <p:cNvGrpSpPr/>
          <p:nvPr/>
        </p:nvGrpSpPr>
        <p:grpSpPr>
          <a:xfrm>
            <a:off x="6571240" y="1392869"/>
            <a:ext cx="386643" cy="2429419"/>
            <a:chOff x="5090249" y="2541526"/>
            <a:chExt cx="290072" cy="1822626"/>
          </a:xfrm>
          <a:solidFill>
            <a:srgbClr val="000000"/>
          </a:solidFill>
        </p:grpSpPr>
        <p:sp>
          <p:nvSpPr>
            <p:cNvPr id="189" name="TextBox 188">
              <a:extLst>
                <a:ext uri="{FF2B5EF4-FFF2-40B4-BE49-F238E27FC236}">
                  <a16:creationId xmlns:a16="http://schemas.microsoft.com/office/drawing/2014/main" id="{CF7541D3-4760-2C9F-4AF1-D758416018AE}"/>
                </a:ext>
              </a:extLst>
            </p:cNvPr>
            <p:cNvSpPr txBox="1"/>
            <p:nvPr/>
          </p:nvSpPr>
          <p:spPr>
            <a:xfrm>
              <a:off x="5090249" y="2541526"/>
              <a:ext cx="290072" cy="176978"/>
            </a:xfrm>
            <a:prstGeom prst="rect">
              <a:avLst/>
            </a:prstGeom>
            <a:noFill/>
          </p:spPr>
          <p:txBody>
            <a:bodyPr wrap="non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100</a:t>
              </a:r>
            </a:p>
          </p:txBody>
        </p:sp>
        <p:sp>
          <p:nvSpPr>
            <p:cNvPr id="190" name="TextBox 189">
              <a:extLst>
                <a:ext uri="{FF2B5EF4-FFF2-40B4-BE49-F238E27FC236}">
                  <a16:creationId xmlns:a16="http://schemas.microsoft.com/office/drawing/2014/main" id="{D9854C05-B241-1039-4522-B1D8EC9459BA}"/>
                </a:ext>
              </a:extLst>
            </p:cNvPr>
            <p:cNvSpPr txBox="1"/>
            <p:nvPr/>
          </p:nvSpPr>
          <p:spPr>
            <a:xfrm>
              <a:off x="5139855" y="2870681"/>
              <a:ext cx="239562" cy="176978"/>
            </a:xfrm>
            <a:prstGeom prst="rect">
              <a:avLst/>
            </a:prstGeom>
            <a:noFill/>
          </p:spPr>
          <p:txBody>
            <a:bodyPr wrap="non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80</a:t>
              </a:r>
            </a:p>
          </p:txBody>
        </p:sp>
        <p:sp>
          <p:nvSpPr>
            <p:cNvPr id="191" name="TextBox 190">
              <a:extLst>
                <a:ext uri="{FF2B5EF4-FFF2-40B4-BE49-F238E27FC236}">
                  <a16:creationId xmlns:a16="http://schemas.microsoft.com/office/drawing/2014/main" id="{03260B4C-FF7E-5565-5E41-4D9946BA03E3}"/>
                </a:ext>
              </a:extLst>
            </p:cNvPr>
            <p:cNvSpPr txBox="1"/>
            <p:nvPr/>
          </p:nvSpPr>
          <p:spPr>
            <a:xfrm>
              <a:off x="5139855" y="3199836"/>
              <a:ext cx="239562" cy="176978"/>
            </a:xfrm>
            <a:prstGeom prst="rect">
              <a:avLst/>
            </a:prstGeom>
            <a:noFill/>
          </p:spPr>
          <p:txBody>
            <a:bodyPr wrap="non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60</a:t>
              </a:r>
            </a:p>
          </p:txBody>
        </p:sp>
        <p:sp>
          <p:nvSpPr>
            <p:cNvPr id="192" name="TextBox 191">
              <a:extLst>
                <a:ext uri="{FF2B5EF4-FFF2-40B4-BE49-F238E27FC236}">
                  <a16:creationId xmlns:a16="http://schemas.microsoft.com/office/drawing/2014/main" id="{16A55068-F034-1C35-FA4F-50B3E2FDD7BC}"/>
                </a:ext>
              </a:extLst>
            </p:cNvPr>
            <p:cNvSpPr txBox="1"/>
            <p:nvPr/>
          </p:nvSpPr>
          <p:spPr>
            <a:xfrm>
              <a:off x="5139855" y="3528990"/>
              <a:ext cx="239562" cy="176978"/>
            </a:xfrm>
            <a:prstGeom prst="rect">
              <a:avLst/>
            </a:prstGeom>
            <a:noFill/>
          </p:spPr>
          <p:txBody>
            <a:bodyPr wrap="non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40</a:t>
              </a:r>
            </a:p>
          </p:txBody>
        </p:sp>
        <p:sp>
          <p:nvSpPr>
            <p:cNvPr id="193" name="TextBox 192">
              <a:extLst>
                <a:ext uri="{FF2B5EF4-FFF2-40B4-BE49-F238E27FC236}">
                  <a16:creationId xmlns:a16="http://schemas.microsoft.com/office/drawing/2014/main" id="{2974D279-BFDB-DADE-82C6-9A43A043E3A8}"/>
                </a:ext>
              </a:extLst>
            </p:cNvPr>
            <p:cNvSpPr txBox="1"/>
            <p:nvPr/>
          </p:nvSpPr>
          <p:spPr>
            <a:xfrm>
              <a:off x="5139855" y="3858019"/>
              <a:ext cx="239562" cy="176978"/>
            </a:xfrm>
            <a:prstGeom prst="rect">
              <a:avLst/>
            </a:prstGeom>
            <a:noFill/>
          </p:spPr>
          <p:txBody>
            <a:bodyPr wrap="non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20</a:t>
              </a:r>
            </a:p>
          </p:txBody>
        </p:sp>
        <p:sp>
          <p:nvSpPr>
            <p:cNvPr id="194" name="TextBox 193">
              <a:extLst>
                <a:ext uri="{FF2B5EF4-FFF2-40B4-BE49-F238E27FC236}">
                  <a16:creationId xmlns:a16="http://schemas.microsoft.com/office/drawing/2014/main" id="{DF830289-582F-41E8-97CA-8C97AE78ED1D}"/>
                </a:ext>
              </a:extLst>
            </p:cNvPr>
            <p:cNvSpPr txBox="1"/>
            <p:nvPr/>
          </p:nvSpPr>
          <p:spPr>
            <a:xfrm>
              <a:off x="5189462" y="4187174"/>
              <a:ext cx="189052" cy="176978"/>
            </a:xfrm>
            <a:prstGeom prst="rect">
              <a:avLst/>
            </a:prstGeom>
            <a:noFill/>
          </p:spPr>
          <p:txBody>
            <a:bodyPr wrap="non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0</a:t>
              </a:r>
            </a:p>
          </p:txBody>
        </p:sp>
      </p:grpSp>
      <p:sp>
        <p:nvSpPr>
          <p:cNvPr id="3" name="TextBox 2">
            <a:extLst>
              <a:ext uri="{FF2B5EF4-FFF2-40B4-BE49-F238E27FC236}">
                <a16:creationId xmlns:a16="http://schemas.microsoft.com/office/drawing/2014/main" id="{CC3E9DFA-1F2E-9B8B-2898-096418249E93}"/>
              </a:ext>
            </a:extLst>
          </p:cNvPr>
          <p:cNvSpPr txBox="1"/>
          <p:nvPr/>
        </p:nvSpPr>
        <p:spPr>
          <a:xfrm>
            <a:off x="113538" y="6468025"/>
            <a:ext cx="2428935" cy="369332"/>
          </a:xfrm>
          <a:prstGeom prst="rect">
            <a:avLst/>
          </a:prstGeom>
          <a:solidFill>
            <a:schemeClr val="bg1"/>
          </a:solid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im et al, ASCO 2026</a:t>
            </a:r>
          </a:p>
        </p:txBody>
      </p:sp>
    </p:spTree>
    <p:extLst>
      <p:ext uri="{BB962C8B-B14F-4D97-AF65-F5344CB8AC3E}">
        <p14:creationId xmlns:p14="http://schemas.microsoft.com/office/powerpoint/2010/main" val="24421656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201F8A19-B2EE-48CA-3199-EBA44EBE7D2F}"/>
              </a:ext>
            </a:extLst>
          </p:cNvPr>
          <p:cNvSpPr/>
          <p:nvPr/>
        </p:nvSpPr>
        <p:spPr>
          <a:xfrm>
            <a:off x="6656829" y="2003901"/>
            <a:ext cx="304479" cy="46414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3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 name="Title 1">
            <a:extLst>
              <a:ext uri="{FF2B5EF4-FFF2-40B4-BE49-F238E27FC236}">
                <a16:creationId xmlns:a16="http://schemas.microsoft.com/office/drawing/2014/main" id="{141254C2-541E-68E6-CB5D-84A3590A6864}"/>
              </a:ext>
            </a:extLst>
          </p:cNvPr>
          <p:cNvSpPr>
            <a:spLocks noGrp="1"/>
          </p:cNvSpPr>
          <p:nvPr>
            <p:ph type="title"/>
          </p:nvPr>
        </p:nvSpPr>
        <p:spPr>
          <a:xfrm>
            <a:off x="453867" y="55311"/>
            <a:ext cx="10972800" cy="688352"/>
          </a:xfrm>
        </p:spPr>
        <p:txBody>
          <a:bodyPr/>
          <a:lstStyle/>
          <a:p>
            <a:r>
              <a:rPr lang="en-US" sz="3200" b="1" dirty="0">
                <a:solidFill>
                  <a:srgbClr val="002060"/>
                </a:solidFill>
                <a:latin typeface="Open Sans" panose="020B0606030504020204" pitchFamily="34" charset="0"/>
                <a:ea typeface="Open Sans" panose="020B0606030504020204" pitchFamily="34" charset="0"/>
                <a:cs typeface="Open Sans" panose="020B0606030504020204" pitchFamily="34" charset="0"/>
              </a:rPr>
              <a:t>R-Pola-Glo</a:t>
            </a:r>
            <a:r>
              <a:rPr lang="en-US" sz="3200" dirty="0">
                <a:solidFill>
                  <a:srgbClr val="002060"/>
                </a:solidFill>
                <a:latin typeface="Open Sans" panose="020B0606030504020204" pitchFamily="34" charset="0"/>
                <a:ea typeface="Open Sans" panose="020B0606030504020204" pitchFamily="34" charset="0"/>
                <a:cs typeface="Open Sans" panose="020B0606030504020204" pitchFamily="34" charset="0"/>
              </a:rPr>
              <a:t> – Study Design</a:t>
            </a:r>
            <a:endParaRPr lang="de-DE" sz="3200" dirty="0">
              <a:solidFill>
                <a:srgbClr val="002060"/>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0" name="Gruppieren 9">
            <a:extLst>
              <a:ext uri="{FF2B5EF4-FFF2-40B4-BE49-F238E27FC236}">
                <a16:creationId xmlns:a16="http://schemas.microsoft.com/office/drawing/2014/main" id="{2EDEB889-A4CC-1D90-2864-830CA8F0FD66}"/>
              </a:ext>
            </a:extLst>
          </p:cNvPr>
          <p:cNvGrpSpPr/>
          <p:nvPr/>
        </p:nvGrpSpPr>
        <p:grpSpPr>
          <a:xfrm>
            <a:off x="627352" y="4062509"/>
            <a:ext cx="3813485" cy="1789761"/>
            <a:chOff x="6206836" y="762286"/>
            <a:chExt cx="2860114" cy="1161974"/>
          </a:xfrm>
        </p:grpSpPr>
        <p:grpSp>
          <p:nvGrpSpPr>
            <p:cNvPr id="11" name="Group 16">
              <a:extLst>
                <a:ext uri="{FF2B5EF4-FFF2-40B4-BE49-F238E27FC236}">
                  <a16:creationId xmlns:a16="http://schemas.microsoft.com/office/drawing/2014/main" id="{7C56C9DB-1F81-2A49-E686-5B0CC89E0942}"/>
                </a:ext>
              </a:extLst>
            </p:cNvPr>
            <p:cNvGrpSpPr/>
            <p:nvPr/>
          </p:nvGrpSpPr>
          <p:grpSpPr>
            <a:xfrm>
              <a:off x="6206836" y="1001132"/>
              <a:ext cx="2860114" cy="923128"/>
              <a:chOff x="0" y="-38100"/>
              <a:chExt cx="3148579" cy="906900"/>
            </a:xfrm>
          </p:grpSpPr>
          <p:sp>
            <p:nvSpPr>
              <p:cNvPr id="15" name="Freeform 17">
                <a:extLst>
                  <a:ext uri="{FF2B5EF4-FFF2-40B4-BE49-F238E27FC236}">
                    <a16:creationId xmlns:a16="http://schemas.microsoft.com/office/drawing/2014/main" id="{F24C83C4-4623-4A49-5A91-4AD8A71F59A8}"/>
                  </a:ext>
                </a:extLst>
              </p:cNvPr>
              <p:cNvSpPr/>
              <p:nvPr/>
            </p:nvSpPr>
            <p:spPr>
              <a:xfrm>
                <a:off x="0" y="0"/>
                <a:ext cx="3148579" cy="868800"/>
              </a:xfrm>
              <a:custGeom>
                <a:avLst/>
                <a:gdLst/>
                <a:ahLst/>
                <a:cxnLst/>
                <a:rect l="l" t="t" r="r" b="b"/>
                <a:pathLst>
                  <a:path w="2999100" h="868800">
                    <a:moveTo>
                      <a:pt x="9518" y="0"/>
                    </a:moveTo>
                    <a:lnTo>
                      <a:pt x="2989581" y="0"/>
                    </a:lnTo>
                    <a:cubicBezTo>
                      <a:pt x="2992106" y="0"/>
                      <a:pt x="2994527" y="1003"/>
                      <a:pt x="2996312" y="2788"/>
                    </a:cubicBezTo>
                    <a:cubicBezTo>
                      <a:pt x="2998097" y="4573"/>
                      <a:pt x="2999100" y="6994"/>
                      <a:pt x="2999100" y="9518"/>
                    </a:cubicBezTo>
                    <a:lnTo>
                      <a:pt x="2999100" y="859282"/>
                    </a:lnTo>
                    <a:cubicBezTo>
                      <a:pt x="2999100" y="861806"/>
                      <a:pt x="2998097" y="864227"/>
                      <a:pt x="2996312" y="866012"/>
                    </a:cubicBezTo>
                    <a:cubicBezTo>
                      <a:pt x="2994527" y="867797"/>
                      <a:pt x="2992106" y="868800"/>
                      <a:pt x="2989581" y="868800"/>
                    </a:cubicBezTo>
                    <a:lnTo>
                      <a:pt x="9518" y="868800"/>
                    </a:lnTo>
                    <a:cubicBezTo>
                      <a:pt x="4261" y="868800"/>
                      <a:pt x="0" y="864538"/>
                      <a:pt x="0" y="859282"/>
                    </a:cubicBezTo>
                    <a:lnTo>
                      <a:pt x="0" y="9518"/>
                    </a:lnTo>
                    <a:cubicBezTo>
                      <a:pt x="0" y="6994"/>
                      <a:pt x="1003" y="4573"/>
                      <a:pt x="2788" y="2788"/>
                    </a:cubicBezTo>
                    <a:cubicBezTo>
                      <a:pt x="4573" y="1003"/>
                      <a:pt x="6994" y="0"/>
                      <a:pt x="9518" y="0"/>
                    </a:cubicBezTo>
                    <a:close/>
                  </a:path>
                </a:pathLst>
              </a:custGeom>
              <a:solidFill>
                <a:schemeClr val="bg1"/>
              </a:solidFill>
              <a:ln w="12700">
                <a:solidFill>
                  <a:schemeClr val="accent6"/>
                </a:solidFill>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de-DE" sz="3200" b="0" i="0" u="none" strike="noStrike" kern="1200" cap="none" spc="0" normalizeH="0" baseline="0" noProof="0" dirty="0">
                  <a:ln>
                    <a:noFill/>
                  </a:ln>
                  <a:solidFill>
                    <a:srgbClr val="98101F"/>
                  </a:solidFill>
                  <a:effectLst/>
                  <a:uLnTx/>
                  <a:uFillTx/>
                  <a:latin typeface="Arial" panose="020B0604020202020204" pitchFamily="34" charset="0"/>
                  <a:ea typeface="+mn-ea"/>
                  <a:cs typeface="Arial" panose="020B0604020202020204" pitchFamily="34" charset="0"/>
                </a:endParaRPr>
              </a:p>
            </p:txBody>
          </p:sp>
          <p:sp>
            <p:nvSpPr>
              <p:cNvPr id="16" name="TextBox 18">
                <a:extLst>
                  <a:ext uri="{FF2B5EF4-FFF2-40B4-BE49-F238E27FC236}">
                    <a16:creationId xmlns:a16="http://schemas.microsoft.com/office/drawing/2014/main" id="{7409BE07-3736-41F5-6261-0745D58BE6A6}"/>
                  </a:ext>
                </a:extLst>
              </p:cNvPr>
              <p:cNvSpPr txBox="1"/>
              <p:nvPr/>
            </p:nvSpPr>
            <p:spPr>
              <a:xfrm>
                <a:off x="0" y="-38100"/>
                <a:ext cx="2999100" cy="906900"/>
              </a:xfrm>
              <a:prstGeom prst="rect">
                <a:avLst/>
              </a:prstGeom>
            </p:spPr>
            <p:txBody>
              <a:bodyPr lIns="33867" tIns="33867" rIns="33867" bIns="33867" rtlCol="0" anchor="ctr"/>
              <a:lstStyle/>
              <a:p>
                <a:pPr marL="0" marR="0" lvl="0" indent="0" algn="ctr" defTabSz="914377"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srgbClr val="98101F"/>
                  </a:solidFill>
                  <a:effectLst/>
                  <a:uLnTx/>
                  <a:uFillTx/>
                  <a:latin typeface="Arial" panose="020B0604020202020204" pitchFamily="34" charset="0"/>
                  <a:ea typeface="+mn-ea"/>
                  <a:cs typeface="Arial" panose="020B0604020202020204" pitchFamily="34" charset="0"/>
                </a:endParaRPr>
              </a:p>
            </p:txBody>
          </p:sp>
        </p:grpSp>
        <p:grpSp>
          <p:nvGrpSpPr>
            <p:cNvPr id="12" name="Group 19">
              <a:extLst>
                <a:ext uri="{FF2B5EF4-FFF2-40B4-BE49-F238E27FC236}">
                  <a16:creationId xmlns:a16="http://schemas.microsoft.com/office/drawing/2014/main" id="{CB4E9EC5-7CFD-9DE1-90F4-A93C577EFEBE}"/>
                </a:ext>
              </a:extLst>
            </p:cNvPr>
            <p:cNvGrpSpPr/>
            <p:nvPr/>
          </p:nvGrpSpPr>
          <p:grpSpPr>
            <a:xfrm>
              <a:off x="6875957" y="762286"/>
              <a:ext cx="1386085" cy="433982"/>
              <a:chOff x="0" y="-49314"/>
              <a:chExt cx="1013291" cy="317260"/>
            </a:xfrm>
          </p:grpSpPr>
          <p:sp>
            <p:nvSpPr>
              <p:cNvPr id="13" name="Freeform 20">
                <a:extLst>
                  <a:ext uri="{FF2B5EF4-FFF2-40B4-BE49-F238E27FC236}">
                    <a16:creationId xmlns:a16="http://schemas.microsoft.com/office/drawing/2014/main" id="{AB5336B7-FF3D-C7FA-330A-EA54565F16CC}"/>
                  </a:ext>
                </a:extLst>
              </p:cNvPr>
              <p:cNvSpPr/>
              <p:nvPr/>
            </p:nvSpPr>
            <p:spPr>
              <a:xfrm>
                <a:off x="0" y="0"/>
                <a:ext cx="1013291" cy="250585"/>
              </a:xfrm>
              <a:custGeom>
                <a:avLst/>
                <a:gdLst/>
                <a:ahLst/>
                <a:cxnLst/>
                <a:rect l="l" t="t" r="r" b="b"/>
                <a:pathLst>
                  <a:path w="1013291" h="250585">
                    <a:moveTo>
                      <a:pt x="125293" y="0"/>
                    </a:moveTo>
                    <a:lnTo>
                      <a:pt x="887999" y="0"/>
                    </a:lnTo>
                    <a:cubicBezTo>
                      <a:pt x="921228" y="0"/>
                      <a:pt x="953097" y="13200"/>
                      <a:pt x="976594" y="36697"/>
                    </a:cubicBezTo>
                    <a:cubicBezTo>
                      <a:pt x="1000091" y="60194"/>
                      <a:pt x="1013291" y="92063"/>
                      <a:pt x="1013291" y="125293"/>
                    </a:cubicBezTo>
                    <a:lnTo>
                      <a:pt x="1013291" y="125293"/>
                    </a:lnTo>
                    <a:cubicBezTo>
                      <a:pt x="1013291" y="158522"/>
                      <a:pt x="1000091" y="190391"/>
                      <a:pt x="976594" y="213888"/>
                    </a:cubicBezTo>
                    <a:cubicBezTo>
                      <a:pt x="953097" y="237385"/>
                      <a:pt x="921228" y="250585"/>
                      <a:pt x="887999" y="250585"/>
                    </a:cubicBezTo>
                    <a:lnTo>
                      <a:pt x="125293" y="250585"/>
                    </a:lnTo>
                    <a:cubicBezTo>
                      <a:pt x="92063" y="250585"/>
                      <a:pt x="60194" y="237385"/>
                      <a:pt x="36697" y="213888"/>
                    </a:cubicBezTo>
                    <a:cubicBezTo>
                      <a:pt x="13200" y="190391"/>
                      <a:pt x="0" y="158522"/>
                      <a:pt x="0" y="125293"/>
                    </a:cubicBezTo>
                    <a:lnTo>
                      <a:pt x="0" y="125293"/>
                    </a:lnTo>
                    <a:cubicBezTo>
                      <a:pt x="0" y="92063"/>
                      <a:pt x="13200" y="60194"/>
                      <a:pt x="36697" y="36697"/>
                    </a:cubicBezTo>
                    <a:cubicBezTo>
                      <a:pt x="60194" y="13200"/>
                      <a:pt x="92063" y="0"/>
                      <a:pt x="125293" y="0"/>
                    </a:cubicBezTo>
                    <a:close/>
                  </a:path>
                </a:pathLst>
              </a:custGeom>
              <a:solidFill>
                <a:schemeClr val="accent6"/>
              </a:solidFill>
              <a:ln cap="rnd">
                <a:noFill/>
                <a:prstDash val="solid"/>
                <a:rou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de-DE" sz="3200" b="0" i="0" u="none" strike="noStrike" kern="1200" cap="none" spc="0" normalizeH="0" baseline="0" noProof="0" dirty="0">
                  <a:ln>
                    <a:noFill/>
                  </a:ln>
                  <a:solidFill>
                    <a:srgbClr val="98101F"/>
                  </a:solidFill>
                  <a:effectLst/>
                  <a:uLnTx/>
                  <a:uFillTx/>
                  <a:latin typeface="Arial" panose="020B0604020202020204" pitchFamily="34" charset="0"/>
                  <a:ea typeface="+mn-ea"/>
                  <a:cs typeface="Arial" panose="020B0604020202020204" pitchFamily="34" charset="0"/>
                </a:endParaRPr>
              </a:p>
            </p:txBody>
          </p:sp>
          <p:sp>
            <p:nvSpPr>
              <p:cNvPr id="14" name="TextBox 21">
                <a:extLst>
                  <a:ext uri="{FF2B5EF4-FFF2-40B4-BE49-F238E27FC236}">
                    <a16:creationId xmlns:a16="http://schemas.microsoft.com/office/drawing/2014/main" id="{B971348B-D9E9-F74D-CAAD-2A589C56746F}"/>
                  </a:ext>
                </a:extLst>
              </p:cNvPr>
              <p:cNvSpPr txBox="1"/>
              <p:nvPr/>
            </p:nvSpPr>
            <p:spPr>
              <a:xfrm>
                <a:off x="0" y="-49314"/>
                <a:ext cx="1013291" cy="317260"/>
              </a:xfrm>
              <a:prstGeom prst="rect">
                <a:avLst/>
              </a:prstGeom>
            </p:spPr>
            <p:txBody>
              <a:bodyPr lIns="0" tIns="0" rIns="0" bIns="0" rtlCol="0" anchor="ctr"/>
              <a:lstStyle/>
              <a:p>
                <a:pPr marL="0" marR="0" lvl="0" indent="0" algn="ctr" defTabSz="914377" rtl="0" eaLnBrk="1" fontAlgn="auto" latinLnBrk="0" hangingPunct="1">
                  <a:lnSpc>
                    <a:spcPts val="2320"/>
                  </a:lnSpc>
                  <a:spcBef>
                    <a:spcPct val="0"/>
                  </a:spcBef>
                  <a:spcAft>
                    <a:spcPts val="0"/>
                  </a:spcAft>
                  <a:buClrTx/>
                  <a:buSzTx/>
                  <a:buFontTx/>
                  <a:buNone/>
                  <a:tabLst/>
                  <a:defRPr/>
                </a:pPr>
                <a:r>
                  <a:rPr kumimoji="0" lang="en-US" sz="1657" b="1"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Poppins Bold"/>
                  </a:rPr>
                  <a:t>Indication</a:t>
                </a:r>
              </a:p>
            </p:txBody>
          </p:sp>
        </p:grpSp>
      </p:grpSp>
      <p:sp>
        <p:nvSpPr>
          <p:cNvPr id="17" name="Textfeld 16">
            <a:extLst>
              <a:ext uri="{FF2B5EF4-FFF2-40B4-BE49-F238E27FC236}">
                <a16:creationId xmlns:a16="http://schemas.microsoft.com/office/drawing/2014/main" id="{C633001A-FA44-F4F3-A44F-B85DB4D8BC81}"/>
              </a:ext>
            </a:extLst>
          </p:cNvPr>
          <p:cNvSpPr txBox="1"/>
          <p:nvPr/>
        </p:nvSpPr>
        <p:spPr>
          <a:xfrm>
            <a:off x="635627" y="4715058"/>
            <a:ext cx="3926356" cy="917367"/>
          </a:xfrm>
          <a:prstGeom prst="rect">
            <a:avLst/>
          </a:prstGeom>
          <a:noFill/>
        </p:spPr>
        <p:txBody>
          <a:bodyPr wrap="square" rtlCol="0">
            <a:spAutoFit/>
          </a:bodyPr>
          <a:lstStyle/>
          <a:p>
            <a:pPr marL="228589" marR="0" lvl="0" indent="-228589"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3A70"/>
                </a:solidFill>
                <a:effectLst/>
                <a:uLnTx/>
                <a:uFillTx/>
                <a:latin typeface="Open Sans" panose="020B0606030504020204" pitchFamily="34" charset="0"/>
                <a:ea typeface="Open Sans" panose="020B0606030504020204" pitchFamily="34" charset="0"/>
                <a:cs typeface="Open Sans" panose="020B0606030504020204" pitchFamily="34" charset="0"/>
              </a:rPr>
              <a:t>Untreated</a:t>
            </a:r>
            <a:r>
              <a:rPr kumimoji="0" lang="en-US" sz="1600" b="0" i="0" u="none" strike="noStrike" kern="1200" cap="none" spc="0" normalizeH="0" baseline="0" noProof="0" dirty="0">
                <a:ln>
                  <a:noFill/>
                </a:ln>
                <a:solidFill>
                  <a:srgbClr val="003A70"/>
                </a:solidFill>
                <a:effectLst/>
                <a:uLnTx/>
                <a:uFillTx/>
                <a:latin typeface="Open Sans" panose="020B0606030504020204" pitchFamily="34" charset="0"/>
                <a:ea typeface="Open Sans" panose="020B0606030504020204" pitchFamily="34" charset="0"/>
                <a:cs typeface="Open Sans" panose="020B0606030504020204" pitchFamily="34" charset="0"/>
              </a:rPr>
              <a:t> patients &gt;60 </a:t>
            </a:r>
            <a:r>
              <a:rPr kumimoji="0" lang="en-US" sz="1600" b="0" i="0" u="none" strike="noStrike" kern="1200" cap="none" spc="0" normalizeH="0" baseline="0" noProof="0" dirty="0" err="1">
                <a:ln>
                  <a:noFill/>
                </a:ln>
                <a:solidFill>
                  <a:srgbClr val="003A70"/>
                </a:solidFill>
                <a:effectLst/>
                <a:uLnTx/>
                <a:uFillTx/>
                <a:latin typeface="Open Sans" panose="020B0606030504020204" pitchFamily="34" charset="0"/>
                <a:ea typeface="Open Sans" panose="020B0606030504020204" pitchFamily="34" charset="0"/>
                <a:cs typeface="Open Sans" panose="020B0606030504020204" pitchFamily="34" charset="0"/>
              </a:rPr>
              <a:t>yo</a:t>
            </a:r>
            <a:r>
              <a:rPr kumimoji="0" lang="en-US" sz="1600" b="0" i="0" u="none" strike="noStrike" kern="1200" cap="none" spc="0" normalizeH="0" baseline="0" noProof="0" dirty="0">
                <a:ln>
                  <a:noFill/>
                </a:ln>
                <a:solidFill>
                  <a:srgbClr val="003A70"/>
                </a:solidFill>
                <a:effectLst/>
                <a:uLnTx/>
                <a:uFillTx/>
                <a:latin typeface="Open Sans" panose="020B0606030504020204" pitchFamily="34" charset="0"/>
                <a:ea typeface="Open Sans" panose="020B0606030504020204" pitchFamily="34" charset="0"/>
                <a:cs typeface="Open Sans" panose="020B0606030504020204" pitchFamily="34" charset="0"/>
              </a:rPr>
              <a:t> with LBCL</a:t>
            </a:r>
          </a:p>
          <a:p>
            <a:pPr marL="228589" marR="0" lvl="0" indent="-228589"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A70"/>
                </a:solidFill>
                <a:effectLst/>
                <a:uLnTx/>
                <a:uFillTx/>
                <a:latin typeface="Open Sans" panose="020B0606030504020204" pitchFamily="34" charset="0"/>
                <a:ea typeface="Open Sans" panose="020B0606030504020204" pitchFamily="34" charset="0"/>
                <a:cs typeface="Open Sans" panose="020B0606030504020204" pitchFamily="34" charset="0"/>
              </a:rPr>
              <a:t>Non-eligible for full dose R-CHOP</a:t>
            </a:r>
            <a:endParaRPr kumimoji="0" lang="de-DE" sz="1600" b="0" i="0" u="none" strike="noStrike" kern="1200" cap="none" spc="0" normalizeH="0" baseline="0" noProof="0" dirty="0">
              <a:ln>
                <a:noFill/>
              </a:ln>
              <a:solidFill>
                <a:srgbClr val="003A7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9" name="Gruppieren 18">
            <a:extLst>
              <a:ext uri="{FF2B5EF4-FFF2-40B4-BE49-F238E27FC236}">
                <a16:creationId xmlns:a16="http://schemas.microsoft.com/office/drawing/2014/main" id="{70B4313C-AFDB-904B-CA9B-331B8170B16E}"/>
              </a:ext>
            </a:extLst>
          </p:cNvPr>
          <p:cNvGrpSpPr/>
          <p:nvPr/>
        </p:nvGrpSpPr>
        <p:grpSpPr>
          <a:xfrm>
            <a:off x="4572396" y="4081659"/>
            <a:ext cx="3632440" cy="1785088"/>
            <a:chOff x="6206836" y="738538"/>
            <a:chExt cx="2724330" cy="1338816"/>
          </a:xfrm>
        </p:grpSpPr>
        <p:grpSp>
          <p:nvGrpSpPr>
            <p:cNvPr id="21" name="Group 16">
              <a:extLst>
                <a:ext uri="{FF2B5EF4-FFF2-40B4-BE49-F238E27FC236}">
                  <a16:creationId xmlns:a16="http://schemas.microsoft.com/office/drawing/2014/main" id="{206374BD-7795-17C3-5B27-E7F3A406A2A7}"/>
                </a:ext>
              </a:extLst>
            </p:cNvPr>
            <p:cNvGrpSpPr/>
            <p:nvPr/>
          </p:nvGrpSpPr>
          <p:grpSpPr>
            <a:xfrm>
              <a:off x="6206836" y="1001132"/>
              <a:ext cx="2724330" cy="1076222"/>
              <a:chOff x="0" y="-38100"/>
              <a:chExt cx="2999100" cy="1057303"/>
            </a:xfrm>
          </p:grpSpPr>
          <p:sp>
            <p:nvSpPr>
              <p:cNvPr id="25" name="Freeform 17">
                <a:extLst>
                  <a:ext uri="{FF2B5EF4-FFF2-40B4-BE49-F238E27FC236}">
                    <a16:creationId xmlns:a16="http://schemas.microsoft.com/office/drawing/2014/main" id="{02211486-518F-7DA2-271C-B56DC3905AAD}"/>
                  </a:ext>
                </a:extLst>
              </p:cNvPr>
              <p:cNvSpPr/>
              <p:nvPr/>
            </p:nvSpPr>
            <p:spPr>
              <a:xfrm>
                <a:off x="0" y="0"/>
                <a:ext cx="2999100" cy="1019203"/>
              </a:xfrm>
              <a:custGeom>
                <a:avLst/>
                <a:gdLst/>
                <a:ahLst/>
                <a:cxnLst/>
                <a:rect l="l" t="t" r="r" b="b"/>
                <a:pathLst>
                  <a:path w="2999100" h="868800">
                    <a:moveTo>
                      <a:pt x="9518" y="0"/>
                    </a:moveTo>
                    <a:lnTo>
                      <a:pt x="2989581" y="0"/>
                    </a:lnTo>
                    <a:cubicBezTo>
                      <a:pt x="2992106" y="0"/>
                      <a:pt x="2994527" y="1003"/>
                      <a:pt x="2996312" y="2788"/>
                    </a:cubicBezTo>
                    <a:cubicBezTo>
                      <a:pt x="2998097" y="4573"/>
                      <a:pt x="2999100" y="6994"/>
                      <a:pt x="2999100" y="9518"/>
                    </a:cubicBezTo>
                    <a:lnTo>
                      <a:pt x="2999100" y="859282"/>
                    </a:lnTo>
                    <a:cubicBezTo>
                      <a:pt x="2999100" y="861806"/>
                      <a:pt x="2998097" y="864227"/>
                      <a:pt x="2996312" y="866012"/>
                    </a:cubicBezTo>
                    <a:cubicBezTo>
                      <a:pt x="2994527" y="867797"/>
                      <a:pt x="2992106" y="868800"/>
                      <a:pt x="2989581" y="868800"/>
                    </a:cubicBezTo>
                    <a:lnTo>
                      <a:pt x="9518" y="868800"/>
                    </a:lnTo>
                    <a:cubicBezTo>
                      <a:pt x="4261" y="868800"/>
                      <a:pt x="0" y="864538"/>
                      <a:pt x="0" y="859282"/>
                    </a:cubicBezTo>
                    <a:lnTo>
                      <a:pt x="0" y="9518"/>
                    </a:lnTo>
                    <a:cubicBezTo>
                      <a:pt x="0" y="6994"/>
                      <a:pt x="1003" y="4573"/>
                      <a:pt x="2788" y="2788"/>
                    </a:cubicBezTo>
                    <a:cubicBezTo>
                      <a:pt x="4573" y="1003"/>
                      <a:pt x="6994" y="0"/>
                      <a:pt x="9518" y="0"/>
                    </a:cubicBezTo>
                    <a:close/>
                  </a:path>
                </a:pathLst>
              </a:custGeom>
              <a:solidFill>
                <a:schemeClr val="bg1"/>
              </a:solidFill>
              <a:ln w="12700">
                <a:solidFill>
                  <a:schemeClr val="accent6"/>
                </a:solidFill>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de-DE" sz="3200" b="0" i="0" u="none" strike="noStrike" kern="1200" cap="none" spc="0" normalizeH="0" baseline="0" noProof="0" dirty="0">
                  <a:ln>
                    <a:noFill/>
                  </a:ln>
                  <a:solidFill>
                    <a:srgbClr val="98101F"/>
                  </a:solidFill>
                  <a:effectLst/>
                  <a:uLnTx/>
                  <a:uFillTx/>
                  <a:latin typeface="Arial" panose="020B0604020202020204" pitchFamily="34" charset="0"/>
                  <a:ea typeface="+mn-ea"/>
                  <a:cs typeface="Arial" panose="020B0604020202020204" pitchFamily="34" charset="0"/>
                </a:endParaRPr>
              </a:p>
            </p:txBody>
          </p:sp>
          <p:sp>
            <p:nvSpPr>
              <p:cNvPr id="26" name="TextBox 18">
                <a:extLst>
                  <a:ext uri="{FF2B5EF4-FFF2-40B4-BE49-F238E27FC236}">
                    <a16:creationId xmlns:a16="http://schemas.microsoft.com/office/drawing/2014/main" id="{614EEB41-E93B-794A-BFE7-6FC61C7D84F5}"/>
                  </a:ext>
                </a:extLst>
              </p:cNvPr>
              <p:cNvSpPr txBox="1"/>
              <p:nvPr/>
            </p:nvSpPr>
            <p:spPr>
              <a:xfrm>
                <a:off x="0" y="-38100"/>
                <a:ext cx="2999100" cy="906900"/>
              </a:xfrm>
              <a:prstGeom prst="rect">
                <a:avLst/>
              </a:prstGeom>
            </p:spPr>
            <p:txBody>
              <a:bodyPr lIns="33867" tIns="33867" rIns="33867" bIns="33867" rtlCol="0" anchor="ctr"/>
              <a:lstStyle/>
              <a:p>
                <a:pPr marL="0" marR="0" lvl="0" indent="0" algn="ctr" defTabSz="914377"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srgbClr val="98101F"/>
                  </a:solidFill>
                  <a:effectLst/>
                  <a:uLnTx/>
                  <a:uFillTx/>
                  <a:latin typeface="Arial" panose="020B0604020202020204" pitchFamily="34" charset="0"/>
                  <a:ea typeface="+mn-ea"/>
                  <a:cs typeface="Arial" panose="020B0604020202020204" pitchFamily="34" charset="0"/>
                </a:endParaRPr>
              </a:p>
            </p:txBody>
          </p:sp>
        </p:grpSp>
        <p:grpSp>
          <p:nvGrpSpPr>
            <p:cNvPr id="22" name="Group 19">
              <a:extLst>
                <a:ext uri="{FF2B5EF4-FFF2-40B4-BE49-F238E27FC236}">
                  <a16:creationId xmlns:a16="http://schemas.microsoft.com/office/drawing/2014/main" id="{55C41140-DA9A-D0C0-8717-71498813A0B1}"/>
                </a:ext>
              </a:extLst>
            </p:cNvPr>
            <p:cNvGrpSpPr/>
            <p:nvPr/>
          </p:nvGrpSpPr>
          <p:grpSpPr>
            <a:xfrm>
              <a:off x="6875957" y="738538"/>
              <a:ext cx="1386085" cy="433982"/>
              <a:chOff x="0" y="-66675"/>
              <a:chExt cx="1013291" cy="317260"/>
            </a:xfrm>
          </p:grpSpPr>
          <p:sp>
            <p:nvSpPr>
              <p:cNvPr id="23" name="Freeform 20">
                <a:extLst>
                  <a:ext uri="{FF2B5EF4-FFF2-40B4-BE49-F238E27FC236}">
                    <a16:creationId xmlns:a16="http://schemas.microsoft.com/office/drawing/2014/main" id="{A60AC53D-2141-1F2C-46FB-F137212E36B6}"/>
                  </a:ext>
                </a:extLst>
              </p:cNvPr>
              <p:cNvSpPr/>
              <p:nvPr/>
            </p:nvSpPr>
            <p:spPr>
              <a:xfrm>
                <a:off x="0" y="0"/>
                <a:ext cx="1013291" cy="250585"/>
              </a:xfrm>
              <a:custGeom>
                <a:avLst/>
                <a:gdLst/>
                <a:ahLst/>
                <a:cxnLst/>
                <a:rect l="l" t="t" r="r" b="b"/>
                <a:pathLst>
                  <a:path w="1013291" h="250585">
                    <a:moveTo>
                      <a:pt x="125293" y="0"/>
                    </a:moveTo>
                    <a:lnTo>
                      <a:pt x="887999" y="0"/>
                    </a:lnTo>
                    <a:cubicBezTo>
                      <a:pt x="921228" y="0"/>
                      <a:pt x="953097" y="13200"/>
                      <a:pt x="976594" y="36697"/>
                    </a:cubicBezTo>
                    <a:cubicBezTo>
                      <a:pt x="1000091" y="60194"/>
                      <a:pt x="1013291" y="92063"/>
                      <a:pt x="1013291" y="125293"/>
                    </a:cubicBezTo>
                    <a:lnTo>
                      <a:pt x="1013291" y="125293"/>
                    </a:lnTo>
                    <a:cubicBezTo>
                      <a:pt x="1013291" y="158522"/>
                      <a:pt x="1000091" y="190391"/>
                      <a:pt x="976594" y="213888"/>
                    </a:cubicBezTo>
                    <a:cubicBezTo>
                      <a:pt x="953097" y="237385"/>
                      <a:pt x="921228" y="250585"/>
                      <a:pt x="887999" y="250585"/>
                    </a:cubicBezTo>
                    <a:lnTo>
                      <a:pt x="125293" y="250585"/>
                    </a:lnTo>
                    <a:cubicBezTo>
                      <a:pt x="92063" y="250585"/>
                      <a:pt x="60194" y="237385"/>
                      <a:pt x="36697" y="213888"/>
                    </a:cubicBezTo>
                    <a:cubicBezTo>
                      <a:pt x="13200" y="190391"/>
                      <a:pt x="0" y="158522"/>
                      <a:pt x="0" y="125293"/>
                    </a:cubicBezTo>
                    <a:lnTo>
                      <a:pt x="0" y="125293"/>
                    </a:lnTo>
                    <a:cubicBezTo>
                      <a:pt x="0" y="92063"/>
                      <a:pt x="13200" y="60194"/>
                      <a:pt x="36697" y="36697"/>
                    </a:cubicBezTo>
                    <a:cubicBezTo>
                      <a:pt x="60194" y="13200"/>
                      <a:pt x="92063" y="0"/>
                      <a:pt x="125293" y="0"/>
                    </a:cubicBezTo>
                    <a:close/>
                  </a:path>
                </a:pathLst>
              </a:custGeom>
              <a:solidFill>
                <a:schemeClr val="accent6"/>
              </a:solidFill>
              <a:ln cap="rnd">
                <a:noFill/>
                <a:prstDash val="solid"/>
                <a:rou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de-DE" sz="3200" b="0" i="0" u="none" strike="noStrike" kern="1200" cap="none" spc="0" normalizeH="0" baseline="0" noProof="0" dirty="0">
                  <a:ln>
                    <a:noFill/>
                  </a:ln>
                  <a:solidFill>
                    <a:srgbClr val="98101F"/>
                  </a:solidFill>
                  <a:effectLst/>
                  <a:uLnTx/>
                  <a:uFillTx/>
                  <a:latin typeface="Arial" panose="020B0604020202020204" pitchFamily="34" charset="0"/>
                  <a:ea typeface="+mn-ea"/>
                  <a:cs typeface="Arial" panose="020B0604020202020204" pitchFamily="34" charset="0"/>
                </a:endParaRPr>
              </a:p>
            </p:txBody>
          </p:sp>
          <p:sp>
            <p:nvSpPr>
              <p:cNvPr id="24" name="TextBox 21">
                <a:extLst>
                  <a:ext uri="{FF2B5EF4-FFF2-40B4-BE49-F238E27FC236}">
                    <a16:creationId xmlns:a16="http://schemas.microsoft.com/office/drawing/2014/main" id="{B2432B33-E598-6C22-E7CC-EF0A3F75B27C}"/>
                  </a:ext>
                </a:extLst>
              </p:cNvPr>
              <p:cNvSpPr txBox="1"/>
              <p:nvPr/>
            </p:nvSpPr>
            <p:spPr>
              <a:xfrm>
                <a:off x="0" y="-66675"/>
                <a:ext cx="1013291" cy="317260"/>
              </a:xfrm>
              <a:prstGeom prst="rect">
                <a:avLst/>
              </a:prstGeom>
            </p:spPr>
            <p:txBody>
              <a:bodyPr lIns="0" tIns="0" rIns="0" bIns="0" rtlCol="0" anchor="ctr"/>
              <a:lstStyle/>
              <a:p>
                <a:pPr marL="0" marR="0" lvl="0" indent="0" algn="ctr" defTabSz="914377" rtl="0" eaLnBrk="1" fontAlgn="auto" latinLnBrk="0" hangingPunct="1">
                  <a:lnSpc>
                    <a:spcPts val="2320"/>
                  </a:lnSpc>
                  <a:spcBef>
                    <a:spcPct val="0"/>
                  </a:spcBef>
                  <a:spcAft>
                    <a:spcPts val="0"/>
                  </a:spcAft>
                  <a:buClrTx/>
                  <a:buSzTx/>
                  <a:buFontTx/>
                  <a:buNone/>
                  <a:tabLst/>
                  <a:defRPr/>
                </a:pPr>
                <a:r>
                  <a:rPr kumimoji="0" lang="en-US" sz="1657" b="1" i="0" u="none" strike="noStrike" kern="1200" cap="none" spc="0" normalizeH="0" baseline="0" noProof="0" dirty="0">
                    <a:ln>
                      <a:noFill/>
                    </a:ln>
                    <a:solidFill>
                      <a:srgbClr val="FFFFFF"/>
                    </a:solidFill>
                    <a:effectLst/>
                    <a:uLnTx/>
                    <a:uFillTx/>
                    <a:latin typeface="Arial" panose="020B0604020202020204" pitchFamily="34" charset="0"/>
                    <a:ea typeface="Poppins Bold"/>
                    <a:cs typeface="Arial" panose="020B0604020202020204" pitchFamily="34" charset="0"/>
                    <a:sym typeface="Poppins Bold"/>
                  </a:rPr>
                  <a:t>Study Design</a:t>
                </a:r>
              </a:p>
            </p:txBody>
          </p:sp>
        </p:grpSp>
      </p:grpSp>
      <p:sp>
        <p:nvSpPr>
          <p:cNvPr id="20" name="Textfeld 19">
            <a:extLst>
              <a:ext uri="{FF2B5EF4-FFF2-40B4-BE49-F238E27FC236}">
                <a16:creationId xmlns:a16="http://schemas.microsoft.com/office/drawing/2014/main" id="{A533E830-3346-8A86-B2C6-1A6568E98FC7}"/>
              </a:ext>
            </a:extLst>
          </p:cNvPr>
          <p:cNvSpPr txBox="1"/>
          <p:nvPr/>
        </p:nvSpPr>
        <p:spPr>
          <a:xfrm>
            <a:off x="4568844" y="4694381"/>
            <a:ext cx="3711621" cy="1198085"/>
          </a:xfrm>
          <a:prstGeom prst="rect">
            <a:avLst/>
          </a:prstGeom>
          <a:noFill/>
        </p:spPr>
        <p:txBody>
          <a:bodyPr wrap="square" rtlCol="0">
            <a:spAutoFit/>
          </a:bodyPr>
          <a:lstStyle/>
          <a:p>
            <a:pPr marL="228589" marR="0" lvl="0" indent="-228589"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A70"/>
                </a:solidFill>
                <a:effectLst/>
                <a:uLnTx/>
                <a:uFillTx/>
                <a:latin typeface="Open Sans" panose="020B0606030504020204" pitchFamily="34" charset="0"/>
                <a:ea typeface="Open Sans" panose="020B0606030504020204" pitchFamily="34" charset="0"/>
                <a:cs typeface="Open Sans" panose="020B0606030504020204" pitchFamily="34" charset="0"/>
              </a:rPr>
              <a:t>One-arm, multicenter phase II</a:t>
            </a:r>
          </a:p>
          <a:p>
            <a:pPr marL="228589" marR="0" lvl="0" indent="-228589"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A70"/>
                </a:solidFill>
                <a:effectLst/>
                <a:uLnTx/>
                <a:uFillTx/>
                <a:latin typeface="Open Sans" panose="020B0606030504020204" pitchFamily="34" charset="0"/>
                <a:ea typeface="Open Sans" panose="020B0606030504020204" pitchFamily="34" charset="0"/>
                <a:cs typeface="Open Sans" panose="020B0606030504020204" pitchFamily="34" charset="0"/>
              </a:rPr>
              <a:t>30 centers in Germany and Austria</a:t>
            </a:r>
          </a:p>
          <a:p>
            <a:pPr marL="228589" marR="0" lvl="0" indent="-228589"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3A70"/>
                </a:solidFill>
                <a:effectLst/>
                <a:uLnTx/>
                <a:uFillTx/>
                <a:latin typeface="Open Sans" panose="020B0606030504020204" pitchFamily="34" charset="0"/>
                <a:ea typeface="Open Sans" panose="020B0606030504020204" pitchFamily="34" charset="0"/>
                <a:cs typeface="Open Sans" panose="020B0606030504020204" pitchFamily="34" charset="0"/>
              </a:rPr>
              <a:t>80 pts </a:t>
            </a:r>
            <a:r>
              <a:rPr kumimoji="0" lang="en-US" sz="1600" b="0" i="0" u="none" strike="noStrike" kern="1200" cap="none" spc="0" normalizeH="0" baseline="0" noProof="0" dirty="0">
                <a:ln>
                  <a:noFill/>
                </a:ln>
                <a:solidFill>
                  <a:srgbClr val="003A70"/>
                </a:solidFill>
                <a:effectLst/>
                <a:uLnTx/>
                <a:uFillTx/>
                <a:latin typeface="Open Sans" panose="020B0606030504020204" pitchFamily="34" charset="0"/>
                <a:ea typeface="Open Sans" panose="020B0606030504020204" pitchFamily="34" charset="0"/>
                <a:cs typeface="Open Sans" panose="020B0606030504020204" pitchFamily="34" charset="0"/>
              </a:rPr>
              <a:t>(C1-6 mandatory inpatient)</a:t>
            </a:r>
          </a:p>
          <a:p>
            <a:pPr marL="228589" marR="0" lvl="0" indent="-228589"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A70"/>
                </a:solidFill>
                <a:effectLst/>
                <a:uLnTx/>
                <a:uFillTx/>
                <a:latin typeface="Open Sans" panose="020B0606030504020204" pitchFamily="34" charset="0"/>
                <a:ea typeface="Open Sans" panose="020B0606030504020204" pitchFamily="34" charset="0"/>
                <a:cs typeface="Open Sans" panose="020B0606030504020204" pitchFamily="34" charset="0"/>
              </a:rPr>
              <a:t>Mandatory prophylaxis</a:t>
            </a:r>
          </a:p>
        </p:txBody>
      </p:sp>
      <p:grpSp>
        <p:nvGrpSpPr>
          <p:cNvPr id="27" name="Gruppieren 26">
            <a:extLst>
              <a:ext uri="{FF2B5EF4-FFF2-40B4-BE49-F238E27FC236}">
                <a16:creationId xmlns:a16="http://schemas.microsoft.com/office/drawing/2014/main" id="{0ECDCC66-FA4F-E90D-ED7F-006B975669A5}"/>
              </a:ext>
            </a:extLst>
          </p:cNvPr>
          <p:cNvGrpSpPr/>
          <p:nvPr/>
        </p:nvGrpSpPr>
        <p:grpSpPr>
          <a:xfrm>
            <a:off x="8301415" y="4104178"/>
            <a:ext cx="3632440" cy="1758392"/>
            <a:chOff x="3600976" y="1758148"/>
            <a:chExt cx="2724330" cy="1318794"/>
          </a:xfrm>
        </p:grpSpPr>
        <p:grpSp>
          <p:nvGrpSpPr>
            <p:cNvPr id="28" name="Gruppieren 27">
              <a:extLst>
                <a:ext uri="{FF2B5EF4-FFF2-40B4-BE49-F238E27FC236}">
                  <a16:creationId xmlns:a16="http://schemas.microsoft.com/office/drawing/2014/main" id="{78ED9A4D-3BCC-2B90-2221-EF103A63F247}"/>
                </a:ext>
              </a:extLst>
            </p:cNvPr>
            <p:cNvGrpSpPr/>
            <p:nvPr/>
          </p:nvGrpSpPr>
          <p:grpSpPr>
            <a:xfrm>
              <a:off x="3600976" y="1758148"/>
              <a:ext cx="2724330" cy="1318794"/>
              <a:chOff x="6206836" y="818626"/>
              <a:chExt cx="2724330" cy="1318794"/>
            </a:xfrm>
          </p:grpSpPr>
          <p:grpSp>
            <p:nvGrpSpPr>
              <p:cNvPr id="30" name="Group 16">
                <a:extLst>
                  <a:ext uri="{FF2B5EF4-FFF2-40B4-BE49-F238E27FC236}">
                    <a16:creationId xmlns:a16="http://schemas.microsoft.com/office/drawing/2014/main" id="{BFB71B09-0C57-2AF0-EB8A-E93FA71CAA80}"/>
                  </a:ext>
                </a:extLst>
              </p:cNvPr>
              <p:cNvGrpSpPr/>
              <p:nvPr/>
            </p:nvGrpSpPr>
            <p:grpSpPr>
              <a:xfrm>
                <a:off x="6206836" y="1001132"/>
                <a:ext cx="2724330" cy="1136288"/>
                <a:chOff x="0" y="-38100"/>
                <a:chExt cx="2999100" cy="1116316"/>
              </a:xfrm>
            </p:grpSpPr>
            <p:sp>
              <p:nvSpPr>
                <p:cNvPr id="34" name="Freeform 17">
                  <a:extLst>
                    <a:ext uri="{FF2B5EF4-FFF2-40B4-BE49-F238E27FC236}">
                      <a16:creationId xmlns:a16="http://schemas.microsoft.com/office/drawing/2014/main" id="{59BA2ACE-85B0-364D-02FD-0AE5B83310E8}"/>
                    </a:ext>
                  </a:extLst>
                </p:cNvPr>
                <p:cNvSpPr/>
                <p:nvPr/>
              </p:nvSpPr>
              <p:spPr>
                <a:xfrm>
                  <a:off x="0" y="59010"/>
                  <a:ext cx="2999100" cy="1019206"/>
                </a:xfrm>
                <a:custGeom>
                  <a:avLst/>
                  <a:gdLst/>
                  <a:ahLst/>
                  <a:cxnLst/>
                  <a:rect l="l" t="t" r="r" b="b"/>
                  <a:pathLst>
                    <a:path w="2999100" h="868800">
                      <a:moveTo>
                        <a:pt x="9518" y="0"/>
                      </a:moveTo>
                      <a:lnTo>
                        <a:pt x="2989581" y="0"/>
                      </a:lnTo>
                      <a:cubicBezTo>
                        <a:pt x="2992106" y="0"/>
                        <a:pt x="2994527" y="1003"/>
                        <a:pt x="2996312" y="2788"/>
                      </a:cubicBezTo>
                      <a:cubicBezTo>
                        <a:pt x="2998097" y="4573"/>
                        <a:pt x="2999100" y="6994"/>
                        <a:pt x="2999100" y="9518"/>
                      </a:cubicBezTo>
                      <a:lnTo>
                        <a:pt x="2999100" y="859282"/>
                      </a:lnTo>
                      <a:cubicBezTo>
                        <a:pt x="2999100" y="861806"/>
                        <a:pt x="2998097" y="864227"/>
                        <a:pt x="2996312" y="866012"/>
                      </a:cubicBezTo>
                      <a:cubicBezTo>
                        <a:pt x="2994527" y="867797"/>
                        <a:pt x="2992106" y="868800"/>
                        <a:pt x="2989581" y="868800"/>
                      </a:cubicBezTo>
                      <a:lnTo>
                        <a:pt x="9518" y="868800"/>
                      </a:lnTo>
                      <a:cubicBezTo>
                        <a:pt x="4261" y="868800"/>
                        <a:pt x="0" y="864538"/>
                        <a:pt x="0" y="859282"/>
                      </a:cubicBezTo>
                      <a:lnTo>
                        <a:pt x="0" y="9518"/>
                      </a:lnTo>
                      <a:cubicBezTo>
                        <a:pt x="0" y="6994"/>
                        <a:pt x="1003" y="4573"/>
                        <a:pt x="2788" y="2788"/>
                      </a:cubicBezTo>
                      <a:cubicBezTo>
                        <a:pt x="4573" y="1003"/>
                        <a:pt x="6994" y="0"/>
                        <a:pt x="9518" y="0"/>
                      </a:cubicBezTo>
                      <a:close/>
                    </a:path>
                  </a:pathLst>
                </a:custGeom>
                <a:solidFill>
                  <a:schemeClr val="bg1"/>
                </a:solidFill>
                <a:ln w="12700">
                  <a:solidFill>
                    <a:schemeClr val="accent6"/>
                  </a:solidFill>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de-DE" sz="3200" b="0" i="0" u="none" strike="noStrike" kern="1200" cap="none" spc="0" normalizeH="0" baseline="0" noProof="0" dirty="0">
                    <a:ln>
                      <a:noFill/>
                    </a:ln>
                    <a:solidFill>
                      <a:srgbClr val="98101F"/>
                    </a:solidFill>
                    <a:effectLst/>
                    <a:uLnTx/>
                    <a:uFillTx/>
                    <a:latin typeface="Arial" panose="020B0604020202020204" pitchFamily="34" charset="0"/>
                    <a:ea typeface="+mn-ea"/>
                    <a:cs typeface="Arial" panose="020B0604020202020204" pitchFamily="34" charset="0"/>
                  </a:endParaRPr>
                </a:p>
              </p:txBody>
            </p:sp>
            <p:sp>
              <p:nvSpPr>
                <p:cNvPr id="35" name="TextBox 18">
                  <a:extLst>
                    <a:ext uri="{FF2B5EF4-FFF2-40B4-BE49-F238E27FC236}">
                      <a16:creationId xmlns:a16="http://schemas.microsoft.com/office/drawing/2014/main" id="{DF6A7B65-0FE3-534C-C8A5-C8A6E761D4B2}"/>
                    </a:ext>
                  </a:extLst>
                </p:cNvPr>
                <p:cNvSpPr txBox="1"/>
                <p:nvPr/>
              </p:nvSpPr>
              <p:spPr>
                <a:xfrm>
                  <a:off x="0" y="-38100"/>
                  <a:ext cx="2999100" cy="906900"/>
                </a:xfrm>
                <a:prstGeom prst="rect">
                  <a:avLst/>
                </a:prstGeom>
              </p:spPr>
              <p:txBody>
                <a:bodyPr lIns="33867" tIns="33867" rIns="33867" bIns="33867" rtlCol="0" anchor="ctr"/>
                <a:lstStyle/>
                <a:p>
                  <a:pPr marL="0" marR="0" lvl="0" indent="0" algn="ctr" defTabSz="914377"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srgbClr val="98101F"/>
                    </a:solidFill>
                    <a:effectLst/>
                    <a:uLnTx/>
                    <a:uFillTx/>
                    <a:latin typeface="Arial" panose="020B0604020202020204" pitchFamily="34" charset="0"/>
                    <a:ea typeface="+mn-ea"/>
                    <a:cs typeface="Arial" panose="020B0604020202020204" pitchFamily="34" charset="0"/>
                  </a:endParaRPr>
                </a:p>
              </p:txBody>
            </p:sp>
          </p:grpSp>
          <p:grpSp>
            <p:nvGrpSpPr>
              <p:cNvPr id="31" name="Group 19">
                <a:extLst>
                  <a:ext uri="{FF2B5EF4-FFF2-40B4-BE49-F238E27FC236}">
                    <a16:creationId xmlns:a16="http://schemas.microsoft.com/office/drawing/2014/main" id="{490A149A-A137-F4A6-756D-92D122178F20}"/>
                  </a:ext>
                </a:extLst>
              </p:cNvPr>
              <p:cNvGrpSpPr/>
              <p:nvPr/>
            </p:nvGrpSpPr>
            <p:grpSpPr>
              <a:xfrm>
                <a:off x="6875957" y="818626"/>
                <a:ext cx="1386085" cy="433982"/>
                <a:chOff x="0" y="-8127"/>
                <a:chExt cx="1013291" cy="317260"/>
              </a:xfrm>
            </p:grpSpPr>
            <p:sp>
              <p:nvSpPr>
                <p:cNvPr id="32" name="Freeform 20">
                  <a:extLst>
                    <a:ext uri="{FF2B5EF4-FFF2-40B4-BE49-F238E27FC236}">
                      <a16:creationId xmlns:a16="http://schemas.microsoft.com/office/drawing/2014/main" id="{8E2CDE70-61E7-DB6D-D0EB-D0A1C2C96800}"/>
                    </a:ext>
                  </a:extLst>
                </p:cNvPr>
                <p:cNvSpPr/>
                <p:nvPr/>
              </p:nvSpPr>
              <p:spPr>
                <a:xfrm>
                  <a:off x="0" y="43911"/>
                  <a:ext cx="1013291" cy="250585"/>
                </a:xfrm>
                <a:custGeom>
                  <a:avLst/>
                  <a:gdLst/>
                  <a:ahLst/>
                  <a:cxnLst/>
                  <a:rect l="l" t="t" r="r" b="b"/>
                  <a:pathLst>
                    <a:path w="1013291" h="250585">
                      <a:moveTo>
                        <a:pt x="125293" y="0"/>
                      </a:moveTo>
                      <a:lnTo>
                        <a:pt x="887999" y="0"/>
                      </a:lnTo>
                      <a:cubicBezTo>
                        <a:pt x="921228" y="0"/>
                        <a:pt x="953097" y="13200"/>
                        <a:pt x="976594" y="36697"/>
                      </a:cubicBezTo>
                      <a:cubicBezTo>
                        <a:pt x="1000091" y="60194"/>
                        <a:pt x="1013291" y="92063"/>
                        <a:pt x="1013291" y="125293"/>
                      </a:cubicBezTo>
                      <a:lnTo>
                        <a:pt x="1013291" y="125293"/>
                      </a:lnTo>
                      <a:cubicBezTo>
                        <a:pt x="1013291" y="158522"/>
                        <a:pt x="1000091" y="190391"/>
                        <a:pt x="976594" y="213888"/>
                      </a:cubicBezTo>
                      <a:cubicBezTo>
                        <a:pt x="953097" y="237385"/>
                        <a:pt x="921228" y="250585"/>
                        <a:pt x="887999" y="250585"/>
                      </a:cubicBezTo>
                      <a:lnTo>
                        <a:pt x="125293" y="250585"/>
                      </a:lnTo>
                      <a:cubicBezTo>
                        <a:pt x="92063" y="250585"/>
                        <a:pt x="60194" y="237385"/>
                        <a:pt x="36697" y="213888"/>
                      </a:cubicBezTo>
                      <a:cubicBezTo>
                        <a:pt x="13200" y="190391"/>
                        <a:pt x="0" y="158522"/>
                        <a:pt x="0" y="125293"/>
                      </a:cubicBezTo>
                      <a:lnTo>
                        <a:pt x="0" y="125293"/>
                      </a:lnTo>
                      <a:cubicBezTo>
                        <a:pt x="0" y="92063"/>
                        <a:pt x="13200" y="60194"/>
                        <a:pt x="36697" y="36697"/>
                      </a:cubicBezTo>
                      <a:cubicBezTo>
                        <a:pt x="60194" y="13200"/>
                        <a:pt x="92063" y="0"/>
                        <a:pt x="125293" y="0"/>
                      </a:cubicBezTo>
                      <a:close/>
                    </a:path>
                  </a:pathLst>
                </a:custGeom>
                <a:solidFill>
                  <a:schemeClr val="accent6"/>
                </a:solidFill>
                <a:ln cap="rnd">
                  <a:noFill/>
                  <a:prstDash val="solid"/>
                  <a:rou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de-DE" sz="3200" b="0" i="0" u="none" strike="noStrike" kern="1200" cap="none" spc="0" normalizeH="0" baseline="0" noProof="0" dirty="0">
                    <a:ln>
                      <a:noFill/>
                    </a:ln>
                    <a:solidFill>
                      <a:srgbClr val="98101F"/>
                    </a:solidFill>
                    <a:effectLst/>
                    <a:uLnTx/>
                    <a:uFillTx/>
                    <a:latin typeface="Arial" panose="020B0604020202020204" pitchFamily="34" charset="0"/>
                    <a:ea typeface="+mn-ea"/>
                    <a:cs typeface="Arial" panose="020B0604020202020204" pitchFamily="34" charset="0"/>
                  </a:endParaRPr>
                </a:p>
              </p:txBody>
            </p:sp>
            <p:sp>
              <p:nvSpPr>
                <p:cNvPr id="33" name="TextBox 21">
                  <a:extLst>
                    <a:ext uri="{FF2B5EF4-FFF2-40B4-BE49-F238E27FC236}">
                      <a16:creationId xmlns:a16="http://schemas.microsoft.com/office/drawing/2014/main" id="{9AFD6EA8-7D7A-C340-D634-BDAF5F57951E}"/>
                    </a:ext>
                  </a:extLst>
                </p:cNvPr>
                <p:cNvSpPr txBox="1"/>
                <p:nvPr/>
              </p:nvSpPr>
              <p:spPr>
                <a:xfrm>
                  <a:off x="0" y="-8127"/>
                  <a:ext cx="1013291" cy="317260"/>
                </a:xfrm>
                <a:prstGeom prst="rect">
                  <a:avLst/>
                </a:prstGeom>
              </p:spPr>
              <p:txBody>
                <a:bodyPr lIns="0" tIns="0" rIns="0" bIns="0" rtlCol="0" anchor="ctr"/>
                <a:lstStyle/>
                <a:p>
                  <a:pPr marL="0" marR="0" lvl="0" indent="0" algn="ctr" defTabSz="914377" rtl="0" eaLnBrk="1" fontAlgn="auto" latinLnBrk="0" hangingPunct="1">
                    <a:lnSpc>
                      <a:spcPts val="2320"/>
                    </a:lnSpc>
                    <a:spcBef>
                      <a:spcPct val="0"/>
                    </a:spcBef>
                    <a:spcAft>
                      <a:spcPts val="0"/>
                    </a:spcAft>
                    <a:buClrTx/>
                    <a:buSzTx/>
                    <a:buFontTx/>
                    <a:buNone/>
                    <a:tabLst/>
                    <a:defRPr/>
                  </a:pPr>
                  <a:r>
                    <a:rPr kumimoji="0" lang="en-US" sz="1657" b="1"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Poppins Bold"/>
                    </a:rPr>
                    <a:t>Endpoints</a:t>
                  </a:r>
                </a:p>
              </p:txBody>
            </p:sp>
          </p:grpSp>
        </p:grpSp>
        <p:sp>
          <p:nvSpPr>
            <p:cNvPr id="29" name="Textfeld 28">
              <a:extLst>
                <a:ext uri="{FF2B5EF4-FFF2-40B4-BE49-F238E27FC236}">
                  <a16:creationId xmlns:a16="http://schemas.microsoft.com/office/drawing/2014/main" id="{19C12FF6-E193-1A9E-8CB4-146FAF59036B}"/>
                </a:ext>
              </a:extLst>
            </p:cNvPr>
            <p:cNvSpPr txBox="1"/>
            <p:nvPr/>
          </p:nvSpPr>
          <p:spPr>
            <a:xfrm>
              <a:off x="3685927" y="2125614"/>
              <a:ext cx="2542967" cy="898564"/>
            </a:xfrm>
            <a:prstGeom prst="rect">
              <a:avLst/>
            </a:prstGeom>
            <a:noFill/>
          </p:spPr>
          <p:txBody>
            <a:bodyPr wrap="square" rtlCol="0">
              <a:spAutoFit/>
            </a:bodyPr>
            <a:lstStyle/>
            <a:p>
              <a:pPr marL="228589" marR="0" lvl="0" indent="-228589"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kumimoji="0" lang="en-US" sz="1600" b="0" i="1" u="none" strike="noStrike" kern="1200" cap="none" spc="0" normalizeH="0" baseline="0" noProof="0" dirty="0">
                  <a:ln>
                    <a:noFill/>
                  </a:ln>
                  <a:solidFill>
                    <a:srgbClr val="003A70"/>
                  </a:solidFill>
                  <a:effectLst/>
                  <a:uLnTx/>
                  <a:uFillTx/>
                  <a:latin typeface="Open Sans" panose="020B0606030504020204" pitchFamily="34" charset="0"/>
                  <a:ea typeface="Open Sans" panose="020B0606030504020204" pitchFamily="34" charset="0"/>
                  <a:cs typeface="Open Sans" panose="020B0606030504020204" pitchFamily="34" charset="0"/>
                </a:rPr>
                <a:t>Primary: </a:t>
              </a:r>
              <a:r>
                <a:rPr kumimoji="0" lang="en-US" sz="1600" b="1" i="0" u="none" strike="noStrike" kern="1200" cap="none" spc="0" normalizeH="0" baseline="0" noProof="0" dirty="0">
                  <a:ln>
                    <a:noFill/>
                  </a:ln>
                  <a:solidFill>
                    <a:srgbClr val="003A70"/>
                  </a:solidFill>
                  <a:effectLst/>
                  <a:uLnTx/>
                  <a:uFillTx/>
                  <a:latin typeface="Open Sans" panose="020B0606030504020204" pitchFamily="34" charset="0"/>
                  <a:ea typeface="Open Sans" panose="020B0606030504020204" pitchFamily="34" charset="0"/>
                  <a:cs typeface="Open Sans" panose="020B0606030504020204" pitchFamily="34" charset="0"/>
                </a:rPr>
                <a:t>1y-PFS rate</a:t>
              </a:r>
            </a:p>
            <a:p>
              <a:pPr marL="228589" marR="0" lvl="0" indent="-228589"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kumimoji="0" lang="en-US" sz="1600" b="0" i="1" u="none" strike="noStrike" kern="1200" cap="none" spc="0" normalizeH="0" baseline="0" noProof="0" dirty="0">
                  <a:ln>
                    <a:noFill/>
                  </a:ln>
                  <a:solidFill>
                    <a:srgbClr val="003A70"/>
                  </a:solidFill>
                  <a:effectLst/>
                  <a:uLnTx/>
                  <a:uFillTx/>
                  <a:latin typeface="Open Sans" panose="020B0606030504020204" pitchFamily="34" charset="0"/>
                  <a:ea typeface="Open Sans" panose="020B0606030504020204" pitchFamily="34" charset="0"/>
                  <a:cs typeface="Open Sans" panose="020B0606030504020204" pitchFamily="34" charset="0"/>
                </a:rPr>
                <a:t>Secondary:</a:t>
              </a:r>
            </a:p>
            <a:p>
              <a:pPr marL="838158" marR="0" lvl="1" indent="-228589"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A70"/>
                  </a:solidFill>
                  <a:effectLst/>
                  <a:uLnTx/>
                  <a:uFillTx/>
                  <a:latin typeface="Open Sans" panose="020B0606030504020204" pitchFamily="34" charset="0"/>
                  <a:ea typeface="Open Sans" panose="020B0606030504020204" pitchFamily="34" charset="0"/>
                  <a:cs typeface="Open Sans" panose="020B0606030504020204" pitchFamily="34" charset="0"/>
                </a:rPr>
                <a:t>Efficacy (OS, EFS)</a:t>
              </a:r>
            </a:p>
            <a:p>
              <a:pPr marL="838158" marR="0" lvl="1" indent="-228589"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A70"/>
                  </a:solidFill>
                  <a:effectLst/>
                  <a:uLnTx/>
                  <a:uFillTx/>
                  <a:latin typeface="Open Sans" panose="020B0606030504020204" pitchFamily="34" charset="0"/>
                  <a:ea typeface="Open Sans" panose="020B0606030504020204" pitchFamily="34" charset="0"/>
                  <a:cs typeface="Open Sans" panose="020B0606030504020204" pitchFamily="34" charset="0"/>
                </a:rPr>
                <a:t>Feasibility/Toxicity</a:t>
              </a:r>
            </a:p>
          </p:txBody>
        </p:sp>
      </p:grpSp>
      <p:grpSp>
        <p:nvGrpSpPr>
          <p:cNvPr id="18" name="Gruppieren 17">
            <a:extLst>
              <a:ext uri="{FF2B5EF4-FFF2-40B4-BE49-F238E27FC236}">
                <a16:creationId xmlns:a16="http://schemas.microsoft.com/office/drawing/2014/main" id="{39800B82-76DD-651B-C26F-C44079C5AC45}"/>
              </a:ext>
            </a:extLst>
          </p:cNvPr>
          <p:cNvGrpSpPr/>
          <p:nvPr/>
        </p:nvGrpSpPr>
        <p:grpSpPr>
          <a:xfrm>
            <a:off x="1009768" y="662923"/>
            <a:ext cx="9863795" cy="3274887"/>
            <a:chOff x="618407" y="548372"/>
            <a:chExt cx="7397846" cy="2908696"/>
          </a:xfrm>
        </p:grpSpPr>
        <p:cxnSp>
          <p:nvCxnSpPr>
            <p:cNvPr id="72" name="Gerade Verbindung mit Pfeil 71">
              <a:extLst>
                <a:ext uri="{FF2B5EF4-FFF2-40B4-BE49-F238E27FC236}">
                  <a16:creationId xmlns:a16="http://schemas.microsoft.com/office/drawing/2014/main" id="{E0BE12A1-228D-9326-8F79-4EEF1DFCBEA5}"/>
                </a:ext>
              </a:extLst>
            </p:cNvPr>
            <p:cNvCxnSpPr>
              <a:cxnSpLocks/>
            </p:cNvCxnSpPr>
            <p:nvPr/>
          </p:nvCxnSpPr>
          <p:spPr>
            <a:xfrm>
              <a:off x="5295436" y="1314614"/>
              <a:ext cx="63" cy="34113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98CC80AA-988E-BB58-4AED-5A7CA662B1CC}"/>
                </a:ext>
              </a:extLst>
            </p:cNvPr>
            <p:cNvSpPr txBox="1"/>
            <p:nvPr/>
          </p:nvSpPr>
          <p:spPr>
            <a:xfrm>
              <a:off x="1282882" y="3076648"/>
              <a:ext cx="1512786" cy="37353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2133" b="1" i="0" u="none" strike="noStrike" kern="1200" cap="none" spc="0" normalizeH="0" baseline="0" noProof="0" dirty="0" err="1">
                  <a:ln>
                    <a:noFill/>
                  </a:ln>
                  <a:solidFill>
                    <a:srgbClr val="003A70"/>
                  </a:solidFill>
                  <a:effectLst/>
                  <a:uLnTx/>
                  <a:uFillTx/>
                  <a:latin typeface="Open Sans" panose="020B0606030504020204" pitchFamily="34" charset="0"/>
                  <a:ea typeface="Open Sans" panose="020B0606030504020204" pitchFamily="34" charset="0"/>
                  <a:cs typeface="Open Sans" panose="020B0606030504020204" pitchFamily="34" charset="0"/>
                </a:rPr>
                <a:t>Debulking</a:t>
              </a:r>
              <a:endParaRPr kumimoji="0" lang="de-DE" sz="2133" b="1" i="0" u="none" strike="noStrike" kern="1200" cap="none" spc="0" normalizeH="0" baseline="0" noProof="0" dirty="0">
                <a:ln>
                  <a:noFill/>
                </a:ln>
                <a:solidFill>
                  <a:srgbClr val="003A7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2" name="Textfeld 41">
              <a:extLst>
                <a:ext uri="{FF2B5EF4-FFF2-40B4-BE49-F238E27FC236}">
                  <a16:creationId xmlns:a16="http://schemas.microsoft.com/office/drawing/2014/main" id="{5EB525A3-134D-AA21-2A88-95FC15CF9B54}"/>
                </a:ext>
              </a:extLst>
            </p:cNvPr>
            <p:cNvSpPr txBox="1"/>
            <p:nvPr/>
          </p:nvSpPr>
          <p:spPr>
            <a:xfrm>
              <a:off x="3092414" y="3083530"/>
              <a:ext cx="1195955" cy="37353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2133" b="1" i="0" u="none" strike="noStrike" kern="1200" cap="none" spc="0" normalizeH="0" baseline="0" noProof="0" dirty="0" err="1">
                  <a:ln>
                    <a:noFill/>
                  </a:ln>
                  <a:solidFill>
                    <a:srgbClr val="003A70"/>
                  </a:solidFill>
                  <a:effectLst/>
                  <a:uLnTx/>
                  <a:uFillTx/>
                  <a:latin typeface="Open Sans" panose="020B0606030504020204" pitchFamily="34" charset="0"/>
                  <a:ea typeface="Open Sans" panose="020B0606030504020204" pitchFamily="34" charset="0"/>
                  <a:cs typeface="Open Sans" panose="020B0606030504020204" pitchFamily="34" charset="0"/>
                </a:rPr>
                <a:t>Step-up</a:t>
              </a:r>
              <a:endParaRPr kumimoji="0" lang="de-DE" sz="2133" b="1" i="0" u="none" strike="noStrike" kern="1200" cap="none" spc="0" normalizeH="0" baseline="0" noProof="0" dirty="0">
                <a:ln>
                  <a:noFill/>
                </a:ln>
                <a:solidFill>
                  <a:srgbClr val="003A7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3" name="Textfeld 42">
              <a:extLst>
                <a:ext uri="{FF2B5EF4-FFF2-40B4-BE49-F238E27FC236}">
                  <a16:creationId xmlns:a16="http://schemas.microsoft.com/office/drawing/2014/main" id="{064C6526-D06E-6F33-189C-D1A177191A21}"/>
                </a:ext>
              </a:extLst>
            </p:cNvPr>
            <p:cNvSpPr txBox="1"/>
            <p:nvPr/>
          </p:nvSpPr>
          <p:spPr>
            <a:xfrm>
              <a:off x="4740026" y="3074317"/>
              <a:ext cx="1512786" cy="37353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2133" b="1" i="0" u="none" strike="noStrike" kern="1200" cap="none" spc="0" normalizeH="0" baseline="0" noProof="0" dirty="0">
                  <a:ln>
                    <a:noFill/>
                  </a:ln>
                  <a:solidFill>
                    <a:srgbClr val="003A70"/>
                  </a:solidFill>
                  <a:effectLst/>
                  <a:uLnTx/>
                  <a:uFillTx/>
                  <a:latin typeface="Open Sans" panose="020B0606030504020204" pitchFamily="34" charset="0"/>
                  <a:ea typeface="Open Sans" panose="020B0606030504020204" pitchFamily="34" charset="0"/>
                  <a:cs typeface="Open Sans" panose="020B0606030504020204" pitchFamily="34" charset="0"/>
                </a:rPr>
                <a:t>Target dose </a:t>
              </a:r>
            </a:p>
          </p:txBody>
        </p:sp>
        <p:sp>
          <p:nvSpPr>
            <p:cNvPr id="44" name="Textfeld 43">
              <a:extLst>
                <a:ext uri="{FF2B5EF4-FFF2-40B4-BE49-F238E27FC236}">
                  <a16:creationId xmlns:a16="http://schemas.microsoft.com/office/drawing/2014/main" id="{09D03179-1F55-B955-7CC9-E07694F8E810}"/>
                </a:ext>
              </a:extLst>
            </p:cNvPr>
            <p:cNvSpPr txBox="1"/>
            <p:nvPr/>
          </p:nvSpPr>
          <p:spPr>
            <a:xfrm>
              <a:off x="6356432" y="3083531"/>
              <a:ext cx="1659821" cy="37353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2133" b="1" i="0" u="none" strike="noStrike" kern="1200" cap="none" spc="0" normalizeH="0" baseline="0" noProof="0" dirty="0">
                  <a:ln>
                    <a:noFill/>
                  </a:ln>
                  <a:solidFill>
                    <a:srgbClr val="003A70"/>
                  </a:solidFill>
                  <a:effectLst/>
                  <a:uLnTx/>
                  <a:uFillTx/>
                  <a:latin typeface="Open Sans" panose="020B0606030504020204" pitchFamily="34" charset="0"/>
                  <a:ea typeface="Open Sans" panose="020B0606030504020204" pitchFamily="34" charset="0"/>
                  <a:cs typeface="Open Sans" panose="020B0606030504020204" pitchFamily="34" charset="0"/>
                </a:rPr>
                <a:t>Consolidation</a:t>
              </a:r>
            </a:p>
          </p:txBody>
        </p:sp>
        <p:graphicFrame>
          <p:nvGraphicFramePr>
            <p:cNvPr id="49" name="Diagramm 48">
              <a:extLst>
                <a:ext uri="{FF2B5EF4-FFF2-40B4-BE49-F238E27FC236}">
                  <a16:creationId xmlns:a16="http://schemas.microsoft.com/office/drawing/2014/main" id="{78CEC855-B6D8-EE69-4380-9D0B120B9D8C}"/>
                </a:ext>
              </a:extLst>
            </p:cNvPr>
            <p:cNvGraphicFramePr/>
            <p:nvPr/>
          </p:nvGraphicFramePr>
          <p:xfrm>
            <a:off x="1310198" y="2590239"/>
            <a:ext cx="6449171" cy="4140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1" name="Rechteck 50">
              <a:extLst>
                <a:ext uri="{FF2B5EF4-FFF2-40B4-BE49-F238E27FC236}">
                  <a16:creationId xmlns:a16="http://schemas.microsoft.com/office/drawing/2014/main" id="{AAE3A1FE-08CD-64BC-735A-E2BACF19C21E}"/>
                </a:ext>
              </a:extLst>
            </p:cNvPr>
            <p:cNvSpPr/>
            <p:nvPr/>
          </p:nvSpPr>
          <p:spPr>
            <a:xfrm>
              <a:off x="3307627" y="2158460"/>
              <a:ext cx="228359" cy="4168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3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2" name="Rechteck 51">
              <a:extLst>
                <a:ext uri="{FF2B5EF4-FFF2-40B4-BE49-F238E27FC236}">
                  <a16:creationId xmlns:a16="http://schemas.microsoft.com/office/drawing/2014/main" id="{BEDDFC31-858D-BC97-2311-9993A0B39928}"/>
                </a:ext>
              </a:extLst>
            </p:cNvPr>
            <p:cNvSpPr/>
            <p:nvPr/>
          </p:nvSpPr>
          <p:spPr>
            <a:xfrm>
              <a:off x="3663643" y="2229647"/>
              <a:ext cx="207637" cy="353701"/>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3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3" name="Rechteck 52">
              <a:extLst>
                <a:ext uri="{FF2B5EF4-FFF2-40B4-BE49-F238E27FC236}">
                  <a16:creationId xmlns:a16="http://schemas.microsoft.com/office/drawing/2014/main" id="{D0F03272-7AB8-4AE9-3247-370AC255D393}"/>
                </a:ext>
              </a:extLst>
            </p:cNvPr>
            <p:cNvSpPr/>
            <p:nvPr/>
          </p:nvSpPr>
          <p:spPr>
            <a:xfrm>
              <a:off x="4038949" y="2083729"/>
              <a:ext cx="188232" cy="499619"/>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3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5" name="Rechteck 54">
              <a:extLst>
                <a:ext uri="{FF2B5EF4-FFF2-40B4-BE49-F238E27FC236}">
                  <a16:creationId xmlns:a16="http://schemas.microsoft.com/office/drawing/2014/main" id="{45F55B58-18C3-DAFD-ACB9-BC20899E985E}"/>
                </a:ext>
              </a:extLst>
            </p:cNvPr>
            <p:cNvSpPr/>
            <p:nvPr/>
          </p:nvSpPr>
          <p:spPr>
            <a:xfrm>
              <a:off x="5122798" y="1734681"/>
              <a:ext cx="188232" cy="84809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3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7" name="Rechteck 56">
              <a:extLst>
                <a:ext uri="{FF2B5EF4-FFF2-40B4-BE49-F238E27FC236}">
                  <a16:creationId xmlns:a16="http://schemas.microsoft.com/office/drawing/2014/main" id="{71967E1D-CF12-5FCE-5FF8-F90732E63221}"/>
                </a:ext>
              </a:extLst>
            </p:cNvPr>
            <p:cNvSpPr/>
            <p:nvPr/>
          </p:nvSpPr>
          <p:spPr>
            <a:xfrm>
              <a:off x="6648678" y="1727551"/>
              <a:ext cx="188232" cy="85089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3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9" name="Textfeld 58">
              <a:extLst>
                <a:ext uri="{FF2B5EF4-FFF2-40B4-BE49-F238E27FC236}">
                  <a16:creationId xmlns:a16="http://schemas.microsoft.com/office/drawing/2014/main" id="{BEA599C7-3CB2-23C6-67C7-22C01CBFF06E}"/>
                </a:ext>
              </a:extLst>
            </p:cNvPr>
            <p:cNvSpPr txBox="1"/>
            <p:nvPr/>
          </p:nvSpPr>
          <p:spPr>
            <a:xfrm rot="16200000">
              <a:off x="3086069" y="2149504"/>
              <a:ext cx="676512" cy="23857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1467"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ola</a:t>
              </a:r>
            </a:p>
          </p:txBody>
        </p:sp>
        <p:sp>
          <p:nvSpPr>
            <p:cNvPr id="60" name="Textfeld 59">
              <a:extLst>
                <a:ext uri="{FF2B5EF4-FFF2-40B4-BE49-F238E27FC236}">
                  <a16:creationId xmlns:a16="http://schemas.microsoft.com/office/drawing/2014/main" id="{8BCAA724-01A1-712A-5C7A-4CB16B6B50CB}"/>
                </a:ext>
              </a:extLst>
            </p:cNvPr>
            <p:cNvSpPr txBox="1"/>
            <p:nvPr/>
          </p:nvSpPr>
          <p:spPr>
            <a:xfrm rot="16200000">
              <a:off x="3486683" y="2234956"/>
              <a:ext cx="546580" cy="25391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Glo</a:t>
              </a:r>
              <a:endParaRPr kumimoji="0" 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1" name="Textfeld 60">
              <a:extLst>
                <a:ext uri="{FF2B5EF4-FFF2-40B4-BE49-F238E27FC236}">
                  <a16:creationId xmlns:a16="http://schemas.microsoft.com/office/drawing/2014/main" id="{793BB98C-622C-027A-E060-863DDFCD574B}"/>
                </a:ext>
              </a:extLst>
            </p:cNvPr>
            <p:cNvSpPr txBox="1"/>
            <p:nvPr/>
          </p:nvSpPr>
          <p:spPr>
            <a:xfrm rot="16200000">
              <a:off x="3855026" y="2230381"/>
              <a:ext cx="546580" cy="25391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Glo</a:t>
              </a:r>
              <a:endParaRPr kumimoji="0" 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4" name="Textfeld 63">
              <a:extLst>
                <a:ext uri="{FF2B5EF4-FFF2-40B4-BE49-F238E27FC236}">
                  <a16:creationId xmlns:a16="http://schemas.microsoft.com/office/drawing/2014/main" id="{9C5E0629-2F16-9B10-7894-A47388806CFB}"/>
                </a:ext>
              </a:extLst>
            </p:cNvPr>
            <p:cNvSpPr txBox="1"/>
            <p:nvPr/>
          </p:nvSpPr>
          <p:spPr>
            <a:xfrm rot="16200000">
              <a:off x="6459567" y="2074919"/>
              <a:ext cx="546580" cy="25391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Glo</a:t>
              </a:r>
              <a:endParaRPr kumimoji="0" 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5" name="Textfeld 64">
              <a:extLst>
                <a:ext uri="{FF2B5EF4-FFF2-40B4-BE49-F238E27FC236}">
                  <a16:creationId xmlns:a16="http://schemas.microsoft.com/office/drawing/2014/main" id="{901B9222-689A-AD08-3A28-820CE363DB30}"/>
                </a:ext>
              </a:extLst>
            </p:cNvPr>
            <p:cNvSpPr txBox="1"/>
            <p:nvPr/>
          </p:nvSpPr>
          <p:spPr>
            <a:xfrm rot="16200000">
              <a:off x="4943436" y="2095296"/>
              <a:ext cx="546580" cy="25391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Glo</a:t>
              </a:r>
              <a:endParaRPr kumimoji="0" 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66" name="Gerade Verbindung mit Pfeil 65">
              <a:extLst>
                <a:ext uri="{FF2B5EF4-FFF2-40B4-BE49-F238E27FC236}">
                  <a16:creationId xmlns:a16="http://schemas.microsoft.com/office/drawing/2014/main" id="{3D56458D-CF0F-3878-538A-AF963C280F1C}"/>
                </a:ext>
              </a:extLst>
            </p:cNvPr>
            <p:cNvCxnSpPr>
              <a:cxnSpLocks/>
            </p:cNvCxnSpPr>
            <p:nvPr/>
          </p:nvCxnSpPr>
          <p:spPr>
            <a:xfrm>
              <a:off x="1297159" y="1806854"/>
              <a:ext cx="0" cy="80512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9" name="Textfeld 68">
              <a:extLst>
                <a:ext uri="{FF2B5EF4-FFF2-40B4-BE49-F238E27FC236}">
                  <a16:creationId xmlns:a16="http://schemas.microsoft.com/office/drawing/2014/main" id="{EDA4A9CC-CE5D-246A-3C3E-E3F992EA5270}"/>
                </a:ext>
              </a:extLst>
            </p:cNvPr>
            <p:cNvSpPr txBox="1"/>
            <p:nvPr/>
          </p:nvSpPr>
          <p:spPr>
            <a:xfrm>
              <a:off x="5090824" y="1200750"/>
              <a:ext cx="456399" cy="300698"/>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2</a:t>
              </a:r>
            </a:p>
          </p:txBody>
        </p:sp>
        <p:cxnSp>
          <p:nvCxnSpPr>
            <p:cNvPr id="73" name="Gerade Verbindung mit Pfeil 72">
              <a:extLst>
                <a:ext uri="{FF2B5EF4-FFF2-40B4-BE49-F238E27FC236}">
                  <a16:creationId xmlns:a16="http://schemas.microsoft.com/office/drawing/2014/main" id="{056E6EC7-0AB1-26D8-53B1-3F9A7459AF31}"/>
                </a:ext>
              </a:extLst>
            </p:cNvPr>
            <p:cNvCxnSpPr>
              <a:cxnSpLocks/>
            </p:cNvCxnSpPr>
            <p:nvPr/>
          </p:nvCxnSpPr>
          <p:spPr>
            <a:xfrm flipH="1">
              <a:off x="5848737" y="1280023"/>
              <a:ext cx="855" cy="382417"/>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74" name="Gerade Verbindung mit Pfeil 73">
              <a:extLst>
                <a:ext uri="{FF2B5EF4-FFF2-40B4-BE49-F238E27FC236}">
                  <a16:creationId xmlns:a16="http://schemas.microsoft.com/office/drawing/2014/main" id="{1D7053A1-4C7C-B932-7CAC-B47237BEF9F0}"/>
                </a:ext>
              </a:extLst>
            </p:cNvPr>
            <p:cNvCxnSpPr>
              <a:cxnSpLocks/>
            </p:cNvCxnSpPr>
            <p:nvPr/>
          </p:nvCxnSpPr>
          <p:spPr>
            <a:xfrm>
              <a:off x="7580780" y="1163330"/>
              <a:ext cx="0" cy="570076"/>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pic>
          <p:nvPicPr>
            <p:cNvPr id="83" name="Grafik 82">
              <a:extLst>
                <a:ext uri="{FF2B5EF4-FFF2-40B4-BE49-F238E27FC236}">
                  <a16:creationId xmlns:a16="http://schemas.microsoft.com/office/drawing/2014/main" id="{CEF790BA-4A7C-A5D7-95AA-617588B2DA3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950454" y="548372"/>
              <a:ext cx="764304" cy="639510"/>
            </a:xfrm>
            <a:prstGeom prst="rect">
              <a:avLst/>
            </a:prstGeom>
          </p:spPr>
        </p:pic>
        <p:pic>
          <p:nvPicPr>
            <p:cNvPr id="84" name="Grafik 83">
              <a:extLst>
                <a:ext uri="{FF2B5EF4-FFF2-40B4-BE49-F238E27FC236}">
                  <a16:creationId xmlns:a16="http://schemas.microsoft.com/office/drawing/2014/main" id="{D33D828B-CA93-C537-3997-C1051F32D79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91538" y="1728024"/>
              <a:ext cx="764304" cy="639510"/>
            </a:xfrm>
            <a:prstGeom prst="rect">
              <a:avLst/>
            </a:prstGeom>
          </p:spPr>
        </p:pic>
        <p:sp>
          <p:nvSpPr>
            <p:cNvPr id="87" name="Textfeld 86">
              <a:extLst>
                <a:ext uri="{FF2B5EF4-FFF2-40B4-BE49-F238E27FC236}">
                  <a16:creationId xmlns:a16="http://schemas.microsoft.com/office/drawing/2014/main" id="{50644AA9-4779-C666-1B37-2F0FF3B67285}"/>
                </a:ext>
              </a:extLst>
            </p:cNvPr>
            <p:cNvSpPr txBox="1"/>
            <p:nvPr/>
          </p:nvSpPr>
          <p:spPr>
            <a:xfrm>
              <a:off x="5598573" y="1200347"/>
              <a:ext cx="502039" cy="300698"/>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6</a:t>
              </a:r>
            </a:p>
          </p:txBody>
        </p:sp>
        <p:sp>
          <p:nvSpPr>
            <p:cNvPr id="88" name="Textfeld 87">
              <a:extLst>
                <a:ext uri="{FF2B5EF4-FFF2-40B4-BE49-F238E27FC236}">
                  <a16:creationId xmlns:a16="http://schemas.microsoft.com/office/drawing/2014/main" id="{C74722D7-B9D3-D42E-3DCA-87BC95FAB798}"/>
                </a:ext>
              </a:extLst>
            </p:cNvPr>
            <p:cNvSpPr txBox="1"/>
            <p:nvPr/>
          </p:nvSpPr>
          <p:spPr>
            <a:xfrm>
              <a:off x="7306539" y="1234935"/>
              <a:ext cx="582639" cy="300698"/>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EOT</a:t>
              </a:r>
            </a:p>
          </p:txBody>
        </p:sp>
        <p:sp>
          <p:nvSpPr>
            <p:cNvPr id="89" name="Textfeld 88">
              <a:extLst>
                <a:ext uri="{FF2B5EF4-FFF2-40B4-BE49-F238E27FC236}">
                  <a16:creationId xmlns:a16="http://schemas.microsoft.com/office/drawing/2014/main" id="{A69BFBE2-17E0-9512-FD9D-257D9C51E051}"/>
                </a:ext>
              </a:extLst>
            </p:cNvPr>
            <p:cNvSpPr txBox="1"/>
            <p:nvPr/>
          </p:nvSpPr>
          <p:spPr>
            <a:xfrm>
              <a:off x="6252812" y="645826"/>
              <a:ext cx="1577099" cy="300698"/>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PET/CT</a:t>
              </a:r>
            </a:p>
          </p:txBody>
        </p:sp>
        <p:cxnSp>
          <p:nvCxnSpPr>
            <p:cNvPr id="91" name="Gerade Verbindung 90">
              <a:extLst>
                <a:ext uri="{FF2B5EF4-FFF2-40B4-BE49-F238E27FC236}">
                  <a16:creationId xmlns:a16="http://schemas.microsoft.com/office/drawing/2014/main" id="{002ED644-12A9-ABD4-D9DC-AB574FCE3A52}"/>
                </a:ext>
              </a:extLst>
            </p:cNvPr>
            <p:cNvCxnSpPr>
              <a:cxnSpLocks/>
            </p:cNvCxnSpPr>
            <p:nvPr/>
          </p:nvCxnSpPr>
          <p:spPr>
            <a:xfrm flipV="1">
              <a:off x="5295436" y="1135363"/>
              <a:ext cx="2285345" cy="1038"/>
            </a:xfrm>
            <a:prstGeom prst="line">
              <a:avLst/>
            </a:prstGeom>
            <a:ln w="1270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97" name="Gerade Verbindung 96">
              <a:extLst>
                <a:ext uri="{FF2B5EF4-FFF2-40B4-BE49-F238E27FC236}">
                  <a16:creationId xmlns:a16="http://schemas.microsoft.com/office/drawing/2014/main" id="{53F27D9A-BAB5-2AB9-A197-59C12E7050E5}"/>
                </a:ext>
              </a:extLst>
            </p:cNvPr>
            <p:cNvCxnSpPr>
              <a:stCxn id="69" idx="0"/>
              <a:endCxn id="69" idx="0"/>
            </p:cNvCxnSpPr>
            <p:nvPr/>
          </p:nvCxnSpPr>
          <p:spPr>
            <a:xfrm>
              <a:off x="5319024" y="1200750"/>
              <a:ext cx="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99" name="Gerade Verbindung 98">
              <a:extLst>
                <a:ext uri="{FF2B5EF4-FFF2-40B4-BE49-F238E27FC236}">
                  <a16:creationId xmlns:a16="http://schemas.microsoft.com/office/drawing/2014/main" id="{19BF8142-8130-6393-12D9-67FAE6DC142D}"/>
                </a:ext>
              </a:extLst>
            </p:cNvPr>
            <p:cNvCxnSpPr/>
            <p:nvPr/>
          </p:nvCxnSpPr>
          <p:spPr>
            <a:xfrm>
              <a:off x="5296696" y="1136401"/>
              <a:ext cx="0" cy="122407"/>
            </a:xfrm>
            <a:prstGeom prst="line">
              <a:avLst/>
            </a:prstGeom>
            <a:ln w="1270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100" name="Gerade Verbindung 99">
              <a:extLst>
                <a:ext uri="{FF2B5EF4-FFF2-40B4-BE49-F238E27FC236}">
                  <a16:creationId xmlns:a16="http://schemas.microsoft.com/office/drawing/2014/main" id="{44B518C5-2010-7FD7-91B2-2BFEC3AAD41C}"/>
                </a:ext>
              </a:extLst>
            </p:cNvPr>
            <p:cNvCxnSpPr/>
            <p:nvPr/>
          </p:nvCxnSpPr>
          <p:spPr>
            <a:xfrm>
              <a:off x="5857226" y="1132326"/>
              <a:ext cx="0" cy="122407"/>
            </a:xfrm>
            <a:prstGeom prst="line">
              <a:avLst/>
            </a:prstGeom>
            <a:ln w="1270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101" name="Gerade Verbindung 100">
              <a:extLst>
                <a:ext uri="{FF2B5EF4-FFF2-40B4-BE49-F238E27FC236}">
                  <a16:creationId xmlns:a16="http://schemas.microsoft.com/office/drawing/2014/main" id="{93C8D663-5A70-2FE4-48FB-653AAAB5E742}"/>
                </a:ext>
              </a:extLst>
            </p:cNvPr>
            <p:cNvCxnSpPr/>
            <p:nvPr/>
          </p:nvCxnSpPr>
          <p:spPr>
            <a:xfrm>
              <a:off x="7582411" y="1128249"/>
              <a:ext cx="0" cy="122407"/>
            </a:xfrm>
            <a:prstGeom prst="line">
              <a:avLst/>
            </a:prstGeom>
            <a:ln w="12700">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67" name="Textfeld 66">
              <a:extLst>
                <a:ext uri="{FF2B5EF4-FFF2-40B4-BE49-F238E27FC236}">
                  <a16:creationId xmlns:a16="http://schemas.microsoft.com/office/drawing/2014/main" id="{88680AB5-5F45-D457-1B6A-9FAC1A70DBE9}"/>
                </a:ext>
              </a:extLst>
            </p:cNvPr>
            <p:cNvSpPr txBox="1"/>
            <p:nvPr/>
          </p:nvSpPr>
          <p:spPr>
            <a:xfrm>
              <a:off x="618407" y="1468637"/>
              <a:ext cx="1577099" cy="300698"/>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PET/CT</a:t>
              </a:r>
            </a:p>
          </p:txBody>
        </p:sp>
        <p:sp>
          <p:nvSpPr>
            <p:cNvPr id="62" name="Textfeld 61">
              <a:extLst>
                <a:ext uri="{FF2B5EF4-FFF2-40B4-BE49-F238E27FC236}">
                  <a16:creationId xmlns:a16="http://schemas.microsoft.com/office/drawing/2014/main" id="{359D250E-2983-311A-8FF8-B05532433A3C}"/>
                </a:ext>
              </a:extLst>
            </p:cNvPr>
            <p:cNvSpPr txBox="1"/>
            <p:nvPr/>
          </p:nvSpPr>
          <p:spPr>
            <a:xfrm rot="16200000">
              <a:off x="4625286" y="1732519"/>
              <a:ext cx="676513" cy="23857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1467"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ola</a:t>
              </a:r>
            </a:p>
          </p:txBody>
        </p:sp>
      </p:grpSp>
      <p:pic>
        <p:nvPicPr>
          <p:cNvPr id="2" name="Grafik 1" descr="Ein Bild, das Schrift, Symbol, Grafiken, Logo enthält.&#10;&#10;Automatisch generierte Beschreibung">
            <a:extLst>
              <a:ext uri="{FF2B5EF4-FFF2-40B4-BE49-F238E27FC236}">
                <a16:creationId xmlns:a16="http://schemas.microsoft.com/office/drawing/2014/main" id="{24FCB9E4-E998-40E6-B4EA-0278B873463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771845" y="6259777"/>
            <a:ext cx="2127715" cy="620063"/>
          </a:xfrm>
          <a:prstGeom prst="rect">
            <a:avLst/>
          </a:prstGeom>
        </p:spPr>
      </p:pic>
      <p:sp>
        <p:nvSpPr>
          <p:cNvPr id="3" name="Google Shape;237;p41">
            <a:extLst>
              <a:ext uri="{FF2B5EF4-FFF2-40B4-BE49-F238E27FC236}">
                <a16:creationId xmlns:a16="http://schemas.microsoft.com/office/drawing/2014/main" id="{AB9F2B11-34D9-D694-E56C-A24E91CB316A}"/>
              </a:ext>
            </a:extLst>
          </p:cNvPr>
          <p:cNvSpPr/>
          <p:nvPr/>
        </p:nvSpPr>
        <p:spPr>
          <a:xfrm>
            <a:off x="10280083" y="6279501"/>
            <a:ext cx="1653772" cy="592795"/>
          </a:xfrm>
          <a:custGeom>
            <a:avLst/>
            <a:gdLst/>
            <a:ahLst/>
            <a:cxnLst/>
            <a:rect l="l" t="t" r="r" b="b"/>
            <a:pathLst>
              <a:path w="2689357" h="997030" extrusionOk="0">
                <a:moveTo>
                  <a:pt x="0" y="0"/>
                </a:moveTo>
                <a:lnTo>
                  <a:pt x="2689357" y="0"/>
                </a:lnTo>
                <a:lnTo>
                  <a:pt x="2689357" y="997030"/>
                </a:lnTo>
                <a:lnTo>
                  <a:pt x="0" y="997030"/>
                </a:lnTo>
                <a:lnTo>
                  <a:pt x="0" y="0"/>
                </a:lnTo>
                <a:close/>
              </a:path>
            </a:pathLst>
          </a:custGeom>
          <a:blipFill rotWithShape="1">
            <a:blip r:embed="rId10" cstate="screen">
              <a:alphaModFix/>
              <a:extLst>
                <a:ext uri="{28A0092B-C50C-407E-A947-70E740481C1C}">
                  <a14:useLocalDpi xmlns:a14="http://schemas.microsoft.com/office/drawing/2010/main"/>
                </a:ext>
              </a:extLst>
            </a:blip>
            <a:stretch>
              <a:fillRect/>
            </a:stretch>
          </a:blipFill>
          <a:ln>
            <a:noFill/>
          </a:ln>
        </p:spPr>
        <p:txBody>
          <a:bodyPr spcFirstLastPara="1" wrap="square" lIns="91433" tIns="45700" rIns="91433" bIns="45700" anchor="t" anchorCtr="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98101F"/>
              </a:solidFill>
              <a:effectLst/>
              <a:uLnTx/>
              <a:uFillTx/>
              <a:latin typeface="Calibri"/>
              <a:ea typeface="Calibri"/>
              <a:cs typeface="Calibri"/>
              <a:sym typeface="Calibri"/>
            </a:endParaRPr>
          </a:p>
        </p:txBody>
      </p:sp>
      <p:pic>
        <p:nvPicPr>
          <p:cNvPr id="5" name="Google Shape;242;p41">
            <a:extLst>
              <a:ext uri="{FF2B5EF4-FFF2-40B4-BE49-F238E27FC236}">
                <a16:creationId xmlns:a16="http://schemas.microsoft.com/office/drawing/2014/main" id="{846E6AAC-77A1-298B-4E92-4B460F60822E}"/>
              </a:ext>
            </a:extLst>
          </p:cNvPr>
          <p:cNvPicPr preferRelativeResize="0"/>
          <p:nvPr/>
        </p:nvPicPr>
        <p:blipFill rotWithShape="1">
          <a:blip r:embed="rId11">
            <a:alphaModFix/>
          </a:blip>
          <a:srcRect/>
          <a:stretch/>
        </p:blipFill>
        <p:spPr>
          <a:xfrm>
            <a:off x="5561366" y="6292664"/>
            <a:ext cx="1757863" cy="592795"/>
          </a:xfrm>
          <a:prstGeom prst="rect">
            <a:avLst/>
          </a:prstGeom>
          <a:noFill/>
          <a:ln>
            <a:noFill/>
          </a:ln>
        </p:spPr>
      </p:pic>
      <p:pic>
        <p:nvPicPr>
          <p:cNvPr id="6" name="Grafik 5">
            <a:extLst>
              <a:ext uri="{FF2B5EF4-FFF2-40B4-BE49-F238E27FC236}">
                <a16:creationId xmlns:a16="http://schemas.microsoft.com/office/drawing/2014/main" id="{F193B461-ACC6-EF11-4E63-4C1A12F84A6F}"/>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3129465" y="6263735"/>
            <a:ext cx="1968111" cy="608351"/>
          </a:xfrm>
          <a:prstGeom prst="rect">
            <a:avLst/>
          </a:prstGeom>
        </p:spPr>
      </p:pic>
      <p:sp>
        <p:nvSpPr>
          <p:cNvPr id="8" name="Rechteck 7">
            <a:extLst>
              <a:ext uri="{FF2B5EF4-FFF2-40B4-BE49-F238E27FC236}">
                <a16:creationId xmlns:a16="http://schemas.microsoft.com/office/drawing/2014/main" id="{5CD869D6-E81E-518E-9A94-446892D6CC38}"/>
              </a:ext>
            </a:extLst>
          </p:cNvPr>
          <p:cNvSpPr/>
          <p:nvPr/>
        </p:nvSpPr>
        <p:spPr>
          <a:xfrm>
            <a:off x="6660886" y="2468852"/>
            <a:ext cx="304479" cy="473629"/>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3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Textfeld 8">
            <a:extLst>
              <a:ext uri="{FF2B5EF4-FFF2-40B4-BE49-F238E27FC236}">
                <a16:creationId xmlns:a16="http://schemas.microsoft.com/office/drawing/2014/main" id="{3998EA94-70F4-80D6-22A6-F7704C41407F}"/>
              </a:ext>
            </a:extLst>
          </p:cNvPr>
          <p:cNvSpPr txBox="1"/>
          <p:nvPr/>
        </p:nvSpPr>
        <p:spPr>
          <a:xfrm rot="16200000">
            <a:off x="6390120" y="2362646"/>
            <a:ext cx="761683" cy="318100"/>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1467"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a:t>
            </a:r>
          </a:p>
        </p:txBody>
      </p:sp>
      <p:sp>
        <p:nvSpPr>
          <p:cNvPr id="36" name="Rechteck 35">
            <a:extLst>
              <a:ext uri="{FF2B5EF4-FFF2-40B4-BE49-F238E27FC236}">
                <a16:creationId xmlns:a16="http://schemas.microsoft.com/office/drawing/2014/main" id="{D565A89F-6819-5752-1A3E-67EADE74E2DD}"/>
              </a:ext>
            </a:extLst>
          </p:cNvPr>
          <p:cNvSpPr/>
          <p:nvPr/>
        </p:nvSpPr>
        <p:spPr>
          <a:xfrm>
            <a:off x="4287465" y="2473004"/>
            <a:ext cx="304479" cy="473629"/>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3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7" name="Textfeld 36">
            <a:extLst>
              <a:ext uri="{FF2B5EF4-FFF2-40B4-BE49-F238E27FC236}">
                <a16:creationId xmlns:a16="http://schemas.microsoft.com/office/drawing/2014/main" id="{66A59400-4B95-BEFC-1738-B0447C32ABC5}"/>
              </a:ext>
            </a:extLst>
          </p:cNvPr>
          <p:cNvSpPr txBox="1"/>
          <p:nvPr/>
        </p:nvSpPr>
        <p:spPr>
          <a:xfrm rot="16200000">
            <a:off x="4062220" y="2404919"/>
            <a:ext cx="761683" cy="318100"/>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1467"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a:t>
            </a:r>
          </a:p>
        </p:txBody>
      </p:sp>
      <p:sp>
        <p:nvSpPr>
          <p:cNvPr id="38" name="Textfeld 37">
            <a:extLst>
              <a:ext uri="{FF2B5EF4-FFF2-40B4-BE49-F238E27FC236}">
                <a16:creationId xmlns:a16="http://schemas.microsoft.com/office/drawing/2014/main" id="{02810741-6B14-2B08-02FE-3BBDCD9CFA26}"/>
              </a:ext>
            </a:extLst>
          </p:cNvPr>
          <p:cNvSpPr txBox="1"/>
          <p:nvPr/>
        </p:nvSpPr>
        <p:spPr>
          <a:xfrm>
            <a:off x="7031922" y="1498105"/>
            <a:ext cx="510081" cy="338554"/>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3A70"/>
                </a:solidFill>
                <a:effectLst/>
                <a:uLnTx/>
                <a:uFillTx/>
                <a:latin typeface="Open Sans" panose="020B0606030504020204" pitchFamily="34" charset="0"/>
                <a:ea typeface="Open Sans" panose="020B0606030504020204" pitchFamily="34" charset="0"/>
                <a:cs typeface="Open Sans" panose="020B0606030504020204" pitchFamily="34" charset="0"/>
              </a:rPr>
              <a:t>C2</a:t>
            </a:r>
          </a:p>
        </p:txBody>
      </p:sp>
      <p:sp>
        <p:nvSpPr>
          <p:cNvPr id="39" name="Textfeld 38">
            <a:extLst>
              <a:ext uri="{FF2B5EF4-FFF2-40B4-BE49-F238E27FC236}">
                <a16:creationId xmlns:a16="http://schemas.microsoft.com/office/drawing/2014/main" id="{4E218288-1563-9A1F-7C39-2A66CA79BBBF}"/>
              </a:ext>
            </a:extLst>
          </p:cNvPr>
          <p:cNvSpPr txBox="1"/>
          <p:nvPr/>
        </p:nvSpPr>
        <p:spPr>
          <a:xfrm>
            <a:off x="7754991" y="1497765"/>
            <a:ext cx="564384" cy="338554"/>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3A70"/>
                </a:solidFill>
                <a:effectLst/>
                <a:uLnTx/>
                <a:uFillTx/>
                <a:latin typeface="Open Sans" panose="020B0606030504020204" pitchFamily="34" charset="0"/>
                <a:ea typeface="Open Sans" panose="020B0606030504020204" pitchFamily="34" charset="0"/>
                <a:cs typeface="Open Sans" panose="020B0606030504020204" pitchFamily="34" charset="0"/>
              </a:rPr>
              <a:t>C6</a:t>
            </a:r>
          </a:p>
        </p:txBody>
      </p:sp>
      <p:sp>
        <p:nvSpPr>
          <p:cNvPr id="40" name="Textfeld 39">
            <a:extLst>
              <a:ext uri="{FF2B5EF4-FFF2-40B4-BE49-F238E27FC236}">
                <a16:creationId xmlns:a16="http://schemas.microsoft.com/office/drawing/2014/main" id="{764DFB94-2088-51E8-F803-20841B2DAE01}"/>
              </a:ext>
            </a:extLst>
          </p:cNvPr>
          <p:cNvSpPr txBox="1"/>
          <p:nvPr/>
        </p:nvSpPr>
        <p:spPr>
          <a:xfrm>
            <a:off x="9988763" y="1462427"/>
            <a:ext cx="695960" cy="338554"/>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3A70"/>
                </a:solidFill>
                <a:effectLst/>
                <a:uLnTx/>
                <a:uFillTx/>
                <a:latin typeface="Open Sans" panose="020B0606030504020204" pitchFamily="34" charset="0"/>
                <a:ea typeface="Open Sans" panose="020B0606030504020204" pitchFamily="34" charset="0"/>
                <a:cs typeface="Open Sans" panose="020B0606030504020204" pitchFamily="34" charset="0"/>
              </a:rPr>
              <a:t>EOT</a:t>
            </a:r>
          </a:p>
        </p:txBody>
      </p:sp>
    </p:spTree>
    <p:extLst>
      <p:ext uri="{BB962C8B-B14F-4D97-AF65-F5344CB8AC3E}">
        <p14:creationId xmlns:p14="http://schemas.microsoft.com/office/powerpoint/2010/main" val="38075612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44">
            <a:extLst>
              <a:ext uri="{FF2B5EF4-FFF2-40B4-BE49-F238E27FC236}">
                <a16:creationId xmlns:a16="http://schemas.microsoft.com/office/drawing/2014/main" id="{CB46CC48-7565-C6BF-2365-FF6D1EE55B2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8000" y="1202510"/>
            <a:ext cx="6355425" cy="4452980"/>
          </a:xfrm>
          <a:prstGeom prst="rect">
            <a:avLst/>
          </a:prstGeom>
        </p:spPr>
      </p:pic>
      <p:sp>
        <p:nvSpPr>
          <p:cNvPr id="3" name="Textfeld 28">
            <a:extLst>
              <a:ext uri="{FF2B5EF4-FFF2-40B4-BE49-F238E27FC236}">
                <a16:creationId xmlns:a16="http://schemas.microsoft.com/office/drawing/2014/main" id="{8C7EB4BA-BE86-A074-7718-5DBB28C7ABF8}"/>
              </a:ext>
            </a:extLst>
          </p:cNvPr>
          <p:cNvSpPr txBox="1"/>
          <p:nvPr/>
        </p:nvSpPr>
        <p:spPr>
          <a:xfrm>
            <a:off x="6459315" y="1243549"/>
            <a:ext cx="4612801" cy="400110"/>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1">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1-year Progression-free Survival (PFS)</a:t>
            </a:r>
          </a:p>
        </p:txBody>
      </p:sp>
      <p:pic>
        <p:nvPicPr>
          <p:cNvPr id="4" name="Grafik 2">
            <a:extLst>
              <a:ext uri="{FF2B5EF4-FFF2-40B4-BE49-F238E27FC236}">
                <a16:creationId xmlns:a16="http://schemas.microsoft.com/office/drawing/2014/main" id="{E8001E37-40C7-B391-4776-D2A8A0AE4709}"/>
              </a:ext>
            </a:extLst>
          </p:cNvPr>
          <p:cNvPicPr>
            <a:picLocks noChangeAspect="1"/>
          </p:cNvPicPr>
          <p:nvPr/>
        </p:nvPicPr>
        <p:blipFill>
          <a:blip r:embed="rId3" cstate="screen">
            <a:extLst>
              <a:ext uri="{28A0092B-C50C-407E-A947-70E740481C1C}">
                <a14:useLocalDpi xmlns:a14="http://schemas.microsoft.com/office/drawing/2010/main"/>
              </a:ext>
            </a:extLst>
          </a:blip>
          <a:srcRect t="7763"/>
          <a:stretch/>
        </p:blipFill>
        <p:spPr>
          <a:xfrm>
            <a:off x="6523425" y="1777029"/>
            <a:ext cx="5551604" cy="3657600"/>
          </a:xfrm>
          <a:prstGeom prst="rect">
            <a:avLst/>
          </a:prstGeom>
        </p:spPr>
      </p:pic>
      <p:sp>
        <p:nvSpPr>
          <p:cNvPr id="5" name="Title 1">
            <a:extLst>
              <a:ext uri="{FF2B5EF4-FFF2-40B4-BE49-F238E27FC236}">
                <a16:creationId xmlns:a16="http://schemas.microsoft.com/office/drawing/2014/main" id="{4E31F54B-38D1-8649-1FB4-2FA40E8D817B}"/>
              </a:ext>
            </a:extLst>
          </p:cNvPr>
          <p:cNvSpPr txBox="1">
            <a:spLocks/>
          </p:cNvSpPr>
          <p:nvPr/>
        </p:nvSpPr>
        <p:spPr>
          <a:xfrm>
            <a:off x="699807" y="325746"/>
            <a:ext cx="14630400" cy="917803"/>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4267" b="1" i="0" u="none" strike="noStrike" kern="1200" cap="none" spc="0" normalizeH="0" baseline="0" noProof="0" dirty="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R-Pola-Glo</a:t>
            </a:r>
            <a:r>
              <a:rPr kumimoji="0" lang="en-US" sz="4267" b="0" i="0" u="none" strike="noStrike" kern="1200" cap="none" spc="0" normalizeH="0" baseline="0" noProof="0" dirty="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 – Outcome</a:t>
            </a:r>
            <a:endParaRPr kumimoji="0" lang="de-DE" sz="4267" b="0" i="0" u="none" strike="noStrike" kern="1200" cap="none" spc="0" normalizeH="0" baseline="0" noProof="0" dirty="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1BF4A7AE-1795-FC24-1D15-A39ED7175ADA}"/>
              </a:ext>
            </a:extLst>
          </p:cNvPr>
          <p:cNvSpPr txBox="1"/>
          <p:nvPr/>
        </p:nvSpPr>
        <p:spPr>
          <a:xfrm>
            <a:off x="170122" y="6365558"/>
            <a:ext cx="2921249" cy="400110"/>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apuy</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ASH 2025</a:t>
            </a:r>
          </a:p>
        </p:txBody>
      </p:sp>
    </p:spTree>
    <p:extLst>
      <p:ext uri="{BB962C8B-B14F-4D97-AF65-F5344CB8AC3E}">
        <p14:creationId xmlns:p14="http://schemas.microsoft.com/office/powerpoint/2010/main" val="32596100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F4A4300-C1CD-7FBD-E8C5-54BA4D1A4F05}"/>
              </a:ext>
            </a:extLst>
          </p:cNvPr>
          <p:cNvSpPr txBox="1"/>
          <p:nvPr/>
        </p:nvSpPr>
        <p:spPr>
          <a:xfrm>
            <a:off x="568713" y="323386"/>
            <a:ext cx="6435160" cy="523220"/>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Aptos" panose="02110004020202020204"/>
                <a:ea typeface="+mn-ea"/>
                <a:cs typeface="+mn-cs"/>
              </a:rPr>
              <a:t>NCCN Suggested Treatment Regimens</a:t>
            </a:r>
          </a:p>
        </p:txBody>
      </p:sp>
      <p:pic>
        <p:nvPicPr>
          <p:cNvPr id="4" name="Picture 3" descr="A screenshot of a medical form&#10;&#10;AI-generated content may be incorrect.">
            <a:extLst>
              <a:ext uri="{FF2B5EF4-FFF2-40B4-BE49-F238E27FC236}">
                <a16:creationId xmlns:a16="http://schemas.microsoft.com/office/drawing/2014/main" id="{FDAE0484-7FAB-FFE3-31B7-EEC2D0E05B74}"/>
              </a:ext>
            </a:extLst>
          </p:cNvPr>
          <p:cNvPicPr>
            <a:picLocks noChangeAspect="1"/>
          </p:cNvPicPr>
          <p:nvPr/>
        </p:nvPicPr>
        <p:blipFill>
          <a:blip r:embed="rId2"/>
          <a:stretch>
            <a:fillRect/>
          </a:stretch>
        </p:blipFill>
        <p:spPr>
          <a:xfrm>
            <a:off x="406417" y="1260565"/>
            <a:ext cx="11379166" cy="4774474"/>
          </a:xfrm>
          <a:prstGeom prst="rect">
            <a:avLst/>
          </a:prstGeom>
        </p:spPr>
      </p:pic>
      <p:sp>
        <p:nvSpPr>
          <p:cNvPr id="5" name="TextBox 4">
            <a:extLst>
              <a:ext uri="{FF2B5EF4-FFF2-40B4-BE49-F238E27FC236}">
                <a16:creationId xmlns:a16="http://schemas.microsoft.com/office/drawing/2014/main" id="{FF0C942C-AA5A-3231-9DB3-FBD2F79FA0D6}"/>
              </a:ext>
            </a:extLst>
          </p:cNvPr>
          <p:cNvSpPr txBox="1"/>
          <p:nvPr/>
        </p:nvSpPr>
        <p:spPr>
          <a:xfrm>
            <a:off x="205819" y="6365337"/>
            <a:ext cx="7007496" cy="3385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NCCN Clinical Practice Guidelines in Oncology. B-Cell Lymphomas. Version 4.2026. </a:t>
            </a:r>
          </a:p>
        </p:txBody>
      </p:sp>
    </p:spTree>
    <p:extLst>
      <p:ext uri="{BB962C8B-B14F-4D97-AF65-F5344CB8AC3E}">
        <p14:creationId xmlns:p14="http://schemas.microsoft.com/office/powerpoint/2010/main" val="24992471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A9F15-5547-B898-8C4F-0191B1BA7648}"/>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C1F70228-DBFE-C942-DA13-E1FF9C1F8D96}"/>
              </a:ext>
            </a:extLst>
          </p:cNvPr>
          <p:cNvSpPr>
            <a:spLocks noGrp="1"/>
          </p:cNvSpPr>
          <p:nvPr>
            <p:ph idx="1"/>
          </p:nvPr>
        </p:nvSpPr>
        <p:spPr/>
        <p:txBody>
          <a:bodyPr/>
          <a:lstStyle/>
          <a:p>
            <a:endParaRPr lang="en-US"/>
          </a:p>
        </p:txBody>
      </p:sp>
      <p:sp>
        <p:nvSpPr>
          <p:cNvPr id="4" name="Footer Placeholder 3">
            <a:extLst>
              <a:ext uri="{FF2B5EF4-FFF2-40B4-BE49-F238E27FC236}">
                <a16:creationId xmlns:a16="http://schemas.microsoft.com/office/drawing/2014/main" id="{1D8611F9-8A4E-7348-2593-A550C2229A86}"/>
              </a:ext>
            </a:extLst>
          </p:cNvPr>
          <p:cNvSpPr>
            <a:spLocks noGrp="1"/>
          </p:cNvSpPr>
          <p:nvPr>
            <p:ph type="ftr" sz="quarter" idx="11"/>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C38"/>
                </a:solidFill>
                <a:effectLst/>
                <a:uLnTx/>
                <a:uFillTx/>
                <a:latin typeface="Arial"/>
                <a:ea typeface="+mn-ea"/>
                <a:cs typeface="Arial" pitchFamily="34" charset="0"/>
              </a:rPr>
              <a:t>Westin - 2026 iwCART Are Bispecifics in 1L inevitable?</a:t>
            </a:r>
            <a:endParaRPr kumimoji="0" lang="en-US" sz="1400" b="0" i="0" u="none" strike="noStrike" kern="1200" cap="none" spc="0" normalizeH="0" baseline="0" noProof="0" dirty="0">
              <a:ln>
                <a:noFill/>
              </a:ln>
              <a:solidFill>
                <a:srgbClr val="413C38"/>
              </a:solidFill>
              <a:effectLst/>
              <a:uLnTx/>
              <a:uFillTx/>
              <a:latin typeface="Arial"/>
              <a:ea typeface="+mn-ea"/>
              <a:cs typeface="Arial" pitchFamily="34" charset="0"/>
            </a:endParaRPr>
          </a:p>
        </p:txBody>
      </p:sp>
      <p:sp>
        <p:nvSpPr>
          <p:cNvPr id="5" name="Slide Number Placeholder 4">
            <a:extLst>
              <a:ext uri="{FF2B5EF4-FFF2-40B4-BE49-F238E27FC236}">
                <a16:creationId xmlns:a16="http://schemas.microsoft.com/office/drawing/2014/main" id="{15C837E3-0150-B7ED-652C-590E4BBFEF59}"/>
              </a:ext>
            </a:extLst>
          </p:cNvPr>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425F4DD7-F157-45BC-BAFF-BC6A887892A6}" type="slidenum">
              <a:rPr kumimoji="0" lang="en-US" sz="933" b="0" i="0" u="none" strike="noStrike" kern="1200" cap="none" spc="0" normalizeH="0" baseline="0" noProof="0" smtClean="0">
                <a:ln>
                  <a:noFill/>
                </a:ln>
                <a:solidFill>
                  <a:srgbClr val="413C38"/>
                </a:solidFill>
                <a:effectLst/>
                <a:uLnTx/>
                <a:uFillTx/>
                <a:latin typeface="Arial"/>
                <a:ea typeface="+mn-ea"/>
                <a:cs typeface="Arial"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64</a:t>
            </a:fld>
            <a:endParaRPr kumimoji="0" lang="en-US" sz="933" b="0" i="0" u="none" strike="noStrike" kern="1200" cap="none" spc="0" normalizeH="0" baseline="0" noProof="0" dirty="0">
              <a:ln>
                <a:noFill/>
              </a:ln>
              <a:solidFill>
                <a:srgbClr val="413C38"/>
              </a:solidFill>
              <a:effectLst/>
              <a:uLnTx/>
              <a:uFillTx/>
              <a:latin typeface="Arial"/>
              <a:ea typeface="+mn-ea"/>
              <a:cs typeface="Arial" pitchFamily="34" charset="0"/>
            </a:endParaRPr>
          </a:p>
        </p:txBody>
      </p:sp>
      <p:pic>
        <p:nvPicPr>
          <p:cNvPr id="6" name="Picture 5">
            <a:extLst>
              <a:ext uri="{FF2B5EF4-FFF2-40B4-BE49-F238E27FC236}">
                <a16:creationId xmlns:a16="http://schemas.microsoft.com/office/drawing/2014/main" id="{B5185A3E-29B3-4461-05F7-3589E02C9DD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28275" y="76200"/>
            <a:ext cx="11935451" cy="6705600"/>
          </a:xfrm>
          <a:prstGeom prst="rect">
            <a:avLst/>
          </a:prstGeom>
        </p:spPr>
      </p:pic>
      <p:sp>
        <p:nvSpPr>
          <p:cNvPr id="7" name="Rectangle 6">
            <a:extLst>
              <a:ext uri="{FF2B5EF4-FFF2-40B4-BE49-F238E27FC236}">
                <a16:creationId xmlns:a16="http://schemas.microsoft.com/office/drawing/2014/main" id="{3DE335F7-F208-8025-6348-1F5C0768AC3F}"/>
              </a:ext>
            </a:extLst>
          </p:cNvPr>
          <p:cNvSpPr/>
          <p:nvPr/>
        </p:nvSpPr>
        <p:spPr>
          <a:xfrm>
            <a:off x="2655065" y="6479958"/>
            <a:ext cx="4175393" cy="215444"/>
          </a:xfrm>
          <a:prstGeom prst="rect">
            <a:avLst/>
          </a:prstGeom>
          <a:solidFill>
            <a:srgbClr val="F9F9F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60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4059781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C60B33-8185-4863-9BFD-8FA28FC021F2}"/>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1AC76FD9-435C-0AE7-8F25-1CA0C1D39C68}"/>
              </a:ext>
            </a:extLst>
          </p:cNvPr>
          <p:cNvSpPr>
            <a:spLocks noGrp="1"/>
          </p:cNvSpPr>
          <p:nvPr>
            <p:ph idx="1"/>
          </p:nvPr>
        </p:nvSpPr>
        <p:spPr/>
        <p:txBody>
          <a:bodyPr/>
          <a:lstStyle/>
          <a:p>
            <a:endParaRPr lang="en-US"/>
          </a:p>
        </p:txBody>
      </p:sp>
      <p:sp>
        <p:nvSpPr>
          <p:cNvPr id="4" name="Footer Placeholder 3">
            <a:extLst>
              <a:ext uri="{FF2B5EF4-FFF2-40B4-BE49-F238E27FC236}">
                <a16:creationId xmlns:a16="http://schemas.microsoft.com/office/drawing/2014/main" id="{FC7ED4A1-635B-4E2B-6934-C0409EEC2521}"/>
              </a:ext>
            </a:extLst>
          </p:cNvPr>
          <p:cNvSpPr>
            <a:spLocks noGrp="1"/>
          </p:cNvSpPr>
          <p:nvPr>
            <p:ph type="ftr" sz="quarter" idx="11"/>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C38"/>
                </a:solidFill>
                <a:effectLst/>
                <a:uLnTx/>
                <a:uFillTx/>
                <a:latin typeface="Arial"/>
                <a:ea typeface="+mn-ea"/>
                <a:cs typeface="Arial" pitchFamily="34" charset="0"/>
              </a:rPr>
              <a:t>Westin - 2026 iwCART Are Bispecifics in 1L inevitable?</a:t>
            </a:r>
            <a:endParaRPr kumimoji="0" lang="en-US" sz="1400" b="0" i="0" u="none" strike="noStrike" kern="1200" cap="none" spc="0" normalizeH="0" baseline="0" noProof="0" dirty="0">
              <a:ln>
                <a:noFill/>
              </a:ln>
              <a:solidFill>
                <a:srgbClr val="413C38"/>
              </a:solidFill>
              <a:effectLst/>
              <a:uLnTx/>
              <a:uFillTx/>
              <a:latin typeface="Arial"/>
              <a:ea typeface="+mn-ea"/>
              <a:cs typeface="Arial" pitchFamily="34" charset="0"/>
            </a:endParaRPr>
          </a:p>
        </p:txBody>
      </p:sp>
      <p:sp>
        <p:nvSpPr>
          <p:cNvPr id="5" name="Slide Number Placeholder 4">
            <a:extLst>
              <a:ext uri="{FF2B5EF4-FFF2-40B4-BE49-F238E27FC236}">
                <a16:creationId xmlns:a16="http://schemas.microsoft.com/office/drawing/2014/main" id="{1AD458CE-FC75-3CF6-EBE8-82D8ABA020C3}"/>
              </a:ext>
            </a:extLst>
          </p:cNvPr>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425F4DD7-F157-45BC-BAFF-BC6A887892A6}" type="slidenum">
              <a:rPr kumimoji="0" lang="en-US" sz="933" b="0" i="0" u="none" strike="noStrike" kern="1200" cap="none" spc="0" normalizeH="0" baseline="0" noProof="0" smtClean="0">
                <a:ln>
                  <a:noFill/>
                </a:ln>
                <a:solidFill>
                  <a:srgbClr val="413C38"/>
                </a:solidFill>
                <a:effectLst/>
                <a:uLnTx/>
                <a:uFillTx/>
                <a:latin typeface="Arial"/>
                <a:ea typeface="+mn-ea"/>
                <a:cs typeface="Arial"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65</a:t>
            </a:fld>
            <a:endParaRPr kumimoji="0" lang="en-US" sz="933" b="0" i="0" u="none" strike="noStrike" kern="1200" cap="none" spc="0" normalizeH="0" baseline="0" noProof="0" dirty="0">
              <a:ln>
                <a:noFill/>
              </a:ln>
              <a:solidFill>
                <a:srgbClr val="413C38"/>
              </a:solidFill>
              <a:effectLst/>
              <a:uLnTx/>
              <a:uFillTx/>
              <a:latin typeface="Arial"/>
              <a:ea typeface="+mn-ea"/>
              <a:cs typeface="Arial" pitchFamily="34" charset="0"/>
            </a:endParaRPr>
          </a:p>
        </p:txBody>
      </p:sp>
      <p:pic>
        <p:nvPicPr>
          <p:cNvPr id="6" name="Picture 5">
            <a:extLst>
              <a:ext uri="{FF2B5EF4-FFF2-40B4-BE49-F238E27FC236}">
                <a16:creationId xmlns:a16="http://schemas.microsoft.com/office/drawing/2014/main" id="{F6ECE523-9F11-5D9F-F7C9-A4EF40F58EC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7816" y="76200"/>
            <a:ext cx="12016368" cy="6705600"/>
          </a:xfrm>
          <a:prstGeom prst="rect">
            <a:avLst/>
          </a:prstGeom>
        </p:spPr>
      </p:pic>
      <p:sp>
        <p:nvSpPr>
          <p:cNvPr id="7" name="Rectangle 6">
            <a:extLst>
              <a:ext uri="{FF2B5EF4-FFF2-40B4-BE49-F238E27FC236}">
                <a16:creationId xmlns:a16="http://schemas.microsoft.com/office/drawing/2014/main" id="{E92DE7BC-543C-8952-EDA4-F80026C8AA1E}"/>
              </a:ext>
            </a:extLst>
          </p:cNvPr>
          <p:cNvSpPr/>
          <p:nvPr/>
        </p:nvSpPr>
        <p:spPr>
          <a:xfrm>
            <a:off x="2655065" y="6524026"/>
            <a:ext cx="4175393" cy="215444"/>
          </a:xfrm>
          <a:prstGeom prst="rect">
            <a:avLst/>
          </a:prstGeom>
          <a:solidFill>
            <a:srgbClr val="F9F9F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60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8479606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7982F7-22BE-A6B8-4C99-4C982C80397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FCD626A-3C8A-1A1F-DE06-4DD154E4AA33}"/>
              </a:ext>
            </a:extLst>
          </p:cNvPr>
          <p:cNvSpPr>
            <a:spLocks noGrp="1"/>
          </p:cNvSpPr>
          <p:nvPr>
            <p:ph type="title"/>
          </p:nvPr>
        </p:nvSpPr>
        <p:spPr>
          <a:xfrm>
            <a:off x="549180" y="315007"/>
            <a:ext cx="11082528" cy="822960"/>
          </a:xfrm>
        </p:spPr>
        <p:txBody>
          <a:bodyPr>
            <a:normAutofit/>
          </a:bodyPr>
          <a:lstStyle/>
          <a:p>
            <a:r>
              <a:rPr lang="en-US" sz="2400" b="1" dirty="0">
                <a:latin typeface="Arial" panose="020B0604020202020204" pitchFamily="34" charset="0"/>
                <a:cs typeface="Arial" panose="020B0604020202020204" pitchFamily="34" charset="0"/>
              </a:rPr>
              <a:t>Select Ongoing Phase III Trials of Bispecific Antibody Combination Regimens in LBCL  </a:t>
            </a:r>
          </a:p>
        </p:txBody>
      </p:sp>
      <p:sp>
        <p:nvSpPr>
          <p:cNvPr id="3" name="Rectangle 2">
            <a:extLst>
              <a:ext uri="{FF2B5EF4-FFF2-40B4-BE49-F238E27FC236}">
                <a16:creationId xmlns:a16="http://schemas.microsoft.com/office/drawing/2014/main" id="{A3813BBC-15BD-5122-C434-44CE2B1D920A}"/>
              </a:ext>
            </a:extLst>
          </p:cNvPr>
          <p:cNvSpPr/>
          <p:nvPr/>
        </p:nvSpPr>
        <p:spPr>
          <a:xfrm>
            <a:off x="3092917" y="3798771"/>
            <a:ext cx="1353955" cy="26950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Aptos" panose="02110004020202020204"/>
              <a:ea typeface="+mn-ea"/>
              <a:cs typeface="+mn-cs"/>
            </a:endParaRPr>
          </a:p>
        </p:txBody>
      </p:sp>
      <p:graphicFrame>
        <p:nvGraphicFramePr>
          <p:cNvPr id="6" name="Table 5">
            <a:extLst>
              <a:ext uri="{FF2B5EF4-FFF2-40B4-BE49-F238E27FC236}">
                <a16:creationId xmlns:a16="http://schemas.microsoft.com/office/drawing/2014/main" id="{98EA71E4-ECCB-6BE4-8A93-B93F222847D3}"/>
              </a:ext>
            </a:extLst>
          </p:cNvPr>
          <p:cNvGraphicFramePr>
            <a:graphicFrameLocks noGrp="1"/>
          </p:cNvGraphicFramePr>
          <p:nvPr>
            <p:extLst>
              <p:ext uri="{D42A27DB-BD31-4B8C-83A1-F6EECF244321}">
                <p14:modId xmlns:p14="http://schemas.microsoft.com/office/powerpoint/2010/main" val="4191221745"/>
              </p:ext>
            </p:extLst>
          </p:nvPr>
        </p:nvGraphicFramePr>
        <p:xfrm>
          <a:off x="660693" y="1452598"/>
          <a:ext cx="10457241" cy="4606487"/>
        </p:xfrm>
        <a:graphic>
          <a:graphicData uri="http://schemas.openxmlformats.org/drawingml/2006/table">
            <a:tbl>
              <a:tblPr firstRow="1" bandRow="1">
                <a:tableStyleId>{6E25E649-3F16-4E02-A733-19D2CDBF48F0}</a:tableStyleId>
              </a:tblPr>
              <a:tblGrid>
                <a:gridCol w="2372440">
                  <a:extLst>
                    <a:ext uri="{9D8B030D-6E8A-4147-A177-3AD203B41FA5}">
                      <a16:colId xmlns:a16="http://schemas.microsoft.com/office/drawing/2014/main" val="4018025138"/>
                    </a:ext>
                  </a:extLst>
                </a:gridCol>
                <a:gridCol w="2297151">
                  <a:extLst>
                    <a:ext uri="{9D8B030D-6E8A-4147-A177-3AD203B41FA5}">
                      <a16:colId xmlns:a16="http://schemas.microsoft.com/office/drawing/2014/main" val="40030570"/>
                    </a:ext>
                  </a:extLst>
                </a:gridCol>
                <a:gridCol w="3468029">
                  <a:extLst>
                    <a:ext uri="{9D8B030D-6E8A-4147-A177-3AD203B41FA5}">
                      <a16:colId xmlns:a16="http://schemas.microsoft.com/office/drawing/2014/main" val="3815233620"/>
                    </a:ext>
                  </a:extLst>
                </a:gridCol>
                <a:gridCol w="2319621">
                  <a:extLst>
                    <a:ext uri="{9D8B030D-6E8A-4147-A177-3AD203B41FA5}">
                      <a16:colId xmlns:a16="http://schemas.microsoft.com/office/drawing/2014/main" val="3252232453"/>
                    </a:ext>
                  </a:extLst>
                </a:gridCol>
              </a:tblGrid>
              <a:tr h="583127">
                <a:tc>
                  <a:txBody>
                    <a:bodyPr/>
                    <a:lstStyle/>
                    <a:p>
                      <a:r>
                        <a:rPr lang="en-US" sz="2000" dirty="0">
                          <a:latin typeface="Calibri" panose="020F0502020204030204" pitchFamily="34" charset="0"/>
                          <a:cs typeface="Calibri" panose="020F0502020204030204" pitchFamily="34" charset="0"/>
                        </a:rPr>
                        <a:t>Trial Identifier</a:t>
                      </a:r>
                    </a:p>
                  </a:txBody>
                  <a:tcPr/>
                </a:tc>
                <a:tc>
                  <a:txBody>
                    <a:bodyPr/>
                    <a:lstStyle/>
                    <a:p>
                      <a:r>
                        <a:rPr lang="en-US" sz="2000" dirty="0">
                          <a:latin typeface="Calibri" panose="020F0502020204030204" pitchFamily="34" charset="0"/>
                          <a:cs typeface="Calibri" panose="020F0502020204030204" pitchFamily="34" charset="0"/>
                        </a:rPr>
                        <a:t>Setting</a:t>
                      </a:r>
                    </a:p>
                  </a:txBody>
                  <a:tcPr/>
                </a:tc>
                <a:tc>
                  <a:txBody>
                    <a:bodyPr/>
                    <a:lstStyle/>
                    <a:p>
                      <a:r>
                        <a:rPr lang="en-US" sz="2000" dirty="0">
                          <a:latin typeface="Calibri" panose="020F0502020204030204" pitchFamily="34" charset="0"/>
                          <a:cs typeface="Calibri" panose="020F0502020204030204" pitchFamily="34" charset="0"/>
                        </a:rPr>
                        <a:t>Treatment Arms</a:t>
                      </a:r>
                    </a:p>
                  </a:txBody>
                  <a:tcPr/>
                </a:tc>
                <a:tc>
                  <a:txBody>
                    <a:bodyPr/>
                    <a:lstStyle/>
                    <a:p>
                      <a:r>
                        <a:rPr lang="en-US" sz="2000" dirty="0">
                          <a:latin typeface="Calibri" panose="020F0502020204030204" pitchFamily="34" charset="0"/>
                          <a:cs typeface="Calibri" panose="020F0502020204030204" pitchFamily="34" charset="0"/>
                        </a:rPr>
                        <a:t>Primary Endpoint</a:t>
                      </a:r>
                    </a:p>
                  </a:txBody>
                  <a:tcPr/>
                </a:tc>
                <a:extLst>
                  <a:ext uri="{0D108BD9-81ED-4DB2-BD59-A6C34878D82A}">
                    <a16:rowId xmlns:a16="http://schemas.microsoft.com/office/drawing/2014/main" val="931724605"/>
                  </a:ext>
                </a:extLst>
              </a:tr>
              <a:tr h="583127">
                <a:tc>
                  <a:txBody>
                    <a:bodyPr/>
                    <a:lstStyle/>
                    <a:p>
                      <a:r>
                        <a:rPr lang="en-US" sz="2000" dirty="0">
                          <a:latin typeface="Calibri" panose="020F0502020204030204" pitchFamily="34" charset="0"/>
                          <a:cs typeface="Calibri" panose="020F0502020204030204" pitchFamily="34" charset="0"/>
                        </a:rPr>
                        <a:t>SKYGLO</a:t>
                      </a:r>
                    </a:p>
                    <a:p>
                      <a:pPr marL="0" marR="0" indent="0" algn="l" defTabSz="914377" rtl="0" eaLnBrk="1" fontAlgn="auto" latinLnBrk="0" hangingPunct="1">
                        <a:lnSpc>
                          <a:spcPct val="100000"/>
                        </a:lnSpc>
                        <a:spcBef>
                          <a:spcPts val="0"/>
                        </a:spcBef>
                        <a:spcAft>
                          <a:spcPts val="0"/>
                        </a:spcAft>
                        <a:buClrTx/>
                        <a:buSzTx/>
                        <a:buFontTx/>
                        <a:buNone/>
                        <a:tabLst/>
                        <a:defRPr/>
                      </a:pPr>
                      <a:r>
                        <a:rPr lang="en-US" sz="2000" dirty="0">
                          <a:latin typeface="Calibri" panose="020F0502020204030204" pitchFamily="34" charset="0"/>
                          <a:cs typeface="Calibri" panose="020F0502020204030204" pitchFamily="34" charset="0"/>
                        </a:rPr>
                        <a:t>(NCT06047080)</a:t>
                      </a:r>
                    </a:p>
                  </a:txBody>
                  <a:tcPr/>
                </a:tc>
                <a:tc>
                  <a:txBody>
                    <a:bodyPr/>
                    <a:lstStyle/>
                    <a:p>
                      <a:r>
                        <a:rPr lang="en-US" sz="2000" dirty="0">
                          <a:latin typeface="Calibri" panose="020F0502020204030204" pitchFamily="34" charset="0"/>
                          <a:cs typeface="Calibri" panose="020F0502020204030204" pitchFamily="34" charset="0"/>
                        </a:rPr>
                        <a:t>Newly Diagnosed</a:t>
                      </a:r>
                    </a:p>
                  </a:txBody>
                  <a:tcPr/>
                </a:tc>
                <a:tc>
                  <a:txBody>
                    <a:bodyPr/>
                    <a:lstStyle/>
                    <a:p>
                      <a:pPr marL="285750" indent="-285750">
                        <a:buFont typeface="Arial" panose="020B0604020202020204" pitchFamily="34" charset="0"/>
                        <a:buChar char="•"/>
                      </a:pPr>
                      <a:r>
                        <a:rPr lang="en-US" sz="2000" dirty="0" err="1">
                          <a:latin typeface="Calibri" panose="020F0502020204030204" pitchFamily="34" charset="0"/>
                          <a:cs typeface="Calibri" panose="020F0502020204030204" pitchFamily="34" charset="0"/>
                        </a:rPr>
                        <a:t>Glofitamab</a:t>
                      </a:r>
                      <a:r>
                        <a:rPr lang="en-US" sz="2000" dirty="0">
                          <a:latin typeface="Calibri" panose="020F0502020204030204" pitchFamily="34" charset="0"/>
                          <a:cs typeface="Calibri" panose="020F0502020204030204" pitchFamily="34" charset="0"/>
                        </a:rPr>
                        <a:t> + Pola-R-CHP</a:t>
                      </a:r>
                    </a:p>
                    <a:p>
                      <a:pPr marL="285750" indent="-285750">
                        <a:buFont typeface="Arial" panose="020B0604020202020204" pitchFamily="34" charset="0"/>
                        <a:buChar char="•"/>
                      </a:pPr>
                      <a:r>
                        <a:rPr lang="en-US" sz="2000" dirty="0">
                          <a:latin typeface="Calibri" panose="020F0502020204030204" pitchFamily="34" charset="0"/>
                          <a:cs typeface="Calibri" panose="020F0502020204030204" pitchFamily="34" charset="0"/>
                        </a:rPr>
                        <a:t>Pola-R-CHP</a:t>
                      </a:r>
                    </a:p>
                  </a:txBody>
                  <a:tcPr/>
                </a:tc>
                <a:tc>
                  <a:txBody>
                    <a:bodyPr/>
                    <a:lstStyle/>
                    <a:p>
                      <a:pPr marL="0" indent="0">
                        <a:buFont typeface="Arial" panose="020B0604020202020204" pitchFamily="34" charset="0"/>
                        <a:buNone/>
                      </a:pPr>
                      <a:r>
                        <a:rPr lang="en-US" sz="2000" dirty="0">
                          <a:latin typeface="Calibri" panose="020F0502020204030204" pitchFamily="34" charset="0"/>
                          <a:cs typeface="Calibri" panose="020F0502020204030204" pitchFamily="34" charset="0"/>
                        </a:rPr>
                        <a:t>PFS</a:t>
                      </a:r>
                    </a:p>
                  </a:txBody>
                  <a:tcPr/>
                </a:tc>
                <a:extLst>
                  <a:ext uri="{0D108BD9-81ED-4DB2-BD59-A6C34878D82A}">
                    <a16:rowId xmlns:a16="http://schemas.microsoft.com/office/drawing/2014/main" val="441948513"/>
                  </a:ext>
                </a:extLst>
              </a:tr>
              <a:tr h="583127">
                <a:tc>
                  <a:txBody>
                    <a:bodyPr/>
                    <a:lstStyle/>
                    <a:p>
                      <a:r>
                        <a:rPr lang="en-US" sz="2000" dirty="0">
                          <a:latin typeface="Calibri" panose="020F0502020204030204" pitchFamily="34" charset="0"/>
                          <a:cs typeface="Calibri" panose="020F0502020204030204" pitchFamily="34" charset="0"/>
                        </a:rPr>
                        <a:t>EPCORE-DLBCL-2</a:t>
                      </a:r>
                    </a:p>
                    <a:p>
                      <a:pPr marL="0" marR="0" indent="0" algn="l" defTabSz="914377" rtl="0" eaLnBrk="1" fontAlgn="auto" latinLnBrk="0" hangingPunct="1">
                        <a:lnSpc>
                          <a:spcPct val="100000"/>
                        </a:lnSpc>
                        <a:spcBef>
                          <a:spcPts val="0"/>
                        </a:spcBef>
                        <a:spcAft>
                          <a:spcPts val="0"/>
                        </a:spcAft>
                        <a:buClrTx/>
                        <a:buSzTx/>
                        <a:buFontTx/>
                        <a:buNone/>
                        <a:tabLst/>
                        <a:defRPr/>
                      </a:pPr>
                      <a:r>
                        <a:rPr lang="en-US" sz="2000" dirty="0">
                          <a:latin typeface="Calibri" panose="020F0502020204030204" pitchFamily="34" charset="0"/>
                          <a:cs typeface="Calibri" panose="020F0502020204030204" pitchFamily="34" charset="0"/>
                        </a:rPr>
                        <a:t>(NCT05578976)</a:t>
                      </a:r>
                    </a:p>
                  </a:txBody>
                  <a:tcPr/>
                </a:tc>
                <a:tc>
                  <a:txBody>
                    <a:bodyPr/>
                    <a:lstStyle/>
                    <a:p>
                      <a:r>
                        <a:rPr lang="en-US" sz="2000" dirty="0">
                          <a:latin typeface="Calibri" panose="020F0502020204030204" pitchFamily="34" charset="0"/>
                          <a:cs typeface="Calibri" panose="020F0502020204030204" pitchFamily="34" charset="0"/>
                        </a:rPr>
                        <a:t>Newly Diagnosed</a:t>
                      </a:r>
                    </a:p>
                  </a:txBody>
                  <a:tcPr/>
                </a:tc>
                <a:tc>
                  <a:txBody>
                    <a:bodyPr/>
                    <a:lstStyle/>
                    <a:p>
                      <a:pPr marL="285750" indent="-285750">
                        <a:buFont typeface="Arial" panose="020B0604020202020204" pitchFamily="34" charset="0"/>
                        <a:buChar char="•"/>
                      </a:pPr>
                      <a:r>
                        <a:rPr lang="en-US" sz="2000" dirty="0" err="1">
                          <a:latin typeface="Calibri" panose="020F0502020204030204" pitchFamily="34" charset="0"/>
                          <a:cs typeface="Calibri" panose="020F0502020204030204" pitchFamily="34" charset="0"/>
                        </a:rPr>
                        <a:t>Epcoritamab</a:t>
                      </a:r>
                      <a:r>
                        <a:rPr lang="en-US" sz="2000" dirty="0">
                          <a:latin typeface="Calibri" panose="020F0502020204030204" pitchFamily="34" charset="0"/>
                          <a:cs typeface="Calibri" panose="020F0502020204030204" pitchFamily="34" charset="0"/>
                        </a:rPr>
                        <a:t> + R-CHOP</a:t>
                      </a:r>
                    </a:p>
                    <a:p>
                      <a:pPr marL="285750" indent="-285750">
                        <a:buFont typeface="Arial" panose="020B0604020202020204" pitchFamily="34" charset="0"/>
                        <a:buChar char="•"/>
                      </a:pPr>
                      <a:r>
                        <a:rPr lang="en-US" sz="2000" dirty="0">
                          <a:latin typeface="Calibri" panose="020F0502020204030204" pitchFamily="34" charset="0"/>
                          <a:cs typeface="Calibri" panose="020F0502020204030204" pitchFamily="34" charset="0"/>
                        </a:rPr>
                        <a:t>R-CHOP</a:t>
                      </a:r>
                    </a:p>
                  </a:txBody>
                  <a:tcPr/>
                </a:tc>
                <a:tc>
                  <a:txBody>
                    <a:bodyPr/>
                    <a:lstStyle/>
                    <a:p>
                      <a:r>
                        <a:rPr lang="en-US" sz="2000" dirty="0">
                          <a:latin typeface="Calibri" panose="020F0502020204030204" pitchFamily="34" charset="0"/>
                          <a:cs typeface="Calibri" panose="020F0502020204030204" pitchFamily="34" charset="0"/>
                        </a:rPr>
                        <a:t>PFS with IPI 3-5</a:t>
                      </a:r>
                    </a:p>
                  </a:txBody>
                  <a:tcPr/>
                </a:tc>
                <a:extLst>
                  <a:ext uri="{0D108BD9-81ED-4DB2-BD59-A6C34878D82A}">
                    <a16:rowId xmlns:a16="http://schemas.microsoft.com/office/drawing/2014/main" val="1261258368"/>
                  </a:ext>
                </a:extLst>
              </a:tr>
              <a:tr h="583127">
                <a:tc>
                  <a:txBody>
                    <a:bodyPr/>
                    <a:lstStyle/>
                    <a:p>
                      <a:r>
                        <a:rPr lang="en-US" sz="2000" dirty="0">
                          <a:latin typeface="Calibri" panose="020F0502020204030204" pitchFamily="34" charset="0"/>
                          <a:cs typeface="Calibri" panose="020F0502020204030204" pitchFamily="34" charset="0"/>
                        </a:rPr>
                        <a:t>Olympia-3</a:t>
                      </a:r>
                    </a:p>
                    <a:p>
                      <a:r>
                        <a:rPr lang="en-US" sz="2000" dirty="0">
                          <a:latin typeface="Calibri" panose="020F0502020204030204" pitchFamily="34" charset="0"/>
                          <a:cs typeface="Calibri" panose="020F0502020204030204" pitchFamily="34" charset="0"/>
                        </a:rPr>
                        <a:t>(NCT06091865)</a:t>
                      </a:r>
                    </a:p>
                  </a:txBody>
                  <a:tcPr/>
                </a:tc>
                <a:tc>
                  <a:txBody>
                    <a:bodyPr/>
                    <a:lstStyle/>
                    <a:p>
                      <a:r>
                        <a:rPr lang="en-US" sz="2000" dirty="0">
                          <a:latin typeface="Calibri" panose="020F0502020204030204" pitchFamily="34" charset="0"/>
                          <a:cs typeface="Calibri" panose="020F0502020204030204" pitchFamily="34" charset="0"/>
                        </a:rPr>
                        <a:t>Newly Diagnosed</a:t>
                      </a:r>
                    </a:p>
                  </a:txBody>
                  <a:tcPr/>
                </a:tc>
                <a:tc>
                  <a:txBody>
                    <a:bodyPr/>
                    <a:lstStyle/>
                    <a:p>
                      <a:pPr marL="285750" indent="-285750">
                        <a:buFont typeface="Arial" panose="020B0604020202020204" pitchFamily="34" charset="0"/>
                        <a:buChar char="•"/>
                      </a:pPr>
                      <a:r>
                        <a:rPr lang="en-US" sz="2000" dirty="0" err="1">
                          <a:latin typeface="Calibri" panose="020F0502020204030204" pitchFamily="34" charset="0"/>
                          <a:cs typeface="Calibri" panose="020F0502020204030204" pitchFamily="34" charset="0"/>
                        </a:rPr>
                        <a:t>Odronextamab</a:t>
                      </a:r>
                      <a:r>
                        <a:rPr lang="en-US" sz="2000" dirty="0">
                          <a:latin typeface="Calibri" panose="020F0502020204030204" pitchFamily="34" charset="0"/>
                          <a:cs typeface="Calibri" panose="020F0502020204030204" pitchFamily="34" charset="0"/>
                        </a:rPr>
                        <a:t> + CHOP</a:t>
                      </a:r>
                    </a:p>
                    <a:p>
                      <a:pPr marL="285750" indent="-285750">
                        <a:buFont typeface="Arial" panose="020B0604020202020204" pitchFamily="34" charset="0"/>
                        <a:buChar char="•"/>
                      </a:pPr>
                      <a:r>
                        <a:rPr lang="en-US" sz="2000" dirty="0">
                          <a:latin typeface="Calibri" panose="020F0502020204030204" pitchFamily="34" charset="0"/>
                          <a:cs typeface="Calibri" panose="020F0502020204030204" pitchFamily="34" charset="0"/>
                        </a:rPr>
                        <a:t>R-CHOP</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2000" dirty="0">
                          <a:latin typeface="Calibri" panose="020F0502020204030204" pitchFamily="34" charset="0"/>
                          <a:cs typeface="Calibri" panose="020F0502020204030204" pitchFamily="34" charset="0"/>
                        </a:rPr>
                        <a:t>PFS</a:t>
                      </a:r>
                    </a:p>
                  </a:txBody>
                  <a:tcPr/>
                </a:tc>
                <a:extLst>
                  <a:ext uri="{0D108BD9-81ED-4DB2-BD59-A6C34878D82A}">
                    <a16:rowId xmlns:a16="http://schemas.microsoft.com/office/drawing/2014/main" val="466354209"/>
                  </a:ext>
                </a:extLst>
              </a:tr>
              <a:tr h="583127">
                <a:tc>
                  <a:txBody>
                    <a:bodyPr/>
                    <a:lstStyle/>
                    <a:p>
                      <a:r>
                        <a:rPr lang="en-US" sz="2000" dirty="0">
                          <a:latin typeface="Calibri" panose="020F0502020204030204" pitchFamily="34" charset="0"/>
                          <a:cs typeface="Calibri" panose="020F0502020204030204" pitchFamily="34" charset="0"/>
                        </a:rPr>
                        <a:t>EPCORE-DLBCL-4</a:t>
                      </a:r>
                    </a:p>
                    <a:p>
                      <a:r>
                        <a:rPr lang="en-US" sz="2000" dirty="0">
                          <a:latin typeface="Calibri" panose="020F0502020204030204" pitchFamily="34" charset="0"/>
                          <a:cs typeface="Calibri" panose="020F0502020204030204" pitchFamily="34" charset="0"/>
                        </a:rPr>
                        <a:t>(NCT06508658)</a:t>
                      </a:r>
                    </a:p>
                  </a:txBody>
                  <a:tcPr/>
                </a:tc>
                <a:tc>
                  <a:txBody>
                    <a:bodyPr/>
                    <a:lstStyle/>
                    <a:p>
                      <a:r>
                        <a:rPr lang="en-US" sz="2000" dirty="0">
                          <a:latin typeface="Calibri" panose="020F0502020204030204" pitchFamily="34" charset="0"/>
                          <a:cs typeface="Calibri" panose="020F0502020204030204" pitchFamily="34" charset="0"/>
                        </a:rPr>
                        <a:t>Relapsed/Refractory</a:t>
                      </a:r>
                    </a:p>
                  </a:txBody>
                  <a:tcPr/>
                </a:tc>
                <a:tc>
                  <a:txBody>
                    <a:bodyPr/>
                    <a:lstStyle/>
                    <a:p>
                      <a:pPr marL="285750" indent="-285750">
                        <a:buFont typeface="Arial" panose="020B0604020202020204" pitchFamily="34" charset="0"/>
                        <a:buChar char="•"/>
                      </a:pPr>
                      <a:r>
                        <a:rPr lang="en-US" sz="2000" u="sng" dirty="0">
                          <a:latin typeface="Calibri" panose="020F0502020204030204" pitchFamily="34" charset="0"/>
                          <a:cs typeface="Calibri" panose="020F0502020204030204" pitchFamily="34" charset="0"/>
                        </a:rPr>
                        <a:t>Arm A</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Epcoritamab</a:t>
                      </a:r>
                      <a:r>
                        <a:rPr lang="en-US" sz="2000" dirty="0">
                          <a:latin typeface="Calibri" panose="020F0502020204030204" pitchFamily="34" charset="0"/>
                          <a:cs typeface="Calibri" panose="020F0502020204030204" pitchFamily="34" charset="0"/>
                        </a:rPr>
                        <a:t> (subcutaneous) + Lenalidomide</a:t>
                      </a:r>
                    </a:p>
                    <a:p>
                      <a:pPr marL="285750" indent="-285750">
                        <a:buFont typeface="Arial" panose="020B0604020202020204" pitchFamily="34" charset="0"/>
                        <a:buChar char="•"/>
                      </a:pPr>
                      <a:r>
                        <a:rPr lang="en-US" sz="2000" u="sng" dirty="0">
                          <a:latin typeface="Calibri" panose="020F0502020204030204" pitchFamily="34" charset="0"/>
                          <a:cs typeface="Calibri" panose="020F0502020204030204" pitchFamily="34" charset="0"/>
                        </a:rPr>
                        <a:t>Arm B</a:t>
                      </a:r>
                      <a:r>
                        <a:rPr lang="en-US" sz="2000" dirty="0">
                          <a:latin typeface="Calibri" panose="020F0502020204030204" pitchFamily="34" charset="0"/>
                          <a:cs typeface="Calibri" panose="020F0502020204030204" pitchFamily="34" charset="0"/>
                        </a:rPr>
                        <a:t>: R-</a:t>
                      </a:r>
                      <a:r>
                        <a:rPr lang="en-US" sz="2000" dirty="0" err="1">
                          <a:latin typeface="Calibri" panose="020F0502020204030204" pitchFamily="34" charset="0"/>
                          <a:cs typeface="Calibri" panose="020F0502020204030204" pitchFamily="34" charset="0"/>
                        </a:rPr>
                        <a:t>GemOx</a:t>
                      </a:r>
                      <a:endParaRPr lang="en-US" sz="2000" dirty="0">
                        <a:latin typeface="Calibri" panose="020F0502020204030204" pitchFamily="34" charset="0"/>
                        <a:cs typeface="Calibri" panose="020F0502020204030204" pitchFamily="34" charset="0"/>
                      </a:endParaRP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u="sng" dirty="0">
                          <a:latin typeface="Calibri" panose="020F0502020204030204" pitchFamily="34" charset="0"/>
                          <a:cs typeface="Calibri" panose="020F0502020204030204" pitchFamily="34" charset="0"/>
                        </a:rPr>
                        <a:t>Arm</a:t>
                      </a:r>
                      <a:r>
                        <a:rPr lang="en-US" sz="2000" dirty="0">
                          <a:latin typeface="Calibri" panose="020F0502020204030204" pitchFamily="34" charset="0"/>
                          <a:cs typeface="Calibri" panose="020F0502020204030204" pitchFamily="34" charset="0"/>
                        </a:rPr>
                        <a:t> C: </a:t>
                      </a:r>
                      <a:r>
                        <a:rPr lang="en-US" sz="2000" dirty="0" err="1">
                          <a:latin typeface="Calibri" panose="020F0502020204030204" pitchFamily="34" charset="0"/>
                          <a:cs typeface="Calibri" panose="020F0502020204030204" pitchFamily="34" charset="0"/>
                        </a:rPr>
                        <a:t>Epcoritamab</a:t>
                      </a:r>
                      <a:r>
                        <a:rPr lang="en-US" sz="2000" dirty="0">
                          <a:latin typeface="Calibri" panose="020F0502020204030204" pitchFamily="34" charset="0"/>
                          <a:cs typeface="Calibri" panose="020F0502020204030204" pitchFamily="34" charset="0"/>
                        </a:rPr>
                        <a:t> (subcutaneous) </a:t>
                      </a:r>
                    </a:p>
                  </a:txBody>
                  <a:tcPr/>
                </a:tc>
                <a:tc>
                  <a:txBody>
                    <a:bodyPr/>
                    <a:lstStyle/>
                    <a:p>
                      <a:r>
                        <a:rPr lang="en-US" sz="2000" dirty="0">
                          <a:latin typeface="Calibri" panose="020F0502020204030204" pitchFamily="34" charset="0"/>
                          <a:cs typeface="Calibri" panose="020F0502020204030204" pitchFamily="34" charset="0"/>
                        </a:rPr>
                        <a:t>PFS</a:t>
                      </a:r>
                    </a:p>
                  </a:txBody>
                  <a:tcPr/>
                </a:tc>
                <a:extLst>
                  <a:ext uri="{0D108BD9-81ED-4DB2-BD59-A6C34878D82A}">
                    <a16:rowId xmlns:a16="http://schemas.microsoft.com/office/drawing/2014/main" val="3884534523"/>
                  </a:ext>
                </a:extLst>
              </a:tr>
            </a:tbl>
          </a:graphicData>
        </a:graphic>
      </p:graphicFrame>
      <p:sp>
        <p:nvSpPr>
          <p:cNvPr id="7" name="TextBox 6">
            <a:extLst>
              <a:ext uri="{FF2B5EF4-FFF2-40B4-BE49-F238E27FC236}">
                <a16:creationId xmlns:a16="http://schemas.microsoft.com/office/drawing/2014/main" id="{F66A0EDF-5A28-9FEB-68B6-B8ABC21FA9EC}"/>
              </a:ext>
            </a:extLst>
          </p:cNvPr>
          <p:cNvSpPr txBox="1"/>
          <p:nvPr/>
        </p:nvSpPr>
        <p:spPr>
          <a:xfrm>
            <a:off x="549180" y="6373716"/>
            <a:ext cx="4206473" cy="3385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www.clinicaltrials.gov</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ccessed May 2026).</a:t>
            </a:r>
          </a:p>
        </p:txBody>
      </p:sp>
    </p:spTree>
    <p:extLst>
      <p:ext uri="{BB962C8B-B14F-4D97-AF65-F5344CB8AC3E}">
        <p14:creationId xmlns:p14="http://schemas.microsoft.com/office/powerpoint/2010/main" val="24166451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14F7A9-D842-DD8E-4E37-647A435C80E2}"/>
              </a:ext>
            </a:extLst>
          </p:cNvPr>
          <p:cNvSpPr>
            <a:spLocks noGrp="1"/>
          </p:cNvSpPr>
          <p:nvPr>
            <p:ph type="title"/>
          </p:nvPr>
        </p:nvSpPr>
        <p:spPr>
          <a:xfrm>
            <a:off x="549180" y="315007"/>
            <a:ext cx="11082528" cy="822960"/>
          </a:xfrm>
        </p:spPr>
        <p:txBody>
          <a:bodyPr/>
          <a:lstStyle/>
          <a:p>
            <a:r>
              <a:rPr lang="en-US" b="1" dirty="0">
                <a:latin typeface="Arial" panose="020B0604020202020204" pitchFamily="34" charset="0"/>
                <a:cs typeface="Arial" panose="020B0604020202020204" pitchFamily="34" charset="0"/>
              </a:rPr>
              <a:t>Smart 3</a:t>
            </a:r>
          </a:p>
        </p:txBody>
      </p:sp>
      <p:sp>
        <p:nvSpPr>
          <p:cNvPr id="5" name="Footer Placeholder 4">
            <a:extLst>
              <a:ext uri="{FF2B5EF4-FFF2-40B4-BE49-F238E27FC236}">
                <a16:creationId xmlns:a16="http://schemas.microsoft.com/office/drawing/2014/main" id="{D06581ED-E7E5-56A2-7534-27C584E3C6EF}"/>
              </a:ext>
            </a:extLst>
          </p:cNvPr>
          <p:cNvSpPr txBox="1">
            <a:spLocks noGrp="1"/>
          </p:cNvSpPr>
          <p:nvPr>
            <p:ph type="ftr" sz="quarter" idx="11"/>
          </p:nvPr>
        </p:nvSpPr>
        <p:spPr>
          <a:xfrm>
            <a:off x="2173624" y="6433792"/>
            <a:ext cx="2070182" cy="307777"/>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tint val="82000"/>
                  </a:prstClr>
                </a:solidFill>
                <a:effectLst/>
                <a:uLnTx/>
                <a:uFillTx/>
                <a:latin typeface="Aptos" panose="02110004020202020204"/>
                <a:ea typeface="Calibri" panose="020F0502020204030204" pitchFamily="34" charset="0"/>
                <a:cs typeface="Calibri" panose="020F0502020204030204" pitchFamily="34" charset="0"/>
              </a:rPr>
              <a:t>Chihara D and Westin JR</a:t>
            </a:r>
          </a:p>
        </p:txBody>
      </p:sp>
      <p:pic>
        <p:nvPicPr>
          <p:cNvPr id="4" name="Picture 3">
            <a:extLst>
              <a:ext uri="{FF2B5EF4-FFF2-40B4-BE49-F238E27FC236}">
                <a16:creationId xmlns:a16="http://schemas.microsoft.com/office/drawing/2014/main" id="{CCC71A64-13CD-6831-25B1-ED36413427FE}"/>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360512" y="1220363"/>
            <a:ext cx="11831488" cy="4554053"/>
          </a:xfrm>
          <a:prstGeom prst="rect">
            <a:avLst/>
          </a:prstGeom>
        </p:spPr>
      </p:pic>
      <p:sp>
        <p:nvSpPr>
          <p:cNvPr id="3" name="Rectangle 2">
            <a:extLst>
              <a:ext uri="{FF2B5EF4-FFF2-40B4-BE49-F238E27FC236}">
                <a16:creationId xmlns:a16="http://schemas.microsoft.com/office/drawing/2014/main" id="{51648E1D-09E2-40FF-DC94-EDE953E8C98C}"/>
              </a:ext>
            </a:extLst>
          </p:cNvPr>
          <p:cNvSpPr/>
          <p:nvPr/>
        </p:nvSpPr>
        <p:spPr>
          <a:xfrm>
            <a:off x="3092917" y="3798771"/>
            <a:ext cx="1353955" cy="26950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985475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2422B0-56A0-2546-435D-FD9921164C9C}"/>
              </a:ext>
            </a:extLst>
          </p:cNvPr>
          <p:cNvSpPr>
            <a:spLocks noGrp="1"/>
          </p:cNvSpPr>
          <p:nvPr>
            <p:ph type="title"/>
          </p:nvPr>
        </p:nvSpPr>
        <p:spPr/>
        <p:txBody>
          <a:bodyPr>
            <a:normAutofit/>
          </a:bodyPr>
          <a:lstStyle/>
          <a:p>
            <a:r>
              <a:rPr lang="en-US" dirty="0">
                <a:latin typeface="Arial" panose="020B0604020202020204" pitchFamily="34" charset="0"/>
                <a:cs typeface="Arial" panose="020B0604020202020204" pitchFamily="34" charset="0"/>
              </a:rPr>
              <a:t>Conclusion:</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Bispecific Antibody Therapy for DLBCL </a:t>
            </a:r>
          </a:p>
        </p:txBody>
      </p:sp>
      <p:sp>
        <p:nvSpPr>
          <p:cNvPr id="3" name="Content Placeholder 2">
            <a:extLst>
              <a:ext uri="{FF2B5EF4-FFF2-40B4-BE49-F238E27FC236}">
                <a16:creationId xmlns:a16="http://schemas.microsoft.com/office/drawing/2014/main" id="{B42E3C85-1F50-DD47-F567-6D2BC7DE21A6}"/>
              </a:ext>
            </a:extLst>
          </p:cNvPr>
          <p:cNvSpPr>
            <a:spLocks noGrp="1"/>
          </p:cNvSpPr>
          <p:nvPr>
            <p:ph idx="1"/>
          </p:nvPr>
        </p:nvSpPr>
        <p:spPr/>
        <p:txBody>
          <a:bodyPr/>
          <a:lstStyle/>
          <a:p>
            <a:r>
              <a:rPr lang="en-US" dirty="0">
                <a:latin typeface="Arial" panose="020B0604020202020204" pitchFamily="34" charset="0"/>
                <a:cs typeface="Arial" panose="020B0604020202020204" pitchFamily="34" charset="0"/>
              </a:rPr>
              <a:t>Highly effective as single agents in R/R LBCL</a:t>
            </a:r>
          </a:p>
          <a:p>
            <a:pPr lvl="1"/>
            <a:r>
              <a:rPr lang="en-US" dirty="0">
                <a:latin typeface="Arial" panose="020B0604020202020204" pitchFamily="34" charset="0"/>
                <a:cs typeface="Arial" panose="020B0604020202020204" pitchFamily="34" charset="0"/>
              </a:rPr>
              <a:t>Glofit CRR: 40%, </a:t>
            </a:r>
            <a:r>
              <a:rPr lang="en-US" dirty="0" err="1">
                <a:latin typeface="Arial" panose="020B0604020202020204" pitchFamily="34" charset="0"/>
                <a:cs typeface="Arial" panose="020B0604020202020204" pitchFamily="34" charset="0"/>
              </a:rPr>
              <a:t>Epco</a:t>
            </a:r>
            <a:r>
              <a:rPr lang="en-US" dirty="0">
                <a:latin typeface="Arial" panose="020B0604020202020204" pitchFamily="34" charset="0"/>
                <a:cs typeface="Arial" panose="020B0604020202020204" pitchFamily="34" charset="0"/>
              </a:rPr>
              <a:t> CRR 39%</a:t>
            </a:r>
          </a:p>
          <a:p>
            <a:r>
              <a:rPr lang="en-US" dirty="0">
                <a:latin typeface="Arial" panose="020B0604020202020204" pitchFamily="34" charset="0"/>
                <a:cs typeface="Arial" panose="020B0604020202020204" pitchFamily="34" charset="0"/>
              </a:rPr>
              <a:t>Highly effective compared with </a:t>
            </a:r>
            <a:r>
              <a:rPr lang="en-US" dirty="0" err="1">
                <a:latin typeface="Arial" panose="020B0604020202020204" pitchFamily="34" charset="0"/>
                <a:cs typeface="Arial" panose="020B0604020202020204" pitchFamily="34" charset="0"/>
              </a:rPr>
              <a:t>GemOx</a:t>
            </a:r>
            <a:endParaRPr lang="en-US" dirty="0">
              <a:latin typeface="Arial" panose="020B0604020202020204" pitchFamily="34" charset="0"/>
              <a:cs typeface="Arial" panose="020B0604020202020204" pitchFamily="34" charset="0"/>
            </a:endParaRPr>
          </a:p>
          <a:p>
            <a:pPr lvl="1"/>
            <a:r>
              <a:rPr lang="en-US" dirty="0">
                <a:latin typeface="Arial" panose="020B0604020202020204" pitchFamily="34" charset="0"/>
                <a:cs typeface="Arial" panose="020B0604020202020204" pitchFamily="34" charset="0"/>
              </a:rPr>
              <a:t>Glofit-</a:t>
            </a:r>
            <a:r>
              <a:rPr lang="en-US" dirty="0" err="1">
                <a:latin typeface="Arial" panose="020B0604020202020204" pitchFamily="34" charset="0"/>
                <a:cs typeface="Arial" panose="020B0604020202020204" pitchFamily="34" charset="0"/>
              </a:rPr>
              <a:t>GemOx</a:t>
            </a:r>
            <a:r>
              <a:rPr lang="en-US" dirty="0">
                <a:latin typeface="Arial" panose="020B0604020202020204" pitchFamily="34" charset="0"/>
                <a:cs typeface="Arial" panose="020B0604020202020204" pitchFamily="34" charset="0"/>
              </a:rPr>
              <a:t> improved OS</a:t>
            </a:r>
          </a:p>
          <a:p>
            <a:pPr lvl="1"/>
            <a:r>
              <a:rPr lang="en-US" dirty="0" err="1">
                <a:latin typeface="Arial" panose="020B0604020202020204" pitchFamily="34" charset="0"/>
                <a:cs typeface="Arial" panose="020B0604020202020204" pitchFamily="34" charset="0"/>
              </a:rPr>
              <a:t>Epco</a:t>
            </a:r>
            <a:r>
              <a:rPr lang="en-US" dirty="0">
                <a:latin typeface="Arial" panose="020B0604020202020204" pitchFamily="34" charset="0"/>
                <a:cs typeface="Arial" panose="020B0604020202020204" pitchFamily="34" charset="0"/>
              </a:rPr>
              <a:t> improved PFS</a:t>
            </a:r>
          </a:p>
          <a:p>
            <a:pPr lvl="1"/>
            <a:r>
              <a:rPr lang="en-US" dirty="0" err="1">
                <a:latin typeface="Arial" panose="020B0604020202020204" pitchFamily="34" charset="0"/>
                <a:cs typeface="Arial" panose="020B0604020202020204" pitchFamily="34" charset="0"/>
              </a:rPr>
              <a:t>Mosun</a:t>
            </a:r>
            <a:r>
              <a:rPr lang="en-US" dirty="0">
                <a:latin typeface="Arial" panose="020B0604020202020204" pitchFamily="34" charset="0"/>
                <a:cs typeface="Arial" panose="020B0604020202020204" pitchFamily="34" charset="0"/>
              </a:rPr>
              <a:t>-Pola improved PFS</a:t>
            </a:r>
          </a:p>
          <a:p>
            <a:r>
              <a:rPr lang="en-US">
                <a:latin typeface="Arial" panose="020B0604020202020204" pitchFamily="34" charset="0"/>
                <a:cs typeface="Arial" panose="020B0604020202020204" pitchFamily="34" charset="0"/>
              </a:rPr>
              <a:t>Frontline </a:t>
            </a:r>
            <a:r>
              <a:rPr lang="en-US" dirty="0">
                <a:latin typeface="Arial" panose="020B0604020202020204" pitchFamily="34" charset="0"/>
                <a:cs typeface="Arial" panose="020B0604020202020204" pitchFamily="34" charset="0"/>
              </a:rPr>
              <a:t>trials are eagerly anticipated</a:t>
            </a:r>
          </a:p>
        </p:txBody>
      </p:sp>
    </p:spTree>
    <p:extLst>
      <p:ext uri="{BB962C8B-B14F-4D97-AF65-F5344CB8AC3E}">
        <p14:creationId xmlns:p14="http://schemas.microsoft.com/office/powerpoint/2010/main" val="38806026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84D6B-0C7E-834C-6980-06E2FB9E5D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12495D-3203-8A07-60C1-23CF98636384}"/>
              </a:ext>
            </a:extLst>
          </p:cNvPr>
          <p:cNvSpPr>
            <a:spLocks noGrp="1"/>
          </p:cNvSpPr>
          <p:nvPr>
            <p:ph type="title"/>
          </p:nvPr>
        </p:nvSpPr>
        <p:spPr>
          <a:xfrm>
            <a:off x="912286" y="227013"/>
            <a:ext cx="10358967" cy="852640"/>
          </a:xfrm>
        </p:spPr>
        <p:txBody>
          <a:bodyPr/>
          <a:lstStyle/>
          <a:p>
            <a:r>
              <a:rPr lang="en-US" sz="3600" dirty="0"/>
              <a:t>Discussion Questions</a:t>
            </a:r>
          </a:p>
        </p:txBody>
      </p:sp>
      <p:sp>
        <p:nvSpPr>
          <p:cNvPr id="3" name="Content Placeholder 2">
            <a:extLst>
              <a:ext uri="{FF2B5EF4-FFF2-40B4-BE49-F238E27FC236}">
                <a16:creationId xmlns:a16="http://schemas.microsoft.com/office/drawing/2014/main" id="{058966D4-896E-B009-6BF0-F15B534BB025}"/>
              </a:ext>
            </a:extLst>
          </p:cNvPr>
          <p:cNvSpPr>
            <a:spLocks noGrp="1"/>
          </p:cNvSpPr>
          <p:nvPr>
            <p:ph idx="1"/>
          </p:nvPr>
        </p:nvSpPr>
        <p:spPr>
          <a:xfrm>
            <a:off x="912286" y="1200839"/>
            <a:ext cx="10789920" cy="4799013"/>
          </a:xfrm>
        </p:spPr>
        <p:txBody>
          <a:bodyPr/>
          <a:lstStyle/>
          <a:p>
            <a:pPr marL="98425" indent="0">
              <a:lnSpc>
                <a:spcPct val="100000"/>
              </a:lnSpc>
              <a:spcBef>
                <a:spcPts val="936"/>
              </a:spcBef>
              <a:buNone/>
            </a:pPr>
            <a:r>
              <a:rPr lang="en-US" sz="2600" dirty="0">
                <a:solidFill>
                  <a:srgbClr val="171AA2"/>
                </a:solidFill>
              </a:rPr>
              <a:t>58 y/o man with stage IV DLBCL, non-GCB subtype </a:t>
            </a:r>
            <a:br>
              <a:rPr lang="en-US" sz="2600" dirty="0">
                <a:solidFill>
                  <a:srgbClr val="171AA2"/>
                </a:solidFill>
              </a:rPr>
            </a:br>
            <a:r>
              <a:rPr lang="en-US" sz="2600" dirty="0">
                <a:solidFill>
                  <a:srgbClr val="171AA2"/>
                </a:solidFill>
              </a:rPr>
              <a:t>R-CHOP as initial therapy with only partial response followed by progression within 6 months </a:t>
            </a:r>
            <a:br>
              <a:rPr lang="en-US" sz="2600" dirty="0">
                <a:solidFill>
                  <a:srgbClr val="171AA2"/>
                </a:solidFill>
              </a:rPr>
            </a:br>
            <a:r>
              <a:rPr lang="en-US" sz="2600" dirty="0">
                <a:solidFill>
                  <a:srgbClr val="171AA2"/>
                </a:solidFill>
              </a:rPr>
              <a:t>Salvage </a:t>
            </a:r>
            <a:r>
              <a:rPr lang="en-US" sz="2600" dirty="0" err="1">
                <a:solidFill>
                  <a:srgbClr val="171AA2"/>
                </a:solidFill>
              </a:rPr>
              <a:t>polatuzumab</a:t>
            </a:r>
            <a:r>
              <a:rPr lang="en-US" sz="2600" dirty="0">
                <a:solidFill>
                  <a:srgbClr val="171AA2"/>
                </a:solidFill>
              </a:rPr>
              <a:t> vedotin/BR with transient response but rapid progression </a:t>
            </a:r>
            <a:br>
              <a:rPr lang="en-US" sz="2600" dirty="0">
                <a:solidFill>
                  <a:srgbClr val="171AA2"/>
                </a:solidFill>
              </a:rPr>
            </a:br>
            <a:r>
              <a:rPr lang="en-US" sz="2600" dirty="0">
                <a:solidFill>
                  <a:srgbClr val="171AA2"/>
                </a:solidFill>
              </a:rPr>
              <a:t>CD19-directed CAR T-cell therapy with initial metabolic complete response on PET imaging</a:t>
            </a:r>
            <a:br>
              <a:rPr lang="en-US" sz="2600" dirty="0">
                <a:solidFill>
                  <a:srgbClr val="171AA2"/>
                </a:solidFill>
              </a:rPr>
            </a:br>
            <a:r>
              <a:rPr lang="en-US" sz="2600" dirty="0">
                <a:solidFill>
                  <a:srgbClr val="171AA2"/>
                </a:solidFill>
              </a:rPr>
              <a:t>Recurrent adenopathy and biopsy-confirmed relapse less than 6 months later</a:t>
            </a:r>
          </a:p>
          <a:p>
            <a:pPr marL="98425" indent="0">
              <a:lnSpc>
                <a:spcPct val="100000"/>
              </a:lnSpc>
              <a:spcBef>
                <a:spcPts val="936"/>
              </a:spcBef>
              <a:buNone/>
            </a:pPr>
            <a:r>
              <a:rPr lang="en-US" sz="2600" dirty="0"/>
              <a:t>How would you treat this patient? How are you thinking about bispecific antibody combinations for DLBCL? Are you prioritizing combinations over monotherapy for most patients? </a:t>
            </a:r>
          </a:p>
        </p:txBody>
      </p:sp>
    </p:spTree>
    <p:extLst>
      <p:ext uri="{BB962C8B-B14F-4D97-AF65-F5344CB8AC3E}">
        <p14:creationId xmlns:p14="http://schemas.microsoft.com/office/powerpoint/2010/main" val="25243653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5DA6D8-6BEC-330D-7005-154CB618C07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D136D2-BF3A-9E83-E26C-522F98AEB807}"/>
              </a:ext>
            </a:extLst>
          </p:cNvPr>
          <p:cNvSpPr>
            <a:spLocks noGrp="1"/>
          </p:cNvSpPr>
          <p:nvPr>
            <p:ph type="title"/>
          </p:nvPr>
        </p:nvSpPr>
        <p:spPr>
          <a:xfrm>
            <a:off x="916516" y="29760"/>
            <a:ext cx="10358967" cy="1383015"/>
          </a:xfrm>
        </p:spPr>
        <p:txBody>
          <a:bodyPr/>
          <a:lstStyle/>
          <a:p>
            <a:r>
              <a:rPr lang="en-US" sz="3200" dirty="0">
                <a:solidFill>
                  <a:srgbClr val="0432FF"/>
                </a:solidFill>
              </a:rPr>
              <a:t>Dr Abramson — Disclosures</a:t>
            </a:r>
            <a:br>
              <a:rPr lang="en-US" sz="3200" dirty="0">
                <a:solidFill>
                  <a:srgbClr val="0432FF"/>
                </a:solidFill>
              </a:rPr>
            </a:br>
            <a:r>
              <a:rPr lang="en-US" sz="3200" dirty="0">
                <a:solidFill>
                  <a:srgbClr val="0432FF"/>
                </a:solidFill>
              </a:rPr>
              <a:t>Moderator</a:t>
            </a:r>
          </a:p>
        </p:txBody>
      </p:sp>
      <p:graphicFrame>
        <p:nvGraphicFramePr>
          <p:cNvPr id="5" name="Content Placeholder 3">
            <a:extLst>
              <a:ext uri="{FF2B5EF4-FFF2-40B4-BE49-F238E27FC236}">
                <a16:creationId xmlns:a16="http://schemas.microsoft.com/office/drawing/2014/main" id="{DC378007-8BE1-6265-B4E8-4F8F24532136}"/>
              </a:ext>
            </a:extLst>
          </p:cNvPr>
          <p:cNvGraphicFramePr>
            <a:graphicFrameLocks/>
          </p:cNvGraphicFramePr>
          <p:nvPr>
            <p:extLst>
              <p:ext uri="{D42A27DB-BD31-4B8C-83A1-F6EECF244321}">
                <p14:modId xmlns:p14="http://schemas.microsoft.com/office/powerpoint/2010/main" val="1534924982"/>
              </p:ext>
            </p:extLst>
          </p:nvPr>
        </p:nvGraphicFramePr>
        <p:xfrm>
          <a:off x="983432" y="1700808"/>
          <a:ext cx="10225136" cy="2937397"/>
        </p:xfrm>
        <a:graphic>
          <a:graphicData uri="http://schemas.openxmlformats.org/drawingml/2006/table">
            <a:tbl>
              <a:tblPr firstRow="1" bandRow="1">
                <a:tableStyleId>{F2DE63D5-997A-4646-A377-4702673A728D}</a:tableStyleId>
              </a:tblPr>
              <a:tblGrid>
                <a:gridCol w="2664296">
                  <a:extLst>
                    <a:ext uri="{9D8B030D-6E8A-4147-A177-3AD203B41FA5}">
                      <a16:colId xmlns:a16="http://schemas.microsoft.com/office/drawing/2014/main" val="20000"/>
                    </a:ext>
                  </a:extLst>
                </a:gridCol>
                <a:gridCol w="7560840">
                  <a:extLst>
                    <a:ext uri="{9D8B030D-6E8A-4147-A177-3AD203B41FA5}">
                      <a16:colId xmlns:a16="http://schemas.microsoft.com/office/drawing/2014/main" val="20001"/>
                    </a:ext>
                  </a:extLst>
                </a:gridCol>
              </a:tblGrid>
              <a:tr h="1584177">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DC Therapeutics, AstraZeneca Pharmaceuticals LP, </a:t>
                      </a:r>
                      <a:r>
                        <a:rPr lang="en-US" sz="1800" b="0" kern="1200" dirty="0" err="1">
                          <a:solidFill>
                            <a:schemeClr val="tx1"/>
                          </a:solidFill>
                          <a:effectLst/>
                          <a:latin typeface="+mn-lt"/>
                          <a:ea typeface="+mn-ea"/>
                          <a:cs typeface="+mn-cs"/>
                        </a:rPr>
                        <a:t>BeOne</a:t>
                      </a:r>
                      <a:r>
                        <a:rPr lang="en-US" sz="1800" b="0" kern="1200" dirty="0">
                          <a:solidFill>
                            <a:schemeClr val="tx1"/>
                          </a:solidFill>
                          <a:effectLst/>
                          <a:latin typeface="+mn-lt"/>
                          <a:ea typeface="+mn-ea"/>
                          <a:cs typeface="+mn-cs"/>
                        </a:rPr>
                        <a:t>, Bristol Myers Squibb, Celgene Corporation, Foresight Diagnostics, Genentech, a member of the Roche Group, Gilead Sciences Inc, </a:t>
                      </a:r>
                      <a:r>
                        <a:rPr lang="en-US" sz="1800" b="0" kern="1200" dirty="0" err="1">
                          <a:solidFill>
                            <a:schemeClr val="tx1"/>
                          </a:solidFill>
                          <a:effectLst/>
                          <a:latin typeface="+mn-lt"/>
                          <a:ea typeface="+mn-ea"/>
                          <a:cs typeface="+mn-cs"/>
                        </a:rPr>
                        <a:t>Interius</a:t>
                      </a:r>
                      <a:r>
                        <a:rPr lang="en-US" sz="1800" b="0" kern="1200" dirty="0">
                          <a:solidFill>
                            <a:schemeClr val="tx1"/>
                          </a:solidFill>
                          <a:effectLst/>
                          <a:latin typeface="+mn-lt"/>
                          <a:ea typeface="+mn-ea"/>
                          <a:cs typeface="+mn-cs"/>
                        </a:rPr>
                        <a:t> </a:t>
                      </a:r>
                      <a:r>
                        <a:rPr lang="en-US" sz="1800" b="0" kern="1200" dirty="0" err="1">
                          <a:solidFill>
                            <a:schemeClr val="tx1"/>
                          </a:solidFill>
                          <a:effectLst/>
                          <a:latin typeface="+mn-lt"/>
                          <a:ea typeface="+mn-ea"/>
                          <a:cs typeface="+mn-cs"/>
                        </a:rPr>
                        <a:t>BioTherapeutics</a:t>
                      </a:r>
                      <a:r>
                        <a:rPr lang="en-US" sz="1800" b="0" kern="1200" dirty="0">
                          <a:solidFill>
                            <a:schemeClr val="tx1"/>
                          </a:solidFill>
                          <a:effectLst/>
                          <a:latin typeface="+mn-lt"/>
                          <a:ea typeface="+mn-ea"/>
                          <a:cs typeface="+mn-cs"/>
                        </a:rPr>
                        <a:t>, </a:t>
                      </a:r>
                      <a:r>
                        <a:rPr lang="en-US" sz="1800" b="0" kern="1200" dirty="0" err="1">
                          <a:solidFill>
                            <a:schemeClr val="tx1"/>
                          </a:solidFill>
                          <a:effectLst/>
                          <a:latin typeface="+mn-lt"/>
                          <a:ea typeface="+mn-ea"/>
                          <a:cs typeface="+mn-cs"/>
                        </a:rPr>
                        <a:t>Miltenyi</a:t>
                      </a:r>
                      <a:r>
                        <a:rPr lang="en-US" sz="1800" b="0" kern="1200" dirty="0">
                          <a:solidFill>
                            <a:schemeClr val="tx1"/>
                          </a:solidFill>
                          <a:effectLst/>
                          <a:latin typeface="+mn-lt"/>
                          <a:ea typeface="+mn-ea"/>
                          <a:cs typeface="+mn-cs"/>
                        </a:rPr>
                        <a:t> Biotec, Novartis, Roche Laboratories Inc, </a:t>
                      </a:r>
                      <a:r>
                        <a:rPr lang="en-US" sz="1800" b="0" kern="1200" dirty="0" err="1">
                          <a:solidFill>
                            <a:schemeClr val="tx1"/>
                          </a:solidFill>
                          <a:effectLst/>
                          <a:latin typeface="+mn-lt"/>
                          <a:ea typeface="+mn-ea"/>
                          <a:cs typeface="+mn-cs"/>
                        </a:rPr>
                        <a:t>Seagen</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353220">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Bristol Myers Squibb, Celgene Corporation, </a:t>
                      </a:r>
                      <a:r>
                        <a:rPr lang="en-US" sz="1800" b="0" kern="1200" dirty="0" err="1">
                          <a:solidFill>
                            <a:schemeClr val="tx1"/>
                          </a:solidFill>
                          <a:effectLst/>
                          <a:latin typeface="+mn-lt"/>
                          <a:ea typeface="+mn-ea"/>
                          <a:cs typeface="+mn-cs"/>
                        </a:rPr>
                        <a:t>Cellectis</a:t>
                      </a:r>
                      <a:r>
                        <a:rPr lang="en-US" sz="1800" b="0" kern="1200" dirty="0">
                          <a:solidFill>
                            <a:schemeClr val="tx1"/>
                          </a:solidFill>
                          <a:effectLst/>
                          <a:latin typeface="+mn-lt"/>
                          <a:ea typeface="+mn-ea"/>
                          <a:cs typeface="+mn-cs"/>
                        </a:rPr>
                        <a:t>, Genentech, a member of the Roche Group, Merck, Mustang Bio, Regeneron Pharmaceuticals Inc, </a:t>
                      </a:r>
                      <a:r>
                        <a:rPr lang="en-US" sz="1800" b="0" kern="1200" dirty="0" err="1">
                          <a:solidFill>
                            <a:schemeClr val="tx1"/>
                          </a:solidFill>
                          <a:effectLst/>
                          <a:latin typeface="+mn-lt"/>
                          <a:ea typeface="+mn-ea"/>
                          <a:cs typeface="+mn-cs"/>
                        </a:rPr>
                        <a:t>Seagen</a:t>
                      </a:r>
                      <a:r>
                        <a:rPr lang="en-US" sz="1800" b="0" kern="1200" dirty="0">
                          <a:solidFill>
                            <a:schemeClr val="tx1"/>
                          </a:solidFill>
                          <a:effectLst/>
                          <a:latin typeface="+mn-lt"/>
                          <a:ea typeface="+mn-ea"/>
                          <a:cs typeface="+mn-cs"/>
                        </a:rPr>
                        <a:t> Inc, Takeda Pharmaceuticals USA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54698226"/>
                  </a:ext>
                </a:extLst>
              </a:tr>
            </a:tbl>
          </a:graphicData>
        </a:graphic>
      </p:graphicFrame>
    </p:spTree>
    <p:custDataLst>
      <p:tags r:id="rId1"/>
    </p:custDataLst>
    <p:extLst>
      <p:ext uri="{BB962C8B-B14F-4D97-AF65-F5344CB8AC3E}">
        <p14:creationId xmlns:p14="http://schemas.microsoft.com/office/powerpoint/2010/main" val="28313271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735B3B-9802-B063-C940-067F9E89273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C76C6DE-4A58-F589-EF31-18EB05E8F5F1}"/>
              </a:ext>
            </a:extLst>
          </p:cNvPr>
          <p:cNvSpPr>
            <a:spLocks noGrp="1"/>
          </p:cNvSpPr>
          <p:nvPr>
            <p:ph type="title"/>
          </p:nvPr>
        </p:nvSpPr>
        <p:spPr>
          <a:xfrm>
            <a:off x="912286" y="227013"/>
            <a:ext cx="10358967" cy="852640"/>
          </a:xfrm>
        </p:spPr>
        <p:txBody>
          <a:bodyPr/>
          <a:lstStyle/>
          <a:p>
            <a:r>
              <a:rPr lang="en-US" sz="3600" dirty="0"/>
              <a:t>Discussion Questions (Continued)</a:t>
            </a:r>
          </a:p>
        </p:txBody>
      </p:sp>
      <p:sp>
        <p:nvSpPr>
          <p:cNvPr id="3" name="Content Placeholder 2">
            <a:extLst>
              <a:ext uri="{FF2B5EF4-FFF2-40B4-BE49-F238E27FC236}">
                <a16:creationId xmlns:a16="http://schemas.microsoft.com/office/drawing/2014/main" id="{4654D43B-1E81-35A2-01CC-E4627C20EA98}"/>
              </a:ext>
            </a:extLst>
          </p:cNvPr>
          <p:cNvSpPr>
            <a:spLocks noGrp="1"/>
          </p:cNvSpPr>
          <p:nvPr>
            <p:ph idx="1"/>
          </p:nvPr>
        </p:nvSpPr>
        <p:spPr>
          <a:xfrm>
            <a:off x="912286" y="1200839"/>
            <a:ext cx="10789920" cy="4799013"/>
          </a:xfrm>
        </p:spPr>
        <p:txBody>
          <a:bodyPr/>
          <a:lstStyle/>
          <a:p>
            <a:pPr marL="98425" indent="0">
              <a:lnSpc>
                <a:spcPct val="100000"/>
              </a:lnSpc>
              <a:spcBef>
                <a:spcPts val="936"/>
              </a:spcBef>
              <a:buNone/>
            </a:pPr>
            <a:r>
              <a:rPr lang="en-US" sz="2600" dirty="0">
                <a:solidFill>
                  <a:srgbClr val="171AA2">
                    <a:alpha val="50000"/>
                  </a:srgbClr>
                </a:solidFill>
              </a:rPr>
              <a:t>58 y/o man with stage IV DLBCL, non-GCB subtype </a:t>
            </a:r>
            <a:br>
              <a:rPr lang="en-US" sz="2600" dirty="0">
                <a:solidFill>
                  <a:srgbClr val="171AA2">
                    <a:alpha val="50000"/>
                  </a:srgbClr>
                </a:solidFill>
              </a:rPr>
            </a:br>
            <a:r>
              <a:rPr lang="en-US" sz="2600" dirty="0">
                <a:solidFill>
                  <a:srgbClr val="171AA2">
                    <a:alpha val="50000"/>
                  </a:srgbClr>
                </a:solidFill>
              </a:rPr>
              <a:t>R-CHOP as initial therapy with only partial response followed by progression within 6 months </a:t>
            </a:r>
            <a:br>
              <a:rPr lang="en-US" sz="2600" dirty="0">
                <a:solidFill>
                  <a:srgbClr val="171AA2">
                    <a:alpha val="50000"/>
                  </a:srgbClr>
                </a:solidFill>
              </a:rPr>
            </a:br>
            <a:r>
              <a:rPr lang="en-US" sz="2600" dirty="0">
                <a:solidFill>
                  <a:srgbClr val="171AA2">
                    <a:alpha val="50000"/>
                  </a:srgbClr>
                </a:solidFill>
              </a:rPr>
              <a:t>Salvage </a:t>
            </a:r>
            <a:r>
              <a:rPr lang="en-US" sz="2600" dirty="0" err="1">
                <a:solidFill>
                  <a:srgbClr val="171AA2">
                    <a:alpha val="50000"/>
                  </a:srgbClr>
                </a:solidFill>
              </a:rPr>
              <a:t>polatuzumab</a:t>
            </a:r>
            <a:r>
              <a:rPr lang="en-US" sz="2600" dirty="0">
                <a:solidFill>
                  <a:srgbClr val="171AA2">
                    <a:alpha val="50000"/>
                  </a:srgbClr>
                </a:solidFill>
              </a:rPr>
              <a:t> vedotin/BR with transient response but rapid progression </a:t>
            </a:r>
            <a:br>
              <a:rPr lang="en-US" sz="2600" dirty="0">
                <a:solidFill>
                  <a:srgbClr val="171AA2">
                    <a:alpha val="50000"/>
                  </a:srgbClr>
                </a:solidFill>
              </a:rPr>
            </a:br>
            <a:r>
              <a:rPr lang="en-US" sz="2600" dirty="0">
                <a:solidFill>
                  <a:srgbClr val="171AA2">
                    <a:alpha val="50000"/>
                  </a:srgbClr>
                </a:solidFill>
              </a:rPr>
              <a:t>CD19-directed CAR T-cell therapy with initial metabolic complete response on PET imaging</a:t>
            </a:r>
            <a:br>
              <a:rPr lang="en-US" sz="2600" dirty="0">
                <a:solidFill>
                  <a:srgbClr val="171AA2">
                    <a:alpha val="50000"/>
                  </a:srgbClr>
                </a:solidFill>
              </a:rPr>
            </a:br>
            <a:r>
              <a:rPr lang="en-US" sz="2600" dirty="0">
                <a:solidFill>
                  <a:srgbClr val="171AA2">
                    <a:alpha val="50000"/>
                  </a:srgbClr>
                </a:solidFill>
              </a:rPr>
              <a:t>Recurrent adenopathy and biopsy-confirmed relapse less than 6 months later</a:t>
            </a:r>
          </a:p>
          <a:p>
            <a:pPr marL="98425" indent="0">
              <a:lnSpc>
                <a:spcPct val="100000"/>
              </a:lnSpc>
              <a:spcBef>
                <a:spcPts val="936"/>
              </a:spcBef>
              <a:buNone/>
            </a:pPr>
            <a:r>
              <a:rPr lang="en-US" sz="2600" dirty="0"/>
              <a:t>Would you consider allogeneic stem cell transplantation in a younger, fit patient who achieves a response after bispecific antibody therapy? </a:t>
            </a:r>
          </a:p>
          <a:p>
            <a:pPr marL="98425" indent="0">
              <a:lnSpc>
                <a:spcPct val="100000"/>
              </a:lnSpc>
              <a:spcBef>
                <a:spcPts val="936"/>
              </a:spcBef>
              <a:buNone/>
            </a:pPr>
            <a:r>
              <a:rPr lang="en-US" sz="2600" dirty="0"/>
              <a:t>How do you approach CRS and infection-risk monitoring in heavily pretreated patients receiving sequential immune-engaging therapies?</a:t>
            </a:r>
          </a:p>
        </p:txBody>
      </p:sp>
    </p:spTree>
    <p:extLst>
      <p:ext uri="{BB962C8B-B14F-4D97-AF65-F5344CB8AC3E}">
        <p14:creationId xmlns:p14="http://schemas.microsoft.com/office/powerpoint/2010/main" val="18206266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84D6B-0C7E-834C-6980-06E2FB9E5D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12495D-3203-8A07-60C1-23CF98636384}"/>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058966D4-896E-B009-6BF0-F15B534BB025}"/>
              </a:ext>
            </a:extLst>
          </p:cNvPr>
          <p:cNvSpPr>
            <a:spLocks noGrp="1"/>
          </p:cNvSpPr>
          <p:nvPr>
            <p:ph idx="1"/>
          </p:nvPr>
        </p:nvSpPr>
        <p:spPr>
          <a:xfrm>
            <a:off x="912287" y="1416053"/>
            <a:ext cx="9553737" cy="4799013"/>
          </a:xfrm>
        </p:spPr>
        <p:txBody>
          <a:bodyPr/>
          <a:lstStyle/>
          <a:p>
            <a:pPr marL="98425" indent="0">
              <a:buNone/>
            </a:pPr>
            <a:r>
              <a:rPr lang="en-US" dirty="0">
                <a:solidFill>
                  <a:srgbClr val="171AA2"/>
                </a:solidFill>
              </a:rPr>
              <a:t>81 y/o woman with stage IV DLBCL, non-GCB subtype </a:t>
            </a:r>
            <a:br>
              <a:rPr lang="en-US" dirty="0">
                <a:solidFill>
                  <a:srgbClr val="171AA2"/>
                </a:solidFill>
              </a:rPr>
            </a:br>
            <a:r>
              <a:rPr lang="en-US" dirty="0">
                <a:solidFill>
                  <a:srgbClr val="171AA2"/>
                </a:solidFill>
              </a:rPr>
              <a:t>The patient is frail with a history of Parkinson's disease </a:t>
            </a:r>
            <a:br>
              <a:rPr lang="en-US" dirty="0">
                <a:solidFill>
                  <a:srgbClr val="171AA2"/>
                </a:solidFill>
              </a:rPr>
            </a:br>
            <a:r>
              <a:rPr lang="en-US" dirty="0">
                <a:solidFill>
                  <a:srgbClr val="171AA2"/>
                </a:solidFill>
              </a:rPr>
              <a:t>R-mini-CHOP as initial therapy with CR but symptomatic relapse at 13 months </a:t>
            </a:r>
          </a:p>
          <a:p>
            <a:pPr marL="98425" indent="0">
              <a:buNone/>
            </a:pPr>
            <a:r>
              <a:rPr lang="en-US" dirty="0">
                <a:solidFill>
                  <a:schemeClr val="tx1"/>
                </a:solidFill>
              </a:rPr>
              <a:t>What treatment would you recommend?</a:t>
            </a:r>
          </a:p>
          <a:p>
            <a:pPr marL="98425" indent="0">
              <a:buNone/>
            </a:pPr>
            <a:r>
              <a:rPr lang="en-US" dirty="0">
                <a:solidFill>
                  <a:schemeClr val="tx1"/>
                </a:solidFill>
              </a:rPr>
              <a:t>Is there an age at which you will no longer consider CAR-T, or is the decision solely based on performance status/patient fitness? </a:t>
            </a:r>
          </a:p>
        </p:txBody>
      </p:sp>
    </p:spTree>
    <p:extLst>
      <p:ext uri="{BB962C8B-B14F-4D97-AF65-F5344CB8AC3E}">
        <p14:creationId xmlns:p14="http://schemas.microsoft.com/office/powerpoint/2010/main" val="14914892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88BB0F-B614-6B06-282A-BB21AA18F94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4806A02-3BFD-A9C5-C8AF-3296DA17CAE8}"/>
              </a:ext>
            </a:extLst>
          </p:cNvPr>
          <p:cNvSpPr>
            <a:spLocks noGrp="1"/>
          </p:cNvSpPr>
          <p:nvPr>
            <p:ph type="title"/>
          </p:nvPr>
        </p:nvSpPr>
        <p:spPr/>
        <p:txBody>
          <a:bodyPr/>
          <a:lstStyle/>
          <a:p>
            <a:r>
              <a:rPr lang="en-US" sz="3600" dirty="0"/>
              <a:t>Discussion Questions (Continued) </a:t>
            </a:r>
          </a:p>
        </p:txBody>
      </p:sp>
      <p:sp>
        <p:nvSpPr>
          <p:cNvPr id="3" name="Content Placeholder 2">
            <a:extLst>
              <a:ext uri="{FF2B5EF4-FFF2-40B4-BE49-F238E27FC236}">
                <a16:creationId xmlns:a16="http://schemas.microsoft.com/office/drawing/2014/main" id="{FF5F0138-40C4-0A5E-1B21-F84645F70272}"/>
              </a:ext>
            </a:extLst>
          </p:cNvPr>
          <p:cNvSpPr>
            <a:spLocks noGrp="1"/>
          </p:cNvSpPr>
          <p:nvPr>
            <p:ph idx="1"/>
          </p:nvPr>
        </p:nvSpPr>
        <p:spPr>
          <a:xfrm>
            <a:off x="912287" y="1416053"/>
            <a:ext cx="9553737" cy="4799013"/>
          </a:xfrm>
        </p:spPr>
        <p:txBody>
          <a:bodyPr/>
          <a:lstStyle/>
          <a:p>
            <a:pPr marL="98425" indent="0">
              <a:buNone/>
            </a:pPr>
            <a:r>
              <a:rPr lang="en-US" dirty="0">
                <a:solidFill>
                  <a:srgbClr val="171AA2">
                    <a:alpha val="50000"/>
                  </a:srgbClr>
                </a:solidFill>
              </a:rPr>
              <a:t>81 y/o woman with stage IV DLBCL, non-GCB subtype </a:t>
            </a:r>
            <a:br>
              <a:rPr lang="en-US" dirty="0">
                <a:solidFill>
                  <a:srgbClr val="171AA2">
                    <a:alpha val="50000"/>
                  </a:srgbClr>
                </a:solidFill>
              </a:rPr>
            </a:br>
            <a:r>
              <a:rPr lang="en-US" dirty="0">
                <a:solidFill>
                  <a:srgbClr val="171AA2">
                    <a:alpha val="50000"/>
                  </a:srgbClr>
                </a:solidFill>
              </a:rPr>
              <a:t>The patient is frail with a history of Parkinson's disease </a:t>
            </a:r>
            <a:br>
              <a:rPr lang="en-US" dirty="0">
                <a:solidFill>
                  <a:srgbClr val="171AA2">
                    <a:alpha val="50000"/>
                  </a:srgbClr>
                </a:solidFill>
              </a:rPr>
            </a:br>
            <a:r>
              <a:rPr lang="en-US" dirty="0">
                <a:solidFill>
                  <a:srgbClr val="171AA2">
                    <a:alpha val="50000"/>
                  </a:srgbClr>
                </a:solidFill>
              </a:rPr>
              <a:t>R-mini-CHOP as initial therapy with CR but symptomatic relapse at 13 months </a:t>
            </a:r>
          </a:p>
          <a:p>
            <a:pPr marL="98425" indent="0">
              <a:buNone/>
            </a:pPr>
            <a:r>
              <a:rPr lang="en-US" dirty="0">
                <a:solidFill>
                  <a:schemeClr val="tx1"/>
                </a:solidFill>
              </a:rPr>
              <a:t>For a patient in whom you are going to use bispecific antibody monotherapy, how do you choose between </a:t>
            </a:r>
            <a:r>
              <a:rPr lang="en-US" dirty="0" err="1">
                <a:solidFill>
                  <a:schemeClr val="tx1"/>
                </a:solidFill>
              </a:rPr>
              <a:t>epcoritamab</a:t>
            </a:r>
            <a:r>
              <a:rPr lang="en-US" dirty="0">
                <a:solidFill>
                  <a:schemeClr val="tx1"/>
                </a:solidFill>
              </a:rPr>
              <a:t> and </a:t>
            </a:r>
            <a:r>
              <a:rPr lang="en-US" dirty="0" err="1">
                <a:solidFill>
                  <a:schemeClr val="tx1"/>
                </a:solidFill>
              </a:rPr>
              <a:t>glofitamab</a:t>
            </a:r>
            <a:r>
              <a:rPr lang="en-US" dirty="0">
                <a:solidFill>
                  <a:schemeClr val="tx1"/>
                </a:solidFill>
              </a:rPr>
              <a:t>? Do you view them as equivalent options? Are there any advantages or disadvantages to either approach?</a:t>
            </a:r>
          </a:p>
        </p:txBody>
      </p:sp>
    </p:spTree>
    <p:extLst>
      <p:ext uri="{BB962C8B-B14F-4D97-AF65-F5344CB8AC3E}">
        <p14:creationId xmlns:p14="http://schemas.microsoft.com/office/powerpoint/2010/main" val="18346002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43A20C-BBD7-E037-EB4C-BD1E203361B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AEEFEA3-2490-9AEA-CD61-BF51D3D4204E}"/>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BCEF692B-FE35-A9E2-55D3-441B7A44D6DE}"/>
              </a:ext>
            </a:extLst>
          </p:cNvPr>
          <p:cNvSpPr>
            <a:spLocks noGrp="1"/>
          </p:cNvSpPr>
          <p:nvPr>
            <p:ph idx="1"/>
          </p:nvPr>
        </p:nvSpPr>
        <p:spPr>
          <a:xfrm>
            <a:off x="912287" y="1416053"/>
            <a:ext cx="10358966" cy="4799013"/>
          </a:xfrm>
        </p:spPr>
        <p:txBody>
          <a:bodyPr/>
          <a:lstStyle/>
          <a:p>
            <a:pPr marL="98425" indent="0">
              <a:buNone/>
            </a:pPr>
            <a:r>
              <a:rPr lang="en-US" dirty="0">
                <a:solidFill>
                  <a:srgbClr val="171AA2"/>
                </a:solidFill>
              </a:rPr>
              <a:t>56 y/o man with DLBCL and bulky right neck LN </a:t>
            </a:r>
            <a:br>
              <a:rPr lang="en-US" dirty="0">
                <a:solidFill>
                  <a:srgbClr val="171AA2"/>
                </a:solidFill>
              </a:rPr>
            </a:br>
            <a:r>
              <a:rPr lang="en-US" dirty="0">
                <a:solidFill>
                  <a:srgbClr val="171AA2"/>
                </a:solidFill>
              </a:rPr>
              <a:t>Primary refractory to Pola-R-CHP as initial therapy </a:t>
            </a:r>
            <a:br>
              <a:rPr lang="en-US" dirty="0">
                <a:solidFill>
                  <a:srgbClr val="171AA2"/>
                </a:solidFill>
              </a:rPr>
            </a:br>
            <a:r>
              <a:rPr lang="en-US" dirty="0">
                <a:solidFill>
                  <a:srgbClr val="171AA2"/>
                </a:solidFill>
              </a:rPr>
              <a:t>CAR-T as second-line therapy; recurrence in the right neck 6 months later</a:t>
            </a:r>
          </a:p>
          <a:p>
            <a:pPr marL="98425" indent="0">
              <a:buNone/>
            </a:pPr>
            <a:r>
              <a:rPr lang="en-US" dirty="0">
                <a:solidFill>
                  <a:schemeClr val="tx1"/>
                </a:solidFill>
              </a:rPr>
              <a:t>What treatment would you offer next? Are there any promising investigational approaches in this space? Do CD19 </a:t>
            </a:r>
            <a:r>
              <a:rPr lang="en-US" dirty="0" err="1">
                <a:solidFill>
                  <a:schemeClr val="tx1"/>
                </a:solidFill>
              </a:rPr>
              <a:t>bispecifics</a:t>
            </a:r>
            <a:r>
              <a:rPr lang="en-US" dirty="0">
                <a:solidFill>
                  <a:schemeClr val="tx1"/>
                </a:solidFill>
              </a:rPr>
              <a:t> have any potential advantages over those directed at CD20?</a:t>
            </a:r>
          </a:p>
          <a:p>
            <a:pPr marL="98425" indent="0">
              <a:buNone/>
            </a:pPr>
            <a:r>
              <a:rPr lang="en-US" dirty="0">
                <a:solidFill>
                  <a:schemeClr val="tx1"/>
                </a:solidFill>
              </a:rPr>
              <a:t>If you were going to use a bispecific antibody combination, which one would you use? </a:t>
            </a:r>
          </a:p>
        </p:txBody>
      </p:sp>
    </p:spTree>
    <p:extLst>
      <p:ext uri="{BB962C8B-B14F-4D97-AF65-F5344CB8AC3E}">
        <p14:creationId xmlns:p14="http://schemas.microsoft.com/office/powerpoint/2010/main" val="37210430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874657-C2A7-D455-B6FD-335F09BE7DA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8F91308-6A42-68E9-6822-820B8EB6680F}"/>
              </a:ext>
            </a:extLst>
          </p:cNvPr>
          <p:cNvSpPr>
            <a:spLocks noGrp="1"/>
          </p:cNvSpPr>
          <p:nvPr>
            <p:ph type="title"/>
          </p:nvPr>
        </p:nvSpPr>
        <p:spPr/>
        <p:txBody>
          <a:bodyPr/>
          <a:lstStyle/>
          <a:p>
            <a:r>
              <a:rPr lang="en-US" sz="3600" dirty="0"/>
              <a:t>Discussion Questions (Continued)</a:t>
            </a:r>
          </a:p>
        </p:txBody>
      </p:sp>
      <p:sp>
        <p:nvSpPr>
          <p:cNvPr id="3" name="Content Placeholder 2">
            <a:extLst>
              <a:ext uri="{FF2B5EF4-FFF2-40B4-BE49-F238E27FC236}">
                <a16:creationId xmlns:a16="http://schemas.microsoft.com/office/drawing/2014/main" id="{FD405CC6-85F3-D14C-104F-A1008E540E59}"/>
              </a:ext>
            </a:extLst>
          </p:cNvPr>
          <p:cNvSpPr>
            <a:spLocks noGrp="1"/>
          </p:cNvSpPr>
          <p:nvPr>
            <p:ph idx="1"/>
          </p:nvPr>
        </p:nvSpPr>
        <p:spPr>
          <a:xfrm>
            <a:off x="912287" y="1416053"/>
            <a:ext cx="10358966" cy="4799013"/>
          </a:xfrm>
        </p:spPr>
        <p:txBody>
          <a:bodyPr/>
          <a:lstStyle/>
          <a:p>
            <a:pPr marL="98425" indent="0">
              <a:buNone/>
            </a:pPr>
            <a:r>
              <a:rPr lang="en-US" dirty="0">
                <a:solidFill>
                  <a:srgbClr val="171AA2">
                    <a:alpha val="50000"/>
                  </a:srgbClr>
                </a:solidFill>
              </a:rPr>
              <a:t>56 y/o man with DLBCL and bulky right neck LN </a:t>
            </a:r>
            <a:br>
              <a:rPr lang="en-US" dirty="0">
                <a:solidFill>
                  <a:srgbClr val="171AA2">
                    <a:alpha val="50000"/>
                  </a:srgbClr>
                </a:solidFill>
              </a:rPr>
            </a:br>
            <a:r>
              <a:rPr lang="en-US" dirty="0">
                <a:solidFill>
                  <a:srgbClr val="171AA2">
                    <a:alpha val="50000"/>
                  </a:srgbClr>
                </a:solidFill>
              </a:rPr>
              <a:t>Primary refractory to Pola-R-CHP as initial therapy </a:t>
            </a:r>
            <a:br>
              <a:rPr lang="en-US" dirty="0">
                <a:solidFill>
                  <a:srgbClr val="171AA2">
                    <a:alpha val="50000"/>
                  </a:srgbClr>
                </a:solidFill>
              </a:rPr>
            </a:br>
            <a:r>
              <a:rPr lang="en-US" dirty="0">
                <a:solidFill>
                  <a:srgbClr val="171AA2">
                    <a:alpha val="50000"/>
                  </a:srgbClr>
                </a:solidFill>
              </a:rPr>
              <a:t>CAR-T as second-line therapy; recurrence in the right neck 6 months later</a:t>
            </a:r>
          </a:p>
          <a:p>
            <a:pPr marL="98425" indent="0">
              <a:buNone/>
            </a:pPr>
            <a:r>
              <a:rPr lang="en-US" dirty="0">
                <a:solidFill>
                  <a:schemeClr val="tx1"/>
                </a:solidFill>
              </a:rPr>
              <a:t>For patients who receive </a:t>
            </a:r>
            <a:r>
              <a:rPr lang="en-US" dirty="0" err="1">
                <a:solidFill>
                  <a:schemeClr val="tx1"/>
                </a:solidFill>
              </a:rPr>
              <a:t>polatuzumab</a:t>
            </a:r>
            <a:r>
              <a:rPr lang="en-US" dirty="0">
                <a:solidFill>
                  <a:schemeClr val="tx1"/>
                </a:solidFill>
              </a:rPr>
              <a:t> as part of induction therapy, will you use it in later lines as part of a bispecific-based combination?  </a:t>
            </a:r>
          </a:p>
        </p:txBody>
      </p:sp>
    </p:spTree>
    <p:extLst>
      <p:ext uri="{BB962C8B-B14F-4D97-AF65-F5344CB8AC3E}">
        <p14:creationId xmlns:p14="http://schemas.microsoft.com/office/powerpoint/2010/main" val="510016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F62653-B8B9-040B-1891-928ED7202338}"/>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63C7E11B-7232-D6CC-8965-69BE412A9902}"/>
              </a:ext>
            </a:extLst>
          </p:cNvPr>
          <p:cNvSpPr/>
          <p:nvPr/>
        </p:nvSpPr>
        <p:spPr bwMode="auto">
          <a:xfrm>
            <a:off x="740128" y="2852936"/>
            <a:ext cx="10828480" cy="93610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1E83F48E-87E8-3816-3E88-2665C25F6BD8}"/>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B5E45F09-67CF-9A84-FE8C-55B7DCF580EF}"/>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Chimeric Antigen Receptor (CAR) T-Cell Therapy for Diffuse Large B-Cell Lymphoma (DLBCL) — Dr Kamdar</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Bispecific Antibody Therapy for DLBCL — Dr Westin</a:t>
            </a:r>
          </a:p>
          <a:p>
            <a:pPr marL="98425" indent="0">
              <a:lnSpc>
                <a:spcPct val="100000"/>
              </a:lnSpc>
              <a:spcBef>
                <a:spcPts val="1600"/>
              </a:spcBef>
              <a:spcAft>
                <a:spcPts val="0"/>
              </a:spcAft>
              <a:buNone/>
            </a:pPr>
            <a:r>
              <a:rPr lang="en-US" sz="2500" dirty="0">
                <a:solidFill>
                  <a:schemeClr val="bg1"/>
                </a:solidFill>
              </a:rPr>
              <a:t>Module 3: CAR T-Cell Therapy for Other Lymphoma Subtypes — </a:t>
            </a:r>
            <a:br>
              <a:rPr lang="en-US" sz="2500" dirty="0">
                <a:solidFill>
                  <a:schemeClr val="bg1"/>
                </a:solidFill>
              </a:rPr>
            </a:br>
            <a:r>
              <a:rPr lang="en-US" sz="2500" dirty="0">
                <a:solidFill>
                  <a:schemeClr val="bg1"/>
                </a:solidFill>
              </a:rPr>
              <a:t>Dr Abramson</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Bispecific Antibody Therapy for Follicular Lymphoma and Other Lymphoma Subtypes — Dr Phillips</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Tolerability Considerations with CAR T-Cell Therapy and Bispecific Antibodies — Dr Brody</a:t>
            </a:r>
          </a:p>
        </p:txBody>
      </p:sp>
    </p:spTree>
    <p:extLst>
      <p:ext uri="{BB962C8B-B14F-4D97-AF65-F5344CB8AC3E}">
        <p14:creationId xmlns:p14="http://schemas.microsoft.com/office/powerpoint/2010/main" val="36190175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1C004151-5D08-1210-19BB-6A6F69F5C90E}"/>
              </a:ext>
            </a:extLst>
          </p:cNvPr>
          <p:cNvSpPr txBox="1">
            <a:spLocks/>
          </p:cNvSpPr>
          <p:nvPr/>
        </p:nvSpPr>
        <p:spPr>
          <a:xfrm>
            <a:off x="662810" y="2391780"/>
            <a:ext cx="10700283" cy="1233120"/>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400" b="0" i="0" u="none" strike="noStrike" kern="1200" cap="none" spc="0" normalizeH="0" baseline="0" noProof="0" dirty="0">
                <a:ln>
                  <a:noFill/>
                </a:ln>
                <a:solidFill>
                  <a:srgbClr val="003A93"/>
                </a:solidFill>
                <a:effectLst/>
                <a:uLnTx/>
                <a:uFillTx/>
                <a:latin typeface="Georgia"/>
                <a:ea typeface="Calibri" panose="020F0502020204030204" pitchFamily="34" charset="0"/>
                <a:cs typeface="Calibri" panose="020F0502020204030204" pitchFamily="34" charset="0"/>
              </a:rPr>
              <a:t>CAR T-cell Therapy in Other Lymphoma Subtypes (FL, MZL, MCL)</a:t>
            </a:r>
            <a:endParaRPr kumimoji="0" lang="en-US" sz="4800" b="0" i="1" u="none" strike="noStrike" kern="1200" cap="none" spc="0" normalizeH="0" baseline="0" noProof="0" dirty="0">
              <a:ln>
                <a:noFill/>
              </a:ln>
              <a:solidFill>
                <a:srgbClr val="003A93"/>
              </a:solidFill>
              <a:effectLst/>
              <a:uLnTx/>
              <a:uFillTx/>
              <a:latin typeface="Georgia"/>
              <a:ea typeface="+mn-ea"/>
              <a:cs typeface="+mn-cs"/>
            </a:endParaRPr>
          </a:p>
        </p:txBody>
      </p:sp>
      <p:sp>
        <p:nvSpPr>
          <p:cNvPr id="5" name="Text Placeholder 8">
            <a:extLst>
              <a:ext uri="{FF2B5EF4-FFF2-40B4-BE49-F238E27FC236}">
                <a16:creationId xmlns:a16="http://schemas.microsoft.com/office/drawing/2014/main" id="{5073A273-8741-3DF2-EF4E-8B415D87FEDF}"/>
              </a:ext>
            </a:extLst>
          </p:cNvPr>
          <p:cNvSpPr txBox="1">
            <a:spLocks/>
          </p:cNvSpPr>
          <p:nvPr/>
        </p:nvSpPr>
        <p:spPr>
          <a:xfrm>
            <a:off x="662809" y="4073777"/>
            <a:ext cx="10963133" cy="1233120"/>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003A93"/>
                </a:solidFill>
                <a:effectLst/>
                <a:uLnTx/>
                <a:uFillTx/>
                <a:latin typeface="Calibri"/>
                <a:ea typeface="+mn-ea"/>
                <a:cs typeface="+mn-cs"/>
              </a:rPr>
              <a:t>Jeremy S. Abramson, MD, </a:t>
            </a:r>
            <a:r>
              <a:rPr kumimoji="0" lang="en-US" sz="2800" b="1" i="0" u="none" strike="noStrike" kern="1200" cap="none" spc="0" normalizeH="0" baseline="0" noProof="0" dirty="0" err="1">
                <a:ln>
                  <a:noFill/>
                </a:ln>
                <a:solidFill>
                  <a:srgbClr val="003A93"/>
                </a:solidFill>
                <a:effectLst/>
                <a:uLnTx/>
                <a:uFillTx/>
                <a:latin typeface="Calibri"/>
                <a:ea typeface="+mn-ea"/>
                <a:cs typeface="+mn-cs"/>
              </a:rPr>
              <a:t>MMSc</a:t>
            </a:r>
            <a:endParaRPr kumimoji="0" lang="en-US" sz="2800" b="1" i="0" u="none" strike="noStrike" kern="1200" cap="none" spc="0" normalizeH="0" baseline="0" noProof="0" dirty="0">
              <a:ln>
                <a:noFill/>
              </a:ln>
              <a:solidFill>
                <a:srgbClr val="003A93"/>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003A93"/>
                </a:solidFill>
                <a:effectLst/>
                <a:uLnTx/>
                <a:uFillTx/>
                <a:latin typeface="Calibri"/>
                <a:ea typeface="+mn-ea"/>
                <a:cs typeface="+mn-cs"/>
              </a:rPr>
              <a:t>Professor of Medicine, Harvard Medical Schoo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003A93"/>
                </a:solidFill>
                <a:effectLst/>
                <a:uLnTx/>
                <a:uFillTx/>
                <a:latin typeface="Calibri"/>
                <a:ea typeface="+mn-ea"/>
                <a:cs typeface="+mn-cs"/>
              </a:rPr>
              <a:t>Director, Center for Lymphoma, Mass General Brigham Cancer Institute</a:t>
            </a:r>
          </a:p>
        </p:txBody>
      </p:sp>
    </p:spTree>
    <p:extLst>
      <p:ext uri="{BB962C8B-B14F-4D97-AF65-F5344CB8AC3E}">
        <p14:creationId xmlns:p14="http://schemas.microsoft.com/office/powerpoint/2010/main" val="2448032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04EC8E-9F01-EE6D-28D9-1DA1D5CBC58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612A004-C9E1-DF6C-61F3-C7FB05CFBE6C}"/>
              </a:ext>
            </a:extLst>
          </p:cNvPr>
          <p:cNvSpPr>
            <a:spLocks noGrp="1"/>
          </p:cNvSpPr>
          <p:nvPr>
            <p:ph type="title"/>
          </p:nvPr>
        </p:nvSpPr>
        <p:spPr/>
        <p:txBody>
          <a:bodyPr/>
          <a:lstStyle/>
          <a:p>
            <a:r>
              <a:rPr lang="en-US" sz="4800" dirty="0"/>
              <a:t>Follicular and Marginal Zone lymphomas</a:t>
            </a:r>
          </a:p>
        </p:txBody>
      </p:sp>
    </p:spTree>
    <p:extLst>
      <p:ext uri="{BB962C8B-B14F-4D97-AF65-F5344CB8AC3E}">
        <p14:creationId xmlns:p14="http://schemas.microsoft.com/office/powerpoint/2010/main" val="3149702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5B6AEC-5669-C2DD-CA59-8964F4C6726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C3D469F-A858-660C-E8BD-9D5C0C911163}"/>
              </a:ext>
            </a:extLst>
          </p:cNvPr>
          <p:cNvSpPr>
            <a:spLocks noGrp="1"/>
          </p:cNvSpPr>
          <p:nvPr>
            <p:ph type="title"/>
          </p:nvPr>
        </p:nvSpPr>
        <p:spPr>
          <a:xfrm>
            <a:off x="228599" y="288462"/>
            <a:ext cx="11119981" cy="850551"/>
          </a:xfrm>
        </p:spPr>
        <p:txBody>
          <a:bodyPr/>
          <a:lstStyle/>
          <a:p>
            <a:r>
              <a:rPr lang="en-US" dirty="0"/>
              <a:t>Three CAR T-cell products for 3</a:t>
            </a:r>
            <a:r>
              <a:rPr lang="en-US" baseline="30000" dirty="0"/>
              <a:t>rd</a:t>
            </a:r>
            <a:r>
              <a:rPr lang="en-US" dirty="0"/>
              <a:t> line + follicular lymphoma</a:t>
            </a:r>
          </a:p>
        </p:txBody>
      </p:sp>
      <p:graphicFrame>
        <p:nvGraphicFramePr>
          <p:cNvPr id="4" name="Content Placeholder 3">
            <a:extLst>
              <a:ext uri="{FF2B5EF4-FFF2-40B4-BE49-F238E27FC236}">
                <a16:creationId xmlns:a16="http://schemas.microsoft.com/office/drawing/2014/main" id="{BBF4DB39-A2BA-4AA1-BEE5-5EE0339006F2}"/>
              </a:ext>
            </a:extLst>
          </p:cNvPr>
          <p:cNvGraphicFramePr>
            <a:graphicFrameLocks noGrp="1"/>
          </p:cNvGraphicFramePr>
          <p:nvPr>
            <p:ph idx="1"/>
          </p:nvPr>
        </p:nvGraphicFramePr>
        <p:xfrm>
          <a:off x="304801" y="1251061"/>
          <a:ext cx="11582399" cy="4568952"/>
        </p:xfrm>
        <a:graphic>
          <a:graphicData uri="http://schemas.openxmlformats.org/drawingml/2006/table">
            <a:tbl>
              <a:tblPr firstRow="1" bandRow="1">
                <a:tableStyleId>{6E25E649-3F16-4E02-A733-19D2CDBF48F0}</a:tableStyleId>
              </a:tblPr>
              <a:tblGrid>
                <a:gridCol w="2285999">
                  <a:extLst>
                    <a:ext uri="{9D8B030D-6E8A-4147-A177-3AD203B41FA5}">
                      <a16:colId xmlns:a16="http://schemas.microsoft.com/office/drawing/2014/main" val="1361055744"/>
                    </a:ext>
                  </a:extLst>
                </a:gridCol>
                <a:gridCol w="2819400">
                  <a:extLst>
                    <a:ext uri="{9D8B030D-6E8A-4147-A177-3AD203B41FA5}">
                      <a16:colId xmlns:a16="http://schemas.microsoft.com/office/drawing/2014/main" val="2713589861"/>
                    </a:ext>
                  </a:extLst>
                </a:gridCol>
                <a:gridCol w="3200400">
                  <a:extLst>
                    <a:ext uri="{9D8B030D-6E8A-4147-A177-3AD203B41FA5}">
                      <a16:colId xmlns:a16="http://schemas.microsoft.com/office/drawing/2014/main" val="3726041742"/>
                    </a:ext>
                  </a:extLst>
                </a:gridCol>
                <a:gridCol w="3276600">
                  <a:extLst>
                    <a:ext uri="{9D8B030D-6E8A-4147-A177-3AD203B41FA5}">
                      <a16:colId xmlns:a16="http://schemas.microsoft.com/office/drawing/2014/main" val="1239299162"/>
                    </a:ext>
                  </a:extLst>
                </a:gridCol>
              </a:tblGrid>
              <a:tr h="553846">
                <a:tc>
                  <a:txBody>
                    <a:bodyPr/>
                    <a:lstStyle/>
                    <a:p>
                      <a:pPr algn="ctr"/>
                      <a:endParaRPr lang="en-US" sz="1600" dirty="0"/>
                    </a:p>
                  </a:txBody>
                  <a:tcPr anchor="ctr"/>
                </a:tc>
                <a:tc>
                  <a:txBody>
                    <a:bodyPr/>
                    <a:lstStyle/>
                    <a:p>
                      <a:pPr algn="ctr"/>
                      <a:r>
                        <a:rPr lang="en-US" sz="1800" dirty="0">
                          <a:solidFill>
                            <a:schemeClr val="bg1"/>
                          </a:solidFill>
                        </a:rPr>
                        <a:t>Lisocabtagene Maraleucel</a:t>
                      </a:r>
                    </a:p>
                    <a:p>
                      <a:pPr algn="ctr"/>
                      <a:r>
                        <a:rPr lang="en-US" sz="1800" dirty="0">
                          <a:solidFill>
                            <a:schemeClr val="bg1"/>
                          </a:solidFill>
                        </a:rPr>
                        <a:t>TRANSCEND-FL</a:t>
                      </a:r>
                    </a:p>
                  </a:txBody>
                  <a:tcPr anchor="ctr"/>
                </a:tc>
                <a:tc>
                  <a:txBody>
                    <a:bodyPr/>
                    <a:lstStyle/>
                    <a:p>
                      <a:pPr algn="ctr"/>
                      <a:r>
                        <a:rPr lang="en-US" sz="1800" dirty="0">
                          <a:solidFill>
                            <a:schemeClr val="bg1"/>
                          </a:solidFill>
                        </a:rPr>
                        <a:t>Tisagenlecleucel</a:t>
                      </a:r>
                    </a:p>
                    <a:p>
                      <a:pPr algn="ctr"/>
                      <a:r>
                        <a:rPr lang="en-US" sz="1800" dirty="0">
                          <a:solidFill>
                            <a:schemeClr val="bg1"/>
                          </a:solidFill>
                        </a:rPr>
                        <a:t>ELARA</a:t>
                      </a:r>
                    </a:p>
                  </a:txBody>
                  <a:tcPr anchor="ctr"/>
                </a:tc>
                <a:tc>
                  <a:txBody>
                    <a:bodyPr/>
                    <a:lstStyle/>
                    <a:p>
                      <a:pPr algn="ctr"/>
                      <a:r>
                        <a:rPr lang="en-US" sz="1800" dirty="0">
                          <a:solidFill>
                            <a:schemeClr val="bg1"/>
                          </a:solidFill>
                        </a:rPr>
                        <a:t>Axicabtagene Ciloleucel</a:t>
                      </a:r>
                    </a:p>
                    <a:p>
                      <a:pPr algn="ctr"/>
                      <a:r>
                        <a:rPr lang="en-US" sz="1800" dirty="0">
                          <a:solidFill>
                            <a:schemeClr val="bg1"/>
                          </a:solidFill>
                        </a:rPr>
                        <a:t>ZUMA-5</a:t>
                      </a:r>
                    </a:p>
                  </a:txBody>
                  <a:tcPr anchor="ctr"/>
                </a:tc>
                <a:extLst>
                  <a:ext uri="{0D108BD9-81ED-4DB2-BD59-A6C34878D82A}">
                    <a16:rowId xmlns:a16="http://schemas.microsoft.com/office/drawing/2014/main" val="2987787854"/>
                  </a:ext>
                </a:extLst>
              </a:tr>
              <a:tr h="303297">
                <a:tc>
                  <a:txBody>
                    <a:bodyPr/>
                    <a:lstStyle/>
                    <a:p>
                      <a:pPr>
                        <a:buClr>
                          <a:srgbClr val="000000"/>
                        </a:buClr>
                      </a:pPr>
                      <a:r>
                        <a:rPr lang="en-US" sz="1800" b="0" dirty="0">
                          <a:solidFill>
                            <a:schemeClr val="tx1"/>
                          </a:solidFill>
                        </a:rPr>
                        <a:t>n</a:t>
                      </a:r>
                    </a:p>
                  </a:txBody>
                  <a:tcPr marL="68580" marR="68580" marT="34290" marB="3429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0" dirty="0"/>
                        <a:t>107</a:t>
                      </a:r>
                      <a:endParaRPr lang="en-US" sz="17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dirty="0"/>
                        <a:t>94</a:t>
                      </a:r>
                    </a:p>
                  </a:txBody>
                  <a:tcPr/>
                </a:tc>
                <a:tc>
                  <a:txBody>
                    <a:bodyPr/>
                    <a:lstStyle/>
                    <a:p>
                      <a:r>
                        <a:rPr lang="en-US" sz="1700" dirty="0"/>
                        <a:t>124</a:t>
                      </a:r>
                    </a:p>
                  </a:txBody>
                  <a:tcPr/>
                </a:tc>
                <a:extLst>
                  <a:ext uri="{0D108BD9-81ED-4DB2-BD59-A6C34878D82A}">
                    <a16:rowId xmlns:a16="http://schemas.microsoft.com/office/drawing/2014/main" val="3674242130"/>
                  </a:ext>
                </a:extLst>
              </a:tr>
              <a:tr h="303297">
                <a:tc>
                  <a:txBody>
                    <a:bodyPr/>
                    <a:lstStyle/>
                    <a:p>
                      <a:pPr>
                        <a:buClr>
                          <a:srgbClr val="000000"/>
                        </a:buClr>
                      </a:pPr>
                      <a:r>
                        <a:rPr lang="en-US" sz="1800" b="0" dirty="0">
                          <a:solidFill>
                            <a:schemeClr val="tx1"/>
                          </a:solidFill>
                        </a:rPr>
                        <a:t>Median # prior lines</a:t>
                      </a:r>
                    </a:p>
                  </a:txBody>
                  <a:tcPr marL="68580" marR="68580" marT="34290" marB="34290" anchor="ctr"/>
                </a:tc>
                <a:tc>
                  <a:txBody>
                    <a:bodyPr/>
                    <a:lstStyle/>
                    <a:p>
                      <a:r>
                        <a:rPr lang="en-GB" sz="1700" noProof="0" dirty="0">
                          <a:effectLst/>
                        </a:rPr>
                        <a:t>3</a:t>
                      </a:r>
                      <a:endParaRPr lang="en-US" sz="1700" dirty="0"/>
                    </a:p>
                  </a:txBody>
                  <a:tcPr anchor="ctr"/>
                </a:tc>
                <a:tc>
                  <a:txBody>
                    <a:bodyPr/>
                    <a:lstStyle/>
                    <a:p>
                      <a:r>
                        <a:rPr lang="en-US" sz="1700" dirty="0">
                          <a:effectLst/>
                        </a:rPr>
                        <a:t>4</a:t>
                      </a:r>
                      <a:endParaRPr lang="en-US" sz="1700" baseline="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700" kern="1200" noProof="0" dirty="0">
                          <a:effectLst/>
                        </a:rPr>
                        <a:t>3</a:t>
                      </a:r>
                      <a:endParaRPr lang="en-GB" sz="1700" kern="1200" noProof="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anchor="ctr"/>
                </a:tc>
                <a:extLst>
                  <a:ext uri="{0D108BD9-81ED-4DB2-BD59-A6C34878D82A}">
                    <a16:rowId xmlns:a16="http://schemas.microsoft.com/office/drawing/2014/main" val="1395914031"/>
                  </a:ext>
                </a:extLst>
              </a:tr>
              <a:tr h="303297">
                <a:tc>
                  <a:txBody>
                    <a:bodyPr/>
                    <a:lstStyle/>
                    <a:p>
                      <a:pPr>
                        <a:buClr>
                          <a:srgbClr val="000000"/>
                        </a:buClr>
                      </a:pPr>
                      <a:r>
                        <a:rPr lang="en-US" sz="1800" b="0" dirty="0" err="1">
                          <a:solidFill>
                            <a:schemeClr val="tx1"/>
                          </a:solidFill>
                        </a:rPr>
                        <a:t>Chemorefractory</a:t>
                      </a:r>
                      <a:endParaRPr lang="en-US" sz="1800" b="0" dirty="0">
                        <a:solidFill>
                          <a:schemeClr val="tx1"/>
                        </a:solidFill>
                      </a:endParaRPr>
                    </a:p>
                  </a:txBody>
                  <a:tcPr marL="68580" marR="68580" marT="34290" marB="34290" anchor="ctr"/>
                </a:tc>
                <a:tc>
                  <a:txBody>
                    <a:bodyPr/>
                    <a:lstStyle/>
                    <a:p>
                      <a:r>
                        <a:rPr lang="en-US" sz="1700" dirty="0"/>
                        <a:t>67%</a:t>
                      </a:r>
                    </a:p>
                  </a:txBody>
                  <a:tcPr anchor="ctr"/>
                </a:tc>
                <a:tc>
                  <a:txBody>
                    <a:bodyPr/>
                    <a:lstStyle/>
                    <a:p>
                      <a:r>
                        <a:rPr lang="en-US" sz="1700" baseline="0" dirty="0"/>
                        <a:t>78%</a:t>
                      </a:r>
                    </a:p>
                  </a:txBody>
                  <a:tcPr anchor="ctr"/>
                </a:tc>
                <a:tc>
                  <a:txBody>
                    <a:bodyPr/>
                    <a:lstStyle/>
                    <a:p>
                      <a:r>
                        <a:rPr lang="en-US" sz="1700" baseline="0" dirty="0"/>
                        <a:t>68%</a:t>
                      </a:r>
                    </a:p>
                  </a:txBody>
                  <a:tcPr anchor="ctr"/>
                </a:tc>
                <a:extLst>
                  <a:ext uri="{0D108BD9-81ED-4DB2-BD59-A6C34878D82A}">
                    <a16:rowId xmlns:a16="http://schemas.microsoft.com/office/drawing/2014/main" val="1659020005"/>
                  </a:ext>
                </a:extLst>
              </a:tr>
              <a:tr h="303297">
                <a:tc>
                  <a:txBody>
                    <a:bodyPr/>
                    <a:lstStyle/>
                    <a:p>
                      <a:pPr>
                        <a:buClr>
                          <a:srgbClr val="000000"/>
                        </a:buClr>
                      </a:pPr>
                      <a:r>
                        <a:rPr lang="en-US" sz="1800" b="0" dirty="0">
                          <a:solidFill>
                            <a:schemeClr val="tx1"/>
                          </a:solidFill>
                        </a:rPr>
                        <a:t>POD24</a:t>
                      </a:r>
                    </a:p>
                  </a:txBody>
                  <a:tcPr marL="68580" marR="68580" marT="34290" marB="34290" anchor="ctr"/>
                </a:tc>
                <a:tc>
                  <a:txBody>
                    <a:bodyPr/>
                    <a:lstStyle/>
                    <a:p>
                      <a:r>
                        <a:rPr lang="en-US" sz="1700" dirty="0"/>
                        <a:t>54%</a:t>
                      </a:r>
                    </a:p>
                  </a:txBody>
                  <a:tcPr anchor="ctr"/>
                </a:tc>
                <a:tc>
                  <a:txBody>
                    <a:bodyPr/>
                    <a:lstStyle/>
                    <a:p>
                      <a:r>
                        <a:rPr lang="en-US" sz="1700" baseline="0" dirty="0"/>
                        <a:t>60%</a:t>
                      </a:r>
                    </a:p>
                  </a:txBody>
                  <a:tcPr anchor="ctr"/>
                </a:tc>
                <a:tc>
                  <a:txBody>
                    <a:bodyPr/>
                    <a:lstStyle/>
                    <a:p>
                      <a:r>
                        <a:rPr lang="en-US" sz="1700" baseline="0" dirty="0"/>
                        <a:t>55%</a:t>
                      </a:r>
                    </a:p>
                  </a:txBody>
                  <a:tcPr anchor="ctr"/>
                </a:tc>
                <a:extLst>
                  <a:ext uri="{0D108BD9-81ED-4DB2-BD59-A6C34878D82A}">
                    <a16:rowId xmlns:a16="http://schemas.microsoft.com/office/drawing/2014/main" val="452592187"/>
                  </a:ext>
                </a:extLst>
              </a:tr>
              <a:tr h="303297">
                <a:tc>
                  <a:txBody>
                    <a:bodyPr/>
                    <a:lstStyle/>
                    <a:p>
                      <a:pPr>
                        <a:buClr>
                          <a:srgbClr val="000000"/>
                        </a:buClr>
                      </a:pPr>
                      <a:r>
                        <a:rPr lang="en-US" sz="1800" b="0" dirty="0">
                          <a:solidFill>
                            <a:schemeClr val="tx1"/>
                          </a:solidFill>
                        </a:rPr>
                        <a:t>OR rate</a:t>
                      </a:r>
                    </a:p>
                  </a:txBody>
                  <a:tcPr marL="68580" marR="68580" marT="34290" marB="34290" anchor="ctr"/>
                </a:tc>
                <a:tc>
                  <a:txBody>
                    <a:bodyPr/>
                    <a:lstStyle/>
                    <a:p>
                      <a:r>
                        <a:rPr lang="en-US" sz="1700" b="0" dirty="0"/>
                        <a:t>97%</a:t>
                      </a:r>
                    </a:p>
                  </a:txBody>
                  <a:tcPr anchor="ctr"/>
                </a:tc>
                <a:tc>
                  <a:txBody>
                    <a:bodyPr/>
                    <a:lstStyle/>
                    <a:p>
                      <a:r>
                        <a:rPr lang="en-US" sz="1700" b="0" dirty="0"/>
                        <a:t>86%</a:t>
                      </a:r>
                    </a:p>
                  </a:txBody>
                  <a:tcPr anchor="ctr"/>
                </a:tc>
                <a:tc>
                  <a:txBody>
                    <a:bodyPr/>
                    <a:lstStyle/>
                    <a:p>
                      <a:r>
                        <a:rPr lang="en-US" sz="1700" b="0" dirty="0"/>
                        <a:t>94%</a:t>
                      </a:r>
                    </a:p>
                  </a:txBody>
                  <a:tcPr anchor="ctr"/>
                </a:tc>
                <a:extLst>
                  <a:ext uri="{0D108BD9-81ED-4DB2-BD59-A6C34878D82A}">
                    <a16:rowId xmlns:a16="http://schemas.microsoft.com/office/drawing/2014/main" val="2990446706"/>
                  </a:ext>
                </a:extLst>
              </a:tr>
              <a:tr h="303297">
                <a:tc>
                  <a:txBody>
                    <a:bodyPr/>
                    <a:lstStyle/>
                    <a:p>
                      <a:pPr>
                        <a:buClr>
                          <a:srgbClr val="000000"/>
                        </a:buClr>
                      </a:pPr>
                      <a:r>
                        <a:rPr lang="en-US" sz="1800" b="0" dirty="0">
                          <a:solidFill>
                            <a:schemeClr val="tx1"/>
                          </a:solidFill>
                        </a:rPr>
                        <a:t>CR rate</a:t>
                      </a:r>
                    </a:p>
                  </a:txBody>
                  <a:tcPr marL="68580" marR="68580" marT="34290" marB="34290" anchor="ctr"/>
                </a:tc>
                <a:tc>
                  <a:txBody>
                    <a:bodyPr/>
                    <a:lstStyle/>
                    <a:p>
                      <a:r>
                        <a:rPr lang="en-US" sz="1700" b="0" dirty="0"/>
                        <a:t>94%</a:t>
                      </a:r>
                    </a:p>
                  </a:txBody>
                  <a:tcPr anchor="ctr"/>
                </a:tc>
                <a:tc>
                  <a:txBody>
                    <a:bodyPr/>
                    <a:lstStyle/>
                    <a:p>
                      <a:r>
                        <a:rPr lang="en-US" sz="1700" b="0" dirty="0"/>
                        <a:t>69%</a:t>
                      </a:r>
                    </a:p>
                  </a:txBody>
                  <a:tcPr anchor="ctr"/>
                </a:tc>
                <a:tc>
                  <a:txBody>
                    <a:bodyPr/>
                    <a:lstStyle/>
                    <a:p>
                      <a:r>
                        <a:rPr lang="en-US" sz="1700" b="0" dirty="0"/>
                        <a:t>79%</a:t>
                      </a:r>
                    </a:p>
                  </a:txBody>
                  <a:tcPr anchor="ctr"/>
                </a:tc>
                <a:extLst>
                  <a:ext uri="{0D108BD9-81ED-4DB2-BD59-A6C34878D82A}">
                    <a16:rowId xmlns:a16="http://schemas.microsoft.com/office/drawing/2014/main" val="3976523551"/>
                  </a:ext>
                </a:extLst>
              </a:tr>
              <a:tr h="303297">
                <a:tc>
                  <a:txBody>
                    <a:bodyPr/>
                    <a:lstStyle/>
                    <a:p>
                      <a:pPr>
                        <a:buClr>
                          <a:srgbClr val="000000"/>
                        </a:buClr>
                      </a:pPr>
                      <a:r>
                        <a:rPr lang="en-US" sz="1800" b="0" dirty="0">
                          <a:solidFill>
                            <a:schemeClr val="tx1"/>
                          </a:solidFill>
                        </a:rPr>
                        <a:t>CRS, any grade %</a:t>
                      </a:r>
                    </a:p>
                  </a:txBody>
                  <a:tcPr marL="68580" marR="68580" marT="34290" marB="34290" anchor="ctr"/>
                </a:tc>
                <a:tc>
                  <a:txBody>
                    <a:bodyPr/>
                    <a:lstStyle/>
                    <a:p>
                      <a:r>
                        <a:rPr lang="en-US" sz="1700" dirty="0"/>
                        <a:t>58</a:t>
                      </a:r>
                    </a:p>
                  </a:txBody>
                  <a:tcPr anchor="ctr"/>
                </a:tc>
                <a:tc>
                  <a:txBody>
                    <a:bodyPr/>
                    <a:lstStyle/>
                    <a:p>
                      <a:r>
                        <a:rPr lang="en-US" sz="1700" dirty="0"/>
                        <a:t>49</a:t>
                      </a:r>
                    </a:p>
                  </a:txBody>
                  <a:tcPr anchor="ctr"/>
                </a:tc>
                <a:tc>
                  <a:txBody>
                    <a:bodyPr/>
                    <a:lstStyle/>
                    <a:p>
                      <a:r>
                        <a:rPr lang="en-US" sz="1700" dirty="0"/>
                        <a:t>82</a:t>
                      </a:r>
                    </a:p>
                  </a:txBody>
                  <a:tcPr anchor="ctr"/>
                </a:tc>
                <a:extLst>
                  <a:ext uri="{0D108BD9-81ED-4DB2-BD59-A6C34878D82A}">
                    <a16:rowId xmlns:a16="http://schemas.microsoft.com/office/drawing/2014/main" val="3282652529"/>
                  </a:ext>
                </a:extLst>
              </a:tr>
              <a:tr h="303297">
                <a:tc>
                  <a:txBody>
                    <a:bodyPr/>
                    <a:lstStyle/>
                    <a:p>
                      <a:pPr>
                        <a:buClr>
                          <a:srgbClr val="000000"/>
                        </a:buClr>
                      </a:pPr>
                      <a:r>
                        <a:rPr lang="en-US" sz="1800" b="0" dirty="0">
                          <a:solidFill>
                            <a:schemeClr val="tx1"/>
                          </a:solidFill>
                        </a:rPr>
                        <a:t>CRS, severe %</a:t>
                      </a:r>
                    </a:p>
                  </a:txBody>
                  <a:tcPr marL="68580" marR="68580" marT="34290" marB="34290" anchor="ctr"/>
                </a:tc>
                <a:tc>
                  <a:txBody>
                    <a:bodyPr/>
                    <a:lstStyle/>
                    <a:p>
                      <a:r>
                        <a:rPr lang="en-US" sz="1700" dirty="0"/>
                        <a:t>1</a:t>
                      </a:r>
                    </a:p>
                  </a:txBody>
                  <a:tcPr anchor="ctr"/>
                </a:tc>
                <a:tc>
                  <a:txBody>
                    <a:bodyPr/>
                    <a:lstStyle/>
                    <a:p>
                      <a:r>
                        <a:rPr lang="en-US" sz="1700" dirty="0"/>
                        <a:t>0</a:t>
                      </a:r>
                    </a:p>
                  </a:txBody>
                  <a:tcPr anchor="ctr"/>
                </a:tc>
                <a:tc>
                  <a:txBody>
                    <a:bodyPr/>
                    <a:lstStyle/>
                    <a:p>
                      <a:r>
                        <a:rPr lang="en-US" sz="1700" dirty="0"/>
                        <a:t>7</a:t>
                      </a:r>
                    </a:p>
                  </a:txBody>
                  <a:tcPr anchor="ctr"/>
                </a:tc>
                <a:extLst>
                  <a:ext uri="{0D108BD9-81ED-4DB2-BD59-A6C34878D82A}">
                    <a16:rowId xmlns:a16="http://schemas.microsoft.com/office/drawing/2014/main" val="2921860402"/>
                  </a:ext>
                </a:extLst>
              </a:tr>
              <a:tr h="303297">
                <a:tc>
                  <a:txBody>
                    <a:bodyPr/>
                    <a:lstStyle/>
                    <a:p>
                      <a:pPr>
                        <a:buClr>
                          <a:srgbClr val="000000"/>
                        </a:buClr>
                      </a:pPr>
                      <a:r>
                        <a:rPr lang="en-US" sz="1800" b="0" dirty="0" err="1">
                          <a:solidFill>
                            <a:schemeClr val="tx1"/>
                          </a:solidFill>
                        </a:rPr>
                        <a:t>Neurotox</a:t>
                      </a:r>
                      <a:r>
                        <a:rPr lang="en-US" sz="1800" b="0" dirty="0">
                          <a:solidFill>
                            <a:schemeClr val="tx1"/>
                          </a:solidFill>
                        </a:rPr>
                        <a:t>, any grade %</a:t>
                      </a:r>
                    </a:p>
                  </a:txBody>
                  <a:tcPr marL="68580" marR="68580" marT="34290" marB="34290" anchor="ctr"/>
                </a:tc>
                <a:tc>
                  <a:txBody>
                    <a:bodyPr/>
                    <a:lstStyle/>
                    <a:p>
                      <a:r>
                        <a:rPr lang="en-US" sz="1700" dirty="0">
                          <a:solidFill>
                            <a:schemeClr val="tx1"/>
                          </a:solidFill>
                        </a:rPr>
                        <a:t>15</a:t>
                      </a:r>
                    </a:p>
                  </a:txBody>
                  <a:tcPr anchor="ctr"/>
                </a:tc>
                <a:tc>
                  <a:txBody>
                    <a:bodyPr/>
                    <a:lstStyle/>
                    <a:p>
                      <a:r>
                        <a:rPr lang="en-US" sz="1700" dirty="0">
                          <a:solidFill>
                            <a:schemeClr val="tx1"/>
                          </a:solidFill>
                        </a:rPr>
                        <a:t>4</a:t>
                      </a:r>
                    </a:p>
                  </a:txBody>
                  <a:tcPr anchor="ctr"/>
                </a:tc>
                <a:tc>
                  <a:txBody>
                    <a:bodyPr/>
                    <a:lstStyle/>
                    <a:p>
                      <a:r>
                        <a:rPr lang="en-US" sz="1700" dirty="0">
                          <a:solidFill>
                            <a:schemeClr val="tx1"/>
                          </a:solidFill>
                        </a:rPr>
                        <a:t>59</a:t>
                      </a:r>
                    </a:p>
                  </a:txBody>
                  <a:tcPr anchor="ctr"/>
                </a:tc>
                <a:extLst>
                  <a:ext uri="{0D108BD9-81ED-4DB2-BD59-A6C34878D82A}">
                    <a16:rowId xmlns:a16="http://schemas.microsoft.com/office/drawing/2014/main" val="488361188"/>
                  </a:ext>
                </a:extLst>
              </a:tr>
              <a:tr h="303297">
                <a:tc>
                  <a:txBody>
                    <a:bodyPr/>
                    <a:lstStyle/>
                    <a:p>
                      <a:pPr>
                        <a:buClr>
                          <a:srgbClr val="000000"/>
                        </a:buClr>
                      </a:pPr>
                      <a:r>
                        <a:rPr lang="en-US" sz="1800" b="0" dirty="0" err="1">
                          <a:solidFill>
                            <a:schemeClr val="tx1"/>
                          </a:solidFill>
                        </a:rPr>
                        <a:t>Neurotox</a:t>
                      </a:r>
                      <a:r>
                        <a:rPr lang="en-US" sz="1800" b="0" dirty="0">
                          <a:solidFill>
                            <a:schemeClr val="tx1"/>
                          </a:solidFill>
                        </a:rPr>
                        <a:t>, severe %</a:t>
                      </a:r>
                    </a:p>
                  </a:txBody>
                  <a:tcPr marL="68580" marR="68580" marT="34290" marB="34290" anchor="ctr"/>
                </a:tc>
                <a:tc>
                  <a:txBody>
                    <a:bodyPr/>
                    <a:lstStyle/>
                    <a:p>
                      <a:r>
                        <a:rPr lang="en-US" sz="1700" dirty="0">
                          <a:solidFill>
                            <a:schemeClr val="tx1"/>
                          </a:solidFill>
                        </a:rPr>
                        <a:t>2</a:t>
                      </a:r>
                    </a:p>
                  </a:txBody>
                  <a:tcPr anchor="ctr"/>
                </a:tc>
                <a:tc>
                  <a:txBody>
                    <a:bodyPr/>
                    <a:lstStyle/>
                    <a:p>
                      <a:r>
                        <a:rPr lang="en-US" sz="1700" dirty="0">
                          <a:solidFill>
                            <a:schemeClr val="tx1"/>
                          </a:solidFill>
                        </a:rPr>
                        <a:t>1</a:t>
                      </a:r>
                    </a:p>
                  </a:txBody>
                  <a:tcPr anchor="ctr"/>
                </a:tc>
                <a:tc>
                  <a:txBody>
                    <a:bodyPr/>
                    <a:lstStyle/>
                    <a:p>
                      <a:r>
                        <a:rPr lang="en-US" sz="1700" dirty="0">
                          <a:solidFill>
                            <a:schemeClr val="tx1"/>
                          </a:solidFill>
                        </a:rPr>
                        <a:t>15</a:t>
                      </a:r>
                    </a:p>
                  </a:txBody>
                  <a:tcPr anchor="ctr"/>
                </a:tc>
                <a:extLst>
                  <a:ext uri="{0D108BD9-81ED-4DB2-BD59-A6C34878D82A}">
                    <a16:rowId xmlns:a16="http://schemas.microsoft.com/office/drawing/2014/main" val="517910159"/>
                  </a:ext>
                </a:extLst>
              </a:tr>
              <a:tr h="366593">
                <a:tc>
                  <a:txBody>
                    <a:bodyPr/>
                    <a:lstStyle/>
                    <a:p>
                      <a:pPr>
                        <a:buClr>
                          <a:srgbClr val="000000"/>
                        </a:buClr>
                      </a:pPr>
                      <a:r>
                        <a:rPr lang="en-US" sz="1000" b="0" dirty="0">
                          <a:solidFill>
                            <a:schemeClr val="tx1"/>
                          </a:solidFill>
                          <a:latin typeface="+mn-lt"/>
                        </a:rPr>
                        <a:t>References</a:t>
                      </a:r>
                    </a:p>
                  </a:txBody>
                  <a:tcPr marL="68580" marR="68580" marT="34290" marB="3429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err="1">
                          <a:solidFill>
                            <a:srgbClr val="000000"/>
                          </a:solidFill>
                          <a:latin typeface="Calibri" panose="020F0502020204030204" pitchFamily="34" charset="0"/>
                          <a:cs typeface="Calibri" panose="020F0502020204030204" pitchFamily="34" charset="0"/>
                        </a:rPr>
                        <a:t>Morschhauser</a:t>
                      </a:r>
                      <a:r>
                        <a:rPr lang="en-US" sz="1000" b="0" i="0" dirty="0">
                          <a:solidFill>
                            <a:srgbClr val="000000"/>
                          </a:solidFill>
                          <a:effectLst/>
                          <a:latin typeface="Calibri" panose="020F0502020204030204" pitchFamily="34" charset="0"/>
                          <a:cs typeface="Calibri" panose="020F0502020204030204" pitchFamily="34" charset="0"/>
                        </a:rPr>
                        <a:t>, et al. Nature Med 202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Ahmed, et al. Proc ASH 2025</a:t>
                      </a:r>
                      <a:endParaRPr lang="en-GB" sz="1000" dirty="0">
                        <a:latin typeface="Calibri" panose="020F0502020204030204" pitchFamily="34" charset="0"/>
                        <a:cs typeface="Calibri" panose="020F0502020204030204" pitchFamily="34" charset="0"/>
                      </a:endParaRPr>
                    </a:p>
                  </a:txBody>
                  <a:tcPr anchor="ctr"/>
                </a:tc>
                <a:tc>
                  <a:txBody>
                    <a:bodyPr/>
                    <a:lstStyle/>
                    <a:p>
                      <a:pPr marL="0" marR="0" lvl="0" indent="0" algn="l" defTabSz="457200" rtl="0" eaLnBrk="0" fontAlgn="base" latinLnBrk="0" hangingPunct="0">
                        <a:lnSpc>
                          <a:spcPct val="112000"/>
                        </a:lnSpc>
                        <a:spcBef>
                          <a:spcPct val="0"/>
                        </a:spcBef>
                        <a:spcAft>
                          <a:spcPct val="0"/>
                        </a:spcAft>
                        <a:buClr>
                          <a:srgbClr val="000000"/>
                        </a:buClr>
                        <a:buSzPct val="45000"/>
                        <a:buFont typeface="StarSymbol" charset="0"/>
                        <a:buNone/>
                        <a:tabLst/>
                        <a:defRPr/>
                      </a:pPr>
                      <a:r>
                        <a:rPr lang="en-US" sz="1000" dirty="0">
                          <a:latin typeface="+mn-lt"/>
                          <a:ea typeface="ＭＳ Ｐゴシック"/>
                          <a:cs typeface="Arial"/>
                        </a:rPr>
                        <a:t>Fowler, et al. Nat Med 2022.</a:t>
                      </a:r>
                    </a:p>
                    <a:p>
                      <a:pPr marL="0" marR="0" lvl="0" indent="0" algn="l" defTabSz="457200" rtl="0" eaLnBrk="0" fontAlgn="base" latinLnBrk="0" hangingPunct="0">
                        <a:lnSpc>
                          <a:spcPct val="112000"/>
                        </a:lnSpc>
                        <a:spcBef>
                          <a:spcPct val="0"/>
                        </a:spcBef>
                        <a:spcAft>
                          <a:spcPct val="0"/>
                        </a:spcAft>
                        <a:buClr>
                          <a:srgbClr val="000000"/>
                        </a:buClr>
                        <a:buSzPct val="45000"/>
                        <a:buFont typeface="StarSymbol" charset="0"/>
                        <a:buNone/>
                        <a:tabLst/>
                        <a:defRPr/>
                      </a:pPr>
                      <a:r>
                        <a:rPr lang="en-US" sz="1000" dirty="0"/>
                        <a:t>Schuster, et </a:t>
                      </a:r>
                      <a:r>
                        <a:rPr lang="en-US" sz="1000" dirty="0" err="1"/>
                        <a:t>al.Proc</a:t>
                      </a:r>
                      <a:r>
                        <a:rPr lang="en-US" sz="1000" dirty="0"/>
                        <a:t> ASH 2025</a:t>
                      </a:r>
                      <a:endParaRPr kumimoji="0" lang="en-US" sz="1000" b="0" i="0" u="none" strike="noStrike" kern="1200" cap="none" spc="0" normalizeH="0" baseline="0" noProof="0" dirty="0">
                        <a:ln>
                          <a:noFill/>
                        </a:ln>
                        <a:solidFill>
                          <a:srgbClr val="000000"/>
                        </a:solidFill>
                        <a:effectLst/>
                        <a:uLnTx/>
                        <a:uFillTx/>
                        <a:latin typeface="+mn-lt"/>
                        <a:ea typeface="ＭＳ Ｐゴシック"/>
                        <a:cs typeface="Arial"/>
                      </a:endParaRPr>
                    </a:p>
                  </a:txBody>
                  <a:tcPr anchor="ctr"/>
                </a:tc>
                <a:tc>
                  <a:txBody>
                    <a:bodyPr/>
                    <a:lstStyle/>
                    <a:p>
                      <a:r>
                        <a:rPr kumimoji="0" lang="en-US" sz="1000" b="0" i="0" u="none" strike="noStrike" kern="1200" cap="none" spc="0" normalizeH="0" baseline="0" noProof="0" dirty="0">
                          <a:ln>
                            <a:noFill/>
                          </a:ln>
                          <a:solidFill>
                            <a:srgbClr val="000000"/>
                          </a:solidFill>
                          <a:effectLst/>
                          <a:uLnTx/>
                          <a:uFillTx/>
                          <a:latin typeface="+mn-lt"/>
                          <a:ea typeface="+mn-ea"/>
                          <a:cs typeface="+mn-cs"/>
                        </a:rPr>
                        <a:t>Jacobson, et al. Lancet </a:t>
                      </a:r>
                      <a:r>
                        <a:rPr kumimoji="0" lang="en-US" sz="1000" b="0" i="0" u="none" strike="noStrike" kern="1200" cap="none" spc="0" normalizeH="0" baseline="0" noProof="0" dirty="0" err="1">
                          <a:ln>
                            <a:noFill/>
                          </a:ln>
                          <a:solidFill>
                            <a:srgbClr val="000000"/>
                          </a:solidFill>
                          <a:effectLst/>
                          <a:uLnTx/>
                          <a:uFillTx/>
                          <a:latin typeface="+mn-lt"/>
                          <a:ea typeface="+mn-ea"/>
                          <a:cs typeface="+mn-cs"/>
                        </a:rPr>
                        <a:t>Onc</a:t>
                      </a:r>
                      <a:r>
                        <a:rPr kumimoji="0" lang="en-US" sz="1000" b="0" i="0" u="none" strike="noStrike" kern="1200" cap="none" spc="0" normalizeH="0" baseline="0" noProof="0" dirty="0">
                          <a:ln>
                            <a:noFill/>
                          </a:ln>
                          <a:solidFill>
                            <a:srgbClr val="000000"/>
                          </a:solidFill>
                          <a:effectLst/>
                          <a:uLnTx/>
                          <a:uFillTx/>
                          <a:latin typeface="+mn-lt"/>
                          <a:ea typeface="+mn-ea"/>
                          <a:cs typeface="+mn-cs"/>
                        </a:rPr>
                        <a:t> 2022</a:t>
                      </a:r>
                    </a:p>
                    <a:p>
                      <a:r>
                        <a:rPr lang="en-US" sz="1000" dirty="0" err="1"/>
                        <a:t>Neelapu</a:t>
                      </a:r>
                      <a:r>
                        <a:rPr lang="en-US" sz="1000" dirty="0"/>
                        <a:t>, et al. JCO 2025</a:t>
                      </a:r>
                      <a:endParaRPr lang="en-US" sz="1000" dirty="0">
                        <a:latin typeface="+mn-lt"/>
                      </a:endParaRPr>
                    </a:p>
                  </a:txBody>
                  <a:tcPr anchor="ctr"/>
                </a:tc>
                <a:extLst>
                  <a:ext uri="{0D108BD9-81ED-4DB2-BD59-A6C34878D82A}">
                    <a16:rowId xmlns:a16="http://schemas.microsoft.com/office/drawing/2014/main" val="3059417011"/>
                  </a:ext>
                </a:extLst>
              </a:tr>
            </a:tbl>
          </a:graphicData>
        </a:graphic>
      </p:graphicFrame>
      <p:cxnSp>
        <p:nvCxnSpPr>
          <p:cNvPr id="7" name="Straight Connector 6">
            <a:extLst>
              <a:ext uri="{FF2B5EF4-FFF2-40B4-BE49-F238E27FC236}">
                <a16:creationId xmlns:a16="http://schemas.microsoft.com/office/drawing/2014/main" id="{D6A9BA3F-9E25-660D-4E9F-A7B16867A4A0}"/>
              </a:ext>
            </a:extLst>
          </p:cNvPr>
          <p:cNvCxnSpPr>
            <a:cxnSpLocks/>
          </p:cNvCxnSpPr>
          <p:nvPr/>
        </p:nvCxnSpPr>
        <p:spPr>
          <a:xfrm>
            <a:off x="304801" y="3272683"/>
            <a:ext cx="1158239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3935C42-EA25-F164-4D2A-0CFEFEE23E6F}"/>
              </a:ext>
            </a:extLst>
          </p:cNvPr>
          <p:cNvCxnSpPr>
            <a:cxnSpLocks/>
          </p:cNvCxnSpPr>
          <p:nvPr/>
        </p:nvCxnSpPr>
        <p:spPr>
          <a:xfrm>
            <a:off x="304801" y="3983143"/>
            <a:ext cx="11582398"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34662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C9E8CA-9BE5-3556-D7FF-2A33CC486CDD}"/>
              </a:ext>
            </a:extLst>
          </p:cNvPr>
          <p:cNvSpPr>
            <a:spLocks noGrp="1"/>
          </p:cNvSpPr>
          <p:nvPr>
            <p:ph type="title"/>
          </p:nvPr>
        </p:nvSpPr>
        <p:spPr>
          <a:xfrm>
            <a:off x="641350" y="371478"/>
            <a:ext cx="10902950" cy="956516"/>
          </a:xfrm>
        </p:spPr>
        <p:txBody>
          <a:bodyPr/>
          <a:lstStyle/>
          <a:p>
            <a:r>
              <a:rPr lang="en-US" dirty="0"/>
              <a:t>ZUMA-5:  Sustained PFS at 5 years in FL and MZL</a:t>
            </a:r>
          </a:p>
        </p:txBody>
      </p:sp>
      <p:sp>
        <p:nvSpPr>
          <p:cNvPr id="5" name="TextBox 4">
            <a:extLst>
              <a:ext uri="{FF2B5EF4-FFF2-40B4-BE49-F238E27FC236}">
                <a16:creationId xmlns:a16="http://schemas.microsoft.com/office/drawing/2014/main" id="{54CA6423-EE2C-3422-AE2C-4B1D31C036DA}"/>
              </a:ext>
            </a:extLst>
          </p:cNvPr>
          <p:cNvSpPr txBox="1"/>
          <p:nvPr/>
        </p:nvSpPr>
        <p:spPr>
          <a:xfrm>
            <a:off x="0" y="6642556"/>
            <a:ext cx="4408554"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000000"/>
                </a:solidFill>
                <a:effectLst/>
                <a:uLnTx/>
                <a:uFillTx/>
                <a:latin typeface="Calibri"/>
                <a:ea typeface="+mn-ea"/>
                <a:cs typeface="+mn-cs"/>
              </a:rPr>
              <a:t>Neelapu</a:t>
            </a:r>
            <a:r>
              <a:rPr kumimoji="0" lang="en-US" sz="800" b="0" i="0" u="none" strike="noStrike" kern="1200" cap="none" spc="0" normalizeH="0" baseline="0" noProof="0" dirty="0">
                <a:ln>
                  <a:noFill/>
                </a:ln>
                <a:solidFill>
                  <a:srgbClr val="000000"/>
                </a:solidFill>
                <a:effectLst/>
                <a:uLnTx/>
                <a:uFillTx/>
                <a:latin typeface="Calibri"/>
                <a:ea typeface="+mn-ea"/>
                <a:cs typeface="+mn-cs"/>
              </a:rPr>
              <a:t>, et al. JCO 2025;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Neelapu</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et al. Blood 2024.</a:t>
            </a:r>
            <a:endParaRPr kumimoji="0" lang="en-US" sz="8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3" name="Picture 2">
            <a:extLst>
              <a:ext uri="{FF2B5EF4-FFF2-40B4-BE49-F238E27FC236}">
                <a16:creationId xmlns:a16="http://schemas.microsoft.com/office/drawing/2014/main" id="{01535C88-1674-35B7-8C1F-02965D697200}"/>
              </a:ext>
            </a:extLst>
          </p:cNvPr>
          <p:cNvPicPr>
            <a:picLocks noChangeAspect="1"/>
          </p:cNvPicPr>
          <p:nvPr/>
        </p:nvPicPr>
        <p:blipFill>
          <a:blip r:embed="rId2"/>
          <a:stretch>
            <a:fillRect/>
          </a:stretch>
        </p:blipFill>
        <p:spPr>
          <a:xfrm>
            <a:off x="99992" y="1175596"/>
            <a:ext cx="6272751" cy="3800280"/>
          </a:xfrm>
          <a:prstGeom prst="rect">
            <a:avLst/>
          </a:prstGeom>
        </p:spPr>
      </p:pic>
      <p:grpSp>
        <p:nvGrpSpPr>
          <p:cNvPr id="34" name="Group 33">
            <a:extLst>
              <a:ext uri="{FF2B5EF4-FFF2-40B4-BE49-F238E27FC236}">
                <a16:creationId xmlns:a16="http://schemas.microsoft.com/office/drawing/2014/main" id="{2D5BDEE7-6585-CCA9-CE69-5180DA079283}"/>
              </a:ext>
            </a:extLst>
          </p:cNvPr>
          <p:cNvGrpSpPr/>
          <p:nvPr/>
        </p:nvGrpSpPr>
        <p:grpSpPr>
          <a:xfrm>
            <a:off x="6454718" y="965973"/>
            <a:ext cx="5637290" cy="4485440"/>
            <a:chOff x="1416263" y="2235615"/>
            <a:chExt cx="5637290" cy="4485440"/>
          </a:xfrm>
        </p:grpSpPr>
        <p:pic>
          <p:nvPicPr>
            <p:cNvPr id="31" name="Picture 30">
              <a:extLst>
                <a:ext uri="{FF2B5EF4-FFF2-40B4-BE49-F238E27FC236}">
                  <a16:creationId xmlns:a16="http://schemas.microsoft.com/office/drawing/2014/main" id="{1AB2D850-E6C8-27A3-6565-21B9AD7589B0}"/>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rcRect l="50872"/>
            <a:stretch>
              <a:fillRect/>
            </a:stretch>
          </p:blipFill>
          <p:spPr>
            <a:xfrm>
              <a:off x="3094456" y="2235616"/>
              <a:ext cx="3959097" cy="4485439"/>
            </a:xfrm>
            <a:prstGeom prst="rect">
              <a:avLst/>
            </a:prstGeom>
          </p:spPr>
        </p:pic>
        <p:pic>
          <p:nvPicPr>
            <p:cNvPr id="32" name="Picture 31">
              <a:extLst>
                <a:ext uri="{FF2B5EF4-FFF2-40B4-BE49-F238E27FC236}">
                  <a16:creationId xmlns:a16="http://schemas.microsoft.com/office/drawing/2014/main" id="{4FCEA798-7C3E-E528-0B8F-7A2C63CAE92B}"/>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rcRect r="78228"/>
            <a:stretch>
              <a:fillRect/>
            </a:stretch>
          </p:blipFill>
          <p:spPr>
            <a:xfrm>
              <a:off x="1416263" y="2235615"/>
              <a:ext cx="1754537" cy="4485439"/>
            </a:xfrm>
            <a:prstGeom prst="rect">
              <a:avLst/>
            </a:prstGeom>
          </p:spPr>
        </p:pic>
      </p:grpSp>
      <p:graphicFrame>
        <p:nvGraphicFramePr>
          <p:cNvPr id="35" name="Table 34">
            <a:extLst>
              <a:ext uri="{FF2B5EF4-FFF2-40B4-BE49-F238E27FC236}">
                <a16:creationId xmlns:a16="http://schemas.microsoft.com/office/drawing/2014/main" id="{085E18C7-01D7-CCE1-8958-248B21F4A5EB}"/>
              </a:ext>
            </a:extLst>
          </p:cNvPr>
          <p:cNvGraphicFramePr>
            <a:graphicFrameLocks noGrp="1"/>
          </p:cNvGraphicFramePr>
          <p:nvPr/>
        </p:nvGraphicFramePr>
        <p:xfrm>
          <a:off x="2678220" y="5366084"/>
          <a:ext cx="5454691" cy="1290910"/>
        </p:xfrm>
        <a:graphic>
          <a:graphicData uri="http://schemas.openxmlformats.org/drawingml/2006/table">
            <a:tbl>
              <a:tblPr/>
              <a:tblGrid>
                <a:gridCol w="1674427">
                  <a:extLst>
                    <a:ext uri="{9D8B030D-6E8A-4147-A177-3AD203B41FA5}">
                      <a16:colId xmlns:a16="http://schemas.microsoft.com/office/drawing/2014/main" val="20000"/>
                    </a:ext>
                  </a:extLst>
                </a:gridCol>
                <a:gridCol w="992459">
                  <a:extLst>
                    <a:ext uri="{9D8B030D-6E8A-4147-A177-3AD203B41FA5}">
                      <a16:colId xmlns:a16="http://schemas.microsoft.com/office/drawing/2014/main" val="20006"/>
                    </a:ext>
                  </a:extLst>
                </a:gridCol>
                <a:gridCol w="880946">
                  <a:extLst>
                    <a:ext uri="{9D8B030D-6E8A-4147-A177-3AD203B41FA5}">
                      <a16:colId xmlns:a16="http://schemas.microsoft.com/office/drawing/2014/main" val="20007"/>
                    </a:ext>
                  </a:extLst>
                </a:gridCol>
                <a:gridCol w="936703">
                  <a:extLst>
                    <a:ext uri="{9D8B030D-6E8A-4147-A177-3AD203B41FA5}">
                      <a16:colId xmlns:a16="http://schemas.microsoft.com/office/drawing/2014/main" val="20008"/>
                    </a:ext>
                  </a:extLst>
                </a:gridCol>
                <a:gridCol w="970156">
                  <a:extLst>
                    <a:ext uri="{9D8B030D-6E8A-4147-A177-3AD203B41FA5}">
                      <a16:colId xmlns:a16="http://schemas.microsoft.com/office/drawing/2014/main" val="20009"/>
                    </a:ext>
                  </a:extLst>
                </a:gridCol>
              </a:tblGrid>
              <a:tr h="294663">
                <a:tc rowSpan="2">
                  <a:txBody>
                    <a:bodyPr/>
                    <a:lstStyle/>
                    <a:p>
                      <a:pPr marL="0" marR="0" indent="0" algn="l">
                        <a:lnSpc>
                          <a:spcPct val="100000"/>
                        </a:lnSpc>
                        <a:spcBef>
                          <a:spcPts val="0"/>
                        </a:spcBef>
                        <a:spcAft>
                          <a:spcPts val="0"/>
                        </a:spcAft>
                      </a:pPr>
                      <a:r>
                        <a:rPr lang="en-US" sz="200" dirty="0">
                          <a:solidFill>
                            <a:srgbClr val="000000"/>
                          </a:solidFill>
                          <a:latin typeface="Trebuchet MS" panose="02020603050405020304" pitchFamily="2"/>
                        </a:rPr>
                        <a:t> </a:t>
                      </a:r>
                    </a:p>
                  </a:txBody>
                  <a:tcPr marL="0" marR="0" marT="0" marB="0">
                    <a:lnL w="0" cmpd="sng">
                      <a:noFill/>
                      <a:prstDash val="solid"/>
                    </a:lnL>
                    <a:lnR w="0" cmpd="sng">
                      <a:noFill/>
                      <a:prstDash val="solid"/>
                    </a:lnR>
                    <a:lnT w="0" cmpd="sng">
                      <a:noFill/>
                      <a:prstDash val="solid"/>
                    </a:lnT>
                    <a:lnB w="0" cmpd="sng">
                      <a:noFill/>
                      <a:prstDash val="solid"/>
                    </a:lnB>
                  </a:tcPr>
                </a:tc>
                <a:tc gridSpan="4">
                  <a:txBody>
                    <a:bodyPr/>
                    <a:lstStyle/>
                    <a:p>
                      <a:pPr marL="0" marR="0" indent="0" algn="ctr">
                        <a:lnSpc>
                          <a:spcPts val="1700"/>
                        </a:lnSpc>
                        <a:spcBef>
                          <a:spcPts val="195"/>
                        </a:spcBef>
                        <a:spcAft>
                          <a:spcPts val="25"/>
                        </a:spcAft>
                      </a:pPr>
                      <a:r>
                        <a:rPr lang="en-US" sz="1400" b="1" spc="0" dirty="0">
                          <a:solidFill>
                            <a:srgbClr val="FFFFFF"/>
                          </a:solidFill>
                          <a:latin typeface="Trebuchet MS" panose="02020603050405020304" pitchFamily="2"/>
                        </a:rPr>
                        <a:t>Prior bendamustine exposure</a:t>
                      </a:r>
                    </a:p>
                  </a:txBody>
                  <a:tcPr marL="0" marR="0" marT="0" marB="0" anchor="ctr">
                    <a:lnL w="6350" cmpd="sng">
                      <a:noFill/>
                      <a:prstDash val="solid"/>
                    </a:lnL>
                    <a:lnR w="12700" cap="flat" cmpd="sng" algn="ctr">
                      <a:solidFill>
                        <a:schemeClr val="tx1"/>
                      </a:solidFill>
                      <a:prstDash val="solid"/>
                      <a:round/>
                      <a:headEnd type="none" w="med" len="med"/>
                      <a:tailEnd type="none" w="med" len="med"/>
                    </a:lnR>
                    <a:lnT w="0" cmpd="sng">
                      <a:noFill/>
                      <a:prstDash val="solid"/>
                    </a:lnT>
                    <a:lnB w="6350" cap="flat" cmpd="sng" algn="ctr">
                      <a:solidFill>
                        <a:srgbClr val="000000"/>
                      </a:solidFill>
                      <a:prstDash val="solid"/>
                      <a:round/>
                      <a:headEnd type="none" w="med" len="med"/>
                      <a:tailEnd type="none" w="med" len="med"/>
                    </a:lnB>
                    <a:solidFill>
                      <a:srgbClr val="087788"/>
                    </a:solidFill>
                  </a:tcPr>
                </a:tc>
                <a:tc hMerge="1">
                  <a:txBody>
                    <a:bodyPr/>
                    <a:lstStyle/>
                    <a:p>
                      <a:endParaRPr/>
                    </a:p>
                  </a:txBody>
                  <a:tcPr/>
                </a:tc>
                <a:tc hMerge="1">
                  <a:txBody>
                    <a:bodyPr/>
                    <a:lstStyle/>
                    <a:p>
                      <a:endParaRPr/>
                    </a:p>
                  </a:txBody>
                  <a:tcPr/>
                </a:tc>
                <a:tc hMerge="1">
                  <a:txBody>
                    <a:bodyPr/>
                    <a:lstStyle/>
                    <a:p>
                      <a:endParaRPr/>
                    </a:p>
                  </a:txBody>
                  <a:tcPr/>
                </a:tc>
                <a:extLst>
                  <a:ext uri="{0D108BD9-81ED-4DB2-BD59-A6C34878D82A}">
                    <a16:rowId xmlns:a16="http://schemas.microsoft.com/office/drawing/2014/main" val="10000"/>
                  </a:ext>
                </a:extLst>
              </a:tr>
              <a:tr h="531331">
                <a:tc vMerge="1">
                  <a:txBody>
                    <a:bodyPr/>
                    <a:lstStyle/>
                    <a:p>
                      <a:endParaRPr/>
                    </a:p>
                  </a:txBody>
                  <a:tcPr marL="0" marR="0" marT="0" marB="0">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1600"/>
                        </a:lnSpc>
                        <a:spcBef>
                          <a:spcPts val="170"/>
                        </a:spcBef>
                        <a:spcAft>
                          <a:spcPts val="0"/>
                        </a:spcAft>
                      </a:pPr>
                      <a:r>
                        <a:rPr lang="en-US" sz="1400" b="1" spc="0" dirty="0">
                          <a:solidFill>
                            <a:srgbClr val="FFFFFF"/>
                          </a:solidFill>
                          <a:latin typeface="Trebuchet MS" panose="02020603050405020304" pitchFamily="2"/>
                        </a:rPr>
                        <a:t>None </a:t>
                      </a:r>
                      <a:br>
                        <a:rPr sz="2000" dirty="0"/>
                      </a:br>
                      <a:r>
                        <a:rPr lang="en-US" sz="1400" b="1" spc="0" dirty="0">
                          <a:solidFill>
                            <a:srgbClr val="FFFFFF"/>
                          </a:solidFill>
                          <a:latin typeface="Trebuchet MS" panose="02020603050405020304" pitchFamily="2"/>
                        </a:rPr>
                        <a:t>(n = 39) </a:t>
                      </a:r>
                    </a:p>
                  </a:txBody>
                  <a:tcPr marL="0" marR="0" marT="0" marB="0" anchor="ctr">
                    <a:lnL w="6350" cmpd="sng">
                      <a:solidFill>
                        <a:srgbClr val="000000"/>
                      </a:solidFill>
                      <a:prstDash val="solid"/>
                    </a:lnL>
                    <a:lnR w="0" cmpd="sng">
                      <a:noFill/>
                      <a:prstDash val="solid"/>
                    </a:lnR>
                    <a:lnT w="6350" cap="flat" cmpd="sng" algn="ctr">
                      <a:solidFill>
                        <a:srgbClr val="000000"/>
                      </a:solidFill>
                      <a:prstDash val="solid"/>
                      <a:round/>
                      <a:headEnd type="none" w="med" len="med"/>
                      <a:tailEnd type="none" w="med" len="med"/>
                    </a:lnT>
                    <a:lnB w="0" cmpd="sng">
                      <a:noFill/>
                      <a:prstDash val="solid"/>
                    </a:lnB>
                    <a:solidFill>
                      <a:srgbClr val="087788"/>
                    </a:solidFill>
                  </a:tcPr>
                </a:tc>
                <a:tc>
                  <a:txBody>
                    <a:bodyPr/>
                    <a:lstStyle/>
                    <a:p>
                      <a:pPr marL="0" marR="0" indent="0" algn="ctr">
                        <a:lnSpc>
                          <a:spcPts val="1600"/>
                        </a:lnSpc>
                        <a:spcBef>
                          <a:spcPts val="170"/>
                        </a:spcBef>
                        <a:spcAft>
                          <a:spcPts val="0"/>
                        </a:spcAft>
                      </a:pPr>
                      <a:r>
                        <a:rPr lang="en-US" sz="1400" b="1" spc="0" dirty="0">
                          <a:solidFill>
                            <a:srgbClr val="FFFFFF"/>
                          </a:solidFill>
                          <a:latin typeface="Trebuchet MS" panose="02020603050405020304" pitchFamily="2"/>
                        </a:rPr>
                        <a:t>≤ 6 mo </a:t>
                      </a:r>
                      <a:br>
                        <a:rPr sz="2000" dirty="0"/>
                      </a:br>
                      <a:r>
                        <a:rPr lang="en-US" sz="1400" b="1" spc="0" dirty="0">
                          <a:solidFill>
                            <a:srgbClr val="FFFFFF"/>
                          </a:solidFill>
                          <a:latin typeface="Trebuchet MS" panose="02020603050405020304" pitchFamily="2"/>
                        </a:rPr>
                        <a:t>(n = 8) </a:t>
                      </a:r>
                    </a:p>
                  </a:txBody>
                  <a:tcPr marL="0" marR="0" marT="0" marB="0" anchor="ctr">
                    <a:lnL w="0" cmpd="sng">
                      <a:noFill/>
                      <a:prstDash val="solid"/>
                    </a:lnL>
                    <a:lnR w="0" cmpd="sng">
                      <a:noFill/>
                      <a:prstDash val="solid"/>
                    </a:lnR>
                    <a:lnT w="6350" cmpd="sng">
                      <a:solidFill>
                        <a:srgbClr val="000000"/>
                      </a:solidFill>
                      <a:prstDash val="solid"/>
                    </a:lnT>
                    <a:lnB w="0" cmpd="sng">
                      <a:noFill/>
                      <a:prstDash val="solid"/>
                    </a:lnB>
                    <a:solidFill>
                      <a:srgbClr val="087788"/>
                    </a:solidFill>
                  </a:tcPr>
                </a:tc>
                <a:tc>
                  <a:txBody>
                    <a:bodyPr/>
                    <a:lstStyle/>
                    <a:p>
                      <a:pPr marL="0" marR="0" indent="0" algn="ctr">
                        <a:lnSpc>
                          <a:spcPts val="1600"/>
                        </a:lnSpc>
                        <a:spcBef>
                          <a:spcPts val="170"/>
                        </a:spcBef>
                        <a:spcAft>
                          <a:spcPts val="0"/>
                        </a:spcAft>
                      </a:pPr>
                      <a:r>
                        <a:rPr lang="en-US" sz="1400" b="1" spc="0" dirty="0">
                          <a:solidFill>
                            <a:srgbClr val="FFFFFF"/>
                          </a:solidFill>
                          <a:latin typeface="Trebuchet MS" panose="02020603050405020304" pitchFamily="2"/>
                        </a:rPr>
                        <a:t>6—12 mo </a:t>
                      </a:r>
                      <a:br>
                        <a:rPr sz="2000" dirty="0"/>
                      </a:br>
                      <a:r>
                        <a:rPr lang="en-US" sz="1400" b="1" spc="0" dirty="0">
                          <a:solidFill>
                            <a:srgbClr val="FFFFFF"/>
                          </a:solidFill>
                          <a:latin typeface="Trebuchet MS" panose="02020603050405020304" pitchFamily="2"/>
                        </a:rPr>
                        <a:t>(n = 10) </a:t>
                      </a:r>
                    </a:p>
                  </a:txBody>
                  <a:tcPr marL="0" marR="0" marT="0" marB="0" anchor="ctr">
                    <a:lnL w="0" cmpd="sng">
                      <a:noFill/>
                      <a:prstDash val="solid"/>
                    </a:lnL>
                    <a:lnR w="0" cmpd="sng">
                      <a:noFill/>
                      <a:prstDash val="solid"/>
                    </a:lnR>
                    <a:lnT w="6350" cmpd="sng">
                      <a:solidFill>
                        <a:srgbClr val="000000"/>
                      </a:solidFill>
                      <a:prstDash val="solid"/>
                    </a:lnT>
                    <a:lnB w="0" cmpd="sng">
                      <a:noFill/>
                      <a:prstDash val="solid"/>
                    </a:lnB>
                    <a:solidFill>
                      <a:srgbClr val="087788"/>
                    </a:solidFill>
                  </a:tcPr>
                </a:tc>
                <a:tc>
                  <a:txBody>
                    <a:bodyPr/>
                    <a:lstStyle/>
                    <a:p>
                      <a:pPr marL="0" marR="0" indent="0" algn="ctr">
                        <a:lnSpc>
                          <a:spcPts val="1600"/>
                        </a:lnSpc>
                        <a:spcBef>
                          <a:spcPts val="170"/>
                        </a:spcBef>
                        <a:spcAft>
                          <a:spcPts val="0"/>
                        </a:spcAft>
                      </a:pPr>
                      <a:r>
                        <a:rPr lang="en-US" sz="1400" b="1" spc="0" dirty="0">
                          <a:solidFill>
                            <a:srgbClr val="FFFFFF"/>
                          </a:solidFill>
                          <a:latin typeface="Trebuchet MS" panose="02020603050405020304" pitchFamily="2"/>
                        </a:rPr>
                        <a:t>&gt; 12 mo </a:t>
                      </a:r>
                      <a:br>
                        <a:rPr sz="2000" dirty="0"/>
                      </a:br>
                      <a:r>
                        <a:rPr lang="en-US" sz="1400" b="1" spc="0" dirty="0">
                          <a:solidFill>
                            <a:srgbClr val="FFFFFF"/>
                          </a:solidFill>
                          <a:latin typeface="Trebuchet MS" panose="02020603050405020304" pitchFamily="2"/>
                        </a:rPr>
                        <a:t>(n = 70) </a:t>
                      </a:r>
                    </a:p>
                  </a:txBody>
                  <a:tcPr marL="0" marR="0" marT="0" marB="0" anchor="ctr">
                    <a:lnL w="0" cmpd="sng">
                      <a:noFill/>
                      <a:prstDash val="solid"/>
                    </a:lnL>
                    <a:lnR w="12700" cap="flat" cmpd="sng" algn="ctr">
                      <a:solidFill>
                        <a:schemeClr val="tx1"/>
                      </a:solidFill>
                      <a:prstDash val="solid"/>
                      <a:round/>
                      <a:headEnd type="none" w="med" len="med"/>
                      <a:tailEnd type="none" w="med" len="med"/>
                    </a:lnR>
                    <a:lnT w="6350" cmpd="sng">
                      <a:solidFill>
                        <a:srgbClr val="000000"/>
                      </a:solidFill>
                      <a:prstDash val="solid"/>
                    </a:lnT>
                    <a:lnB w="0" cmpd="sng">
                      <a:noFill/>
                      <a:prstDash val="solid"/>
                    </a:lnB>
                    <a:solidFill>
                      <a:srgbClr val="087788"/>
                    </a:solidFill>
                  </a:tcPr>
                </a:tc>
                <a:extLst>
                  <a:ext uri="{0D108BD9-81ED-4DB2-BD59-A6C34878D82A}">
                    <a16:rowId xmlns:a16="http://schemas.microsoft.com/office/drawing/2014/main" val="10001"/>
                  </a:ext>
                </a:extLst>
              </a:tr>
              <a:tr h="232458">
                <a:tc>
                  <a:txBody>
                    <a:bodyPr/>
                    <a:lstStyle/>
                    <a:p>
                      <a:pPr marL="70485" marR="0" indent="0" algn="l">
                        <a:lnSpc>
                          <a:spcPts val="1400"/>
                        </a:lnSpc>
                        <a:spcBef>
                          <a:spcPts val="1250"/>
                        </a:spcBef>
                        <a:spcAft>
                          <a:spcPts val="0"/>
                        </a:spcAft>
                      </a:pPr>
                      <a:r>
                        <a:rPr lang="en-US" sz="1400" b="1" spc="0" dirty="0">
                          <a:solidFill>
                            <a:srgbClr val="000000"/>
                          </a:solidFill>
                          <a:latin typeface="Trebuchet MS" panose="02020603050405020304" pitchFamily="2"/>
                        </a:rPr>
                        <a:t>24-month DOR, % </a:t>
                      </a:r>
                    </a:p>
                  </a:txBody>
                  <a:tcPr marL="0" marR="0" marT="0" marB="0" anchor="ctr">
                    <a:lnL w="0" cmpd="sng">
                      <a:noFill/>
                      <a:prstDash val="solid"/>
                    </a:lnL>
                    <a:lnR w="6350" cap="flat" cmpd="sng" algn="ctr">
                      <a:solidFill>
                        <a:srgbClr val="000000"/>
                      </a:solidFill>
                      <a:prstDash val="solid"/>
                      <a:round/>
                      <a:headEnd type="none" w="med" len="med"/>
                      <a:tailEnd type="none" w="med" len="med"/>
                    </a:lnR>
                    <a:lnT w="6350" cmpd="sng">
                      <a:noFill/>
                      <a:prstDash val="solid"/>
                    </a:lnT>
                    <a:lnB w="6350" cmpd="sng">
                      <a:solidFill>
                        <a:srgbClr val="000000"/>
                      </a:solidFill>
                      <a:prstDash val="solid"/>
                    </a:lnB>
                  </a:tcPr>
                </a:tc>
                <a:tc>
                  <a:txBody>
                    <a:bodyPr/>
                    <a:lstStyle/>
                    <a:p>
                      <a:pPr marL="0" marR="0" indent="0" algn="ctr">
                        <a:lnSpc>
                          <a:spcPts val="1400"/>
                        </a:lnSpc>
                        <a:spcBef>
                          <a:spcPts val="1250"/>
                        </a:spcBef>
                        <a:spcAft>
                          <a:spcPts val="0"/>
                        </a:spcAft>
                      </a:pPr>
                      <a:r>
                        <a:rPr lang="en-US" sz="1400" spc="0" dirty="0">
                          <a:solidFill>
                            <a:srgbClr val="4B595B"/>
                          </a:solidFill>
                          <a:latin typeface="Trebuchet MS" panose="02020603050405020304" pitchFamily="2"/>
                        </a:rPr>
                        <a:t>70 </a:t>
                      </a:r>
                    </a:p>
                  </a:txBody>
                  <a:tcPr marL="0" marR="0" marT="0" marB="0" anchor="ctr">
                    <a:lnL w="6350" cap="flat" cmpd="sng" algn="ctr">
                      <a:solidFill>
                        <a:srgbClr val="000000"/>
                      </a:solidFill>
                      <a:prstDash val="solid"/>
                      <a:round/>
                      <a:headEnd type="none" w="med" len="med"/>
                      <a:tailEnd type="none" w="med" len="med"/>
                    </a:lnL>
                    <a:lnR w="0" cmpd="sng">
                      <a:noFill/>
                      <a:prstDash val="solid"/>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345440" marR="0" indent="0" algn="l">
                        <a:lnSpc>
                          <a:spcPts val="1400"/>
                        </a:lnSpc>
                        <a:spcBef>
                          <a:spcPts val="1250"/>
                        </a:spcBef>
                        <a:spcAft>
                          <a:spcPts val="0"/>
                        </a:spcAft>
                      </a:pPr>
                      <a:r>
                        <a:rPr lang="en-US" sz="1400" spc="0" dirty="0">
                          <a:solidFill>
                            <a:srgbClr val="4B595B"/>
                          </a:solidFill>
                          <a:latin typeface="Trebuchet MS" panose="02020603050405020304" pitchFamily="2"/>
                        </a:rPr>
                        <a:t>40 </a:t>
                      </a:r>
                    </a:p>
                  </a:txBody>
                  <a:tcPr marL="0" marR="0" marT="0" marB="0" anchor="ctr">
                    <a:lnL w="0" cmpd="sng">
                      <a:noFill/>
                      <a:prstDash val="solid"/>
                    </a:lnL>
                    <a:lnR w="0" cmpd="sng">
                      <a:noFill/>
                      <a:prstDash val="solid"/>
                    </a:lnR>
                    <a:lnT w="6350" cmpd="sng">
                      <a:noFill/>
                      <a:prstDash val="solid"/>
                    </a:lnT>
                    <a:lnB w="6350" cmpd="sng">
                      <a:solidFill>
                        <a:srgbClr val="000000"/>
                      </a:solidFill>
                      <a:prstDash val="solid"/>
                    </a:lnB>
                    <a:noFill/>
                  </a:tcPr>
                </a:tc>
                <a:tc>
                  <a:txBody>
                    <a:bodyPr/>
                    <a:lstStyle/>
                    <a:p>
                      <a:pPr marL="0" marR="410210" indent="0" algn="r">
                        <a:lnSpc>
                          <a:spcPts val="1400"/>
                        </a:lnSpc>
                        <a:spcBef>
                          <a:spcPts val="1250"/>
                        </a:spcBef>
                        <a:spcAft>
                          <a:spcPts val="0"/>
                        </a:spcAft>
                      </a:pPr>
                      <a:r>
                        <a:rPr lang="en-US" sz="1400" spc="0" dirty="0">
                          <a:solidFill>
                            <a:srgbClr val="4B595B"/>
                          </a:solidFill>
                          <a:latin typeface="Trebuchet MS" panose="02020603050405020304" pitchFamily="2"/>
                        </a:rPr>
                        <a:t>56 </a:t>
                      </a:r>
                    </a:p>
                  </a:txBody>
                  <a:tcPr marL="0" marR="0" marT="0" marB="0" anchor="ctr">
                    <a:lnL w="0" cmpd="sng">
                      <a:noFill/>
                      <a:prstDash val="solid"/>
                    </a:lnL>
                    <a:lnR w="0" cmpd="sng">
                      <a:noFill/>
                      <a:prstDash val="solid"/>
                    </a:lnR>
                    <a:lnT w="6350" cmpd="sng">
                      <a:noFill/>
                      <a:prstDash val="solid"/>
                    </a:lnT>
                    <a:lnB w="6350" cmpd="sng">
                      <a:solidFill>
                        <a:srgbClr val="000000"/>
                      </a:solidFill>
                      <a:prstDash val="solid"/>
                    </a:lnB>
                    <a:noFill/>
                  </a:tcPr>
                </a:tc>
                <a:tc>
                  <a:txBody>
                    <a:bodyPr/>
                    <a:lstStyle/>
                    <a:p>
                      <a:pPr marL="299720" marR="0" indent="0" algn="l">
                        <a:lnSpc>
                          <a:spcPts val="1400"/>
                        </a:lnSpc>
                        <a:spcBef>
                          <a:spcPts val="1250"/>
                        </a:spcBef>
                        <a:spcAft>
                          <a:spcPts val="0"/>
                        </a:spcAft>
                      </a:pPr>
                      <a:r>
                        <a:rPr lang="en-US" sz="1400" spc="0" dirty="0">
                          <a:solidFill>
                            <a:srgbClr val="4B595B"/>
                          </a:solidFill>
                          <a:latin typeface="Trebuchet MS" panose="02020603050405020304" pitchFamily="2"/>
                        </a:rPr>
                        <a:t>52</a:t>
                      </a:r>
                    </a:p>
                  </a:txBody>
                  <a:tcPr marL="0" marR="0" marT="0" marB="0" anchor="ctr">
                    <a:lnL w="0" cmpd="sng">
                      <a:noFill/>
                      <a:prstDash val="solid"/>
                    </a:lnL>
                    <a:lnR w="12700" cap="flat" cmpd="sng" algn="ctr">
                      <a:solidFill>
                        <a:schemeClr val="tx1"/>
                      </a:solidFill>
                      <a:prstDash val="solid"/>
                      <a:round/>
                      <a:headEnd type="none" w="med" len="med"/>
                      <a:tailEnd type="none" w="med" len="med"/>
                    </a:lnR>
                    <a:lnT w="6350" cmpd="sng">
                      <a:noFill/>
                      <a:prstDash val="solid"/>
                    </a:lnT>
                    <a:lnB w="6350" cmpd="sng">
                      <a:solidFill>
                        <a:srgbClr val="000000"/>
                      </a:solidFill>
                      <a:prstDash val="solid"/>
                    </a:lnB>
                    <a:noFill/>
                  </a:tcPr>
                </a:tc>
                <a:extLst>
                  <a:ext uri="{0D108BD9-81ED-4DB2-BD59-A6C34878D82A}">
                    <a16:rowId xmlns:a16="http://schemas.microsoft.com/office/drawing/2014/main" val="10003"/>
                  </a:ext>
                </a:extLst>
              </a:tr>
              <a:tr h="232458">
                <a:tc>
                  <a:txBody>
                    <a:bodyPr/>
                    <a:lstStyle/>
                    <a:p>
                      <a:pPr marL="70485" marR="0" indent="0" algn="l">
                        <a:lnSpc>
                          <a:spcPts val="1400"/>
                        </a:lnSpc>
                        <a:spcBef>
                          <a:spcPts val="1250"/>
                        </a:spcBef>
                        <a:spcAft>
                          <a:spcPts val="0"/>
                        </a:spcAft>
                      </a:pPr>
                      <a:r>
                        <a:rPr lang="en-US" sz="1400" b="1" spc="0" dirty="0">
                          <a:solidFill>
                            <a:srgbClr val="000000"/>
                          </a:solidFill>
                          <a:latin typeface="Trebuchet MS" panose="02020603050405020304" pitchFamily="2"/>
                        </a:rPr>
                        <a:t>24-month PFS, % </a:t>
                      </a:r>
                    </a:p>
                  </a:txBody>
                  <a:tcPr marL="0" marR="0" marT="0" marB="0" anchor="ctr">
                    <a:lnL w="0" cmpd="sng">
                      <a:noFill/>
                      <a:prstDash val="soli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mpd="sng">
                      <a:solidFill>
                        <a:srgbClr val="000000"/>
                      </a:solidFill>
                      <a:prstDash val="solid"/>
                    </a:lnB>
                  </a:tcPr>
                </a:tc>
                <a:tc>
                  <a:txBody>
                    <a:bodyPr/>
                    <a:lstStyle/>
                    <a:p>
                      <a:pPr marL="0" marR="0" indent="0" algn="ctr">
                        <a:lnSpc>
                          <a:spcPts val="1400"/>
                        </a:lnSpc>
                        <a:spcBef>
                          <a:spcPts val="1250"/>
                        </a:spcBef>
                        <a:spcAft>
                          <a:spcPts val="0"/>
                        </a:spcAft>
                      </a:pPr>
                      <a:r>
                        <a:rPr lang="en-US" sz="1400" spc="0" dirty="0">
                          <a:solidFill>
                            <a:srgbClr val="4B595B"/>
                          </a:solidFill>
                          <a:latin typeface="Trebuchet MS" panose="02020603050405020304" pitchFamily="2"/>
                        </a:rPr>
                        <a:t>70 </a:t>
                      </a:r>
                    </a:p>
                  </a:txBody>
                  <a:tcPr marL="0" marR="0" marT="0" marB="0" anchor="ctr">
                    <a:lnL w="6350" cap="flat" cmpd="sng" algn="ctr">
                      <a:solidFill>
                        <a:srgbClr val="000000"/>
                      </a:solidFill>
                      <a:prstDash val="solid"/>
                      <a:round/>
                      <a:headEnd type="none" w="med" len="med"/>
                      <a:tailEnd type="none" w="med" len="med"/>
                    </a:lnL>
                    <a:lnR w="0" cmpd="sng">
                      <a:noFill/>
                      <a:prstDash val="soli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AEC"/>
                    </a:solidFill>
                  </a:tcPr>
                </a:tc>
                <a:tc>
                  <a:txBody>
                    <a:bodyPr/>
                    <a:lstStyle/>
                    <a:p>
                      <a:pPr marL="345440" marR="0" indent="0" algn="l">
                        <a:lnSpc>
                          <a:spcPts val="1400"/>
                        </a:lnSpc>
                        <a:spcBef>
                          <a:spcPts val="1250"/>
                        </a:spcBef>
                        <a:spcAft>
                          <a:spcPts val="0"/>
                        </a:spcAft>
                      </a:pPr>
                      <a:r>
                        <a:rPr lang="en-US" sz="1400" spc="0" dirty="0">
                          <a:solidFill>
                            <a:srgbClr val="4B595B"/>
                          </a:solidFill>
                          <a:latin typeface="Trebuchet MS" panose="02020603050405020304" pitchFamily="2"/>
                        </a:rPr>
                        <a:t>25 </a:t>
                      </a:r>
                    </a:p>
                  </a:txBody>
                  <a:tcPr marL="0" marR="0" marT="0" marB="0" anchor="ctr">
                    <a:lnL w="0" cmpd="sng">
                      <a:noFill/>
                      <a:prstDash val="solid"/>
                    </a:lnL>
                    <a:lnR w="0" cmpd="sng">
                      <a:noFill/>
                      <a:prstDash val="solid"/>
                    </a:lnR>
                    <a:lnT w="6350" cap="flat" cmpd="sng" algn="ctr">
                      <a:solidFill>
                        <a:srgbClr val="000000"/>
                      </a:solidFill>
                      <a:prstDash val="solid"/>
                      <a:round/>
                      <a:headEnd type="none" w="med" len="med"/>
                      <a:tailEnd type="none" w="med" len="med"/>
                    </a:lnT>
                    <a:lnB w="6350" cmpd="sng">
                      <a:solidFill>
                        <a:srgbClr val="000000"/>
                      </a:solidFill>
                      <a:prstDash val="solid"/>
                    </a:lnB>
                    <a:solidFill>
                      <a:srgbClr val="D8EAEC"/>
                    </a:solidFill>
                  </a:tcPr>
                </a:tc>
                <a:tc>
                  <a:txBody>
                    <a:bodyPr/>
                    <a:lstStyle/>
                    <a:p>
                      <a:pPr marL="0" marR="410210" indent="0" algn="r">
                        <a:lnSpc>
                          <a:spcPts val="1400"/>
                        </a:lnSpc>
                        <a:spcBef>
                          <a:spcPts val="1250"/>
                        </a:spcBef>
                        <a:spcAft>
                          <a:spcPts val="0"/>
                        </a:spcAft>
                      </a:pPr>
                      <a:r>
                        <a:rPr lang="en-US" sz="1400" spc="0" dirty="0">
                          <a:solidFill>
                            <a:srgbClr val="4B595B"/>
                          </a:solidFill>
                          <a:latin typeface="Trebuchet MS" panose="02020603050405020304" pitchFamily="2"/>
                        </a:rPr>
                        <a:t>70 </a:t>
                      </a:r>
                    </a:p>
                  </a:txBody>
                  <a:tcPr marL="0" marR="0" marT="0" marB="0" anchor="ctr">
                    <a:lnL w="0" cmpd="sng">
                      <a:noFill/>
                      <a:prstDash val="solid"/>
                    </a:lnL>
                    <a:lnR w="0" cmpd="sng">
                      <a:noFill/>
                      <a:prstDash val="solid"/>
                    </a:lnR>
                    <a:lnT w="6350" cap="flat" cmpd="sng" algn="ctr">
                      <a:solidFill>
                        <a:srgbClr val="000000"/>
                      </a:solidFill>
                      <a:prstDash val="solid"/>
                      <a:round/>
                      <a:headEnd type="none" w="med" len="med"/>
                      <a:tailEnd type="none" w="med" len="med"/>
                    </a:lnT>
                    <a:lnB w="6350" cmpd="sng">
                      <a:solidFill>
                        <a:srgbClr val="000000"/>
                      </a:solidFill>
                      <a:prstDash val="solid"/>
                    </a:lnB>
                    <a:solidFill>
                      <a:srgbClr val="D8EAEC"/>
                    </a:solidFill>
                  </a:tcPr>
                </a:tc>
                <a:tc>
                  <a:txBody>
                    <a:bodyPr/>
                    <a:lstStyle/>
                    <a:p>
                      <a:pPr marL="299720" marR="0" indent="0" algn="l">
                        <a:lnSpc>
                          <a:spcPts val="1400"/>
                        </a:lnSpc>
                        <a:spcBef>
                          <a:spcPts val="1250"/>
                        </a:spcBef>
                        <a:spcAft>
                          <a:spcPts val="0"/>
                        </a:spcAft>
                      </a:pPr>
                      <a:r>
                        <a:rPr lang="en-US" sz="1400" spc="0" dirty="0">
                          <a:solidFill>
                            <a:srgbClr val="4B595B"/>
                          </a:solidFill>
                          <a:latin typeface="Trebuchet MS" panose="02020603050405020304" pitchFamily="2"/>
                        </a:rPr>
                        <a:t>50</a:t>
                      </a:r>
                    </a:p>
                  </a:txBody>
                  <a:tcPr marL="0" marR="0" marT="0" marB="0" anchor="ctr">
                    <a:lnL w="0" cmpd="sng">
                      <a:noFill/>
                      <a:prstDash val="soli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mpd="sng">
                      <a:solidFill>
                        <a:srgbClr val="000000"/>
                      </a:solidFill>
                      <a:prstDash val="solid"/>
                    </a:lnB>
                    <a:solidFill>
                      <a:srgbClr val="D8EAEC"/>
                    </a:solidFill>
                  </a:tcPr>
                </a:tc>
                <a:extLst>
                  <a:ext uri="{0D108BD9-81ED-4DB2-BD59-A6C34878D82A}">
                    <a16:rowId xmlns:a16="http://schemas.microsoft.com/office/drawing/2014/main" val="10005"/>
                  </a:ext>
                </a:extLst>
              </a:tr>
            </a:tbl>
          </a:graphicData>
        </a:graphic>
      </p:graphicFrame>
      <p:sp>
        <p:nvSpPr>
          <p:cNvPr id="37" name="Rectangle 36">
            <a:extLst>
              <a:ext uri="{FF2B5EF4-FFF2-40B4-BE49-F238E27FC236}">
                <a16:creationId xmlns:a16="http://schemas.microsoft.com/office/drawing/2014/main" id="{9E696E7F-ADCE-E3D9-01A6-16923542926D}"/>
              </a:ext>
            </a:extLst>
          </p:cNvPr>
          <p:cNvSpPr/>
          <p:nvPr/>
        </p:nvSpPr>
        <p:spPr>
          <a:xfrm>
            <a:off x="1022684" y="2791326"/>
            <a:ext cx="4944979" cy="8061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aphicFrame>
        <p:nvGraphicFramePr>
          <p:cNvPr id="36" name="Table 35">
            <a:extLst>
              <a:ext uri="{FF2B5EF4-FFF2-40B4-BE49-F238E27FC236}">
                <a16:creationId xmlns:a16="http://schemas.microsoft.com/office/drawing/2014/main" id="{F2941534-111B-809C-7F7A-E797E3FB41EA}"/>
              </a:ext>
            </a:extLst>
          </p:cNvPr>
          <p:cNvGraphicFramePr>
            <a:graphicFrameLocks noGrp="1"/>
          </p:cNvGraphicFramePr>
          <p:nvPr/>
        </p:nvGraphicFramePr>
        <p:xfrm>
          <a:off x="1190809" y="2572816"/>
          <a:ext cx="3481948" cy="1005840"/>
        </p:xfrm>
        <a:graphic>
          <a:graphicData uri="http://schemas.openxmlformats.org/drawingml/2006/table">
            <a:tbl>
              <a:tblPr firstRow="1" bandRow="1">
                <a:tableStyleId>{5C22544A-7EE6-4342-B048-85BDC9FD1C3A}</a:tableStyleId>
              </a:tblPr>
              <a:tblGrid>
                <a:gridCol w="1323275">
                  <a:extLst>
                    <a:ext uri="{9D8B030D-6E8A-4147-A177-3AD203B41FA5}">
                      <a16:colId xmlns:a16="http://schemas.microsoft.com/office/drawing/2014/main" val="1018144395"/>
                    </a:ext>
                  </a:extLst>
                </a:gridCol>
                <a:gridCol w="1063800">
                  <a:extLst>
                    <a:ext uri="{9D8B030D-6E8A-4147-A177-3AD203B41FA5}">
                      <a16:colId xmlns:a16="http://schemas.microsoft.com/office/drawing/2014/main" val="269143033"/>
                    </a:ext>
                  </a:extLst>
                </a:gridCol>
                <a:gridCol w="1094873">
                  <a:extLst>
                    <a:ext uri="{9D8B030D-6E8A-4147-A177-3AD203B41FA5}">
                      <a16:colId xmlns:a16="http://schemas.microsoft.com/office/drawing/2014/main" val="21758501"/>
                    </a:ext>
                  </a:extLst>
                </a:gridCol>
              </a:tblGrid>
              <a:tr h="157639">
                <a:tc>
                  <a:txBody>
                    <a:bodyPr/>
                    <a:lstStyle/>
                    <a:p>
                      <a:r>
                        <a:rPr lang="en-US" sz="1600" dirty="0"/>
                        <a:t>PFS</a:t>
                      </a:r>
                    </a:p>
                  </a:txBody>
                  <a:tcPr/>
                </a:tc>
                <a:tc>
                  <a:txBody>
                    <a:bodyPr/>
                    <a:lstStyle/>
                    <a:p>
                      <a:r>
                        <a:rPr lang="en-US" sz="1600" dirty="0"/>
                        <a:t>FL  </a:t>
                      </a:r>
                      <a:r>
                        <a:rPr lang="en-US" sz="1200" dirty="0"/>
                        <a:t>N=127</a:t>
                      </a:r>
                      <a:endParaRPr lang="en-US" sz="1600" dirty="0"/>
                    </a:p>
                  </a:txBody>
                  <a:tcPr/>
                </a:tc>
                <a:tc>
                  <a:txBody>
                    <a:bodyPr/>
                    <a:lstStyle/>
                    <a:p>
                      <a:r>
                        <a:rPr lang="en-US" sz="1600" dirty="0"/>
                        <a:t>MZL  </a:t>
                      </a:r>
                      <a:r>
                        <a:rPr lang="en-US" sz="1200" dirty="0"/>
                        <a:t>N=31</a:t>
                      </a:r>
                      <a:endParaRPr lang="en-US" sz="1600" dirty="0"/>
                    </a:p>
                  </a:txBody>
                  <a:tcPr/>
                </a:tc>
                <a:extLst>
                  <a:ext uri="{0D108BD9-81ED-4DB2-BD59-A6C34878D82A}">
                    <a16:rowId xmlns:a16="http://schemas.microsoft.com/office/drawing/2014/main" val="2261468779"/>
                  </a:ext>
                </a:extLst>
              </a:tr>
              <a:tr h="157639">
                <a:tc>
                  <a:txBody>
                    <a:bodyPr/>
                    <a:lstStyle/>
                    <a:p>
                      <a:r>
                        <a:rPr lang="en-US" sz="1600" dirty="0"/>
                        <a:t>Median PFS</a:t>
                      </a:r>
                    </a:p>
                  </a:txBody>
                  <a:tcPr/>
                </a:tc>
                <a:tc>
                  <a:txBody>
                    <a:bodyPr/>
                    <a:lstStyle/>
                    <a:p>
                      <a:r>
                        <a:rPr lang="en-US" sz="1600" dirty="0"/>
                        <a:t>57 m</a:t>
                      </a:r>
                    </a:p>
                  </a:txBody>
                  <a:tcPr/>
                </a:tc>
                <a:tc>
                  <a:txBody>
                    <a:bodyPr/>
                    <a:lstStyle/>
                    <a:p>
                      <a:r>
                        <a:rPr lang="en-US" sz="1600" dirty="0"/>
                        <a:t>NR</a:t>
                      </a:r>
                    </a:p>
                  </a:txBody>
                  <a:tcPr/>
                </a:tc>
                <a:extLst>
                  <a:ext uri="{0D108BD9-81ED-4DB2-BD59-A6C34878D82A}">
                    <a16:rowId xmlns:a16="http://schemas.microsoft.com/office/drawing/2014/main" val="480004178"/>
                  </a:ext>
                </a:extLst>
              </a:tr>
              <a:tr h="157639">
                <a:tc>
                  <a:txBody>
                    <a:bodyPr/>
                    <a:lstStyle/>
                    <a:p>
                      <a:r>
                        <a:rPr lang="en-US" sz="1600" dirty="0"/>
                        <a:t>5-year PFS </a:t>
                      </a:r>
                    </a:p>
                  </a:txBody>
                  <a:tcPr/>
                </a:tc>
                <a:tc>
                  <a:txBody>
                    <a:bodyPr/>
                    <a:lstStyle/>
                    <a:p>
                      <a:r>
                        <a:rPr lang="en-US" sz="1600" b="0" dirty="0">
                          <a:solidFill>
                            <a:srgbClr val="2E2E2E"/>
                          </a:solidFill>
                          <a:effectLst/>
                        </a:rPr>
                        <a:t>50%</a:t>
                      </a:r>
                      <a:endParaRPr lang="en-US" sz="1600" dirty="0"/>
                    </a:p>
                  </a:txBody>
                  <a:tcPr/>
                </a:tc>
                <a:tc>
                  <a:txBody>
                    <a:bodyPr/>
                    <a:lstStyle/>
                    <a:p>
                      <a:r>
                        <a:rPr lang="en-US" sz="1600" dirty="0"/>
                        <a:t>53%</a:t>
                      </a:r>
                    </a:p>
                  </a:txBody>
                  <a:tcPr/>
                </a:tc>
                <a:extLst>
                  <a:ext uri="{0D108BD9-81ED-4DB2-BD59-A6C34878D82A}">
                    <a16:rowId xmlns:a16="http://schemas.microsoft.com/office/drawing/2014/main" val="2713698691"/>
                  </a:ext>
                </a:extLst>
              </a:tr>
            </a:tbl>
          </a:graphicData>
        </a:graphic>
      </p:graphicFrame>
    </p:spTree>
    <p:extLst>
      <p:ext uri="{BB962C8B-B14F-4D97-AF65-F5344CB8AC3E}">
        <p14:creationId xmlns:p14="http://schemas.microsoft.com/office/powerpoint/2010/main" val="37280101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a:xfrm>
            <a:off x="912286" y="53752"/>
            <a:ext cx="10358967" cy="926976"/>
          </a:xfrm>
        </p:spPr>
        <p:txBody>
          <a:bodyPr/>
          <a:lstStyle/>
          <a:p>
            <a:r>
              <a:rPr lang="en-US" dirty="0"/>
              <a:t>Research To Practice President Neil Love, MD — Disclosures</a:t>
            </a:r>
          </a:p>
        </p:txBody>
      </p:sp>
      <p:sp>
        <p:nvSpPr>
          <p:cNvPr id="6" name="Content Placeholder 2">
            <a:extLst>
              <a:ext uri="{FF2B5EF4-FFF2-40B4-BE49-F238E27FC236}">
                <a16:creationId xmlns:a16="http://schemas.microsoft.com/office/drawing/2014/main" id="{CDE0B523-DC14-3BCC-7832-17E26722FB0E}"/>
              </a:ext>
            </a:extLst>
          </p:cNvPr>
          <p:cNvSpPr>
            <a:spLocks noGrp="1"/>
          </p:cNvSpPr>
          <p:nvPr>
            <p:ph idx="1"/>
          </p:nvPr>
        </p:nvSpPr>
        <p:spPr>
          <a:xfrm>
            <a:off x="563255" y="1124744"/>
            <a:ext cx="11005353" cy="4799013"/>
          </a:xfrm>
        </p:spPr>
        <p:txBody>
          <a:bodyPr/>
          <a:lstStyle/>
          <a:p>
            <a:pPr marL="98425" indent="0">
              <a:lnSpc>
                <a:spcPct val="100000"/>
              </a:lnSpc>
              <a:buNone/>
            </a:pPr>
            <a:r>
              <a:rPr lang="en-US" sz="1850" dirty="0"/>
              <a:t>Dr Love </a:t>
            </a:r>
            <a:r>
              <a:rPr lang="en-US" sz="1850" b="0" dirty="0"/>
              <a:t>is president and CEO of Research To Practice. Research To Practice receives funds in the form of educational grants to develop CME activities from the following companies: Aadi Bioscience, AbbVie Inc, ADC Therapeutics, </a:t>
            </a:r>
            <a:r>
              <a:rPr lang="en-US" sz="1850" b="0" dirty="0" err="1"/>
              <a:t>Agendia</a:t>
            </a:r>
            <a:r>
              <a:rPr lang="en-US" sz="1850" b="0" dirty="0"/>
              <a:t> Inc, Alexion Pharmaceuticals, Amgen Inc, Array BioPharma Inc, a subsidiary of Pfizer Inc, </a:t>
            </a:r>
            <a:r>
              <a:rPr lang="en-US" sz="1850" b="0" dirty="0" err="1"/>
              <a:t>Arvinas</a:t>
            </a:r>
            <a:r>
              <a:rPr lang="en-US" sz="1850" b="0" dirty="0"/>
              <a:t>, Astellas, AstraZeneca Pharmaceuticals LP, Aveo Pharmaceuticals, Bayer HealthCare Pharmaceuticals, </a:t>
            </a:r>
            <a:r>
              <a:rPr lang="en-US" sz="1850" b="0" dirty="0" err="1"/>
              <a:t>BeOne</a:t>
            </a:r>
            <a:r>
              <a:rPr lang="en-US" sz="1850" b="0" dirty="0"/>
              <a:t>, Biotheranostics Inc, A Hologic Company, Black Diamond Therapeutics Inc, Blueprint Medicines, Boehringer Ingelheim Pharmaceuticals Inc, Bristol Myers Squibb, Catalyst Pharmaceuticals Inc, </a:t>
            </a:r>
            <a:r>
              <a:rPr lang="en-US" sz="1850" b="0" dirty="0" err="1"/>
              <a:t>Celcuity</a:t>
            </a:r>
            <a:r>
              <a:rPr lang="en-US" sz="1850" b="0" dirty="0"/>
              <a:t>, Clovis Oncology, </a:t>
            </a:r>
            <a:r>
              <a:rPr lang="en-US" sz="1850" b="0" dirty="0" err="1"/>
              <a:t>Coherus</a:t>
            </a:r>
            <a:r>
              <a:rPr lang="en-US" sz="1850" b="0" dirty="0"/>
              <a:t> </a:t>
            </a:r>
            <a:r>
              <a:rPr lang="en-US" sz="1850" b="0" dirty="0" err="1"/>
              <a:t>BioSciences</a:t>
            </a:r>
            <a:r>
              <a:rPr lang="en-US" sz="1850" b="0" dirty="0"/>
              <a:t>, </a:t>
            </a:r>
            <a:r>
              <a:rPr lang="en-US" sz="1850" b="0" dirty="0" err="1"/>
              <a:t>Corcept</a:t>
            </a:r>
            <a:r>
              <a:rPr lang="en-US" sz="1850" b="0" dirty="0"/>
              <a:t> Therapeutics Inc, CTI BioPharma, a Sobi Company, Daiichi Sankyo Inc, Eisai Inc, Elevation Oncology Inc, Exact Sciences Corporation, Exelixis Inc, Genentech, a member of the Roche Group, Genmab US Inc, Geron Corporation, Gilead Sciences Inc, GSK, </a:t>
            </a:r>
            <a:r>
              <a:rPr lang="en-US" sz="1850" b="0" dirty="0" err="1"/>
              <a:t>Helsinn</a:t>
            </a:r>
            <a:r>
              <a:rPr lang="en-US" sz="1850" b="0" dirty="0"/>
              <a:t> Therapeutics (US) Inc, </a:t>
            </a:r>
            <a:r>
              <a:rPr lang="en-US" sz="1850" b="0" dirty="0" err="1"/>
              <a:t>ImmunoGen</a:t>
            </a:r>
            <a:r>
              <a:rPr lang="en-US" sz="1850" b="0" dirty="0"/>
              <a:t> Inc, Incyte Corporation, Ipsen Biopharmaceuticals Inc, Jazz Pharmaceuticals Inc, Johnson &amp; Johnson, </a:t>
            </a:r>
            <a:r>
              <a:rPr lang="en-US" sz="1850" b="0" dirty="0" err="1"/>
              <a:t>Karyopharm</a:t>
            </a:r>
            <a:r>
              <a:rPr lang="en-US" sz="1850" b="0" dirty="0"/>
              <a:t>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850" b="0" dirty="0" err="1"/>
              <a:t>Novocure</a:t>
            </a:r>
            <a:r>
              <a:rPr lang="en-US" sz="1850" b="0" dirty="0"/>
              <a:t> Inc, </a:t>
            </a:r>
            <a:r>
              <a:rPr lang="en-US" sz="1850" b="0" dirty="0" err="1"/>
              <a:t>Nuvalent</a:t>
            </a:r>
            <a:r>
              <a:rPr lang="en-US" sz="1850" b="0" dirty="0"/>
              <a:t>, </a:t>
            </a:r>
            <a:r>
              <a:rPr lang="en-US" sz="1850" b="0" dirty="0" err="1"/>
              <a:t>Nuvation</a:t>
            </a:r>
            <a:r>
              <a:rPr lang="en-US" sz="1850" b="0" dirty="0"/>
              <a:t> Bio Inc, Pfizer Inc, Pharmacyclics LLC, an AbbVie Company, Puma Biotechnology Inc, Regeneron Pharmaceuticals Inc, Revolution Medicines Inc, Rigel Pharmaceuticals Inc, R-Pharm US, Sanofi, </a:t>
            </a:r>
            <a:r>
              <a:rPr lang="en-US" sz="1850" b="0" dirty="0" err="1"/>
              <a:t>Seagen</a:t>
            </a:r>
            <a:r>
              <a:rPr lang="en-US" sz="1850" b="0" dirty="0"/>
              <a:t> Inc, Servier Pharmaceuticals LLC, </a:t>
            </a:r>
            <a:r>
              <a:rPr lang="en-US" sz="1850" b="0" dirty="0" err="1"/>
              <a:t>SpringWorks</a:t>
            </a:r>
            <a:r>
              <a:rPr lang="en-US" sz="1850" b="0" dirty="0"/>
              <a:t> Therapeutics Inc, </a:t>
            </a:r>
            <a:r>
              <a:rPr lang="en-US" sz="1850" b="0" dirty="0" err="1"/>
              <a:t>Stemline</a:t>
            </a:r>
            <a:r>
              <a:rPr lang="en-US" sz="1850" b="0" dirty="0"/>
              <a:t> Therapeutics Inc, Sumitomo Pharma America, Summit Therapeutics, </a:t>
            </a:r>
            <a:r>
              <a:rPr lang="en-US" sz="1850" b="0" dirty="0" err="1"/>
              <a:t>Syndax</a:t>
            </a:r>
            <a:r>
              <a:rPr lang="en-US" sz="1850" b="0" dirty="0"/>
              <a:t> Pharmaceuticals, Taiho Oncology Inc, Takeda Pharmaceuticals USA Inc, </a:t>
            </a:r>
            <a:r>
              <a:rPr lang="en-US" sz="1850" b="0" dirty="0" err="1"/>
              <a:t>TerSera</a:t>
            </a:r>
            <a:r>
              <a:rPr lang="en-US" sz="1850" b="0" dirty="0"/>
              <a:t> Therapeutics LLC, and </a:t>
            </a:r>
            <a:r>
              <a:rPr lang="en-US" sz="1850" b="0" dirty="0" err="1"/>
              <a:t>Tesaro</a:t>
            </a:r>
            <a:r>
              <a:rPr lang="en-US" sz="1850" b="0" dirty="0"/>
              <a:t>, A GSK Company.</a:t>
            </a:r>
            <a:endParaRPr lang="en-US" sz="1850" b="0" dirty="0">
              <a:solidFill>
                <a:schemeClr val="tx1"/>
              </a:solidFill>
            </a:endParaRPr>
          </a:p>
        </p:txBody>
      </p:sp>
    </p:spTree>
    <p:extLst>
      <p:ext uri="{BB962C8B-B14F-4D97-AF65-F5344CB8AC3E}">
        <p14:creationId xmlns:p14="http://schemas.microsoft.com/office/powerpoint/2010/main" val="8913026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741C0-2C4E-1509-6260-B0FB7E0D5DC0}"/>
            </a:ext>
          </a:extLst>
        </p:cNvPr>
        <p:cNvGrpSpPr/>
        <p:nvPr/>
      </p:nvGrpSpPr>
      <p:grpSpPr>
        <a:xfrm>
          <a:off x="0" y="0"/>
          <a:ext cx="0" cy="0"/>
          <a:chOff x="0" y="0"/>
          <a:chExt cx="0" cy="0"/>
        </a:xfrm>
      </p:grpSpPr>
      <p:sp>
        <p:nvSpPr>
          <p:cNvPr id="200" name="Title 1">
            <a:extLst>
              <a:ext uri="{FF2B5EF4-FFF2-40B4-BE49-F238E27FC236}">
                <a16:creationId xmlns:a16="http://schemas.microsoft.com/office/drawing/2014/main" id="{4FDAE882-5ED5-17C6-32B7-87C6C66D6864}"/>
              </a:ext>
            </a:extLst>
          </p:cNvPr>
          <p:cNvSpPr>
            <a:spLocks noGrp="1"/>
          </p:cNvSpPr>
          <p:nvPr>
            <p:ph type="title"/>
          </p:nvPr>
        </p:nvSpPr>
        <p:spPr>
          <a:xfrm>
            <a:off x="388429" y="313010"/>
            <a:ext cx="10902950" cy="624457"/>
          </a:xfrm>
        </p:spPr>
        <p:txBody>
          <a:bodyPr/>
          <a:lstStyle/>
          <a:p>
            <a:r>
              <a:rPr lang="en-US" sz="3200" dirty="0"/>
              <a:t>Long term follow up of Tisa-cel: 5-year results from ELARA</a:t>
            </a:r>
            <a:endParaRPr lang="en-GB" sz="3200" dirty="0"/>
          </a:p>
        </p:txBody>
      </p:sp>
      <p:sp>
        <p:nvSpPr>
          <p:cNvPr id="3" name="Footer Placeholder 2">
            <a:extLst>
              <a:ext uri="{FF2B5EF4-FFF2-40B4-BE49-F238E27FC236}">
                <a16:creationId xmlns:a16="http://schemas.microsoft.com/office/drawing/2014/main" id="{6FCCB396-0F43-C9F3-3024-655F6DA5EC2D}"/>
              </a:ext>
            </a:extLst>
          </p:cNvPr>
          <p:cNvSpPr>
            <a:spLocks noGrp="1"/>
          </p:cNvSpPr>
          <p:nvPr>
            <p:ph type="ftr" sz="quarter" idx="4294967295"/>
          </p:nvPr>
        </p:nvSpPr>
        <p:spPr>
          <a:xfrm>
            <a:off x="67310" y="6616266"/>
            <a:ext cx="11082338" cy="29686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ieblemont</a:t>
            </a:r>
            <a:r>
              <a:rPr kumimoji="0" lang="da-DK"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a:t>
            </a:r>
            <a:r>
              <a:rPr kumimoji="0" lang="da-DK" sz="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roc</a:t>
            </a:r>
            <a:r>
              <a:rPr kumimoji="0" lang="da-DK"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SH 2024; Schuster, et al ASTCT 2026.</a:t>
            </a:r>
          </a:p>
        </p:txBody>
      </p:sp>
      <p:sp>
        <p:nvSpPr>
          <p:cNvPr id="4" name="Slide Number Placeholder 3">
            <a:extLst>
              <a:ext uri="{FF2B5EF4-FFF2-40B4-BE49-F238E27FC236}">
                <a16:creationId xmlns:a16="http://schemas.microsoft.com/office/drawing/2014/main" id="{F13EED84-33FC-469A-5BC8-3E027B448277}"/>
              </a:ext>
            </a:extLst>
          </p:cNvPr>
          <p:cNvSpPr>
            <a:spLocks noGrp="1"/>
          </p:cNvSpPr>
          <p:nvPr>
            <p:ph type="sldNum" sz="quarter" idx="4294967295"/>
          </p:nvPr>
        </p:nvSpPr>
        <p:spPr>
          <a:xfrm>
            <a:off x="0" y="0"/>
            <a:ext cx="0" cy="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57A7E8-3F45-46AC-80A6-5B03F18BB502}" type="slidenum">
              <a:rPr kumimoji="0" lang="de-DE" sz="675" b="0" i="0" u="none" strike="noStrike" kern="1200" cap="none" spc="0" normalizeH="0" baseline="0" noProof="0" smtClean="0">
                <a:ln>
                  <a:noFill/>
                </a:ln>
                <a:solidFill>
                  <a:prstClr val="black">
                    <a:lumMod val="65000"/>
                    <a:lumOff val="35000"/>
                  </a:prstClr>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de-DE" sz="675" b="0" i="0" u="none" strike="noStrike" kern="1200" cap="none" spc="0" normalizeH="0" baseline="0" noProof="0">
              <a:ln>
                <a:noFill/>
              </a:ln>
              <a:solidFill>
                <a:prstClr val="black">
                  <a:lumMod val="65000"/>
                  <a:lumOff val="35000"/>
                </a:prstClr>
              </a:solidFill>
              <a:effectLst/>
              <a:uLnTx/>
              <a:uFillTx/>
              <a:latin typeface="Verdana"/>
              <a:ea typeface="+mn-ea"/>
              <a:cs typeface="+mn-cs"/>
            </a:endParaRPr>
          </a:p>
        </p:txBody>
      </p:sp>
      <p:pic>
        <p:nvPicPr>
          <p:cNvPr id="203" name="Picture 202">
            <a:extLst>
              <a:ext uri="{FF2B5EF4-FFF2-40B4-BE49-F238E27FC236}">
                <a16:creationId xmlns:a16="http://schemas.microsoft.com/office/drawing/2014/main" id="{EDF40D22-79FA-A9AF-53A7-A9C0DB1D52FE}"/>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rcRect l="3751" t="20683" r="4967" b="8265"/>
          <a:stretch>
            <a:fillRect/>
          </a:stretch>
        </p:blipFill>
        <p:spPr>
          <a:xfrm>
            <a:off x="3357521" y="1825363"/>
            <a:ext cx="8758279" cy="3834707"/>
          </a:xfrm>
          <a:prstGeom prst="rect">
            <a:avLst/>
          </a:prstGeom>
        </p:spPr>
      </p:pic>
      <p:pic>
        <p:nvPicPr>
          <p:cNvPr id="206" name="Picture 205">
            <a:extLst>
              <a:ext uri="{FF2B5EF4-FFF2-40B4-BE49-F238E27FC236}">
                <a16:creationId xmlns:a16="http://schemas.microsoft.com/office/drawing/2014/main" id="{7CF58217-2457-2FFE-700B-98CC6BC3B7DF}"/>
              </a:ext>
            </a:extLst>
          </p:cNvPr>
          <p:cNvPicPr>
            <a:picLocks noChangeAspect="1"/>
          </p:cNvPicPr>
          <p:nvPr/>
        </p:nvPicPr>
        <p:blipFill>
          <a:blip r:embed="rId5"/>
          <a:stretch>
            <a:fillRect/>
          </a:stretch>
        </p:blipFill>
        <p:spPr>
          <a:xfrm>
            <a:off x="317280" y="1324930"/>
            <a:ext cx="6421658" cy="4251427"/>
          </a:xfrm>
          <a:prstGeom prst="rect">
            <a:avLst/>
          </a:prstGeom>
        </p:spPr>
      </p:pic>
    </p:spTree>
    <p:extLst>
      <p:ext uri="{BB962C8B-B14F-4D97-AF65-F5344CB8AC3E}">
        <p14:creationId xmlns:p14="http://schemas.microsoft.com/office/powerpoint/2010/main" val="8632046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nodeType="clickEffect">
                                  <p:stCondLst>
                                    <p:cond delay="0"/>
                                  </p:stCondLst>
                                  <p:childTnLst>
                                    <p:animMotion origin="layout" path="M 0.00039 -0.00069 L -0.15455 -0.00069 " pathEditMode="relative" rAng="0" ptsTypes="AA">
                                      <p:cBhvr>
                                        <p:cTn id="6" dur="2000" fill="hold"/>
                                        <p:tgtEl>
                                          <p:spTgt spid="206"/>
                                        </p:tgtEl>
                                        <p:attrNameLst>
                                          <p:attrName>ppt_x</p:attrName>
                                          <p:attrName>ppt_y</p:attrName>
                                        </p:attrNameLst>
                                      </p:cBhvr>
                                      <p:rCtr x="-7747" y="0"/>
                                    </p:animMotion>
                                  </p:childTnLst>
                                </p:cTn>
                              </p:par>
                              <p:par>
                                <p:cTn id="7" presetID="6" presetClass="emph" presetSubtype="0" fill="hold" nodeType="withEffect">
                                  <p:stCondLst>
                                    <p:cond delay="0"/>
                                  </p:stCondLst>
                                  <p:childTnLst>
                                    <p:animScale>
                                      <p:cBhvr>
                                        <p:cTn id="8" dur="2000" fill="hold"/>
                                        <p:tgtEl>
                                          <p:spTgt spid="206"/>
                                        </p:tgtEl>
                                      </p:cBhvr>
                                      <p:by x="50000" y="50000"/>
                                    </p:animScale>
                                  </p:childTnLst>
                                </p:cTn>
                              </p:par>
                              <p:par>
                                <p:cTn id="9" presetID="22" presetClass="entr" presetSubtype="2" fill="hold" nodeType="withEffect">
                                  <p:stCondLst>
                                    <p:cond delay="0"/>
                                  </p:stCondLst>
                                  <p:childTnLst>
                                    <p:set>
                                      <p:cBhvr>
                                        <p:cTn id="10" dur="1" fill="hold">
                                          <p:stCondLst>
                                            <p:cond delay="0"/>
                                          </p:stCondLst>
                                        </p:cTn>
                                        <p:tgtEl>
                                          <p:spTgt spid="203"/>
                                        </p:tgtEl>
                                        <p:attrNameLst>
                                          <p:attrName>style.visibility</p:attrName>
                                        </p:attrNameLst>
                                      </p:cBhvr>
                                      <p:to>
                                        <p:strVal val="visible"/>
                                      </p:to>
                                    </p:set>
                                    <p:animEffect transition="in" filter="wipe(right)">
                                      <p:cBhvr>
                                        <p:cTn id="11" dur="2000"/>
                                        <p:tgtEl>
                                          <p:spTgt spid="2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3FB06-757F-1BE8-D7FB-CD2D97A7F3D7}"/>
              </a:ext>
            </a:extLst>
          </p:cNvPr>
          <p:cNvSpPr>
            <a:spLocks noGrp="1"/>
          </p:cNvSpPr>
          <p:nvPr>
            <p:ph type="title"/>
          </p:nvPr>
        </p:nvSpPr>
        <p:spPr>
          <a:xfrm>
            <a:off x="370203" y="211460"/>
            <a:ext cx="11560027" cy="956516"/>
          </a:xfrm>
        </p:spPr>
        <p:txBody>
          <a:bodyPr/>
          <a:lstStyle/>
          <a:p>
            <a:r>
              <a:rPr lang="en-US" dirty="0"/>
              <a:t>Long term follow up of TRANSCEND FL: Liso-cel at 3 years</a:t>
            </a:r>
          </a:p>
        </p:txBody>
      </p:sp>
      <p:sp>
        <p:nvSpPr>
          <p:cNvPr id="4" name="TextBox 3">
            <a:extLst>
              <a:ext uri="{FF2B5EF4-FFF2-40B4-BE49-F238E27FC236}">
                <a16:creationId xmlns:a16="http://schemas.microsoft.com/office/drawing/2014/main" id="{2E1D1BA3-923C-0A77-B252-F42FCB44F481}"/>
              </a:ext>
            </a:extLst>
          </p:cNvPr>
          <p:cNvSpPr txBox="1"/>
          <p:nvPr/>
        </p:nvSpPr>
        <p:spPr>
          <a:xfrm>
            <a:off x="65031" y="6629400"/>
            <a:ext cx="2671819"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a:ea typeface="+mn-ea"/>
                <a:cs typeface="+mn-cs"/>
              </a:rPr>
              <a:t>Dreyling M, et al. EBMT 2026 [Presentation #OS02-02]</a:t>
            </a:r>
          </a:p>
        </p:txBody>
      </p:sp>
      <p:pic>
        <p:nvPicPr>
          <p:cNvPr id="5" name="Picture 4">
            <a:extLst>
              <a:ext uri="{FF2B5EF4-FFF2-40B4-BE49-F238E27FC236}">
                <a16:creationId xmlns:a16="http://schemas.microsoft.com/office/drawing/2014/main" id="{118E0759-5C4E-0281-C814-29B7369BF68F}"/>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rcRect r="66639"/>
          <a:stretch>
            <a:fillRect/>
          </a:stretch>
        </p:blipFill>
        <p:spPr>
          <a:xfrm>
            <a:off x="91562" y="1297130"/>
            <a:ext cx="4258015" cy="4758157"/>
          </a:xfrm>
          <a:prstGeom prst="rect">
            <a:avLst/>
          </a:prstGeom>
        </p:spPr>
      </p:pic>
      <p:grpSp>
        <p:nvGrpSpPr>
          <p:cNvPr id="10" name="Group 9">
            <a:extLst>
              <a:ext uri="{FF2B5EF4-FFF2-40B4-BE49-F238E27FC236}">
                <a16:creationId xmlns:a16="http://schemas.microsoft.com/office/drawing/2014/main" id="{7ADD34F3-F700-A66D-A2A4-684124259555}"/>
              </a:ext>
            </a:extLst>
          </p:cNvPr>
          <p:cNvGrpSpPr/>
          <p:nvPr/>
        </p:nvGrpSpPr>
        <p:grpSpPr>
          <a:xfrm>
            <a:off x="4130932" y="1156450"/>
            <a:ext cx="7969506" cy="5345113"/>
            <a:chOff x="4130932" y="1230592"/>
            <a:chExt cx="7969506" cy="5345113"/>
          </a:xfrm>
        </p:grpSpPr>
        <p:pic>
          <p:nvPicPr>
            <p:cNvPr id="6" name="Picture 5">
              <a:extLst>
                <a:ext uri="{FF2B5EF4-FFF2-40B4-BE49-F238E27FC236}">
                  <a16:creationId xmlns:a16="http://schemas.microsoft.com/office/drawing/2014/main" id="{99273BE3-DA0F-DB50-E717-CB62FB709B55}"/>
                </a:ext>
              </a:extLst>
            </p:cNvPr>
            <p:cNvPicPr>
              <a:picLocks noChangeAspect="1"/>
            </p:cNvPicPr>
            <p:nvPr/>
          </p:nvPicPr>
          <p:blipFill>
            <a:blip r:embed="rId4"/>
            <a:srcRect l="20697" t="79401" r="14833"/>
            <a:stretch>
              <a:fillRect/>
            </a:stretch>
          </p:blipFill>
          <p:spPr>
            <a:xfrm>
              <a:off x="4130932" y="1704614"/>
              <a:ext cx="7969506" cy="1052642"/>
            </a:xfrm>
            <a:prstGeom prst="rect">
              <a:avLst/>
            </a:prstGeom>
          </p:spPr>
        </p:pic>
        <p:sp>
          <p:nvSpPr>
            <p:cNvPr id="7" name="TextBox 6">
              <a:extLst>
                <a:ext uri="{FF2B5EF4-FFF2-40B4-BE49-F238E27FC236}">
                  <a16:creationId xmlns:a16="http://schemas.microsoft.com/office/drawing/2014/main" id="{400CF676-6613-6D48-4BEC-CE0484CDF345}"/>
                </a:ext>
              </a:extLst>
            </p:cNvPr>
            <p:cNvSpPr txBox="1"/>
            <p:nvPr/>
          </p:nvSpPr>
          <p:spPr>
            <a:xfrm>
              <a:off x="5938221" y="1230592"/>
              <a:ext cx="392940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n-ea"/>
                  <a:cs typeface="+mn-cs"/>
                </a:rPr>
                <a:t>3-year PFS in high-risk subsets</a:t>
              </a:r>
            </a:p>
          </p:txBody>
        </p:sp>
        <p:pic>
          <p:nvPicPr>
            <p:cNvPr id="8" name="Picture 7">
              <a:extLst>
                <a:ext uri="{FF2B5EF4-FFF2-40B4-BE49-F238E27FC236}">
                  <a16:creationId xmlns:a16="http://schemas.microsoft.com/office/drawing/2014/main" id="{B0C91513-1AC9-CCE3-3059-A890F1A735F9}"/>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rcRect t="8240" r="30978"/>
            <a:stretch>
              <a:fillRect/>
            </a:stretch>
          </p:blipFill>
          <p:spPr>
            <a:xfrm>
              <a:off x="5059319" y="3519131"/>
              <a:ext cx="5617410" cy="3056574"/>
            </a:xfrm>
            <a:prstGeom prst="rect">
              <a:avLst/>
            </a:prstGeom>
          </p:spPr>
        </p:pic>
        <p:sp>
          <p:nvSpPr>
            <p:cNvPr id="9" name="TextBox 8">
              <a:extLst>
                <a:ext uri="{FF2B5EF4-FFF2-40B4-BE49-F238E27FC236}">
                  <a16:creationId xmlns:a16="http://schemas.microsoft.com/office/drawing/2014/main" id="{8C90D90A-AE72-05EC-ABCA-14A1B087681A}"/>
                </a:ext>
              </a:extLst>
            </p:cNvPr>
            <p:cNvSpPr txBox="1"/>
            <p:nvPr/>
          </p:nvSpPr>
          <p:spPr>
            <a:xfrm>
              <a:off x="5821679" y="3193712"/>
              <a:ext cx="449809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n-ea"/>
                  <a:cs typeface="+mn-cs"/>
                </a:rPr>
                <a:t>DOR based on prior bendamustine</a:t>
              </a:r>
            </a:p>
          </p:txBody>
        </p:sp>
      </p:grpSp>
    </p:spTree>
    <p:extLst>
      <p:ext uri="{BB962C8B-B14F-4D97-AF65-F5344CB8AC3E}">
        <p14:creationId xmlns:p14="http://schemas.microsoft.com/office/powerpoint/2010/main" val="10968626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F633A0-E2A3-4589-2904-E84D4340543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026E5C5-DB4C-070C-740E-55EB42BFEF88}"/>
              </a:ext>
            </a:extLst>
          </p:cNvPr>
          <p:cNvSpPr>
            <a:spLocks noGrp="1"/>
          </p:cNvSpPr>
          <p:nvPr>
            <p:ph type="title"/>
          </p:nvPr>
        </p:nvSpPr>
        <p:spPr>
          <a:xfrm>
            <a:off x="358153" y="110074"/>
            <a:ext cx="11572078" cy="1138367"/>
          </a:xfrm>
        </p:spPr>
        <p:txBody>
          <a:bodyPr/>
          <a:lstStyle/>
          <a:p>
            <a:r>
              <a:rPr lang="en-US"/>
              <a:t>Sustained </a:t>
            </a:r>
            <a:r>
              <a:rPr lang="en-US" dirty="0"/>
              <a:t>efficacy and safety for liso-cel in relapsed/refractory marginal zone lymphomas</a:t>
            </a:r>
          </a:p>
        </p:txBody>
      </p:sp>
      <p:sp>
        <p:nvSpPr>
          <p:cNvPr id="3" name="Text Placeholder 2">
            <a:extLst>
              <a:ext uri="{FF2B5EF4-FFF2-40B4-BE49-F238E27FC236}">
                <a16:creationId xmlns:a16="http://schemas.microsoft.com/office/drawing/2014/main" id="{1848F36D-5308-E0C1-7350-CD1D0C804761}"/>
              </a:ext>
            </a:extLst>
          </p:cNvPr>
          <p:cNvSpPr>
            <a:spLocks noGrp="1"/>
          </p:cNvSpPr>
          <p:nvPr>
            <p:ph type="body" sz="quarter" idx="10"/>
          </p:nvPr>
        </p:nvSpPr>
        <p:spPr>
          <a:xfrm>
            <a:off x="242711" y="6678726"/>
            <a:ext cx="6923403" cy="138408"/>
          </a:xfrm>
        </p:spPr>
        <p:txBody>
          <a:bodyPr/>
          <a:lstStyle/>
          <a:p>
            <a:r>
              <a:rPr lang="en-US" sz="800" dirty="0"/>
              <a:t>Palomba, et al. Proc ICML 2025</a:t>
            </a:r>
          </a:p>
        </p:txBody>
      </p:sp>
      <p:pic>
        <p:nvPicPr>
          <p:cNvPr id="33" name="Picture 32">
            <a:extLst>
              <a:ext uri="{FF2B5EF4-FFF2-40B4-BE49-F238E27FC236}">
                <a16:creationId xmlns:a16="http://schemas.microsoft.com/office/drawing/2014/main" id="{6FCBD684-09B1-A4ED-D4A4-7094E90B98C2}"/>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rcRect r="2917"/>
          <a:stretch>
            <a:fillRect/>
          </a:stretch>
        </p:blipFill>
        <p:spPr>
          <a:xfrm>
            <a:off x="584751" y="1507185"/>
            <a:ext cx="2886296" cy="4205503"/>
          </a:xfrm>
          <a:prstGeom prst="rect">
            <a:avLst/>
          </a:prstGeom>
        </p:spPr>
      </p:pic>
      <p:pic>
        <p:nvPicPr>
          <p:cNvPr id="35" name="Picture 34">
            <a:extLst>
              <a:ext uri="{FF2B5EF4-FFF2-40B4-BE49-F238E27FC236}">
                <a16:creationId xmlns:a16="http://schemas.microsoft.com/office/drawing/2014/main" id="{ED3CFCAD-BD88-959D-B425-838E93AE0F5D}"/>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4955059" y="1046892"/>
            <a:ext cx="6264888" cy="3705452"/>
          </a:xfrm>
          <a:prstGeom prst="rect">
            <a:avLst/>
          </a:prstGeom>
        </p:spPr>
      </p:pic>
      <p:pic>
        <p:nvPicPr>
          <p:cNvPr id="38" name="Picture 37">
            <a:extLst>
              <a:ext uri="{FF2B5EF4-FFF2-40B4-BE49-F238E27FC236}">
                <a16:creationId xmlns:a16="http://schemas.microsoft.com/office/drawing/2014/main" id="{A221A987-6FF7-28B2-CDAC-941BC93EE616}"/>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50000"/>
                    </a14:imgEffect>
                  </a14:imgLayer>
                </a14:imgProps>
              </a:ext>
            </a:extLst>
          </a:blip>
          <a:stretch>
            <a:fillRect/>
          </a:stretch>
        </p:blipFill>
        <p:spPr>
          <a:xfrm>
            <a:off x="4174244" y="4955059"/>
            <a:ext cx="3128139" cy="1792867"/>
          </a:xfrm>
          <a:prstGeom prst="rect">
            <a:avLst/>
          </a:prstGeom>
        </p:spPr>
      </p:pic>
      <p:pic>
        <p:nvPicPr>
          <p:cNvPr id="40" name="Picture 39">
            <a:extLst>
              <a:ext uri="{FF2B5EF4-FFF2-40B4-BE49-F238E27FC236}">
                <a16:creationId xmlns:a16="http://schemas.microsoft.com/office/drawing/2014/main" id="{A6D09726-C393-F6B1-C281-558C3107BE39}"/>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50000"/>
                    </a14:imgEffect>
                  </a14:imgLayer>
                </a14:imgProps>
              </a:ext>
            </a:extLst>
          </a:blip>
          <a:stretch>
            <a:fillRect/>
          </a:stretch>
        </p:blipFill>
        <p:spPr>
          <a:xfrm>
            <a:off x="8222354" y="4955058"/>
            <a:ext cx="3148818" cy="1792867"/>
          </a:xfrm>
          <a:prstGeom prst="rect">
            <a:avLst/>
          </a:prstGeom>
        </p:spPr>
      </p:pic>
      <p:sp>
        <p:nvSpPr>
          <p:cNvPr id="41" name="TextBox 40">
            <a:extLst>
              <a:ext uri="{FF2B5EF4-FFF2-40B4-BE49-F238E27FC236}">
                <a16:creationId xmlns:a16="http://schemas.microsoft.com/office/drawing/2014/main" id="{F99BCD31-C10A-D61E-9D08-53DAD9088220}"/>
              </a:ext>
            </a:extLst>
          </p:cNvPr>
          <p:cNvSpPr txBox="1"/>
          <p:nvPr/>
        </p:nvSpPr>
        <p:spPr>
          <a:xfrm>
            <a:off x="1833034" y="2214479"/>
            <a:ext cx="121379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ORR 95.4%</a:t>
            </a:r>
          </a:p>
        </p:txBody>
      </p:sp>
    </p:spTree>
    <p:extLst>
      <p:ext uri="{BB962C8B-B14F-4D97-AF65-F5344CB8AC3E}">
        <p14:creationId xmlns:p14="http://schemas.microsoft.com/office/powerpoint/2010/main" val="374627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662283BC-B344-080B-5EEA-73DD8727E08C}"/>
              </a:ext>
            </a:extLst>
          </p:cNvPr>
          <p:cNvSpPr>
            <a:spLocks noGrp="1"/>
          </p:cNvSpPr>
          <p:nvPr>
            <p:ph sz="half" idx="2"/>
          </p:nvPr>
        </p:nvSpPr>
        <p:spPr/>
        <p:txBody>
          <a:bodyPr/>
          <a:lstStyle/>
          <a:p>
            <a:r>
              <a:rPr lang="en-US" dirty="0"/>
              <a:t>Randomized phase III trial of axi-cel vs. SOC in relapsed/refractory follicular lymphoma</a:t>
            </a:r>
          </a:p>
          <a:p>
            <a:endParaRPr lang="en-US" dirty="0"/>
          </a:p>
          <a:p>
            <a:pPr marL="804863" lvl="1" indent="-342900"/>
            <a:r>
              <a:rPr lang="en-US" dirty="0"/>
              <a:t>Grade 1-3A FL</a:t>
            </a:r>
          </a:p>
          <a:p>
            <a:pPr marL="804863" lvl="1" indent="-342900"/>
            <a:r>
              <a:rPr lang="en-US" dirty="0"/>
              <a:t>1 prior line of </a:t>
            </a:r>
            <a:r>
              <a:rPr lang="en-US" dirty="0" err="1"/>
              <a:t>tx</a:t>
            </a:r>
            <a:r>
              <a:rPr lang="en-US" dirty="0"/>
              <a:t> and POD, </a:t>
            </a:r>
            <a:r>
              <a:rPr lang="en-US" i="1" dirty="0"/>
              <a:t>or</a:t>
            </a:r>
            <a:r>
              <a:rPr lang="en-US" dirty="0"/>
              <a:t> </a:t>
            </a:r>
            <a:r>
              <a:rPr lang="en-US" dirty="0">
                <a:solidFill>
                  <a:srgbClr val="333333"/>
                </a:solidFill>
                <a:latin typeface="-apple-system"/>
              </a:rPr>
              <a:t>≥2 prior lines</a:t>
            </a:r>
          </a:p>
          <a:p>
            <a:pPr marL="804863" lvl="1" indent="-342900"/>
            <a:r>
              <a:rPr lang="en-US" dirty="0">
                <a:solidFill>
                  <a:srgbClr val="333333"/>
                </a:solidFill>
                <a:latin typeface="-apple-system"/>
              </a:rPr>
              <a:t>SOC: investigators choice of R-CHOP, R-Benda, or R-Len</a:t>
            </a:r>
          </a:p>
          <a:p>
            <a:pPr marL="804863" lvl="1" indent="-342900"/>
            <a:r>
              <a:rPr lang="en-US" dirty="0">
                <a:solidFill>
                  <a:srgbClr val="333333"/>
                </a:solidFill>
                <a:latin typeface="-apple-system"/>
              </a:rPr>
              <a:t>Primary endpoint PFS</a:t>
            </a:r>
            <a:endParaRPr lang="en-US" dirty="0"/>
          </a:p>
          <a:p>
            <a:pPr marL="804863" lvl="1" indent="-342900"/>
            <a:endParaRPr lang="en-US" dirty="0"/>
          </a:p>
          <a:p>
            <a:pPr marL="342900" indent="-342900"/>
            <a:r>
              <a:rPr lang="en-US" sz="1400" dirty="0"/>
              <a:t>NCT05371093</a:t>
            </a:r>
          </a:p>
        </p:txBody>
      </p:sp>
      <p:sp>
        <p:nvSpPr>
          <p:cNvPr id="9" name="Text Placeholder 8">
            <a:extLst>
              <a:ext uri="{FF2B5EF4-FFF2-40B4-BE49-F238E27FC236}">
                <a16:creationId xmlns:a16="http://schemas.microsoft.com/office/drawing/2014/main" id="{18B6FA36-7E14-4C1B-F4B0-3AA3F1AAE4A2}"/>
              </a:ext>
            </a:extLst>
          </p:cNvPr>
          <p:cNvSpPr>
            <a:spLocks noGrp="1"/>
          </p:cNvSpPr>
          <p:nvPr>
            <p:ph type="body" idx="1"/>
          </p:nvPr>
        </p:nvSpPr>
        <p:spPr/>
        <p:txBody>
          <a:bodyPr/>
          <a:lstStyle/>
          <a:p>
            <a:r>
              <a:rPr lang="en-US" dirty="0"/>
              <a:t>ZUMA-22</a:t>
            </a:r>
          </a:p>
        </p:txBody>
      </p:sp>
      <p:sp>
        <p:nvSpPr>
          <p:cNvPr id="11" name="Text Placeholder 10">
            <a:extLst>
              <a:ext uri="{FF2B5EF4-FFF2-40B4-BE49-F238E27FC236}">
                <a16:creationId xmlns:a16="http://schemas.microsoft.com/office/drawing/2014/main" id="{D8CC4837-58B4-AECB-B3EA-8BAE1A151E80}"/>
              </a:ext>
            </a:extLst>
          </p:cNvPr>
          <p:cNvSpPr>
            <a:spLocks noGrp="1"/>
          </p:cNvSpPr>
          <p:nvPr>
            <p:ph type="body" sz="quarter" idx="3"/>
          </p:nvPr>
        </p:nvSpPr>
        <p:spPr/>
        <p:txBody>
          <a:bodyPr/>
          <a:lstStyle/>
          <a:p>
            <a:r>
              <a:rPr lang="en-US" dirty="0"/>
              <a:t>LEDA</a:t>
            </a:r>
          </a:p>
        </p:txBody>
      </p:sp>
      <p:sp>
        <p:nvSpPr>
          <p:cNvPr id="12" name="Content Placeholder 11">
            <a:extLst>
              <a:ext uri="{FF2B5EF4-FFF2-40B4-BE49-F238E27FC236}">
                <a16:creationId xmlns:a16="http://schemas.microsoft.com/office/drawing/2014/main" id="{821E8AB2-143D-77AF-0C98-F1E68055C7B6}"/>
              </a:ext>
            </a:extLst>
          </p:cNvPr>
          <p:cNvSpPr>
            <a:spLocks noGrp="1"/>
          </p:cNvSpPr>
          <p:nvPr>
            <p:ph sz="quarter" idx="4"/>
          </p:nvPr>
        </p:nvSpPr>
        <p:spPr/>
        <p:txBody>
          <a:bodyPr/>
          <a:lstStyle/>
          <a:p>
            <a:r>
              <a:rPr lang="en-US" dirty="0"/>
              <a:t>Randomized phase III trial of tisa-cel vs. SOC in relapsed/refractory follicular lymphoma</a:t>
            </a:r>
          </a:p>
          <a:p>
            <a:endParaRPr lang="en-US" dirty="0"/>
          </a:p>
          <a:p>
            <a:pPr marL="804863" lvl="1" indent="-342900"/>
            <a:r>
              <a:rPr lang="en-US" dirty="0"/>
              <a:t>Grade 1-3A FL</a:t>
            </a:r>
          </a:p>
          <a:p>
            <a:pPr marL="804863" lvl="1" indent="-342900"/>
            <a:r>
              <a:rPr lang="en-US" dirty="0">
                <a:solidFill>
                  <a:srgbClr val="333333"/>
                </a:solidFill>
                <a:latin typeface="-apple-system"/>
              </a:rPr>
              <a:t>≥2 prior lines of </a:t>
            </a:r>
            <a:r>
              <a:rPr lang="en-US" dirty="0" err="1">
                <a:solidFill>
                  <a:srgbClr val="333333"/>
                </a:solidFill>
                <a:latin typeface="-apple-system"/>
              </a:rPr>
              <a:t>tx</a:t>
            </a:r>
            <a:endParaRPr lang="en-US" dirty="0">
              <a:solidFill>
                <a:srgbClr val="333333"/>
              </a:solidFill>
              <a:latin typeface="-apple-system"/>
            </a:endParaRPr>
          </a:p>
          <a:p>
            <a:pPr marL="804863" lvl="1" indent="-342900"/>
            <a:r>
              <a:rPr lang="en-US" dirty="0">
                <a:solidFill>
                  <a:srgbClr val="333333"/>
                </a:solidFill>
                <a:latin typeface="-apple-system"/>
              </a:rPr>
              <a:t>SOC: investigators choice of R-CHOP or R-Len</a:t>
            </a:r>
          </a:p>
          <a:p>
            <a:pPr marL="804863" lvl="1" indent="-342900"/>
            <a:r>
              <a:rPr lang="en-US" dirty="0">
                <a:solidFill>
                  <a:srgbClr val="333333"/>
                </a:solidFill>
                <a:latin typeface="-apple-system"/>
              </a:rPr>
              <a:t>Primary endpoint PFS</a:t>
            </a:r>
          </a:p>
          <a:p>
            <a:pPr marL="804863" lvl="1" indent="-342900"/>
            <a:endParaRPr lang="en-US" dirty="0">
              <a:solidFill>
                <a:srgbClr val="333333"/>
              </a:solidFill>
              <a:latin typeface="-apple-system"/>
            </a:endParaRPr>
          </a:p>
          <a:p>
            <a:r>
              <a:rPr lang="en-US" sz="1400" dirty="0"/>
              <a:t>NCT05888493</a:t>
            </a:r>
          </a:p>
          <a:p>
            <a:endParaRPr lang="en-US" dirty="0"/>
          </a:p>
        </p:txBody>
      </p:sp>
      <p:sp>
        <p:nvSpPr>
          <p:cNvPr id="2" name="Title 1">
            <a:extLst>
              <a:ext uri="{FF2B5EF4-FFF2-40B4-BE49-F238E27FC236}">
                <a16:creationId xmlns:a16="http://schemas.microsoft.com/office/drawing/2014/main" id="{25781EA5-C116-3D8E-29BB-B5C00A7F4876}"/>
              </a:ext>
            </a:extLst>
          </p:cNvPr>
          <p:cNvSpPr>
            <a:spLocks noGrp="1"/>
          </p:cNvSpPr>
          <p:nvPr>
            <p:ph type="title"/>
          </p:nvPr>
        </p:nvSpPr>
        <p:spPr/>
        <p:txBody>
          <a:bodyPr/>
          <a:lstStyle/>
          <a:p>
            <a:r>
              <a:rPr lang="en-US" dirty="0"/>
              <a:t>Future directions in FL: randomized trials</a:t>
            </a:r>
          </a:p>
        </p:txBody>
      </p:sp>
    </p:spTree>
    <p:extLst>
      <p:ext uri="{BB962C8B-B14F-4D97-AF65-F5344CB8AC3E}">
        <p14:creationId xmlns:p14="http://schemas.microsoft.com/office/powerpoint/2010/main" val="23901548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80DDE-3BFA-30DD-FA37-DF75E6695779}"/>
              </a:ext>
            </a:extLst>
          </p:cNvPr>
          <p:cNvSpPr>
            <a:spLocks noGrp="1"/>
          </p:cNvSpPr>
          <p:nvPr>
            <p:ph type="title"/>
          </p:nvPr>
        </p:nvSpPr>
        <p:spPr/>
        <p:txBody>
          <a:bodyPr/>
          <a:lstStyle/>
          <a:p>
            <a:r>
              <a:rPr lang="en-US" sz="4800" dirty="0"/>
              <a:t>Mantle cell lymphoma</a:t>
            </a:r>
          </a:p>
        </p:txBody>
      </p:sp>
    </p:spTree>
    <p:extLst>
      <p:ext uri="{BB962C8B-B14F-4D97-AF65-F5344CB8AC3E}">
        <p14:creationId xmlns:p14="http://schemas.microsoft.com/office/powerpoint/2010/main" val="31485624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97C1D-A7CF-AB35-770C-427DC7B9FCD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F9A5C7D-6699-CF7C-18FC-22FD354E4249}"/>
              </a:ext>
            </a:extLst>
          </p:cNvPr>
          <p:cNvSpPr>
            <a:spLocks noGrp="1"/>
          </p:cNvSpPr>
          <p:nvPr>
            <p:ph type="title"/>
          </p:nvPr>
        </p:nvSpPr>
        <p:spPr>
          <a:xfrm>
            <a:off x="641350" y="356827"/>
            <a:ext cx="10902950" cy="956516"/>
          </a:xfrm>
        </p:spPr>
        <p:txBody>
          <a:bodyPr/>
          <a:lstStyle/>
          <a:p>
            <a:r>
              <a:rPr lang="en-US" dirty="0" err="1"/>
              <a:t>Brexu</a:t>
            </a:r>
            <a:r>
              <a:rPr lang="en-US" dirty="0"/>
              <a:t>-cel for 3L+ MCL post </a:t>
            </a:r>
            <a:r>
              <a:rPr lang="en-US" dirty="0" err="1"/>
              <a:t>cBTK</a:t>
            </a:r>
            <a:r>
              <a:rPr lang="en-US" dirty="0"/>
              <a:t> inhibition: ZUMA-2</a:t>
            </a:r>
          </a:p>
        </p:txBody>
      </p:sp>
      <p:sp>
        <p:nvSpPr>
          <p:cNvPr id="9" name="TextBox 8">
            <a:extLst>
              <a:ext uri="{FF2B5EF4-FFF2-40B4-BE49-F238E27FC236}">
                <a16:creationId xmlns:a16="http://schemas.microsoft.com/office/drawing/2014/main" id="{FC7182EC-6C95-8F5C-BE7F-C4840AD079C8}"/>
              </a:ext>
            </a:extLst>
          </p:cNvPr>
          <p:cNvSpPr txBox="1"/>
          <p:nvPr/>
        </p:nvSpPr>
        <p:spPr>
          <a:xfrm>
            <a:off x="0" y="6642556"/>
            <a:ext cx="4240263"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a:ea typeface="+mn-ea"/>
                <a:cs typeface="+mn-cs"/>
              </a:rPr>
              <a:t>Wang, et al. NEJM 2020; Wang, et al. Proc ASH 2024; Munoz, et al. J Hematology &amp; Oncology 2026</a:t>
            </a:r>
          </a:p>
        </p:txBody>
      </p:sp>
      <p:graphicFrame>
        <p:nvGraphicFramePr>
          <p:cNvPr id="10" name="Table 9">
            <a:extLst>
              <a:ext uri="{FF2B5EF4-FFF2-40B4-BE49-F238E27FC236}">
                <a16:creationId xmlns:a16="http://schemas.microsoft.com/office/drawing/2014/main" id="{063353DD-17BA-1CAB-4E25-AF0921E826A3}"/>
              </a:ext>
            </a:extLst>
          </p:cNvPr>
          <p:cNvGraphicFramePr>
            <a:graphicFrameLocks noGrp="1"/>
          </p:cNvGraphicFramePr>
          <p:nvPr/>
        </p:nvGraphicFramePr>
        <p:xfrm>
          <a:off x="1232699" y="4216249"/>
          <a:ext cx="2646485" cy="1873102"/>
        </p:xfrm>
        <a:graphic>
          <a:graphicData uri="http://schemas.openxmlformats.org/drawingml/2006/table">
            <a:tbl>
              <a:tblPr firstRow="1" bandRow="1">
                <a:tableStyleId>{9DCAF9ED-07DC-4A11-8D7F-57B35C25682E}</a:tableStyleId>
              </a:tblPr>
              <a:tblGrid>
                <a:gridCol w="1573081">
                  <a:extLst>
                    <a:ext uri="{9D8B030D-6E8A-4147-A177-3AD203B41FA5}">
                      <a16:colId xmlns:a16="http://schemas.microsoft.com/office/drawing/2014/main" val="3066188464"/>
                    </a:ext>
                  </a:extLst>
                </a:gridCol>
                <a:gridCol w="1073404">
                  <a:extLst>
                    <a:ext uri="{9D8B030D-6E8A-4147-A177-3AD203B41FA5}">
                      <a16:colId xmlns:a16="http://schemas.microsoft.com/office/drawing/2014/main" val="1731947177"/>
                    </a:ext>
                  </a:extLst>
                </a:gridCol>
              </a:tblGrid>
              <a:tr h="410062">
                <a:tc>
                  <a:txBody>
                    <a:bodyPr/>
                    <a:lstStyle/>
                    <a:p>
                      <a:r>
                        <a:rPr lang="en-US" sz="1800" dirty="0">
                          <a:solidFill>
                            <a:schemeClr val="bg1"/>
                          </a:solidFill>
                        </a:rPr>
                        <a:t>Endpoint</a:t>
                      </a:r>
                    </a:p>
                  </a:txBody>
                  <a:tcPr/>
                </a:tc>
                <a:tc>
                  <a:txBody>
                    <a:bodyPr/>
                    <a:lstStyle/>
                    <a:p>
                      <a:r>
                        <a:rPr lang="en-US" sz="1800" dirty="0">
                          <a:solidFill>
                            <a:schemeClr val="bg1"/>
                          </a:solidFill>
                        </a:rPr>
                        <a:t>n=68</a:t>
                      </a:r>
                    </a:p>
                  </a:txBody>
                  <a:tcPr/>
                </a:tc>
                <a:extLst>
                  <a:ext uri="{0D108BD9-81ED-4DB2-BD59-A6C34878D82A}">
                    <a16:rowId xmlns:a16="http://schemas.microsoft.com/office/drawing/2014/main" val="2275027603"/>
                  </a:ext>
                </a:extLst>
              </a:tr>
              <a:tr h="236574">
                <a:tc>
                  <a:txBody>
                    <a:bodyPr/>
                    <a:lstStyle/>
                    <a:p>
                      <a:r>
                        <a:rPr lang="en-US" sz="1800" dirty="0"/>
                        <a:t>ORR</a:t>
                      </a:r>
                    </a:p>
                  </a:txBody>
                  <a:tcPr/>
                </a:tc>
                <a:tc>
                  <a:txBody>
                    <a:bodyPr/>
                    <a:lstStyle/>
                    <a:p>
                      <a:r>
                        <a:rPr lang="en-US" sz="1800" dirty="0"/>
                        <a:t>93%</a:t>
                      </a:r>
                    </a:p>
                  </a:txBody>
                  <a:tcPr/>
                </a:tc>
                <a:extLst>
                  <a:ext uri="{0D108BD9-81ED-4DB2-BD59-A6C34878D82A}">
                    <a16:rowId xmlns:a16="http://schemas.microsoft.com/office/drawing/2014/main" val="3756480942"/>
                  </a:ext>
                </a:extLst>
              </a:tr>
              <a:tr h="236574">
                <a:tc>
                  <a:txBody>
                    <a:bodyPr/>
                    <a:lstStyle/>
                    <a:p>
                      <a:r>
                        <a:rPr lang="en-US" sz="1800" dirty="0"/>
                        <a:t>CRR</a:t>
                      </a:r>
                    </a:p>
                  </a:txBody>
                  <a:tcPr/>
                </a:tc>
                <a:tc>
                  <a:txBody>
                    <a:bodyPr/>
                    <a:lstStyle/>
                    <a:p>
                      <a:r>
                        <a:rPr lang="en-US" sz="1800" dirty="0"/>
                        <a:t>67%</a:t>
                      </a:r>
                    </a:p>
                  </a:txBody>
                  <a:tcPr/>
                </a:tc>
                <a:extLst>
                  <a:ext uri="{0D108BD9-81ED-4DB2-BD59-A6C34878D82A}">
                    <a16:rowId xmlns:a16="http://schemas.microsoft.com/office/drawing/2014/main" val="1435293261"/>
                  </a:ext>
                </a:extLst>
              </a:tr>
              <a:tr h="236574">
                <a:tc>
                  <a:txBody>
                    <a:bodyPr/>
                    <a:lstStyle/>
                    <a:p>
                      <a:r>
                        <a:rPr lang="en-US" sz="1800" dirty="0"/>
                        <a:t>Median DOR</a:t>
                      </a:r>
                    </a:p>
                  </a:txBody>
                  <a:tcPr/>
                </a:tc>
                <a:tc>
                  <a:txBody>
                    <a:bodyPr/>
                    <a:lstStyle/>
                    <a:p>
                      <a:r>
                        <a:rPr lang="en-US" sz="1800" dirty="0"/>
                        <a:t>36.5 m</a:t>
                      </a:r>
                    </a:p>
                  </a:txBody>
                  <a:tcPr/>
                </a:tc>
                <a:extLst>
                  <a:ext uri="{0D108BD9-81ED-4DB2-BD59-A6C34878D82A}">
                    <a16:rowId xmlns:a16="http://schemas.microsoft.com/office/drawing/2014/main" val="4241082811"/>
                  </a:ext>
                </a:extLst>
              </a:tr>
              <a:tr h="236574">
                <a:tc>
                  <a:txBody>
                    <a:bodyPr/>
                    <a:lstStyle/>
                    <a:p>
                      <a:r>
                        <a:rPr lang="en-US" sz="1800" dirty="0"/>
                        <a:t>Median DOCR</a:t>
                      </a:r>
                    </a:p>
                  </a:txBody>
                  <a:tcPr/>
                </a:tc>
                <a:tc>
                  <a:txBody>
                    <a:bodyPr/>
                    <a:lstStyle/>
                    <a:p>
                      <a:r>
                        <a:rPr lang="en-US" sz="1800" dirty="0"/>
                        <a:t>46.7 m</a:t>
                      </a:r>
                    </a:p>
                  </a:txBody>
                  <a:tcPr/>
                </a:tc>
                <a:extLst>
                  <a:ext uri="{0D108BD9-81ED-4DB2-BD59-A6C34878D82A}">
                    <a16:rowId xmlns:a16="http://schemas.microsoft.com/office/drawing/2014/main" val="3197842702"/>
                  </a:ext>
                </a:extLst>
              </a:tr>
            </a:tbl>
          </a:graphicData>
        </a:graphic>
      </p:graphicFrame>
      <p:pic>
        <p:nvPicPr>
          <p:cNvPr id="18" name="Picture 17">
            <a:extLst>
              <a:ext uri="{FF2B5EF4-FFF2-40B4-BE49-F238E27FC236}">
                <a16:creationId xmlns:a16="http://schemas.microsoft.com/office/drawing/2014/main" id="{610B8A9E-68CF-CB0B-1E28-0FA10F9502D8}"/>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5876487" y="1527717"/>
            <a:ext cx="5539678" cy="2932771"/>
          </a:xfrm>
          <a:prstGeom prst="rect">
            <a:avLst/>
          </a:prstGeom>
        </p:spPr>
      </p:pic>
      <p:graphicFrame>
        <p:nvGraphicFramePr>
          <p:cNvPr id="7" name="Content Placeholder 3">
            <a:extLst>
              <a:ext uri="{FF2B5EF4-FFF2-40B4-BE49-F238E27FC236}">
                <a16:creationId xmlns:a16="http://schemas.microsoft.com/office/drawing/2014/main" id="{062883EC-6656-1C08-DE14-D1507E9C1BA4}"/>
              </a:ext>
            </a:extLst>
          </p:cNvPr>
          <p:cNvGraphicFramePr>
            <a:graphicFrameLocks/>
          </p:cNvGraphicFramePr>
          <p:nvPr/>
        </p:nvGraphicFramePr>
        <p:xfrm>
          <a:off x="723802" y="1196681"/>
          <a:ext cx="4044965" cy="2656966"/>
        </p:xfrm>
        <a:graphic>
          <a:graphicData uri="http://schemas.openxmlformats.org/drawingml/2006/table">
            <a:tbl>
              <a:tblPr firstRow="1" bandRow="1">
                <a:tableStyleId>{85BE263C-DBD7-4A20-BB59-AAB30ACAA65A}</a:tableStyleId>
              </a:tblPr>
              <a:tblGrid>
                <a:gridCol w="2512442">
                  <a:extLst>
                    <a:ext uri="{9D8B030D-6E8A-4147-A177-3AD203B41FA5}">
                      <a16:colId xmlns:a16="http://schemas.microsoft.com/office/drawing/2014/main" val="1361055744"/>
                    </a:ext>
                  </a:extLst>
                </a:gridCol>
                <a:gridCol w="1532523">
                  <a:extLst>
                    <a:ext uri="{9D8B030D-6E8A-4147-A177-3AD203B41FA5}">
                      <a16:colId xmlns:a16="http://schemas.microsoft.com/office/drawing/2014/main" val="2713589861"/>
                    </a:ext>
                  </a:extLst>
                </a:gridCol>
              </a:tblGrid>
              <a:tr h="553846">
                <a:tc>
                  <a:txBody>
                    <a:bodyPr/>
                    <a:lstStyle/>
                    <a:p>
                      <a:pPr algn="ctr"/>
                      <a:r>
                        <a:rPr lang="en-US" sz="1800" dirty="0"/>
                        <a:t>Baseline Characteristics</a:t>
                      </a:r>
                    </a:p>
                  </a:txBody>
                  <a:tcPr anchor="ctr"/>
                </a:tc>
                <a:tc>
                  <a:txBody>
                    <a:bodyPr/>
                    <a:lstStyle/>
                    <a:p>
                      <a:pPr algn="ctr"/>
                      <a:endParaRPr lang="en-US" sz="1800" dirty="0">
                        <a:solidFill>
                          <a:schemeClr val="bg1"/>
                        </a:solidFill>
                      </a:endParaRPr>
                    </a:p>
                  </a:txBody>
                  <a:tcPr anchor="ctr"/>
                </a:tc>
                <a:extLst>
                  <a:ext uri="{0D108BD9-81ED-4DB2-BD59-A6C34878D82A}">
                    <a16:rowId xmlns:a16="http://schemas.microsoft.com/office/drawing/2014/main" val="2987787854"/>
                  </a:ext>
                </a:extLst>
              </a:tr>
              <a:tr h="303297">
                <a:tc>
                  <a:txBody>
                    <a:bodyPr/>
                    <a:lstStyle/>
                    <a:p>
                      <a:pPr>
                        <a:buClr>
                          <a:srgbClr val="000000"/>
                        </a:buClr>
                      </a:pPr>
                      <a:r>
                        <a:rPr lang="en-US" sz="1800" b="0" dirty="0">
                          <a:solidFill>
                            <a:schemeClr val="tx1"/>
                          </a:solidFill>
                        </a:rPr>
                        <a:t>n</a:t>
                      </a:r>
                    </a:p>
                  </a:txBody>
                  <a:tcPr marL="68580" marR="68580" marT="34290" marB="34290" anchor="ctr"/>
                </a:tc>
                <a:tc>
                  <a:txBody>
                    <a:bodyPr/>
                    <a:lstStyle/>
                    <a:p>
                      <a:r>
                        <a:rPr lang="en-US" sz="1700" dirty="0"/>
                        <a:t>68</a:t>
                      </a:r>
                    </a:p>
                  </a:txBody>
                  <a:tcPr/>
                </a:tc>
                <a:extLst>
                  <a:ext uri="{0D108BD9-81ED-4DB2-BD59-A6C34878D82A}">
                    <a16:rowId xmlns:a16="http://schemas.microsoft.com/office/drawing/2014/main" val="3674242130"/>
                  </a:ext>
                </a:extLst>
              </a:tr>
              <a:tr h="303297">
                <a:tc>
                  <a:txBody>
                    <a:bodyPr/>
                    <a:lstStyle/>
                    <a:p>
                      <a:pPr>
                        <a:buClr>
                          <a:srgbClr val="000000"/>
                        </a:buClr>
                      </a:pPr>
                      <a:r>
                        <a:rPr lang="en-US" sz="1800" b="0" dirty="0">
                          <a:solidFill>
                            <a:schemeClr val="tx1"/>
                          </a:solidFill>
                        </a:rPr>
                        <a:t>Median # prior lines</a:t>
                      </a:r>
                    </a:p>
                  </a:txBody>
                  <a:tcPr marL="68580" marR="68580" marT="34290" marB="3429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700" kern="1200" noProof="0" dirty="0">
                          <a:effectLst/>
                        </a:rPr>
                        <a:t>3 (1-5)</a:t>
                      </a:r>
                      <a:endParaRPr lang="en-GB" sz="1700" kern="1200" noProof="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anchor="ctr"/>
                </a:tc>
                <a:extLst>
                  <a:ext uri="{0D108BD9-81ED-4DB2-BD59-A6C34878D82A}">
                    <a16:rowId xmlns:a16="http://schemas.microsoft.com/office/drawing/2014/main" val="1395914031"/>
                  </a:ext>
                </a:extLst>
              </a:tr>
              <a:tr h="303297">
                <a:tc>
                  <a:txBody>
                    <a:bodyPr/>
                    <a:lstStyle/>
                    <a:p>
                      <a:pPr>
                        <a:buClr>
                          <a:srgbClr val="000000"/>
                        </a:buClr>
                      </a:pPr>
                      <a:r>
                        <a:rPr lang="en-US" sz="1800" b="0" dirty="0">
                          <a:solidFill>
                            <a:schemeClr val="tx1"/>
                          </a:solidFill>
                        </a:rPr>
                        <a:t>BTKI refractory</a:t>
                      </a:r>
                    </a:p>
                  </a:txBody>
                  <a:tcPr marL="68580" marR="68580" marT="34290" marB="34290" anchor="ctr"/>
                </a:tc>
                <a:tc>
                  <a:txBody>
                    <a:bodyPr/>
                    <a:lstStyle/>
                    <a:p>
                      <a:r>
                        <a:rPr lang="en-US" sz="1700" baseline="0" dirty="0"/>
                        <a:t>62%</a:t>
                      </a:r>
                    </a:p>
                  </a:txBody>
                  <a:tcPr anchor="ctr"/>
                </a:tc>
                <a:extLst>
                  <a:ext uri="{0D108BD9-81ED-4DB2-BD59-A6C34878D82A}">
                    <a16:rowId xmlns:a16="http://schemas.microsoft.com/office/drawing/2014/main" val="1659020005"/>
                  </a:ext>
                </a:extLst>
              </a:tr>
              <a:tr h="303297">
                <a:tc>
                  <a:txBody>
                    <a:bodyPr/>
                    <a:lstStyle/>
                    <a:p>
                      <a:pPr>
                        <a:buClr>
                          <a:srgbClr val="000000"/>
                        </a:buClr>
                      </a:pPr>
                      <a:r>
                        <a:rPr lang="en-US" sz="1800" b="0" dirty="0">
                          <a:solidFill>
                            <a:schemeClr val="tx1"/>
                          </a:solidFill>
                        </a:rPr>
                        <a:t>TP53 mut</a:t>
                      </a:r>
                    </a:p>
                  </a:txBody>
                  <a:tcPr marL="68580" marR="68580" marT="34290" marB="34290" anchor="ctr"/>
                </a:tc>
                <a:tc>
                  <a:txBody>
                    <a:bodyPr/>
                    <a:lstStyle/>
                    <a:p>
                      <a:r>
                        <a:rPr lang="en-US" sz="1700" baseline="0" dirty="0"/>
                        <a:t>17%</a:t>
                      </a:r>
                    </a:p>
                  </a:txBody>
                  <a:tcPr anchor="ctr"/>
                </a:tc>
                <a:extLst>
                  <a:ext uri="{0D108BD9-81ED-4DB2-BD59-A6C34878D82A}">
                    <a16:rowId xmlns:a16="http://schemas.microsoft.com/office/drawing/2014/main" val="452592187"/>
                  </a:ext>
                </a:extLst>
              </a:tr>
              <a:tr h="303297">
                <a:tc>
                  <a:txBody>
                    <a:bodyPr/>
                    <a:lstStyle/>
                    <a:p>
                      <a:pPr>
                        <a:buClr>
                          <a:srgbClr val="000000"/>
                        </a:buClr>
                      </a:pPr>
                      <a:r>
                        <a:rPr lang="en-US" sz="1800" b="0" dirty="0">
                          <a:solidFill>
                            <a:schemeClr val="tx1"/>
                          </a:solidFill>
                        </a:rPr>
                        <a:t>Blastoid</a:t>
                      </a:r>
                    </a:p>
                  </a:txBody>
                  <a:tcPr marL="68580" marR="68580" marT="34290" marB="34290" anchor="ctr"/>
                </a:tc>
                <a:tc>
                  <a:txBody>
                    <a:bodyPr/>
                    <a:lstStyle/>
                    <a:p>
                      <a:r>
                        <a:rPr lang="en-US" sz="1700" dirty="0"/>
                        <a:t>31%</a:t>
                      </a:r>
                    </a:p>
                  </a:txBody>
                  <a:tcPr anchor="ctr"/>
                </a:tc>
                <a:extLst>
                  <a:ext uri="{0D108BD9-81ED-4DB2-BD59-A6C34878D82A}">
                    <a16:rowId xmlns:a16="http://schemas.microsoft.com/office/drawing/2014/main" val="2990446706"/>
                  </a:ext>
                </a:extLst>
              </a:tr>
              <a:tr h="303297">
                <a:tc>
                  <a:txBody>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lang="en-GB" sz="1800" b="0" noProof="0" dirty="0">
                          <a:solidFill>
                            <a:schemeClr val="tx1"/>
                          </a:solidFill>
                          <a:effectLst/>
                        </a:rPr>
                        <a:t>KI67 ≥ 30%</a:t>
                      </a:r>
                      <a:endParaRPr lang="en-GB" sz="1800" b="0" noProof="0" dirty="0">
                        <a:solidFill>
                          <a:schemeClr val="tx1"/>
                        </a:solidFill>
                        <a:effectLst/>
                        <a:latin typeface="+mn-lt"/>
                        <a:ea typeface="Times New Roman" panose="02020603050405020304" pitchFamily="18" charset="0"/>
                      </a:endParaRPr>
                    </a:p>
                  </a:txBody>
                  <a:tcPr marL="68580" marR="68580" marT="34290" marB="34290" anchor="ctr"/>
                </a:tc>
                <a:tc>
                  <a:txBody>
                    <a:bodyPr/>
                    <a:lstStyle/>
                    <a:p>
                      <a:r>
                        <a:rPr lang="en-US" sz="1700" dirty="0"/>
                        <a:t>82%</a:t>
                      </a:r>
                    </a:p>
                  </a:txBody>
                  <a:tcPr anchor="ctr"/>
                </a:tc>
                <a:extLst>
                  <a:ext uri="{0D108BD9-81ED-4DB2-BD59-A6C34878D82A}">
                    <a16:rowId xmlns:a16="http://schemas.microsoft.com/office/drawing/2014/main" val="3820032681"/>
                  </a:ext>
                </a:extLst>
              </a:tr>
            </a:tbl>
          </a:graphicData>
        </a:graphic>
      </p:graphicFrame>
      <p:sp>
        <p:nvSpPr>
          <p:cNvPr id="14" name="TextBox 13">
            <a:extLst>
              <a:ext uri="{FF2B5EF4-FFF2-40B4-BE49-F238E27FC236}">
                <a16:creationId xmlns:a16="http://schemas.microsoft.com/office/drawing/2014/main" id="{A6327C8D-902C-FA73-36DE-33B756080068}"/>
              </a:ext>
            </a:extLst>
          </p:cNvPr>
          <p:cNvSpPr txBox="1"/>
          <p:nvPr/>
        </p:nvSpPr>
        <p:spPr>
          <a:xfrm>
            <a:off x="7580311" y="1226486"/>
            <a:ext cx="2546210" cy="92333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Progression-free surviva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Median 25.3 m</a:t>
            </a:r>
          </a:p>
        </p:txBody>
      </p:sp>
      <p:graphicFrame>
        <p:nvGraphicFramePr>
          <p:cNvPr id="15" name="Table 14">
            <a:extLst>
              <a:ext uri="{FF2B5EF4-FFF2-40B4-BE49-F238E27FC236}">
                <a16:creationId xmlns:a16="http://schemas.microsoft.com/office/drawing/2014/main" id="{5C243C26-0070-3417-1700-CB6F10676199}"/>
              </a:ext>
            </a:extLst>
          </p:cNvPr>
          <p:cNvGraphicFramePr>
            <a:graphicFrameLocks noGrp="1"/>
          </p:cNvGraphicFramePr>
          <p:nvPr/>
        </p:nvGraphicFramePr>
        <p:xfrm>
          <a:off x="7194158" y="4641573"/>
          <a:ext cx="3318516" cy="1859600"/>
        </p:xfrm>
        <a:graphic>
          <a:graphicData uri="http://schemas.openxmlformats.org/drawingml/2006/table">
            <a:tbl>
              <a:tblPr firstRow="1" bandRow="1">
                <a:tableStyleId>{21E4AEA4-8DFA-4A89-87EB-49C32662AFE0}</a:tableStyleId>
              </a:tblPr>
              <a:tblGrid>
                <a:gridCol w="2339830">
                  <a:extLst>
                    <a:ext uri="{9D8B030D-6E8A-4147-A177-3AD203B41FA5}">
                      <a16:colId xmlns:a16="http://schemas.microsoft.com/office/drawing/2014/main" val="20000"/>
                    </a:ext>
                  </a:extLst>
                </a:gridCol>
                <a:gridCol w="978686">
                  <a:extLst>
                    <a:ext uri="{9D8B030D-6E8A-4147-A177-3AD203B41FA5}">
                      <a16:colId xmlns:a16="http://schemas.microsoft.com/office/drawing/2014/main" val="20001"/>
                    </a:ext>
                  </a:extLst>
                </a:gridCol>
              </a:tblGrid>
              <a:tr h="27305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7000"/>
                        </a:lnSpc>
                        <a:spcBef>
                          <a:spcPts val="200"/>
                        </a:spcBef>
                        <a:spcAft>
                          <a:spcPts val="200"/>
                        </a:spcAft>
                      </a:pPr>
                      <a:r>
                        <a:rPr lang="en-GB" sz="1800" noProof="0" dirty="0">
                          <a:solidFill>
                            <a:schemeClr val="bg1"/>
                          </a:solidFill>
                          <a:effectLst/>
                          <a:latin typeface="+mn-lt"/>
                        </a:rPr>
                        <a:t>Toxicity</a:t>
                      </a:r>
                      <a:endParaRPr lang="en-GB" sz="1800" b="1" noProof="0" dirty="0">
                        <a:solidFill>
                          <a:schemeClr val="bg1"/>
                        </a:solidFill>
                        <a:effectLst/>
                        <a:latin typeface="+mn-lt"/>
                        <a:ea typeface="Times New Roman" panose="02020603050405020304" pitchFamily="18" charset="0"/>
                      </a:endParaRPr>
                    </a:p>
                  </a:txBody>
                  <a:tcPr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7000"/>
                        </a:lnSpc>
                        <a:spcBef>
                          <a:spcPts val="200"/>
                        </a:spcBef>
                        <a:spcAft>
                          <a:spcPts val="200"/>
                        </a:spcAft>
                        <a:buClrTx/>
                        <a:buSzTx/>
                        <a:buFontTx/>
                        <a:buNone/>
                        <a:tabLst/>
                        <a:defRPr/>
                      </a:pPr>
                      <a:endParaRPr lang="en-GB" sz="1800" b="1" baseline="0" noProof="0" dirty="0">
                        <a:solidFill>
                          <a:schemeClr val="tx2"/>
                        </a:solidFill>
                        <a:effectLst/>
                        <a:latin typeface="+mn-lt"/>
                        <a:ea typeface="Times New Roman" panose="02020603050405020304" pitchFamily="18" charset="0"/>
                      </a:endParaRPr>
                    </a:p>
                  </a:txBody>
                  <a:tcPr anchor="ctr"/>
                </a:tc>
                <a:extLst>
                  <a:ext uri="{0D108BD9-81ED-4DB2-BD59-A6C34878D82A}">
                    <a16:rowId xmlns:a16="http://schemas.microsoft.com/office/drawing/2014/main" val="10000"/>
                  </a:ext>
                </a:extLst>
              </a:tr>
              <a:tr h="238617">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7000"/>
                        </a:lnSpc>
                        <a:spcBef>
                          <a:spcPts val="200"/>
                        </a:spcBef>
                        <a:spcAft>
                          <a:spcPts val="200"/>
                        </a:spcAft>
                      </a:pPr>
                      <a:r>
                        <a:rPr lang="en-GB" sz="1800" noProof="0" dirty="0">
                          <a:effectLst/>
                          <a:latin typeface="+mn-lt"/>
                        </a:rPr>
                        <a:t>Any-grade CRS</a:t>
                      </a:r>
                    </a:p>
                  </a:txBody>
                  <a:tcPr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7000"/>
                        </a:lnSpc>
                        <a:spcBef>
                          <a:spcPts val="200"/>
                        </a:spcBef>
                        <a:spcAft>
                          <a:spcPts val="200"/>
                        </a:spcAft>
                      </a:pPr>
                      <a:r>
                        <a:rPr lang="en-GB" sz="1800" noProof="0" dirty="0">
                          <a:effectLst/>
                          <a:latin typeface="+mn-lt"/>
                        </a:rPr>
                        <a:t>91%</a:t>
                      </a:r>
                    </a:p>
                  </a:txBody>
                  <a:tcPr anchor="ctr"/>
                </a:tc>
                <a:extLst>
                  <a:ext uri="{0D108BD9-81ED-4DB2-BD59-A6C34878D82A}">
                    <a16:rowId xmlns:a16="http://schemas.microsoft.com/office/drawing/2014/main" val="10001"/>
                  </a:ext>
                </a:extLst>
              </a:tr>
              <a:tr h="238617">
                <a:tc>
                  <a:txBody>
                    <a:bodyPr/>
                    <a:lstStyle/>
                    <a:p>
                      <a:pPr marL="117475" marR="0" lvl="0" indent="0" algn="l" defTabSz="685800" rtl="0" eaLnBrk="1" fontAlgn="auto" latinLnBrk="0" hangingPunct="1">
                        <a:lnSpc>
                          <a:spcPct val="107000"/>
                        </a:lnSpc>
                        <a:spcBef>
                          <a:spcPts val="200"/>
                        </a:spcBef>
                        <a:spcAft>
                          <a:spcPts val="200"/>
                        </a:spcAft>
                        <a:buClrTx/>
                        <a:buSzTx/>
                        <a:buFontTx/>
                        <a:buNone/>
                        <a:tabLst/>
                        <a:defRPr/>
                      </a:pPr>
                      <a:r>
                        <a:rPr lang="en-GB" sz="1800" noProof="0" dirty="0">
                          <a:effectLst/>
                          <a:latin typeface="+mn-lt"/>
                        </a:rPr>
                        <a:t>Grade ≥ 3</a:t>
                      </a:r>
                      <a:r>
                        <a:rPr lang="en-GB" sz="1800" baseline="0" noProof="0" dirty="0">
                          <a:effectLst/>
                          <a:latin typeface="+mn-lt"/>
                        </a:rPr>
                        <a:t> </a:t>
                      </a:r>
                      <a:r>
                        <a:rPr lang="en-GB" sz="1800" noProof="0" dirty="0">
                          <a:effectLst/>
                          <a:latin typeface="+mn-lt"/>
                        </a:rPr>
                        <a:t>CRS</a:t>
                      </a:r>
                      <a:endParaRPr lang="en-GB" sz="1800" kern="1200" noProof="0" dirty="0">
                        <a:effectLst/>
                        <a:latin typeface="+mn-lt"/>
                      </a:endParaRPr>
                    </a:p>
                  </a:txBody>
                  <a:tcPr anchor="ctr"/>
                </a:tc>
                <a:tc>
                  <a:txBody>
                    <a:bodyPr/>
                    <a:lstStyle/>
                    <a:p>
                      <a:pPr marL="0" marR="0" lvl="0" indent="0" algn="ctr" defTabSz="685800" rtl="0" eaLnBrk="1" fontAlgn="auto" latinLnBrk="0" hangingPunct="1">
                        <a:lnSpc>
                          <a:spcPct val="107000"/>
                        </a:lnSpc>
                        <a:spcBef>
                          <a:spcPts val="200"/>
                        </a:spcBef>
                        <a:spcAft>
                          <a:spcPts val="200"/>
                        </a:spcAft>
                        <a:buClrTx/>
                        <a:buSzTx/>
                        <a:buFontTx/>
                        <a:buNone/>
                        <a:tabLst/>
                        <a:defRPr/>
                      </a:pPr>
                      <a:r>
                        <a:rPr lang="en-GB" sz="1800" noProof="0" dirty="0">
                          <a:effectLst/>
                          <a:latin typeface="+mn-lt"/>
                        </a:rPr>
                        <a:t>15%</a:t>
                      </a:r>
                    </a:p>
                  </a:txBody>
                  <a:tcPr anchor="ctr"/>
                </a:tc>
                <a:extLst>
                  <a:ext uri="{0D108BD9-81ED-4DB2-BD59-A6C34878D82A}">
                    <a16:rowId xmlns:a16="http://schemas.microsoft.com/office/drawing/2014/main" val="2778240074"/>
                  </a:ext>
                </a:extLst>
              </a:tr>
              <a:tr h="238617">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7000"/>
                        </a:lnSpc>
                        <a:spcBef>
                          <a:spcPts val="200"/>
                        </a:spcBef>
                        <a:spcAft>
                          <a:spcPts val="200"/>
                        </a:spcAft>
                      </a:pPr>
                      <a:r>
                        <a:rPr lang="en-GB" sz="1800" kern="1200" noProof="0" dirty="0">
                          <a:effectLst/>
                          <a:latin typeface="+mn-lt"/>
                        </a:rPr>
                        <a:t>Any-grade ICANS</a:t>
                      </a:r>
                    </a:p>
                  </a:txBody>
                  <a:tcPr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7000"/>
                        </a:lnSpc>
                        <a:spcBef>
                          <a:spcPts val="200"/>
                        </a:spcBef>
                        <a:spcAft>
                          <a:spcPts val="200"/>
                        </a:spcAft>
                      </a:pPr>
                      <a:r>
                        <a:rPr lang="en-GB" sz="1800" noProof="0" dirty="0">
                          <a:effectLst/>
                          <a:latin typeface="+mn-lt"/>
                        </a:rPr>
                        <a:t>63%</a:t>
                      </a:r>
                    </a:p>
                  </a:txBody>
                  <a:tcPr anchor="ctr"/>
                </a:tc>
                <a:extLst>
                  <a:ext uri="{0D108BD9-81ED-4DB2-BD59-A6C34878D82A}">
                    <a16:rowId xmlns:a16="http://schemas.microsoft.com/office/drawing/2014/main" val="10002"/>
                  </a:ext>
                </a:extLst>
              </a:tr>
              <a:tr h="222274">
                <a:tc>
                  <a:txBody>
                    <a:bodyPr/>
                    <a:lstStyle/>
                    <a:p>
                      <a:pPr marL="117475" marR="0" lvl="0" indent="0" algn="l" defTabSz="685800" rtl="0" eaLnBrk="1" fontAlgn="auto" latinLnBrk="0" hangingPunct="1">
                        <a:lnSpc>
                          <a:spcPct val="107000"/>
                        </a:lnSpc>
                        <a:spcBef>
                          <a:spcPts val="200"/>
                        </a:spcBef>
                        <a:spcAft>
                          <a:spcPts val="200"/>
                        </a:spcAft>
                        <a:buClrTx/>
                        <a:buSzTx/>
                        <a:buFontTx/>
                        <a:buNone/>
                        <a:tabLst/>
                        <a:defRPr/>
                      </a:pPr>
                      <a:r>
                        <a:rPr lang="en-GB" sz="1800" noProof="0" dirty="0">
                          <a:effectLst/>
                          <a:latin typeface="+mn-lt"/>
                        </a:rPr>
                        <a:t>Grade ≥ 3</a:t>
                      </a:r>
                      <a:r>
                        <a:rPr lang="en-GB" sz="1800" baseline="0" noProof="0" dirty="0">
                          <a:effectLst/>
                          <a:latin typeface="+mn-lt"/>
                        </a:rPr>
                        <a:t> ICANS</a:t>
                      </a:r>
                      <a:endParaRPr lang="en-GB" sz="1800" kern="1200" noProof="0" dirty="0">
                        <a:effectLst/>
                        <a:latin typeface="+mn-lt"/>
                      </a:endParaRPr>
                    </a:p>
                  </a:txBody>
                  <a:tcPr anchor="ctr"/>
                </a:tc>
                <a:tc>
                  <a:txBody>
                    <a:bodyPr/>
                    <a:lstStyle/>
                    <a:p>
                      <a:pPr marL="0" marR="0" lvl="0" indent="0" algn="ctr" defTabSz="685800" rtl="0" eaLnBrk="1" fontAlgn="auto" latinLnBrk="0" hangingPunct="1">
                        <a:lnSpc>
                          <a:spcPct val="107000"/>
                        </a:lnSpc>
                        <a:spcBef>
                          <a:spcPts val="200"/>
                        </a:spcBef>
                        <a:spcAft>
                          <a:spcPts val="200"/>
                        </a:spcAft>
                        <a:buClrTx/>
                        <a:buSzTx/>
                        <a:buFontTx/>
                        <a:buNone/>
                        <a:tabLst/>
                        <a:defRPr/>
                      </a:pPr>
                      <a:r>
                        <a:rPr kumimoji="0" lang="en-GB" sz="1800" u="none" strike="noStrike" kern="1200" cap="none" spc="0" normalizeH="0" baseline="0" noProof="0" dirty="0">
                          <a:ln>
                            <a:noFill/>
                          </a:ln>
                          <a:effectLst/>
                          <a:uLnTx/>
                          <a:uFillTx/>
                          <a:latin typeface="+mn-lt"/>
                        </a:rPr>
                        <a:t>31%</a:t>
                      </a:r>
                      <a:endParaRPr lang="en-GB" sz="1800" noProof="0" dirty="0">
                        <a:solidFill>
                          <a:schemeClr val="tx1"/>
                        </a:solidFill>
                        <a:effectLst/>
                        <a:latin typeface="+mn-lt"/>
                        <a:ea typeface="Times New Roman" panose="02020603050405020304" pitchFamily="18" charset="0"/>
                      </a:endParaRPr>
                    </a:p>
                  </a:txBody>
                  <a:tcPr anchor="ctr"/>
                </a:tc>
                <a:extLst>
                  <a:ext uri="{0D108BD9-81ED-4DB2-BD59-A6C34878D82A}">
                    <a16:rowId xmlns:a16="http://schemas.microsoft.com/office/drawing/2014/main" val="3390381996"/>
                  </a:ext>
                </a:extLst>
              </a:tr>
            </a:tbl>
          </a:graphicData>
        </a:graphic>
      </p:graphicFrame>
    </p:spTree>
    <p:extLst>
      <p:ext uri="{BB962C8B-B14F-4D97-AF65-F5344CB8AC3E}">
        <p14:creationId xmlns:p14="http://schemas.microsoft.com/office/powerpoint/2010/main" val="15663192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84C799-E5FF-96D4-D147-B3BD8303989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2A08332-B3A3-96A7-78D9-ADBCFB44E79D}"/>
              </a:ext>
            </a:extLst>
          </p:cNvPr>
          <p:cNvSpPr>
            <a:spLocks noGrp="1"/>
          </p:cNvSpPr>
          <p:nvPr>
            <p:ph type="title"/>
          </p:nvPr>
        </p:nvSpPr>
        <p:spPr>
          <a:xfrm>
            <a:off x="348464" y="180749"/>
            <a:ext cx="10902950" cy="662924"/>
          </a:xfrm>
        </p:spPr>
        <p:txBody>
          <a:bodyPr/>
          <a:lstStyle/>
          <a:p>
            <a:r>
              <a:rPr lang="en-US" dirty="0"/>
              <a:t>Real world evidence for </a:t>
            </a:r>
            <a:r>
              <a:rPr lang="en-US" dirty="0" err="1"/>
              <a:t>Brexu</a:t>
            </a:r>
            <a:r>
              <a:rPr lang="en-US" dirty="0"/>
              <a:t>-cel in MCL from CIBMTR</a:t>
            </a:r>
          </a:p>
        </p:txBody>
      </p:sp>
      <p:sp>
        <p:nvSpPr>
          <p:cNvPr id="4" name="Slide Number Placeholder 3">
            <a:extLst>
              <a:ext uri="{FF2B5EF4-FFF2-40B4-BE49-F238E27FC236}">
                <a16:creationId xmlns:a16="http://schemas.microsoft.com/office/drawing/2014/main" id="{4D17DCDF-F84A-321C-E14D-99414DA94333}"/>
              </a:ext>
            </a:extLst>
          </p:cNvPr>
          <p:cNvSpPr txBox="1">
            <a:spLocks/>
          </p:cNvSpPr>
          <p:nvPr/>
        </p:nvSpPr>
        <p:spPr>
          <a:xfrm>
            <a:off x="28977" y="6643248"/>
            <a:ext cx="4567401" cy="21475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ＭＳ Ｐゴシック"/>
                <a:cs typeface="Arial"/>
              </a:rPr>
              <a:t>Ahmed, at al. Blood Adv 2024</a:t>
            </a:r>
          </a:p>
        </p:txBody>
      </p:sp>
      <p:graphicFrame>
        <p:nvGraphicFramePr>
          <p:cNvPr id="5" name="Table 4">
            <a:extLst>
              <a:ext uri="{FF2B5EF4-FFF2-40B4-BE49-F238E27FC236}">
                <a16:creationId xmlns:a16="http://schemas.microsoft.com/office/drawing/2014/main" id="{A0C96BA6-EDA4-2E2E-3CEF-DE752F6DFE79}"/>
              </a:ext>
            </a:extLst>
          </p:cNvPr>
          <p:cNvGraphicFramePr>
            <a:graphicFrameLocks noGrp="1"/>
          </p:cNvGraphicFramePr>
          <p:nvPr/>
        </p:nvGraphicFramePr>
        <p:xfrm>
          <a:off x="240494" y="985096"/>
          <a:ext cx="4832680" cy="2424240"/>
        </p:xfrm>
        <a:graphic>
          <a:graphicData uri="http://schemas.openxmlformats.org/drawingml/2006/table">
            <a:tbl>
              <a:tblPr firstRow="1" bandRow="1">
                <a:tableStyleId>{21E4AEA4-8DFA-4A89-87EB-49C32662AFE0}</a:tableStyleId>
              </a:tblPr>
              <a:tblGrid>
                <a:gridCol w="3409826">
                  <a:extLst>
                    <a:ext uri="{9D8B030D-6E8A-4147-A177-3AD203B41FA5}">
                      <a16:colId xmlns:a16="http://schemas.microsoft.com/office/drawing/2014/main" val="20000"/>
                    </a:ext>
                  </a:extLst>
                </a:gridCol>
                <a:gridCol w="1422854">
                  <a:extLst>
                    <a:ext uri="{9D8B030D-6E8A-4147-A177-3AD203B41FA5}">
                      <a16:colId xmlns:a16="http://schemas.microsoft.com/office/drawing/2014/main" val="20001"/>
                    </a:ext>
                  </a:extLst>
                </a:gridCol>
              </a:tblGrid>
              <a:tr h="215676">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0000"/>
                        </a:lnSpc>
                        <a:spcBef>
                          <a:spcPts val="0"/>
                        </a:spcBef>
                        <a:spcAft>
                          <a:spcPts val="0"/>
                        </a:spcAft>
                      </a:pPr>
                      <a:r>
                        <a:rPr lang="en-GB" sz="1800" noProof="0" dirty="0">
                          <a:solidFill>
                            <a:schemeClr val="bg1"/>
                          </a:solidFill>
                          <a:effectLst/>
                          <a:latin typeface="+mn-lt"/>
                        </a:rPr>
                        <a:t>Characteristics</a:t>
                      </a:r>
                      <a:endParaRPr lang="en-GB" sz="1800" b="1" noProof="0" dirty="0">
                        <a:solidFill>
                          <a:schemeClr val="bg1"/>
                        </a:solidFill>
                        <a:effectLst/>
                        <a:latin typeface="+mn-lt"/>
                        <a:ea typeface="Times New Roman" panose="02020603050405020304" pitchFamily="18" charset="0"/>
                      </a:endParaRPr>
                    </a:p>
                  </a:txBody>
                  <a:tcPr marT="36000" marB="3600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aseline="0" noProof="0" dirty="0">
                          <a:solidFill>
                            <a:schemeClr val="bg1"/>
                          </a:solidFill>
                          <a:effectLst/>
                          <a:latin typeface="+mn-lt"/>
                        </a:rPr>
                        <a:t>n = 476</a:t>
                      </a:r>
                      <a:endParaRPr lang="en-GB" sz="1800" b="1" baseline="0" noProof="0" dirty="0">
                        <a:solidFill>
                          <a:schemeClr val="bg1"/>
                        </a:solidFill>
                        <a:effectLst/>
                        <a:latin typeface="+mn-lt"/>
                        <a:ea typeface="Times New Roman" panose="02020603050405020304" pitchFamily="18" charset="0"/>
                      </a:endParaRPr>
                    </a:p>
                  </a:txBody>
                  <a:tcPr marT="36000" marB="36000" anchor="ctr"/>
                </a:tc>
                <a:extLst>
                  <a:ext uri="{0D108BD9-81ED-4DB2-BD59-A6C34878D82A}">
                    <a16:rowId xmlns:a16="http://schemas.microsoft.com/office/drawing/2014/main" val="10000"/>
                  </a:ext>
                </a:extLst>
              </a:tr>
              <a:tr h="215676">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0000"/>
                        </a:lnSpc>
                        <a:spcBef>
                          <a:spcPts val="0"/>
                        </a:spcBef>
                        <a:spcAft>
                          <a:spcPts val="0"/>
                        </a:spcAft>
                      </a:pPr>
                      <a:r>
                        <a:rPr lang="en-GB" sz="1800" noProof="0" dirty="0">
                          <a:solidFill>
                            <a:schemeClr val="tx1"/>
                          </a:solidFill>
                          <a:effectLst/>
                          <a:latin typeface="+mn-lt"/>
                        </a:rPr>
                        <a:t>Median age</a:t>
                      </a:r>
                      <a:endParaRPr lang="en-GB" sz="1800" b="1" noProof="0" dirty="0">
                        <a:solidFill>
                          <a:schemeClr val="tx1"/>
                        </a:solidFill>
                        <a:effectLst/>
                        <a:latin typeface="+mn-lt"/>
                        <a:ea typeface="Times New Roman" panose="02020603050405020304" pitchFamily="18" charset="0"/>
                      </a:endParaRPr>
                    </a:p>
                  </a:txBody>
                  <a:tcPr marT="36000" marB="3600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0"/>
                        </a:spcAft>
                      </a:pPr>
                      <a:r>
                        <a:rPr lang="en-GB" sz="1800" noProof="0" dirty="0">
                          <a:solidFill>
                            <a:schemeClr val="tx1"/>
                          </a:solidFill>
                          <a:effectLst/>
                          <a:latin typeface="+mn-lt"/>
                        </a:rPr>
                        <a:t>67 (34-85)</a:t>
                      </a:r>
                      <a:endParaRPr lang="en-GB" sz="1800" noProof="0" dirty="0">
                        <a:solidFill>
                          <a:schemeClr val="tx1"/>
                        </a:solidFill>
                        <a:effectLst/>
                        <a:latin typeface="+mn-lt"/>
                        <a:ea typeface="Times New Roman" panose="02020603050405020304" pitchFamily="18" charset="0"/>
                      </a:endParaRPr>
                    </a:p>
                  </a:txBody>
                  <a:tcPr marT="36000" marB="36000" anchor="ctr"/>
                </a:tc>
                <a:extLst>
                  <a:ext uri="{0D108BD9-81ED-4DB2-BD59-A6C34878D82A}">
                    <a16:rowId xmlns:a16="http://schemas.microsoft.com/office/drawing/2014/main" val="10001"/>
                  </a:ext>
                </a:extLst>
              </a:tr>
              <a:tr h="215676">
                <a:tc>
                  <a:txBody>
                    <a:bodyPr/>
                    <a:lstStyle/>
                    <a:p>
                      <a:pPr marL="0" marR="0">
                        <a:lnSpc>
                          <a:spcPct val="100000"/>
                        </a:lnSpc>
                        <a:spcBef>
                          <a:spcPts val="0"/>
                        </a:spcBef>
                        <a:spcAft>
                          <a:spcPts val="0"/>
                        </a:spcAft>
                      </a:pPr>
                      <a:r>
                        <a:rPr lang="en-GB" sz="1800" b="0" i="1" noProof="0" dirty="0">
                          <a:solidFill>
                            <a:schemeClr val="tx1"/>
                          </a:solidFill>
                          <a:effectLst/>
                          <a:latin typeface="+mn-lt"/>
                          <a:ea typeface="Times New Roman" panose="02020603050405020304" pitchFamily="18" charset="0"/>
                        </a:rPr>
                        <a:t>TP53</a:t>
                      </a:r>
                      <a:r>
                        <a:rPr lang="en-GB" sz="1800" b="0" noProof="0" dirty="0">
                          <a:solidFill>
                            <a:schemeClr val="tx1"/>
                          </a:solidFill>
                          <a:effectLst/>
                          <a:latin typeface="+mn-lt"/>
                          <a:ea typeface="Times New Roman" panose="02020603050405020304" pitchFamily="18" charset="0"/>
                        </a:rPr>
                        <a:t> mutated</a:t>
                      </a:r>
                    </a:p>
                  </a:txBody>
                  <a:tcPr marT="36000" marB="36000" anchor="ctr"/>
                </a:tc>
                <a:tc>
                  <a:txBody>
                    <a:bodyPr/>
                    <a:lstStyle/>
                    <a:p>
                      <a:pPr marL="0" marR="0" algn="ctr">
                        <a:lnSpc>
                          <a:spcPct val="100000"/>
                        </a:lnSpc>
                        <a:spcBef>
                          <a:spcPts val="0"/>
                        </a:spcBef>
                        <a:spcAft>
                          <a:spcPts val="0"/>
                        </a:spcAft>
                      </a:pPr>
                      <a:r>
                        <a:rPr lang="en-GB" sz="1800" b="0" noProof="0" dirty="0">
                          <a:solidFill>
                            <a:schemeClr val="tx1"/>
                          </a:solidFill>
                          <a:effectLst/>
                          <a:latin typeface="+mn-lt"/>
                          <a:ea typeface="Times New Roman" panose="02020603050405020304" pitchFamily="18" charset="0"/>
                        </a:rPr>
                        <a:t>19%</a:t>
                      </a:r>
                    </a:p>
                  </a:txBody>
                  <a:tcPr marT="36000" marB="36000" anchor="ctr"/>
                </a:tc>
                <a:extLst>
                  <a:ext uri="{0D108BD9-81ED-4DB2-BD59-A6C34878D82A}">
                    <a16:rowId xmlns:a16="http://schemas.microsoft.com/office/drawing/2014/main" val="2537663646"/>
                  </a:ext>
                </a:extLst>
              </a:tr>
              <a:tr h="215676">
                <a:tc>
                  <a:txBody>
                    <a:bodyPr/>
                    <a:lstStyle/>
                    <a:p>
                      <a:pPr marL="0" marR="0">
                        <a:lnSpc>
                          <a:spcPct val="100000"/>
                        </a:lnSpc>
                        <a:spcBef>
                          <a:spcPts val="0"/>
                        </a:spcBef>
                        <a:spcAft>
                          <a:spcPts val="0"/>
                        </a:spcAft>
                      </a:pPr>
                      <a:r>
                        <a:rPr lang="en-GB" sz="1800" b="0" noProof="0" dirty="0">
                          <a:solidFill>
                            <a:schemeClr val="tx1"/>
                          </a:solidFill>
                          <a:effectLst/>
                          <a:latin typeface="+mn-lt"/>
                          <a:ea typeface="Times New Roman" panose="02020603050405020304" pitchFamily="18" charset="0"/>
                        </a:rPr>
                        <a:t>KI67 ≥ 30%</a:t>
                      </a:r>
                    </a:p>
                  </a:txBody>
                  <a:tcPr marT="36000" marB="36000" anchor="ctr"/>
                </a:tc>
                <a:tc>
                  <a:txBody>
                    <a:bodyPr/>
                    <a:lstStyle/>
                    <a:p>
                      <a:pPr marL="0" marR="0" algn="ctr">
                        <a:lnSpc>
                          <a:spcPct val="100000"/>
                        </a:lnSpc>
                        <a:spcBef>
                          <a:spcPts val="0"/>
                        </a:spcBef>
                        <a:spcAft>
                          <a:spcPts val="0"/>
                        </a:spcAft>
                      </a:pPr>
                      <a:r>
                        <a:rPr lang="en-GB" sz="1800" b="0" noProof="0" dirty="0">
                          <a:solidFill>
                            <a:schemeClr val="tx1"/>
                          </a:solidFill>
                          <a:effectLst/>
                          <a:latin typeface="+mn-lt"/>
                          <a:ea typeface="Times New Roman" panose="02020603050405020304" pitchFamily="18" charset="0"/>
                        </a:rPr>
                        <a:t>68%</a:t>
                      </a:r>
                    </a:p>
                  </a:txBody>
                  <a:tcPr marT="36000" marB="36000" anchor="ctr"/>
                </a:tc>
                <a:extLst>
                  <a:ext uri="{0D108BD9-81ED-4DB2-BD59-A6C34878D82A}">
                    <a16:rowId xmlns:a16="http://schemas.microsoft.com/office/drawing/2014/main" val="4041066933"/>
                  </a:ext>
                </a:extLst>
              </a:tr>
              <a:tr h="215676">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0000"/>
                        </a:lnSpc>
                        <a:spcBef>
                          <a:spcPts val="0"/>
                        </a:spcBef>
                        <a:spcAft>
                          <a:spcPts val="0"/>
                        </a:spcAft>
                      </a:pPr>
                      <a:r>
                        <a:rPr lang="en-GB" sz="1800" noProof="0" dirty="0">
                          <a:solidFill>
                            <a:schemeClr val="tx1"/>
                          </a:solidFill>
                          <a:effectLst/>
                          <a:latin typeface="+mn-lt"/>
                        </a:rPr>
                        <a:t>Median no. of prior treatments</a:t>
                      </a:r>
                    </a:p>
                  </a:txBody>
                  <a:tcPr marT="36000" marB="3600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0"/>
                        </a:spcAft>
                      </a:pPr>
                      <a:r>
                        <a:rPr lang="en-GB" sz="1800" noProof="0" dirty="0">
                          <a:solidFill>
                            <a:schemeClr val="tx1"/>
                          </a:solidFill>
                          <a:effectLst/>
                          <a:latin typeface="+mn-lt"/>
                        </a:rPr>
                        <a:t>4 (1-12)</a:t>
                      </a:r>
                      <a:endParaRPr lang="en-GB" sz="1800" kern="1200" noProof="0" dirty="0">
                        <a:solidFill>
                          <a:schemeClr val="tx1"/>
                        </a:solidFill>
                        <a:effectLst/>
                        <a:latin typeface="+mn-lt"/>
                      </a:endParaRPr>
                    </a:p>
                  </a:txBody>
                  <a:tcPr marT="36000" marB="36000" anchor="ctr"/>
                </a:tc>
                <a:extLst>
                  <a:ext uri="{0D108BD9-81ED-4DB2-BD59-A6C34878D82A}">
                    <a16:rowId xmlns:a16="http://schemas.microsoft.com/office/drawing/2014/main" val="10002"/>
                  </a:ext>
                </a:extLst>
              </a:tr>
              <a:tr h="215676">
                <a:tc>
                  <a:txBody>
                    <a:bodyPr/>
                    <a:lstStyle/>
                    <a:p>
                      <a:pPr marL="117475" marR="0" lvl="1" indent="0" algn="l" defTabSz="685800" rtl="0" eaLnBrk="1" fontAlgn="auto" latinLnBrk="0" hangingPunct="1">
                        <a:lnSpc>
                          <a:spcPct val="100000"/>
                        </a:lnSpc>
                        <a:spcBef>
                          <a:spcPts val="0"/>
                        </a:spcBef>
                        <a:spcAft>
                          <a:spcPts val="0"/>
                        </a:spcAft>
                        <a:buClrTx/>
                        <a:buSzTx/>
                        <a:buFontTx/>
                        <a:buNone/>
                        <a:tabLst/>
                        <a:defRPr/>
                      </a:pPr>
                      <a:r>
                        <a:rPr kumimoji="0" lang="en-GB" sz="1800" u="none" strike="noStrike" kern="1200" cap="none" spc="0" normalizeH="0" baseline="0" noProof="0" dirty="0">
                          <a:ln>
                            <a:noFill/>
                          </a:ln>
                          <a:solidFill>
                            <a:schemeClr val="tx1"/>
                          </a:solidFill>
                          <a:effectLst/>
                          <a:uLnTx/>
                          <a:uFillTx/>
                          <a:latin typeface="+mn-lt"/>
                        </a:rPr>
                        <a:t>Prior BTKi</a:t>
                      </a:r>
                      <a:endParaRPr lang="en-GB" sz="1800" b="1" noProof="0" dirty="0">
                        <a:solidFill>
                          <a:schemeClr val="tx1"/>
                        </a:solidFill>
                        <a:latin typeface="+mn-lt"/>
                      </a:endParaRPr>
                    </a:p>
                  </a:txBody>
                  <a:tcPr marT="36000" marB="36000" anchor="ctr"/>
                </a:tc>
                <a:tc>
                  <a:txBody>
                    <a:bodyPr/>
                    <a:lstStyle/>
                    <a:p>
                      <a:pPr marL="0" marR="0" lvl="0" indent="0" algn="ctr" defTabSz="4551243" rtl="0" eaLnBrk="1" fontAlgn="auto" latinLnBrk="0" hangingPunct="1">
                        <a:lnSpc>
                          <a:spcPct val="100000"/>
                        </a:lnSpc>
                        <a:spcBef>
                          <a:spcPts val="0"/>
                        </a:spcBef>
                        <a:spcAft>
                          <a:spcPts val="0"/>
                        </a:spcAft>
                        <a:buClrTx/>
                        <a:buSzTx/>
                        <a:buFontTx/>
                        <a:buNone/>
                        <a:tabLst/>
                        <a:defRPr/>
                      </a:pPr>
                      <a:r>
                        <a:rPr lang="en-GB" sz="1800" kern="1200" noProof="0" dirty="0">
                          <a:solidFill>
                            <a:schemeClr val="tx1"/>
                          </a:solidFill>
                          <a:effectLst/>
                          <a:latin typeface="+mn-lt"/>
                        </a:rPr>
                        <a:t>88%</a:t>
                      </a:r>
                      <a:endParaRPr lang="en-GB" sz="1800" noProof="0" dirty="0">
                        <a:solidFill>
                          <a:schemeClr val="tx1"/>
                        </a:solidFill>
                        <a:effectLst/>
                        <a:latin typeface="+mn-lt"/>
                        <a:ea typeface="Times New Roman" panose="02020603050405020304" pitchFamily="18" charset="0"/>
                      </a:endParaRPr>
                    </a:p>
                  </a:txBody>
                  <a:tcPr marT="36000" marB="36000" anchor="ctr"/>
                </a:tc>
                <a:extLst>
                  <a:ext uri="{0D108BD9-81ED-4DB2-BD59-A6C34878D82A}">
                    <a16:rowId xmlns:a16="http://schemas.microsoft.com/office/drawing/2014/main" val="3168482319"/>
                  </a:ext>
                </a:extLst>
              </a:tr>
              <a:tr h="215676">
                <a:tc>
                  <a:txBody>
                    <a:bodyPr/>
                    <a:lstStyle/>
                    <a:p>
                      <a:pPr marL="115888" marR="0" lvl="1" indent="0" algn="l" defTabSz="685800" rtl="0" eaLnBrk="1" fontAlgn="auto" latinLnBrk="0" hangingPunct="1">
                        <a:lnSpc>
                          <a:spcPct val="100000"/>
                        </a:lnSpc>
                        <a:spcBef>
                          <a:spcPts val="0"/>
                        </a:spcBef>
                        <a:spcAft>
                          <a:spcPts val="0"/>
                        </a:spcAft>
                        <a:buClrTx/>
                        <a:buSzTx/>
                        <a:buFontTx/>
                        <a:buNone/>
                        <a:tabLst/>
                        <a:defRPr/>
                      </a:pPr>
                      <a:r>
                        <a:rPr kumimoji="0" lang="en-GB" sz="1800" u="none" strike="noStrike" kern="1200" cap="none" spc="0" normalizeH="0" baseline="0" noProof="0" dirty="0">
                          <a:ln>
                            <a:noFill/>
                          </a:ln>
                          <a:solidFill>
                            <a:schemeClr val="tx1"/>
                          </a:solidFill>
                          <a:effectLst/>
                          <a:uLnTx/>
                          <a:uFillTx/>
                          <a:latin typeface="+mn-lt"/>
                        </a:rPr>
                        <a:t>Prior ASCT</a:t>
                      </a:r>
                      <a:endParaRPr lang="en-GB" sz="1800" b="1" noProof="0" dirty="0">
                        <a:solidFill>
                          <a:schemeClr val="tx1"/>
                        </a:solidFill>
                        <a:latin typeface="+mn-lt"/>
                      </a:endParaRPr>
                    </a:p>
                  </a:txBody>
                  <a:tcPr marT="36000" marB="36000" anchor="ctr"/>
                </a:tc>
                <a:tc>
                  <a:txBody>
                    <a:bodyPr/>
                    <a:lstStyle/>
                    <a:p>
                      <a:pPr marL="0" marR="0" lvl="0" indent="0" algn="ctr" defTabSz="4551243" rtl="0" eaLnBrk="1" fontAlgn="auto" latinLnBrk="0" hangingPunct="1">
                        <a:lnSpc>
                          <a:spcPct val="100000"/>
                        </a:lnSpc>
                        <a:spcBef>
                          <a:spcPts val="0"/>
                        </a:spcBef>
                        <a:spcAft>
                          <a:spcPts val="0"/>
                        </a:spcAft>
                        <a:buClrTx/>
                        <a:buSzTx/>
                        <a:buFontTx/>
                        <a:buNone/>
                        <a:tabLst/>
                        <a:defRPr/>
                      </a:pPr>
                      <a:r>
                        <a:rPr lang="en-GB" sz="1800" kern="1200" noProof="0" dirty="0">
                          <a:solidFill>
                            <a:schemeClr val="tx1"/>
                          </a:solidFill>
                          <a:effectLst/>
                          <a:latin typeface="+mn-lt"/>
                        </a:rPr>
                        <a:t>30%</a:t>
                      </a:r>
                      <a:endParaRPr lang="en-GB" sz="1800" noProof="0" dirty="0">
                        <a:solidFill>
                          <a:schemeClr val="tx1"/>
                        </a:solidFill>
                        <a:effectLst/>
                        <a:latin typeface="+mn-lt"/>
                        <a:ea typeface="Times New Roman" panose="02020603050405020304" pitchFamily="18" charset="0"/>
                      </a:endParaRPr>
                    </a:p>
                  </a:txBody>
                  <a:tcPr marT="36000" marB="36000" anchor="ctr"/>
                </a:tc>
                <a:extLst>
                  <a:ext uri="{0D108BD9-81ED-4DB2-BD59-A6C34878D82A}">
                    <a16:rowId xmlns:a16="http://schemas.microsoft.com/office/drawing/2014/main" val="3494454191"/>
                  </a:ext>
                </a:extLst>
              </a:tr>
            </a:tbl>
          </a:graphicData>
        </a:graphic>
      </p:graphicFrame>
      <p:graphicFrame>
        <p:nvGraphicFramePr>
          <p:cNvPr id="6" name="Table 5">
            <a:extLst>
              <a:ext uri="{FF2B5EF4-FFF2-40B4-BE49-F238E27FC236}">
                <a16:creationId xmlns:a16="http://schemas.microsoft.com/office/drawing/2014/main" id="{B4F824BA-0FB0-1DFB-D4E4-28205F8653A8}"/>
              </a:ext>
            </a:extLst>
          </p:cNvPr>
          <p:cNvGraphicFramePr>
            <a:graphicFrameLocks noGrp="1"/>
          </p:cNvGraphicFramePr>
          <p:nvPr/>
        </p:nvGraphicFramePr>
        <p:xfrm>
          <a:off x="8440422" y="1018960"/>
          <a:ext cx="3318516" cy="2231520"/>
        </p:xfrm>
        <a:graphic>
          <a:graphicData uri="http://schemas.openxmlformats.org/drawingml/2006/table">
            <a:tbl>
              <a:tblPr firstRow="1" bandRow="1">
                <a:tableStyleId>{21E4AEA4-8DFA-4A89-87EB-49C32662AFE0}</a:tableStyleId>
              </a:tblPr>
              <a:tblGrid>
                <a:gridCol w="2339830">
                  <a:extLst>
                    <a:ext uri="{9D8B030D-6E8A-4147-A177-3AD203B41FA5}">
                      <a16:colId xmlns:a16="http://schemas.microsoft.com/office/drawing/2014/main" val="20000"/>
                    </a:ext>
                  </a:extLst>
                </a:gridCol>
                <a:gridCol w="978686">
                  <a:extLst>
                    <a:ext uri="{9D8B030D-6E8A-4147-A177-3AD203B41FA5}">
                      <a16:colId xmlns:a16="http://schemas.microsoft.com/office/drawing/2014/main" val="20001"/>
                    </a:ext>
                  </a:extLst>
                </a:gridCol>
              </a:tblGrid>
              <a:tr h="27305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7000"/>
                        </a:lnSpc>
                        <a:spcBef>
                          <a:spcPts val="200"/>
                        </a:spcBef>
                        <a:spcAft>
                          <a:spcPts val="200"/>
                        </a:spcAft>
                      </a:pPr>
                      <a:r>
                        <a:rPr lang="en-GB" sz="1800" noProof="0" dirty="0">
                          <a:solidFill>
                            <a:schemeClr val="bg1"/>
                          </a:solidFill>
                          <a:effectLst/>
                          <a:latin typeface="+mn-lt"/>
                        </a:rPr>
                        <a:t>Toxicity</a:t>
                      </a:r>
                      <a:endParaRPr lang="en-GB" sz="1800" b="1" noProof="0" dirty="0">
                        <a:solidFill>
                          <a:schemeClr val="bg1"/>
                        </a:solidFill>
                        <a:effectLst/>
                        <a:latin typeface="+mn-lt"/>
                        <a:ea typeface="Times New Roman" panose="02020603050405020304" pitchFamily="18" charset="0"/>
                      </a:endParaRPr>
                    </a:p>
                  </a:txBody>
                  <a:tcPr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7000"/>
                        </a:lnSpc>
                        <a:spcBef>
                          <a:spcPts val="200"/>
                        </a:spcBef>
                        <a:spcAft>
                          <a:spcPts val="200"/>
                        </a:spcAft>
                        <a:buClrTx/>
                        <a:buSzTx/>
                        <a:buFontTx/>
                        <a:buNone/>
                        <a:tabLst/>
                        <a:defRPr/>
                      </a:pPr>
                      <a:endParaRPr lang="en-GB" sz="1800" b="1" baseline="0" noProof="0" dirty="0">
                        <a:solidFill>
                          <a:schemeClr val="tx2"/>
                        </a:solidFill>
                        <a:effectLst/>
                        <a:latin typeface="+mn-lt"/>
                        <a:ea typeface="Times New Roman" panose="02020603050405020304" pitchFamily="18" charset="0"/>
                      </a:endParaRPr>
                    </a:p>
                  </a:txBody>
                  <a:tcPr anchor="ctr"/>
                </a:tc>
                <a:extLst>
                  <a:ext uri="{0D108BD9-81ED-4DB2-BD59-A6C34878D82A}">
                    <a16:rowId xmlns:a16="http://schemas.microsoft.com/office/drawing/2014/main" val="10000"/>
                  </a:ext>
                </a:extLst>
              </a:tr>
              <a:tr h="238617">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7000"/>
                        </a:lnSpc>
                        <a:spcBef>
                          <a:spcPts val="200"/>
                        </a:spcBef>
                        <a:spcAft>
                          <a:spcPts val="200"/>
                        </a:spcAft>
                      </a:pPr>
                      <a:r>
                        <a:rPr lang="en-GB" sz="1800" noProof="0" dirty="0">
                          <a:effectLst/>
                          <a:latin typeface="+mn-lt"/>
                        </a:rPr>
                        <a:t>Any-grade CRS</a:t>
                      </a:r>
                    </a:p>
                  </a:txBody>
                  <a:tcPr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7000"/>
                        </a:lnSpc>
                        <a:spcBef>
                          <a:spcPts val="200"/>
                        </a:spcBef>
                        <a:spcAft>
                          <a:spcPts val="200"/>
                        </a:spcAft>
                      </a:pPr>
                      <a:r>
                        <a:rPr lang="en-GB" sz="1800" noProof="0" dirty="0">
                          <a:effectLst/>
                          <a:latin typeface="+mn-lt"/>
                        </a:rPr>
                        <a:t>89%</a:t>
                      </a:r>
                    </a:p>
                  </a:txBody>
                  <a:tcPr anchor="ctr"/>
                </a:tc>
                <a:extLst>
                  <a:ext uri="{0D108BD9-81ED-4DB2-BD59-A6C34878D82A}">
                    <a16:rowId xmlns:a16="http://schemas.microsoft.com/office/drawing/2014/main" val="10001"/>
                  </a:ext>
                </a:extLst>
              </a:tr>
              <a:tr h="238617">
                <a:tc>
                  <a:txBody>
                    <a:bodyPr/>
                    <a:lstStyle/>
                    <a:p>
                      <a:pPr marL="117475" marR="0" lvl="0" indent="0" algn="l" defTabSz="685800" rtl="0" eaLnBrk="1" fontAlgn="auto" latinLnBrk="0" hangingPunct="1">
                        <a:lnSpc>
                          <a:spcPct val="107000"/>
                        </a:lnSpc>
                        <a:spcBef>
                          <a:spcPts val="200"/>
                        </a:spcBef>
                        <a:spcAft>
                          <a:spcPts val="200"/>
                        </a:spcAft>
                        <a:buClrTx/>
                        <a:buSzTx/>
                        <a:buFontTx/>
                        <a:buNone/>
                        <a:tabLst/>
                        <a:defRPr/>
                      </a:pPr>
                      <a:r>
                        <a:rPr lang="en-GB" sz="1800" noProof="0" dirty="0">
                          <a:effectLst/>
                          <a:latin typeface="+mn-lt"/>
                        </a:rPr>
                        <a:t>Grade ≥ 3</a:t>
                      </a:r>
                      <a:r>
                        <a:rPr lang="en-GB" sz="1800" baseline="0" noProof="0" dirty="0">
                          <a:effectLst/>
                          <a:latin typeface="+mn-lt"/>
                        </a:rPr>
                        <a:t> </a:t>
                      </a:r>
                      <a:r>
                        <a:rPr lang="en-GB" sz="1800" noProof="0" dirty="0">
                          <a:effectLst/>
                          <a:latin typeface="+mn-lt"/>
                        </a:rPr>
                        <a:t>CRS</a:t>
                      </a:r>
                      <a:endParaRPr lang="en-GB" sz="1800" kern="1200" noProof="0" dirty="0">
                        <a:effectLst/>
                        <a:latin typeface="+mn-lt"/>
                      </a:endParaRPr>
                    </a:p>
                  </a:txBody>
                  <a:tcPr anchor="ctr"/>
                </a:tc>
                <a:tc>
                  <a:txBody>
                    <a:bodyPr/>
                    <a:lstStyle/>
                    <a:p>
                      <a:pPr marL="0" marR="0" lvl="0" indent="0" algn="ctr" defTabSz="685800" rtl="0" eaLnBrk="1" fontAlgn="auto" latinLnBrk="0" hangingPunct="1">
                        <a:lnSpc>
                          <a:spcPct val="107000"/>
                        </a:lnSpc>
                        <a:spcBef>
                          <a:spcPts val="200"/>
                        </a:spcBef>
                        <a:spcAft>
                          <a:spcPts val="200"/>
                        </a:spcAft>
                        <a:buClrTx/>
                        <a:buSzTx/>
                        <a:buFontTx/>
                        <a:buNone/>
                        <a:tabLst/>
                        <a:defRPr/>
                      </a:pPr>
                      <a:r>
                        <a:rPr lang="en-GB" sz="1800" noProof="0" dirty="0">
                          <a:effectLst/>
                          <a:latin typeface="+mn-lt"/>
                        </a:rPr>
                        <a:t>11%</a:t>
                      </a:r>
                    </a:p>
                  </a:txBody>
                  <a:tcPr anchor="ctr"/>
                </a:tc>
                <a:extLst>
                  <a:ext uri="{0D108BD9-81ED-4DB2-BD59-A6C34878D82A}">
                    <a16:rowId xmlns:a16="http://schemas.microsoft.com/office/drawing/2014/main" val="2778240074"/>
                  </a:ext>
                </a:extLst>
              </a:tr>
              <a:tr h="238617">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7000"/>
                        </a:lnSpc>
                        <a:spcBef>
                          <a:spcPts val="200"/>
                        </a:spcBef>
                        <a:spcAft>
                          <a:spcPts val="200"/>
                        </a:spcAft>
                      </a:pPr>
                      <a:r>
                        <a:rPr lang="en-GB" sz="1800" kern="1200" noProof="0" dirty="0">
                          <a:effectLst/>
                          <a:latin typeface="+mn-lt"/>
                        </a:rPr>
                        <a:t>Any-grade ICANS</a:t>
                      </a:r>
                    </a:p>
                  </a:txBody>
                  <a:tcPr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7000"/>
                        </a:lnSpc>
                        <a:spcBef>
                          <a:spcPts val="200"/>
                        </a:spcBef>
                        <a:spcAft>
                          <a:spcPts val="200"/>
                        </a:spcAft>
                      </a:pPr>
                      <a:r>
                        <a:rPr lang="en-GB" sz="1800" noProof="0" dirty="0">
                          <a:effectLst/>
                          <a:latin typeface="+mn-lt"/>
                        </a:rPr>
                        <a:t>62%</a:t>
                      </a:r>
                    </a:p>
                  </a:txBody>
                  <a:tcPr anchor="ctr"/>
                </a:tc>
                <a:extLst>
                  <a:ext uri="{0D108BD9-81ED-4DB2-BD59-A6C34878D82A}">
                    <a16:rowId xmlns:a16="http://schemas.microsoft.com/office/drawing/2014/main" val="10002"/>
                  </a:ext>
                </a:extLst>
              </a:tr>
              <a:tr h="222274">
                <a:tc>
                  <a:txBody>
                    <a:bodyPr/>
                    <a:lstStyle/>
                    <a:p>
                      <a:pPr marL="117475" marR="0" lvl="0" indent="0" algn="l" defTabSz="685800" rtl="0" eaLnBrk="1" fontAlgn="auto" latinLnBrk="0" hangingPunct="1">
                        <a:lnSpc>
                          <a:spcPct val="107000"/>
                        </a:lnSpc>
                        <a:spcBef>
                          <a:spcPts val="200"/>
                        </a:spcBef>
                        <a:spcAft>
                          <a:spcPts val="200"/>
                        </a:spcAft>
                        <a:buClrTx/>
                        <a:buSzTx/>
                        <a:buFontTx/>
                        <a:buNone/>
                        <a:tabLst/>
                        <a:defRPr/>
                      </a:pPr>
                      <a:r>
                        <a:rPr lang="en-GB" sz="1800" noProof="0" dirty="0">
                          <a:effectLst/>
                          <a:latin typeface="+mn-lt"/>
                        </a:rPr>
                        <a:t>Grade ≥ 3</a:t>
                      </a:r>
                      <a:r>
                        <a:rPr lang="en-GB" sz="1800" baseline="0" noProof="0" dirty="0">
                          <a:effectLst/>
                          <a:latin typeface="+mn-lt"/>
                        </a:rPr>
                        <a:t> ICANS</a:t>
                      </a:r>
                      <a:endParaRPr lang="en-GB" sz="1800" kern="1200" noProof="0" dirty="0">
                        <a:effectLst/>
                        <a:latin typeface="+mn-lt"/>
                      </a:endParaRPr>
                    </a:p>
                  </a:txBody>
                  <a:tcPr anchor="ctr"/>
                </a:tc>
                <a:tc>
                  <a:txBody>
                    <a:bodyPr/>
                    <a:lstStyle/>
                    <a:p>
                      <a:pPr marL="0" marR="0" lvl="0" indent="0" algn="ctr" defTabSz="685800" rtl="0" eaLnBrk="1" fontAlgn="auto" latinLnBrk="0" hangingPunct="1">
                        <a:lnSpc>
                          <a:spcPct val="107000"/>
                        </a:lnSpc>
                        <a:spcBef>
                          <a:spcPts val="200"/>
                        </a:spcBef>
                        <a:spcAft>
                          <a:spcPts val="200"/>
                        </a:spcAft>
                        <a:buClrTx/>
                        <a:buSzTx/>
                        <a:buFontTx/>
                        <a:buNone/>
                        <a:tabLst/>
                        <a:defRPr/>
                      </a:pPr>
                      <a:r>
                        <a:rPr kumimoji="0" lang="en-GB" sz="1800" u="none" strike="noStrike" kern="1200" cap="none" spc="0" normalizeH="0" baseline="0" noProof="0" dirty="0">
                          <a:ln>
                            <a:noFill/>
                          </a:ln>
                          <a:effectLst/>
                          <a:uLnTx/>
                          <a:uFillTx/>
                          <a:latin typeface="+mn-lt"/>
                        </a:rPr>
                        <a:t>30%</a:t>
                      </a:r>
                      <a:endParaRPr lang="en-GB" sz="1800" noProof="0" dirty="0">
                        <a:solidFill>
                          <a:schemeClr val="tx1"/>
                        </a:solidFill>
                        <a:effectLst/>
                        <a:latin typeface="+mn-lt"/>
                        <a:ea typeface="Times New Roman" panose="02020603050405020304" pitchFamily="18" charset="0"/>
                      </a:endParaRPr>
                    </a:p>
                  </a:txBody>
                  <a:tcPr anchor="ctr"/>
                </a:tc>
                <a:extLst>
                  <a:ext uri="{0D108BD9-81ED-4DB2-BD59-A6C34878D82A}">
                    <a16:rowId xmlns:a16="http://schemas.microsoft.com/office/drawing/2014/main" val="3390381996"/>
                  </a:ext>
                </a:extLst>
              </a:tr>
              <a:tr h="222274">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7000"/>
                        </a:lnSpc>
                        <a:spcBef>
                          <a:spcPts val="200"/>
                        </a:spcBef>
                        <a:spcAft>
                          <a:spcPts val="200"/>
                        </a:spcAft>
                      </a:pPr>
                      <a:r>
                        <a:rPr lang="en-GB" sz="1800" kern="1200" noProof="0" dirty="0">
                          <a:effectLst/>
                          <a:latin typeface="+mn-lt"/>
                        </a:rPr>
                        <a:t>12m NRM</a:t>
                      </a:r>
                    </a:p>
                  </a:txBody>
                  <a:tcPr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7000"/>
                        </a:lnSpc>
                        <a:spcBef>
                          <a:spcPts val="200"/>
                        </a:spcBef>
                        <a:spcAft>
                          <a:spcPts val="200"/>
                        </a:spcAft>
                      </a:pPr>
                      <a:r>
                        <a:rPr lang="en-GB" sz="1800" noProof="0" dirty="0">
                          <a:effectLst/>
                          <a:latin typeface="+mn-lt"/>
                        </a:rPr>
                        <a:t>8%</a:t>
                      </a:r>
                    </a:p>
                  </a:txBody>
                  <a:tcPr anchor="ctr"/>
                </a:tc>
                <a:extLst>
                  <a:ext uri="{0D108BD9-81ED-4DB2-BD59-A6C34878D82A}">
                    <a16:rowId xmlns:a16="http://schemas.microsoft.com/office/drawing/2014/main" val="321802528"/>
                  </a:ext>
                </a:extLst>
              </a:tr>
            </a:tbl>
          </a:graphicData>
        </a:graphic>
      </p:graphicFrame>
      <p:graphicFrame>
        <p:nvGraphicFramePr>
          <p:cNvPr id="3" name="Table 2">
            <a:extLst>
              <a:ext uri="{FF2B5EF4-FFF2-40B4-BE49-F238E27FC236}">
                <a16:creationId xmlns:a16="http://schemas.microsoft.com/office/drawing/2014/main" id="{D7D5286C-B158-3228-4E7A-FFD095F77C7C}"/>
              </a:ext>
            </a:extLst>
          </p:cNvPr>
          <p:cNvGraphicFramePr>
            <a:graphicFrameLocks noGrp="1"/>
          </p:cNvGraphicFramePr>
          <p:nvPr/>
        </p:nvGraphicFramePr>
        <p:xfrm>
          <a:off x="5531583" y="1018960"/>
          <a:ext cx="2336364" cy="1463040"/>
        </p:xfrm>
        <a:graphic>
          <a:graphicData uri="http://schemas.openxmlformats.org/drawingml/2006/table">
            <a:tbl>
              <a:tblPr firstRow="1" bandRow="1">
                <a:tableStyleId>{9DCAF9ED-07DC-4A11-8D7F-57B35C25682E}</a:tableStyleId>
              </a:tblPr>
              <a:tblGrid>
                <a:gridCol w="1388744">
                  <a:extLst>
                    <a:ext uri="{9D8B030D-6E8A-4147-A177-3AD203B41FA5}">
                      <a16:colId xmlns:a16="http://schemas.microsoft.com/office/drawing/2014/main" val="3066188464"/>
                    </a:ext>
                  </a:extLst>
                </a:gridCol>
                <a:gridCol w="947620">
                  <a:extLst>
                    <a:ext uri="{9D8B030D-6E8A-4147-A177-3AD203B41FA5}">
                      <a16:colId xmlns:a16="http://schemas.microsoft.com/office/drawing/2014/main" val="1731947177"/>
                    </a:ext>
                  </a:extLst>
                </a:gridCol>
              </a:tblGrid>
              <a:tr h="200791">
                <a:tc>
                  <a:txBody>
                    <a:bodyPr/>
                    <a:lstStyle/>
                    <a:p>
                      <a:r>
                        <a:rPr lang="en-US" sz="1800" dirty="0">
                          <a:solidFill>
                            <a:schemeClr val="bg1"/>
                          </a:solidFill>
                        </a:rPr>
                        <a:t>Endpoint</a:t>
                      </a:r>
                    </a:p>
                  </a:txBody>
                  <a:tcPr/>
                </a:tc>
                <a:tc>
                  <a:txBody>
                    <a:bodyPr/>
                    <a:lstStyle/>
                    <a:p>
                      <a:endParaRPr lang="en-US" sz="1800" dirty="0">
                        <a:solidFill>
                          <a:schemeClr val="bg1"/>
                        </a:solidFill>
                      </a:endParaRPr>
                    </a:p>
                  </a:txBody>
                  <a:tcPr/>
                </a:tc>
                <a:extLst>
                  <a:ext uri="{0D108BD9-81ED-4DB2-BD59-A6C34878D82A}">
                    <a16:rowId xmlns:a16="http://schemas.microsoft.com/office/drawing/2014/main" val="2275027603"/>
                  </a:ext>
                </a:extLst>
              </a:tr>
              <a:tr h="179099">
                <a:tc>
                  <a:txBody>
                    <a:bodyPr/>
                    <a:lstStyle/>
                    <a:p>
                      <a:r>
                        <a:rPr lang="en-US" sz="1800" dirty="0"/>
                        <a:t>ORR</a:t>
                      </a:r>
                    </a:p>
                  </a:txBody>
                  <a:tcPr/>
                </a:tc>
                <a:tc>
                  <a:txBody>
                    <a:bodyPr/>
                    <a:lstStyle/>
                    <a:p>
                      <a:r>
                        <a:rPr lang="en-US" sz="1800" dirty="0"/>
                        <a:t>91%</a:t>
                      </a:r>
                    </a:p>
                  </a:txBody>
                  <a:tcPr/>
                </a:tc>
                <a:extLst>
                  <a:ext uri="{0D108BD9-81ED-4DB2-BD59-A6C34878D82A}">
                    <a16:rowId xmlns:a16="http://schemas.microsoft.com/office/drawing/2014/main" val="3756480942"/>
                  </a:ext>
                </a:extLst>
              </a:tr>
              <a:tr h="179099">
                <a:tc>
                  <a:txBody>
                    <a:bodyPr/>
                    <a:lstStyle/>
                    <a:p>
                      <a:r>
                        <a:rPr lang="en-US" sz="1800" dirty="0"/>
                        <a:t>CRR</a:t>
                      </a:r>
                    </a:p>
                  </a:txBody>
                  <a:tcPr/>
                </a:tc>
                <a:tc>
                  <a:txBody>
                    <a:bodyPr/>
                    <a:lstStyle/>
                    <a:p>
                      <a:r>
                        <a:rPr lang="en-US" sz="1800" dirty="0"/>
                        <a:t>82%</a:t>
                      </a:r>
                    </a:p>
                  </a:txBody>
                  <a:tcPr/>
                </a:tc>
                <a:extLst>
                  <a:ext uri="{0D108BD9-81ED-4DB2-BD59-A6C34878D82A}">
                    <a16:rowId xmlns:a16="http://schemas.microsoft.com/office/drawing/2014/main" val="1435293261"/>
                  </a:ext>
                </a:extLst>
              </a:tr>
              <a:tr h="179099">
                <a:tc>
                  <a:txBody>
                    <a:bodyPr/>
                    <a:lstStyle/>
                    <a:p>
                      <a:r>
                        <a:rPr lang="en-US" sz="1800" dirty="0"/>
                        <a:t>12m DOR</a:t>
                      </a:r>
                    </a:p>
                  </a:txBody>
                  <a:tcPr/>
                </a:tc>
                <a:tc>
                  <a:txBody>
                    <a:bodyPr/>
                    <a:lstStyle/>
                    <a:p>
                      <a:r>
                        <a:rPr lang="en-US" sz="1800" dirty="0"/>
                        <a:t>79%</a:t>
                      </a:r>
                    </a:p>
                  </a:txBody>
                  <a:tcPr/>
                </a:tc>
                <a:extLst>
                  <a:ext uri="{0D108BD9-81ED-4DB2-BD59-A6C34878D82A}">
                    <a16:rowId xmlns:a16="http://schemas.microsoft.com/office/drawing/2014/main" val="673951649"/>
                  </a:ext>
                </a:extLst>
              </a:tr>
            </a:tbl>
          </a:graphicData>
        </a:graphic>
      </p:graphicFrame>
      <p:pic>
        <p:nvPicPr>
          <p:cNvPr id="12" name="Picture 11">
            <a:extLst>
              <a:ext uri="{FF2B5EF4-FFF2-40B4-BE49-F238E27FC236}">
                <a16:creationId xmlns:a16="http://schemas.microsoft.com/office/drawing/2014/main" id="{C7C95534-6CC8-A484-02FC-E30CEECB4F46}"/>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1918011" y="3607088"/>
            <a:ext cx="4377960" cy="3053160"/>
          </a:xfrm>
          <a:prstGeom prst="rect">
            <a:avLst/>
          </a:prstGeom>
        </p:spPr>
      </p:pic>
      <p:pic>
        <p:nvPicPr>
          <p:cNvPr id="8" name="Picture 7">
            <a:extLst>
              <a:ext uri="{FF2B5EF4-FFF2-40B4-BE49-F238E27FC236}">
                <a16:creationId xmlns:a16="http://schemas.microsoft.com/office/drawing/2014/main" id="{70789169-1977-681E-DBDD-79DD420233AD}"/>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6400800" y="3590087"/>
            <a:ext cx="4079245" cy="3087163"/>
          </a:xfrm>
          <a:prstGeom prst="rect">
            <a:avLst/>
          </a:prstGeom>
        </p:spPr>
      </p:pic>
    </p:spTree>
    <p:extLst>
      <p:ext uri="{BB962C8B-B14F-4D97-AF65-F5344CB8AC3E}">
        <p14:creationId xmlns:p14="http://schemas.microsoft.com/office/powerpoint/2010/main" val="42751026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F2B4B3-4A1A-3725-524C-2E3564D0E55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BACA922-A6C7-0C91-A95B-99467FC2BBDC}"/>
              </a:ext>
            </a:extLst>
          </p:cNvPr>
          <p:cNvSpPr>
            <a:spLocks noGrp="1"/>
          </p:cNvSpPr>
          <p:nvPr>
            <p:ph type="title"/>
          </p:nvPr>
        </p:nvSpPr>
        <p:spPr>
          <a:xfrm>
            <a:off x="348464" y="180749"/>
            <a:ext cx="10902950" cy="662924"/>
          </a:xfrm>
        </p:spPr>
        <p:txBody>
          <a:bodyPr/>
          <a:lstStyle/>
          <a:p>
            <a:r>
              <a:rPr lang="en-US" dirty="0"/>
              <a:t>Real world evidence for </a:t>
            </a:r>
            <a:r>
              <a:rPr lang="en-US" dirty="0" err="1"/>
              <a:t>Brexu</a:t>
            </a:r>
            <a:r>
              <a:rPr lang="en-US" dirty="0"/>
              <a:t>-cel in MCL from DESCAR-T</a:t>
            </a:r>
          </a:p>
        </p:txBody>
      </p:sp>
      <p:sp>
        <p:nvSpPr>
          <p:cNvPr id="4" name="Slide Number Placeholder 3">
            <a:extLst>
              <a:ext uri="{FF2B5EF4-FFF2-40B4-BE49-F238E27FC236}">
                <a16:creationId xmlns:a16="http://schemas.microsoft.com/office/drawing/2014/main" id="{844A06E4-021A-D2D2-B06B-C203351D5F0C}"/>
              </a:ext>
            </a:extLst>
          </p:cNvPr>
          <p:cNvSpPr txBox="1">
            <a:spLocks/>
          </p:cNvSpPr>
          <p:nvPr/>
        </p:nvSpPr>
        <p:spPr>
          <a:xfrm>
            <a:off x="28977" y="6643248"/>
            <a:ext cx="4567401" cy="21475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000000"/>
                </a:solidFill>
                <a:effectLst/>
                <a:uLnTx/>
                <a:uFillTx/>
                <a:latin typeface="Arial"/>
                <a:ea typeface="ＭＳ Ｐゴシック"/>
                <a:cs typeface="Arial"/>
              </a:rPr>
              <a:t>Herbaux</a:t>
            </a:r>
            <a:r>
              <a:rPr kumimoji="0" lang="en-US" sz="800" b="0" i="0" u="none" strike="noStrike" kern="1200" cap="none" spc="0" normalizeH="0" baseline="0" noProof="0" dirty="0">
                <a:ln>
                  <a:noFill/>
                </a:ln>
                <a:solidFill>
                  <a:srgbClr val="000000"/>
                </a:solidFill>
                <a:effectLst/>
                <a:uLnTx/>
                <a:uFillTx/>
                <a:latin typeface="Arial"/>
                <a:ea typeface="ＭＳ Ｐゴシック"/>
                <a:cs typeface="Arial"/>
              </a:rPr>
              <a:t>, at al. </a:t>
            </a:r>
            <a:r>
              <a:rPr kumimoji="0" lang="en-US" sz="800" b="0" i="0" u="none" strike="noStrike" kern="1200" cap="none" spc="0" normalizeH="0" baseline="0" noProof="0" dirty="0" err="1">
                <a:ln>
                  <a:noFill/>
                </a:ln>
                <a:solidFill>
                  <a:srgbClr val="000000"/>
                </a:solidFill>
                <a:effectLst/>
                <a:uLnTx/>
                <a:uFillTx/>
                <a:latin typeface="Arial"/>
                <a:ea typeface="ＭＳ Ｐゴシック"/>
                <a:cs typeface="Arial"/>
              </a:rPr>
              <a:t>Haematologica</a:t>
            </a:r>
            <a:r>
              <a:rPr kumimoji="0" lang="en-US" sz="800" b="0" i="0" u="none" strike="noStrike" kern="1200" cap="none" spc="0" normalizeH="0" baseline="0" noProof="0" dirty="0">
                <a:ln>
                  <a:noFill/>
                </a:ln>
                <a:solidFill>
                  <a:srgbClr val="000000"/>
                </a:solidFill>
                <a:effectLst/>
                <a:uLnTx/>
                <a:uFillTx/>
                <a:latin typeface="Arial"/>
                <a:ea typeface="ＭＳ Ｐゴシック"/>
                <a:cs typeface="Arial"/>
              </a:rPr>
              <a:t> 2024</a:t>
            </a:r>
          </a:p>
        </p:txBody>
      </p:sp>
      <p:graphicFrame>
        <p:nvGraphicFramePr>
          <p:cNvPr id="5" name="Table 4">
            <a:extLst>
              <a:ext uri="{FF2B5EF4-FFF2-40B4-BE49-F238E27FC236}">
                <a16:creationId xmlns:a16="http://schemas.microsoft.com/office/drawing/2014/main" id="{14DB01EA-0D6A-1BC7-426C-5178EDCAAC6B}"/>
              </a:ext>
            </a:extLst>
          </p:cNvPr>
          <p:cNvGraphicFramePr>
            <a:graphicFrameLocks noGrp="1"/>
          </p:cNvGraphicFramePr>
          <p:nvPr/>
        </p:nvGraphicFramePr>
        <p:xfrm>
          <a:off x="348464" y="1284448"/>
          <a:ext cx="4832680" cy="2637600"/>
        </p:xfrm>
        <a:graphic>
          <a:graphicData uri="http://schemas.openxmlformats.org/drawingml/2006/table">
            <a:tbl>
              <a:tblPr firstRow="1" bandRow="1">
                <a:tableStyleId>{21E4AEA4-8DFA-4A89-87EB-49C32662AFE0}</a:tableStyleId>
              </a:tblPr>
              <a:tblGrid>
                <a:gridCol w="3409826">
                  <a:extLst>
                    <a:ext uri="{9D8B030D-6E8A-4147-A177-3AD203B41FA5}">
                      <a16:colId xmlns:a16="http://schemas.microsoft.com/office/drawing/2014/main" val="20000"/>
                    </a:ext>
                  </a:extLst>
                </a:gridCol>
                <a:gridCol w="1422854">
                  <a:extLst>
                    <a:ext uri="{9D8B030D-6E8A-4147-A177-3AD203B41FA5}">
                      <a16:colId xmlns:a16="http://schemas.microsoft.com/office/drawing/2014/main" val="20001"/>
                    </a:ext>
                  </a:extLst>
                </a:gridCol>
              </a:tblGrid>
              <a:tr h="215676">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0000"/>
                        </a:lnSpc>
                        <a:spcBef>
                          <a:spcPts val="0"/>
                        </a:spcBef>
                        <a:spcAft>
                          <a:spcPts val="0"/>
                        </a:spcAft>
                      </a:pPr>
                      <a:r>
                        <a:rPr lang="en-GB" sz="1800" noProof="0" dirty="0">
                          <a:solidFill>
                            <a:schemeClr val="bg1"/>
                          </a:solidFill>
                          <a:effectLst/>
                          <a:latin typeface="+mn-lt"/>
                        </a:rPr>
                        <a:t>Characteristics</a:t>
                      </a:r>
                      <a:endParaRPr lang="en-GB" sz="1800" b="1" noProof="0" dirty="0">
                        <a:solidFill>
                          <a:schemeClr val="bg1"/>
                        </a:solidFill>
                        <a:effectLst/>
                        <a:latin typeface="+mn-lt"/>
                        <a:ea typeface="Times New Roman" panose="02020603050405020304" pitchFamily="18" charset="0"/>
                      </a:endParaRPr>
                    </a:p>
                  </a:txBody>
                  <a:tcPr marT="36000" marB="3600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aseline="0" noProof="0" dirty="0">
                          <a:solidFill>
                            <a:schemeClr val="bg1"/>
                          </a:solidFill>
                          <a:effectLst/>
                          <a:latin typeface="+mn-lt"/>
                        </a:rPr>
                        <a:t>n = 15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baseline="0" noProof="0" dirty="0">
                          <a:solidFill>
                            <a:schemeClr val="bg1"/>
                          </a:solidFill>
                          <a:effectLst/>
                          <a:latin typeface="+mn-lt"/>
                          <a:ea typeface="Times New Roman" panose="02020603050405020304" pitchFamily="18" charset="0"/>
                        </a:rPr>
                        <a:t>(of 178)</a:t>
                      </a:r>
                    </a:p>
                  </a:txBody>
                  <a:tcPr marT="36000" marB="36000" anchor="ctr"/>
                </a:tc>
                <a:extLst>
                  <a:ext uri="{0D108BD9-81ED-4DB2-BD59-A6C34878D82A}">
                    <a16:rowId xmlns:a16="http://schemas.microsoft.com/office/drawing/2014/main" val="10000"/>
                  </a:ext>
                </a:extLst>
              </a:tr>
              <a:tr h="215676">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0000"/>
                        </a:lnSpc>
                        <a:spcBef>
                          <a:spcPts val="0"/>
                        </a:spcBef>
                        <a:spcAft>
                          <a:spcPts val="0"/>
                        </a:spcAft>
                      </a:pPr>
                      <a:r>
                        <a:rPr lang="en-GB" sz="1800" noProof="0" dirty="0">
                          <a:solidFill>
                            <a:schemeClr val="tx1"/>
                          </a:solidFill>
                          <a:effectLst/>
                          <a:latin typeface="+mn-lt"/>
                        </a:rPr>
                        <a:t>Median age</a:t>
                      </a:r>
                      <a:endParaRPr lang="en-GB" sz="1800" b="1" noProof="0" dirty="0">
                        <a:solidFill>
                          <a:schemeClr val="tx1"/>
                        </a:solidFill>
                        <a:effectLst/>
                        <a:latin typeface="+mn-lt"/>
                        <a:ea typeface="Times New Roman" panose="02020603050405020304" pitchFamily="18" charset="0"/>
                      </a:endParaRPr>
                    </a:p>
                  </a:txBody>
                  <a:tcPr marT="36000" marB="3600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0"/>
                        </a:spcAft>
                      </a:pPr>
                      <a:r>
                        <a:rPr lang="en-GB" sz="1800" noProof="0" dirty="0">
                          <a:solidFill>
                            <a:schemeClr val="tx1"/>
                          </a:solidFill>
                          <a:effectLst/>
                          <a:latin typeface="+mn-lt"/>
                        </a:rPr>
                        <a:t>69 (39-83)</a:t>
                      </a:r>
                      <a:endParaRPr lang="en-GB" sz="1800" noProof="0" dirty="0">
                        <a:solidFill>
                          <a:schemeClr val="tx1"/>
                        </a:solidFill>
                        <a:effectLst/>
                        <a:latin typeface="+mn-lt"/>
                        <a:ea typeface="Times New Roman" panose="02020603050405020304" pitchFamily="18" charset="0"/>
                      </a:endParaRPr>
                    </a:p>
                  </a:txBody>
                  <a:tcPr marT="36000" marB="36000" anchor="ctr"/>
                </a:tc>
                <a:extLst>
                  <a:ext uri="{0D108BD9-81ED-4DB2-BD59-A6C34878D82A}">
                    <a16:rowId xmlns:a16="http://schemas.microsoft.com/office/drawing/2014/main" val="10001"/>
                  </a:ext>
                </a:extLst>
              </a:tr>
              <a:tr h="215676">
                <a:tc>
                  <a:txBody>
                    <a:bodyPr/>
                    <a:lstStyle/>
                    <a:p>
                      <a:pPr marL="0" marR="0">
                        <a:lnSpc>
                          <a:spcPct val="100000"/>
                        </a:lnSpc>
                        <a:spcBef>
                          <a:spcPts val="0"/>
                        </a:spcBef>
                        <a:spcAft>
                          <a:spcPts val="0"/>
                        </a:spcAft>
                      </a:pPr>
                      <a:r>
                        <a:rPr lang="en-GB" sz="1800" b="0" i="1" noProof="0" dirty="0">
                          <a:solidFill>
                            <a:schemeClr val="tx1"/>
                          </a:solidFill>
                          <a:effectLst/>
                          <a:latin typeface="+mn-lt"/>
                          <a:ea typeface="Times New Roman" panose="02020603050405020304" pitchFamily="18" charset="0"/>
                        </a:rPr>
                        <a:t>TP53</a:t>
                      </a:r>
                      <a:r>
                        <a:rPr lang="en-GB" sz="1800" b="0" noProof="0" dirty="0">
                          <a:solidFill>
                            <a:schemeClr val="tx1"/>
                          </a:solidFill>
                          <a:effectLst/>
                          <a:latin typeface="+mn-lt"/>
                          <a:ea typeface="Times New Roman" panose="02020603050405020304" pitchFamily="18" charset="0"/>
                        </a:rPr>
                        <a:t> mutated</a:t>
                      </a:r>
                    </a:p>
                  </a:txBody>
                  <a:tcPr marT="36000" marB="36000" anchor="ctr"/>
                </a:tc>
                <a:tc>
                  <a:txBody>
                    <a:bodyPr/>
                    <a:lstStyle/>
                    <a:p>
                      <a:pPr marL="0" marR="0" algn="ctr">
                        <a:lnSpc>
                          <a:spcPct val="100000"/>
                        </a:lnSpc>
                        <a:spcBef>
                          <a:spcPts val="0"/>
                        </a:spcBef>
                        <a:spcAft>
                          <a:spcPts val="0"/>
                        </a:spcAft>
                      </a:pPr>
                      <a:r>
                        <a:rPr lang="en-GB" sz="1800" b="0" noProof="0" dirty="0">
                          <a:solidFill>
                            <a:schemeClr val="tx1"/>
                          </a:solidFill>
                          <a:effectLst/>
                          <a:latin typeface="+mn-lt"/>
                          <a:ea typeface="Times New Roman" panose="02020603050405020304" pitchFamily="18" charset="0"/>
                        </a:rPr>
                        <a:t>30%</a:t>
                      </a:r>
                    </a:p>
                  </a:txBody>
                  <a:tcPr marT="36000" marB="36000" anchor="ctr"/>
                </a:tc>
                <a:extLst>
                  <a:ext uri="{0D108BD9-81ED-4DB2-BD59-A6C34878D82A}">
                    <a16:rowId xmlns:a16="http://schemas.microsoft.com/office/drawing/2014/main" val="2537663646"/>
                  </a:ext>
                </a:extLst>
              </a:tr>
              <a:tr h="215676">
                <a:tc>
                  <a:txBody>
                    <a:bodyPr/>
                    <a:lstStyle/>
                    <a:p>
                      <a:pPr marL="0" marR="0">
                        <a:lnSpc>
                          <a:spcPct val="100000"/>
                        </a:lnSpc>
                        <a:spcBef>
                          <a:spcPts val="0"/>
                        </a:spcBef>
                        <a:spcAft>
                          <a:spcPts val="0"/>
                        </a:spcAft>
                      </a:pPr>
                      <a:r>
                        <a:rPr lang="en-GB" sz="1800" b="0" noProof="0" dirty="0">
                          <a:solidFill>
                            <a:schemeClr val="tx1"/>
                          </a:solidFill>
                          <a:effectLst/>
                          <a:latin typeface="+mn-lt"/>
                          <a:ea typeface="Times New Roman" panose="02020603050405020304" pitchFamily="18" charset="0"/>
                        </a:rPr>
                        <a:t>KI67 ≥ 30%</a:t>
                      </a:r>
                    </a:p>
                  </a:txBody>
                  <a:tcPr marT="36000" marB="36000" anchor="ctr"/>
                </a:tc>
                <a:tc>
                  <a:txBody>
                    <a:bodyPr/>
                    <a:lstStyle/>
                    <a:p>
                      <a:pPr marL="0" marR="0" algn="ctr">
                        <a:lnSpc>
                          <a:spcPct val="100000"/>
                        </a:lnSpc>
                        <a:spcBef>
                          <a:spcPts val="0"/>
                        </a:spcBef>
                        <a:spcAft>
                          <a:spcPts val="0"/>
                        </a:spcAft>
                      </a:pPr>
                      <a:r>
                        <a:rPr lang="en-GB" sz="1800" b="0" noProof="0" dirty="0">
                          <a:solidFill>
                            <a:schemeClr val="tx1"/>
                          </a:solidFill>
                          <a:effectLst/>
                          <a:latin typeface="+mn-lt"/>
                          <a:ea typeface="Times New Roman" panose="02020603050405020304" pitchFamily="18" charset="0"/>
                        </a:rPr>
                        <a:t>79%</a:t>
                      </a:r>
                    </a:p>
                  </a:txBody>
                  <a:tcPr marT="36000" marB="36000" anchor="ctr"/>
                </a:tc>
                <a:extLst>
                  <a:ext uri="{0D108BD9-81ED-4DB2-BD59-A6C34878D82A}">
                    <a16:rowId xmlns:a16="http://schemas.microsoft.com/office/drawing/2014/main" val="4041066933"/>
                  </a:ext>
                </a:extLst>
              </a:tr>
              <a:tr h="215676">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0000"/>
                        </a:lnSpc>
                        <a:spcBef>
                          <a:spcPts val="0"/>
                        </a:spcBef>
                        <a:spcAft>
                          <a:spcPts val="0"/>
                        </a:spcAft>
                      </a:pPr>
                      <a:r>
                        <a:rPr lang="en-GB" sz="1800" noProof="0" dirty="0">
                          <a:solidFill>
                            <a:schemeClr val="tx1"/>
                          </a:solidFill>
                          <a:effectLst/>
                          <a:latin typeface="+mn-lt"/>
                        </a:rPr>
                        <a:t>Median no. of prior treatments</a:t>
                      </a:r>
                    </a:p>
                  </a:txBody>
                  <a:tcPr marT="36000" marB="3600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0000"/>
                        </a:lnSpc>
                        <a:spcBef>
                          <a:spcPts val="0"/>
                        </a:spcBef>
                        <a:spcAft>
                          <a:spcPts val="0"/>
                        </a:spcAft>
                      </a:pPr>
                      <a:r>
                        <a:rPr lang="en-GB" sz="1800" noProof="0" dirty="0">
                          <a:solidFill>
                            <a:schemeClr val="tx1"/>
                          </a:solidFill>
                          <a:effectLst/>
                          <a:latin typeface="+mn-lt"/>
                        </a:rPr>
                        <a:t>3 (1-9)</a:t>
                      </a:r>
                      <a:endParaRPr lang="en-GB" sz="1800" kern="1200" noProof="0" dirty="0">
                        <a:solidFill>
                          <a:schemeClr val="tx1"/>
                        </a:solidFill>
                        <a:effectLst/>
                        <a:latin typeface="+mn-lt"/>
                      </a:endParaRPr>
                    </a:p>
                  </a:txBody>
                  <a:tcPr marT="36000" marB="36000" anchor="ctr"/>
                </a:tc>
                <a:extLst>
                  <a:ext uri="{0D108BD9-81ED-4DB2-BD59-A6C34878D82A}">
                    <a16:rowId xmlns:a16="http://schemas.microsoft.com/office/drawing/2014/main" val="10002"/>
                  </a:ext>
                </a:extLst>
              </a:tr>
              <a:tr h="215676">
                <a:tc>
                  <a:txBody>
                    <a:bodyPr/>
                    <a:lstStyle/>
                    <a:p>
                      <a:pPr marL="117475" marR="0" lvl="1" indent="0" algn="l" defTabSz="685800" rtl="0" eaLnBrk="1" fontAlgn="auto" latinLnBrk="0" hangingPunct="1">
                        <a:lnSpc>
                          <a:spcPct val="100000"/>
                        </a:lnSpc>
                        <a:spcBef>
                          <a:spcPts val="0"/>
                        </a:spcBef>
                        <a:spcAft>
                          <a:spcPts val="0"/>
                        </a:spcAft>
                        <a:buClrTx/>
                        <a:buSzTx/>
                        <a:buFontTx/>
                        <a:buNone/>
                        <a:tabLst/>
                        <a:defRPr/>
                      </a:pPr>
                      <a:r>
                        <a:rPr kumimoji="0" lang="en-GB" sz="1800" u="none" strike="noStrike" kern="1200" cap="none" spc="0" normalizeH="0" baseline="0" noProof="0" dirty="0">
                          <a:ln>
                            <a:noFill/>
                          </a:ln>
                          <a:solidFill>
                            <a:schemeClr val="tx1"/>
                          </a:solidFill>
                          <a:effectLst/>
                          <a:uLnTx/>
                          <a:uFillTx/>
                          <a:latin typeface="+mn-lt"/>
                        </a:rPr>
                        <a:t>Prior BTKi</a:t>
                      </a:r>
                      <a:endParaRPr lang="en-GB" sz="1800" b="1" noProof="0" dirty="0">
                        <a:solidFill>
                          <a:schemeClr val="tx1"/>
                        </a:solidFill>
                        <a:latin typeface="+mn-lt"/>
                      </a:endParaRPr>
                    </a:p>
                  </a:txBody>
                  <a:tcPr marT="36000" marB="36000" anchor="ctr"/>
                </a:tc>
                <a:tc>
                  <a:txBody>
                    <a:bodyPr/>
                    <a:lstStyle/>
                    <a:p>
                      <a:pPr marL="0" marR="0" lvl="0" indent="0" algn="ctr" defTabSz="4551243" rtl="0" eaLnBrk="1" fontAlgn="auto" latinLnBrk="0" hangingPunct="1">
                        <a:lnSpc>
                          <a:spcPct val="100000"/>
                        </a:lnSpc>
                        <a:spcBef>
                          <a:spcPts val="0"/>
                        </a:spcBef>
                        <a:spcAft>
                          <a:spcPts val="0"/>
                        </a:spcAft>
                        <a:buClrTx/>
                        <a:buSzTx/>
                        <a:buFontTx/>
                        <a:buNone/>
                        <a:tabLst/>
                        <a:defRPr/>
                      </a:pPr>
                      <a:r>
                        <a:rPr lang="en-GB" sz="1800" kern="1200" noProof="0" dirty="0">
                          <a:solidFill>
                            <a:schemeClr val="tx1"/>
                          </a:solidFill>
                          <a:effectLst/>
                          <a:latin typeface="+mn-lt"/>
                        </a:rPr>
                        <a:t>100%</a:t>
                      </a:r>
                      <a:endParaRPr lang="en-GB" sz="1800" noProof="0" dirty="0">
                        <a:solidFill>
                          <a:schemeClr val="tx1"/>
                        </a:solidFill>
                        <a:effectLst/>
                        <a:latin typeface="+mn-lt"/>
                        <a:ea typeface="Times New Roman" panose="02020603050405020304" pitchFamily="18" charset="0"/>
                      </a:endParaRPr>
                    </a:p>
                  </a:txBody>
                  <a:tcPr marT="36000" marB="36000" anchor="ctr"/>
                </a:tc>
                <a:extLst>
                  <a:ext uri="{0D108BD9-81ED-4DB2-BD59-A6C34878D82A}">
                    <a16:rowId xmlns:a16="http://schemas.microsoft.com/office/drawing/2014/main" val="3168482319"/>
                  </a:ext>
                </a:extLst>
              </a:tr>
              <a:tr h="215676">
                <a:tc>
                  <a:txBody>
                    <a:bodyPr/>
                    <a:lstStyle/>
                    <a:p>
                      <a:pPr marL="115888" marR="0" lvl="1" indent="0" algn="l" defTabSz="685800" rtl="0" eaLnBrk="1" fontAlgn="auto" latinLnBrk="0" hangingPunct="1">
                        <a:lnSpc>
                          <a:spcPct val="100000"/>
                        </a:lnSpc>
                        <a:spcBef>
                          <a:spcPts val="0"/>
                        </a:spcBef>
                        <a:spcAft>
                          <a:spcPts val="0"/>
                        </a:spcAft>
                        <a:buClrTx/>
                        <a:buSzTx/>
                        <a:buFontTx/>
                        <a:buNone/>
                        <a:tabLst/>
                        <a:defRPr/>
                      </a:pPr>
                      <a:r>
                        <a:rPr kumimoji="0" lang="en-GB" sz="1800" u="none" strike="noStrike" kern="1200" cap="none" spc="0" normalizeH="0" baseline="0" noProof="0" dirty="0">
                          <a:ln>
                            <a:noFill/>
                          </a:ln>
                          <a:solidFill>
                            <a:schemeClr val="tx1"/>
                          </a:solidFill>
                          <a:effectLst/>
                          <a:uLnTx/>
                          <a:uFillTx/>
                          <a:latin typeface="+mn-lt"/>
                        </a:rPr>
                        <a:t>Prior ASCT</a:t>
                      </a:r>
                      <a:endParaRPr lang="en-GB" sz="1800" b="1" noProof="0" dirty="0">
                        <a:solidFill>
                          <a:schemeClr val="tx1"/>
                        </a:solidFill>
                        <a:latin typeface="+mn-lt"/>
                      </a:endParaRPr>
                    </a:p>
                  </a:txBody>
                  <a:tcPr marT="36000" marB="36000" anchor="ctr"/>
                </a:tc>
                <a:tc>
                  <a:txBody>
                    <a:bodyPr/>
                    <a:lstStyle/>
                    <a:p>
                      <a:pPr marL="0" marR="0" lvl="0" indent="0" algn="ctr" defTabSz="4551243" rtl="0" eaLnBrk="1" fontAlgn="auto" latinLnBrk="0" hangingPunct="1">
                        <a:lnSpc>
                          <a:spcPct val="100000"/>
                        </a:lnSpc>
                        <a:spcBef>
                          <a:spcPts val="0"/>
                        </a:spcBef>
                        <a:spcAft>
                          <a:spcPts val="0"/>
                        </a:spcAft>
                        <a:buClrTx/>
                        <a:buSzTx/>
                        <a:buFontTx/>
                        <a:buNone/>
                        <a:tabLst/>
                        <a:defRPr/>
                      </a:pPr>
                      <a:r>
                        <a:rPr lang="en-GB" sz="1800" kern="1200" noProof="0" dirty="0">
                          <a:solidFill>
                            <a:schemeClr val="tx1"/>
                          </a:solidFill>
                          <a:effectLst/>
                          <a:latin typeface="+mn-lt"/>
                        </a:rPr>
                        <a:t>40%</a:t>
                      </a:r>
                      <a:endParaRPr lang="en-GB" sz="1800" noProof="0" dirty="0">
                        <a:solidFill>
                          <a:schemeClr val="tx1"/>
                        </a:solidFill>
                        <a:effectLst/>
                        <a:latin typeface="+mn-lt"/>
                        <a:ea typeface="Times New Roman" panose="02020603050405020304" pitchFamily="18" charset="0"/>
                      </a:endParaRPr>
                    </a:p>
                  </a:txBody>
                  <a:tcPr marT="36000" marB="36000" anchor="ctr"/>
                </a:tc>
                <a:extLst>
                  <a:ext uri="{0D108BD9-81ED-4DB2-BD59-A6C34878D82A}">
                    <a16:rowId xmlns:a16="http://schemas.microsoft.com/office/drawing/2014/main" val="3494454191"/>
                  </a:ext>
                </a:extLst>
              </a:tr>
            </a:tbl>
          </a:graphicData>
        </a:graphic>
      </p:graphicFrame>
      <p:graphicFrame>
        <p:nvGraphicFramePr>
          <p:cNvPr id="6" name="Table 5">
            <a:extLst>
              <a:ext uri="{FF2B5EF4-FFF2-40B4-BE49-F238E27FC236}">
                <a16:creationId xmlns:a16="http://schemas.microsoft.com/office/drawing/2014/main" id="{EC3B34BD-A892-5242-6D28-E6BCB8606402}"/>
              </a:ext>
            </a:extLst>
          </p:cNvPr>
          <p:cNvGraphicFramePr>
            <a:graphicFrameLocks noGrp="1"/>
          </p:cNvGraphicFramePr>
          <p:nvPr/>
        </p:nvGraphicFramePr>
        <p:xfrm>
          <a:off x="7441006" y="4073811"/>
          <a:ext cx="3318516" cy="2603440"/>
        </p:xfrm>
        <a:graphic>
          <a:graphicData uri="http://schemas.openxmlformats.org/drawingml/2006/table">
            <a:tbl>
              <a:tblPr firstRow="1" bandRow="1">
                <a:tableStyleId>{21E4AEA4-8DFA-4A89-87EB-49C32662AFE0}</a:tableStyleId>
              </a:tblPr>
              <a:tblGrid>
                <a:gridCol w="2339830">
                  <a:extLst>
                    <a:ext uri="{9D8B030D-6E8A-4147-A177-3AD203B41FA5}">
                      <a16:colId xmlns:a16="http://schemas.microsoft.com/office/drawing/2014/main" val="20000"/>
                    </a:ext>
                  </a:extLst>
                </a:gridCol>
                <a:gridCol w="978686">
                  <a:extLst>
                    <a:ext uri="{9D8B030D-6E8A-4147-A177-3AD203B41FA5}">
                      <a16:colId xmlns:a16="http://schemas.microsoft.com/office/drawing/2014/main" val="20001"/>
                    </a:ext>
                  </a:extLst>
                </a:gridCol>
              </a:tblGrid>
              <a:tr h="27305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7000"/>
                        </a:lnSpc>
                        <a:spcBef>
                          <a:spcPts val="200"/>
                        </a:spcBef>
                        <a:spcAft>
                          <a:spcPts val="200"/>
                        </a:spcAft>
                      </a:pPr>
                      <a:r>
                        <a:rPr lang="en-GB" sz="1800" noProof="0" dirty="0">
                          <a:solidFill>
                            <a:schemeClr val="bg1"/>
                          </a:solidFill>
                          <a:effectLst/>
                          <a:latin typeface="+mn-lt"/>
                        </a:rPr>
                        <a:t>Toxicity</a:t>
                      </a:r>
                      <a:endParaRPr lang="en-GB" sz="1800" b="1" noProof="0" dirty="0">
                        <a:solidFill>
                          <a:schemeClr val="bg1"/>
                        </a:solidFill>
                        <a:effectLst/>
                        <a:latin typeface="+mn-lt"/>
                        <a:ea typeface="Times New Roman" panose="02020603050405020304" pitchFamily="18" charset="0"/>
                      </a:endParaRPr>
                    </a:p>
                  </a:txBody>
                  <a:tcPr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7000"/>
                        </a:lnSpc>
                        <a:spcBef>
                          <a:spcPts val="200"/>
                        </a:spcBef>
                        <a:spcAft>
                          <a:spcPts val="200"/>
                        </a:spcAft>
                        <a:buClrTx/>
                        <a:buSzTx/>
                        <a:buFontTx/>
                        <a:buNone/>
                        <a:tabLst/>
                        <a:defRPr/>
                      </a:pPr>
                      <a:endParaRPr lang="en-GB" sz="1800" b="1" baseline="0" noProof="0" dirty="0">
                        <a:solidFill>
                          <a:schemeClr val="tx2"/>
                        </a:solidFill>
                        <a:effectLst/>
                        <a:latin typeface="+mn-lt"/>
                        <a:ea typeface="Times New Roman" panose="02020603050405020304" pitchFamily="18" charset="0"/>
                      </a:endParaRPr>
                    </a:p>
                  </a:txBody>
                  <a:tcPr anchor="ctr"/>
                </a:tc>
                <a:extLst>
                  <a:ext uri="{0D108BD9-81ED-4DB2-BD59-A6C34878D82A}">
                    <a16:rowId xmlns:a16="http://schemas.microsoft.com/office/drawing/2014/main" val="10000"/>
                  </a:ext>
                </a:extLst>
              </a:tr>
              <a:tr h="238617">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7000"/>
                        </a:lnSpc>
                        <a:spcBef>
                          <a:spcPts val="200"/>
                        </a:spcBef>
                        <a:spcAft>
                          <a:spcPts val="200"/>
                        </a:spcAft>
                      </a:pPr>
                      <a:r>
                        <a:rPr lang="en-GB" sz="1800" noProof="0" dirty="0">
                          <a:effectLst/>
                          <a:latin typeface="+mn-lt"/>
                        </a:rPr>
                        <a:t>Any-grade CRS</a:t>
                      </a:r>
                    </a:p>
                  </a:txBody>
                  <a:tcPr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7000"/>
                        </a:lnSpc>
                        <a:spcBef>
                          <a:spcPts val="200"/>
                        </a:spcBef>
                        <a:spcAft>
                          <a:spcPts val="200"/>
                        </a:spcAft>
                      </a:pPr>
                      <a:r>
                        <a:rPr lang="en-GB" sz="1800" noProof="0" dirty="0">
                          <a:effectLst/>
                          <a:latin typeface="+mn-lt"/>
                        </a:rPr>
                        <a:t>88%</a:t>
                      </a:r>
                    </a:p>
                  </a:txBody>
                  <a:tcPr anchor="ctr"/>
                </a:tc>
                <a:extLst>
                  <a:ext uri="{0D108BD9-81ED-4DB2-BD59-A6C34878D82A}">
                    <a16:rowId xmlns:a16="http://schemas.microsoft.com/office/drawing/2014/main" val="10001"/>
                  </a:ext>
                </a:extLst>
              </a:tr>
              <a:tr h="238617">
                <a:tc>
                  <a:txBody>
                    <a:bodyPr/>
                    <a:lstStyle/>
                    <a:p>
                      <a:pPr marL="117475" marR="0" lvl="0" indent="0" algn="l" defTabSz="685800" rtl="0" eaLnBrk="1" fontAlgn="auto" latinLnBrk="0" hangingPunct="1">
                        <a:lnSpc>
                          <a:spcPct val="107000"/>
                        </a:lnSpc>
                        <a:spcBef>
                          <a:spcPts val="200"/>
                        </a:spcBef>
                        <a:spcAft>
                          <a:spcPts val="200"/>
                        </a:spcAft>
                        <a:buClrTx/>
                        <a:buSzTx/>
                        <a:buFontTx/>
                        <a:buNone/>
                        <a:tabLst/>
                        <a:defRPr/>
                      </a:pPr>
                      <a:r>
                        <a:rPr lang="en-GB" sz="1800" noProof="0" dirty="0">
                          <a:effectLst/>
                          <a:latin typeface="+mn-lt"/>
                        </a:rPr>
                        <a:t>Grade ≥ 3</a:t>
                      </a:r>
                      <a:r>
                        <a:rPr lang="en-GB" sz="1800" baseline="0" noProof="0" dirty="0">
                          <a:effectLst/>
                          <a:latin typeface="+mn-lt"/>
                        </a:rPr>
                        <a:t> </a:t>
                      </a:r>
                      <a:r>
                        <a:rPr lang="en-GB" sz="1800" noProof="0" dirty="0">
                          <a:effectLst/>
                          <a:latin typeface="+mn-lt"/>
                        </a:rPr>
                        <a:t>CRS</a:t>
                      </a:r>
                      <a:endParaRPr lang="en-GB" sz="1800" kern="1200" noProof="0" dirty="0">
                        <a:effectLst/>
                        <a:latin typeface="+mn-lt"/>
                      </a:endParaRPr>
                    </a:p>
                  </a:txBody>
                  <a:tcPr anchor="ctr"/>
                </a:tc>
                <a:tc>
                  <a:txBody>
                    <a:bodyPr/>
                    <a:lstStyle/>
                    <a:p>
                      <a:pPr marL="0" marR="0" lvl="0" indent="0" algn="ctr" defTabSz="685800" rtl="0" eaLnBrk="1" fontAlgn="auto" latinLnBrk="0" hangingPunct="1">
                        <a:lnSpc>
                          <a:spcPct val="107000"/>
                        </a:lnSpc>
                        <a:spcBef>
                          <a:spcPts val="200"/>
                        </a:spcBef>
                        <a:spcAft>
                          <a:spcPts val="200"/>
                        </a:spcAft>
                        <a:buClrTx/>
                        <a:buSzTx/>
                        <a:buFontTx/>
                        <a:buNone/>
                        <a:tabLst/>
                        <a:defRPr/>
                      </a:pPr>
                      <a:r>
                        <a:rPr lang="en-GB" sz="1800" noProof="0" dirty="0">
                          <a:effectLst/>
                          <a:latin typeface="+mn-lt"/>
                        </a:rPr>
                        <a:t>12%</a:t>
                      </a:r>
                    </a:p>
                  </a:txBody>
                  <a:tcPr anchor="ctr"/>
                </a:tc>
                <a:extLst>
                  <a:ext uri="{0D108BD9-81ED-4DB2-BD59-A6C34878D82A}">
                    <a16:rowId xmlns:a16="http://schemas.microsoft.com/office/drawing/2014/main" val="2778240074"/>
                  </a:ext>
                </a:extLst>
              </a:tr>
              <a:tr h="238617">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7000"/>
                        </a:lnSpc>
                        <a:spcBef>
                          <a:spcPts val="200"/>
                        </a:spcBef>
                        <a:spcAft>
                          <a:spcPts val="200"/>
                        </a:spcAft>
                      </a:pPr>
                      <a:r>
                        <a:rPr lang="en-GB" sz="1800" kern="1200" noProof="0" dirty="0">
                          <a:effectLst/>
                          <a:latin typeface="+mn-lt"/>
                        </a:rPr>
                        <a:t>Any-grade ICANS</a:t>
                      </a:r>
                    </a:p>
                  </a:txBody>
                  <a:tcPr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7000"/>
                        </a:lnSpc>
                        <a:spcBef>
                          <a:spcPts val="200"/>
                        </a:spcBef>
                        <a:spcAft>
                          <a:spcPts val="200"/>
                        </a:spcAft>
                      </a:pPr>
                      <a:r>
                        <a:rPr lang="en-GB" sz="1800" noProof="0" dirty="0">
                          <a:effectLst/>
                          <a:latin typeface="+mn-lt"/>
                        </a:rPr>
                        <a:t>55%</a:t>
                      </a:r>
                    </a:p>
                  </a:txBody>
                  <a:tcPr anchor="ctr"/>
                </a:tc>
                <a:extLst>
                  <a:ext uri="{0D108BD9-81ED-4DB2-BD59-A6C34878D82A}">
                    <a16:rowId xmlns:a16="http://schemas.microsoft.com/office/drawing/2014/main" val="10002"/>
                  </a:ext>
                </a:extLst>
              </a:tr>
              <a:tr h="222274">
                <a:tc>
                  <a:txBody>
                    <a:bodyPr/>
                    <a:lstStyle/>
                    <a:p>
                      <a:pPr marL="117475" marR="0" lvl="0" indent="0" algn="l" defTabSz="685800" rtl="0" eaLnBrk="1" fontAlgn="auto" latinLnBrk="0" hangingPunct="1">
                        <a:lnSpc>
                          <a:spcPct val="107000"/>
                        </a:lnSpc>
                        <a:spcBef>
                          <a:spcPts val="200"/>
                        </a:spcBef>
                        <a:spcAft>
                          <a:spcPts val="200"/>
                        </a:spcAft>
                        <a:buClrTx/>
                        <a:buSzTx/>
                        <a:buFontTx/>
                        <a:buNone/>
                        <a:tabLst/>
                        <a:defRPr/>
                      </a:pPr>
                      <a:r>
                        <a:rPr lang="en-GB" sz="1800" noProof="0" dirty="0">
                          <a:effectLst/>
                          <a:latin typeface="+mn-lt"/>
                        </a:rPr>
                        <a:t>Grade ≥ 3</a:t>
                      </a:r>
                      <a:r>
                        <a:rPr lang="en-GB" sz="1800" baseline="0" noProof="0" dirty="0">
                          <a:effectLst/>
                          <a:latin typeface="+mn-lt"/>
                        </a:rPr>
                        <a:t> ICANS</a:t>
                      </a:r>
                      <a:endParaRPr lang="en-GB" sz="1800" kern="1200" noProof="0" dirty="0">
                        <a:effectLst/>
                        <a:latin typeface="+mn-lt"/>
                      </a:endParaRPr>
                    </a:p>
                  </a:txBody>
                  <a:tcPr anchor="ctr"/>
                </a:tc>
                <a:tc>
                  <a:txBody>
                    <a:bodyPr/>
                    <a:lstStyle/>
                    <a:p>
                      <a:pPr marL="0" marR="0" lvl="0" indent="0" algn="ctr" defTabSz="685800" rtl="0" eaLnBrk="1" fontAlgn="auto" latinLnBrk="0" hangingPunct="1">
                        <a:lnSpc>
                          <a:spcPct val="107000"/>
                        </a:lnSpc>
                        <a:spcBef>
                          <a:spcPts val="200"/>
                        </a:spcBef>
                        <a:spcAft>
                          <a:spcPts val="200"/>
                        </a:spcAft>
                        <a:buClrTx/>
                        <a:buSzTx/>
                        <a:buFontTx/>
                        <a:buNone/>
                        <a:tabLst/>
                        <a:defRPr/>
                      </a:pPr>
                      <a:r>
                        <a:rPr kumimoji="0" lang="en-GB" sz="1800" u="none" strike="noStrike" kern="1200" cap="none" spc="0" normalizeH="0" baseline="0" noProof="0" dirty="0">
                          <a:ln>
                            <a:noFill/>
                          </a:ln>
                          <a:effectLst/>
                          <a:uLnTx/>
                          <a:uFillTx/>
                          <a:latin typeface="+mn-lt"/>
                        </a:rPr>
                        <a:t>15%</a:t>
                      </a:r>
                      <a:endParaRPr lang="en-GB" sz="1800" noProof="0" dirty="0">
                        <a:solidFill>
                          <a:schemeClr val="tx1"/>
                        </a:solidFill>
                        <a:effectLst/>
                        <a:latin typeface="+mn-lt"/>
                        <a:ea typeface="Times New Roman" panose="02020603050405020304" pitchFamily="18" charset="0"/>
                      </a:endParaRPr>
                    </a:p>
                  </a:txBody>
                  <a:tcPr anchor="ctr"/>
                </a:tc>
                <a:extLst>
                  <a:ext uri="{0D108BD9-81ED-4DB2-BD59-A6C34878D82A}">
                    <a16:rowId xmlns:a16="http://schemas.microsoft.com/office/drawing/2014/main" val="3390381996"/>
                  </a:ext>
                </a:extLst>
              </a:tr>
              <a:tr h="222274">
                <a:tc>
                  <a:txBody>
                    <a:bodyPr/>
                    <a:lstStyle/>
                    <a:p>
                      <a:pPr marL="0" marR="0">
                        <a:lnSpc>
                          <a:spcPct val="107000"/>
                        </a:lnSpc>
                        <a:spcBef>
                          <a:spcPts val="200"/>
                        </a:spcBef>
                        <a:spcAft>
                          <a:spcPts val="200"/>
                        </a:spcAft>
                      </a:pPr>
                      <a:r>
                        <a:rPr lang="en-GB" sz="1800" kern="1200" noProof="0" dirty="0">
                          <a:effectLst/>
                          <a:latin typeface="+mn-lt"/>
                        </a:rPr>
                        <a:t>ICU</a:t>
                      </a:r>
                    </a:p>
                  </a:txBody>
                  <a:tcPr anchor="ctr"/>
                </a:tc>
                <a:tc>
                  <a:txBody>
                    <a:bodyPr/>
                    <a:lstStyle/>
                    <a:p>
                      <a:pPr marL="0" marR="0" algn="ctr">
                        <a:lnSpc>
                          <a:spcPct val="107000"/>
                        </a:lnSpc>
                        <a:spcBef>
                          <a:spcPts val="200"/>
                        </a:spcBef>
                        <a:spcAft>
                          <a:spcPts val="200"/>
                        </a:spcAft>
                      </a:pPr>
                      <a:r>
                        <a:rPr lang="en-GB" sz="1800" noProof="0" dirty="0">
                          <a:effectLst/>
                          <a:latin typeface="+mn-lt"/>
                        </a:rPr>
                        <a:t>34%</a:t>
                      </a:r>
                    </a:p>
                  </a:txBody>
                  <a:tcPr anchor="ctr"/>
                </a:tc>
                <a:extLst>
                  <a:ext uri="{0D108BD9-81ED-4DB2-BD59-A6C34878D82A}">
                    <a16:rowId xmlns:a16="http://schemas.microsoft.com/office/drawing/2014/main" val="26547904"/>
                  </a:ext>
                </a:extLst>
              </a:tr>
              <a:tr h="222274">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7000"/>
                        </a:lnSpc>
                        <a:spcBef>
                          <a:spcPts val="200"/>
                        </a:spcBef>
                        <a:spcAft>
                          <a:spcPts val="200"/>
                        </a:spcAft>
                      </a:pPr>
                      <a:r>
                        <a:rPr lang="en-GB" sz="1800" kern="1200" noProof="0" dirty="0">
                          <a:effectLst/>
                          <a:latin typeface="+mn-lt"/>
                        </a:rPr>
                        <a:t>NRM</a:t>
                      </a:r>
                    </a:p>
                  </a:txBody>
                  <a:tcPr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7000"/>
                        </a:lnSpc>
                        <a:spcBef>
                          <a:spcPts val="200"/>
                        </a:spcBef>
                        <a:spcAft>
                          <a:spcPts val="200"/>
                        </a:spcAft>
                      </a:pPr>
                      <a:r>
                        <a:rPr lang="en-GB" sz="1800" noProof="0" dirty="0">
                          <a:effectLst/>
                          <a:latin typeface="+mn-lt"/>
                        </a:rPr>
                        <a:t>11%</a:t>
                      </a:r>
                    </a:p>
                  </a:txBody>
                  <a:tcPr anchor="ctr"/>
                </a:tc>
                <a:extLst>
                  <a:ext uri="{0D108BD9-81ED-4DB2-BD59-A6C34878D82A}">
                    <a16:rowId xmlns:a16="http://schemas.microsoft.com/office/drawing/2014/main" val="83344144"/>
                  </a:ext>
                </a:extLst>
              </a:tr>
            </a:tbl>
          </a:graphicData>
        </a:graphic>
      </p:graphicFrame>
      <p:graphicFrame>
        <p:nvGraphicFramePr>
          <p:cNvPr id="3" name="Table 2">
            <a:extLst>
              <a:ext uri="{FF2B5EF4-FFF2-40B4-BE49-F238E27FC236}">
                <a16:creationId xmlns:a16="http://schemas.microsoft.com/office/drawing/2014/main" id="{C85F90B8-329B-6F45-CFA4-74664569F709}"/>
              </a:ext>
            </a:extLst>
          </p:cNvPr>
          <p:cNvGraphicFramePr>
            <a:graphicFrameLocks noGrp="1"/>
          </p:cNvGraphicFramePr>
          <p:nvPr/>
        </p:nvGraphicFramePr>
        <p:xfrm>
          <a:off x="1842769" y="4384832"/>
          <a:ext cx="2336364" cy="1188720"/>
        </p:xfrm>
        <a:graphic>
          <a:graphicData uri="http://schemas.openxmlformats.org/drawingml/2006/table">
            <a:tbl>
              <a:tblPr firstRow="1" bandRow="1">
                <a:tableStyleId>{9DCAF9ED-07DC-4A11-8D7F-57B35C25682E}</a:tableStyleId>
              </a:tblPr>
              <a:tblGrid>
                <a:gridCol w="1388744">
                  <a:extLst>
                    <a:ext uri="{9D8B030D-6E8A-4147-A177-3AD203B41FA5}">
                      <a16:colId xmlns:a16="http://schemas.microsoft.com/office/drawing/2014/main" val="3066188464"/>
                    </a:ext>
                  </a:extLst>
                </a:gridCol>
                <a:gridCol w="947620">
                  <a:extLst>
                    <a:ext uri="{9D8B030D-6E8A-4147-A177-3AD203B41FA5}">
                      <a16:colId xmlns:a16="http://schemas.microsoft.com/office/drawing/2014/main" val="1731947177"/>
                    </a:ext>
                  </a:extLst>
                </a:gridCol>
              </a:tblGrid>
              <a:tr h="200791">
                <a:tc>
                  <a:txBody>
                    <a:bodyPr/>
                    <a:lstStyle/>
                    <a:p>
                      <a:r>
                        <a:rPr lang="en-US" sz="2000" dirty="0">
                          <a:solidFill>
                            <a:schemeClr val="bg1"/>
                          </a:solidFill>
                        </a:rPr>
                        <a:t>Endpoint</a:t>
                      </a:r>
                    </a:p>
                  </a:txBody>
                  <a:tcPr/>
                </a:tc>
                <a:tc>
                  <a:txBody>
                    <a:bodyPr/>
                    <a:lstStyle/>
                    <a:p>
                      <a:endParaRPr lang="en-US" sz="2000" dirty="0">
                        <a:solidFill>
                          <a:schemeClr val="bg1"/>
                        </a:solidFill>
                      </a:endParaRPr>
                    </a:p>
                  </a:txBody>
                  <a:tcPr/>
                </a:tc>
                <a:extLst>
                  <a:ext uri="{0D108BD9-81ED-4DB2-BD59-A6C34878D82A}">
                    <a16:rowId xmlns:a16="http://schemas.microsoft.com/office/drawing/2014/main" val="2275027603"/>
                  </a:ext>
                </a:extLst>
              </a:tr>
              <a:tr h="179099">
                <a:tc>
                  <a:txBody>
                    <a:bodyPr/>
                    <a:lstStyle/>
                    <a:p>
                      <a:r>
                        <a:rPr lang="en-US" sz="2000" dirty="0"/>
                        <a:t>ORR</a:t>
                      </a:r>
                    </a:p>
                  </a:txBody>
                  <a:tcPr/>
                </a:tc>
                <a:tc>
                  <a:txBody>
                    <a:bodyPr/>
                    <a:lstStyle/>
                    <a:p>
                      <a:r>
                        <a:rPr lang="en-US" sz="2000" dirty="0"/>
                        <a:t>85%</a:t>
                      </a:r>
                    </a:p>
                  </a:txBody>
                  <a:tcPr/>
                </a:tc>
                <a:extLst>
                  <a:ext uri="{0D108BD9-81ED-4DB2-BD59-A6C34878D82A}">
                    <a16:rowId xmlns:a16="http://schemas.microsoft.com/office/drawing/2014/main" val="3756480942"/>
                  </a:ext>
                </a:extLst>
              </a:tr>
              <a:tr h="179099">
                <a:tc>
                  <a:txBody>
                    <a:bodyPr/>
                    <a:lstStyle/>
                    <a:p>
                      <a:r>
                        <a:rPr lang="en-US" sz="2000" dirty="0"/>
                        <a:t>CRR</a:t>
                      </a:r>
                    </a:p>
                  </a:txBody>
                  <a:tcPr/>
                </a:tc>
                <a:tc>
                  <a:txBody>
                    <a:bodyPr/>
                    <a:lstStyle/>
                    <a:p>
                      <a:r>
                        <a:rPr lang="en-US" sz="2000" dirty="0"/>
                        <a:t>72%</a:t>
                      </a:r>
                    </a:p>
                  </a:txBody>
                  <a:tcPr/>
                </a:tc>
                <a:extLst>
                  <a:ext uri="{0D108BD9-81ED-4DB2-BD59-A6C34878D82A}">
                    <a16:rowId xmlns:a16="http://schemas.microsoft.com/office/drawing/2014/main" val="1435293261"/>
                  </a:ext>
                </a:extLst>
              </a:tr>
            </a:tbl>
          </a:graphicData>
        </a:graphic>
      </p:graphicFrame>
      <p:pic>
        <p:nvPicPr>
          <p:cNvPr id="12" name="Picture 11">
            <a:extLst>
              <a:ext uri="{FF2B5EF4-FFF2-40B4-BE49-F238E27FC236}">
                <a16:creationId xmlns:a16="http://schemas.microsoft.com/office/drawing/2014/main" id="{76BA2CCD-21D2-C451-E4CC-F1C867A6620D}"/>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7010858" y="903402"/>
            <a:ext cx="4089969" cy="3018646"/>
          </a:xfrm>
          <a:prstGeom prst="rect">
            <a:avLst/>
          </a:prstGeom>
        </p:spPr>
      </p:pic>
      <p:sp>
        <p:nvSpPr>
          <p:cNvPr id="7" name="TextBox 6">
            <a:extLst>
              <a:ext uri="{FF2B5EF4-FFF2-40B4-BE49-F238E27FC236}">
                <a16:creationId xmlns:a16="http://schemas.microsoft.com/office/drawing/2014/main" id="{5ED591FA-3902-B8B6-0035-09C9F41053E7}"/>
              </a:ext>
            </a:extLst>
          </p:cNvPr>
          <p:cNvSpPr txBox="1"/>
          <p:nvPr/>
        </p:nvSpPr>
        <p:spPr>
          <a:xfrm>
            <a:off x="8184313" y="1284448"/>
            <a:ext cx="3209537"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Median PFS: 9.5 months</a:t>
            </a:r>
          </a:p>
        </p:txBody>
      </p:sp>
    </p:spTree>
    <p:extLst>
      <p:ext uri="{BB962C8B-B14F-4D97-AF65-F5344CB8AC3E}">
        <p14:creationId xmlns:p14="http://schemas.microsoft.com/office/powerpoint/2010/main" val="20136916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1C90D9-2947-F165-65F8-985F2EA091F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5903A78-7F77-B433-1F3F-B255B622AE74}"/>
              </a:ext>
            </a:extLst>
          </p:cNvPr>
          <p:cNvSpPr>
            <a:spLocks noGrp="1"/>
          </p:cNvSpPr>
          <p:nvPr>
            <p:ph type="title"/>
          </p:nvPr>
        </p:nvSpPr>
        <p:spPr>
          <a:xfrm>
            <a:off x="641350" y="301449"/>
            <a:ext cx="10902950" cy="956516"/>
          </a:xfrm>
        </p:spPr>
        <p:txBody>
          <a:bodyPr/>
          <a:lstStyle/>
          <a:p>
            <a:r>
              <a:rPr lang="en-US" dirty="0"/>
              <a:t>Liso-cel for 3L+ MCL post </a:t>
            </a:r>
            <a:r>
              <a:rPr lang="en-US" dirty="0" err="1"/>
              <a:t>cBTK</a:t>
            </a:r>
            <a:r>
              <a:rPr lang="en-US" dirty="0"/>
              <a:t> inhibition: TRANSCEND</a:t>
            </a:r>
          </a:p>
        </p:txBody>
      </p:sp>
      <p:sp>
        <p:nvSpPr>
          <p:cNvPr id="6" name="Text Placeholder 15">
            <a:extLst>
              <a:ext uri="{FF2B5EF4-FFF2-40B4-BE49-F238E27FC236}">
                <a16:creationId xmlns:a16="http://schemas.microsoft.com/office/drawing/2014/main" id="{1782B2B9-9B4E-D7DB-AA91-7B48AE653BAE}"/>
              </a:ext>
            </a:extLst>
          </p:cNvPr>
          <p:cNvSpPr txBox="1">
            <a:spLocks/>
          </p:cNvSpPr>
          <p:nvPr/>
        </p:nvSpPr>
        <p:spPr>
          <a:xfrm>
            <a:off x="108747" y="6662861"/>
            <a:ext cx="10444162" cy="186238"/>
          </a:xfrm>
          <a:prstGeom prst="rect">
            <a:avLst/>
          </a:prstGeo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dirty="0">
                <a:ln>
                  <a:noFill/>
                </a:ln>
                <a:solidFill>
                  <a:srgbClr val="000000"/>
                </a:solidFill>
                <a:effectLst/>
                <a:uLnTx/>
                <a:uFillTx/>
                <a:latin typeface="Calibri"/>
                <a:ea typeface="+mn-ea"/>
                <a:cs typeface="+mn-cs"/>
              </a:rPr>
              <a:t>Wang, et al. JCO 2023.; Wang M, et al. ASTCT 2025. Abstract 240.</a:t>
            </a:r>
            <a:endParaRPr kumimoji="0" lang="en-GB" sz="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0ED9B7BE-F182-A7FD-12EE-AB62D0FB0CD7}"/>
              </a:ext>
            </a:extLst>
          </p:cNvPr>
          <p:cNvSpPr/>
          <p:nvPr/>
        </p:nvSpPr>
        <p:spPr>
          <a:xfrm>
            <a:off x="9741736" y="2512717"/>
            <a:ext cx="1334545" cy="1036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aphicFrame>
        <p:nvGraphicFramePr>
          <p:cNvPr id="15" name="Table 14">
            <a:extLst>
              <a:ext uri="{FF2B5EF4-FFF2-40B4-BE49-F238E27FC236}">
                <a16:creationId xmlns:a16="http://schemas.microsoft.com/office/drawing/2014/main" id="{A419B681-3F53-8691-63CC-7A511C07C15A}"/>
              </a:ext>
            </a:extLst>
          </p:cNvPr>
          <p:cNvGraphicFramePr>
            <a:graphicFrameLocks noGrp="1"/>
          </p:cNvGraphicFramePr>
          <p:nvPr/>
        </p:nvGraphicFramePr>
        <p:xfrm>
          <a:off x="1382758" y="4003084"/>
          <a:ext cx="2646485" cy="1873102"/>
        </p:xfrm>
        <a:graphic>
          <a:graphicData uri="http://schemas.openxmlformats.org/drawingml/2006/table">
            <a:tbl>
              <a:tblPr firstRow="1" bandRow="1">
                <a:tableStyleId>{B301B821-A1FF-4177-AEE7-76D212191A09}</a:tableStyleId>
              </a:tblPr>
              <a:tblGrid>
                <a:gridCol w="1573081">
                  <a:extLst>
                    <a:ext uri="{9D8B030D-6E8A-4147-A177-3AD203B41FA5}">
                      <a16:colId xmlns:a16="http://schemas.microsoft.com/office/drawing/2014/main" val="3066188464"/>
                    </a:ext>
                  </a:extLst>
                </a:gridCol>
                <a:gridCol w="1073404">
                  <a:extLst>
                    <a:ext uri="{9D8B030D-6E8A-4147-A177-3AD203B41FA5}">
                      <a16:colId xmlns:a16="http://schemas.microsoft.com/office/drawing/2014/main" val="1731947177"/>
                    </a:ext>
                  </a:extLst>
                </a:gridCol>
              </a:tblGrid>
              <a:tr h="410062">
                <a:tc>
                  <a:txBody>
                    <a:bodyPr/>
                    <a:lstStyle/>
                    <a:p>
                      <a:r>
                        <a:rPr lang="en-US" sz="1800" dirty="0">
                          <a:solidFill>
                            <a:schemeClr val="bg1"/>
                          </a:solidFill>
                        </a:rPr>
                        <a:t>Endpoint</a:t>
                      </a:r>
                    </a:p>
                  </a:txBody>
                  <a:tcPr/>
                </a:tc>
                <a:tc>
                  <a:txBody>
                    <a:bodyPr/>
                    <a:lstStyle/>
                    <a:p>
                      <a:r>
                        <a:rPr lang="en-US" sz="1800" dirty="0">
                          <a:solidFill>
                            <a:schemeClr val="bg1"/>
                          </a:solidFill>
                        </a:rPr>
                        <a:t>n=83</a:t>
                      </a:r>
                    </a:p>
                  </a:txBody>
                  <a:tcPr/>
                </a:tc>
                <a:extLst>
                  <a:ext uri="{0D108BD9-81ED-4DB2-BD59-A6C34878D82A}">
                    <a16:rowId xmlns:a16="http://schemas.microsoft.com/office/drawing/2014/main" val="2275027603"/>
                  </a:ext>
                </a:extLst>
              </a:tr>
              <a:tr h="236574">
                <a:tc>
                  <a:txBody>
                    <a:bodyPr/>
                    <a:lstStyle/>
                    <a:p>
                      <a:r>
                        <a:rPr lang="en-US" sz="1800" dirty="0"/>
                        <a:t>ORR</a:t>
                      </a:r>
                    </a:p>
                  </a:txBody>
                  <a:tcPr/>
                </a:tc>
                <a:tc>
                  <a:txBody>
                    <a:bodyPr/>
                    <a:lstStyle/>
                    <a:p>
                      <a:r>
                        <a:rPr lang="en-US" sz="1800" dirty="0"/>
                        <a:t>83%</a:t>
                      </a:r>
                    </a:p>
                  </a:txBody>
                  <a:tcPr/>
                </a:tc>
                <a:extLst>
                  <a:ext uri="{0D108BD9-81ED-4DB2-BD59-A6C34878D82A}">
                    <a16:rowId xmlns:a16="http://schemas.microsoft.com/office/drawing/2014/main" val="3756480942"/>
                  </a:ext>
                </a:extLst>
              </a:tr>
              <a:tr h="236574">
                <a:tc>
                  <a:txBody>
                    <a:bodyPr/>
                    <a:lstStyle/>
                    <a:p>
                      <a:r>
                        <a:rPr lang="en-US" sz="1800" dirty="0"/>
                        <a:t>CRR</a:t>
                      </a:r>
                    </a:p>
                  </a:txBody>
                  <a:tcPr/>
                </a:tc>
                <a:tc>
                  <a:txBody>
                    <a:bodyPr/>
                    <a:lstStyle/>
                    <a:p>
                      <a:r>
                        <a:rPr lang="en-US" sz="1800" dirty="0"/>
                        <a:t>72%</a:t>
                      </a:r>
                    </a:p>
                  </a:txBody>
                  <a:tcPr/>
                </a:tc>
                <a:extLst>
                  <a:ext uri="{0D108BD9-81ED-4DB2-BD59-A6C34878D82A}">
                    <a16:rowId xmlns:a16="http://schemas.microsoft.com/office/drawing/2014/main" val="1435293261"/>
                  </a:ext>
                </a:extLst>
              </a:tr>
              <a:tr h="236574">
                <a:tc>
                  <a:txBody>
                    <a:bodyPr/>
                    <a:lstStyle/>
                    <a:p>
                      <a:r>
                        <a:rPr lang="en-US" sz="1800" dirty="0"/>
                        <a:t>Median DOR</a:t>
                      </a:r>
                    </a:p>
                  </a:txBody>
                  <a:tcPr/>
                </a:tc>
                <a:tc>
                  <a:txBody>
                    <a:bodyPr/>
                    <a:lstStyle/>
                    <a:p>
                      <a:r>
                        <a:rPr lang="en-US" sz="1800" dirty="0"/>
                        <a:t>14.5 m</a:t>
                      </a:r>
                    </a:p>
                  </a:txBody>
                  <a:tcPr/>
                </a:tc>
                <a:extLst>
                  <a:ext uri="{0D108BD9-81ED-4DB2-BD59-A6C34878D82A}">
                    <a16:rowId xmlns:a16="http://schemas.microsoft.com/office/drawing/2014/main" val="4241082811"/>
                  </a:ext>
                </a:extLst>
              </a:tr>
              <a:tr h="236574">
                <a:tc>
                  <a:txBody>
                    <a:bodyPr/>
                    <a:lstStyle/>
                    <a:p>
                      <a:r>
                        <a:rPr lang="en-US" sz="1800" dirty="0"/>
                        <a:t>Median DOCR</a:t>
                      </a:r>
                    </a:p>
                  </a:txBody>
                  <a:tcPr/>
                </a:tc>
                <a:tc>
                  <a:txBody>
                    <a:bodyPr/>
                    <a:lstStyle/>
                    <a:p>
                      <a:r>
                        <a:rPr lang="en-US" sz="1800" dirty="0"/>
                        <a:t>15.7 m</a:t>
                      </a:r>
                    </a:p>
                  </a:txBody>
                  <a:tcPr/>
                </a:tc>
                <a:extLst>
                  <a:ext uri="{0D108BD9-81ED-4DB2-BD59-A6C34878D82A}">
                    <a16:rowId xmlns:a16="http://schemas.microsoft.com/office/drawing/2014/main" val="3197842702"/>
                  </a:ext>
                </a:extLst>
              </a:tr>
            </a:tbl>
          </a:graphicData>
        </a:graphic>
      </p:graphicFrame>
      <p:graphicFrame>
        <p:nvGraphicFramePr>
          <p:cNvPr id="17" name="Table 16">
            <a:extLst>
              <a:ext uri="{FF2B5EF4-FFF2-40B4-BE49-F238E27FC236}">
                <a16:creationId xmlns:a16="http://schemas.microsoft.com/office/drawing/2014/main" id="{31D88189-BC86-4103-4D56-F81ED83EBE24}"/>
              </a:ext>
            </a:extLst>
          </p:cNvPr>
          <p:cNvGraphicFramePr>
            <a:graphicFrameLocks noGrp="1"/>
          </p:cNvGraphicFramePr>
          <p:nvPr/>
        </p:nvGraphicFramePr>
        <p:xfrm>
          <a:off x="7090492" y="4376176"/>
          <a:ext cx="3318516" cy="2231520"/>
        </p:xfrm>
        <a:graphic>
          <a:graphicData uri="http://schemas.openxmlformats.org/drawingml/2006/table">
            <a:tbl>
              <a:tblPr firstRow="1" bandRow="1">
                <a:tableStyleId>{5C22544A-7EE6-4342-B048-85BDC9FD1C3A}</a:tableStyleId>
              </a:tblPr>
              <a:tblGrid>
                <a:gridCol w="2339830">
                  <a:extLst>
                    <a:ext uri="{9D8B030D-6E8A-4147-A177-3AD203B41FA5}">
                      <a16:colId xmlns:a16="http://schemas.microsoft.com/office/drawing/2014/main" val="20000"/>
                    </a:ext>
                  </a:extLst>
                </a:gridCol>
                <a:gridCol w="978686">
                  <a:extLst>
                    <a:ext uri="{9D8B030D-6E8A-4147-A177-3AD203B41FA5}">
                      <a16:colId xmlns:a16="http://schemas.microsoft.com/office/drawing/2014/main" val="20001"/>
                    </a:ext>
                  </a:extLst>
                </a:gridCol>
              </a:tblGrid>
              <a:tr h="27305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7000"/>
                        </a:lnSpc>
                        <a:spcBef>
                          <a:spcPts val="200"/>
                        </a:spcBef>
                        <a:spcAft>
                          <a:spcPts val="200"/>
                        </a:spcAft>
                      </a:pPr>
                      <a:r>
                        <a:rPr lang="en-GB" sz="1800" noProof="0" dirty="0">
                          <a:solidFill>
                            <a:schemeClr val="bg1"/>
                          </a:solidFill>
                          <a:effectLst/>
                        </a:rPr>
                        <a:t>Toxicity</a:t>
                      </a:r>
                      <a:endParaRPr lang="en-GB" sz="1800" b="1" noProof="0" dirty="0">
                        <a:solidFill>
                          <a:schemeClr val="bg1"/>
                        </a:solidFill>
                        <a:effectLst/>
                        <a:latin typeface="+mn-lt"/>
                        <a:ea typeface="Times New Roman" panose="02020603050405020304" pitchFamily="18" charset="0"/>
                      </a:endParaRPr>
                    </a:p>
                  </a:txBody>
                  <a:tcPr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7000"/>
                        </a:lnSpc>
                        <a:spcBef>
                          <a:spcPts val="200"/>
                        </a:spcBef>
                        <a:spcAft>
                          <a:spcPts val="200"/>
                        </a:spcAft>
                        <a:buClrTx/>
                        <a:buSzTx/>
                        <a:buFontTx/>
                        <a:buNone/>
                        <a:tabLst/>
                        <a:defRPr/>
                      </a:pPr>
                      <a:endParaRPr lang="en-GB" sz="1800" b="1" baseline="0" noProof="0" dirty="0">
                        <a:solidFill>
                          <a:schemeClr val="tx2"/>
                        </a:solidFill>
                        <a:effectLst/>
                        <a:latin typeface="+mn-lt"/>
                        <a:ea typeface="Times New Roman" panose="02020603050405020304" pitchFamily="18" charset="0"/>
                      </a:endParaRPr>
                    </a:p>
                  </a:txBody>
                  <a:tcPr anchor="ctr"/>
                </a:tc>
                <a:extLst>
                  <a:ext uri="{0D108BD9-81ED-4DB2-BD59-A6C34878D82A}">
                    <a16:rowId xmlns:a16="http://schemas.microsoft.com/office/drawing/2014/main" val="10000"/>
                  </a:ext>
                </a:extLst>
              </a:tr>
              <a:tr h="238617">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7000"/>
                        </a:lnSpc>
                        <a:spcBef>
                          <a:spcPts val="200"/>
                        </a:spcBef>
                        <a:spcAft>
                          <a:spcPts val="200"/>
                        </a:spcAft>
                      </a:pPr>
                      <a:r>
                        <a:rPr lang="en-GB" sz="1800" noProof="0" dirty="0">
                          <a:effectLst/>
                        </a:rPr>
                        <a:t>Any-grade CRS</a:t>
                      </a:r>
                      <a:endParaRPr lang="en-GB" sz="1800" noProof="0" dirty="0">
                        <a:effectLst/>
                        <a:latin typeface="+mn-lt"/>
                      </a:endParaRPr>
                    </a:p>
                  </a:txBody>
                  <a:tcPr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7000"/>
                        </a:lnSpc>
                        <a:spcBef>
                          <a:spcPts val="200"/>
                        </a:spcBef>
                        <a:spcAft>
                          <a:spcPts val="200"/>
                        </a:spcAft>
                      </a:pPr>
                      <a:r>
                        <a:rPr lang="en-GB" sz="1800" noProof="0" dirty="0">
                          <a:effectLst/>
                        </a:rPr>
                        <a:t>61%</a:t>
                      </a:r>
                      <a:endParaRPr lang="en-GB" sz="1800" noProof="0" dirty="0">
                        <a:effectLst/>
                        <a:latin typeface="+mn-lt"/>
                      </a:endParaRPr>
                    </a:p>
                  </a:txBody>
                  <a:tcPr anchor="ctr"/>
                </a:tc>
                <a:extLst>
                  <a:ext uri="{0D108BD9-81ED-4DB2-BD59-A6C34878D82A}">
                    <a16:rowId xmlns:a16="http://schemas.microsoft.com/office/drawing/2014/main" val="10001"/>
                  </a:ext>
                </a:extLst>
              </a:tr>
              <a:tr h="238617">
                <a:tc>
                  <a:txBody>
                    <a:bodyPr/>
                    <a:lstStyle/>
                    <a:p>
                      <a:pPr marL="117475" marR="0" lvl="0" indent="0" algn="l" defTabSz="685800" rtl="0" eaLnBrk="1" fontAlgn="auto" latinLnBrk="0" hangingPunct="1">
                        <a:lnSpc>
                          <a:spcPct val="107000"/>
                        </a:lnSpc>
                        <a:spcBef>
                          <a:spcPts val="200"/>
                        </a:spcBef>
                        <a:spcAft>
                          <a:spcPts val="200"/>
                        </a:spcAft>
                        <a:buClrTx/>
                        <a:buSzTx/>
                        <a:buFontTx/>
                        <a:buNone/>
                        <a:tabLst/>
                        <a:defRPr/>
                      </a:pPr>
                      <a:r>
                        <a:rPr lang="en-GB" sz="1800" noProof="0" dirty="0">
                          <a:effectLst/>
                        </a:rPr>
                        <a:t>Grade ≥ 3</a:t>
                      </a:r>
                      <a:r>
                        <a:rPr lang="en-GB" sz="1800" baseline="0" noProof="0" dirty="0">
                          <a:effectLst/>
                        </a:rPr>
                        <a:t> </a:t>
                      </a:r>
                      <a:r>
                        <a:rPr lang="en-GB" sz="1800" noProof="0" dirty="0">
                          <a:effectLst/>
                        </a:rPr>
                        <a:t>CRS</a:t>
                      </a:r>
                      <a:endParaRPr lang="en-GB" sz="1800" kern="1200" noProof="0" dirty="0">
                        <a:effectLst/>
                        <a:latin typeface="+mn-lt"/>
                      </a:endParaRPr>
                    </a:p>
                  </a:txBody>
                  <a:tcPr anchor="ctr"/>
                </a:tc>
                <a:tc>
                  <a:txBody>
                    <a:bodyPr/>
                    <a:lstStyle/>
                    <a:p>
                      <a:pPr marL="0" marR="0" lvl="0" indent="0" algn="ctr" defTabSz="685800" rtl="0" eaLnBrk="1" fontAlgn="auto" latinLnBrk="0" hangingPunct="1">
                        <a:lnSpc>
                          <a:spcPct val="107000"/>
                        </a:lnSpc>
                        <a:spcBef>
                          <a:spcPts val="200"/>
                        </a:spcBef>
                        <a:spcAft>
                          <a:spcPts val="200"/>
                        </a:spcAft>
                        <a:buClrTx/>
                        <a:buSzTx/>
                        <a:buFontTx/>
                        <a:buNone/>
                        <a:tabLst/>
                        <a:defRPr/>
                      </a:pPr>
                      <a:r>
                        <a:rPr lang="en-GB" sz="1800" noProof="0" dirty="0">
                          <a:effectLst/>
                        </a:rPr>
                        <a:t>1%</a:t>
                      </a:r>
                      <a:endParaRPr lang="en-GB" sz="1800" noProof="0" dirty="0">
                        <a:effectLst/>
                        <a:latin typeface="+mn-lt"/>
                      </a:endParaRPr>
                    </a:p>
                  </a:txBody>
                  <a:tcPr anchor="ctr"/>
                </a:tc>
                <a:extLst>
                  <a:ext uri="{0D108BD9-81ED-4DB2-BD59-A6C34878D82A}">
                    <a16:rowId xmlns:a16="http://schemas.microsoft.com/office/drawing/2014/main" val="2778240074"/>
                  </a:ext>
                </a:extLst>
              </a:tr>
              <a:tr h="238617">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7000"/>
                        </a:lnSpc>
                        <a:spcBef>
                          <a:spcPts val="200"/>
                        </a:spcBef>
                        <a:spcAft>
                          <a:spcPts val="200"/>
                        </a:spcAft>
                      </a:pPr>
                      <a:r>
                        <a:rPr lang="en-GB" sz="1800" kern="1200" noProof="0" dirty="0">
                          <a:effectLst/>
                        </a:rPr>
                        <a:t>Any-grade ICANS</a:t>
                      </a:r>
                      <a:endParaRPr lang="en-GB" sz="1800" kern="1200" noProof="0" dirty="0">
                        <a:effectLst/>
                        <a:latin typeface="+mn-lt"/>
                      </a:endParaRPr>
                    </a:p>
                  </a:txBody>
                  <a:tcPr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7000"/>
                        </a:lnSpc>
                        <a:spcBef>
                          <a:spcPts val="200"/>
                        </a:spcBef>
                        <a:spcAft>
                          <a:spcPts val="200"/>
                        </a:spcAft>
                      </a:pPr>
                      <a:r>
                        <a:rPr lang="en-GB" sz="1800" noProof="0" dirty="0">
                          <a:effectLst/>
                        </a:rPr>
                        <a:t>31%</a:t>
                      </a:r>
                      <a:endParaRPr lang="en-GB" sz="1800" noProof="0" dirty="0">
                        <a:effectLst/>
                        <a:latin typeface="+mn-lt"/>
                      </a:endParaRPr>
                    </a:p>
                  </a:txBody>
                  <a:tcPr anchor="ctr"/>
                </a:tc>
                <a:extLst>
                  <a:ext uri="{0D108BD9-81ED-4DB2-BD59-A6C34878D82A}">
                    <a16:rowId xmlns:a16="http://schemas.microsoft.com/office/drawing/2014/main" val="10002"/>
                  </a:ext>
                </a:extLst>
              </a:tr>
              <a:tr h="222274">
                <a:tc>
                  <a:txBody>
                    <a:bodyPr/>
                    <a:lstStyle/>
                    <a:p>
                      <a:pPr marL="117475" marR="0" lvl="0" indent="0" algn="l" defTabSz="685800" rtl="0" eaLnBrk="1" fontAlgn="auto" latinLnBrk="0" hangingPunct="1">
                        <a:lnSpc>
                          <a:spcPct val="107000"/>
                        </a:lnSpc>
                        <a:spcBef>
                          <a:spcPts val="200"/>
                        </a:spcBef>
                        <a:spcAft>
                          <a:spcPts val="200"/>
                        </a:spcAft>
                        <a:buClrTx/>
                        <a:buSzTx/>
                        <a:buFontTx/>
                        <a:buNone/>
                        <a:tabLst/>
                        <a:defRPr/>
                      </a:pPr>
                      <a:r>
                        <a:rPr lang="en-GB" sz="1800" noProof="0" dirty="0">
                          <a:effectLst/>
                        </a:rPr>
                        <a:t>Grade ≥ 3</a:t>
                      </a:r>
                      <a:r>
                        <a:rPr lang="en-GB" sz="1800" baseline="0" noProof="0" dirty="0">
                          <a:effectLst/>
                        </a:rPr>
                        <a:t> ICANS</a:t>
                      </a:r>
                      <a:endParaRPr lang="en-GB" sz="1800" kern="1200" noProof="0" dirty="0">
                        <a:effectLst/>
                        <a:latin typeface="+mn-lt"/>
                      </a:endParaRPr>
                    </a:p>
                  </a:txBody>
                  <a:tcPr anchor="ctr"/>
                </a:tc>
                <a:tc>
                  <a:txBody>
                    <a:bodyPr/>
                    <a:lstStyle/>
                    <a:p>
                      <a:pPr marL="0" marR="0" lvl="0" indent="0" algn="ctr" defTabSz="685800" rtl="0" eaLnBrk="1" fontAlgn="auto" latinLnBrk="0" hangingPunct="1">
                        <a:lnSpc>
                          <a:spcPct val="107000"/>
                        </a:lnSpc>
                        <a:spcBef>
                          <a:spcPts val="200"/>
                        </a:spcBef>
                        <a:spcAft>
                          <a:spcPts val="200"/>
                        </a:spcAft>
                        <a:buClrTx/>
                        <a:buSzTx/>
                        <a:buFontTx/>
                        <a:buNone/>
                        <a:tabLst/>
                        <a:defRPr/>
                      </a:pPr>
                      <a:r>
                        <a:rPr kumimoji="0" lang="en-GB" sz="1800" u="none" strike="noStrike" kern="1200" cap="none" spc="0" normalizeH="0" baseline="0" noProof="0" dirty="0">
                          <a:ln>
                            <a:noFill/>
                          </a:ln>
                          <a:effectLst/>
                          <a:uLnTx/>
                          <a:uFillTx/>
                        </a:rPr>
                        <a:t>9%</a:t>
                      </a:r>
                      <a:endParaRPr lang="en-GB" sz="1800" noProof="0" dirty="0">
                        <a:solidFill>
                          <a:schemeClr val="tx1"/>
                        </a:solidFill>
                        <a:effectLst/>
                        <a:latin typeface="+mn-lt"/>
                        <a:ea typeface="Times New Roman" panose="02020603050405020304" pitchFamily="18" charset="0"/>
                      </a:endParaRPr>
                    </a:p>
                  </a:txBody>
                  <a:tcPr anchor="ctr"/>
                </a:tc>
                <a:extLst>
                  <a:ext uri="{0D108BD9-81ED-4DB2-BD59-A6C34878D82A}">
                    <a16:rowId xmlns:a16="http://schemas.microsoft.com/office/drawing/2014/main" val="3390381996"/>
                  </a:ext>
                </a:extLst>
              </a:tr>
              <a:tr h="222274">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7000"/>
                        </a:lnSpc>
                        <a:spcBef>
                          <a:spcPts val="200"/>
                        </a:spcBef>
                        <a:spcAft>
                          <a:spcPts val="200"/>
                        </a:spcAft>
                      </a:pPr>
                      <a:r>
                        <a:rPr lang="en-GB" sz="1800" kern="1200" noProof="0" dirty="0">
                          <a:effectLst/>
                        </a:rPr>
                        <a:t>ICU</a:t>
                      </a:r>
                      <a:endParaRPr lang="en-GB" sz="1800" kern="1200" noProof="0" dirty="0">
                        <a:effectLst/>
                        <a:latin typeface="+mn-lt"/>
                      </a:endParaRPr>
                    </a:p>
                  </a:txBody>
                  <a:tcPr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ctr">
                        <a:lnSpc>
                          <a:spcPct val="107000"/>
                        </a:lnSpc>
                        <a:spcBef>
                          <a:spcPts val="200"/>
                        </a:spcBef>
                        <a:spcAft>
                          <a:spcPts val="200"/>
                        </a:spcAft>
                      </a:pPr>
                      <a:r>
                        <a:rPr lang="en-GB" sz="1800" noProof="0" dirty="0">
                          <a:effectLst/>
                        </a:rPr>
                        <a:t>6%</a:t>
                      </a:r>
                      <a:endParaRPr lang="en-GB" sz="1800" noProof="0" dirty="0">
                        <a:effectLst/>
                        <a:latin typeface="+mn-lt"/>
                      </a:endParaRPr>
                    </a:p>
                  </a:txBody>
                  <a:tcPr anchor="ctr"/>
                </a:tc>
                <a:extLst>
                  <a:ext uri="{0D108BD9-81ED-4DB2-BD59-A6C34878D82A}">
                    <a16:rowId xmlns:a16="http://schemas.microsoft.com/office/drawing/2014/main" val="3002352239"/>
                  </a:ext>
                </a:extLst>
              </a:tr>
            </a:tbl>
          </a:graphicData>
        </a:graphic>
      </p:graphicFrame>
      <p:graphicFrame>
        <p:nvGraphicFramePr>
          <p:cNvPr id="7" name="Content Placeholder 3">
            <a:extLst>
              <a:ext uri="{FF2B5EF4-FFF2-40B4-BE49-F238E27FC236}">
                <a16:creationId xmlns:a16="http://schemas.microsoft.com/office/drawing/2014/main" id="{0251B119-014A-CB4C-EBCD-36EB69CFB179}"/>
              </a:ext>
            </a:extLst>
          </p:cNvPr>
          <p:cNvGraphicFramePr>
            <a:graphicFrameLocks noGrp="1"/>
          </p:cNvGraphicFramePr>
          <p:nvPr>
            <p:ph idx="1"/>
          </p:nvPr>
        </p:nvGraphicFramePr>
        <p:xfrm>
          <a:off x="566706" y="1380079"/>
          <a:ext cx="3893116" cy="2306446"/>
        </p:xfrm>
        <a:graphic>
          <a:graphicData uri="http://schemas.openxmlformats.org/drawingml/2006/table">
            <a:tbl>
              <a:tblPr firstRow="1" bandRow="1">
                <a:tableStyleId>{6E25E649-3F16-4E02-A733-19D2CDBF48F0}</a:tableStyleId>
              </a:tblPr>
              <a:tblGrid>
                <a:gridCol w="2589789">
                  <a:extLst>
                    <a:ext uri="{9D8B030D-6E8A-4147-A177-3AD203B41FA5}">
                      <a16:colId xmlns:a16="http://schemas.microsoft.com/office/drawing/2014/main" val="1361055744"/>
                    </a:ext>
                  </a:extLst>
                </a:gridCol>
                <a:gridCol w="1303327">
                  <a:extLst>
                    <a:ext uri="{9D8B030D-6E8A-4147-A177-3AD203B41FA5}">
                      <a16:colId xmlns:a16="http://schemas.microsoft.com/office/drawing/2014/main" val="1239299162"/>
                    </a:ext>
                  </a:extLst>
                </a:gridCol>
              </a:tblGrid>
              <a:tr h="5538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t>Baseline Characteristics</a:t>
                      </a:r>
                    </a:p>
                  </a:txBody>
                  <a:tcPr anchor="ctr"/>
                </a:tc>
                <a:tc>
                  <a:txBody>
                    <a:bodyPr/>
                    <a:lstStyle/>
                    <a:p>
                      <a:pPr algn="ctr"/>
                      <a:endParaRPr lang="en-US" sz="1800" dirty="0">
                        <a:solidFill>
                          <a:schemeClr val="bg1"/>
                        </a:solidFill>
                      </a:endParaRPr>
                    </a:p>
                  </a:txBody>
                  <a:tcPr anchor="ctr"/>
                </a:tc>
                <a:extLst>
                  <a:ext uri="{0D108BD9-81ED-4DB2-BD59-A6C34878D82A}">
                    <a16:rowId xmlns:a16="http://schemas.microsoft.com/office/drawing/2014/main" val="2987787854"/>
                  </a:ext>
                </a:extLst>
              </a:tr>
              <a:tr h="303297">
                <a:tc>
                  <a:txBody>
                    <a:bodyPr/>
                    <a:lstStyle/>
                    <a:p>
                      <a:pPr>
                        <a:buClr>
                          <a:srgbClr val="000000"/>
                        </a:buClr>
                      </a:pPr>
                      <a:r>
                        <a:rPr lang="en-US" sz="1800" b="0" dirty="0">
                          <a:solidFill>
                            <a:schemeClr val="tx1"/>
                          </a:solidFill>
                        </a:rPr>
                        <a:t>n</a:t>
                      </a:r>
                    </a:p>
                  </a:txBody>
                  <a:tcPr marL="68580" marR="68580" marT="34290" marB="3429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0" dirty="0"/>
                        <a:t>88</a:t>
                      </a:r>
                      <a:endParaRPr lang="en-US" sz="1700" dirty="0"/>
                    </a:p>
                  </a:txBody>
                  <a:tcPr/>
                </a:tc>
                <a:extLst>
                  <a:ext uri="{0D108BD9-81ED-4DB2-BD59-A6C34878D82A}">
                    <a16:rowId xmlns:a16="http://schemas.microsoft.com/office/drawing/2014/main" val="3674242130"/>
                  </a:ext>
                </a:extLst>
              </a:tr>
              <a:tr h="303297">
                <a:tc>
                  <a:txBody>
                    <a:bodyPr/>
                    <a:lstStyle/>
                    <a:p>
                      <a:pPr>
                        <a:buClr>
                          <a:srgbClr val="000000"/>
                        </a:buClr>
                      </a:pPr>
                      <a:r>
                        <a:rPr lang="en-US" sz="1800" b="0" dirty="0">
                          <a:solidFill>
                            <a:schemeClr val="tx1"/>
                          </a:solidFill>
                        </a:rPr>
                        <a:t>Median # prior lines</a:t>
                      </a:r>
                    </a:p>
                  </a:txBody>
                  <a:tcPr marL="68580" marR="68580" marT="34290" marB="34290" anchor="ctr"/>
                </a:tc>
                <a:tc>
                  <a:txBody>
                    <a:bodyPr/>
                    <a:lstStyle/>
                    <a:p>
                      <a:r>
                        <a:rPr lang="en-GB" sz="1700" noProof="0" dirty="0">
                          <a:effectLst/>
                        </a:rPr>
                        <a:t>3 (1-11)</a:t>
                      </a:r>
                      <a:endParaRPr lang="en-US" sz="1700" dirty="0"/>
                    </a:p>
                  </a:txBody>
                  <a:tcPr anchor="ctr"/>
                </a:tc>
                <a:extLst>
                  <a:ext uri="{0D108BD9-81ED-4DB2-BD59-A6C34878D82A}">
                    <a16:rowId xmlns:a16="http://schemas.microsoft.com/office/drawing/2014/main" val="1395914031"/>
                  </a:ext>
                </a:extLst>
              </a:tr>
              <a:tr h="303297">
                <a:tc>
                  <a:txBody>
                    <a:bodyPr/>
                    <a:lstStyle/>
                    <a:p>
                      <a:pPr>
                        <a:buClr>
                          <a:srgbClr val="000000"/>
                        </a:buClr>
                      </a:pPr>
                      <a:r>
                        <a:rPr lang="en-US" sz="1800" b="0" dirty="0">
                          <a:solidFill>
                            <a:schemeClr val="tx1"/>
                          </a:solidFill>
                        </a:rPr>
                        <a:t>BTKI refractory</a:t>
                      </a:r>
                    </a:p>
                  </a:txBody>
                  <a:tcPr marL="68580" marR="68580" marT="34290" marB="34290" anchor="ctr"/>
                </a:tc>
                <a:tc>
                  <a:txBody>
                    <a:bodyPr/>
                    <a:lstStyle/>
                    <a:p>
                      <a:r>
                        <a:rPr lang="en-US" sz="1700" dirty="0"/>
                        <a:t>53%</a:t>
                      </a:r>
                    </a:p>
                  </a:txBody>
                  <a:tcPr anchor="ctr"/>
                </a:tc>
                <a:extLst>
                  <a:ext uri="{0D108BD9-81ED-4DB2-BD59-A6C34878D82A}">
                    <a16:rowId xmlns:a16="http://schemas.microsoft.com/office/drawing/2014/main" val="1659020005"/>
                  </a:ext>
                </a:extLst>
              </a:tr>
              <a:tr h="303297">
                <a:tc>
                  <a:txBody>
                    <a:bodyPr/>
                    <a:lstStyle/>
                    <a:p>
                      <a:pPr>
                        <a:buClr>
                          <a:srgbClr val="000000"/>
                        </a:buClr>
                      </a:pPr>
                      <a:r>
                        <a:rPr lang="en-US" sz="1800" b="0" dirty="0">
                          <a:solidFill>
                            <a:schemeClr val="tx1"/>
                          </a:solidFill>
                        </a:rPr>
                        <a:t>TP53 mut</a:t>
                      </a:r>
                    </a:p>
                  </a:txBody>
                  <a:tcPr marL="68580" marR="68580" marT="34290" marB="34290" anchor="ctr"/>
                </a:tc>
                <a:tc>
                  <a:txBody>
                    <a:bodyPr/>
                    <a:lstStyle/>
                    <a:p>
                      <a:r>
                        <a:rPr lang="en-US" sz="1700" dirty="0"/>
                        <a:t>23%</a:t>
                      </a:r>
                    </a:p>
                  </a:txBody>
                  <a:tcPr anchor="ctr"/>
                </a:tc>
                <a:extLst>
                  <a:ext uri="{0D108BD9-81ED-4DB2-BD59-A6C34878D82A}">
                    <a16:rowId xmlns:a16="http://schemas.microsoft.com/office/drawing/2014/main" val="452592187"/>
                  </a:ext>
                </a:extLst>
              </a:tr>
              <a:tr h="303297">
                <a:tc>
                  <a:txBody>
                    <a:bodyPr/>
                    <a:lstStyle/>
                    <a:p>
                      <a:pPr>
                        <a:buClr>
                          <a:srgbClr val="000000"/>
                        </a:buClr>
                      </a:pPr>
                      <a:r>
                        <a:rPr lang="en-US" sz="1800" b="0">
                          <a:solidFill>
                            <a:schemeClr val="tx1"/>
                          </a:solidFill>
                        </a:rPr>
                        <a:t>Blastoid</a:t>
                      </a:r>
                    </a:p>
                  </a:txBody>
                  <a:tcPr marL="68580" marR="68580" marT="34290" marB="34290" anchor="ctr"/>
                </a:tc>
                <a:tc>
                  <a:txBody>
                    <a:bodyPr/>
                    <a:lstStyle/>
                    <a:p>
                      <a:r>
                        <a:rPr lang="en-US" sz="1700" dirty="0"/>
                        <a:t>31%</a:t>
                      </a:r>
                    </a:p>
                  </a:txBody>
                  <a:tcPr anchor="ctr"/>
                </a:tc>
                <a:extLst>
                  <a:ext uri="{0D108BD9-81ED-4DB2-BD59-A6C34878D82A}">
                    <a16:rowId xmlns:a16="http://schemas.microsoft.com/office/drawing/2014/main" val="2990446706"/>
                  </a:ext>
                </a:extLst>
              </a:tr>
            </a:tbl>
          </a:graphicData>
        </a:graphic>
      </p:graphicFrame>
      <p:pic>
        <p:nvPicPr>
          <p:cNvPr id="13" name="Picture 12">
            <a:extLst>
              <a:ext uri="{FF2B5EF4-FFF2-40B4-BE49-F238E27FC236}">
                <a16:creationId xmlns:a16="http://schemas.microsoft.com/office/drawing/2014/main" id="{4C5D7252-A69E-751E-5707-416BDF8058D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4997988" y="1078291"/>
            <a:ext cx="6778371" cy="3011795"/>
          </a:xfrm>
          <a:prstGeom prst="rect">
            <a:avLst/>
          </a:prstGeom>
        </p:spPr>
      </p:pic>
    </p:spTree>
    <p:extLst>
      <p:ext uri="{BB962C8B-B14F-4D97-AF65-F5344CB8AC3E}">
        <p14:creationId xmlns:p14="http://schemas.microsoft.com/office/powerpoint/2010/main" val="9715062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9E3D44-DD3E-BE38-F83C-A41BDB09368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C27B523-C7F6-8CF4-13E9-74B4BAC68046}"/>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62BB4D09-CC45-7E8B-B3D4-E1AE786A7115}"/>
              </a:ext>
            </a:extLst>
          </p:cNvPr>
          <p:cNvSpPr>
            <a:spLocks noGrp="1"/>
          </p:cNvSpPr>
          <p:nvPr>
            <p:ph idx="1"/>
          </p:nvPr>
        </p:nvSpPr>
        <p:spPr>
          <a:xfrm>
            <a:off x="912287" y="1416053"/>
            <a:ext cx="10214749" cy="4799013"/>
          </a:xfrm>
        </p:spPr>
        <p:txBody>
          <a:bodyPr/>
          <a:lstStyle/>
          <a:p>
            <a:pPr marL="98425" indent="0">
              <a:lnSpc>
                <a:spcPct val="100000"/>
              </a:lnSpc>
              <a:buNone/>
            </a:pPr>
            <a:r>
              <a:rPr lang="en-US" sz="2600" dirty="0">
                <a:solidFill>
                  <a:srgbClr val="171AA2"/>
                </a:solidFill>
              </a:rPr>
              <a:t>68 y/o man with Stage IV FL, grade 2, FLIPI 4 with widespread LAN and bone marrow involvement without B symptoms, ECOG 1</a:t>
            </a:r>
            <a:br>
              <a:rPr lang="en-US" sz="2600" dirty="0">
                <a:solidFill>
                  <a:srgbClr val="171AA2"/>
                </a:solidFill>
              </a:rPr>
            </a:br>
            <a:r>
              <a:rPr lang="en-US" sz="2600" dirty="0">
                <a:solidFill>
                  <a:srgbClr val="171AA2"/>
                </a:solidFill>
              </a:rPr>
              <a:t>PMH: HTN, type 2 diabetes, AMI with preserved EF </a:t>
            </a:r>
            <a:br>
              <a:rPr lang="en-US" sz="2600" dirty="0">
                <a:solidFill>
                  <a:srgbClr val="171AA2"/>
                </a:solidFill>
              </a:rPr>
            </a:br>
            <a:r>
              <a:rPr lang="en-US" sz="2600" dirty="0">
                <a:solidFill>
                  <a:srgbClr val="171AA2"/>
                </a:solidFill>
              </a:rPr>
              <a:t>BR as initial therapy with partial response; progression at 18 months </a:t>
            </a:r>
            <a:br>
              <a:rPr lang="en-US" sz="2600" dirty="0">
                <a:solidFill>
                  <a:srgbClr val="171AA2"/>
                </a:solidFill>
              </a:rPr>
            </a:br>
            <a:r>
              <a:rPr lang="en-US" sz="2600" dirty="0">
                <a:solidFill>
                  <a:srgbClr val="171AA2"/>
                </a:solidFill>
              </a:rPr>
              <a:t>R</a:t>
            </a:r>
            <a:r>
              <a:rPr lang="en-US" sz="2600" baseline="30000" dirty="0">
                <a:solidFill>
                  <a:srgbClr val="171AA2"/>
                </a:solidFill>
              </a:rPr>
              <a:t>2</a:t>
            </a:r>
            <a:r>
              <a:rPr lang="en-US" sz="2600" dirty="0">
                <a:solidFill>
                  <a:srgbClr val="171AA2"/>
                </a:solidFill>
              </a:rPr>
              <a:t> with CR; progression 14 months later with axillary and inguinal LAN and cytopenias </a:t>
            </a:r>
            <a:br>
              <a:rPr lang="en-US" sz="2600" dirty="0">
                <a:solidFill>
                  <a:srgbClr val="171AA2"/>
                </a:solidFill>
              </a:rPr>
            </a:br>
            <a:r>
              <a:rPr lang="en-US" sz="2600" dirty="0">
                <a:solidFill>
                  <a:srgbClr val="171AA2"/>
                </a:solidFill>
              </a:rPr>
              <a:t>Obinutuzumab + chemo with PR; progression after 9 months </a:t>
            </a:r>
          </a:p>
          <a:p>
            <a:pPr marL="98425" indent="0">
              <a:lnSpc>
                <a:spcPct val="100000"/>
              </a:lnSpc>
              <a:buNone/>
            </a:pPr>
            <a:r>
              <a:rPr lang="en-US" sz="2600" dirty="0"/>
              <a:t>In FL, are you typically using CAR-T or bispecific antibodies first? What would you recommend for this patient? </a:t>
            </a:r>
          </a:p>
          <a:p>
            <a:pPr marL="98425" indent="0">
              <a:lnSpc>
                <a:spcPct val="100000"/>
              </a:lnSpc>
              <a:buNone/>
            </a:pPr>
            <a:r>
              <a:rPr lang="en-US" sz="2600" dirty="0"/>
              <a:t>Given this patient has already received R</a:t>
            </a:r>
            <a:r>
              <a:rPr lang="en-US" sz="2600" baseline="30000" dirty="0"/>
              <a:t>2</a:t>
            </a:r>
            <a:r>
              <a:rPr lang="en-US" sz="2600" dirty="0"/>
              <a:t>, is there any role for bispecific combinations?  </a:t>
            </a:r>
          </a:p>
        </p:txBody>
      </p:sp>
    </p:spTree>
    <p:extLst>
      <p:ext uri="{BB962C8B-B14F-4D97-AF65-F5344CB8AC3E}">
        <p14:creationId xmlns:p14="http://schemas.microsoft.com/office/powerpoint/2010/main" val="11127276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39" y="1556793"/>
            <a:ext cx="9580865" cy="1501346"/>
          </a:xfrm>
        </p:spPr>
        <p:txBody>
          <a:bodyPr/>
          <a:lstStyle/>
          <a:p>
            <a:pPr marL="98425" indent="0">
              <a:buNone/>
            </a:pPr>
            <a:r>
              <a:rPr lang="en-US" sz="2500" b="0" dirty="0"/>
              <a:t>This activity is supported by educational grants from Bristol Myers Squibb, Genentech, a member of the Roche Group, and Genmab US Inc.</a:t>
            </a:r>
          </a:p>
        </p:txBody>
      </p:sp>
      <p:sp>
        <p:nvSpPr>
          <p:cNvPr id="4" name="Title 1">
            <a:extLst>
              <a:ext uri="{FF2B5EF4-FFF2-40B4-BE49-F238E27FC236}">
                <a16:creationId xmlns:a16="http://schemas.microsoft.com/office/drawing/2014/main" id="{74009152-E724-A64C-A30B-6758754F9324}"/>
              </a:ext>
            </a:extLst>
          </p:cNvPr>
          <p:cNvSpPr txBox="1">
            <a:spLocks/>
          </p:cNvSpPr>
          <p:nvPr/>
        </p:nvSpPr>
        <p:spPr bwMode="auto">
          <a:xfrm>
            <a:off x="912286" y="3573016"/>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CME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148D3090-4FC7-2B40-B374-D8A89852AA83}"/>
              </a:ext>
            </a:extLst>
          </p:cNvPr>
          <p:cNvSpPr txBox="1">
            <a:spLocks/>
          </p:cNvSpPr>
          <p:nvPr/>
        </p:nvSpPr>
        <p:spPr bwMode="auto">
          <a:xfrm>
            <a:off x="912286" y="5006744"/>
            <a:ext cx="10512305"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lvl="0" indent="0">
              <a:buNone/>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a:t>
            </a:r>
            <a:r>
              <a:rPr lang="en-US" sz="2500" b="0" kern="0" dirty="0"/>
              <a:t>financial relationships </a:t>
            </a: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to disclose.</a:t>
            </a:r>
          </a:p>
        </p:txBody>
      </p:sp>
    </p:spTree>
    <p:extLst>
      <p:ext uri="{BB962C8B-B14F-4D97-AF65-F5344CB8AC3E}">
        <p14:creationId xmlns:p14="http://schemas.microsoft.com/office/powerpoint/2010/main" val="19945836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40DA7F-CD58-13C8-F1CB-A5A1900D649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FEBAB3-61DB-99F9-AA41-E7107F4130B0}"/>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F445902A-FA91-1976-E10A-8940C81D12A6}"/>
              </a:ext>
            </a:extLst>
          </p:cNvPr>
          <p:cNvSpPr>
            <a:spLocks noGrp="1"/>
          </p:cNvSpPr>
          <p:nvPr>
            <p:ph idx="1"/>
          </p:nvPr>
        </p:nvSpPr>
        <p:spPr>
          <a:xfrm>
            <a:off x="912287" y="1416053"/>
            <a:ext cx="10214749" cy="4799013"/>
          </a:xfrm>
        </p:spPr>
        <p:txBody>
          <a:bodyPr/>
          <a:lstStyle/>
          <a:p>
            <a:pPr marL="98425" indent="0">
              <a:buNone/>
            </a:pPr>
            <a:r>
              <a:rPr lang="en-US" sz="2600" dirty="0">
                <a:solidFill>
                  <a:srgbClr val="171AA2"/>
                </a:solidFill>
              </a:rPr>
              <a:t>59 y/o man with FL </a:t>
            </a:r>
            <a:br>
              <a:rPr lang="en-US" sz="2600" dirty="0">
                <a:solidFill>
                  <a:srgbClr val="171AA2"/>
                </a:solidFill>
              </a:rPr>
            </a:br>
            <a:r>
              <a:rPr lang="en-US" sz="2600" dirty="0">
                <a:solidFill>
                  <a:srgbClr val="171AA2"/>
                </a:solidFill>
              </a:rPr>
              <a:t>R-CHOP followed by R maintenance as initial therapy</a:t>
            </a:r>
            <a:br>
              <a:rPr lang="en-US" sz="2600" dirty="0">
                <a:solidFill>
                  <a:srgbClr val="171AA2"/>
                </a:solidFill>
              </a:rPr>
            </a:br>
            <a:r>
              <a:rPr lang="en-US" sz="2600" dirty="0" err="1">
                <a:solidFill>
                  <a:srgbClr val="171AA2"/>
                </a:solidFill>
              </a:rPr>
              <a:t>Epcoritamab</a:t>
            </a:r>
            <a:r>
              <a:rPr lang="en-US" sz="2600" dirty="0">
                <a:solidFill>
                  <a:srgbClr val="171AA2"/>
                </a:solidFill>
              </a:rPr>
              <a:t> + R</a:t>
            </a:r>
            <a:r>
              <a:rPr lang="en-US" sz="2600" baseline="30000" dirty="0">
                <a:solidFill>
                  <a:srgbClr val="171AA2"/>
                </a:solidFill>
              </a:rPr>
              <a:t>2</a:t>
            </a:r>
            <a:r>
              <a:rPr lang="en-US" sz="2600" dirty="0">
                <a:solidFill>
                  <a:srgbClr val="171AA2"/>
                </a:solidFill>
              </a:rPr>
              <a:t> as second-line therapy; currently in remission</a:t>
            </a:r>
          </a:p>
          <a:p>
            <a:pPr marL="98425" indent="0">
              <a:buNone/>
            </a:pPr>
            <a:r>
              <a:rPr lang="en-US" sz="2600" dirty="0">
                <a:solidFill>
                  <a:schemeClr val="tx1"/>
                </a:solidFill>
              </a:rPr>
              <a:t>At disease progression, what would you offer as third-line therapy? Would the length of remission influence your decision-making in any way?</a:t>
            </a:r>
          </a:p>
          <a:p>
            <a:pPr marL="98425" indent="0">
              <a:buNone/>
            </a:pPr>
            <a:endParaRPr lang="en-US" sz="2600" dirty="0">
              <a:solidFill>
                <a:schemeClr val="tx1"/>
              </a:solidFill>
            </a:endParaRPr>
          </a:p>
        </p:txBody>
      </p:sp>
    </p:spTree>
    <p:extLst>
      <p:ext uri="{BB962C8B-B14F-4D97-AF65-F5344CB8AC3E}">
        <p14:creationId xmlns:p14="http://schemas.microsoft.com/office/powerpoint/2010/main" val="14835895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40DA7F-CD58-13C8-F1CB-A5A1900D649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FEBAB3-61DB-99F9-AA41-E7107F4130B0}"/>
              </a:ext>
            </a:extLst>
          </p:cNvPr>
          <p:cNvSpPr>
            <a:spLocks noGrp="1"/>
          </p:cNvSpPr>
          <p:nvPr>
            <p:ph type="title"/>
          </p:nvPr>
        </p:nvSpPr>
        <p:spPr>
          <a:xfrm>
            <a:off x="912286" y="0"/>
            <a:ext cx="10358967" cy="1143000"/>
          </a:xfrm>
        </p:spPr>
        <p:txBody>
          <a:bodyPr/>
          <a:lstStyle/>
          <a:p>
            <a:r>
              <a:rPr lang="en-US" sz="3600" dirty="0"/>
              <a:t>Discussion Questions</a:t>
            </a:r>
          </a:p>
        </p:txBody>
      </p:sp>
      <p:sp>
        <p:nvSpPr>
          <p:cNvPr id="3" name="Content Placeholder 2">
            <a:extLst>
              <a:ext uri="{FF2B5EF4-FFF2-40B4-BE49-F238E27FC236}">
                <a16:creationId xmlns:a16="http://schemas.microsoft.com/office/drawing/2014/main" id="{F445902A-FA91-1976-E10A-8940C81D12A6}"/>
              </a:ext>
            </a:extLst>
          </p:cNvPr>
          <p:cNvSpPr>
            <a:spLocks noGrp="1"/>
          </p:cNvSpPr>
          <p:nvPr>
            <p:ph idx="1"/>
          </p:nvPr>
        </p:nvSpPr>
        <p:spPr>
          <a:xfrm>
            <a:off x="775074" y="1143000"/>
            <a:ext cx="10633390" cy="4799013"/>
          </a:xfrm>
        </p:spPr>
        <p:txBody>
          <a:bodyPr/>
          <a:lstStyle/>
          <a:p>
            <a:pPr marL="98425" indent="0">
              <a:lnSpc>
                <a:spcPct val="100000"/>
              </a:lnSpc>
              <a:buNone/>
            </a:pPr>
            <a:r>
              <a:rPr lang="en-US" sz="2600" dirty="0">
                <a:solidFill>
                  <a:srgbClr val="171AA2"/>
                </a:solidFill>
              </a:rPr>
              <a:t>70 y/o man, a retired physician, with extensive, symptomatic MCL</a:t>
            </a:r>
            <a:br>
              <a:rPr lang="en-US" sz="2600" dirty="0">
                <a:solidFill>
                  <a:srgbClr val="171AA2"/>
                </a:solidFill>
              </a:rPr>
            </a:br>
            <a:r>
              <a:rPr lang="en-US" sz="2600" dirty="0">
                <a:solidFill>
                  <a:srgbClr val="171AA2"/>
                </a:solidFill>
              </a:rPr>
              <a:t>BR as initial therapy with response; progression within 2 years</a:t>
            </a:r>
            <a:br>
              <a:rPr lang="en-US" sz="2600" dirty="0">
                <a:solidFill>
                  <a:srgbClr val="171AA2"/>
                </a:solidFill>
              </a:rPr>
            </a:br>
            <a:r>
              <a:rPr lang="en-US" sz="2600" dirty="0">
                <a:solidFill>
                  <a:srgbClr val="171AA2"/>
                </a:solidFill>
              </a:rPr>
              <a:t>Ibrutinib with response but now with extensive, symptomatic GI and nodal progression</a:t>
            </a:r>
          </a:p>
          <a:p>
            <a:pPr marL="98425" indent="0">
              <a:lnSpc>
                <a:spcPct val="100000"/>
              </a:lnSpc>
              <a:buNone/>
            </a:pPr>
            <a:r>
              <a:rPr lang="en-US" sz="2600" dirty="0"/>
              <a:t>What therapy would you use next? If CAR-T, would you have a preference for one platform versus the others? </a:t>
            </a:r>
          </a:p>
          <a:p>
            <a:pPr marL="98425" indent="0">
              <a:lnSpc>
                <a:spcPct val="100000"/>
              </a:lnSpc>
              <a:buNone/>
            </a:pPr>
            <a:r>
              <a:rPr lang="en-US" sz="2600" dirty="0"/>
              <a:t>For patients with MCL going to CAR-T, what bridging therapy, if any, do you typically employ?</a:t>
            </a:r>
          </a:p>
          <a:p>
            <a:pPr marL="98425" indent="0">
              <a:lnSpc>
                <a:spcPct val="100000"/>
              </a:lnSpc>
              <a:buNone/>
            </a:pPr>
            <a:r>
              <a:rPr lang="en-US" sz="2600" dirty="0"/>
              <a:t>How, if at all, does the recent approval of </a:t>
            </a:r>
            <a:r>
              <a:rPr lang="en-US" sz="2600" dirty="0" err="1"/>
              <a:t>sonrotoclax</a:t>
            </a:r>
            <a:r>
              <a:rPr lang="en-US" sz="2600" dirty="0"/>
              <a:t> impact your sequencing of therapy for MCL?</a:t>
            </a:r>
          </a:p>
          <a:p>
            <a:pPr marL="98425" indent="0">
              <a:lnSpc>
                <a:spcPct val="100000"/>
              </a:lnSpc>
              <a:buNone/>
            </a:pPr>
            <a:r>
              <a:rPr lang="en-US" sz="2600" dirty="0"/>
              <a:t>Is there any role for </a:t>
            </a:r>
            <a:r>
              <a:rPr lang="en-US" sz="2600" dirty="0" err="1"/>
              <a:t>bispecifics</a:t>
            </a:r>
            <a:r>
              <a:rPr lang="en-US" sz="2600" dirty="0"/>
              <a:t> in MCL at the current time?</a:t>
            </a:r>
          </a:p>
        </p:txBody>
      </p:sp>
    </p:spTree>
    <p:extLst>
      <p:ext uri="{BB962C8B-B14F-4D97-AF65-F5344CB8AC3E}">
        <p14:creationId xmlns:p14="http://schemas.microsoft.com/office/powerpoint/2010/main" val="13906016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6C2953-8AE6-87C3-7C0A-A54A7C98464F}"/>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4B9E87EE-8C77-DDAE-36A6-DFE3E53880B6}"/>
              </a:ext>
            </a:extLst>
          </p:cNvPr>
          <p:cNvSpPr/>
          <p:nvPr/>
        </p:nvSpPr>
        <p:spPr bwMode="auto">
          <a:xfrm>
            <a:off x="740128" y="3815559"/>
            <a:ext cx="10828480" cy="981593"/>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60C90AD7-1B54-6123-D330-E2124E5BE4FC}"/>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A12372AC-419A-3916-0855-A8512D93B13B}"/>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Chimeric Antigen Receptor (CAR) T-Cell Therapy for Diffuse Large B-Cell Lymphoma (DLBCL) — Dr Kamdar</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Bispecific Antibody Therapy for DLBCL — Dr Westin</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CAR T-Cell Therapy for Other Lymphoma Subtypes — </a:t>
            </a:r>
            <a:br>
              <a:rPr lang="en-US" sz="2500" dirty="0">
                <a:solidFill>
                  <a:schemeClr val="tx1"/>
                </a:solidFill>
              </a:rPr>
            </a:br>
            <a:r>
              <a:rPr lang="en-US" sz="2500" dirty="0">
                <a:solidFill>
                  <a:schemeClr val="tx1"/>
                </a:solidFill>
              </a:rPr>
              <a:t>Dr Abramson</a:t>
            </a:r>
          </a:p>
          <a:p>
            <a:pPr marL="98425" indent="0">
              <a:lnSpc>
                <a:spcPct val="100000"/>
              </a:lnSpc>
              <a:spcBef>
                <a:spcPts val="1600"/>
              </a:spcBef>
              <a:spcAft>
                <a:spcPts val="0"/>
              </a:spcAft>
              <a:buNone/>
            </a:pPr>
            <a:r>
              <a:rPr lang="en-US" sz="2500" dirty="0">
                <a:solidFill>
                  <a:schemeClr val="bg1"/>
                </a:solidFill>
              </a:rPr>
              <a:t>Module 4: Bispecific Antibody Therapy for Follicular Lymphoma and Other Lymphoma Subtypes — Dr Phillips</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Tolerability Considerations with CAR T-Cell Therapy and Bispecific Antibodies — Dr Brody</a:t>
            </a:r>
          </a:p>
        </p:txBody>
      </p:sp>
    </p:spTree>
    <p:extLst>
      <p:ext uri="{BB962C8B-B14F-4D97-AF65-F5344CB8AC3E}">
        <p14:creationId xmlns:p14="http://schemas.microsoft.com/office/powerpoint/2010/main" val="26573220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08C76F-6124-4054-BBD7-78FB85BA3907}"/>
              </a:ext>
            </a:extLst>
          </p:cNvPr>
          <p:cNvSpPr>
            <a:spLocks noGrp="1"/>
          </p:cNvSpPr>
          <p:nvPr>
            <p:ph type="title"/>
          </p:nvPr>
        </p:nvSpPr>
        <p:spPr/>
        <p:txBody>
          <a:bodyPr/>
          <a:lstStyle/>
          <a:p>
            <a:r>
              <a:rPr lang="en-US" dirty="0"/>
              <a:t>Evolving Role of Bispecific Antibodies in Low and Intermediate Grade Lymphoma</a:t>
            </a:r>
          </a:p>
        </p:txBody>
      </p:sp>
      <p:sp>
        <p:nvSpPr>
          <p:cNvPr id="3" name="Text Placeholder 2">
            <a:extLst>
              <a:ext uri="{FF2B5EF4-FFF2-40B4-BE49-F238E27FC236}">
                <a16:creationId xmlns:a16="http://schemas.microsoft.com/office/drawing/2014/main" id="{A806A7CE-C9B5-4D36-B270-AC3BBC4E3E53}"/>
              </a:ext>
            </a:extLst>
          </p:cNvPr>
          <p:cNvSpPr>
            <a:spLocks noGrp="1"/>
          </p:cNvSpPr>
          <p:nvPr>
            <p:ph type="body" idx="1"/>
          </p:nvPr>
        </p:nvSpPr>
        <p:spPr/>
        <p:txBody>
          <a:bodyPr/>
          <a:lstStyle/>
          <a:p>
            <a:r>
              <a:rPr lang="en-US" dirty="0"/>
              <a:t>Tycel Phillips, MD</a:t>
            </a:r>
          </a:p>
          <a:p>
            <a:r>
              <a:rPr lang="en-US" dirty="0"/>
              <a:t>Associate Professor</a:t>
            </a:r>
          </a:p>
          <a:p>
            <a:r>
              <a:rPr lang="en-US" dirty="0"/>
              <a:t>City of Hope</a:t>
            </a:r>
          </a:p>
        </p:txBody>
      </p:sp>
    </p:spTree>
    <p:extLst>
      <p:ext uri="{BB962C8B-B14F-4D97-AF65-F5344CB8AC3E}">
        <p14:creationId xmlns:p14="http://schemas.microsoft.com/office/powerpoint/2010/main" val="2059310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A3731E1-92E1-41F0-AFFC-C5E9BCFD23B2}"/>
              </a:ext>
            </a:extLst>
          </p:cNvPr>
          <p:cNvSpPr>
            <a:spLocks noGrp="1"/>
          </p:cNvSpPr>
          <p:nvPr>
            <p:ph sz="half" idx="1"/>
          </p:nvPr>
        </p:nvSpPr>
        <p:spPr>
          <a:xfrm>
            <a:off x="320975" y="1514538"/>
            <a:ext cx="10707053" cy="4490968"/>
          </a:xfrm>
        </p:spPr>
        <p:txBody>
          <a:bodyPr>
            <a:noAutofit/>
          </a:bodyPr>
          <a:lstStyle/>
          <a:p>
            <a:pPr>
              <a:buFont typeface="Arial" panose="020B0604020202020204" pitchFamily="34" charset="0"/>
              <a:buChar char="•"/>
            </a:pPr>
            <a:r>
              <a:rPr lang="en-US" sz="2400" dirty="0"/>
              <a:t>R/R FL has undergone an evolution in the last several years with the approval of several novel agents </a:t>
            </a:r>
          </a:p>
          <a:p>
            <a:pPr lvl="1">
              <a:buFont typeface="Arial" panose="020B0604020202020204" pitchFamily="34" charset="0"/>
              <a:buChar char="•"/>
            </a:pPr>
            <a:r>
              <a:rPr lang="en-US" dirty="0"/>
              <a:t>CAR-T</a:t>
            </a:r>
          </a:p>
          <a:p>
            <a:pPr lvl="2">
              <a:buFont typeface="Arial" panose="020B0604020202020204" pitchFamily="34" charset="0"/>
              <a:buChar char="•"/>
            </a:pPr>
            <a:r>
              <a:rPr lang="en-US" sz="2400" dirty="0"/>
              <a:t>Approval of three agents in this space similar to DLBCL</a:t>
            </a:r>
          </a:p>
          <a:p>
            <a:pPr lvl="1">
              <a:buFont typeface="Arial" panose="020B0604020202020204" pitchFamily="34" charset="0"/>
              <a:buChar char="•"/>
            </a:pPr>
            <a:r>
              <a:rPr lang="en-US" dirty="0"/>
              <a:t>Small Molecules</a:t>
            </a:r>
          </a:p>
          <a:p>
            <a:pPr lvl="2">
              <a:buFont typeface="Arial" panose="020B0604020202020204" pitchFamily="34" charset="0"/>
              <a:buChar char="•"/>
            </a:pPr>
            <a:r>
              <a:rPr lang="en-US" sz="2400" dirty="0"/>
              <a:t>Zanubrutinib</a:t>
            </a:r>
          </a:p>
          <a:p>
            <a:pPr lvl="3">
              <a:buFont typeface="Arial" panose="020B0604020202020204" pitchFamily="34" charset="0"/>
              <a:buChar char="•"/>
            </a:pPr>
            <a:r>
              <a:rPr lang="en-US" sz="2400" dirty="0"/>
              <a:t>Rosewood-Obinutuzumab -&gt; pivotal study in process (MAHOGANY)</a:t>
            </a:r>
          </a:p>
          <a:p>
            <a:pPr lvl="2">
              <a:buFont typeface="Arial" panose="020B0604020202020204" pitchFamily="34" charset="0"/>
              <a:buChar char="•"/>
            </a:pPr>
            <a:r>
              <a:rPr lang="en-US" sz="2400" dirty="0" err="1"/>
              <a:t>Tazemetostat</a:t>
            </a:r>
            <a:endParaRPr lang="en-US" sz="2400" dirty="0"/>
          </a:p>
          <a:p>
            <a:pPr lvl="3">
              <a:buFont typeface="Arial" panose="020B0604020202020204" pitchFamily="34" charset="0"/>
              <a:buChar char="•"/>
            </a:pPr>
            <a:r>
              <a:rPr lang="en-US" sz="2400" dirty="0"/>
              <a:t>RIP</a:t>
            </a:r>
          </a:p>
        </p:txBody>
      </p:sp>
      <p:sp>
        <p:nvSpPr>
          <p:cNvPr id="5" name="Slide Number Placeholder 4">
            <a:extLst>
              <a:ext uri="{FF2B5EF4-FFF2-40B4-BE49-F238E27FC236}">
                <a16:creationId xmlns:a16="http://schemas.microsoft.com/office/drawing/2014/main" id="{F774DDB4-3578-4C95-A141-283B18B1364B}"/>
              </a:ext>
            </a:extLst>
          </p:cNvPr>
          <p:cNvSpPr>
            <a:spLocks noGrp="1"/>
          </p:cNvSpPr>
          <p:nvPr>
            <p:ph type="sldNum" sz="quarter" idx="12"/>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6B3F0F6-E8D7-9C4B-A56C-71997626A099}" type="slidenum">
              <a:rPr kumimoji="0" lang="en-US" sz="24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rPr>
              <a:pPr marL="0" marR="0" lvl="0" indent="0" algn="l" defTabSz="914400" rtl="0" eaLnBrk="0" fontAlgn="base" latinLnBrk="0" hangingPunct="0">
                <a:lnSpc>
                  <a:spcPct val="100000"/>
                </a:lnSpc>
                <a:spcBef>
                  <a:spcPct val="0"/>
                </a:spcBef>
                <a:spcAft>
                  <a:spcPct val="0"/>
                </a:spcAft>
                <a:buClrTx/>
                <a:buSzTx/>
                <a:buFontTx/>
                <a:buNone/>
                <a:tabLst/>
                <a:defRPr/>
              </a:pPr>
              <a:t>94</a:t>
            </a:fld>
            <a:endParaRPr kumimoji="0" lang="en-US" sz="24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endParaRPr>
          </a:p>
        </p:txBody>
      </p:sp>
      <p:sp>
        <p:nvSpPr>
          <p:cNvPr id="4" name="Title 1">
            <a:extLst>
              <a:ext uri="{FF2B5EF4-FFF2-40B4-BE49-F238E27FC236}">
                <a16:creationId xmlns:a16="http://schemas.microsoft.com/office/drawing/2014/main" id="{17BA4928-C0DA-74B4-8986-9B0D9094AC79}"/>
              </a:ext>
            </a:extLst>
          </p:cNvPr>
          <p:cNvSpPr>
            <a:spLocks noGrp="1"/>
          </p:cNvSpPr>
          <p:nvPr>
            <p:ph type="title"/>
          </p:nvPr>
        </p:nvSpPr>
        <p:spPr>
          <a:xfrm>
            <a:off x="332317" y="114303"/>
            <a:ext cx="11379200" cy="904875"/>
          </a:xfrm>
        </p:spPr>
        <p:txBody>
          <a:bodyPr/>
          <a:lstStyle/>
          <a:p>
            <a:r>
              <a:rPr lang="en-US" dirty="0"/>
              <a:t>Follicular Lymphoma</a:t>
            </a:r>
          </a:p>
        </p:txBody>
      </p:sp>
      <p:pic>
        <p:nvPicPr>
          <p:cNvPr id="2" name="Picture 2" descr="Generated image: Misty cemetery with weathered tombstones">
            <a:extLst>
              <a:ext uri="{FF2B5EF4-FFF2-40B4-BE49-F238E27FC236}">
                <a16:creationId xmlns:a16="http://schemas.microsoft.com/office/drawing/2014/main" id="{21266F4E-0138-8BD3-A1D6-3918D378DDC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42612" y="1499767"/>
            <a:ext cx="6758609" cy="45057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93369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2E5F5D7-2DDF-A7CE-5D4B-8764FBF1F006}"/>
              </a:ext>
            </a:extLst>
          </p:cNvPr>
          <p:cNvSpPr>
            <a:spLocks noGrp="1"/>
          </p:cNvSpPr>
          <p:nvPr>
            <p:ph type="title"/>
          </p:nvPr>
        </p:nvSpPr>
        <p:spPr>
          <a:xfrm>
            <a:off x="609600" y="273886"/>
            <a:ext cx="10972800" cy="713539"/>
          </a:xfrm>
        </p:spPr>
        <p:txBody>
          <a:bodyPr>
            <a:normAutofit/>
          </a:bodyPr>
          <a:lstStyle/>
          <a:p>
            <a:r>
              <a:rPr lang="en-US" dirty="0">
                <a:solidFill>
                  <a:schemeClr val="tx1"/>
                </a:solidFill>
                <a:latin typeface="Arial" panose="020B0604020202020204" pitchFamily="34" charset="0"/>
                <a:cs typeface="Arial" panose="020B0604020202020204" pitchFamily="34" charset="0"/>
              </a:rPr>
              <a:t>Bispecific Antibodies </a:t>
            </a:r>
          </a:p>
        </p:txBody>
      </p:sp>
      <p:pic>
        <p:nvPicPr>
          <p:cNvPr id="5" name="Content Placeholder 4">
            <a:extLst>
              <a:ext uri="{FF2B5EF4-FFF2-40B4-BE49-F238E27FC236}">
                <a16:creationId xmlns:a16="http://schemas.microsoft.com/office/drawing/2014/main" id="{4604240D-5F9C-27CA-7D03-75907D619EF7}"/>
              </a:ext>
            </a:extLst>
          </p:cNvPr>
          <p:cNvPicPr>
            <a:picLocks noGrp="1" noChangeAspect="1"/>
          </p:cNvPicPr>
          <p:nvPr>
            <p:ph sz="half" idx="1"/>
          </p:nvPr>
        </p:nvPicPr>
        <p:blipFill>
          <a:blip r:embed="rId2"/>
          <a:stretch>
            <a:fillRect/>
          </a:stretch>
        </p:blipFill>
        <p:spPr bwMode="auto">
          <a:xfrm>
            <a:off x="1620982" y="1305729"/>
            <a:ext cx="6909953" cy="5180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20129098-BDAB-B931-26D1-C2898C9A5FCF}"/>
              </a:ext>
            </a:extLst>
          </p:cNvPr>
          <p:cNvSpPr/>
          <p:nvPr/>
        </p:nvSpPr>
        <p:spPr>
          <a:xfrm>
            <a:off x="1620982" y="1649393"/>
            <a:ext cx="6909953" cy="737755"/>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ＭＳ Ｐゴシック"/>
            </a:endParaRPr>
          </a:p>
        </p:txBody>
      </p:sp>
    </p:spTree>
    <p:extLst>
      <p:ext uri="{BB962C8B-B14F-4D97-AF65-F5344CB8AC3E}">
        <p14:creationId xmlns:p14="http://schemas.microsoft.com/office/powerpoint/2010/main" val="35871598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F32-3AD7-F74A-4DC8-717534C631E4}"/>
              </a:ext>
            </a:extLst>
          </p:cNvPr>
          <p:cNvSpPr>
            <a:spLocks noGrp="1"/>
          </p:cNvSpPr>
          <p:nvPr>
            <p:ph type="title"/>
          </p:nvPr>
        </p:nvSpPr>
        <p:spPr/>
        <p:txBody>
          <a:bodyPr>
            <a:normAutofit/>
          </a:bodyPr>
          <a:lstStyle/>
          <a:p>
            <a:r>
              <a:rPr lang="en-US" dirty="0" err="1">
                <a:solidFill>
                  <a:schemeClr val="tx1"/>
                </a:solidFill>
                <a:latin typeface="Arial" panose="020B0604020202020204" pitchFamily="34" charset="0"/>
                <a:cs typeface="Arial" panose="020B0604020202020204" pitchFamily="34" charset="0"/>
              </a:rPr>
              <a:t>Mosunetuzumab</a:t>
            </a:r>
            <a:endParaRPr lang="en-US" dirty="0">
              <a:solidFill>
                <a:schemeClr val="tx1"/>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3740923E-751B-6284-B596-328BF51E70B1}"/>
              </a:ext>
            </a:extLst>
          </p:cNvPr>
          <p:cNvPicPr>
            <a:picLocks noChangeAspect="1"/>
          </p:cNvPicPr>
          <p:nvPr/>
        </p:nvPicPr>
        <p:blipFill>
          <a:blip r:embed="rId2"/>
          <a:stretch>
            <a:fillRect/>
          </a:stretch>
        </p:blipFill>
        <p:spPr>
          <a:xfrm>
            <a:off x="4273029" y="1328029"/>
            <a:ext cx="2462562" cy="2320491"/>
          </a:xfrm>
          <a:prstGeom prst="rect">
            <a:avLst/>
          </a:prstGeom>
        </p:spPr>
      </p:pic>
      <p:pic>
        <p:nvPicPr>
          <p:cNvPr id="10" name="Picture 9">
            <a:extLst>
              <a:ext uri="{FF2B5EF4-FFF2-40B4-BE49-F238E27FC236}">
                <a16:creationId xmlns:a16="http://schemas.microsoft.com/office/drawing/2014/main" id="{EE95BB69-8871-24E8-09BD-E9228EEAAA22}"/>
              </a:ext>
            </a:extLst>
          </p:cNvPr>
          <p:cNvPicPr>
            <a:picLocks noChangeAspect="1"/>
          </p:cNvPicPr>
          <p:nvPr/>
        </p:nvPicPr>
        <p:blipFill>
          <a:blip r:embed="rId3"/>
          <a:stretch>
            <a:fillRect/>
          </a:stretch>
        </p:blipFill>
        <p:spPr>
          <a:xfrm>
            <a:off x="2012480" y="3648520"/>
            <a:ext cx="6322602" cy="2050880"/>
          </a:xfrm>
          <a:prstGeom prst="rect">
            <a:avLst/>
          </a:prstGeom>
        </p:spPr>
      </p:pic>
      <p:sp>
        <p:nvSpPr>
          <p:cNvPr id="4" name="TextBox 3">
            <a:extLst>
              <a:ext uri="{FF2B5EF4-FFF2-40B4-BE49-F238E27FC236}">
                <a16:creationId xmlns:a16="http://schemas.microsoft.com/office/drawing/2014/main" id="{6A04B307-F07E-D41B-B746-5BF3C15C405C}"/>
              </a:ext>
            </a:extLst>
          </p:cNvPr>
          <p:cNvSpPr txBox="1"/>
          <p:nvPr/>
        </p:nvSpPr>
        <p:spPr>
          <a:xfrm>
            <a:off x="835413" y="6282032"/>
            <a:ext cx="9788369"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rPr>
              <a:t>SQ dosing 5 mg (C1D1), 45 mg (C1D8), 45 mg C1D15 until EOT</a:t>
            </a:r>
          </a:p>
        </p:txBody>
      </p:sp>
      <p:sp>
        <p:nvSpPr>
          <p:cNvPr id="3" name="TextBox 2">
            <a:extLst>
              <a:ext uri="{FF2B5EF4-FFF2-40B4-BE49-F238E27FC236}">
                <a16:creationId xmlns:a16="http://schemas.microsoft.com/office/drawing/2014/main" id="{13CD3DBE-BD74-BCB6-F798-95B07B3D1FCC}"/>
              </a:ext>
            </a:extLst>
          </p:cNvPr>
          <p:cNvSpPr txBox="1"/>
          <p:nvPr/>
        </p:nvSpPr>
        <p:spPr>
          <a:xfrm>
            <a:off x="6735591" y="5821439"/>
            <a:ext cx="5386613" cy="338554"/>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rPr>
              <a:t>Budde LE et al. Lancet Oncol 2022;23(8):1055-1065.</a:t>
            </a:r>
          </a:p>
        </p:txBody>
      </p:sp>
    </p:spTree>
    <p:extLst>
      <p:ext uri="{BB962C8B-B14F-4D97-AF65-F5344CB8AC3E}">
        <p14:creationId xmlns:p14="http://schemas.microsoft.com/office/powerpoint/2010/main" val="4546314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0EAADD-CB99-E60A-EB8C-C48D41209333}"/>
              </a:ext>
            </a:extLst>
          </p:cNvPr>
          <p:cNvPicPr>
            <a:picLocks noChangeAspect="1"/>
          </p:cNvPicPr>
          <p:nvPr/>
        </p:nvPicPr>
        <p:blipFill rotWithShape="1">
          <a:blip r:embed="rId2"/>
          <a:srcRect t="10283" r="2008"/>
          <a:stretch/>
        </p:blipFill>
        <p:spPr>
          <a:xfrm>
            <a:off x="0" y="1347218"/>
            <a:ext cx="8013308" cy="4163563"/>
          </a:xfrm>
          <a:prstGeom prst="rect">
            <a:avLst/>
          </a:prstGeom>
          <a:noFill/>
        </p:spPr>
      </p:pic>
      <p:sp>
        <p:nvSpPr>
          <p:cNvPr id="11" name="Title 2">
            <a:extLst>
              <a:ext uri="{FF2B5EF4-FFF2-40B4-BE49-F238E27FC236}">
                <a16:creationId xmlns:a16="http://schemas.microsoft.com/office/drawing/2014/main" id="{5A8B706E-39E3-8A1E-DE08-79C2B4AEEDD9}"/>
              </a:ext>
            </a:extLst>
          </p:cNvPr>
          <p:cNvSpPr>
            <a:spLocks noGrp="1"/>
          </p:cNvSpPr>
          <p:nvPr>
            <p:ph type="title"/>
          </p:nvPr>
        </p:nvSpPr>
        <p:spPr>
          <a:xfrm>
            <a:off x="338607" y="132561"/>
            <a:ext cx="11372911" cy="858040"/>
          </a:xfrm>
        </p:spPr>
        <p:txBody>
          <a:bodyPr/>
          <a:lstStyle/>
          <a:p>
            <a:r>
              <a:rPr lang="en-US" dirty="0" err="1"/>
              <a:t>Mosunetuzumab</a:t>
            </a:r>
            <a:r>
              <a:rPr lang="en-US" dirty="0"/>
              <a:t> Response (FL)</a:t>
            </a:r>
          </a:p>
        </p:txBody>
      </p:sp>
      <p:pic>
        <p:nvPicPr>
          <p:cNvPr id="5" name="Picture 4">
            <a:extLst>
              <a:ext uri="{FF2B5EF4-FFF2-40B4-BE49-F238E27FC236}">
                <a16:creationId xmlns:a16="http://schemas.microsoft.com/office/drawing/2014/main" id="{4A2DC9E3-F07B-D76C-3732-DC76F95C964D}"/>
              </a:ext>
            </a:extLst>
          </p:cNvPr>
          <p:cNvPicPr>
            <a:picLocks noChangeAspect="1"/>
          </p:cNvPicPr>
          <p:nvPr/>
        </p:nvPicPr>
        <p:blipFill>
          <a:blip r:embed="rId3"/>
          <a:stretch>
            <a:fillRect/>
          </a:stretch>
        </p:blipFill>
        <p:spPr>
          <a:xfrm>
            <a:off x="7969951" y="1812473"/>
            <a:ext cx="4222049" cy="2996293"/>
          </a:xfrm>
          <a:prstGeom prst="rect">
            <a:avLst/>
          </a:prstGeom>
        </p:spPr>
      </p:pic>
      <p:sp>
        <p:nvSpPr>
          <p:cNvPr id="3" name="Rectangle 2">
            <a:extLst>
              <a:ext uri="{FF2B5EF4-FFF2-40B4-BE49-F238E27FC236}">
                <a16:creationId xmlns:a16="http://schemas.microsoft.com/office/drawing/2014/main" id="{38008F95-0BE9-F402-6C7B-5622DD270134}"/>
              </a:ext>
            </a:extLst>
          </p:cNvPr>
          <p:cNvSpPr/>
          <p:nvPr/>
        </p:nvSpPr>
        <p:spPr bwMode="auto">
          <a:xfrm>
            <a:off x="5677787" y="5337546"/>
            <a:ext cx="2636874" cy="293092"/>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ＭＳ Ｐゴシック" charset="0"/>
              <a:cs typeface="ＭＳ Ｐゴシック" charset="0"/>
            </a:endParaRPr>
          </a:p>
        </p:txBody>
      </p:sp>
      <p:pic>
        <p:nvPicPr>
          <p:cNvPr id="2" name="Picture 1">
            <a:extLst>
              <a:ext uri="{FF2B5EF4-FFF2-40B4-BE49-F238E27FC236}">
                <a16:creationId xmlns:a16="http://schemas.microsoft.com/office/drawing/2014/main" id="{64713780-958B-7D82-332A-4945E5A64560}"/>
              </a:ext>
            </a:extLst>
          </p:cNvPr>
          <p:cNvPicPr>
            <a:picLocks noChangeAspect="1"/>
          </p:cNvPicPr>
          <p:nvPr/>
        </p:nvPicPr>
        <p:blipFill rotWithShape="1">
          <a:blip r:embed="rId4"/>
          <a:srcRect t="9819" r="827"/>
          <a:stretch/>
        </p:blipFill>
        <p:spPr>
          <a:xfrm>
            <a:off x="739403" y="990601"/>
            <a:ext cx="10571317" cy="5263019"/>
          </a:xfrm>
          <a:prstGeom prst="rect">
            <a:avLst/>
          </a:prstGeom>
          <a:noFill/>
        </p:spPr>
      </p:pic>
      <p:sp>
        <p:nvSpPr>
          <p:cNvPr id="6" name="TextBox 5">
            <a:extLst>
              <a:ext uri="{FF2B5EF4-FFF2-40B4-BE49-F238E27FC236}">
                <a16:creationId xmlns:a16="http://schemas.microsoft.com/office/drawing/2014/main" id="{AA622EC5-1454-F8EA-AE8B-5026AC47B3A6}"/>
              </a:ext>
            </a:extLst>
          </p:cNvPr>
          <p:cNvSpPr txBox="1"/>
          <p:nvPr/>
        </p:nvSpPr>
        <p:spPr>
          <a:xfrm>
            <a:off x="5677787" y="6519446"/>
            <a:ext cx="5232137" cy="338554"/>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rPr>
              <a:t>Budde LE et al. Lancet Oncol. 2022;23(8):1055-1065</a:t>
            </a:r>
          </a:p>
        </p:txBody>
      </p:sp>
    </p:spTree>
    <p:extLst>
      <p:ext uri="{BB962C8B-B14F-4D97-AF65-F5344CB8AC3E}">
        <p14:creationId xmlns:p14="http://schemas.microsoft.com/office/powerpoint/2010/main" val="15651775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59F953A0-0052-CDA8-5F0F-3D3DFBB5A043}"/>
              </a:ext>
            </a:extLst>
          </p:cNvPr>
          <p:cNvPicPr>
            <a:picLocks noGrp="1" noChangeAspect="1"/>
          </p:cNvPicPr>
          <p:nvPr>
            <p:ph type="pic" idx="1"/>
          </p:nvPr>
        </p:nvPicPr>
        <p:blipFill rotWithShape="1">
          <a:blip r:embed="rId2"/>
          <a:srcRect t="5264" r="52571" b="19464"/>
          <a:stretch/>
        </p:blipFill>
        <p:spPr>
          <a:xfrm>
            <a:off x="134014" y="1295562"/>
            <a:ext cx="4394055" cy="3783139"/>
          </a:xfrm>
          <a:prstGeom prst="rect">
            <a:avLst/>
          </a:prstGeom>
          <a:noFill/>
        </p:spPr>
      </p:pic>
      <p:sp>
        <p:nvSpPr>
          <p:cNvPr id="3" name="Title 2">
            <a:extLst>
              <a:ext uri="{FF2B5EF4-FFF2-40B4-BE49-F238E27FC236}">
                <a16:creationId xmlns:a16="http://schemas.microsoft.com/office/drawing/2014/main" id="{C00DD665-C490-A44D-9A94-B50F25A4952C}"/>
              </a:ext>
            </a:extLst>
          </p:cNvPr>
          <p:cNvSpPr>
            <a:spLocks noGrp="1"/>
          </p:cNvSpPr>
          <p:nvPr>
            <p:ph type="title"/>
          </p:nvPr>
        </p:nvSpPr>
        <p:spPr>
          <a:xfrm>
            <a:off x="338607" y="132561"/>
            <a:ext cx="11372911" cy="858040"/>
          </a:xfrm>
        </p:spPr>
        <p:txBody>
          <a:bodyPr wrap="square" anchor="ctr">
            <a:normAutofit/>
          </a:bodyPr>
          <a:lstStyle/>
          <a:p>
            <a:r>
              <a:rPr lang="en-US" dirty="0" err="1">
                <a:solidFill>
                  <a:schemeClr val="tx1"/>
                </a:solidFill>
                <a:latin typeface="Arial" panose="020B0604020202020204" pitchFamily="34" charset="0"/>
                <a:cs typeface="Arial" panose="020B0604020202020204" pitchFamily="34" charset="0"/>
              </a:rPr>
              <a:t>Mosunetuzumab</a:t>
            </a:r>
            <a:r>
              <a:rPr lang="en-US" dirty="0">
                <a:solidFill>
                  <a:schemeClr val="tx1"/>
                </a:solidFill>
                <a:latin typeface="Arial" panose="020B0604020202020204" pitchFamily="34" charset="0"/>
                <a:cs typeface="Arial" panose="020B0604020202020204" pitchFamily="34" charset="0"/>
              </a:rPr>
              <a:t> Safety (FL)</a:t>
            </a:r>
          </a:p>
        </p:txBody>
      </p:sp>
      <p:pic>
        <p:nvPicPr>
          <p:cNvPr id="5" name="Picture 4">
            <a:extLst>
              <a:ext uri="{FF2B5EF4-FFF2-40B4-BE49-F238E27FC236}">
                <a16:creationId xmlns:a16="http://schemas.microsoft.com/office/drawing/2014/main" id="{61164300-51D6-5700-DC9C-4EC15BE654F3}"/>
              </a:ext>
            </a:extLst>
          </p:cNvPr>
          <p:cNvPicPr>
            <a:picLocks noChangeAspect="1"/>
          </p:cNvPicPr>
          <p:nvPr/>
        </p:nvPicPr>
        <p:blipFill>
          <a:blip r:embed="rId3"/>
          <a:stretch>
            <a:fillRect/>
          </a:stretch>
        </p:blipFill>
        <p:spPr>
          <a:xfrm>
            <a:off x="4763805" y="1271609"/>
            <a:ext cx="7579323" cy="3783139"/>
          </a:xfrm>
          <a:prstGeom prst="rect">
            <a:avLst/>
          </a:prstGeom>
        </p:spPr>
      </p:pic>
      <p:sp>
        <p:nvSpPr>
          <p:cNvPr id="2" name="TextBox 1">
            <a:extLst>
              <a:ext uri="{FF2B5EF4-FFF2-40B4-BE49-F238E27FC236}">
                <a16:creationId xmlns:a16="http://schemas.microsoft.com/office/drawing/2014/main" id="{1D3EE372-ADB5-72FE-E45F-392A6B890FC1}"/>
              </a:ext>
            </a:extLst>
          </p:cNvPr>
          <p:cNvSpPr txBox="1"/>
          <p:nvPr/>
        </p:nvSpPr>
        <p:spPr>
          <a:xfrm>
            <a:off x="5677787" y="6519446"/>
            <a:ext cx="5232137" cy="338554"/>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rPr>
              <a:t>Budde LE et al. Lancet Oncol. 2022;23(8):1055-1065</a:t>
            </a:r>
          </a:p>
        </p:txBody>
      </p:sp>
    </p:spTree>
    <p:extLst>
      <p:ext uri="{BB962C8B-B14F-4D97-AF65-F5344CB8AC3E}">
        <p14:creationId xmlns:p14="http://schemas.microsoft.com/office/powerpoint/2010/main" val="38313942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8C55F68-B466-3956-8799-109328245420}"/>
              </a:ext>
            </a:extLst>
          </p:cNvPr>
          <p:cNvPicPr>
            <a:picLocks noChangeAspect="1"/>
          </p:cNvPicPr>
          <p:nvPr/>
        </p:nvPicPr>
        <p:blipFill>
          <a:blip r:embed="rId2"/>
          <a:stretch>
            <a:fillRect/>
          </a:stretch>
        </p:blipFill>
        <p:spPr>
          <a:xfrm>
            <a:off x="1044469" y="1343781"/>
            <a:ext cx="9655844" cy="5165876"/>
          </a:xfrm>
          <a:prstGeom prst="rect">
            <a:avLst/>
          </a:prstGeom>
          <a:noFill/>
        </p:spPr>
      </p:pic>
      <p:sp>
        <p:nvSpPr>
          <p:cNvPr id="9" name="Title 2">
            <a:extLst>
              <a:ext uri="{FF2B5EF4-FFF2-40B4-BE49-F238E27FC236}">
                <a16:creationId xmlns:a16="http://schemas.microsoft.com/office/drawing/2014/main" id="{D65E0239-9072-627F-8A73-A30C14D0F695}"/>
              </a:ext>
            </a:extLst>
          </p:cNvPr>
          <p:cNvSpPr>
            <a:spLocks noGrp="1"/>
          </p:cNvSpPr>
          <p:nvPr>
            <p:ph type="title"/>
          </p:nvPr>
        </p:nvSpPr>
        <p:spPr>
          <a:xfrm>
            <a:off x="338607" y="132561"/>
            <a:ext cx="11372911" cy="858040"/>
          </a:xfrm>
        </p:spPr>
        <p:txBody>
          <a:bodyPr/>
          <a:lstStyle/>
          <a:p>
            <a:r>
              <a:rPr lang="en-US" dirty="0" err="1"/>
              <a:t>Epcoritamab</a:t>
            </a:r>
            <a:endParaRPr lang="en-US" dirty="0"/>
          </a:p>
        </p:txBody>
      </p:sp>
      <p:sp>
        <p:nvSpPr>
          <p:cNvPr id="2" name="Rectangle 1">
            <a:extLst>
              <a:ext uri="{FF2B5EF4-FFF2-40B4-BE49-F238E27FC236}">
                <a16:creationId xmlns:a16="http://schemas.microsoft.com/office/drawing/2014/main" id="{98976C5D-8600-1EC9-394C-4C376528D516}"/>
              </a:ext>
            </a:extLst>
          </p:cNvPr>
          <p:cNvSpPr/>
          <p:nvPr/>
        </p:nvSpPr>
        <p:spPr bwMode="auto">
          <a:xfrm>
            <a:off x="1044469" y="1415143"/>
            <a:ext cx="827314" cy="576943"/>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ＭＳ Ｐゴシック" charset="0"/>
              <a:cs typeface="ＭＳ Ｐゴシック" charset="0"/>
            </a:endParaRPr>
          </a:p>
        </p:txBody>
      </p:sp>
      <p:sp>
        <p:nvSpPr>
          <p:cNvPr id="3" name="TextBox 2">
            <a:extLst>
              <a:ext uri="{FF2B5EF4-FFF2-40B4-BE49-F238E27FC236}">
                <a16:creationId xmlns:a16="http://schemas.microsoft.com/office/drawing/2014/main" id="{F2456A5B-EEC9-D53E-DDAA-225F6F9FECAC}"/>
              </a:ext>
            </a:extLst>
          </p:cNvPr>
          <p:cNvSpPr txBox="1"/>
          <p:nvPr/>
        </p:nvSpPr>
        <p:spPr>
          <a:xfrm>
            <a:off x="1116984" y="1494553"/>
            <a:ext cx="705862" cy="461665"/>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2A095"/>
                </a:solidFill>
                <a:effectLst/>
                <a:uLnTx/>
                <a:uFillTx/>
                <a:latin typeface="Arial" panose="020B0604020202020204" pitchFamily="34" charset="0"/>
                <a:ea typeface="MS PGothic" panose="020B0600070205080204" pitchFamily="34" charset="-128"/>
              </a:rPr>
              <a:t>Trial</a:t>
            </a:r>
          </a:p>
        </p:txBody>
      </p:sp>
      <p:sp>
        <p:nvSpPr>
          <p:cNvPr id="5" name="Rectangle 4">
            <a:extLst>
              <a:ext uri="{FF2B5EF4-FFF2-40B4-BE49-F238E27FC236}">
                <a16:creationId xmlns:a16="http://schemas.microsoft.com/office/drawing/2014/main" id="{FC5BEAA5-1766-9846-D61D-D794D270170E}"/>
              </a:ext>
            </a:extLst>
          </p:cNvPr>
          <p:cNvSpPr/>
          <p:nvPr/>
        </p:nvSpPr>
        <p:spPr bwMode="auto">
          <a:xfrm>
            <a:off x="10564134" y="6148496"/>
            <a:ext cx="272358" cy="576943"/>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ＭＳ Ｐゴシック" charset="0"/>
              <a:cs typeface="ＭＳ Ｐゴシック" charset="0"/>
            </a:endParaRPr>
          </a:p>
        </p:txBody>
      </p:sp>
    </p:spTree>
    <p:extLst>
      <p:ext uri="{BB962C8B-B14F-4D97-AF65-F5344CB8AC3E}">
        <p14:creationId xmlns:p14="http://schemas.microsoft.com/office/powerpoint/2010/main" val="30471384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KPI_HAS_CHART" val="false"/>
</p:tagLst>
</file>

<file path=ppt/tags/tag15.xml><?xml version="1.0" encoding="utf-8"?>
<p:tagLst xmlns:a="http://schemas.openxmlformats.org/drawingml/2006/main" xmlns:r="http://schemas.openxmlformats.org/officeDocument/2006/relationships" xmlns:p="http://schemas.openxmlformats.org/presentationml/2006/main">
  <p:tag name="KPI_HAS_CHART" val="false"/>
</p:tagLst>
</file>

<file path=ppt/tags/tag16.xml><?xml version="1.0" encoding="utf-8"?>
<p:tagLst xmlns:a="http://schemas.openxmlformats.org/drawingml/2006/main" xmlns:r="http://schemas.openxmlformats.org/officeDocument/2006/relationships" xmlns:p="http://schemas.openxmlformats.org/presentationml/2006/main">
  <p:tag name="KPI_HAS_CHART" val="false"/>
</p:tagLst>
</file>

<file path=ppt/tags/tag17.xml><?xml version="1.0" encoding="utf-8"?>
<p:tagLst xmlns:a="http://schemas.openxmlformats.org/drawingml/2006/main" xmlns:r="http://schemas.openxmlformats.org/officeDocument/2006/relationships" xmlns:p="http://schemas.openxmlformats.org/presentationml/2006/main">
  <p:tag name="KPI_HAS_CHART" val="false"/>
</p:tagLst>
</file>

<file path=ppt/tags/tag18.xml><?xml version="1.0" encoding="utf-8"?>
<p:tagLst xmlns:a="http://schemas.openxmlformats.org/drawingml/2006/main" xmlns:r="http://schemas.openxmlformats.org/officeDocument/2006/relationships" xmlns:p="http://schemas.openxmlformats.org/presentationml/2006/main">
  <p:tag name="KPI_HAS_CHART" val="false"/>
</p:tagLst>
</file>

<file path=ppt/tags/tag19.xml><?xml version="1.0" encoding="utf-8"?>
<p:tagLst xmlns:a="http://schemas.openxmlformats.org/drawingml/2006/main" xmlns:r="http://schemas.openxmlformats.org/officeDocument/2006/relationships" xmlns:p="http://schemas.openxmlformats.org/presentationml/2006/main">
  <p:tag name="KPI_HAS_CHART" val="fals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KPI_HAS_CHART" val="false"/>
</p:tagLst>
</file>

<file path=ppt/tags/tag21.xml><?xml version="1.0" encoding="utf-8"?>
<p:tagLst xmlns:a="http://schemas.openxmlformats.org/drawingml/2006/main" xmlns:r="http://schemas.openxmlformats.org/officeDocument/2006/relationships" xmlns:p="http://schemas.openxmlformats.org/presentationml/2006/main">
  <p:tag name="KPI_HAS_CHART" val="false"/>
</p:tagLst>
</file>

<file path=ppt/tags/tag22.xml><?xml version="1.0" encoding="utf-8"?>
<p:tagLst xmlns:a="http://schemas.openxmlformats.org/drawingml/2006/main" xmlns:r="http://schemas.openxmlformats.org/officeDocument/2006/relationships" xmlns:p="http://schemas.openxmlformats.org/presentationml/2006/main">
  <p:tag name="KPI_HAS_CHART" val="false"/>
</p:tagLst>
</file>

<file path=ppt/tags/tag23.xml><?xml version="1.0" encoding="utf-8"?>
<p:tagLst xmlns:a="http://schemas.openxmlformats.org/drawingml/2006/main" xmlns:r="http://schemas.openxmlformats.org/officeDocument/2006/relationships" xmlns:p="http://schemas.openxmlformats.org/presentationml/2006/main">
  <p:tag name="KPI_HAS_CHART" val="false"/>
</p:tagLst>
</file>

<file path=ppt/tags/tag24.xml><?xml version="1.0" encoding="utf-8"?>
<p:tagLst xmlns:a="http://schemas.openxmlformats.org/drawingml/2006/main" xmlns:r="http://schemas.openxmlformats.org/officeDocument/2006/relationships" xmlns:p="http://schemas.openxmlformats.org/presentationml/2006/main">
  <p:tag name="KPI_HAS_CHART" val="fals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6.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ontent Slide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SOM-PPT-16x9" id="{01152602-9CA4-A942-BE01-6E46E59C5540}" vid="{ACA8B805-7C2F-424F-824A-5B42387B5E15}"/>
    </a:ext>
  </a:extLst>
</a:theme>
</file>

<file path=ppt/theme/theme11.xml><?xml version="1.0" encoding="utf-8"?>
<a:theme xmlns:a="http://schemas.openxmlformats.org/drawingml/2006/main" name="Photo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SOM-PPT-16x9" id="{01152602-9CA4-A942-BE01-6E46E59C5540}" vid="{C04BE24B-EFF7-F548-A5BC-55EE865B131A}"/>
    </a:ext>
  </a:extLst>
</a:theme>
</file>

<file path=ppt/theme/theme12.xml><?xml version="1.0" encoding="utf-8"?>
<a:theme xmlns:a="http://schemas.openxmlformats.org/drawingml/2006/main" name="1_Content Slide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SOM-PPT-16x9" id="{01152602-9CA4-A942-BE01-6E46E59C5540}" vid="{ACA8B805-7C2F-424F-824A-5B42387B5E15}"/>
    </a:ext>
  </a:extLst>
</a:theme>
</file>

<file path=ppt/theme/theme13.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Office Theme">
  <a:themeElements>
    <a:clrScheme name="Office Them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5.xml><?xml version="1.0" encoding="utf-8"?>
<a:theme xmlns:a="http://schemas.openxmlformats.org/drawingml/2006/main" name="1_Avaglio template">
  <a:themeElements>
    <a:clrScheme name="Custom 14">
      <a:dk1>
        <a:srgbClr val="000000"/>
      </a:dk1>
      <a:lt1>
        <a:srgbClr val="FFFFFF"/>
      </a:lt1>
      <a:dk2>
        <a:srgbClr val="0B41CD"/>
      </a:dk2>
      <a:lt2>
        <a:srgbClr val="544F4F"/>
      </a:lt2>
      <a:accent1>
        <a:srgbClr val="FF1F26"/>
      </a:accent1>
      <a:accent2>
        <a:srgbClr val="BC36F0"/>
      </a:accent2>
      <a:accent3>
        <a:srgbClr val="1482FA"/>
      </a:accent3>
      <a:accent4>
        <a:srgbClr val="BDE3FF"/>
      </a:accent4>
      <a:accent5>
        <a:srgbClr val="FAC9B5"/>
      </a:accent5>
      <a:accent6>
        <a:srgbClr val="ED4A0D"/>
      </a:accent6>
      <a:hlink>
        <a:srgbClr val="464646"/>
      </a:hlink>
      <a:folHlink>
        <a:srgbClr val="46464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60000"/>
            <a:lumOff val="40000"/>
          </a:schemeClr>
        </a:solidFill>
        <a:ln>
          <a:noFill/>
        </a:ln>
      </a:spPr>
      <a:bodyPr rtlCol="0" anchor="ctr"/>
      <a:lstStyle>
        <a:defPPr algn="ctr">
          <a:defRPr sz="1600" i="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dirty="0" smtClean="0">
            <a:solidFill>
              <a:schemeClr val="bg2">
                <a:lumMod val="50000"/>
              </a:schemeClr>
            </a:solidFill>
            <a:latin typeface="+mn-lt"/>
          </a:defRPr>
        </a:defPPr>
      </a:lstStyle>
    </a:txDef>
  </a:objectDefaults>
  <a:extraClrSchemeLst/>
</a:theme>
</file>

<file path=ppt/theme/theme16.xml><?xml version="1.0" encoding="utf-8"?>
<a:theme xmlns:a="http://schemas.openxmlformats.org/drawingml/2006/main" name="2_Avaglio template">
  <a:themeElements>
    <a:clrScheme name="Custom 14">
      <a:dk1>
        <a:srgbClr val="000000"/>
      </a:dk1>
      <a:lt1>
        <a:srgbClr val="FFFFFF"/>
      </a:lt1>
      <a:dk2>
        <a:srgbClr val="0B41CD"/>
      </a:dk2>
      <a:lt2>
        <a:srgbClr val="544F4F"/>
      </a:lt2>
      <a:accent1>
        <a:srgbClr val="FF1F26"/>
      </a:accent1>
      <a:accent2>
        <a:srgbClr val="BC36F0"/>
      </a:accent2>
      <a:accent3>
        <a:srgbClr val="1482FA"/>
      </a:accent3>
      <a:accent4>
        <a:srgbClr val="BDE3FF"/>
      </a:accent4>
      <a:accent5>
        <a:srgbClr val="FAC9B5"/>
      </a:accent5>
      <a:accent6>
        <a:srgbClr val="ED4A0D"/>
      </a:accent6>
      <a:hlink>
        <a:srgbClr val="464646"/>
      </a:hlink>
      <a:folHlink>
        <a:srgbClr val="46464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60000"/>
            <a:lumOff val="40000"/>
          </a:schemeClr>
        </a:solidFill>
        <a:ln>
          <a:noFill/>
        </a:ln>
      </a:spPr>
      <a:bodyPr rtlCol="0" anchor="ctr"/>
      <a:lstStyle>
        <a:defPPr algn="ctr">
          <a:defRPr sz="1600" i="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dirty="0" smtClean="0">
            <a:solidFill>
              <a:schemeClr val="bg2">
                <a:lumMod val="50000"/>
              </a:schemeClr>
            </a:solidFill>
            <a:latin typeface="+mn-lt"/>
          </a:defRPr>
        </a:defPPr>
      </a:lstStyle>
    </a:txDef>
  </a:objectDefaults>
  <a:extraClrSchemeLst/>
</a:theme>
</file>

<file path=ppt/theme/theme17.xml><?xml version="1.0" encoding="utf-8"?>
<a:theme xmlns:a="http://schemas.openxmlformats.org/drawingml/2006/main" name="Office">
  <a:themeElements>
    <a:clrScheme name="Custom 12">
      <a:dk1>
        <a:srgbClr val="98101F"/>
      </a:dk1>
      <a:lt1>
        <a:srgbClr val="FFFFFF"/>
      </a:lt1>
      <a:dk2>
        <a:srgbClr val="7E7F83"/>
      </a:dk2>
      <a:lt2>
        <a:srgbClr val="F8F6EE"/>
      </a:lt2>
      <a:accent1>
        <a:srgbClr val="98101F"/>
      </a:accent1>
      <a:accent2>
        <a:srgbClr val="5ECFDE"/>
      </a:accent2>
      <a:accent3>
        <a:srgbClr val="7E7F83"/>
      </a:accent3>
      <a:accent4>
        <a:srgbClr val="D32132"/>
      </a:accent4>
      <a:accent5>
        <a:srgbClr val="FFC500"/>
      </a:accent5>
      <a:accent6>
        <a:srgbClr val="003A70"/>
      </a:accent6>
      <a:hlink>
        <a:srgbClr val="D32132"/>
      </a:hlink>
      <a:folHlink>
        <a:srgbClr val="98101F"/>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A9A3C682-721C-4D48-803C-DF85A841C1F4}" vid="{0E7604F8-EDF5-D84C-AF99-B97D11B81A7A}"/>
    </a:ext>
  </a:extLst>
</a:theme>
</file>

<file path=ppt/theme/theme18.xml><?xml version="1.0" encoding="utf-8"?>
<a:theme xmlns:a="http://schemas.openxmlformats.org/drawingml/2006/main" name="Presentation_16x9_Widescreen_Basic">
  <a:themeElements>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fontScheme name="MD Anderson">
      <a:majorFont>
        <a:latin typeface="Arial"/>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600"/>
          </a:spcBef>
          <a:defRPr sz="1800" b="1" dirty="0" smtClean="0">
            <a:latin typeface="+mj-lt"/>
          </a:defRPr>
        </a:defPPr>
      </a:lstStyle>
      <a:style>
        <a:lnRef idx="1">
          <a:schemeClr val="accent1"/>
        </a:lnRef>
        <a:fillRef idx="3">
          <a:schemeClr val="accent1"/>
        </a:fillRef>
        <a:effectRef idx="2">
          <a:schemeClr val="accent1"/>
        </a:effectRef>
        <a:fontRef idx="minor">
          <a:schemeClr val="lt1"/>
        </a:fontRef>
      </a:style>
    </a:spDef>
    <a:lnDef>
      <a:spPr bwMode="gray">
        <a:ln w="12700" cap="rnd">
          <a:solidFill>
            <a:schemeClr val="accent6"/>
          </a:solidFill>
          <a:prstDash val="soli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marL="182880" indent="-182880">
          <a:spcBef>
            <a:spcPts val="1200"/>
          </a:spcBef>
          <a:buFont typeface="Arial" panose="020B0604020202020204" pitchFamily="34" charset="0"/>
          <a:buChar char="•"/>
          <a:defRPr sz="1800" dirty="0" smtClean="0">
            <a:cs typeface="Arial"/>
          </a:defRPr>
        </a:defPPr>
      </a:lstStyle>
    </a:txDef>
  </a:objectDefaults>
  <a:extraClrSchemeLst/>
  <a:extLst>
    <a:ext uri="{05A4C25C-085E-4340-85A3-A5531E510DB2}">
      <thm15:themeFamily xmlns:thm15="http://schemas.microsoft.com/office/thememl/2012/main" name="Presentation4" id="{96FD2424-AC25-5741-B010-95742E8E8E9D}" vid="{0542371B-13A0-F740-BBC2-5BCF202ACB61}"/>
    </a:ext>
  </a:extLst>
</a:theme>
</file>

<file path=ppt/theme/theme19.xml><?xml version="1.0" encoding="utf-8"?>
<a:theme xmlns:a="http://schemas.openxmlformats.org/drawingml/2006/main" name="1_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CAR T-cell debate_Whistler 2022_Abramson" id="{195DBF8F-8081-B542-9DD2-5C839E5756F6}" vid="{C8A9E6B8-28FF-F940-8339-95E500C36FFA}"/>
    </a:ext>
  </a:extLst>
</a:theme>
</file>

<file path=ppt/theme/theme2.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Presentation6lightgreencream">
  <a:themeElements>
    <a:clrScheme name="COH colors 1">
      <a:dk1>
        <a:srgbClr val="000000"/>
      </a:dk1>
      <a:lt1>
        <a:srgbClr val="FFFFFF"/>
      </a:lt1>
      <a:dk2>
        <a:srgbClr val="7C7369"/>
      </a:dk2>
      <a:lt2>
        <a:srgbClr val="D8D8D8"/>
      </a:lt2>
      <a:accent1>
        <a:srgbClr val="2DC3E8"/>
      </a:accent1>
      <a:accent2>
        <a:srgbClr val="289728"/>
      </a:accent2>
      <a:accent3>
        <a:srgbClr val="7C7369"/>
      </a:accent3>
      <a:accent4>
        <a:srgbClr val="F1AB00"/>
      </a:accent4>
      <a:accent5>
        <a:srgbClr val="296DC0"/>
      </a:accent5>
      <a:accent6>
        <a:srgbClr val="E61E3C"/>
      </a:accent6>
      <a:hlink>
        <a:srgbClr val="0000EE"/>
      </a:hlink>
      <a:folHlink>
        <a:srgbClr val="551A8B"/>
      </a:folHlink>
    </a:clrScheme>
    <a:fontScheme name="Presentation6lightgreencream">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ＭＳ Ｐゴシック" charset="0"/>
            <a:cs typeface="ＭＳ Ｐゴシック"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ＭＳ Ｐゴシック" charset="0"/>
            <a:cs typeface="ＭＳ Ｐゴシック" charset="0"/>
          </a:defRPr>
        </a:defPPr>
      </a:lstStyle>
    </a:lnDef>
  </a:objectDefaults>
  <a:extraClrSchemeLst>
    <a:extraClrScheme>
      <a:clrScheme name="Presentation6lightgreencream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resentation6lightgreencream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resentation6lightgreencream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resentation6lightgreencream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resentation6lightgreencream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resentation6lightgreencream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resentation6lightgreencream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resentation6lightgreencream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resentation6lightgreencream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resentation6lightgreencream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resentation6lightgreencream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resentation6lightgreencream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OH NoMiracle Powerpoint Template widescreen  -  Read-Only" id="{D5D6E265-E353-7C49-8D01-4F2ECFFD825C}" vid="{BC6372F9-F28B-E54C-9F49-4A49C6C683C9}"/>
    </a:ext>
  </a:extLst>
</a:theme>
</file>

<file path=ppt/theme/theme21.xml><?xml version="1.0" encoding="utf-8"?>
<a:theme xmlns:a="http://schemas.openxmlformats.org/drawingml/2006/main" name="3_Avaglio template">
  <a:themeElements>
    <a:clrScheme name="Custom 14">
      <a:dk1>
        <a:srgbClr val="000000"/>
      </a:dk1>
      <a:lt1>
        <a:srgbClr val="FFFFFF"/>
      </a:lt1>
      <a:dk2>
        <a:srgbClr val="0B41CD"/>
      </a:dk2>
      <a:lt2>
        <a:srgbClr val="544F4F"/>
      </a:lt2>
      <a:accent1>
        <a:srgbClr val="FF1F26"/>
      </a:accent1>
      <a:accent2>
        <a:srgbClr val="BC36F0"/>
      </a:accent2>
      <a:accent3>
        <a:srgbClr val="1482FA"/>
      </a:accent3>
      <a:accent4>
        <a:srgbClr val="BDE3FF"/>
      </a:accent4>
      <a:accent5>
        <a:srgbClr val="FAC9B5"/>
      </a:accent5>
      <a:accent6>
        <a:srgbClr val="ED4A0D"/>
      </a:accent6>
      <a:hlink>
        <a:srgbClr val="464646"/>
      </a:hlink>
      <a:folHlink>
        <a:srgbClr val="46464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60000"/>
            <a:lumOff val="40000"/>
          </a:schemeClr>
        </a:solidFill>
        <a:ln>
          <a:noFill/>
        </a:ln>
      </a:spPr>
      <a:bodyPr rtlCol="0" anchor="ctr"/>
      <a:lstStyle>
        <a:defPPr algn="ctr">
          <a:defRPr sz="1600" i="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dirty="0" smtClean="0">
            <a:solidFill>
              <a:schemeClr val="bg2">
                <a:lumMod val="50000"/>
              </a:schemeClr>
            </a:solidFill>
            <a:latin typeface="+mn-lt"/>
          </a:defRPr>
        </a:defPPr>
      </a:lstStyle>
    </a:txDef>
  </a:objectDefaults>
  <a:extraClrSchemeLst/>
</a:theme>
</file>

<file path=ppt/theme/theme22.xml><?xml version="1.0" encoding="utf-8"?>
<a:theme xmlns:a="http://schemas.openxmlformats.org/drawingml/2006/main" name="4_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3_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5.xml><?xml version="1.0" encoding="utf-8"?>
<a:theme xmlns:a="http://schemas.openxmlformats.org/drawingml/2006/main" name="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6.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8.xml><?xml version="1.0" encoding="utf-8"?>
<a:theme xmlns:a="http://schemas.openxmlformats.org/drawingml/2006/main" name="1_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9.xml><?xml version="1.0" encoding="utf-8"?>
<a:theme xmlns:a="http://schemas.openxmlformats.org/drawingml/2006/main" name="2_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3.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1.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2016 Clinical Widescreen Template">
  <a:themeElements>
    <a:clrScheme name="2014 OSUCCC - James">
      <a:dk1>
        <a:srgbClr val="000000"/>
      </a:dk1>
      <a:lt1>
        <a:srgbClr val="FFFFFF"/>
      </a:lt1>
      <a:dk2>
        <a:srgbClr val="717070"/>
      </a:dk2>
      <a:lt2>
        <a:srgbClr val="FFFFFF"/>
      </a:lt2>
      <a:accent1>
        <a:srgbClr val="BB0000"/>
      </a:accent1>
      <a:accent2>
        <a:srgbClr val="D25F15"/>
      </a:accent2>
      <a:accent3>
        <a:srgbClr val="365D66"/>
      </a:accent3>
      <a:accent4>
        <a:srgbClr val="740061"/>
      </a:accent4>
      <a:accent5>
        <a:srgbClr val="85B9AE"/>
      </a:accent5>
      <a:accent6>
        <a:srgbClr val="F2DE90"/>
      </a:accent6>
      <a:hlink>
        <a:srgbClr val="A3B5D1"/>
      </a:hlink>
      <a:folHlink>
        <a:srgbClr val="97930E"/>
      </a:folHlink>
    </a:clrScheme>
    <a:fontScheme name="RESEARCH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RESEARCH Template 1">
        <a:dk1>
          <a:srgbClr val="000000"/>
        </a:dk1>
        <a:lt1>
          <a:srgbClr val="FFFFFF"/>
        </a:lt1>
        <a:dk2>
          <a:srgbClr val="000000"/>
        </a:dk2>
        <a:lt2>
          <a:srgbClr val="A89487"/>
        </a:lt2>
        <a:accent1>
          <a:srgbClr val="006191"/>
        </a:accent1>
        <a:accent2>
          <a:srgbClr val="6B8C2C"/>
        </a:accent2>
        <a:accent3>
          <a:srgbClr val="FFFFFF"/>
        </a:accent3>
        <a:accent4>
          <a:srgbClr val="000000"/>
        </a:accent4>
        <a:accent5>
          <a:srgbClr val="AAB7C7"/>
        </a:accent5>
        <a:accent6>
          <a:srgbClr val="607E27"/>
        </a:accent6>
        <a:hlink>
          <a:srgbClr val="DA6F2B"/>
        </a:hlink>
        <a:folHlink>
          <a:srgbClr val="C91648"/>
        </a:folHlink>
      </a:clrScheme>
      <a:clrMap bg1="lt1" tx1="dk1" bg2="lt2" tx2="dk2" accent1="accent1" accent2="accent2" accent3="accent3" accent4="accent4" accent5="accent5" accent6="accent6" hlink="hlink" folHlink="folHlink"/>
    </a:extraClrScheme>
    <a:extraClrScheme>
      <a:clrScheme name="RESEARCH Template 2">
        <a:dk1>
          <a:srgbClr val="000000"/>
        </a:dk1>
        <a:lt1>
          <a:srgbClr val="FFFFFF"/>
        </a:lt1>
        <a:dk2>
          <a:srgbClr val="000000"/>
        </a:dk2>
        <a:lt2>
          <a:srgbClr val="A89487"/>
        </a:lt2>
        <a:accent1>
          <a:srgbClr val="006191"/>
        </a:accent1>
        <a:accent2>
          <a:srgbClr val="C91648"/>
        </a:accent2>
        <a:accent3>
          <a:srgbClr val="FFFFFF"/>
        </a:accent3>
        <a:accent4>
          <a:srgbClr val="000000"/>
        </a:accent4>
        <a:accent5>
          <a:srgbClr val="AAB7C7"/>
        </a:accent5>
        <a:accent6>
          <a:srgbClr val="B61340"/>
        </a:accent6>
        <a:hlink>
          <a:srgbClr val="DA6F2B"/>
        </a:hlink>
        <a:folHlink>
          <a:srgbClr val="6B8C2C"/>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AADI-2022">
  <a:themeElements>
    <a:clrScheme name="AADI-2022">
      <a:dk1>
        <a:srgbClr val="000000"/>
      </a:dk1>
      <a:lt1>
        <a:srgbClr val="FFFFFF"/>
      </a:lt1>
      <a:dk2>
        <a:srgbClr val="A7A7A7"/>
      </a:dk2>
      <a:lt2>
        <a:srgbClr val="000738"/>
      </a:lt2>
      <a:accent1>
        <a:srgbClr val="00859D"/>
      </a:accent1>
      <a:accent2>
        <a:srgbClr val="FFB71B"/>
      </a:accent2>
      <a:accent3>
        <a:srgbClr val="E2F0D9"/>
      </a:accent3>
      <a:accent4>
        <a:srgbClr val="017298"/>
      </a:accent4>
      <a:accent5>
        <a:srgbClr val="820000"/>
      </a:accent5>
      <a:accent6>
        <a:srgbClr val="00C7D2"/>
      </a:accent6>
      <a:hlink>
        <a:srgbClr val="0000FF"/>
      </a:hlink>
      <a:folHlink>
        <a:srgbClr val="FF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40000"/>
            <a:lumOff val="60000"/>
          </a:schemeClr>
        </a:solidFill>
        <a:ln w="12700" cap="flat">
          <a:noFill/>
          <a:miter lim="400000"/>
        </a:ln>
        <a:effectLst/>
        <a:sp3d/>
      </a:spPr>
      <a:bodyPr rot="0" spcFirstLastPara="1" vertOverflow="overflow" horzOverflow="overflow" vert="horz" wrap="square" lIns="45719" tIns="45719" rIns="45719" bIns="45719" numCol="1" spcCol="38100" rtlCol="0" anchor="ctr">
        <a:noAutofit/>
      </a:bodyPr>
      <a:lstStyle>
        <a:defPPr marL="0" marR="0" indent="0" algn="ct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dirty="0" err="1" smtClean="0">
            <a:ln>
              <a:noFill/>
            </a:ln>
            <a:solidFill>
              <a:srgbClr val="50626A"/>
            </a:solidFill>
            <a:effectLst/>
            <a:uFillTx/>
            <a:latin typeface="Arial Nova" panose="020B0504020202020204" pitchFamily="34" charset="0"/>
            <a:ea typeface="+mn-ea"/>
            <a:cs typeface="+mn-cs"/>
            <a:sym typeface="Calibri"/>
          </a:defRPr>
        </a:def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ADI-MASTER-TEMPLATE-2022" id="{25E06D4D-A67C-4EC9-AD91-47DA4EE5A1A4}" vid="{18C86F85-334B-4844-A77A-24A7A05DBEA7}"/>
    </a:ext>
  </a:extLst>
</a:theme>
</file>

<file path=ppt/theme/theme6.xml><?xml version="1.0" encoding="utf-8"?>
<a:theme xmlns:a="http://schemas.openxmlformats.org/drawingml/2006/main" name="DUKE OPTION B INSIDE PAGE">
  <a:themeElements>
    <a:clrScheme name="New darker Duke colors with teal">
      <a:dk1>
        <a:srgbClr val="00539B"/>
      </a:dk1>
      <a:lt1>
        <a:srgbClr val="FFFDFC"/>
      </a:lt1>
      <a:dk2>
        <a:srgbClr val="414041"/>
      </a:dk2>
      <a:lt2>
        <a:srgbClr val="FFFFFE"/>
      </a:lt2>
      <a:accent1>
        <a:srgbClr val="00A09F"/>
      </a:accent1>
      <a:accent2>
        <a:srgbClr val="B03C33"/>
      </a:accent2>
      <a:accent3>
        <a:srgbClr val="5E802C"/>
      </a:accent3>
      <a:accent4>
        <a:srgbClr val="EEBD60"/>
      </a:accent4>
      <a:accent5>
        <a:srgbClr val="407E99"/>
      </a:accent5>
      <a:accent6>
        <a:srgbClr val="E0750B"/>
      </a:accent6>
      <a:hlink>
        <a:srgbClr val="0000FF"/>
      </a:hlink>
      <a:folHlink>
        <a:srgbClr val="64518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AADI-2022">
  <a:themeElements>
    <a:clrScheme name="AADI-2022">
      <a:dk1>
        <a:srgbClr val="000000"/>
      </a:dk1>
      <a:lt1>
        <a:srgbClr val="FFFFFF"/>
      </a:lt1>
      <a:dk2>
        <a:srgbClr val="A7A7A7"/>
      </a:dk2>
      <a:lt2>
        <a:srgbClr val="000738"/>
      </a:lt2>
      <a:accent1>
        <a:srgbClr val="00859D"/>
      </a:accent1>
      <a:accent2>
        <a:srgbClr val="FFB71B"/>
      </a:accent2>
      <a:accent3>
        <a:srgbClr val="E2F0D9"/>
      </a:accent3>
      <a:accent4>
        <a:srgbClr val="017298"/>
      </a:accent4>
      <a:accent5>
        <a:srgbClr val="820000"/>
      </a:accent5>
      <a:accent6>
        <a:srgbClr val="00C7D2"/>
      </a:accent6>
      <a:hlink>
        <a:srgbClr val="0000FF"/>
      </a:hlink>
      <a:folHlink>
        <a:srgbClr val="FF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40000"/>
            <a:lumOff val="60000"/>
          </a:schemeClr>
        </a:solidFill>
        <a:ln w="12700" cap="flat">
          <a:noFill/>
          <a:miter lim="400000"/>
        </a:ln>
        <a:effectLst/>
        <a:sp3d/>
      </a:spPr>
      <a:bodyPr rot="0" spcFirstLastPara="1" vertOverflow="overflow" horzOverflow="overflow" vert="horz" wrap="square" lIns="45719" tIns="45719" rIns="45719" bIns="45719" numCol="1" spcCol="38100" rtlCol="0" anchor="ctr">
        <a:noAutofit/>
      </a:bodyPr>
      <a:lstStyle>
        <a:defPPr marL="0" marR="0" indent="0" algn="ct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dirty="0" err="1" smtClean="0">
            <a:ln>
              <a:noFill/>
            </a:ln>
            <a:solidFill>
              <a:srgbClr val="50626A"/>
            </a:solidFill>
            <a:effectLst/>
            <a:uFillTx/>
            <a:latin typeface="Arial Nova" panose="020B0504020202020204" pitchFamily="34" charset="0"/>
            <a:ea typeface="+mn-ea"/>
            <a:cs typeface="+mn-cs"/>
            <a:sym typeface="Calibri"/>
          </a:defRPr>
        </a:def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ADI-MASTER-TEMPLATE-2022" id="{25E06D4D-A67C-4EC9-AD91-47DA4EE5A1A4}" vid="{18C86F85-334B-4844-A77A-24A7A05DBEA7}"/>
    </a:ext>
  </a:extLst>
</a:theme>
</file>

<file path=ppt/theme/theme8.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6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TemplafySlideFormConfiguration><![CDATA[{"formFields":[],"formDataEntries":[]}]]></TemplafySlideFormConfiguration>
</file>

<file path=customXml/item11.xml><?xml version="1.0" encoding="utf-8"?>
<TemplafySlideFormConfiguration><![CDATA[{"formFields":[],"formDataEntries":[]}]]></TemplafySlideFormConfiguration>
</file>

<file path=customXml/item12.xml><?xml version="1.0" encoding="utf-8"?>
<TemplafySlideTemplateConfiguration><![CDATA[{"slideVersion":1,"isValidatorEnabled":false,"isLocked":false,"elementsMetadata":[],"slideId":"861026044834480145","enableDocumentContentUpdater":false,"version":"2.0"}]]></TemplafySlideTemplateConfiguration>
</file>

<file path=customXml/item13.xml><?xml version="1.0" encoding="utf-8"?>
<TemplafySlideTemplateConfiguration><![CDATA[{"slideVersion":1,"isValidatorEnabled":false,"isLocked":false,"elementsMetadata":[],"slideId":"861026044834480145","enableDocumentContentUpdater":false,"version":"2.0"}]]></TemplafySlideTemplateConfiguration>
</file>

<file path=customXml/item14.xml><?xml version="1.0" encoding="utf-8"?>
<TemplafySlideTemplateConfiguration><![CDATA[{"slideVersion":1,"isValidatorEnabled":false,"isLocked":false,"elementsMetadata":[],"slideId":"861026044834480145","enableDocumentContentUpdater":false,"version":"2.0"}]]></TemplafySlideTemplateConfiguration>
</file>

<file path=customXml/item15.xml><?xml version="1.0" encoding="utf-8"?>
<TemplafySlideTemplateConfiguration><![CDATA[{"slideVersion":1,"isValidatorEnabled":false,"isLocked":false,"elementsMetadata":[],"slideId":"861026044834480145","enableDocumentContentUpdater":false,"version":"2.0"}]]></TemplafySlideTemplateConfiguration>
</file>

<file path=customXml/item16.xml><?xml version="1.0" encoding="utf-8"?>
<TemplafySlideFormConfiguration><![CDATA[{"formFields":[],"formDataEntries":[]}]]></TemplafySlideFormConfiguration>
</file>

<file path=customXml/item17.xml><?xml version="1.0" encoding="utf-8"?>
<TemplafySlideFormConfiguration><![CDATA[{"formFields":[],"formDataEntries":[]}]]></TemplafySlideFormConfiguration>
</file>

<file path=customXml/item18.xml><?xml version="1.0" encoding="utf-8"?>
<TemplafySlideTemplateConfiguration><![CDATA[{"slideVersion":1,"isValidatorEnabled":false,"isLocked":false,"elementsMetadata":[],"slideId":"861026044834480131","enableDocumentContentUpdater":false,"version":"2.0"}]]></TemplafySlideTemplateConfiguration>
</file>

<file path=customXml/item19.xml><?xml version="1.0" encoding="utf-8"?>
<TemplafySlideFormConfiguration><![CDATA[{"formFields":[],"formDataEntries":[]}]]></TemplafySlideFormConfiguration>
</file>

<file path=customXml/item2.xml><?xml version="1.0" encoding="utf-8"?>
<TemplafySlideTemplateConfiguration><![CDATA[{"slideVersion":1,"isValidatorEnabled":false,"isLocked":false,"elementsMetadata":[],"slideId":"861026044834480131","enableDocumentContentUpdater":false,"version":"2.0"}]]></TemplafySlideTemplateConfiguration>
</file>

<file path=customXml/item20.xml><?xml version="1.0" encoding="utf-8"?>
<TemplafySlideFormConfiguration><![CDATA[{"formFields":[],"formDataEntries":[]}]]></TemplafySlideFormConfiguration>
</file>

<file path=customXml/item21.xml><?xml version="1.0" encoding="utf-8"?>
<TemplafySlideTemplateConfiguration><![CDATA[{"slideVersion":1,"isValidatorEnabled":false,"isLocked":false,"elementsMetadata":[],"slideId":"861026044834480145","enableDocumentContentUpdater":false,"version":"2.0"}]]></TemplafySlideTemplateConfiguration>
</file>

<file path=customXml/item22.xml><?xml version="1.0" encoding="utf-8"?>
<TemplafySlideFormConfiguration><![CDATA[{"formFields":[],"formDataEntries":[]}]]></TemplafySlideFormConfiguration>
</file>

<file path=customXml/item23.xml><?xml version="1.0" encoding="utf-8"?>
<TemplafySlideTemplateConfiguration><![CDATA[{"slideVersion":1,"isValidatorEnabled":false,"isLocked":false,"elementsMetadata":[],"slideId":"861026044834480145","enableDocumentContentUpdater":false,"version":"2.0"}]]></TemplafySlideTemplateConfiguration>
</file>

<file path=customXml/item24.xml><?xml version="1.0" encoding="utf-8"?>
<TemplafySlideFormConfiguration><![CDATA[{"formFields":[],"formDataEntries":[]}]]></TemplafySlideFormConfiguration>
</file>

<file path=customXml/item25.xml><?xml version="1.0" encoding="utf-8"?>
<TemplafySlideTemplateConfiguration><![CDATA[{"slideVersion":1,"isValidatorEnabled":false,"isLocked":false,"elementsMetadata":[],"slideId":"861026044834480145","enableDocumentContentUpdater":false,"version":"2.0"}]]></TemplafySlideTemplateConfiguration>
</file>

<file path=customXml/item26.xml><?xml version="1.0" encoding="utf-8"?>
<TemplafySlideFormConfiguration><![CDATA[{"formFields":[],"formDataEntries":[]}]]></TemplafySlideFormConfiguration>
</file>

<file path=customXml/item27.xml><?xml version="1.0" encoding="utf-8"?>
<TemplafySlideFormConfiguration><![CDATA[{"formFields":[],"formDataEntries":[]}]]></TemplafySlideFormConfiguration>
</file>

<file path=customXml/item28.xml><?xml version="1.0" encoding="utf-8"?>
<TemplafySlideFormConfiguration><![CDATA[{"formFields":[],"formDataEntries":[]}]]></TemplafySlideFormConfiguration>
</file>

<file path=customXml/item29.xml><?xml version="1.0" encoding="utf-8"?>
<TemplafySlideFormConfiguration><![CDATA[{"formFields":[],"formDataEntries":[]}]]></TemplafySlideFormConfiguration>
</file>

<file path=customXml/item3.xml><?xml version="1.0" encoding="utf-8"?>
<TemplafySlideTemplateConfiguration><![CDATA[{"slideVersion":1,"isValidatorEnabled":false,"isLocked":false,"elementsMetadata":[],"slideId":"861026044834480145","enableDocumentContentUpdater":false,"version":"2.0"}]]></TemplafySlideTemplateConfiguration>
</file>

<file path=customXml/item30.xml><?xml version="1.0" encoding="utf-8"?>
<TemplafySlideTemplateConfiguration><![CDATA[{"slideVersion":1,"isValidatorEnabled":false,"isLocked":false,"elementsMetadata":[],"slideId":"861026044834480145","enableDocumentContentUpdater":false,"version":"2.0"}]]></TemplafySlideTemplateConfiguration>
</file>

<file path=customXml/item31.xml><?xml version="1.0" encoding="utf-8"?>
<TemplafySlideFormConfiguration><![CDATA[{"formFields":[],"formDataEntries":[]}]]></TemplafySlideFormConfiguration>
</file>

<file path=customXml/item32.xml><?xml version="1.0" encoding="utf-8"?>
<TemplafySlideTemplateConfiguration><![CDATA[{"slideVersion":1,"isValidatorEnabled":false,"isLocked":false,"elementsMetadata":[],"slideId":"861026044834480145","enableDocumentContentUpdater":false,"version":"2.0"}]]></TemplafySlideTemplateConfiguration>
</file>

<file path=customXml/item33.xml><?xml version="1.0" encoding="utf-8"?>
<TemplafySlideFormConfiguration><![CDATA[{"formFields":[],"formDataEntries":[]}]]></TemplafySlideFormConfiguration>
</file>

<file path=customXml/item34.xml><?xml version="1.0" encoding="utf-8"?>
<TemplafySlideFormConfiguration><![CDATA[{"formFields":[],"formDataEntries":[]}]]></TemplafySlideFormConfiguration>
</file>

<file path=customXml/item35.xml><?xml version="1.0" encoding="utf-8"?>
<TemplafySlideTemplateConfiguration><![CDATA[{"slideVersion":1,"isValidatorEnabled":false,"isLocked":false,"elementsMetadata":[],"slideId":"861026044834480145","enableDocumentContentUpdater":false,"version":"2.0"}]]></TemplafySlideTemplateConfiguration>
</file>

<file path=customXml/item36.xml><?xml version="1.0" encoding="utf-8"?>
<TemplafySlideFormConfiguration><![CDATA[{"formFields":[],"formDataEntries":[]}]]></TemplafySlideFormConfiguration>
</file>

<file path=customXml/item37.xml><?xml version="1.0" encoding="utf-8"?>
<TemplafySlideTemplateConfiguration><![CDATA[{"slideVersion":1,"isValidatorEnabled":false,"isLocked":false,"elementsMetadata":[],"slideId":"861026044834480145","enableDocumentContentUpdater":false,"version":"2.0"}]]></TemplafySlideTemplateConfiguration>
</file>

<file path=customXml/item38.xml><?xml version="1.0" encoding="utf-8"?>
<TemplafySlideTemplateConfiguration><![CDATA[{"slideVersion":1,"isValidatorEnabled":false,"isLocked":false,"elementsMetadata":[],"slideId":"861026044834480131","enableDocumentContentUpdater":false,"version":"2.0"}]]></TemplafySlideTemplateConfiguration>
</file>

<file path=customXml/item39.xml><?xml version="1.0" encoding="utf-8"?>
<TemplafySlideTemplateConfiguration><![CDATA[{"slideVersion":1,"isValidatorEnabled":false,"isLocked":false,"elementsMetadata":[],"slideId":"861026044834480145","enableDocumentContentUpdater":false,"version":"2.0"}]]></TemplafySlideTemplateConfiguration>
</file>

<file path=customXml/item4.xml><?xml version="1.0" encoding="utf-8"?>
<TemplafySlideFormConfiguration><![CDATA[{"formFields":[],"formDataEntries":[]}]]></TemplafySlideFormConfiguration>
</file>

<file path=customXml/item40.xml><?xml version="1.0" encoding="utf-8"?>
<TemplafySlideTemplateConfiguration><![CDATA[{"slideVersion":1,"isValidatorEnabled":false,"isLocked":false,"elementsMetadata":[],"slideId":"861026044834480145","enableDocumentContentUpdater":false,"version":"2.0"}]]></TemplafySlideTemplateConfiguration>
</file>

<file path=customXml/item41.xml><?xml version="1.0" encoding="utf-8"?>
<TemplafySlideFormConfiguration><![CDATA[{"formFields":[],"formDataEntries":[]}]]></TemplafySlideFormConfiguration>
</file>

<file path=customXml/item42.xml><?xml version="1.0" encoding="utf-8"?>
<TemplafySlideTemplateConfiguration><![CDATA[{"slideVersion":1,"isValidatorEnabled":false,"isLocked":false,"elementsMetadata":[],"slideId":"861026044834480145","enableDocumentContentUpdater":false,"version":"2.0"}]]></TemplafySlideTemplateConfiguration>
</file>

<file path=customXml/item43.xml><?xml version="1.0" encoding="utf-8"?>
<TemplafySlideTemplateConfiguration><![CDATA[{"slideVersion":1,"isValidatorEnabled":false,"isLocked":false,"elementsMetadata":[],"slideId":"861026044834480145","enableDocumentContentUpdater":false,"version":"2.0"}]]></TemplafySlideTemplateConfiguration>
</file>

<file path=customXml/item44.xml><?xml version="1.0" encoding="utf-8"?>
<TemplafySlideTemplateConfiguration><![CDATA[{"slideVersion":1,"isValidatorEnabled":false,"isLocked":false,"elementsMetadata":[],"slideId":"861026044834480145","enableDocumentContentUpdater":false,"version":"2.0"}]]></TemplafySlideTemplateConfiguration>
</file>

<file path=customXml/item45.xml><?xml version="1.0" encoding="utf-8"?>
<TemplafySlideTemplateConfiguration><![CDATA[{"slideVersion":1,"isValidatorEnabled":false,"isLocked":false,"elementsMetadata":[],"slideId":"861026044834480145","enableDocumentContentUpdater":false,"version":"2.0"}]]></TemplafySlideTemplateConfiguration>
</file>

<file path=customXml/item46.xml><?xml version="1.0" encoding="utf-8"?>
<TemplafySlideFormConfiguration><![CDATA[{"formFields":[],"formDataEntries":[]}]]></TemplafySlideFormConfiguration>
</file>

<file path=customXml/item47.xml><?xml version="1.0" encoding="utf-8"?>
<TemplafySlideFormConfiguration><![CDATA[{"formFields":[],"formDataEntries":[]}]]></TemplafySlideFormConfiguration>
</file>

<file path=customXml/item48.xml><?xml version="1.0" encoding="utf-8"?>
<TemplafySlideFormConfiguration><![CDATA[{"formFields":[],"formDataEntries":[]}]]></TemplafySlideFormConfiguration>
</file>

<file path=customXml/item5.xml><?xml version="1.0" encoding="utf-8"?>
<TemplafySlideTemplateConfiguration><![CDATA[{"slideVersion":1,"isValidatorEnabled":false,"isLocked":false,"elementsMetadata":[],"slideId":"861026044834480145","enableDocumentContentUpdater":false,"version":"2.0"}]]></TemplafySlideTemplateConfiguration>
</file>

<file path=customXml/item6.xml><?xml version="1.0" encoding="utf-8"?>
<TemplafySlideTemplateConfiguration><![CDATA[{"slideVersion":1,"isValidatorEnabled":false,"isLocked":false,"elementsMetadata":[],"slideId":"861026044834480145","enableDocumentContentUpdater":false,"version":"2.0"}]]></TemplafySlideTemplateConfiguration>
</file>

<file path=customXml/item7.xml><?xml version="1.0" encoding="utf-8"?>
<TemplafySlideFormConfiguration><![CDATA[{"formFields":[],"formDataEntries":[]}]]></TemplafySlideFormConfiguration>
</file>

<file path=customXml/item8.xml><?xml version="1.0" encoding="utf-8"?>
<TemplafySlideTemplateConfiguration><![CDATA[{"slideVersion":1,"isValidatorEnabled":false,"isLocked":false,"elementsMetadata":[],"slideId":"861026044834480145","enableDocumentContentUpdater":false,"version":"2.0"}]]></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51C0BB3F-CB9D-EA4A-BD04-FB854D09060F}">
  <ds:schemaRefs/>
</ds:datastoreItem>
</file>

<file path=customXml/itemProps10.xml><?xml version="1.0" encoding="utf-8"?>
<ds:datastoreItem xmlns:ds="http://schemas.openxmlformats.org/officeDocument/2006/customXml" ds:itemID="{7B5AE8EE-72FE-4114-8EDB-67272A8ED33C}">
  <ds:schemaRefs/>
</ds:datastoreItem>
</file>

<file path=customXml/itemProps11.xml><?xml version="1.0" encoding="utf-8"?>
<ds:datastoreItem xmlns:ds="http://schemas.openxmlformats.org/officeDocument/2006/customXml" ds:itemID="{41B1A156-CEB3-FE49-AC31-498ABBC7C1D5}">
  <ds:schemaRefs/>
</ds:datastoreItem>
</file>

<file path=customXml/itemProps12.xml><?xml version="1.0" encoding="utf-8"?>
<ds:datastoreItem xmlns:ds="http://schemas.openxmlformats.org/officeDocument/2006/customXml" ds:itemID="{CC00BF0B-C77C-134B-BE32-91F36AE609F9}">
  <ds:schemaRefs/>
</ds:datastoreItem>
</file>

<file path=customXml/itemProps13.xml><?xml version="1.0" encoding="utf-8"?>
<ds:datastoreItem xmlns:ds="http://schemas.openxmlformats.org/officeDocument/2006/customXml" ds:itemID="{424FF6BB-46BD-1449-921F-F727F2FE3034}">
  <ds:schemaRefs/>
</ds:datastoreItem>
</file>

<file path=customXml/itemProps14.xml><?xml version="1.0" encoding="utf-8"?>
<ds:datastoreItem xmlns:ds="http://schemas.openxmlformats.org/officeDocument/2006/customXml" ds:itemID="{EAAB4981-6F6E-4299-8A4B-9168DADC05C9}">
  <ds:schemaRefs/>
</ds:datastoreItem>
</file>

<file path=customXml/itemProps15.xml><?xml version="1.0" encoding="utf-8"?>
<ds:datastoreItem xmlns:ds="http://schemas.openxmlformats.org/officeDocument/2006/customXml" ds:itemID="{353FDB43-B4CA-994C-A834-5E1B7663B0B0}">
  <ds:schemaRefs/>
</ds:datastoreItem>
</file>

<file path=customXml/itemProps16.xml><?xml version="1.0" encoding="utf-8"?>
<ds:datastoreItem xmlns:ds="http://schemas.openxmlformats.org/officeDocument/2006/customXml" ds:itemID="{F3C250B6-9D9F-424E-A428-99556B9A60C8}">
  <ds:schemaRefs/>
</ds:datastoreItem>
</file>

<file path=customXml/itemProps17.xml><?xml version="1.0" encoding="utf-8"?>
<ds:datastoreItem xmlns:ds="http://schemas.openxmlformats.org/officeDocument/2006/customXml" ds:itemID="{98CF1A37-0881-4BEF-B932-9FFE67EF2321}">
  <ds:schemaRefs/>
</ds:datastoreItem>
</file>

<file path=customXml/itemProps18.xml><?xml version="1.0" encoding="utf-8"?>
<ds:datastoreItem xmlns:ds="http://schemas.openxmlformats.org/officeDocument/2006/customXml" ds:itemID="{0B62F6F5-86F5-4C54-8F11-30A091AE1E7D}">
  <ds:schemaRefs/>
</ds:datastoreItem>
</file>

<file path=customXml/itemProps19.xml><?xml version="1.0" encoding="utf-8"?>
<ds:datastoreItem xmlns:ds="http://schemas.openxmlformats.org/officeDocument/2006/customXml" ds:itemID="{B6821A71-BB34-49F9-9D3C-781E729ED55C}">
  <ds:schemaRefs/>
</ds:datastoreItem>
</file>

<file path=customXml/itemProps2.xml><?xml version="1.0" encoding="utf-8"?>
<ds:datastoreItem xmlns:ds="http://schemas.openxmlformats.org/officeDocument/2006/customXml" ds:itemID="{C2AF2A88-D063-104D-87C1-8CB0DB1FB91D}">
  <ds:schemaRefs/>
</ds:datastoreItem>
</file>

<file path=customXml/itemProps20.xml><?xml version="1.0" encoding="utf-8"?>
<ds:datastoreItem xmlns:ds="http://schemas.openxmlformats.org/officeDocument/2006/customXml" ds:itemID="{F6590919-D77C-42BE-886C-B3B4AFF04C5A}">
  <ds:schemaRefs/>
</ds:datastoreItem>
</file>

<file path=customXml/itemProps21.xml><?xml version="1.0" encoding="utf-8"?>
<ds:datastoreItem xmlns:ds="http://schemas.openxmlformats.org/officeDocument/2006/customXml" ds:itemID="{2CD4B79E-7FD8-5C41-9CB5-A3CC99E09BD6}">
  <ds:schemaRefs/>
</ds:datastoreItem>
</file>

<file path=customXml/itemProps22.xml><?xml version="1.0" encoding="utf-8"?>
<ds:datastoreItem xmlns:ds="http://schemas.openxmlformats.org/officeDocument/2006/customXml" ds:itemID="{269D72A9-6768-D94E-8CE8-093D961F31C9}">
  <ds:schemaRefs/>
</ds:datastoreItem>
</file>

<file path=customXml/itemProps23.xml><?xml version="1.0" encoding="utf-8"?>
<ds:datastoreItem xmlns:ds="http://schemas.openxmlformats.org/officeDocument/2006/customXml" ds:itemID="{5B70FD89-483C-4E90-9182-617DB2BF9803}">
  <ds:schemaRefs/>
</ds:datastoreItem>
</file>

<file path=customXml/itemProps24.xml><?xml version="1.0" encoding="utf-8"?>
<ds:datastoreItem xmlns:ds="http://schemas.openxmlformats.org/officeDocument/2006/customXml" ds:itemID="{D004DB6C-D2CA-7341-810A-39F890619D4F}">
  <ds:schemaRefs/>
</ds:datastoreItem>
</file>

<file path=customXml/itemProps25.xml><?xml version="1.0" encoding="utf-8"?>
<ds:datastoreItem xmlns:ds="http://schemas.openxmlformats.org/officeDocument/2006/customXml" ds:itemID="{03943999-C31A-4969-AA09-605AF997E2D4}">
  <ds:schemaRefs/>
</ds:datastoreItem>
</file>

<file path=customXml/itemProps26.xml><?xml version="1.0" encoding="utf-8"?>
<ds:datastoreItem xmlns:ds="http://schemas.openxmlformats.org/officeDocument/2006/customXml" ds:itemID="{77B8231C-D0AE-7141-81A0-2F2DD1BE8506}">
  <ds:schemaRefs/>
</ds:datastoreItem>
</file>

<file path=customXml/itemProps27.xml><?xml version="1.0" encoding="utf-8"?>
<ds:datastoreItem xmlns:ds="http://schemas.openxmlformats.org/officeDocument/2006/customXml" ds:itemID="{E4CB62F3-32FD-844F-B75C-E54935F4F9DC}">
  <ds:schemaRefs/>
</ds:datastoreItem>
</file>

<file path=customXml/itemProps28.xml><?xml version="1.0" encoding="utf-8"?>
<ds:datastoreItem xmlns:ds="http://schemas.openxmlformats.org/officeDocument/2006/customXml" ds:itemID="{BF4A8EDE-9340-0644-A3CB-2EF166E43D75}">
  <ds:schemaRefs/>
</ds:datastoreItem>
</file>

<file path=customXml/itemProps29.xml><?xml version="1.0" encoding="utf-8"?>
<ds:datastoreItem xmlns:ds="http://schemas.openxmlformats.org/officeDocument/2006/customXml" ds:itemID="{5FEE098F-75A0-A14A-9369-0B72EA5EDEE3}">
  <ds:schemaRefs/>
</ds:datastoreItem>
</file>

<file path=customXml/itemProps3.xml><?xml version="1.0" encoding="utf-8"?>
<ds:datastoreItem xmlns:ds="http://schemas.openxmlformats.org/officeDocument/2006/customXml" ds:itemID="{BF640F7A-31D0-054F-AAA0-FC93BE1362E8}">
  <ds:schemaRefs/>
</ds:datastoreItem>
</file>

<file path=customXml/itemProps30.xml><?xml version="1.0" encoding="utf-8"?>
<ds:datastoreItem xmlns:ds="http://schemas.openxmlformats.org/officeDocument/2006/customXml" ds:itemID="{0A1B9901-DBC7-400F-AF8B-8F7C9D4ECA35}">
  <ds:schemaRefs/>
</ds:datastoreItem>
</file>

<file path=customXml/itemProps31.xml><?xml version="1.0" encoding="utf-8"?>
<ds:datastoreItem xmlns:ds="http://schemas.openxmlformats.org/officeDocument/2006/customXml" ds:itemID="{CAF4F425-F83F-4742-9475-682B84859685}">
  <ds:schemaRefs/>
</ds:datastoreItem>
</file>

<file path=customXml/itemProps32.xml><?xml version="1.0" encoding="utf-8"?>
<ds:datastoreItem xmlns:ds="http://schemas.openxmlformats.org/officeDocument/2006/customXml" ds:itemID="{88757649-5ABE-AE4D-A538-493995100D13}">
  <ds:schemaRefs/>
</ds:datastoreItem>
</file>

<file path=customXml/itemProps33.xml><?xml version="1.0" encoding="utf-8"?>
<ds:datastoreItem xmlns:ds="http://schemas.openxmlformats.org/officeDocument/2006/customXml" ds:itemID="{B99892F9-6E46-4DF0-84CC-CA21034E9BEE}">
  <ds:schemaRefs/>
</ds:datastoreItem>
</file>

<file path=customXml/itemProps34.xml><?xml version="1.0" encoding="utf-8"?>
<ds:datastoreItem xmlns:ds="http://schemas.openxmlformats.org/officeDocument/2006/customXml" ds:itemID="{24627B57-84FA-4F42-BA53-7762864E0A4F}">
  <ds:schemaRefs/>
</ds:datastoreItem>
</file>

<file path=customXml/itemProps35.xml><?xml version="1.0" encoding="utf-8"?>
<ds:datastoreItem xmlns:ds="http://schemas.openxmlformats.org/officeDocument/2006/customXml" ds:itemID="{B99D7169-1C77-A340-8B49-47ECBEDA10E5}">
  <ds:schemaRefs/>
</ds:datastoreItem>
</file>

<file path=customXml/itemProps36.xml><?xml version="1.0" encoding="utf-8"?>
<ds:datastoreItem xmlns:ds="http://schemas.openxmlformats.org/officeDocument/2006/customXml" ds:itemID="{70B1A138-9901-2A49-AF39-20AAF6274654}">
  <ds:schemaRefs/>
</ds:datastoreItem>
</file>

<file path=customXml/itemProps37.xml><?xml version="1.0" encoding="utf-8"?>
<ds:datastoreItem xmlns:ds="http://schemas.openxmlformats.org/officeDocument/2006/customXml" ds:itemID="{69DD41A1-5C4D-5E44-815A-0E275170300B}">
  <ds:schemaRefs/>
</ds:datastoreItem>
</file>

<file path=customXml/itemProps38.xml><?xml version="1.0" encoding="utf-8"?>
<ds:datastoreItem xmlns:ds="http://schemas.openxmlformats.org/officeDocument/2006/customXml" ds:itemID="{45F2D5DA-4278-3C42-B86E-A54AA84C5CF5}">
  <ds:schemaRefs/>
</ds:datastoreItem>
</file>

<file path=customXml/itemProps39.xml><?xml version="1.0" encoding="utf-8"?>
<ds:datastoreItem xmlns:ds="http://schemas.openxmlformats.org/officeDocument/2006/customXml" ds:itemID="{399F6C81-97B2-A54A-ACA6-770F49008620}">
  <ds:schemaRefs/>
</ds:datastoreItem>
</file>

<file path=customXml/itemProps4.xml><?xml version="1.0" encoding="utf-8"?>
<ds:datastoreItem xmlns:ds="http://schemas.openxmlformats.org/officeDocument/2006/customXml" ds:itemID="{4086026B-D8BC-C04B-BD34-4BE688C7E736}">
  <ds:schemaRefs/>
</ds:datastoreItem>
</file>

<file path=customXml/itemProps40.xml><?xml version="1.0" encoding="utf-8"?>
<ds:datastoreItem xmlns:ds="http://schemas.openxmlformats.org/officeDocument/2006/customXml" ds:itemID="{44D1F2D1-80F3-49A3-9370-F13D5D4FBA05}">
  <ds:schemaRefs/>
</ds:datastoreItem>
</file>

<file path=customXml/itemProps41.xml><?xml version="1.0" encoding="utf-8"?>
<ds:datastoreItem xmlns:ds="http://schemas.openxmlformats.org/officeDocument/2006/customXml" ds:itemID="{4750859D-9F1E-7846-88C7-EE2BE3381C8E}">
  <ds:schemaRefs/>
</ds:datastoreItem>
</file>

<file path=customXml/itemProps42.xml><?xml version="1.0" encoding="utf-8"?>
<ds:datastoreItem xmlns:ds="http://schemas.openxmlformats.org/officeDocument/2006/customXml" ds:itemID="{BACC0C63-2015-4E4B-B8F7-4019EF12B8F4}">
  <ds:schemaRefs/>
</ds:datastoreItem>
</file>

<file path=customXml/itemProps43.xml><?xml version="1.0" encoding="utf-8"?>
<ds:datastoreItem xmlns:ds="http://schemas.openxmlformats.org/officeDocument/2006/customXml" ds:itemID="{54CDAC76-8F08-DE41-AD66-23234A9490AA}">
  <ds:schemaRefs/>
</ds:datastoreItem>
</file>

<file path=customXml/itemProps44.xml><?xml version="1.0" encoding="utf-8"?>
<ds:datastoreItem xmlns:ds="http://schemas.openxmlformats.org/officeDocument/2006/customXml" ds:itemID="{F0AE8F0D-D1F1-1448-A537-9B082C12756D}">
  <ds:schemaRefs/>
</ds:datastoreItem>
</file>

<file path=customXml/itemProps45.xml><?xml version="1.0" encoding="utf-8"?>
<ds:datastoreItem xmlns:ds="http://schemas.openxmlformats.org/officeDocument/2006/customXml" ds:itemID="{8AB05DC5-A2FB-413B-BF81-4A492435DFF6}">
  <ds:schemaRefs/>
</ds:datastoreItem>
</file>

<file path=customXml/itemProps46.xml><?xml version="1.0" encoding="utf-8"?>
<ds:datastoreItem xmlns:ds="http://schemas.openxmlformats.org/officeDocument/2006/customXml" ds:itemID="{D3A1427A-1820-5A47-94B8-1D65CB519971}">
  <ds:schemaRefs/>
</ds:datastoreItem>
</file>

<file path=customXml/itemProps47.xml><?xml version="1.0" encoding="utf-8"?>
<ds:datastoreItem xmlns:ds="http://schemas.openxmlformats.org/officeDocument/2006/customXml" ds:itemID="{90BA93D9-89D3-6A46-A91C-AAD391575865}">
  <ds:schemaRefs/>
</ds:datastoreItem>
</file>

<file path=customXml/itemProps48.xml><?xml version="1.0" encoding="utf-8"?>
<ds:datastoreItem xmlns:ds="http://schemas.openxmlformats.org/officeDocument/2006/customXml" ds:itemID="{478AAE51-A4A8-9C4A-ADDF-22A567E4568E}">
  <ds:schemaRefs/>
</ds:datastoreItem>
</file>

<file path=customXml/itemProps5.xml><?xml version="1.0" encoding="utf-8"?>
<ds:datastoreItem xmlns:ds="http://schemas.openxmlformats.org/officeDocument/2006/customXml" ds:itemID="{77EA953E-6E95-1C4C-AABE-C8E10F91BBC3}">
  <ds:schemaRefs/>
</ds:datastoreItem>
</file>

<file path=customXml/itemProps6.xml><?xml version="1.0" encoding="utf-8"?>
<ds:datastoreItem xmlns:ds="http://schemas.openxmlformats.org/officeDocument/2006/customXml" ds:itemID="{3BE2E47F-223C-1841-A27C-CD8DD2E48872}">
  <ds:schemaRefs/>
</ds:datastoreItem>
</file>

<file path=customXml/itemProps7.xml><?xml version="1.0" encoding="utf-8"?>
<ds:datastoreItem xmlns:ds="http://schemas.openxmlformats.org/officeDocument/2006/customXml" ds:itemID="{C0E532B1-97EE-44D6-A22D-A6C377FE7062}">
  <ds:schemaRefs/>
</ds:datastoreItem>
</file>

<file path=customXml/itemProps8.xml><?xml version="1.0" encoding="utf-8"?>
<ds:datastoreItem xmlns:ds="http://schemas.openxmlformats.org/officeDocument/2006/customXml" ds:itemID="{17A2F4F6-B3E9-0348-82BC-F4968A20F718}">
  <ds:schemaRefs/>
</ds:datastoreItem>
</file>

<file path=customXml/itemProps9.xml><?xml version="1.0" encoding="utf-8"?>
<ds:datastoreItem xmlns:ds="http://schemas.openxmlformats.org/officeDocument/2006/customXml" ds:itemID="{78C99C86-6993-3349-A50A-B56498BB0D04}">
  <ds:schemaRefs/>
</ds:datastoreItem>
</file>

<file path=docProps/app.xml><?xml version="1.0" encoding="utf-8"?>
<Properties xmlns="http://schemas.openxmlformats.org/officeDocument/2006/extended-properties" xmlns:vt="http://schemas.openxmlformats.org/officeDocument/2006/docPropsVTypes">
  <Template/>
  <TotalTime>66231</TotalTime>
  <Words>14180</Words>
  <Application>Microsoft Macintosh PowerPoint</Application>
  <PresentationFormat>Widescreen</PresentationFormat>
  <Paragraphs>2717</Paragraphs>
  <Slides>141</Slides>
  <Notes>38</Notes>
  <HiddenSlides>0</HiddenSlides>
  <MMClips>0</MMClips>
  <ScaleCrop>false</ScaleCrop>
  <HeadingPairs>
    <vt:vector size="8" baseType="variant">
      <vt:variant>
        <vt:lpstr>Fonts Used</vt:lpstr>
      </vt:variant>
      <vt:variant>
        <vt:i4>32</vt:i4>
      </vt:variant>
      <vt:variant>
        <vt:lpstr>Theme</vt:lpstr>
      </vt:variant>
      <vt:variant>
        <vt:i4>29</vt:i4>
      </vt:variant>
      <vt:variant>
        <vt:lpstr>Embedded OLE Servers</vt:lpstr>
      </vt:variant>
      <vt:variant>
        <vt:i4>1</vt:i4>
      </vt:variant>
      <vt:variant>
        <vt:lpstr>Slide Titles</vt:lpstr>
      </vt:variant>
      <vt:variant>
        <vt:i4>141</vt:i4>
      </vt:variant>
    </vt:vector>
  </HeadingPairs>
  <TitlesOfParts>
    <vt:vector size="203" baseType="lpstr">
      <vt:lpstr>ＭＳ Ｐゴシック</vt:lpstr>
      <vt:lpstr>-apple-system</vt:lpstr>
      <vt:lpstr>Aptos</vt:lpstr>
      <vt:lpstr>Aptos Display</vt:lpstr>
      <vt:lpstr>Arial</vt:lpstr>
      <vt:lpstr>Arial Narrow</vt:lpstr>
      <vt:lpstr>Arial Nova</vt:lpstr>
      <vt:lpstr>Avenir Black</vt:lpstr>
      <vt:lpstr>Avenir Book</vt:lpstr>
      <vt:lpstr>Avenir Next LT Pro</vt:lpstr>
      <vt:lpstr>BlinkMacSystemFont</vt:lpstr>
      <vt:lpstr>Calibri</vt:lpstr>
      <vt:lpstr>Calibri Light</vt:lpstr>
      <vt:lpstr>Franklin Gothic Book</vt:lpstr>
      <vt:lpstr>Franklin Gothic Medium Cond</vt:lpstr>
      <vt:lpstr>Garamond</vt:lpstr>
      <vt:lpstr>Georgia</vt:lpstr>
      <vt:lpstr>Helvetica</vt:lpstr>
      <vt:lpstr>Krub</vt:lpstr>
      <vt:lpstr>Open Sans</vt:lpstr>
      <vt:lpstr>Open Sans Light</vt:lpstr>
      <vt:lpstr>Open Sans Medium</vt:lpstr>
      <vt:lpstr>Open Sans Semibold</vt:lpstr>
      <vt:lpstr>StarSymbol</vt:lpstr>
      <vt:lpstr>Symbol</vt:lpstr>
      <vt:lpstr>System Font Regular</vt:lpstr>
      <vt:lpstr>Times</vt:lpstr>
      <vt:lpstr>Times New Roman</vt:lpstr>
      <vt:lpstr>Trebuchet MS</vt:lpstr>
      <vt:lpstr>Verdana</vt:lpstr>
      <vt:lpstr>Wingdings</vt:lpstr>
      <vt:lpstr>ヒラギノ角ゴ Pro W3</vt:lpstr>
      <vt:lpstr>1_Default Design</vt:lpstr>
      <vt:lpstr>5_Default Design</vt:lpstr>
      <vt:lpstr>7_Default Design</vt:lpstr>
      <vt:lpstr>2016 Clinical Widescreen Template</vt:lpstr>
      <vt:lpstr>AADI-2022</vt:lpstr>
      <vt:lpstr>DUKE OPTION B INSIDE PAGE</vt:lpstr>
      <vt:lpstr>1_AADI-2022</vt:lpstr>
      <vt:lpstr>2_Default Design</vt:lpstr>
      <vt:lpstr>6_Default Design</vt:lpstr>
      <vt:lpstr>Content Slides</vt:lpstr>
      <vt:lpstr>Photos</vt:lpstr>
      <vt:lpstr>1_Content Slides</vt:lpstr>
      <vt:lpstr>3_Default Design</vt:lpstr>
      <vt:lpstr>Office Theme</vt:lpstr>
      <vt:lpstr>1_Avaglio template</vt:lpstr>
      <vt:lpstr>2_Avaglio template</vt:lpstr>
      <vt:lpstr>Office</vt:lpstr>
      <vt:lpstr>Presentation_16x9_Widescreen_Basic</vt:lpstr>
      <vt:lpstr>1_MGB_standard_template_082020</vt:lpstr>
      <vt:lpstr>Presentation6lightgreencream</vt:lpstr>
      <vt:lpstr>3_Avaglio template</vt:lpstr>
      <vt:lpstr>4_Office 2013 - 2022 Theme</vt:lpstr>
      <vt:lpstr>1_Office Theme</vt:lpstr>
      <vt:lpstr>3_Office 2013 - 2022 Theme</vt:lpstr>
      <vt:lpstr>Office 2013 - 2022 Theme</vt:lpstr>
      <vt:lpstr>12_Office Theme</vt:lpstr>
      <vt:lpstr>4_Office Theme</vt:lpstr>
      <vt:lpstr>1_Office 2013 - 2022 Theme</vt:lpstr>
      <vt:lpstr>2_Office 2013 - 2022 Theme</vt:lpstr>
      <vt:lpstr>think-cell Slide</vt:lpstr>
      <vt:lpstr>What Clinicians Want to Know: Addressing Community  Oncologists’ Questions About the Roles of CAR T-Cell Therapy and  Bispecific Antibodies in the Management of Non-Hodgkin Lymphoma</vt:lpstr>
      <vt:lpstr>Faculty</vt:lpstr>
      <vt:lpstr>Dr Brody — Disclosures Faculty</vt:lpstr>
      <vt:lpstr>Dr Kamdar — Disclosures Faculty</vt:lpstr>
      <vt:lpstr>Dr Phillips — Disclosures Faculty</vt:lpstr>
      <vt:lpstr>Dr Westin — Disclosures Faculty</vt:lpstr>
      <vt:lpstr>Dr Abramson — Disclosures Moderator</vt:lpstr>
      <vt:lpstr>Research To Practice President Neil Love, MD — Disclosures</vt:lpstr>
      <vt:lpstr>Commercial Support</vt:lpstr>
      <vt:lpstr>PowerPoint Presentation</vt:lpstr>
      <vt:lpstr>Clinicians in the Meeting Room</vt:lpstr>
      <vt:lpstr>Clinicians Attending via Zoom</vt:lpstr>
      <vt:lpstr>About the Enduring Program</vt:lpstr>
      <vt:lpstr>PowerPoint Presentation</vt:lpstr>
      <vt:lpstr>What Clinicians Want to Know: Addressing Community  Oncologists’ Questions About the Roles of CAR T-Cell Therapy and  Bispecific Antibodies in the Management of Non-Hodgkin Lymphoma</vt:lpstr>
      <vt:lpstr>What Clinicians Want to Know: Addressing Community Oncologists’ Questions About the Roles of CAR T-Cell Therapy and Bispecific Antibodies in the Management of Non-Hodgkin Lymphoma  Survey of US-Based General Medical Oncologists May 13-26, 2026 </vt:lpstr>
      <vt:lpstr>Agenda</vt:lpstr>
      <vt:lpstr>Agenda</vt:lpstr>
      <vt:lpstr>  Chimeric Antigen Receptor (CAR) T-Cell Therapy for Diffuse Large B-Cell Lymphoma (DLBCL)  </vt:lpstr>
      <vt:lpstr>                         Pre-CAR-T ERA  Relapsed/Refractory Chemotherapy-resistant Large B Cell Lymphoma (R/R LBCL)  dismal prognosis </vt:lpstr>
      <vt:lpstr>Anti-CD19 CAR-T cell therapies approved in R/R LBCL after failure of ≥2 lines of treatment </vt:lpstr>
      <vt:lpstr>                    Baseline Characteristics</vt:lpstr>
      <vt:lpstr>                          Efficacy and Safety</vt:lpstr>
      <vt:lpstr>Long-term follow-up supports the curative potential  of CD19 CAR T in R/R 3L+ LBCL </vt:lpstr>
      <vt:lpstr>3 Randomized trials of CAR T-cell therapy vs SOC in transplant-eligible DLBCL with early relapse or primary refractory disease </vt:lpstr>
      <vt:lpstr>PowerPoint Presentation</vt:lpstr>
      <vt:lpstr>Axi-cel continued to demonstrate higher rates of survival vs. SOC at ≈ 4 years of follow-up</vt:lpstr>
      <vt:lpstr>Liso-cel continued to demonstrate higher rates of survival at ≈ 3 and 4 years of follow-up</vt:lpstr>
      <vt:lpstr>Receiving CAR-T in 2L versus 3L impacts outcomes</vt:lpstr>
      <vt:lpstr>Patient-reported outcomes</vt:lpstr>
      <vt:lpstr>PILOT study : Liso-cel demonstrated outcomes comparable to those in TRANSFORM in an ASCT-ineligible population </vt:lpstr>
      <vt:lpstr>Logistics: THE PROCESS</vt:lpstr>
      <vt:lpstr> </vt:lpstr>
      <vt:lpstr>                              Determination of CAR-T eligibility </vt:lpstr>
      <vt:lpstr>CARs in the front-line setting: ZUMA-12 Study Design</vt:lpstr>
      <vt:lpstr>ORR 89% and CR Rate 78%  </vt:lpstr>
      <vt:lpstr>Early results with other CAR T-cell platforms in DLBCL</vt:lpstr>
      <vt:lpstr>Rapcabtagene Autoleucel (YTB323) for Patients With First Line High-Risk Large B-Cell Lymphoma: Phase 2 Interim Results </vt:lpstr>
      <vt:lpstr>Beyond CD19: Early Clinical Signals with CD19/CD20 CAR-T Constructs</vt:lpstr>
      <vt:lpstr>                         Conclusion</vt:lpstr>
      <vt:lpstr>Discussion Questions</vt:lpstr>
      <vt:lpstr>Discussion Questions (Questions)</vt:lpstr>
      <vt:lpstr>Discussion Questions</vt:lpstr>
      <vt:lpstr>Discussion Questions</vt:lpstr>
      <vt:lpstr>Agenda</vt:lpstr>
      <vt:lpstr>Bispecific Antibody Therapy for DLBCL</vt:lpstr>
      <vt:lpstr>PowerPoint Presentation</vt:lpstr>
      <vt:lpstr>PowerPoint Presentation</vt:lpstr>
      <vt:lpstr>PowerPoint Presentation</vt:lpstr>
      <vt:lpstr>PowerPoint Presentation</vt:lpstr>
      <vt:lpstr>PowerPoint Presentation</vt:lpstr>
      <vt:lpstr>PowerPoint Presentation</vt:lpstr>
      <vt:lpstr>STARGLO (NCT04408638): A randomized, global, Phase III trial</vt:lpstr>
      <vt:lpstr>STARGLO OS at 3y</vt:lpstr>
      <vt:lpstr>Landmark analysis by response at EOT  in 2L patients treated with Glofit-GemOx</vt:lpstr>
      <vt:lpstr>Phase Ib/II EPCORE NHL-2 Trial: Epcor-GemOx ≥ 2L R/R DLBCL Response and Overall Survival</vt:lpstr>
      <vt:lpstr>Phase Ib/II EPCORE NHL-2 Trial: Epcor-GemOx ≥ 2L R/R DLBCL 2nd vs later line of therapy significantly affected outcomes </vt:lpstr>
      <vt:lpstr>SUNMO Study design</vt:lpstr>
      <vt:lpstr>Mosun-Pola continued to demonstrate a durable  PFS benefit after a median follow-up of 28.3 months</vt:lpstr>
      <vt:lpstr>Mosun-Pola demonstrated high efficacy in the 2L setting </vt:lpstr>
      <vt:lpstr>R-Pola-Glo – Study Design</vt:lpstr>
      <vt:lpstr>PowerPoint Presentation</vt:lpstr>
      <vt:lpstr>PowerPoint Presentation</vt:lpstr>
      <vt:lpstr>PowerPoint Presentation</vt:lpstr>
      <vt:lpstr>PowerPoint Presentation</vt:lpstr>
      <vt:lpstr>Select Ongoing Phase III Trials of Bispecific Antibody Combination Regimens in LBCL  </vt:lpstr>
      <vt:lpstr>Smart 3</vt:lpstr>
      <vt:lpstr>Conclusion: Bispecific Antibody Therapy for DLBCL </vt:lpstr>
      <vt:lpstr>Discussion Questions</vt:lpstr>
      <vt:lpstr>Discussion Questions (Continued)</vt:lpstr>
      <vt:lpstr>Discussion Questions</vt:lpstr>
      <vt:lpstr>Discussion Questions (Continued) </vt:lpstr>
      <vt:lpstr>Discussion Questions</vt:lpstr>
      <vt:lpstr>Discussion Questions (Continued)</vt:lpstr>
      <vt:lpstr>Agenda</vt:lpstr>
      <vt:lpstr>PowerPoint Presentation</vt:lpstr>
      <vt:lpstr>Follicular and Marginal Zone lymphomas</vt:lpstr>
      <vt:lpstr>Three CAR T-cell products for 3rd line + follicular lymphoma</vt:lpstr>
      <vt:lpstr>ZUMA-5:  Sustained PFS at 5 years in FL and MZL</vt:lpstr>
      <vt:lpstr>Long term follow up of Tisa-cel: 5-year results from ELARA</vt:lpstr>
      <vt:lpstr>Long term follow up of TRANSCEND FL: Liso-cel at 3 years</vt:lpstr>
      <vt:lpstr>Sustained efficacy and safety for liso-cel in relapsed/refractory marginal zone lymphomas</vt:lpstr>
      <vt:lpstr>Future directions in FL: randomized trials</vt:lpstr>
      <vt:lpstr>Mantle cell lymphoma</vt:lpstr>
      <vt:lpstr>Brexu-cel for 3L+ MCL post cBTK inhibition: ZUMA-2</vt:lpstr>
      <vt:lpstr>Real world evidence for Brexu-cel in MCL from CIBMTR</vt:lpstr>
      <vt:lpstr>Real world evidence for Brexu-cel in MCL from DESCAR-T</vt:lpstr>
      <vt:lpstr>Liso-cel for 3L+ MCL post cBTK inhibition: TRANSCEND</vt:lpstr>
      <vt:lpstr>Discussion Questions</vt:lpstr>
      <vt:lpstr>Discussion Questions</vt:lpstr>
      <vt:lpstr>Discussion Questions</vt:lpstr>
      <vt:lpstr>Agenda</vt:lpstr>
      <vt:lpstr>Evolving Role of Bispecific Antibodies in Low and Intermediate Grade Lymphoma</vt:lpstr>
      <vt:lpstr>Follicular Lymphoma</vt:lpstr>
      <vt:lpstr>Bispecific Antibodies </vt:lpstr>
      <vt:lpstr>Mosunetuzumab</vt:lpstr>
      <vt:lpstr>Mosunetuzumab Response (FL)</vt:lpstr>
      <vt:lpstr>Mosunetuzumab Safety (FL)</vt:lpstr>
      <vt:lpstr>Epcoritamab</vt:lpstr>
      <vt:lpstr>Epcoritamab Response (R/R FL)</vt:lpstr>
      <vt:lpstr>Epcoritamab Safety (R/R FL)</vt:lpstr>
      <vt:lpstr>2L FL: AUGMENT</vt:lpstr>
      <vt:lpstr>EPCORE FL-1</vt:lpstr>
      <vt:lpstr>EPCORE FL-1: Response</vt:lpstr>
      <vt:lpstr>EPCORE FL-1: Safety</vt:lpstr>
      <vt:lpstr>CELESTIMO Trial of Mosunetuzumab-Lenalidomide versus R2 in R/R FL </vt:lpstr>
      <vt:lpstr>CELESTIMO US Cohort: Baseline Characteristics</vt:lpstr>
      <vt:lpstr>CELESTIMO US Cohort: Safety/Response</vt:lpstr>
      <vt:lpstr>Ongoing Studies</vt:lpstr>
      <vt:lpstr>R/R MCL – Glofitamab updated data after a 3.5-year follow-up</vt:lpstr>
      <vt:lpstr>Duration of complete response</vt:lpstr>
      <vt:lpstr>Progression-free survival</vt:lpstr>
      <vt:lpstr>Overall survival</vt:lpstr>
      <vt:lpstr>Landmark analyses by response at EOT</vt:lpstr>
      <vt:lpstr>B-cell depletion and recovery </vt:lpstr>
      <vt:lpstr>Surovatamig Phase I Study: FL Cohort</vt:lpstr>
      <vt:lpstr>Surovatamig Phase I Study: Response Rates in FL Cohort</vt:lpstr>
      <vt:lpstr>                       Phase III SOUNDTRACK-F1 study Global, Randomized, Phase 3, Multicenter, Open-label Study of Surovatamig Plus Rituximab in Patients With Previously Untreated High Tumor Burden FL   </vt:lpstr>
      <vt:lpstr>Conclusion</vt:lpstr>
      <vt:lpstr>Discussion Questions</vt:lpstr>
      <vt:lpstr>Discussion Questions</vt:lpstr>
      <vt:lpstr>Discussion Questions</vt:lpstr>
      <vt:lpstr>Agenda</vt:lpstr>
      <vt:lpstr>Tolerability Considerations with CAR T-Cell Therapy and Bispecific Antibodies</vt:lpstr>
      <vt:lpstr>PowerPoint Presentation</vt:lpstr>
      <vt:lpstr>PowerPoint Presentation</vt:lpstr>
      <vt:lpstr>PowerPoint Presentation</vt:lpstr>
      <vt:lpstr>PowerPoint Presentation</vt:lpstr>
      <vt:lpstr>HR 2.6 p&lt;0.001</vt:lpstr>
      <vt:lpstr>P = 0.02</vt:lpstr>
      <vt:lpstr>PowerPoint Presentation</vt:lpstr>
      <vt:lpstr>PowerPoint Presentation</vt:lpstr>
      <vt:lpstr>PowerPoint Presentation</vt:lpstr>
      <vt:lpstr>PowerPoint Presentation</vt:lpstr>
      <vt:lpstr>Discussion Questions</vt:lpstr>
      <vt:lpstr>Discussion Questions</vt:lpstr>
      <vt:lpstr>Discussion Questions</vt:lpstr>
      <vt:lpstr>What Clinicians Want to Know: Addressing Community  Oncologists’ Questions About the Current and Future Role of  Antibody-Drug Conjugates in the Management of Breast Cancer</vt:lpstr>
      <vt:lpstr>Second Opinion: Investigators Provide Perspectives on the Current  and Future Use of Novel Therapies for Non-Hodgkin Lymphoma</vt:lpstr>
      <vt:lpstr>Consensus or Controversy? Documenting  and Discussing Investigators’ Approaches to the  Management of Relapsed/Refractory Multiple Myeloma</vt:lpstr>
      <vt:lpstr>Thank you for joining us! Your feedback is very important to us.   Please complete the survey currently up on the iPads for attendees in the room and on Zoom for those attending virtually. The survey will remain open up to 5 minutes after the meeting ends.   How to Obtain CME Credit In-person attendees: Please refer to the program syllabus for the CME credit link or QR code. Online/Zoom attendees:  The CME credit link is posted in the chat room.</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Agents and Strategies in the Management of Acute Myeloid Leukemia</dc:title>
  <dc:subject/>
  <dc:creator>Dr Neil Love</dc:creator>
  <cp:keywords/>
  <dc:description>www.ResearchToPractice.com</dc:description>
  <cp:lastModifiedBy>Fernando Rendina</cp:lastModifiedBy>
  <cp:revision>8130</cp:revision>
  <cp:lastPrinted>2020-08-04T16:05:31Z</cp:lastPrinted>
  <dcterms:created xsi:type="dcterms:W3CDTF">2013-03-19T19:50:02Z</dcterms:created>
  <dcterms:modified xsi:type="dcterms:W3CDTF">2026-05-31T20:45:44Z</dcterms:modified>
  <cp:category/>
</cp:coreProperties>
</file>